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6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9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1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2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3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4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5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Override2.xml" ContentType="application/vnd.openxmlformats-officedocument.themeOverr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6.xml" ContentType="application/vnd.openxmlformats-officedocument.them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heme/theme17.xml" ContentType="application/vnd.openxmlformats-officedocument.theme+xml"/>
  <Override PartName="/ppt/theme/theme18.xml" ContentType="application/vnd.openxmlformats-officedocument.them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2"/>
    <p:sldMasterId id="2147483660" r:id="rId3"/>
    <p:sldMasterId id="2147483692" r:id="rId4"/>
    <p:sldMasterId id="2147483697" r:id="rId5"/>
    <p:sldMasterId id="2147483702" r:id="rId6"/>
    <p:sldMasterId id="2147483707" r:id="rId7"/>
    <p:sldMasterId id="2147483742" r:id="rId8"/>
    <p:sldMasterId id="2147483712" r:id="rId9"/>
    <p:sldMasterId id="2147483747" r:id="rId10"/>
    <p:sldMasterId id="2147483737" r:id="rId11"/>
    <p:sldMasterId id="2147483752" r:id="rId12"/>
    <p:sldMasterId id="2147483717" r:id="rId13"/>
    <p:sldMasterId id="2147483757" r:id="rId14"/>
    <p:sldMasterId id="2147483722" r:id="rId15"/>
    <p:sldMasterId id="2147483762" r:id="rId16"/>
    <p:sldMasterId id="2147483727" r:id="rId17"/>
  </p:sldMasterIdLst>
  <p:notesMasterIdLst>
    <p:notesMasterId r:id="rId38"/>
  </p:notesMasterIdLst>
  <p:handoutMasterIdLst>
    <p:handoutMasterId r:id="rId39"/>
  </p:handoutMasterIdLst>
  <p:sldIdLst>
    <p:sldId id="263" r:id="rId18"/>
    <p:sldId id="316" r:id="rId19"/>
    <p:sldId id="330" r:id="rId20"/>
    <p:sldId id="317" r:id="rId21"/>
    <p:sldId id="319" r:id="rId22"/>
    <p:sldId id="418" r:id="rId23"/>
    <p:sldId id="351" r:id="rId24"/>
    <p:sldId id="353" r:id="rId25"/>
    <p:sldId id="291" r:id="rId26"/>
    <p:sldId id="289" r:id="rId27"/>
    <p:sldId id="295" r:id="rId28"/>
    <p:sldId id="459" r:id="rId29"/>
    <p:sldId id="1044" r:id="rId30"/>
    <p:sldId id="1045" r:id="rId31"/>
    <p:sldId id="1046" r:id="rId32"/>
    <p:sldId id="394" r:id="rId33"/>
    <p:sldId id="460" r:id="rId34"/>
    <p:sldId id="310" r:id="rId35"/>
    <p:sldId id="300" r:id="rId36"/>
    <p:sldId id="260" r:id="rId37"/>
  </p:sldIdLst>
  <p:sldSz cx="12190413" cy="6858000"/>
  <p:notesSz cx="6858000" cy="9144000"/>
  <p:custDataLst>
    <p:tags r:id="rId4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75">
          <p15:clr>
            <a:srgbClr val="A4A3A4"/>
          </p15:clr>
        </p15:guide>
        <p15:guide id="2" orient="horz" pos="4042">
          <p15:clr>
            <a:srgbClr val="A4A3A4"/>
          </p15:clr>
        </p15:guide>
        <p15:guide id="3" orient="horz" pos="4184">
          <p15:clr>
            <a:srgbClr val="A4A3A4"/>
          </p15:clr>
        </p15:guide>
        <p15:guide id="4" orient="horz" pos="138">
          <p15:clr>
            <a:srgbClr val="A4A3A4"/>
          </p15:clr>
        </p15:guide>
        <p15:guide id="5" pos="142">
          <p15:clr>
            <a:srgbClr val="A4A3A4"/>
          </p15:clr>
        </p15:guide>
        <p15:guide id="6" pos="7536">
          <p15:clr>
            <a:srgbClr val="A4A3A4"/>
          </p15:clr>
        </p15:guide>
        <p15:guide id="7" pos="11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BADA9A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84" autoAdjust="0"/>
    <p:restoredTop sz="88655" autoAdjust="0"/>
  </p:normalViewPr>
  <p:slideViewPr>
    <p:cSldViewPr snapToGrid="0" showGuides="1">
      <p:cViewPr varScale="1">
        <p:scale>
          <a:sx n="72" d="100"/>
          <a:sy n="72" d="100"/>
        </p:scale>
        <p:origin x="512" y="44"/>
      </p:cViewPr>
      <p:guideLst>
        <p:guide orient="horz" pos="1275"/>
        <p:guide orient="horz" pos="4042"/>
        <p:guide orient="horz" pos="4184"/>
        <p:guide orient="horz" pos="138"/>
        <p:guide pos="142"/>
        <p:guide pos="7536"/>
        <p:guide pos="11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-4212" y="-94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handoutMaster" Target="handoutMasters/handoutMaster1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Master" Target="slideMasters/slideMaster16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1.xml"/><Relationship Id="rId16" Type="http://schemas.openxmlformats.org/officeDocument/2006/relationships/slideMaster" Target="slideMasters/slideMaster15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tags" Target="tags/tag1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10" Type="http://schemas.openxmlformats.org/officeDocument/2006/relationships/slideMaster" Target="slideMasters/slideMaster9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28642896777375E-2"/>
          <c:y val="8.9626520245626604E-2"/>
          <c:w val="0.40585793444435009"/>
          <c:h val="0.8713382898219567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D179-4FB4-B404-5D23997BD57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179-4FB4-B404-5D23997BD57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D179-4FB4-B404-5D23997BD57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79-4FB4-B404-5D23997BD57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179-4FB4-B404-5D23997BD57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D179-4FB4-B404-5D23997BD57A}"/>
              </c:ext>
            </c:extLst>
          </c:dPt>
          <c:dLbls>
            <c:dLbl>
              <c:idx val="0"/>
              <c:layout>
                <c:manualLayout>
                  <c:x val="4.2029923982098066E-2"/>
                  <c:y val="-6.0156159706551623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179-4FB4-B404-5D23997BD57A}"/>
                </c:ext>
              </c:extLst>
            </c:dLbl>
            <c:dLbl>
              <c:idx val="1"/>
              <c:layout>
                <c:manualLayout>
                  <c:x val="3.9227929049958248E-2"/>
                  <c:y val="6.6171775677206668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179-4FB4-B404-5D23997BD57A}"/>
                </c:ext>
              </c:extLst>
            </c:dLbl>
            <c:dLbl>
              <c:idx val="2"/>
              <c:layout>
                <c:manualLayout>
                  <c:x val="-2.5217954389258869E-2"/>
                  <c:y val="7.8203007618517104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179-4FB4-B404-5D23997BD57A}"/>
                </c:ext>
              </c:extLst>
            </c:dLbl>
            <c:dLbl>
              <c:idx val="3"/>
              <c:layout>
                <c:manualLayout>
                  <c:x val="-2.5217954389258872E-2"/>
                  <c:y val="2.406246388262062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179-4FB4-B404-5D23997BD57A}"/>
                </c:ext>
              </c:extLst>
            </c:dLbl>
            <c:dLbl>
              <c:idx val="4"/>
              <c:layout>
                <c:manualLayout>
                  <c:x val="-3.9227929049958261E-2"/>
                  <c:y val="-7.2187391647861948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179-4FB4-B404-5D23997BD57A}"/>
                </c:ext>
              </c:extLst>
            </c:dLbl>
            <c:dLbl>
              <c:idx val="5"/>
              <c:layout>
                <c:manualLayout>
                  <c:x val="3.0821944253538621E-2"/>
                  <c:y val="-7.8203007618517104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179-4FB4-B404-5D23997BD5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Хімікати</c:v>
                </c:pt>
                <c:pt idx="1">
                  <c:v>Продукти органічного синтезу</c:v>
                </c:pt>
                <c:pt idx="2">
                  <c:v>Функціональні матеріали та рішення</c:v>
                </c:pt>
                <c:pt idx="3">
                  <c:v>Рішення для СГ</c:v>
                </c:pt>
                <c:pt idx="4">
                  <c:v>Нафта й газ</c:v>
                </c:pt>
                <c:pt idx="5">
                  <c:v>Інше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23</c:v>
                </c:pt>
                <c:pt idx="1">
                  <c:v>0.26</c:v>
                </c:pt>
                <c:pt idx="2">
                  <c:v>0.33</c:v>
                </c:pt>
                <c:pt idx="3">
                  <c:v>0.1</c:v>
                </c:pt>
                <c:pt idx="4">
                  <c:v>0.05</c:v>
                </c:pt>
                <c:pt idx="5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79-4FB4-B404-5D23997BD57A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01-4A7F-B6D7-CCACD20CAE8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501-4A7F-B6D7-CCACD20CAE8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501-4A7F-B6D7-CCACD20CAE8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501-4A7F-B6D7-CCACD20CAE8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501-4A7F-B6D7-CCACD20CAE8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501-4A7F-B6D7-CCACD20CAE8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Хімікати</c:v>
                </c:pt>
                <c:pt idx="1">
                  <c:v>Продукти органічного синтезу</c:v>
                </c:pt>
                <c:pt idx="2">
                  <c:v>Функціональні матеріали та рішення</c:v>
                </c:pt>
                <c:pt idx="3">
                  <c:v>Рішення для СГ</c:v>
                </c:pt>
                <c:pt idx="4">
                  <c:v>Нафта й газ</c:v>
                </c:pt>
                <c:pt idx="5">
                  <c:v>Корпоративні дослідження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</c:v>
                </c:pt>
                <c:pt idx="1">
                  <c:v>0.2</c:v>
                </c:pt>
                <c:pt idx="2">
                  <c:v>0.21</c:v>
                </c:pt>
                <c:pt idx="3">
                  <c:v>0.26</c:v>
                </c:pt>
                <c:pt idx="4">
                  <c:v>0.02</c:v>
                </c:pt>
                <c:pt idx="5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EF-481C-B084-4A3CDDBC8257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2" Type="http://schemas.openxmlformats.org/officeDocument/2006/relationships/image" Target="../media/image28.tiff"/><Relationship Id="rId1" Type="http://schemas.openxmlformats.org/officeDocument/2006/relationships/image" Target="../media/image27.jpg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2" Type="http://schemas.openxmlformats.org/officeDocument/2006/relationships/image" Target="../media/image28.tiff"/><Relationship Id="rId1" Type="http://schemas.openxmlformats.org/officeDocument/2006/relationships/image" Target="../media/image27.jpg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F606A7-6BC0-4114-BE1A-54DAFB28F095}" type="doc">
      <dgm:prSet loTypeId="urn:microsoft.com/office/officeart/2005/8/layout/p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51A7514-3C80-4F34-AE70-FC0F67840DBC}">
      <dgm:prSet phldrT="[Text]"/>
      <dgm:spPr/>
      <dgm:t>
        <a:bodyPr/>
        <a:lstStyle/>
        <a:p>
          <a:r>
            <a:rPr lang="uk-UA" dirty="0"/>
            <a:t>Дрібноділянкові досліди в Агроцентрах</a:t>
          </a:r>
          <a:endParaRPr lang="en-GB" dirty="0"/>
        </a:p>
      </dgm:t>
    </dgm:pt>
    <dgm:pt modelId="{AEAB5620-BDDA-415A-A3DB-A47BBB3D3170}" type="parTrans" cxnId="{38F949FC-9765-44C8-8519-02300EEA67E8}">
      <dgm:prSet/>
      <dgm:spPr/>
      <dgm:t>
        <a:bodyPr/>
        <a:lstStyle/>
        <a:p>
          <a:endParaRPr lang="en-GB"/>
        </a:p>
      </dgm:t>
    </dgm:pt>
    <dgm:pt modelId="{1938A43A-2CEB-4BF2-A5C7-74686FDB0B38}" type="sibTrans" cxnId="{38F949FC-9765-44C8-8519-02300EEA67E8}">
      <dgm:prSet/>
      <dgm:spPr/>
      <dgm:t>
        <a:bodyPr/>
        <a:lstStyle/>
        <a:p>
          <a:endParaRPr lang="en-GB"/>
        </a:p>
      </dgm:t>
    </dgm:pt>
    <dgm:pt modelId="{39F637E0-3102-4983-803C-221F465ACB3A}">
      <dgm:prSet phldrT="[Text]"/>
      <dgm:spPr/>
      <dgm:t>
        <a:bodyPr/>
        <a:lstStyle/>
        <a:p>
          <a:r>
            <a:rPr lang="uk-UA" dirty="0"/>
            <a:t>Дослідження в НДІ</a:t>
          </a:r>
          <a:endParaRPr lang="en-GB" dirty="0"/>
        </a:p>
      </dgm:t>
    </dgm:pt>
    <dgm:pt modelId="{81210079-533B-4B76-9D21-23D0F4302FE2}" type="parTrans" cxnId="{3E284ECC-E920-4CDA-9734-7497F9559BE6}">
      <dgm:prSet/>
      <dgm:spPr/>
      <dgm:t>
        <a:bodyPr/>
        <a:lstStyle/>
        <a:p>
          <a:endParaRPr lang="en-GB"/>
        </a:p>
      </dgm:t>
    </dgm:pt>
    <dgm:pt modelId="{EB339D26-6DBE-4319-9A8E-4889E5E09964}" type="sibTrans" cxnId="{3E284ECC-E920-4CDA-9734-7497F9559BE6}">
      <dgm:prSet/>
      <dgm:spPr/>
      <dgm:t>
        <a:bodyPr/>
        <a:lstStyle/>
        <a:p>
          <a:endParaRPr lang="en-GB"/>
        </a:p>
      </dgm:t>
    </dgm:pt>
    <dgm:pt modelId="{D5B47850-55B0-404A-939E-F00435077454}">
      <dgm:prSet phldrT="[Text]"/>
      <dgm:spPr/>
      <dgm:t>
        <a:bodyPr/>
        <a:lstStyle/>
        <a:p>
          <a:r>
            <a:rPr lang="uk-UA" dirty="0"/>
            <a:t>Технологія внесення</a:t>
          </a:r>
          <a:endParaRPr lang="en-GB" dirty="0"/>
        </a:p>
      </dgm:t>
    </dgm:pt>
    <dgm:pt modelId="{9AFA8EE9-BD65-4AE0-84FB-3F0705D1479A}" type="parTrans" cxnId="{9E97A8AE-41DF-4CF7-9756-B661D69AC9C6}">
      <dgm:prSet/>
      <dgm:spPr/>
      <dgm:t>
        <a:bodyPr/>
        <a:lstStyle/>
        <a:p>
          <a:endParaRPr lang="en-GB"/>
        </a:p>
      </dgm:t>
    </dgm:pt>
    <dgm:pt modelId="{5123D201-BFF0-4235-8D75-5858B5023405}" type="sibTrans" cxnId="{9E97A8AE-41DF-4CF7-9756-B661D69AC9C6}">
      <dgm:prSet/>
      <dgm:spPr/>
      <dgm:t>
        <a:bodyPr/>
        <a:lstStyle/>
        <a:p>
          <a:endParaRPr lang="en-GB"/>
        </a:p>
      </dgm:t>
    </dgm:pt>
    <dgm:pt modelId="{BF7E3962-BDAF-4E03-A952-32D47AA7852A}">
      <dgm:prSet phldrT="[Text]"/>
      <dgm:spPr/>
      <dgm:t>
        <a:bodyPr/>
        <a:lstStyle/>
        <a:p>
          <a:r>
            <a:rPr lang="uk-UA" dirty="0"/>
            <a:t>Виробниці досліди</a:t>
          </a:r>
          <a:endParaRPr lang="en-GB" dirty="0"/>
        </a:p>
      </dgm:t>
    </dgm:pt>
    <dgm:pt modelId="{F40A7F9A-D5B3-404C-932D-196B691BD03A}" type="parTrans" cxnId="{E5AA2279-D37D-4DF4-AD7C-7AFBB8997ED5}">
      <dgm:prSet/>
      <dgm:spPr/>
      <dgm:t>
        <a:bodyPr/>
        <a:lstStyle/>
        <a:p>
          <a:endParaRPr lang="en-GB"/>
        </a:p>
      </dgm:t>
    </dgm:pt>
    <dgm:pt modelId="{0FF36A2F-E149-40C3-B474-F2972D7F0050}" type="sibTrans" cxnId="{E5AA2279-D37D-4DF4-AD7C-7AFBB8997ED5}">
      <dgm:prSet/>
      <dgm:spPr/>
      <dgm:t>
        <a:bodyPr/>
        <a:lstStyle/>
        <a:p>
          <a:endParaRPr lang="en-GB"/>
        </a:p>
      </dgm:t>
    </dgm:pt>
    <dgm:pt modelId="{C96F3CEE-65F6-4E22-B50B-B2995563C82E}">
      <dgm:prSet phldrT="[Text]"/>
      <dgm:spPr/>
      <dgm:t>
        <a:bodyPr/>
        <a:lstStyle/>
        <a:p>
          <a:r>
            <a:rPr lang="uk-UA" dirty="0"/>
            <a:t>Концепція розвитку продукту</a:t>
          </a:r>
          <a:endParaRPr lang="en-GB" dirty="0"/>
        </a:p>
      </dgm:t>
    </dgm:pt>
    <dgm:pt modelId="{7E641492-590C-4B99-9088-A035C36D1B2A}" type="parTrans" cxnId="{36F34601-4DEC-492F-91BD-E2F5B50F97B5}">
      <dgm:prSet/>
      <dgm:spPr/>
      <dgm:t>
        <a:bodyPr/>
        <a:lstStyle/>
        <a:p>
          <a:endParaRPr lang="en-GB"/>
        </a:p>
      </dgm:t>
    </dgm:pt>
    <dgm:pt modelId="{CAE980CA-D130-463E-80A5-31BD196EE662}" type="sibTrans" cxnId="{36F34601-4DEC-492F-91BD-E2F5B50F97B5}">
      <dgm:prSet/>
      <dgm:spPr/>
      <dgm:t>
        <a:bodyPr/>
        <a:lstStyle/>
        <a:p>
          <a:endParaRPr lang="en-GB"/>
        </a:p>
      </dgm:t>
    </dgm:pt>
    <dgm:pt modelId="{1B4ABA8E-D49B-4AAE-BD62-9FC9630B37CF}">
      <dgm:prSet phldrT="[Text]"/>
      <dgm:spPr/>
      <dgm:t>
        <a:bodyPr/>
        <a:lstStyle/>
        <a:p>
          <a:r>
            <a:rPr lang="uk-UA" dirty="0"/>
            <a:t>Лабораторні дослідження</a:t>
          </a:r>
          <a:endParaRPr lang="en-GB" dirty="0"/>
        </a:p>
      </dgm:t>
    </dgm:pt>
    <dgm:pt modelId="{EA809602-4CC0-4111-9D58-CBBAB02B3AE1}" type="parTrans" cxnId="{B38C2AE1-4869-4DF6-AE3E-8AA848C6F324}">
      <dgm:prSet/>
      <dgm:spPr/>
      <dgm:t>
        <a:bodyPr/>
        <a:lstStyle/>
        <a:p>
          <a:endParaRPr lang="en-GB"/>
        </a:p>
      </dgm:t>
    </dgm:pt>
    <dgm:pt modelId="{85EC2043-9BEC-42C3-8727-322251AE2E70}" type="sibTrans" cxnId="{B38C2AE1-4869-4DF6-AE3E-8AA848C6F324}">
      <dgm:prSet/>
      <dgm:spPr/>
      <dgm:t>
        <a:bodyPr/>
        <a:lstStyle/>
        <a:p>
          <a:endParaRPr lang="en-GB"/>
        </a:p>
      </dgm:t>
    </dgm:pt>
    <dgm:pt modelId="{9DA1D6A9-8976-497F-9D74-767C363B05EE}">
      <dgm:prSet phldrT="[Text]"/>
      <dgm:spPr/>
      <dgm:t>
        <a:bodyPr/>
        <a:lstStyle/>
        <a:p>
          <a:r>
            <a:rPr lang="uk-UA" dirty="0"/>
            <a:t>Моніторинг резистентності</a:t>
          </a:r>
          <a:endParaRPr lang="en-GB" dirty="0"/>
        </a:p>
      </dgm:t>
    </dgm:pt>
    <dgm:pt modelId="{6445CA08-514F-4107-9252-FBB307B63F58}" type="parTrans" cxnId="{5290EDFB-6F5F-4B23-A413-C05ED44A261D}">
      <dgm:prSet/>
      <dgm:spPr/>
      <dgm:t>
        <a:bodyPr/>
        <a:lstStyle/>
        <a:p>
          <a:endParaRPr lang="en-GB"/>
        </a:p>
      </dgm:t>
    </dgm:pt>
    <dgm:pt modelId="{CDA45843-90E6-41AD-879A-347255C1A9AF}" type="sibTrans" cxnId="{5290EDFB-6F5F-4B23-A413-C05ED44A261D}">
      <dgm:prSet/>
      <dgm:spPr/>
      <dgm:t>
        <a:bodyPr/>
        <a:lstStyle/>
        <a:p>
          <a:endParaRPr lang="en-GB"/>
        </a:p>
      </dgm:t>
    </dgm:pt>
    <dgm:pt modelId="{06C4A442-23AD-4C78-A160-4F53339BCD7B}">
      <dgm:prSet phldrT="[Text]"/>
      <dgm:spPr/>
      <dgm:t>
        <a:bodyPr/>
        <a:lstStyle/>
        <a:p>
          <a:r>
            <a:rPr lang="uk-UA" dirty="0"/>
            <a:t>Цифрові технології в агро</a:t>
          </a:r>
          <a:endParaRPr lang="en-GB" dirty="0"/>
        </a:p>
      </dgm:t>
    </dgm:pt>
    <dgm:pt modelId="{B9F39EC8-5DA9-4146-95E7-1311BE2B5097}" type="parTrans" cxnId="{7875A018-9C0F-4423-AF71-CBBFDDAC94E7}">
      <dgm:prSet/>
      <dgm:spPr/>
      <dgm:t>
        <a:bodyPr/>
        <a:lstStyle/>
        <a:p>
          <a:endParaRPr lang="en-GB"/>
        </a:p>
      </dgm:t>
    </dgm:pt>
    <dgm:pt modelId="{8BCF1600-818E-49F9-AAF8-F793D27F382A}" type="sibTrans" cxnId="{7875A018-9C0F-4423-AF71-CBBFDDAC94E7}">
      <dgm:prSet/>
      <dgm:spPr/>
      <dgm:t>
        <a:bodyPr/>
        <a:lstStyle/>
        <a:p>
          <a:endParaRPr lang="en-GB"/>
        </a:p>
      </dgm:t>
    </dgm:pt>
    <dgm:pt modelId="{C43F8330-523E-42CE-9C70-2A66B1BAB772}" type="pres">
      <dgm:prSet presAssocID="{F0F606A7-6BC0-4114-BE1A-54DAFB28F095}" presName="Name0" presStyleCnt="0">
        <dgm:presLayoutVars>
          <dgm:dir/>
          <dgm:resizeHandles val="exact"/>
        </dgm:presLayoutVars>
      </dgm:prSet>
      <dgm:spPr/>
    </dgm:pt>
    <dgm:pt modelId="{924A18E3-AEAA-4F74-AD82-23C6A2DAE6E5}" type="pres">
      <dgm:prSet presAssocID="{C96F3CEE-65F6-4E22-B50B-B2995563C82E}" presName="compNode" presStyleCnt="0"/>
      <dgm:spPr/>
    </dgm:pt>
    <dgm:pt modelId="{623EBBF2-CA9F-4BB3-B929-47C3908FDE94}" type="pres">
      <dgm:prSet presAssocID="{C96F3CEE-65F6-4E22-B50B-B2995563C82E}" presName="pictRect" presStyleLbl="node1" presStyleIdx="0" presStyleCnt="8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</dgm:pt>
    <dgm:pt modelId="{D68963E9-A32F-41E1-896D-6170B5D0FFCF}" type="pres">
      <dgm:prSet presAssocID="{C96F3CEE-65F6-4E22-B50B-B2995563C82E}" presName="textRect" presStyleLbl="revTx" presStyleIdx="0" presStyleCnt="8">
        <dgm:presLayoutVars>
          <dgm:bulletEnabled val="1"/>
        </dgm:presLayoutVars>
      </dgm:prSet>
      <dgm:spPr/>
    </dgm:pt>
    <dgm:pt modelId="{9AEA150E-F5F4-4EB5-AB59-A6E71C5142AE}" type="pres">
      <dgm:prSet presAssocID="{CAE980CA-D130-463E-80A5-31BD196EE662}" presName="sibTrans" presStyleLbl="sibTrans2D1" presStyleIdx="0" presStyleCnt="0"/>
      <dgm:spPr/>
    </dgm:pt>
    <dgm:pt modelId="{8190B307-A3B1-463F-B1F8-54D2FC85967E}" type="pres">
      <dgm:prSet presAssocID="{B51A7514-3C80-4F34-AE70-FC0F67840DBC}" presName="compNode" presStyleCnt="0"/>
      <dgm:spPr/>
    </dgm:pt>
    <dgm:pt modelId="{3BD2D139-E59C-4057-9F1A-97D9F8EE28A7}" type="pres">
      <dgm:prSet presAssocID="{B51A7514-3C80-4F34-AE70-FC0F67840DBC}" presName="pictRect" presStyleLbl="node1" presStyleIdx="1" presStyleCnt="8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</dgm:spPr>
    </dgm:pt>
    <dgm:pt modelId="{1048CBCD-8606-46A3-A9C6-93BA2188D45D}" type="pres">
      <dgm:prSet presAssocID="{B51A7514-3C80-4F34-AE70-FC0F67840DBC}" presName="textRect" presStyleLbl="revTx" presStyleIdx="1" presStyleCnt="8">
        <dgm:presLayoutVars>
          <dgm:bulletEnabled val="1"/>
        </dgm:presLayoutVars>
      </dgm:prSet>
      <dgm:spPr/>
    </dgm:pt>
    <dgm:pt modelId="{B45EA9ED-9739-45BC-84B0-9B98C0FE6EF7}" type="pres">
      <dgm:prSet presAssocID="{1938A43A-2CEB-4BF2-A5C7-74686FDB0B38}" presName="sibTrans" presStyleLbl="sibTrans2D1" presStyleIdx="0" presStyleCnt="0"/>
      <dgm:spPr/>
    </dgm:pt>
    <dgm:pt modelId="{D19203FF-9A34-40D9-B386-71A6A61E9289}" type="pres">
      <dgm:prSet presAssocID="{39F637E0-3102-4983-803C-221F465ACB3A}" presName="compNode" presStyleCnt="0"/>
      <dgm:spPr/>
    </dgm:pt>
    <dgm:pt modelId="{67E924D6-BC67-48DA-9AFF-6AFD0DCAD91A}" type="pres">
      <dgm:prSet presAssocID="{39F637E0-3102-4983-803C-221F465ACB3A}" presName="pictRect" presStyleLbl="node1" presStyleIdx="2" presStyleCnt="8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</dgm:spPr>
    </dgm:pt>
    <dgm:pt modelId="{E8664773-1146-4E08-988E-85A4DB27CC04}" type="pres">
      <dgm:prSet presAssocID="{39F637E0-3102-4983-803C-221F465ACB3A}" presName="textRect" presStyleLbl="revTx" presStyleIdx="2" presStyleCnt="8">
        <dgm:presLayoutVars>
          <dgm:bulletEnabled val="1"/>
        </dgm:presLayoutVars>
      </dgm:prSet>
      <dgm:spPr/>
    </dgm:pt>
    <dgm:pt modelId="{AE366465-E3AF-4B25-8406-6929FDF3934A}" type="pres">
      <dgm:prSet presAssocID="{EB339D26-6DBE-4319-9A8E-4889E5E09964}" presName="sibTrans" presStyleLbl="sibTrans2D1" presStyleIdx="0" presStyleCnt="0"/>
      <dgm:spPr/>
    </dgm:pt>
    <dgm:pt modelId="{9CB98D24-BBD7-4C1B-95A8-C2CD70A15ECD}" type="pres">
      <dgm:prSet presAssocID="{1B4ABA8E-D49B-4AAE-BD62-9FC9630B37CF}" presName="compNode" presStyleCnt="0"/>
      <dgm:spPr/>
    </dgm:pt>
    <dgm:pt modelId="{C3D0273F-F49F-401F-BC97-964E3B2E7D90}" type="pres">
      <dgm:prSet presAssocID="{1B4ABA8E-D49B-4AAE-BD62-9FC9630B37CF}" presName="pictRect" presStyleLbl="node1" presStyleIdx="3" presStyleCnt="8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7000" b="-27000"/>
          </a:stretch>
        </a:blipFill>
      </dgm:spPr>
    </dgm:pt>
    <dgm:pt modelId="{B1996AC4-B4EA-4811-BFA1-4117545F56BB}" type="pres">
      <dgm:prSet presAssocID="{1B4ABA8E-D49B-4AAE-BD62-9FC9630B37CF}" presName="textRect" presStyleLbl="revTx" presStyleIdx="3" presStyleCnt="8">
        <dgm:presLayoutVars>
          <dgm:bulletEnabled val="1"/>
        </dgm:presLayoutVars>
      </dgm:prSet>
      <dgm:spPr/>
    </dgm:pt>
    <dgm:pt modelId="{908AE7AF-46FB-4741-8AD8-53689DD123CC}" type="pres">
      <dgm:prSet presAssocID="{85EC2043-9BEC-42C3-8727-322251AE2E70}" presName="sibTrans" presStyleLbl="sibTrans2D1" presStyleIdx="0" presStyleCnt="0"/>
      <dgm:spPr/>
    </dgm:pt>
    <dgm:pt modelId="{CB8D2152-0081-42EA-B644-17DFB4A909AD}" type="pres">
      <dgm:prSet presAssocID="{D5B47850-55B0-404A-939E-F00435077454}" presName="compNode" presStyleCnt="0"/>
      <dgm:spPr/>
    </dgm:pt>
    <dgm:pt modelId="{070B06E4-8397-4C8A-BF0D-9A973AD53CFA}" type="pres">
      <dgm:prSet presAssocID="{D5B47850-55B0-404A-939E-F00435077454}" presName="pictRect" presStyleLbl="node1" presStyleIdx="4" presStyleCnt="8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</dgm:spPr>
    </dgm:pt>
    <dgm:pt modelId="{5EDA3734-3F84-436D-B2DD-51EBBBFBA865}" type="pres">
      <dgm:prSet presAssocID="{D5B47850-55B0-404A-939E-F00435077454}" presName="textRect" presStyleLbl="revTx" presStyleIdx="4" presStyleCnt="8">
        <dgm:presLayoutVars>
          <dgm:bulletEnabled val="1"/>
        </dgm:presLayoutVars>
      </dgm:prSet>
      <dgm:spPr/>
    </dgm:pt>
    <dgm:pt modelId="{CC8A029D-5A13-4F4B-821E-770C3DBB5FCB}" type="pres">
      <dgm:prSet presAssocID="{5123D201-BFF0-4235-8D75-5858B5023405}" presName="sibTrans" presStyleLbl="sibTrans2D1" presStyleIdx="0" presStyleCnt="0"/>
      <dgm:spPr/>
    </dgm:pt>
    <dgm:pt modelId="{F3305C69-AD6C-4E72-9EC8-9C6DD66863DF}" type="pres">
      <dgm:prSet presAssocID="{06C4A442-23AD-4C78-A160-4F53339BCD7B}" presName="compNode" presStyleCnt="0"/>
      <dgm:spPr/>
    </dgm:pt>
    <dgm:pt modelId="{3654C9ED-AB11-4496-B53C-76AE7303F121}" type="pres">
      <dgm:prSet presAssocID="{06C4A442-23AD-4C78-A160-4F53339BCD7B}" presName="pictRect" presStyleLbl="node1" presStyleIdx="5" presStyleCnt="8"/>
      <dgm:spPr>
        <a:blipFill>
          <a:blip xmlns:r="http://schemas.openxmlformats.org/officeDocument/2006/relationships"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" b="-2000"/>
          </a:stretch>
        </a:blipFill>
      </dgm:spPr>
    </dgm:pt>
    <dgm:pt modelId="{E77DDDAA-C857-4C16-9F8F-FF9BE6F7EAA9}" type="pres">
      <dgm:prSet presAssocID="{06C4A442-23AD-4C78-A160-4F53339BCD7B}" presName="textRect" presStyleLbl="revTx" presStyleIdx="5" presStyleCnt="8">
        <dgm:presLayoutVars>
          <dgm:bulletEnabled val="1"/>
        </dgm:presLayoutVars>
      </dgm:prSet>
      <dgm:spPr/>
    </dgm:pt>
    <dgm:pt modelId="{16C91E4B-43D4-43A6-82E0-8E9EBFB1402A}" type="pres">
      <dgm:prSet presAssocID="{8BCF1600-818E-49F9-AAF8-F793D27F382A}" presName="sibTrans" presStyleLbl="sibTrans2D1" presStyleIdx="0" presStyleCnt="0"/>
      <dgm:spPr/>
    </dgm:pt>
    <dgm:pt modelId="{A8B9C7A0-020B-45E6-8F1C-C09958A5E80E}" type="pres">
      <dgm:prSet presAssocID="{BF7E3962-BDAF-4E03-A952-32D47AA7852A}" presName="compNode" presStyleCnt="0"/>
      <dgm:spPr/>
    </dgm:pt>
    <dgm:pt modelId="{87065348-78EE-4EC7-8E30-E0AB6C42B9FC}" type="pres">
      <dgm:prSet presAssocID="{BF7E3962-BDAF-4E03-A952-32D47AA7852A}" presName="pictRect" presStyleLbl="node1" presStyleIdx="6" presStyleCnt="8" custAng="0"/>
      <dgm:spPr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1000" r="-21000"/>
          </a:stretch>
        </a:blipFill>
      </dgm:spPr>
    </dgm:pt>
    <dgm:pt modelId="{308AA6F6-E5D0-4C15-9724-909E76D97B5C}" type="pres">
      <dgm:prSet presAssocID="{BF7E3962-BDAF-4E03-A952-32D47AA7852A}" presName="textRect" presStyleLbl="revTx" presStyleIdx="6" presStyleCnt="8">
        <dgm:presLayoutVars>
          <dgm:bulletEnabled val="1"/>
        </dgm:presLayoutVars>
      </dgm:prSet>
      <dgm:spPr/>
    </dgm:pt>
    <dgm:pt modelId="{753CAA32-3A19-4EB9-A473-D877F517DDBA}" type="pres">
      <dgm:prSet presAssocID="{0FF36A2F-E149-40C3-B474-F2972D7F0050}" presName="sibTrans" presStyleLbl="sibTrans2D1" presStyleIdx="0" presStyleCnt="0"/>
      <dgm:spPr/>
    </dgm:pt>
    <dgm:pt modelId="{15633D65-6C6B-478F-9ACF-5352B83DD7E3}" type="pres">
      <dgm:prSet presAssocID="{9DA1D6A9-8976-497F-9D74-767C363B05EE}" presName="compNode" presStyleCnt="0"/>
      <dgm:spPr/>
    </dgm:pt>
    <dgm:pt modelId="{88DDBE96-E244-45AC-AA07-1963B806FA97}" type="pres">
      <dgm:prSet presAssocID="{9DA1D6A9-8976-497F-9D74-767C363B05EE}" presName="pictRect" presStyleLbl="node1" presStyleIdx="7" presStyleCnt="8"/>
      <dgm:spPr>
        <a:blipFill>
          <a:blip xmlns:r="http://schemas.openxmlformats.org/officeDocument/2006/relationships"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</dgm:pt>
    <dgm:pt modelId="{67D70022-F486-430C-A4A1-A39F5DB2100A}" type="pres">
      <dgm:prSet presAssocID="{9DA1D6A9-8976-497F-9D74-767C363B05EE}" presName="textRect" presStyleLbl="revTx" presStyleIdx="7" presStyleCnt="8">
        <dgm:presLayoutVars>
          <dgm:bulletEnabled val="1"/>
        </dgm:presLayoutVars>
      </dgm:prSet>
      <dgm:spPr/>
    </dgm:pt>
  </dgm:ptLst>
  <dgm:cxnLst>
    <dgm:cxn modelId="{36F34601-4DEC-492F-91BD-E2F5B50F97B5}" srcId="{F0F606A7-6BC0-4114-BE1A-54DAFB28F095}" destId="{C96F3CEE-65F6-4E22-B50B-B2995563C82E}" srcOrd="0" destOrd="0" parTransId="{7E641492-590C-4B99-9088-A035C36D1B2A}" sibTransId="{CAE980CA-D130-463E-80A5-31BD196EE662}"/>
    <dgm:cxn modelId="{C771D509-B98D-480E-ACC7-34F4199DCEFC}" type="presOf" srcId="{EB339D26-6DBE-4319-9A8E-4889E5E09964}" destId="{AE366465-E3AF-4B25-8406-6929FDF3934A}" srcOrd="0" destOrd="0" presId="urn:microsoft.com/office/officeart/2005/8/layout/pList1"/>
    <dgm:cxn modelId="{0DB4680C-7CA0-446F-84F5-2E586FB47B02}" type="presOf" srcId="{06C4A442-23AD-4C78-A160-4F53339BCD7B}" destId="{E77DDDAA-C857-4C16-9F8F-FF9BE6F7EAA9}" srcOrd="0" destOrd="0" presId="urn:microsoft.com/office/officeart/2005/8/layout/pList1"/>
    <dgm:cxn modelId="{5F0C5414-0C70-4046-8D92-21725998E9B7}" type="presOf" srcId="{B51A7514-3C80-4F34-AE70-FC0F67840DBC}" destId="{1048CBCD-8606-46A3-A9C6-93BA2188D45D}" srcOrd="0" destOrd="0" presId="urn:microsoft.com/office/officeart/2005/8/layout/pList1"/>
    <dgm:cxn modelId="{7875A018-9C0F-4423-AF71-CBBFDDAC94E7}" srcId="{F0F606A7-6BC0-4114-BE1A-54DAFB28F095}" destId="{06C4A442-23AD-4C78-A160-4F53339BCD7B}" srcOrd="5" destOrd="0" parTransId="{B9F39EC8-5DA9-4146-95E7-1311BE2B5097}" sibTransId="{8BCF1600-818E-49F9-AAF8-F793D27F382A}"/>
    <dgm:cxn modelId="{BDCAC429-DD7C-457C-9C62-BA725048A54F}" type="presOf" srcId="{C96F3CEE-65F6-4E22-B50B-B2995563C82E}" destId="{D68963E9-A32F-41E1-896D-6170B5D0FFCF}" srcOrd="0" destOrd="0" presId="urn:microsoft.com/office/officeart/2005/8/layout/pList1"/>
    <dgm:cxn modelId="{017FA82B-73EC-47C3-BCA1-035417F9D4B0}" type="presOf" srcId="{85EC2043-9BEC-42C3-8727-322251AE2E70}" destId="{908AE7AF-46FB-4741-8AD8-53689DD123CC}" srcOrd="0" destOrd="0" presId="urn:microsoft.com/office/officeart/2005/8/layout/pList1"/>
    <dgm:cxn modelId="{AB59B538-D6B4-4257-BB00-73E43B5C0BC3}" type="presOf" srcId="{1B4ABA8E-D49B-4AAE-BD62-9FC9630B37CF}" destId="{B1996AC4-B4EA-4811-BFA1-4117545F56BB}" srcOrd="0" destOrd="0" presId="urn:microsoft.com/office/officeart/2005/8/layout/pList1"/>
    <dgm:cxn modelId="{88BF5B3B-FBBB-4344-83E6-8B75D828BDD5}" type="presOf" srcId="{5123D201-BFF0-4235-8D75-5858B5023405}" destId="{CC8A029D-5A13-4F4B-821E-770C3DBB5FCB}" srcOrd="0" destOrd="0" presId="urn:microsoft.com/office/officeart/2005/8/layout/pList1"/>
    <dgm:cxn modelId="{69031740-6B03-497A-A757-283286D5C15C}" type="presOf" srcId="{1938A43A-2CEB-4BF2-A5C7-74686FDB0B38}" destId="{B45EA9ED-9739-45BC-84B0-9B98C0FE6EF7}" srcOrd="0" destOrd="0" presId="urn:microsoft.com/office/officeart/2005/8/layout/pList1"/>
    <dgm:cxn modelId="{DA41A564-7BBF-42FF-94B3-63F9BC1CF7C1}" type="presOf" srcId="{CAE980CA-D130-463E-80A5-31BD196EE662}" destId="{9AEA150E-F5F4-4EB5-AB59-A6E71C5142AE}" srcOrd="0" destOrd="0" presId="urn:microsoft.com/office/officeart/2005/8/layout/pList1"/>
    <dgm:cxn modelId="{60358B6A-3C68-46B2-B0B8-A36F16BC86A7}" type="presOf" srcId="{39F637E0-3102-4983-803C-221F465ACB3A}" destId="{E8664773-1146-4E08-988E-85A4DB27CC04}" srcOrd="0" destOrd="0" presId="urn:microsoft.com/office/officeart/2005/8/layout/pList1"/>
    <dgm:cxn modelId="{13891A6D-35A3-4B5A-A70C-982E3D27BC8E}" type="presOf" srcId="{0FF36A2F-E149-40C3-B474-F2972D7F0050}" destId="{753CAA32-3A19-4EB9-A473-D877F517DDBA}" srcOrd="0" destOrd="0" presId="urn:microsoft.com/office/officeart/2005/8/layout/pList1"/>
    <dgm:cxn modelId="{9A596452-C2F2-4086-B06A-77038D63608B}" type="presOf" srcId="{8BCF1600-818E-49F9-AAF8-F793D27F382A}" destId="{16C91E4B-43D4-43A6-82E0-8E9EBFB1402A}" srcOrd="0" destOrd="0" presId="urn:microsoft.com/office/officeart/2005/8/layout/pList1"/>
    <dgm:cxn modelId="{E5AA2279-D37D-4DF4-AD7C-7AFBB8997ED5}" srcId="{F0F606A7-6BC0-4114-BE1A-54DAFB28F095}" destId="{BF7E3962-BDAF-4E03-A952-32D47AA7852A}" srcOrd="6" destOrd="0" parTransId="{F40A7F9A-D5B3-404C-932D-196B691BD03A}" sibTransId="{0FF36A2F-E149-40C3-B474-F2972D7F0050}"/>
    <dgm:cxn modelId="{A669607A-9FBE-4CA3-8DF8-0D26EAD1EECF}" type="presOf" srcId="{9DA1D6A9-8976-497F-9D74-767C363B05EE}" destId="{67D70022-F486-430C-A4A1-A39F5DB2100A}" srcOrd="0" destOrd="0" presId="urn:microsoft.com/office/officeart/2005/8/layout/pList1"/>
    <dgm:cxn modelId="{9E97A8AE-41DF-4CF7-9756-B661D69AC9C6}" srcId="{F0F606A7-6BC0-4114-BE1A-54DAFB28F095}" destId="{D5B47850-55B0-404A-939E-F00435077454}" srcOrd="4" destOrd="0" parTransId="{9AFA8EE9-BD65-4AE0-84FB-3F0705D1479A}" sibTransId="{5123D201-BFF0-4235-8D75-5858B5023405}"/>
    <dgm:cxn modelId="{3E284ECC-E920-4CDA-9734-7497F9559BE6}" srcId="{F0F606A7-6BC0-4114-BE1A-54DAFB28F095}" destId="{39F637E0-3102-4983-803C-221F465ACB3A}" srcOrd="2" destOrd="0" parTransId="{81210079-533B-4B76-9D21-23D0F4302FE2}" sibTransId="{EB339D26-6DBE-4319-9A8E-4889E5E09964}"/>
    <dgm:cxn modelId="{B38C2AE1-4869-4DF6-AE3E-8AA848C6F324}" srcId="{F0F606A7-6BC0-4114-BE1A-54DAFB28F095}" destId="{1B4ABA8E-D49B-4AAE-BD62-9FC9630B37CF}" srcOrd="3" destOrd="0" parTransId="{EA809602-4CC0-4111-9D58-CBBAB02B3AE1}" sibTransId="{85EC2043-9BEC-42C3-8727-322251AE2E70}"/>
    <dgm:cxn modelId="{E49409E5-4FB5-4996-A3FA-B17D83A39D7E}" type="presOf" srcId="{BF7E3962-BDAF-4E03-A952-32D47AA7852A}" destId="{308AA6F6-E5D0-4C15-9724-909E76D97B5C}" srcOrd="0" destOrd="0" presId="urn:microsoft.com/office/officeart/2005/8/layout/pList1"/>
    <dgm:cxn modelId="{84BE73F6-C094-48FE-8A19-4C61D08AB63D}" type="presOf" srcId="{D5B47850-55B0-404A-939E-F00435077454}" destId="{5EDA3734-3F84-436D-B2DD-51EBBBFBA865}" srcOrd="0" destOrd="0" presId="urn:microsoft.com/office/officeart/2005/8/layout/pList1"/>
    <dgm:cxn modelId="{4C5CBCFA-0915-4093-8739-3AED90BD9199}" type="presOf" srcId="{F0F606A7-6BC0-4114-BE1A-54DAFB28F095}" destId="{C43F8330-523E-42CE-9C70-2A66B1BAB772}" srcOrd="0" destOrd="0" presId="urn:microsoft.com/office/officeart/2005/8/layout/pList1"/>
    <dgm:cxn modelId="{5290EDFB-6F5F-4B23-A413-C05ED44A261D}" srcId="{F0F606A7-6BC0-4114-BE1A-54DAFB28F095}" destId="{9DA1D6A9-8976-497F-9D74-767C363B05EE}" srcOrd="7" destOrd="0" parTransId="{6445CA08-514F-4107-9252-FBB307B63F58}" sibTransId="{CDA45843-90E6-41AD-879A-347255C1A9AF}"/>
    <dgm:cxn modelId="{38F949FC-9765-44C8-8519-02300EEA67E8}" srcId="{F0F606A7-6BC0-4114-BE1A-54DAFB28F095}" destId="{B51A7514-3C80-4F34-AE70-FC0F67840DBC}" srcOrd="1" destOrd="0" parTransId="{AEAB5620-BDDA-415A-A3DB-A47BBB3D3170}" sibTransId="{1938A43A-2CEB-4BF2-A5C7-74686FDB0B38}"/>
    <dgm:cxn modelId="{2105F605-0AAD-45DA-82E4-05654E64EC04}" type="presParOf" srcId="{C43F8330-523E-42CE-9C70-2A66B1BAB772}" destId="{924A18E3-AEAA-4F74-AD82-23C6A2DAE6E5}" srcOrd="0" destOrd="0" presId="urn:microsoft.com/office/officeart/2005/8/layout/pList1"/>
    <dgm:cxn modelId="{7F07006D-3315-4816-B542-A0E2CE73111E}" type="presParOf" srcId="{924A18E3-AEAA-4F74-AD82-23C6A2DAE6E5}" destId="{623EBBF2-CA9F-4BB3-B929-47C3908FDE94}" srcOrd="0" destOrd="0" presId="urn:microsoft.com/office/officeart/2005/8/layout/pList1"/>
    <dgm:cxn modelId="{042709EF-A3DF-4BA2-8BAF-0950B111527F}" type="presParOf" srcId="{924A18E3-AEAA-4F74-AD82-23C6A2DAE6E5}" destId="{D68963E9-A32F-41E1-896D-6170B5D0FFCF}" srcOrd="1" destOrd="0" presId="urn:microsoft.com/office/officeart/2005/8/layout/pList1"/>
    <dgm:cxn modelId="{52C72C5B-5FD3-4D96-9E8D-5A1F42EF1CB9}" type="presParOf" srcId="{C43F8330-523E-42CE-9C70-2A66B1BAB772}" destId="{9AEA150E-F5F4-4EB5-AB59-A6E71C5142AE}" srcOrd="1" destOrd="0" presId="urn:microsoft.com/office/officeart/2005/8/layout/pList1"/>
    <dgm:cxn modelId="{B6B1F352-897C-4158-9335-D2446936C38B}" type="presParOf" srcId="{C43F8330-523E-42CE-9C70-2A66B1BAB772}" destId="{8190B307-A3B1-463F-B1F8-54D2FC85967E}" srcOrd="2" destOrd="0" presId="urn:microsoft.com/office/officeart/2005/8/layout/pList1"/>
    <dgm:cxn modelId="{BB9BA13F-50B8-4D71-8A5D-7B2F9DD09CE5}" type="presParOf" srcId="{8190B307-A3B1-463F-B1F8-54D2FC85967E}" destId="{3BD2D139-E59C-4057-9F1A-97D9F8EE28A7}" srcOrd="0" destOrd="0" presId="urn:microsoft.com/office/officeart/2005/8/layout/pList1"/>
    <dgm:cxn modelId="{4EF0449C-EA45-4045-9A4E-F21880A9B730}" type="presParOf" srcId="{8190B307-A3B1-463F-B1F8-54D2FC85967E}" destId="{1048CBCD-8606-46A3-A9C6-93BA2188D45D}" srcOrd="1" destOrd="0" presId="urn:microsoft.com/office/officeart/2005/8/layout/pList1"/>
    <dgm:cxn modelId="{7722C5B3-90A6-40E9-BD2C-F3F1F46B9F73}" type="presParOf" srcId="{C43F8330-523E-42CE-9C70-2A66B1BAB772}" destId="{B45EA9ED-9739-45BC-84B0-9B98C0FE6EF7}" srcOrd="3" destOrd="0" presId="urn:microsoft.com/office/officeart/2005/8/layout/pList1"/>
    <dgm:cxn modelId="{5A13B97A-15FF-4B76-B5F4-02DB510D306D}" type="presParOf" srcId="{C43F8330-523E-42CE-9C70-2A66B1BAB772}" destId="{D19203FF-9A34-40D9-B386-71A6A61E9289}" srcOrd="4" destOrd="0" presId="urn:microsoft.com/office/officeart/2005/8/layout/pList1"/>
    <dgm:cxn modelId="{81A206DA-74EE-498F-969F-F27AEC1CD0BC}" type="presParOf" srcId="{D19203FF-9A34-40D9-B386-71A6A61E9289}" destId="{67E924D6-BC67-48DA-9AFF-6AFD0DCAD91A}" srcOrd="0" destOrd="0" presId="urn:microsoft.com/office/officeart/2005/8/layout/pList1"/>
    <dgm:cxn modelId="{EE099FA6-6B0F-4D01-9246-5C9FA6B5ADED}" type="presParOf" srcId="{D19203FF-9A34-40D9-B386-71A6A61E9289}" destId="{E8664773-1146-4E08-988E-85A4DB27CC04}" srcOrd="1" destOrd="0" presId="urn:microsoft.com/office/officeart/2005/8/layout/pList1"/>
    <dgm:cxn modelId="{CBC9D4C9-2671-44B6-BEED-4820E5013FA4}" type="presParOf" srcId="{C43F8330-523E-42CE-9C70-2A66B1BAB772}" destId="{AE366465-E3AF-4B25-8406-6929FDF3934A}" srcOrd="5" destOrd="0" presId="urn:microsoft.com/office/officeart/2005/8/layout/pList1"/>
    <dgm:cxn modelId="{1C9021B1-5B20-4554-AE4B-10A0E43BF3A1}" type="presParOf" srcId="{C43F8330-523E-42CE-9C70-2A66B1BAB772}" destId="{9CB98D24-BBD7-4C1B-95A8-C2CD70A15ECD}" srcOrd="6" destOrd="0" presId="urn:microsoft.com/office/officeart/2005/8/layout/pList1"/>
    <dgm:cxn modelId="{1631EBEE-442B-4970-9620-87ED57FB8555}" type="presParOf" srcId="{9CB98D24-BBD7-4C1B-95A8-C2CD70A15ECD}" destId="{C3D0273F-F49F-401F-BC97-964E3B2E7D90}" srcOrd="0" destOrd="0" presId="urn:microsoft.com/office/officeart/2005/8/layout/pList1"/>
    <dgm:cxn modelId="{7888EE91-2891-4D89-9CE5-8432124DFEE5}" type="presParOf" srcId="{9CB98D24-BBD7-4C1B-95A8-C2CD70A15ECD}" destId="{B1996AC4-B4EA-4811-BFA1-4117545F56BB}" srcOrd="1" destOrd="0" presId="urn:microsoft.com/office/officeart/2005/8/layout/pList1"/>
    <dgm:cxn modelId="{3C912FB8-E1D1-4342-8545-1E80A6193D49}" type="presParOf" srcId="{C43F8330-523E-42CE-9C70-2A66B1BAB772}" destId="{908AE7AF-46FB-4741-8AD8-53689DD123CC}" srcOrd="7" destOrd="0" presId="urn:microsoft.com/office/officeart/2005/8/layout/pList1"/>
    <dgm:cxn modelId="{E00A5D18-9261-4191-9681-B09363642C63}" type="presParOf" srcId="{C43F8330-523E-42CE-9C70-2A66B1BAB772}" destId="{CB8D2152-0081-42EA-B644-17DFB4A909AD}" srcOrd="8" destOrd="0" presId="urn:microsoft.com/office/officeart/2005/8/layout/pList1"/>
    <dgm:cxn modelId="{BB18194D-71F0-4C7D-B51E-7E26D111C93B}" type="presParOf" srcId="{CB8D2152-0081-42EA-B644-17DFB4A909AD}" destId="{070B06E4-8397-4C8A-BF0D-9A973AD53CFA}" srcOrd="0" destOrd="0" presId="urn:microsoft.com/office/officeart/2005/8/layout/pList1"/>
    <dgm:cxn modelId="{D2469D98-A327-4D6F-BFCE-82A7F026FBD9}" type="presParOf" srcId="{CB8D2152-0081-42EA-B644-17DFB4A909AD}" destId="{5EDA3734-3F84-436D-B2DD-51EBBBFBA865}" srcOrd="1" destOrd="0" presId="urn:microsoft.com/office/officeart/2005/8/layout/pList1"/>
    <dgm:cxn modelId="{783B4965-DD93-4082-8B74-B59574D47385}" type="presParOf" srcId="{C43F8330-523E-42CE-9C70-2A66B1BAB772}" destId="{CC8A029D-5A13-4F4B-821E-770C3DBB5FCB}" srcOrd="9" destOrd="0" presId="urn:microsoft.com/office/officeart/2005/8/layout/pList1"/>
    <dgm:cxn modelId="{4258FD71-5A95-49E7-B9FB-D909CBB912DB}" type="presParOf" srcId="{C43F8330-523E-42CE-9C70-2A66B1BAB772}" destId="{F3305C69-AD6C-4E72-9EC8-9C6DD66863DF}" srcOrd="10" destOrd="0" presId="urn:microsoft.com/office/officeart/2005/8/layout/pList1"/>
    <dgm:cxn modelId="{207B71A5-0CF8-4E5B-862E-1A9F325B96A4}" type="presParOf" srcId="{F3305C69-AD6C-4E72-9EC8-9C6DD66863DF}" destId="{3654C9ED-AB11-4496-B53C-76AE7303F121}" srcOrd="0" destOrd="0" presId="urn:microsoft.com/office/officeart/2005/8/layout/pList1"/>
    <dgm:cxn modelId="{BF1EFE43-DD80-44D9-BCD9-5B5719A4C06C}" type="presParOf" srcId="{F3305C69-AD6C-4E72-9EC8-9C6DD66863DF}" destId="{E77DDDAA-C857-4C16-9F8F-FF9BE6F7EAA9}" srcOrd="1" destOrd="0" presId="urn:microsoft.com/office/officeart/2005/8/layout/pList1"/>
    <dgm:cxn modelId="{866A1144-FA7A-418C-8A3F-8353C75A6E77}" type="presParOf" srcId="{C43F8330-523E-42CE-9C70-2A66B1BAB772}" destId="{16C91E4B-43D4-43A6-82E0-8E9EBFB1402A}" srcOrd="11" destOrd="0" presId="urn:microsoft.com/office/officeart/2005/8/layout/pList1"/>
    <dgm:cxn modelId="{6F62D311-A14E-4326-ADF0-D1FA6E7C67AD}" type="presParOf" srcId="{C43F8330-523E-42CE-9C70-2A66B1BAB772}" destId="{A8B9C7A0-020B-45E6-8F1C-C09958A5E80E}" srcOrd="12" destOrd="0" presId="urn:microsoft.com/office/officeart/2005/8/layout/pList1"/>
    <dgm:cxn modelId="{8053066F-CB8A-4FA3-A98E-13AF7BD3A121}" type="presParOf" srcId="{A8B9C7A0-020B-45E6-8F1C-C09958A5E80E}" destId="{87065348-78EE-4EC7-8E30-E0AB6C42B9FC}" srcOrd="0" destOrd="0" presId="urn:microsoft.com/office/officeart/2005/8/layout/pList1"/>
    <dgm:cxn modelId="{0A8D9BFE-FD26-408B-864F-CBA70BB08DC4}" type="presParOf" srcId="{A8B9C7A0-020B-45E6-8F1C-C09958A5E80E}" destId="{308AA6F6-E5D0-4C15-9724-909E76D97B5C}" srcOrd="1" destOrd="0" presId="urn:microsoft.com/office/officeart/2005/8/layout/pList1"/>
    <dgm:cxn modelId="{24147A4A-CE86-4248-955B-503C3541AC05}" type="presParOf" srcId="{C43F8330-523E-42CE-9C70-2A66B1BAB772}" destId="{753CAA32-3A19-4EB9-A473-D877F517DDBA}" srcOrd="13" destOrd="0" presId="urn:microsoft.com/office/officeart/2005/8/layout/pList1"/>
    <dgm:cxn modelId="{C0ACF006-D9E5-43FF-97E2-8D661A7AADA6}" type="presParOf" srcId="{C43F8330-523E-42CE-9C70-2A66B1BAB772}" destId="{15633D65-6C6B-478F-9ACF-5352B83DD7E3}" srcOrd="14" destOrd="0" presId="urn:microsoft.com/office/officeart/2005/8/layout/pList1"/>
    <dgm:cxn modelId="{40016E5F-836F-43B9-B5AE-3D7CDF11F965}" type="presParOf" srcId="{15633D65-6C6B-478F-9ACF-5352B83DD7E3}" destId="{88DDBE96-E244-45AC-AA07-1963B806FA97}" srcOrd="0" destOrd="0" presId="urn:microsoft.com/office/officeart/2005/8/layout/pList1"/>
    <dgm:cxn modelId="{B0201DB3-8774-4B3C-A4AD-468B3E44448E}" type="presParOf" srcId="{15633D65-6C6B-478F-9ACF-5352B83DD7E3}" destId="{67D70022-F486-430C-A4A1-A39F5DB2100A}" srcOrd="1" destOrd="0" presId="urn:microsoft.com/office/officeart/2005/8/layout/p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9/3/layout/StepUpProcess" loCatId="process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 custT="1"/>
      <dgm:spPr/>
      <dgm:t>
        <a:bodyPr/>
        <a:lstStyle/>
        <a:p>
          <a:r>
            <a:rPr lang="ru-RU" sz="1800" dirty="0"/>
            <a:t>Студенты старших курсов, выпускники Аграрных ВУЗов</a:t>
          </a:r>
          <a:endParaRPr lang="en-US" sz="1800" dirty="0"/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F66099B6-DBBD-4AB0-82D2-877B80F846F7}">
      <dgm:prSet phldrT="[Text]" custT="1"/>
      <dgm:spPr/>
      <dgm:t>
        <a:bodyPr/>
        <a:lstStyle/>
        <a:p>
          <a:r>
            <a:rPr lang="ru-RU" sz="1800" dirty="0"/>
            <a:t>Возможность работать полный рабочий день</a:t>
          </a:r>
          <a:endParaRPr lang="en-US" sz="1800" dirty="0"/>
        </a:p>
      </dgm:t>
    </dgm:pt>
    <dgm:pt modelId="{B09C8BFB-F41C-4AC4-AB94-F216E3081C2D}" type="parTrans" cxnId="{B4F3EA32-CE64-4A92-9BAE-BC57E5392B05}">
      <dgm:prSet/>
      <dgm:spPr/>
      <dgm:t>
        <a:bodyPr/>
        <a:lstStyle/>
        <a:p>
          <a:endParaRPr lang="en-US"/>
        </a:p>
      </dgm:t>
    </dgm:pt>
    <dgm:pt modelId="{BC531B32-9B0E-482E-BF91-65C61F17168D}" type="sibTrans" cxnId="{B4F3EA32-CE64-4A92-9BAE-BC57E5392B05}">
      <dgm:prSet/>
      <dgm:spPr/>
      <dgm:t>
        <a:bodyPr/>
        <a:lstStyle/>
        <a:p>
          <a:endParaRPr lang="en-US"/>
        </a:p>
      </dgm:t>
    </dgm:pt>
    <dgm:pt modelId="{EE62A4F6-4AC4-435B-990E-81A71CE8CAC7}">
      <dgm:prSet phldrT="[Text]" custT="1"/>
      <dgm:spPr/>
      <dgm:t>
        <a:bodyPr/>
        <a:lstStyle/>
        <a:p>
          <a:r>
            <a:rPr lang="ru-RU" sz="1800" dirty="0"/>
            <a:t>Удостоверение водителя категории </a:t>
          </a:r>
          <a:r>
            <a:rPr lang="en-US" sz="1800" dirty="0"/>
            <a:t>B</a:t>
          </a:r>
          <a:endParaRPr lang="uk-UA" sz="1800" dirty="0"/>
        </a:p>
        <a:p>
          <a:r>
            <a:rPr lang="uk-UA" sz="1800" dirty="0"/>
            <a:t>Стаж </a:t>
          </a:r>
          <a:r>
            <a:rPr lang="ru-RU" sz="1800" noProof="0" dirty="0"/>
            <a:t>вождения</a:t>
          </a:r>
          <a:r>
            <a:rPr lang="uk-UA" sz="1800" dirty="0"/>
            <a:t> </a:t>
          </a:r>
          <a:r>
            <a:rPr lang="ru-RU" sz="1800" noProof="0" dirty="0"/>
            <a:t>более</a:t>
          </a:r>
          <a:r>
            <a:rPr lang="uk-UA" sz="1800" dirty="0"/>
            <a:t> </a:t>
          </a:r>
          <a:r>
            <a:rPr lang="ru-RU" sz="1800" noProof="0" dirty="0"/>
            <a:t>года</a:t>
          </a:r>
        </a:p>
      </dgm:t>
    </dgm:pt>
    <dgm:pt modelId="{F287B947-7343-4FA2-B288-B23A59FFAE31}" type="parTrans" cxnId="{3A2CECA6-0C5B-46BB-B7C6-7D37E9D210BD}">
      <dgm:prSet/>
      <dgm:spPr/>
      <dgm:t>
        <a:bodyPr/>
        <a:lstStyle/>
        <a:p>
          <a:endParaRPr lang="en-US"/>
        </a:p>
      </dgm:t>
    </dgm:pt>
    <dgm:pt modelId="{389F9A93-0231-4877-8C41-5D5B8DD7AAC0}" type="sibTrans" cxnId="{3A2CECA6-0C5B-46BB-B7C6-7D37E9D210BD}">
      <dgm:prSet/>
      <dgm:spPr/>
      <dgm:t>
        <a:bodyPr/>
        <a:lstStyle/>
        <a:p>
          <a:endParaRPr lang="en-US"/>
        </a:p>
      </dgm:t>
    </dgm:pt>
    <dgm:pt modelId="{2A22E84C-3AA3-4E9C-AE5F-9C2FB0D7FB11}">
      <dgm:prSet phldrT="[Text]" custT="1"/>
      <dgm:spPr/>
      <dgm:t>
        <a:bodyPr/>
        <a:lstStyle/>
        <a:p>
          <a:r>
            <a:rPr lang="ru-RU" sz="1800" noProof="0" dirty="0"/>
            <a:t>Базовые</a:t>
          </a:r>
          <a:r>
            <a:rPr lang="uk-UA" sz="1800" dirty="0"/>
            <a:t> </a:t>
          </a:r>
          <a:r>
            <a:rPr lang="ru-RU" sz="1800" noProof="0" dirty="0"/>
            <a:t>знания</a:t>
          </a:r>
          <a:r>
            <a:rPr lang="uk-UA" sz="1800" dirty="0"/>
            <a:t> </a:t>
          </a:r>
          <a:r>
            <a:rPr lang="ru-RU" sz="1800" noProof="0" dirty="0"/>
            <a:t>физиологии</a:t>
          </a:r>
          <a:r>
            <a:rPr lang="uk-UA" sz="1800" dirty="0"/>
            <a:t> </a:t>
          </a:r>
          <a:r>
            <a:rPr lang="ru-RU" sz="1800" noProof="0" dirty="0"/>
            <a:t>растения</a:t>
          </a:r>
          <a:r>
            <a:rPr lang="uk-UA" sz="1800" dirty="0"/>
            <a:t>, </a:t>
          </a:r>
          <a:r>
            <a:rPr lang="ru-RU" sz="1800" noProof="0" dirty="0"/>
            <a:t>защит</a:t>
          </a:r>
          <a:r>
            <a:rPr lang="ru-RU" sz="1800" dirty="0"/>
            <a:t>ы.</a:t>
          </a:r>
        </a:p>
        <a:p>
          <a:r>
            <a:rPr lang="ru-RU" sz="1800" dirty="0"/>
            <a:t>Агро технологий</a:t>
          </a:r>
          <a:endParaRPr lang="en-US" sz="1800" dirty="0"/>
        </a:p>
      </dgm:t>
    </dgm:pt>
    <dgm:pt modelId="{6C025E55-DF42-4C5D-AFD5-6015FA053D46}" type="parTrans" cxnId="{BEB859E7-C343-408E-86A1-667C27EE5761}">
      <dgm:prSet/>
      <dgm:spPr/>
      <dgm:t>
        <a:bodyPr/>
        <a:lstStyle/>
        <a:p>
          <a:endParaRPr lang="en-US"/>
        </a:p>
      </dgm:t>
    </dgm:pt>
    <dgm:pt modelId="{744EA591-F199-49C2-B63A-82709D96C729}" type="sibTrans" cxnId="{BEB859E7-C343-408E-86A1-667C27EE5761}">
      <dgm:prSet/>
      <dgm:spPr/>
      <dgm:t>
        <a:bodyPr/>
        <a:lstStyle/>
        <a:p>
          <a:endParaRPr lang="en-US"/>
        </a:p>
      </dgm:t>
    </dgm:pt>
    <dgm:pt modelId="{36045517-CEA4-4BE3-B836-C2B6BFE5649B}">
      <dgm:prSet phldrT="[Text]" custT="1"/>
      <dgm:spPr/>
      <dgm:t>
        <a:bodyPr/>
        <a:lstStyle/>
        <a:p>
          <a:r>
            <a:rPr lang="ru-RU" sz="1800" dirty="0"/>
            <a:t>Желание развиваться и достигать целей</a:t>
          </a:r>
          <a:endParaRPr lang="en-US" sz="1800" dirty="0"/>
        </a:p>
      </dgm:t>
    </dgm:pt>
    <dgm:pt modelId="{6231A36F-9B04-4B4A-917A-7E163AFFC956}" type="parTrans" cxnId="{4019353B-443B-4DED-AA6C-3C60E18414C7}">
      <dgm:prSet/>
      <dgm:spPr/>
      <dgm:t>
        <a:bodyPr/>
        <a:lstStyle/>
        <a:p>
          <a:endParaRPr lang="en-US"/>
        </a:p>
      </dgm:t>
    </dgm:pt>
    <dgm:pt modelId="{BFF3C5ED-87D0-4709-A3B8-A7BF0668006A}" type="sibTrans" cxnId="{4019353B-443B-4DED-AA6C-3C60E18414C7}">
      <dgm:prSet/>
      <dgm:spPr/>
      <dgm:t>
        <a:bodyPr/>
        <a:lstStyle/>
        <a:p>
          <a:endParaRPr lang="en-US"/>
        </a:p>
      </dgm:t>
    </dgm:pt>
    <dgm:pt modelId="{708A0BF7-A416-4709-A87C-21F3398CAEA5}" type="pres">
      <dgm:prSet presAssocID="{B9C32B05-62EA-407A-B21C-2310C7945705}" presName="rootnode" presStyleCnt="0">
        <dgm:presLayoutVars>
          <dgm:chMax/>
          <dgm:chPref/>
          <dgm:dir/>
          <dgm:animLvl val="lvl"/>
        </dgm:presLayoutVars>
      </dgm:prSet>
      <dgm:spPr/>
    </dgm:pt>
    <dgm:pt modelId="{B3E71B69-C578-4E00-9927-34A16E9C96C9}" type="pres">
      <dgm:prSet presAssocID="{42D71409-67F9-455C-8C6D-716D284AAA6B}" presName="composite" presStyleCnt="0"/>
      <dgm:spPr/>
    </dgm:pt>
    <dgm:pt modelId="{C29D15C6-07AC-4589-8CCC-24CF3FC9C6DB}" type="pres">
      <dgm:prSet presAssocID="{42D71409-67F9-455C-8C6D-716D284AAA6B}" presName="LShape" presStyleLbl="alignNode1" presStyleIdx="0" presStyleCnt="9"/>
      <dgm:spPr/>
    </dgm:pt>
    <dgm:pt modelId="{A3EF2DD0-17D3-4D27-B4F6-F9D46B57DF85}" type="pres">
      <dgm:prSet presAssocID="{42D71409-67F9-455C-8C6D-716D284AAA6B}" presName="ParentText" presStyleLbl="revTx" presStyleIdx="0" presStyleCnt="5" custScaleX="126747" custLinFactNeighborX="16696" custLinFactNeighborY="4141">
        <dgm:presLayoutVars>
          <dgm:chMax val="0"/>
          <dgm:chPref val="0"/>
          <dgm:bulletEnabled val="1"/>
        </dgm:presLayoutVars>
      </dgm:prSet>
      <dgm:spPr/>
    </dgm:pt>
    <dgm:pt modelId="{BB165B35-CC80-4076-9101-07C7DE8E269A}" type="pres">
      <dgm:prSet presAssocID="{42D71409-67F9-455C-8C6D-716D284AAA6B}" presName="Triangle" presStyleLbl="alignNode1" presStyleIdx="1" presStyleCnt="9"/>
      <dgm:spPr/>
    </dgm:pt>
    <dgm:pt modelId="{04F961E3-A1B5-4FBF-9B38-94710F5F3C00}" type="pres">
      <dgm:prSet presAssocID="{478B7D3C-9FB4-4BC6-90AC-49960560DECD}" presName="sibTrans" presStyleCnt="0"/>
      <dgm:spPr/>
    </dgm:pt>
    <dgm:pt modelId="{B9D60B59-BC9C-44DB-9A02-BD1392D29DD8}" type="pres">
      <dgm:prSet presAssocID="{478B7D3C-9FB4-4BC6-90AC-49960560DECD}" presName="space" presStyleCnt="0"/>
      <dgm:spPr/>
    </dgm:pt>
    <dgm:pt modelId="{B03D98BE-D17B-42A9-9066-2A4EA88D1885}" type="pres">
      <dgm:prSet presAssocID="{F66099B6-DBBD-4AB0-82D2-877B80F846F7}" presName="composite" presStyleCnt="0"/>
      <dgm:spPr/>
    </dgm:pt>
    <dgm:pt modelId="{3C3FC654-B3F4-4CBE-AA1B-608264053F6B}" type="pres">
      <dgm:prSet presAssocID="{F66099B6-DBBD-4AB0-82D2-877B80F846F7}" presName="LShape" presStyleLbl="alignNode1" presStyleIdx="2" presStyleCnt="9"/>
      <dgm:spPr/>
    </dgm:pt>
    <dgm:pt modelId="{090D207F-6633-4503-95C2-3F109B785740}" type="pres">
      <dgm:prSet presAssocID="{F66099B6-DBBD-4AB0-82D2-877B80F846F7}" presName="ParentText" presStyleLbl="revTx" presStyleIdx="1" presStyleCnt="5" custScaleX="121920" custLinFactNeighborX="14104" custLinFactNeighborY="5797">
        <dgm:presLayoutVars>
          <dgm:chMax val="0"/>
          <dgm:chPref val="0"/>
          <dgm:bulletEnabled val="1"/>
        </dgm:presLayoutVars>
      </dgm:prSet>
      <dgm:spPr/>
    </dgm:pt>
    <dgm:pt modelId="{C316683A-655C-45FC-AFF7-0765AEE8E61F}" type="pres">
      <dgm:prSet presAssocID="{F66099B6-DBBD-4AB0-82D2-877B80F846F7}" presName="Triangle" presStyleLbl="alignNode1" presStyleIdx="3" presStyleCnt="9"/>
      <dgm:spPr/>
    </dgm:pt>
    <dgm:pt modelId="{FC82A982-E7A9-4B95-9A6D-45797516FD8C}" type="pres">
      <dgm:prSet presAssocID="{BC531B32-9B0E-482E-BF91-65C61F17168D}" presName="sibTrans" presStyleCnt="0"/>
      <dgm:spPr/>
    </dgm:pt>
    <dgm:pt modelId="{ECE9E7A1-EC98-4B28-9ECA-B452EE8F465D}" type="pres">
      <dgm:prSet presAssocID="{BC531B32-9B0E-482E-BF91-65C61F17168D}" presName="space" presStyleCnt="0"/>
      <dgm:spPr/>
    </dgm:pt>
    <dgm:pt modelId="{56E07F61-8D9B-4CF4-A00C-16D55D2D62FF}" type="pres">
      <dgm:prSet presAssocID="{EE62A4F6-4AC4-435B-990E-81A71CE8CAC7}" presName="composite" presStyleCnt="0"/>
      <dgm:spPr/>
    </dgm:pt>
    <dgm:pt modelId="{46A9F2B5-1B55-4913-9546-59E0E1D0110A}" type="pres">
      <dgm:prSet presAssocID="{EE62A4F6-4AC4-435B-990E-81A71CE8CAC7}" presName="LShape" presStyleLbl="alignNode1" presStyleIdx="4" presStyleCnt="9"/>
      <dgm:spPr/>
    </dgm:pt>
    <dgm:pt modelId="{FB36B8EF-09FD-4F50-B1B2-2C7A4D27391E}" type="pres">
      <dgm:prSet presAssocID="{EE62A4F6-4AC4-435B-990E-81A71CE8CAC7}" presName="ParentText" presStyleLbl="revTx" presStyleIdx="2" presStyleCnt="5" custScaleX="120235" custLinFactNeighborX="15971" custLinFactNeighborY="6626">
        <dgm:presLayoutVars>
          <dgm:chMax val="0"/>
          <dgm:chPref val="0"/>
          <dgm:bulletEnabled val="1"/>
        </dgm:presLayoutVars>
      </dgm:prSet>
      <dgm:spPr/>
    </dgm:pt>
    <dgm:pt modelId="{1C955794-C0D3-4843-9D15-76FD669DD9B1}" type="pres">
      <dgm:prSet presAssocID="{EE62A4F6-4AC4-435B-990E-81A71CE8CAC7}" presName="Triangle" presStyleLbl="alignNode1" presStyleIdx="5" presStyleCnt="9"/>
      <dgm:spPr/>
    </dgm:pt>
    <dgm:pt modelId="{B0733124-E5A0-4DB8-996A-290668FB57FE}" type="pres">
      <dgm:prSet presAssocID="{389F9A93-0231-4877-8C41-5D5B8DD7AAC0}" presName="sibTrans" presStyleCnt="0"/>
      <dgm:spPr/>
    </dgm:pt>
    <dgm:pt modelId="{2B15E32C-18BF-4EF5-BAEC-CC5BA00D8CC1}" type="pres">
      <dgm:prSet presAssocID="{389F9A93-0231-4877-8C41-5D5B8DD7AAC0}" presName="space" presStyleCnt="0"/>
      <dgm:spPr/>
    </dgm:pt>
    <dgm:pt modelId="{B4DEE251-9736-43F6-B85F-A38BAE93774B}" type="pres">
      <dgm:prSet presAssocID="{2A22E84C-3AA3-4E9C-AE5F-9C2FB0D7FB11}" presName="composite" presStyleCnt="0"/>
      <dgm:spPr/>
    </dgm:pt>
    <dgm:pt modelId="{EC0D2D31-959E-4F74-BE42-635C8A784ABE}" type="pres">
      <dgm:prSet presAssocID="{2A22E84C-3AA3-4E9C-AE5F-9C2FB0D7FB11}" presName="LShape" presStyleLbl="alignNode1" presStyleIdx="6" presStyleCnt="9"/>
      <dgm:spPr/>
    </dgm:pt>
    <dgm:pt modelId="{13EC714B-C3FE-4641-BC69-7AD59D4978D4}" type="pres">
      <dgm:prSet presAssocID="{2A22E84C-3AA3-4E9C-AE5F-9C2FB0D7FB11}" presName="ParentText" presStyleLbl="revTx" presStyleIdx="3" presStyleCnt="5" custScaleX="138797" custLinFactNeighborX="23531" custLinFactNeighborY="9670">
        <dgm:presLayoutVars>
          <dgm:chMax val="0"/>
          <dgm:chPref val="0"/>
          <dgm:bulletEnabled val="1"/>
        </dgm:presLayoutVars>
      </dgm:prSet>
      <dgm:spPr/>
    </dgm:pt>
    <dgm:pt modelId="{6E2C60CB-92D3-42C7-9797-B98A7E7024F7}" type="pres">
      <dgm:prSet presAssocID="{2A22E84C-3AA3-4E9C-AE5F-9C2FB0D7FB11}" presName="Triangle" presStyleLbl="alignNode1" presStyleIdx="7" presStyleCnt="9"/>
      <dgm:spPr/>
    </dgm:pt>
    <dgm:pt modelId="{FB177E7D-E7E5-4B21-9EBE-026B5AD19806}" type="pres">
      <dgm:prSet presAssocID="{744EA591-F199-49C2-B63A-82709D96C729}" presName="sibTrans" presStyleCnt="0"/>
      <dgm:spPr/>
    </dgm:pt>
    <dgm:pt modelId="{6B33A980-B9B4-445B-B85F-3EF5CA37DF88}" type="pres">
      <dgm:prSet presAssocID="{744EA591-F199-49C2-B63A-82709D96C729}" presName="space" presStyleCnt="0"/>
      <dgm:spPr/>
    </dgm:pt>
    <dgm:pt modelId="{4235A5D0-5CFC-4233-938E-C5754FC7FA68}" type="pres">
      <dgm:prSet presAssocID="{36045517-CEA4-4BE3-B836-C2B6BFE5649B}" presName="composite" presStyleCnt="0"/>
      <dgm:spPr/>
    </dgm:pt>
    <dgm:pt modelId="{08FC8BE4-95D3-4409-AA7F-3573E266C6CD}" type="pres">
      <dgm:prSet presAssocID="{36045517-CEA4-4BE3-B836-C2B6BFE5649B}" presName="LShape" presStyleLbl="alignNode1" presStyleIdx="8" presStyleCnt="9"/>
      <dgm:spPr/>
    </dgm:pt>
    <dgm:pt modelId="{B0D8CB92-0718-41D1-B065-99B075A8BBD5}" type="pres">
      <dgm:prSet presAssocID="{36045517-CEA4-4BE3-B836-C2B6BFE5649B}" presName="ParentText" presStyleLbl="revTx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FDAFDB1D-3DB5-4D8E-B231-D7CF4315E13E}" type="presOf" srcId="{F66099B6-DBBD-4AB0-82D2-877B80F846F7}" destId="{090D207F-6633-4503-95C2-3F109B785740}" srcOrd="0" destOrd="0" presId="urn:microsoft.com/office/officeart/2009/3/layout/StepUpProcess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00437431-D57F-4158-9456-650097E3DC51}" type="presOf" srcId="{36045517-CEA4-4BE3-B836-C2B6BFE5649B}" destId="{B0D8CB92-0718-41D1-B065-99B075A8BBD5}" srcOrd="0" destOrd="0" presId="urn:microsoft.com/office/officeart/2009/3/layout/StepUpProcess"/>
    <dgm:cxn modelId="{B4F3EA32-CE64-4A92-9BAE-BC57E5392B05}" srcId="{B9C32B05-62EA-407A-B21C-2310C7945705}" destId="{F66099B6-DBBD-4AB0-82D2-877B80F846F7}" srcOrd="1" destOrd="0" parTransId="{B09C8BFB-F41C-4AC4-AB94-F216E3081C2D}" sibTransId="{BC531B32-9B0E-482E-BF91-65C61F17168D}"/>
    <dgm:cxn modelId="{B8009F3A-2527-4901-8F52-E3DA976A3031}" type="presOf" srcId="{B9C32B05-62EA-407A-B21C-2310C7945705}" destId="{708A0BF7-A416-4709-A87C-21F3398CAEA5}" srcOrd="0" destOrd="0" presId="urn:microsoft.com/office/officeart/2009/3/layout/StepUpProcess"/>
    <dgm:cxn modelId="{4019353B-443B-4DED-AA6C-3C60E18414C7}" srcId="{B9C32B05-62EA-407A-B21C-2310C7945705}" destId="{36045517-CEA4-4BE3-B836-C2B6BFE5649B}" srcOrd="4" destOrd="0" parTransId="{6231A36F-9B04-4B4A-917A-7E163AFFC956}" sibTransId="{BFF3C5ED-87D0-4709-A3B8-A7BF0668006A}"/>
    <dgm:cxn modelId="{4A147148-C240-4539-AB3C-7BED827A1F1B}" type="presOf" srcId="{EE62A4F6-4AC4-435B-990E-81A71CE8CAC7}" destId="{FB36B8EF-09FD-4F50-B1B2-2C7A4D27391E}" srcOrd="0" destOrd="0" presId="urn:microsoft.com/office/officeart/2009/3/layout/StepUpProcess"/>
    <dgm:cxn modelId="{3A2CECA6-0C5B-46BB-B7C6-7D37E9D210BD}" srcId="{B9C32B05-62EA-407A-B21C-2310C7945705}" destId="{EE62A4F6-4AC4-435B-990E-81A71CE8CAC7}" srcOrd="2" destOrd="0" parTransId="{F287B947-7343-4FA2-B288-B23A59FFAE31}" sibTransId="{389F9A93-0231-4877-8C41-5D5B8DD7AAC0}"/>
    <dgm:cxn modelId="{AA26AEBE-53DA-43D5-9535-52DF708087CA}" type="presOf" srcId="{42D71409-67F9-455C-8C6D-716D284AAA6B}" destId="{A3EF2DD0-17D3-4D27-B4F6-F9D46B57DF85}" srcOrd="0" destOrd="0" presId="urn:microsoft.com/office/officeart/2009/3/layout/StepUpProcess"/>
    <dgm:cxn modelId="{059D23D4-169E-435C-9416-D28C7B662DCF}" type="presOf" srcId="{2A22E84C-3AA3-4E9C-AE5F-9C2FB0D7FB11}" destId="{13EC714B-C3FE-4641-BC69-7AD59D4978D4}" srcOrd="0" destOrd="0" presId="urn:microsoft.com/office/officeart/2009/3/layout/StepUpProcess"/>
    <dgm:cxn modelId="{BEB859E7-C343-408E-86A1-667C27EE5761}" srcId="{B9C32B05-62EA-407A-B21C-2310C7945705}" destId="{2A22E84C-3AA3-4E9C-AE5F-9C2FB0D7FB11}" srcOrd="3" destOrd="0" parTransId="{6C025E55-DF42-4C5D-AFD5-6015FA053D46}" sibTransId="{744EA591-F199-49C2-B63A-82709D96C729}"/>
    <dgm:cxn modelId="{1A7F2C90-B315-4317-9F68-6B7744F6BFB5}" type="presParOf" srcId="{708A0BF7-A416-4709-A87C-21F3398CAEA5}" destId="{B3E71B69-C578-4E00-9927-34A16E9C96C9}" srcOrd="0" destOrd="0" presId="urn:microsoft.com/office/officeart/2009/3/layout/StepUpProcess"/>
    <dgm:cxn modelId="{BDE25872-D7D3-4B08-9BE5-B23944F60B38}" type="presParOf" srcId="{B3E71B69-C578-4E00-9927-34A16E9C96C9}" destId="{C29D15C6-07AC-4589-8CCC-24CF3FC9C6DB}" srcOrd="0" destOrd="0" presId="urn:microsoft.com/office/officeart/2009/3/layout/StepUpProcess"/>
    <dgm:cxn modelId="{6EBD341D-7626-46FC-A0CC-422219D0BBE9}" type="presParOf" srcId="{B3E71B69-C578-4E00-9927-34A16E9C96C9}" destId="{A3EF2DD0-17D3-4D27-B4F6-F9D46B57DF85}" srcOrd="1" destOrd="0" presId="urn:microsoft.com/office/officeart/2009/3/layout/StepUpProcess"/>
    <dgm:cxn modelId="{A42B0AF2-E821-4BD4-85AC-9B07E3E97893}" type="presParOf" srcId="{B3E71B69-C578-4E00-9927-34A16E9C96C9}" destId="{BB165B35-CC80-4076-9101-07C7DE8E269A}" srcOrd="2" destOrd="0" presId="urn:microsoft.com/office/officeart/2009/3/layout/StepUpProcess"/>
    <dgm:cxn modelId="{90145FAC-9084-4F10-BD6A-FDC2B411A9A9}" type="presParOf" srcId="{708A0BF7-A416-4709-A87C-21F3398CAEA5}" destId="{04F961E3-A1B5-4FBF-9B38-94710F5F3C00}" srcOrd="1" destOrd="0" presId="urn:microsoft.com/office/officeart/2009/3/layout/StepUpProcess"/>
    <dgm:cxn modelId="{2D796D8C-6BBE-4B32-BC80-E8DCB41ED07C}" type="presParOf" srcId="{04F961E3-A1B5-4FBF-9B38-94710F5F3C00}" destId="{B9D60B59-BC9C-44DB-9A02-BD1392D29DD8}" srcOrd="0" destOrd="0" presId="urn:microsoft.com/office/officeart/2009/3/layout/StepUpProcess"/>
    <dgm:cxn modelId="{97DB997A-081B-43F1-A8DF-BF31ED89713E}" type="presParOf" srcId="{708A0BF7-A416-4709-A87C-21F3398CAEA5}" destId="{B03D98BE-D17B-42A9-9066-2A4EA88D1885}" srcOrd="2" destOrd="0" presId="urn:microsoft.com/office/officeart/2009/3/layout/StepUpProcess"/>
    <dgm:cxn modelId="{248C2D3F-2880-4072-BB7B-FBF047C7FA3E}" type="presParOf" srcId="{B03D98BE-D17B-42A9-9066-2A4EA88D1885}" destId="{3C3FC654-B3F4-4CBE-AA1B-608264053F6B}" srcOrd="0" destOrd="0" presId="urn:microsoft.com/office/officeart/2009/3/layout/StepUpProcess"/>
    <dgm:cxn modelId="{B1D424A9-398E-46B4-9118-7CBF8EC84FDE}" type="presParOf" srcId="{B03D98BE-D17B-42A9-9066-2A4EA88D1885}" destId="{090D207F-6633-4503-95C2-3F109B785740}" srcOrd="1" destOrd="0" presId="urn:microsoft.com/office/officeart/2009/3/layout/StepUpProcess"/>
    <dgm:cxn modelId="{2B522E8B-ECDA-433C-A159-389E2D513661}" type="presParOf" srcId="{B03D98BE-D17B-42A9-9066-2A4EA88D1885}" destId="{C316683A-655C-45FC-AFF7-0765AEE8E61F}" srcOrd="2" destOrd="0" presId="urn:microsoft.com/office/officeart/2009/3/layout/StepUpProcess"/>
    <dgm:cxn modelId="{8DAEE030-43E9-4B56-88AE-5387BE963097}" type="presParOf" srcId="{708A0BF7-A416-4709-A87C-21F3398CAEA5}" destId="{FC82A982-E7A9-4B95-9A6D-45797516FD8C}" srcOrd="3" destOrd="0" presId="urn:microsoft.com/office/officeart/2009/3/layout/StepUpProcess"/>
    <dgm:cxn modelId="{68B3E686-F8C3-482F-AA84-3AA7F37BED82}" type="presParOf" srcId="{FC82A982-E7A9-4B95-9A6D-45797516FD8C}" destId="{ECE9E7A1-EC98-4B28-9ECA-B452EE8F465D}" srcOrd="0" destOrd="0" presId="urn:microsoft.com/office/officeart/2009/3/layout/StepUpProcess"/>
    <dgm:cxn modelId="{E4C9F145-2FB3-4092-8B48-8715BE5ADCB0}" type="presParOf" srcId="{708A0BF7-A416-4709-A87C-21F3398CAEA5}" destId="{56E07F61-8D9B-4CF4-A00C-16D55D2D62FF}" srcOrd="4" destOrd="0" presId="urn:microsoft.com/office/officeart/2009/3/layout/StepUpProcess"/>
    <dgm:cxn modelId="{48516B70-FE22-492A-B35A-D4EB70222540}" type="presParOf" srcId="{56E07F61-8D9B-4CF4-A00C-16D55D2D62FF}" destId="{46A9F2B5-1B55-4913-9546-59E0E1D0110A}" srcOrd="0" destOrd="0" presId="urn:microsoft.com/office/officeart/2009/3/layout/StepUpProcess"/>
    <dgm:cxn modelId="{7F43CE7B-9377-4D18-82D7-B738AE0A9190}" type="presParOf" srcId="{56E07F61-8D9B-4CF4-A00C-16D55D2D62FF}" destId="{FB36B8EF-09FD-4F50-B1B2-2C7A4D27391E}" srcOrd="1" destOrd="0" presId="urn:microsoft.com/office/officeart/2009/3/layout/StepUpProcess"/>
    <dgm:cxn modelId="{01755276-E5F3-4757-982D-018AC0D3BC5E}" type="presParOf" srcId="{56E07F61-8D9B-4CF4-A00C-16D55D2D62FF}" destId="{1C955794-C0D3-4843-9D15-76FD669DD9B1}" srcOrd="2" destOrd="0" presId="urn:microsoft.com/office/officeart/2009/3/layout/StepUpProcess"/>
    <dgm:cxn modelId="{C0F843CC-A576-4139-AB84-387F9E5EC6D2}" type="presParOf" srcId="{708A0BF7-A416-4709-A87C-21F3398CAEA5}" destId="{B0733124-E5A0-4DB8-996A-290668FB57FE}" srcOrd="5" destOrd="0" presId="urn:microsoft.com/office/officeart/2009/3/layout/StepUpProcess"/>
    <dgm:cxn modelId="{D754C758-D63D-4F90-B3DE-0D4055706FD4}" type="presParOf" srcId="{B0733124-E5A0-4DB8-996A-290668FB57FE}" destId="{2B15E32C-18BF-4EF5-BAEC-CC5BA00D8CC1}" srcOrd="0" destOrd="0" presId="urn:microsoft.com/office/officeart/2009/3/layout/StepUpProcess"/>
    <dgm:cxn modelId="{0B3FF8EC-EC3D-4266-88F1-3B37C5CA1731}" type="presParOf" srcId="{708A0BF7-A416-4709-A87C-21F3398CAEA5}" destId="{B4DEE251-9736-43F6-B85F-A38BAE93774B}" srcOrd="6" destOrd="0" presId="urn:microsoft.com/office/officeart/2009/3/layout/StepUpProcess"/>
    <dgm:cxn modelId="{44535913-3FC8-4D77-B43E-E7EE0050EFAF}" type="presParOf" srcId="{B4DEE251-9736-43F6-B85F-A38BAE93774B}" destId="{EC0D2D31-959E-4F74-BE42-635C8A784ABE}" srcOrd="0" destOrd="0" presId="urn:microsoft.com/office/officeart/2009/3/layout/StepUpProcess"/>
    <dgm:cxn modelId="{C1152CCD-74BD-41F0-BE28-5E61E1C2C82F}" type="presParOf" srcId="{B4DEE251-9736-43F6-B85F-A38BAE93774B}" destId="{13EC714B-C3FE-4641-BC69-7AD59D4978D4}" srcOrd="1" destOrd="0" presId="urn:microsoft.com/office/officeart/2009/3/layout/StepUpProcess"/>
    <dgm:cxn modelId="{3D490EB2-64AC-437E-B6A0-920E49D7A230}" type="presParOf" srcId="{B4DEE251-9736-43F6-B85F-A38BAE93774B}" destId="{6E2C60CB-92D3-42C7-9797-B98A7E7024F7}" srcOrd="2" destOrd="0" presId="urn:microsoft.com/office/officeart/2009/3/layout/StepUpProcess"/>
    <dgm:cxn modelId="{CE06A40F-0FC5-46D5-9472-C16DDEA795B6}" type="presParOf" srcId="{708A0BF7-A416-4709-A87C-21F3398CAEA5}" destId="{FB177E7D-E7E5-4B21-9EBE-026B5AD19806}" srcOrd="7" destOrd="0" presId="urn:microsoft.com/office/officeart/2009/3/layout/StepUpProcess"/>
    <dgm:cxn modelId="{071A403B-EA26-4C73-9988-858F09608709}" type="presParOf" srcId="{FB177E7D-E7E5-4B21-9EBE-026B5AD19806}" destId="{6B33A980-B9B4-445B-B85F-3EF5CA37DF88}" srcOrd="0" destOrd="0" presId="urn:microsoft.com/office/officeart/2009/3/layout/StepUpProcess"/>
    <dgm:cxn modelId="{CC42482C-954E-4F71-84D4-3E2D7F2499A6}" type="presParOf" srcId="{708A0BF7-A416-4709-A87C-21F3398CAEA5}" destId="{4235A5D0-5CFC-4233-938E-C5754FC7FA68}" srcOrd="8" destOrd="0" presId="urn:microsoft.com/office/officeart/2009/3/layout/StepUpProcess"/>
    <dgm:cxn modelId="{8673112C-6B53-4762-87ED-FEE86535747A}" type="presParOf" srcId="{4235A5D0-5CFC-4233-938E-C5754FC7FA68}" destId="{08FC8BE4-95D3-4409-AA7F-3573E266C6CD}" srcOrd="0" destOrd="0" presId="urn:microsoft.com/office/officeart/2009/3/layout/StepUpProcess"/>
    <dgm:cxn modelId="{40DDD70E-BBFE-48D4-9D0A-A93CDC6F8305}" type="presParOf" srcId="{4235A5D0-5CFC-4233-938E-C5754FC7FA68}" destId="{B0D8CB92-0718-41D1-B065-99B075A8BBD5}" srcOrd="1" destOrd="0" presId="urn:microsoft.com/office/officeart/2009/3/layout/StepUpProces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hProcess9" loCatId="process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/>
      <dgm:spPr/>
      <dgm:t>
        <a:bodyPr/>
        <a:lstStyle/>
        <a:p>
          <a:r>
            <a:rPr lang="ru-RU" dirty="0"/>
            <a:t>Формирование базы клиентов</a:t>
          </a:r>
          <a:endParaRPr lang="en-US" dirty="0"/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F66099B6-DBBD-4AB0-82D2-877B80F846F7}">
      <dgm:prSet phldrT="[Text]"/>
      <dgm:spPr/>
      <dgm:t>
        <a:bodyPr/>
        <a:lstStyle/>
        <a:p>
          <a:r>
            <a:rPr lang="ru-RU" dirty="0"/>
            <a:t>Осуществлять визиты в хозяйства</a:t>
          </a:r>
          <a:endParaRPr lang="en-US" dirty="0"/>
        </a:p>
      </dgm:t>
    </dgm:pt>
    <dgm:pt modelId="{B09C8BFB-F41C-4AC4-AB94-F216E3081C2D}" type="parTrans" cxnId="{B4F3EA32-CE64-4A92-9BAE-BC57E5392B05}">
      <dgm:prSet/>
      <dgm:spPr/>
      <dgm:t>
        <a:bodyPr/>
        <a:lstStyle/>
        <a:p>
          <a:endParaRPr lang="en-US"/>
        </a:p>
      </dgm:t>
    </dgm:pt>
    <dgm:pt modelId="{BC531B32-9B0E-482E-BF91-65C61F17168D}" type="sibTrans" cxnId="{B4F3EA32-CE64-4A92-9BAE-BC57E5392B05}">
      <dgm:prSet/>
      <dgm:spPr/>
      <dgm:t>
        <a:bodyPr/>
        <a:lstStyle/>
        <a:p>
          <a:endParaRPr lang="en-US"/>
        </a:p>
      </dgm:t>
    </dgm:pt>
    <dgm:pt modelId="{EE62A4F6-4AC4-435B-990E-81A71CE8CAC7}">
      <dgm:prSet phldrT="[Text]"/>
      <dgm:spPr/>
      <dgm:t>
        <a:bodyPr/>
        <a:lstStyle/>
        <a:p>
          <a:r>
            <a:rPr lang="ru-RU" dirty="0"/>
            <a:t>Ведение переговоров </a:t>
          </a:r>
          <a:endParaRPr lang="en-US" dirty="0"/>
        </a:p>
      </dgm:t>
    </dgm:pt>
    <dgm:pt modelId="{F287B947-7343-4FA2-B288-B23A59FFAE31}" type="parTrans" cxnId="{3A2CECA6-0C5B-46BB-B7C6-7D37E9D210BD}">
      <dgm:prSet/>
      <dgm:spPr/>
      <dgm:t>
        <a:bodyPr/>
        <a:lstStyle/>
        <a:p>
          <a:endParaRPr lang="en-US"/>
        </a:p>
      </dgm:t>
    </dgm:pt>
    <dgm:pt modelId="{389F9A93-0231-4877-8C41-5D5B8DD7AAC0}" type="sibTrans" cxnId="{3A2CECA6-0C5B-46BB-B7C6-7D37E9D210BD}">
      <dgm:prSet/>
      <dgm:spPr/>
      <dgm:t>
        <a:bodyPr/>
        <a:lstStyle/>
        <a:p>
          <a:endParaRPr lang="en-US"/>
        </a:p>
      </dgm:t>
    </dgm:pt>
    <dgm:pt modelId="{36045517-CEA4-4BE3-B836-C2B6BFE5649B}">
      <dgm:prSet phldrT="[Text]"/>
      <dgm:spPr>
        <a:solidFill>
          <a:srgbClr val="FFC000"/>
        </a:solidFill>
      </dgm:spPr>
      <dgm:t>
        <a:bodyPr/>
        <a:lstStyle/>
        <a:p>
          <a:r>
            <a:rPr lang="ru-RU" dirty="0"/>
            <a:t>Продвижение технологии защиты </a:t>
          </a:r>
          <a:r>
            <a:rPr lang="en-US" dirty="0"/>
            <a:t>BASF</a:t>
          </a:r>
        </a:p>
      </dgm:t>
    </dgm:pt>
    <dgm:pt modelId="{6231A36F-9B04-4B4A-917A-7E163AFFC956}" type="parTrans" cxnId="{4019353B-443B-4DED-AA6C-3C60E18414C7}">
      <dgm:prSet/>
      <dgm:spPr/>
      <dgm:t>
        <a:bodyPr/>
        <a:lstStyle/>
        <a:p>
          <a:endParaRPr lang="en-US"/>
        </a:p>
      </dgm:t>
    </dgm:pt>
    <dgm:pt modelId="{BFF3C5ED-87D0-4709-A3B8-A7BF0668006A}" type="sibTrans" cxnId="{4019353B-443B-4DED-AA6C-3C60E18414C7}">
      <dgm:prSet/>
      <dgm:spPr/>
      <dgm:t>
        <a:bodyPr/>
        <a:lstStyle/>
        <a:p>
          <a:endParaRPr lang="en-US"/>
        </a:p>
      </dgm:t>
    </dgm:pt>
    <dgm:pt modelId="{A7EED7A3-6BCC-4A53-ADC7-161901778E64}" type="pres">
      <dgm:prSet presAssocID="{B9C32B05-62EA-407A-B21C-2310C7945705}" presName="CompostProcess" presStyleCnt="0">
        <dgm:presLayoutVars>
          <dgm:dir/>
          <dgm:resizeHandles val="exact"/>
        </dgm:presLayoutVars>
      </dgm:prSet>
      <dgm:spPr/>
    </dgm:pt>
    <dgm:pt modelId="{819C6893-73B1-4A8C-A75D-FCBFED62213C}" type="pres">
      <dgm:prSet presAssocID="{B9C32B05-62EA-407A-B21C-2310C7945705}" presName="arrow" presStyleLbl="bgShp" presStyleIdx="0" presStyleCnt="1"/>
      <dgm:spPr/>
    </dgm:pt>
    <dgm:pt modelId="{EA01F96E-2024-450C-BF3F-6D539D9D0CD2}" type="pres">
      <dgm:prSet presAssocID="{B9C32B05-62EA-407A-B21C-2310C7945705}" presName="linearProcess" presStyleCnt="0"/>
      <dgm:spPr/>
    </dgm:pt>
    <dgm:pt modelId="{AA43B9AA-C9BB-431D-BE50-2D65E4605F0D}" type="pres">
      <dgm:prSet presAssocID="{42D71409-67F9-455C-8C6D-716D284AAA6B}" presName="textNode" presStyleLbl="node1" presStyleIdx="0" presStyleCnt="4">
        <dgm:presLayoutVars>
          <dgm:bulletEnabled val="1"/>
        </dgm:presLayoutVars>
      </dgm:prSet>
      <dgm:spPr/>
    </dgm:pt>
    <dgm:pt modelId="{E95CCDA2-8259-4A3F-9DAD-194EE4C34DE6}" type="pres">
      <dgm:prSet presAssocID="{478B7D3C-9FB4-4BC6-90AC-49960560DECD}" presName="sibTrans" presStyleCnt="0"/>
      <dgm:spPr/>
    </dgm:pt>
    <dgm:pt modelId="{D114D26A-1DC5-49E3-AC2F-75D4A2A1961F}" type="pres">
      <dgm:prSet presAssocID="{F66099B6-DBBD-4AB0-82D2-877B80F846F7}" presName="textNode" presStyleLbl="node1" presStyleIdx="1" presStyleCnt="4">
        <dgm:presLayoutVars>
          <dgm:bulletEnabled val="1"/>
        </dgm:presLayoutVars>
      </dgm:prSet>
      <dgm:spPr/>
    </dgm:pt>
    <dgm:pt modelId="{86306388-B344-4BD1-A1E0-AF120F14A844}" type="pres">
      <dgm:prSet presAssocID="{BC531B32-9B0E-482E-BF91-65C61F17168D}" presName="sibTrans" presStyleCnt="0"/>
      <dgm:spPr/>
    </dgm:pt>
    <dgm:pt modelId="{BADF9EF9-60FA-4FE2-9899-60AFCED19BAE}" type="pres">
      <dgm:prSet presAssocID="{EE62A4F6-4AC4-435B-990E-81A71CE8CAC7}" presName="textNode" presStyleLbl="node1" presStyleIdx="2" presStyleCnt="4">
        <dgm:presLayoutVars>
          <dgm:bulletEnabled val="1"/>
        </dgm:presLayoutVars>
      </dgm:prSet>
      <dgm:spPr/>
    </dgm:pt>
    <dgm:pt modelId="{CCDAB892-DF8A-4EB9-8A4E-2A9E7A6746DD}" type="pres">
      <dgm:prSet presAssocID="{389F9A93-0231-4877-8C41-5D5B8DD7AAC0}" presName="sibTrans" presStyleCnt="0"/>
      <dgm:spPr/>
    </dgm:pt>
    <dgm:pt modelId="{310BF1EF-12BE-460E-9688-B284BC252ED5}" type="pres">
      <dgm:prSet presAssocID="{36045517-CEA4-4BE3-B836-C2B6BFE5649B}" presName="textNode" presStyleLbl="node1" presStyleIdx="3" presStyleCnt="4">
        <dgm:presLayoutVars>
          <dgm:bulletEnabled val="1"/>
        </dgm:presLayoutVars>
      </dgm:prSet>
      <dgm:spPr/>
    </dgm:pt>
  </dgm:ptLst>
  <dgm:cxnLst>
    <dgm:cxn modelId="{5746A614-85DC-4540-AE2F-52537BE3E5C3}" type="presOf" srcId="{B9C32B05-62EA-407A-B21C-2310C7945705}" destId="{A7EED7A3-6BCC-4A53-ADC7-161901778E64}" srcOrd="0" destOrd="0" presId="urn:microsoft.com/office/officeart/2005/8/layout/hProcess9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B4F3EA32-CE64-4A92-9BAE-BC57E5392B05}" srcId="{B9C32B05-62EA-407A-B21C-2310C7945705}" destId="{F66099B6-DBBD-4AB0-82D2-877B80F846F7}" srcOrd="1" destOrd="0" parTransId="{B09C8BFB-F41C-4AC4-AB94-F216E3081C2D}" sibTransId="{BC531B32-9B0E-482E-BF91-65C61F17168D}"/>
    <dgm:cxn modelId="{4019353B-443B-4DED-AA6C-3C60E18414C7}" srcId="{B9C32B05-62EA-407A-B21C-2310C7945705}" destId="{36045517-CEA4-4BE3-B836-C2B6BFE5649B}" srcOrd="3" destOrd="0" parTransId="{6231A36F-9B04-4B4A-917A-7E163AFFC956}" sibTransId="{BFF3C5ED-87D0-4709-A3B8-A7BF0668006A}"/>
    <dgm:cxn modelId="{BDB5353D-753B-4BA8-8D18-D893C6798EA9}" type="presOf" srcId="{EE62A4F6-4AC4-435B-990E-81A71CE8CAC7}" destId="{BADF9EF9-60FA-4FE2-9899-60AFCED19BAE}" srcOrd="0" destOrd="0" presId="urn:microsoft.com/office/officeart/2005/8/layout/hProcess9"/>
    <dgm:cxn modelId="{5DFFD657-A0A6-4C3E-ABD2-2C504963B418}" type="presOf" srcId="{36045517-CEA4-4BE3-B836-C2B6BFE5649B}" destId="{310BF1EF-12BE-460E-9688-B284BC252ED5}" srcOrd="0" destOrd="0" presId="urn:microsoft.com/office/officeart/2005/8/layout/hProcess9"/>
    <dgm:cxn modelId="{3A2CECA6-0C5B-46BB-B7C6-7D37E9D210BD}" srcId="{B9C32B05-62EA-407A-B21C-2310C7945705}" destId="{EE62A4F6-4AC4-435B-990E-81A71CE8CAC7}" srcOrd="2" destOrd="0" parTransId="{F287B947-7343-4FA2-B288-B23A59FFAE31}" sibTransId="{389F9A93-0231-4877-8C41-5D5B8DD7AAC0}"/>
    <dgm:cxn modelId="{574510BA-36AF-4BC7-8397-608FC2FA3F99}" type="presOf" srcId="{F66099B6-DBBD-4AB0-82D2-877B80F846F7}" destId="{D114D26A-1DC5-49E3-AC2F-75D4A2A1961F}" srcOrd="0" destOrd="0" presId="urn:microsoft.com/office/officeart/2005/8/layout/hProcess9"/>
    <dgm:cxn modelId="{48CE06BB-1F08-4473-92DE-7DAE8C45FB90}" type="presOf" srcId="{42D71409-67F9-455C-8C6D-716D284AAA6B}" destId="{AA43B9AA-C9BB-431D-BE50-2D65E4605F0D}" srcOrd="0" destOrd="0" presId="urn:microsoft.com/office/officeart/2005/8/layout/hProcess9"/>
    <dgm:cxn modelId="{104DE3AA-8019-47E8-A5DB-8EA5DA6C85C2}" type="presParOf" srcId="{A7EED7A3-6BCC-4A53-ADC7-161901778E64}" destId="{819C6893-73B1-4A8C-A75D-FCBFED62213C}" srcOrd="0" destOrd="0" presId="urn:microsoft.com/office/officeart/2005/8/layout/hProcess9"/>
    <dgm:cxn modelId="{FFE37DD2-C795-4909-B9B7-53B19F8150CC}" type="presParOf" srcId="{A7EED7A3-6BCC-4A53-ADC7-161901778E64}" destId="{EA01F96E-2024-450C-BF3F-6D539D9D0CD2}" srcOrd="1" destOrd="0" presId="urn:microsoft.com/office/officeart/2005/8/layout/hProcess9"/>
    <dgm:cxn modelId="{0EDF6C90-A7AA-444E-94B2-F8F96B365289}" type="presParOf" srcId="{EA01F96E-2024-450C-BF3F-6D539D9D0CD2}" destId="{AA43B9AA-C9BB-431D-BE50-2D65E4605F0D}" srcOrd="0" destOrd="0" presId="urn:microsoft.com/office/officeart/2005/8/layout/hProcess9"/>
    <dgm:cxn modelId="{C0CA8043-23D7-4810-9DF6-ADF28BF884C0}" type="presParOf" srcId="{EA01F96E-2024-450C-BF3F-6D539D9D0CD2}" destId="{E95CCDA2-8259-4A3F-9DAD-194EE4C34DE6}" srcOrd="1" destOrd="0" presId="urn:microsoft.com/office/officeart/2005/8/layout/hProcess9"/>
    <dgm:cxn modelId="{8F34F8CF-DF5E-450C-935F-819A6DD8FC66}" type="presParOf" srcId="{EA01F96E-2024-450C-BF3F-6D539D9D0CD2}" destId="{D114D26A-1DC5-49E3-AC2F-75D4A2A1961F}" srcOrd="2" destOrd="0" presId="urn:microsoft.com/office/officeart/2005/8/layout/hProcess9"/>
    <dgm:cxn modelId="{FCB2D145-BC1A-4A26-B9D9-668E57A412DA}" type="presParOf" srcId="{EA01F96E-2024-450C-BF3F-6D539D9D0CD2}" destId="{86306388-B344-4BD1-A1E0-AF120F14A844}" srcOrd="3" destOrd="0" presId="urn:microsoft.com/office/officeart/2005/8/layout/hProcess9"/>
    <dgm:cxn modelId="{23425DBC-F6FE-4E4D-8765-FB7FE558A279}" type="presParOf" srcId="{EA01F96E-2024-450C-BF3F-6D539D9D0CD2}" destId="{BADF9EF9-60FA-4FE2-9899-60AFCED19BAE}" srcOrd="4" destOrd="0" presId="urn:microsoft.com/office/officeart/2005/8/layout/hProcess9"/>
    <dgm:cxn modelId="{C0A00BE1-C1D9-4DCC-972F-7B4FE5B4F9D4}" type="presParOf" srcId="{EA01F96E-2024-450C-BF3F-6D539D9D0CD2}" destId="{CCDAB892-DF8A-4EB9-8A4E-2A9E7A6746DD}" srcOrd="5" destOrd="0" presId="urn:microsoft.com/office/officeart/2005/8/layout/hProcess9"/>
    <dgm:cxn modelId="{95F739D2-BEAE-43C7-8D70-6AED19801FC5}" type="presParOf" srcId="{EA01F96E-2024-450C-BF3F-6D539D9D0CD2}" destId="{310BF1EF-12BE-460E-9688-B284BC252ED5}" srcOrd="6" destOrd="0" presId="urn:microsoft.com/office/officeart/2005/8/layout/hProcess9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8/layout/VerticalCurvedList" loCatId="list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 custT="1"/>
      <dgm:spPr/>
      <dgm:t>
        <a:bodyPr/>
        <a:lstStyle/>
        <a:p>
          <a:r>
            <a:rPr lang="ru-RU" sz="2000" b="0" dirty="0">
              <a:solidFill>
                <a:schemeClr val="tx1"/>
              </a:solidFill>
            </a:rPr>
            <a:t>Тренинги </a:t>
          </a:r>
          <a:endParaRPr lang="en-US" sz="2000" dirty="0"/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F66099B6-DBBD-4AB0-82D2-877B80F846F7}">
      <dgm:prSet phldrT="[Text]" custT="1"/>
      <dgm:spPr/>
      <dgm:t>
        <a:bodyPr/>
        <a:lstStyle/>
        <a:p>
          <a:r>
            <a:rPr lang="ru-RU" sz="2000" b="0" dirty="0">
              <a:solidFill>
                <a:schemeClr val="tx1"/>
              </a:solidFill>
            </a:rPr>
            <a:t>Коучинг с представителями БАСФ</a:t>
          </a:r>
          <a:endParaRPr lang="en-US" sz="2000" dirty="0"/>
        </a:p>
      </dgm:t>
    </dgm:pt>
    <dgm:pt modelId="{B09C8BFB-F41C-4AC4-AB94-F216E3081C2D}" type="parTrans" cxnId="{B4F3EA32-CE64-4A92-9BAE-BC57E5392B05}">
      <dgm:prSet/>
      <dgm:spPr/>
      <dgm:t>
        <a:bodyPr/>
        <a:lstStyle/>
        <a:p>
          <a:endParaRPr lang="en-US"/>
        </a:p>
      </dgm:t>
    </dgm:pt>
    <dgm:pt modelId="{BC531B32-9B0E-482E-BF91-65C61F17168D}" type="sibTrans" cxnId="{B4F3EA32-CE64-4A92-9BAE-BC57E5392B05}">
      <dgm:prSet/>
      <dgm:spPr/>
      <dgm:t>
        <a:bodyPr/>
        <a:lstStyle/>
        <a:p>
          <a:endParaRPr lang="en-US"/>
        </a:p>
      </dgm:t>
    </dgm:pt>
    <dgm:pt modelId="{EE62A4F6-4AC4-435B-990E-81A71CE8CAC7}">
      <dgm:prSet phldrT="[Text]" custT="1"/>
      <dgm:spPr/>
      <dgm:t>
        <a:bodyPr/>
        <a:lstStyle/>
        <a:p>
          <a:r>
            <a:rPr lang="ru-RU" altLang="ru-RU" sz="2000" b="0" dirty="0">
              <a:solidFill>
                <a:schemeClr val="tx1"/>
              </a:solidFill>
            </a:rPr>
            <a:t>Служебный</a:t>
          </a:r>
          <a:r>
            <a:rPr lang="uk-UA" altLang="ru-RU" sz="2000" b="0" dirty="0">
              <a:solidFill>
                <a:schemeClr val="tx1"/>
              </a:solidFill>
            </a:rPr>
            <a:t> </a:t>
          </a:r>
          <a:r>
            <a:rPr lang="ru-RU" altLang="ru-RU" sz="2000" b="0" dirty="0">
              <a:solidFill>
                <a:schemeClr val="tx1"/>
              </a:solidFill>
            </a:rPr>
            <a:t>автомобиль</a:t>
          </a:r>
          <a:r>
            <a:rPr lang="uk-UA" altLang="ru-RU" sz="2000" b="0" dirty="0">
              <a:solidFill>
                <a:schemeClr val="tx1"/>
              </a:solidFill>
            </a:rPr>
            <a:t> </a:t>
          </a:r>
          <a:r>
            <a:rPr lang="en-US" sz="2000" dirty="0">
              <a:solidFill>
                <a:schemeClr val="tx1"/>
              </a:solidFill>
            </a:rPr>
            <a:t>Volkswagen Jetta </a:t>
          </a:r>
          <a:endParaRPr lang="en-US" sz="2000" dirty="0"/>
        </a:p>
      </dgm:t>
    </dgm:pt>
    <dgm:pt modelId="{F287B947-7343-4FA2-B288-B23A59FFAE31}" type="parTrans" cxnId="{3A2CECA6-0C5B-46BB-B7C6-7D37E9D210BD}">
      <dgm:prSet/>
      <dgm:spPr/>
      <dgm:t>
        <a:bodyPr/>
        <a:lstStyle/>
        <a:p>
          <a:endParaRPr lang="en-US"/>
        </a:p>
      </dgm:t>
    </dgm:pt>
    <dgm:pt modelId="{389F9A93-0231-4877-8C41-5D5B8DD7AAC0}" type="sibTrans" cxnId="{3A2CECA6-0C5B-46BB-B7C6-7D37E9D210BD}">
      <dgm:prSet/>
      <dgm:spPr/>
      <dgm:t>
        <a:bodyPr/>
        <a:lstStyle/>
        <a:p>
          <a:endParaRPr lang="en-US"/>
        </a:p>
      </dgm:t>
    </dgm:pt>
    <dgm:pt modelId="{B6D9DE15-697B-42C2-B6A1-CE31260EED93}">
      <dgm:prSet phldrT="[Text]" custT="1"/>
      <dgm:spPr/>
      <dgm:t>
        <a:bodyPr/>
        <a:lstStyle/>
        <a:p>
          <a:r>
            <a:rPr lang="uk-UA" altLang="ru-RU" sz="2000" b="0" dirty="0">
              <a:solidFill>
                <a:schemeClr val="tx1"/>
              </a:solidFill>
            </a:rPr>
            <a:t>Ноут бук, </a:t>
          </a:r>
          <a:r>
            <a:rPr lang="uk-UA" altLang="ru-RU" sz="2000" b="0" dirty="0" err="1">
              <a:solidFill>
                <a:schemeClr val="tx1"/>
              </a:solidFill>
            </a:rPr>
            <a:t>мобильний</a:t>
          </a:r>
          <a:r>
            <a:rPr lang="uk-UA" altLang="ru-RU" sz="2000" b="0" dirty="0">
              <a:solidFill>
                <a:schemeClr val="tx1"/>
              </a:solidFill>
            </a:rPr>
            <a:t> телефон</a:t>
          </a:r>
          <a:endParaRPr lang="en-US" sz="2000" dirty="0"/>
        </a:p>
      </dgm:t>
    </dgm:pt>
    <dgm:pt modelId="{EAC9FC21-5112-4CCF-8070-06ED15ED24ED}" type="parTrans" cxnId="{40513FB0-F94C-499F-9A0B-9E0341D0A0C2}">
      <dgm:prSet/>
      <dgm:spPr/>
      <dgm:t>
        <a:bodyPr/>
        <a:lstStyle/>
        <a:p>
          <a:endParaRPr lang="en-US"/>
        </a:p>
      </dgm:t>
    </dgm:pt>
    <dgm:pt modelId="{B605B681-1ACB-4650-8600-F9223ABDDC16}" type="sibTrans" cxnId="{40513FB0-F94C-499F-9A0B-9E0341D0A0C2}">
      <dgm:prSet/>
      <dgm:spPr/>
      <dgm:t>
        <a:bodyPr/>
        <a:lstStyle/>
        <a:p>
          <a:endParaRPr lang="en-US"/>
        </a:p>
      </dgm:t>
    </dgm:pt>
    <dgm:pt modelId="{244CE93D-3CE9-480A-BC40-D5795AE4CC61}">
      <dgm:prSet phldrT="[Text]" custT="1"/>
      <dgm:spPr/>
      <dgm:t>
        <a:bodyPr/>
        <a:lstStyle/>
        <a:p>
          <a:r>
            <a:rPr lang="uk-UA" altLang="ru-RU" sz="2000" b="0" dirty="0" err="1">
              <a:solidFill>
                <a:schemeClr val="tx1"/>
              </a:solidFill>
            </a:rPr>
            <a:t>Промо</a:t>
          </a:r>
          <a:r>
            <a:rPr lang="uk-UA" altLang="ru-RU" sz="2000" b="0" dirty="0">
              <a:solidFill>
                <a:schemeClr val="tx1"/>
              </a:solidFill>
            </a:rPr>
            <a:t> </a:t>
          </a:r>
          <a:r>
            <a:rPr lang="uk-UA" altLang="ru-RU" sz="2000" b="0" dirty="0" err="1">
              <a:solidFill>
                <a:schemeClr val="tx1"/>
              </a:solidFill>
            </a:rPr>
            <a:t>материал</a:t>
          </a:r>
          <a:r>
            <a:rPr lang="ru-RU" altLang="ru-RU" sz="2000" b="0" dirty="0">
              <a:solidFill>
                <a:schemeClr val="tx1"/>
              </a:solidFill>
            </a:rPr>
            <a:t>ы</a:t>
          </a:r>
          <a:endParaRPr lang="en-US" sz="2000" dirty="0"/>
        </a:p>
      </dgm:t>
    </dgm:pt>
    <dgm:pt modelId="{B26CFE49-55EC-4B92-8D65-F00D6B48420B}" type="parTrans" cxnId="{746C65D4-0A32-4610-8B9B-A01592BB40A3}">
      <dgm:prSet/>
      <dgm:spPr/>
      <dgm:t>
        <a:bodyPr/>
        <a:lstStyle/>
        <a:p>
          <a:endParaRPr lang="en-US"/>
        </a:p>
      </dgm:t>
    </dgm:pt>
    <dgm:pt modelId="{AA2C577D-A278-4959-857E-CDA154440386}" type="sibTrans" cxnId="{746C65D4-0A32-4610-8B9B-A01592BB40A3}">
      <dgm:prSet/>
      <dgm:spPr/>
      <dgm:t>
        <a:bodyPr/>
        <a:lstStyle/>
        <a:p>
          <a:endParaRPr lang="en-US"/>
        </a:p>
      </dgm:t>
    </dgm:pt>
    <dgm:pt modelId="{3AF880A5-0F00-4315-A5DF-1FE656798601}">
      <dgm:prSet phldrT="[Text]" custT="1"/>
      <dgm:spPr/>
      <dgm:t>
        <a:bodyPr/>
        <a:lstStyle/>
        <a:p>
          <a:endParaRPr lang="en-US" sz="2000" dirty="0"/>
        </a:p>
      </dgm:t>
    </dgm:pt>
    <dgm:pt modelId="{A13BB1F9-5857-4B43-8BF5-6589AA2CB759}" type="parTrans" cxnId="{24F8CBE2-5003-4E69-A772-6B98F2B05181}">
      <dgm:prSet/>
      <dgm:spPr/>
      <dgm:t>
        <a:bodyPr/>
        <a:lstStyle/>
        <a:p>
          <a:endParaRPr lang="en-US"/>
        </a:p>
      </dgm:t>
    </dgm:pt>
    <dgm:pt modelId="{C198C41D-2640-4669-83ED-E0CD35701C8E}" type="sibTrans" cxnId="{24F8CBE2-5003-4E69-A772-6B98F2B05181}">
      <dgm:prSet/>
      <dgm:spPr/>
      <dgm:t>
        <a:bodyPr/>
        <a:lstStyle/>
        <a:p>
          <a:endParaRPr lang="en-US"/>
        </a:p>
      </dgm:t>
    </dgm:pt>
    <dgm:pt modelId="{CBD3BD06-5B52-457B-A709-959D97EA9FE5}">
      <dgm:prSet phldrT="[Text]" custT="1"/>
      <dgm:spPr/>
      <dgm:t>
        <a:bodyPr/>
        <a:lstStyle/>
        <a:p>
          <a:endParaRPr lang="en-US" sz="2000" dirty="0"/>
        </a:p>
      </dgm:t>
    </dgm:pt>
    <dgm:pt modelId="{BCA8D018-4FBF-4EC0-A8A7-2E733ECB7259}" type="parTrans" cxnId="{BC910C61-D6EF-4F01-BD12-BAC0DF60C0B1}">
      <dgm:prSet/>
      <dgm:spPr/>
      <dgm:t>
        <a:bodyPr/>
        <a:lstStyle/>
        <a:p>
          <a:endParaRPr lang="en-US"/>
        </a:p>
      </dgm:t>
    </dgm:pt>
    <dgm:pt modelId="{32702446-735B-4332-BAF3-71D165AF690E}" type="sibTrans" cxnId="{BC910C61-D6EF-4F01-BD12-BAC0DF60C0B1}">
      <dgm:prSet/>
      <dgm:spPr/>
      <dgm:t>
        <a:bodyPr/>
        <a:lstStyle/>
        <a:p>
          <a:endParaRPr lang="en-US"/>
        </a:p>
      </dgm:t>
    </dgm:pt>
    <dgm:pt modelId="{1E8F13C1-7BD6-4379-90DF-643F2560C4CD}" type="pres">
      <dgm:prSet presAssocID="{B9C32B05-62EA-407A-B21C-2310C7945705}" presName="Name0" presStyleCnt="0">
        <dgm:presLayoutVars>
          <dgm:chMax val="7"/>
          <dgm:chPref val="7"/>
          <dgm:dir/>
        </dgm:presLayoutVars>
      </dgm:prSet>
      <dgm:spPr/>
    </dgm:pt>
    <dgm:pt modelId="{97B62193-5952-451C-A032-24B3B2EA3076}" type="pres">
      <dgm:prSet presAssocID="{B9C32B05-62EA-407A-B21C-2310C7945705}" presName="Name1" presStyleCnt="0"/>
      <dgm:spPr/>
    </dgm:pt>
    <dgm:pt modelId="{ACC3C5BE-DE92-4A51-9D55-C62DF2A7C110}" type="pres">
      <dgm:prSet presAssocID="{B9C32B05-62EA-407A-B21C-2310C7945705}" presName="cycle" presStyleCnt="0"/>
      <dgm:spPr/>
    </dgm:pt>
    <dgm:pt modelId="{087F8878-175B-4FF0-8F99-C36FEC8A8C64}" type="pres">
      <dgm:prSet presAssocID="{B9C32B05-62EA-407A-B21C-2310C7945705}" presName="srcNode" presStyleLbl="node1" presStyleIdx="0" presStyleCnt="5"/>
      <dgm:spPr/>
    </dgm:pt>
    <dgm:pt modelId="{03528F53-765E-4B98-B8BD-0BE89D28EBCA}" type="pres">
      <dgm:prSet presAssocID="{B9C32B05-62EA-407A-B21C-2310C7945705}" presName="conn" presStyleLbl="parChTrans1D2" presStyleIdx="0" presStyleCnt="1"/>
      <dgm:spPr/>
    </dgm:pt>
    <dgm:pt modelId="{F94C0A50-7625-413B-8873-F6B17D2D8196}" type="pres">
      <dgm:prSet presAssocID="{B9C32B05-62EA-407A-B21C-2310C7945705}" presName="extraNode" presStyleLbl="node1" presStyleIdx="0" presStyleCnt="5"/>
      <dgm:spPr/>
    </dgm:pt>
    <dgm:pt modelId="{DB878059-C75B-4C49-8714-C0546122D430}" type="pres">
      <dgm:prSet presAssocID="{B9C32B05-62EA-407A-B21C-2310C7945705}" presName="dstNode" presStyleLbl="node1" presStyleIdx="0" presStyleCnt="5"/>
      <dgm:spPr/>
    </dgm:pt>
    <dgm:pt modelId="{8D646181-64B1-44F3-B79E-820234ED8D9A}" type="pres">
      <dgm:prSet presAssocID="{42D71409-67F9-455C-8C6D-716D284AAA6B}" presName="text_1" presStyleLbl="node1" presStyleIdx="0" presStyleCnt="5">
        <dgm:presLayoutVars>
          <dgm:bulletEnabled val="1"/>
        </dgm:presLayoutVars>
      </dgm:prSet>
      <dgm:spPr/>
    </dgm:pt>
    <dgm:pt modelId="{16FE1018-0C0C-41FD-9B21-42E3677ABD5E}" type="pres">
      <dgm:prSet presAssocID="{42D71409-67F9-455C-8C6D-716D284AAA6B}" presName="accent_1" presStyleCnt="0"/>
      <dgm:spPr/>
    </dgm:pt>
    <dgm:pt modelId="{544C56DA-7A18-4AE0-AEFE-8E74AD9AC001}" type="pres">
      <dgm:prSet presAssocID="{42D71409-67F9-455C-8C6D-716D284AAA6B}" presName="accentRepeatNode" presStyleLbl="solidFgAcc1" presStyleIdx="0" presStyleCnt="5"/>
      <dgm:spPr/>
    </dgm:pt>
    <dgm:pt modelId="{8F3A0944-0833-4AE3-B541-584BBF5AC8CD}" type="pres">
      <dgm:prSet presAssocID="{F66099B6-DBBD-4AB0-82D2-877B80F846F7}" presName="text_2" presStyleLbl="node1" presStyleIdx="1" presStyleCnt="5">
        <dgm:presLayoutVars>
          <dgm:bulletEnabled val="1"/>
        </dgm:presLayoutVars>
      </dgm:prSet>
      <dgm:spPr/>
    </dgm:pt>
    <dgm:pt modelId="{50571C53-9DF4-473F-B46D-5657433AA0A4}" type="pres">
      <dgm:prSet presAssocID="{F66099B6-DBBD-4AB0-82D2-877B80F846F7}" presName="accent_2" presStyleCnt="0"/>
      <dgm:spPr/>
    </dgm:pt>
    <dgm:pt modelId="{347CF1D6-54F1-4597-8009-9D2342388E1B}" type="pres">
      <dgm:prSet presAssocID="{F66099B6-DBBD-4AB0-82D2-877B80F846F7}" presName="accentRepeatNode" presStyleLbl="solidFgAcc1" presStyleIdx="1" presStyleCnt="5"/>
      <dgm:spPr/>
    </dgm:pt>
    <dgm:pt modelId="{63729E07-5E2C-4312-B070-C0FADAC3D673}" type="pres">
      <dgm:prSet presAssocID="{EE62A4F6-4AC4-435B-990E-81A71CE8CAC7}" presName="text_3" presStyleLbl="node1" presStyleIdx="2" presStyleCnt="5">
        <dgm:presLayoutVars>
          <dgm:bulletEnabled val="1"/>
        </dgm:presLayoutVars>
      </dgm:prSet>
      <dgm:spPr/>
    </dgm:pt>
    <dgm:pt modelId="{C8676676-3D75-4EE2-BE3B-CB3EFDE7F23C}" type="pres">
      <dgm:prSet presAssocID="{EE62A4F6-4AC4-435B-990E-81A71CE8CAC7}" presName="accent_3" presStyleCnt="0"/>
      <dgm:spPr/>
    </dgm:pt>
    <dgm:pt modelId="{44975C73-AAC4-428F-9E94-FD89BF6A9C3D}" type="pres">
      <dgm:prSet presAssocID="{EE62A4F6-4AC4-435B-990E-81A71CE8CAC7}" presName="accentRepeatNode" presStyleLbl="solidFgAcc1" presStyleIdx="2" presStyleCnt="5"/>
      <dgm:spPr/>
    </dgm:pt>
    <dgm:pt modelId="{218D4F6F-B658-41A6-8CA2-04F573A0CD2C}" type="pres">
      <dgm:prSet presAssocID="{B6D9DE15-697B-42C2-B6A1-CE31260EED93}" presName="text_4" presStyleLbl="node1" presStyleIdx="3" presStyleCnt="5">
        <dgm:presLayoutVars>
          <dgm:bulletEnabled val="1"/>
        </dgm:presLayoutVars>
      </dgm:prSet>
      <dgm:spPr/>
    </dgm:pt>
    <dgm:pt modelId="{7997B9BA-8BDF-4A50-8107-0BCBE98804EF}" type="pres">
      <dgm:prSet presAssocID="{B6D9DE15-697B-42C2-B6A1-CE31260EED93}" presName="accent_4" presStyleCnt="0"/>
      <dgm:spPr/>
    </dgm:pt>
    <dgm:pt modelId="{D6298742-3333-4FFF-BC71-661311F97259}" type="pres">
      <dgm:prSet presAssocID="{B6D9DE15-697B-42C2-B6A1-CE31260EED93}" presName="accentRepeatNode" presStyleLbl="solidFgAcc1" presStyleIdx="3" presStyleCnt="5"/>
      <dgm:spPr/>
    </dgm:pt>
    <dgm:pt modelId="{B7CEE193-9196-45CA-9E50-CAB6CF51D1E2}" type="pres">
      <dgm:prSet presAssocID="{244CE93D-3CE9-480A-BC40-D5795AE4CC61}" presName="text_5" presStyleLbl="node1" presStyleIdx="4" presStyleCnt="5">
        <dgm:presLayoutVars>
          <dgm:bulletEnabled val="1"/>
        </dgm:presLayoutVars>
      </dgm:prSet>
      <dgm:spPr/>
    </dgm:pt>
    <dgm:pt modelId="{CA3D318B-9701-474F-BE46-B474A943BD26}" type="pres">
      <dgm:prSet presAssocID="{244CE93D-3CE9-480A-BC40-D5795AE4CC61}" presName="accent_5" presStyleCnt="0"/>
      <dgm:spPr/>
    </dgm:pt>
    <dgm:pt modelId="{B96E86D2-D36A-46FD-AB9C-088DC258E07E}" type="pres">
      <dgm:prSet presAssocID="{244CE93D-3CE9-480A-BC40-D5795AE4CC61}" presName="accentRepeatNode" presStyleLbl="solidFgAcc1" presStyleIdx="4" presStyleCnt="5"/>
      <dgm:spPr/>
    </dgm:pt>
  </dgm:ptLst>
  <dgm:cxnLst>
    <dgm:cxn modelId="{90D12013-CE06-42FF-98DD-D6A3C2BAF930}" type="presOf" srcId="{F66099B6-DBBD-4AB0-82D2-877B80F846F7}" destId="{8F3A0944-0833-4AE3-B541-584BBF5AC8CD}" srcOrd="0" destOrd="0" presId="urn:microsoft.com/office/officeart/2008/layout/VerticalCurvedList"/>
    <dgm:cxn modelId="{7AA03D19-6207-4536-9775-F92AAC4BF2FF}" type="presOf" srcId="{3AF880A5-0F00-4315-A5DF-1FE656798601}" destId="{8D646181-64B1-44F3-B79E-820234ED8D9A}" srcOrd="0" destOrd="1" presId="urn:microsoft.com/office/officeart/2008/layout/VerticalCurvedList"/>
    <dgm:cxn modelId="{F4CABE19-0514-4260-9DC0-E9FD28D77F08}" type="presOf" srcId="{B6D9DE15-697B-42C2-B6A1-CE31260EED93}" destId="{218D4F6F-B658-41A6-8CA2-04F573A0CD2C}" srcOrd="0" destOrd="0" presId="urn:microsoft.com/office/officeart/2008/layout/VerticalCurvedList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B4F3EA32-CE64-4A92-9BAE-BC57E5392B05}" srcId="{B9C32B05-62EA-407A-B21C-2310C7945705}" destId="{F66099B6-DBBD-4AB0-82D2-877B80F846F7}" srcOrd="1" destOrd="0" parTransId="{B09C8BFB-F41C-4AC4-AB94-F216E3081C2D}" sibTransId="{BC531B32-9B0E-482E-BF91-65C61F17168D}"/>
    <dgm:cxn modelId="{860E533A-6393-44AE-9482-AAED4059754A}" type="presOf" srcId="{244CE93D-3CE9-480A-BC40-D5795AE4CC61}" destId="{B7CEE193-9196-45CA-9E50-CAB6CF51D1E2}" srcOrd="0" destOrd="0" presId="urn:microsoft.com/office/officeart/2008/layout/VerticalCurvedList"/>
    <dgm:cxn modelId="{BC910C61-D6EF-4F01-BD12-BAC0DF60C0B1}" srcId="{244CE93D-3CE9-480A-BC40-D5795AE4CC61}" destId="{CBD3BD06-5B52-457B-A709-959D97EA9FE5}" srcOrd="0" destOrd="0" parTransId="{BCA8D018-4FBF-4EC0-A8A7-2E733ECB7259}" sibTransId="{32702446-735B-4332-BAF3-71D165AF690E}"/>
    <dgm:cxn modelId="{1E884C65-B76E-4AC2-8B02-59D8337DB75A}" type="presOf" srcId="{CBD3BD06-5B52-457B-A709-959D97EA9FE5}" destId="{B7CEE193-9196-45CA-9E50-CAB6CF51D1E2}" srcOrd="0" destOrd="1" presId="urn:microsoft.com/office/officeart/2008/layout/VerticalCurvedList"/>
    <dgm:cxn modelId="{2BCDAE55-D66F-4AB9-88F6-F7AD76BD49B0}" type="presOf" srcId="{42D71409-67F9-455C-8C6D-716D284AAA6B}" destId="{8D646181-64B1-44F3-B79E-820234ED8D9A}" srcOrd="0" destOrd="0" presId="urn:microsoft.com/office/officeart/2008/layout/VerticalCurvedList"/>
    <dgm:cxn modelId="{6DAEEF9C-C26B-43C8-9B52-DE2DB98D675B}" type="presOf" srcId="{C198C41D-2640-4669-83ED-E0CD35701C8E}" destId="{03528F53-765E-4B98-B8BD-0BE89D28EBCA}" srcOrd="0" destOrd="0" presId="urn:microsoft.com/office/officeart/2008/layout/VerticalCurvedList"/>
    <dgm:cxn modelId="{3A2CECA6-0C5B-46BB-B7C6-7D37E9D210BD}" srcId="{B9C32B05-62EA-407A-B21C-2310C7945705}" destId="{EE62A4F6-4AC4-435B-990E-81A71CE8CAC7}" srcOrd="2" destOrd="0" parTransId="{F287B947-7343-4FA2-B288-B23A59FFAE31}" sibTransId="{389F9A93-0231-4877-8C41-5D5B8DD7AAC0}"/>
    <dgm:cxn modelId="{40513FB0-F94C-499F-9A0B-9E0341D0A0C2}" srcId="{B9C32B05-62EA-407A-B21C-2310C7945705}" destId="{B6D9DE15-697B-42C2-B6A1-CE31260EED93}" srcOrd="3" destOrd="0" parTransId="{EAC9FC21-5112-4CCF-8070-06ED15ED24ED}" sibTransId="{B605B681-1ACB-4650-8600-F9223ABDDC16}"/>
    <dgm:cxn modelId="{C5CC80B1-2FAC-4176-B5FE-31BC89A742B2}" type="presOf" srcId="{EE62A4F6-4AC4-435B-990E-81A71CE8CAC7}" destId="{63729E07-5E2C-4312-B070-C0FADAC3D673}" srcOrd="0" destOrd="0" presId="urn:microsoft.com/office/officeart/2008/layout/VerticalCurvedList"/>
    <dgm:cxn modelId="{DB5C87B6-FE9A-46E8-BCC1-B11D82E564EE}" type="presOf" srcId="{B9C32B05-62EA-407A-B21C-2310C7945705}" destId="{1E8F13C1-7BD6-4379-90DF-643F2560C4CD}" srcOrd="0" destOrd="0" presId="urn:microsoft.com/office/officeart/2008/layout/VerticalCurvedList"/>
    <dgm:cxn modelId="{746C65D4-0A32-4610-8B9B-A01592BB40A3}" srcId="{B9C32B05-62EA-407A-B21C-2310C7945705}" destId="{244CE93D-3CE9-480A-BC40-D5795AE4CC61}" srcOrd="4" destOrd="0" parTransId="{B26CFE49-55EC-4B92-8D65-F00D6B48420B}" sibTransId="{AA2C577D-A278-4959-857E-CDA154440386}"/>
    <dgm:cxn modelId="{24F8CBE2-5003-4E69-A772-6B98F2B05181}" srcId="{42D71409-67F9-455C-8C6D-716D284AAA6B}" destId="{3AF880A5-0F00-4315-A5DF-1FE656798601}" srcOrd="0" destOrd="0" parTransId="{A13BB1F9-5857-4B43-8BF5-6589AA2CB759}" sibTransId="{C198C41D-2640-4669-83ED-E0CD35701C8E}"/>
    <dgm:cxn modelId="{735DFA9E-EBC1-43AF-BB3F-C393CACECE43}" type="presParOf" srcId="{1E8F13C1-7BD6-4379-90DF-643F2560C4CD}" destId="{97B62193-5952-451C-A032-24B3B2EA3076}" srcOrd="0" destOrd="0" presId="urn:microsoft.com/office/officeart/2008/layout/VerticalCurvedList"/>
    <dgm:cxn modelId="{71A33D19-1A79-47CB-9A2E-F3EA05F25BD4}" type="presParOf" srcId="{97B62193-5952-451C-A032-24B3B2EA3076}" destId="{ACC3C5BE-DE92-4A51-9D55-C62DF2A7C110}" srcOrd="0" destOrd="0" presId="urn:microsoft.com/office/officeart/2008/layout/VerticalCurvedList"/>
    <dgm:cxn modelId="{75CD8882-FE11-4B50-94E6-9DC47B87A967}" type="presParOf" srcId="{ACC3C5BE-DE92-4A51-9D55-C62DF2A7C110}" destId="{087F8878-175B-4FF0-8F99-C36FEC8A8C64}" srcOrd="0" destOrd="0" presId="urn:microsoft.com/office/officeart/2008/layout/VerticalCurvedList"/>
    <dgm:cxn modelId="{B79E0985-28AE-4F10-B524-CCFFCC1A42DF}" type="presParOf" srcId="{ACC3C5BE-DE92-4A51-9D55-C62DF2A7C110}" destId="{03528F53-765E-4B98-B8BD-0BE89D28EBCA}" srcOrd="1" destOrd="0" presId="urn:microsoft.com/office/officeart/2008/layout/VerticalCurvedList"/>
    <dgm:cxn modelId="{C31806C3-2223-4D77-B59A-318DD1ECE0D4}" type="presParOf" srcId="{ACC3C5BE-DE92-4A51-9D55-C62DF2A7C110}" destId="{F94C0A50-7625-413B-8873-F6B17D2D8196}" srcOrd="2" destOrd="0" presId="urn:microsoft.com/office/officeart/2008/layout/VerticalCurvedList"/>
    <dgm:cxn modelId="{E8109DF2-CDDF-4420-82F7-5618CDA571EE}" type="presParOf" srcId="{ACC3C5BE-DE92-4A51-9D55-C62DF2A7C110}" destId="{DB878059-C75B-4C49-8714-C0546122D430}" srcOrd="3" destOrd="0" presId="urn:microsoft.com/office/officeart/2008/layout/VerticalCurvedList"/>
    <dgm:cxn modelId="{B85A23DC-9BE5-4F09-A187-742796A62060}" type="presParOf" srcId="{97B62193-5952-451C-A032-24B3B2EA3076}" destId="{8D646181-64B1-44F3-B79E-820234ED8D9A}" srcOrd="1" destOrd="0" presId="urn:microsoft.com/office/officeart/2008/layout/VerticalCurvedList"/>
    <dgm:cxn modelId="{7EE95588-427F-4D91-B595-1AB2F42E4D51}" type="presParOf" srcId="{97B62193-5952-451C-A032-24B3B2EA3076}" destId="{16FE1018-0C0C-41FD-9B21-42E3677ABD5E}" srcOrd="2" destOrd="0" presId="urn:microsoft.com/office/officeart/2008/layout/VerticalCurvedList"/>
    <dgm:cxn modelId="{FC60DE81-43AB-43A2-8A79-C8BEECAC1A17}" type="presParOf" srcId="{16FE1018-0C0C-41FD-9B21-42E3677ABD5E}" destId="{544C56DA-7A18-4AE0-AEFE-8E74AD9AC001}" srcOrd="0" destOrd="0" presId="urn:microsoft.com/office/officeart/2008/layout/VerticalCurvedList"/>
    <dgm:cxn modelId="{A14F8BD2-9616-4286-AF32-62E214E1986B}" type="presParOf" srcId="{97B62193-5952-451C-A032-24B3B2EA3076}" destId="{8F3A0944-0833-4AE3-B541-584BBF5AC8CD}" srcOrd="3" destOrd="0" presId="urn:microsoft.com/office/officeart/2008/layout/VerticalCurvedList"/>
    <dgm:cxn modelId="{4A3BF7DD-FEA7-4266-994B-4C213B8AD202}" type="presParOf" srcId="{97B62193-5952-451C-A032-24B3B2EA3076}" destId="{50571C53-9DF4-473F-B46D-5657433AA0A4}" srcOrd="4" destOrd="0" presId="urn:microsoft.com/office/officeart/2008/layout/VerticalCurvedList"/>
    <dgm:cxn modelId="{7661120E-98B5-4901-AF3B-BD591E54ACAC}" type="presParOf" srcId="{50571C53-9DF4-473F-B46D-5657433AA0A4}" destId="{347CF1D6-54F1-4597-8009-9D2342388E1B}" srcOrd="0" destOrd="0" presId="urn:microsoft.com/office/officeart/2008/layout/VerticalCurvedList"/>
    <dgm:cxn modelId="{2795B349-A61C-4FB7-B16D-AAF19890B643}" type="presParOf" srcId="{97B62193-5952-451C-A032-24B3B2EA3076}" destId="{63729E07-5E2C-4312-B070-C0FADAC3D673}" srcOrd="5" destOrd="0" presId="urn:microsoft.com/office/officeart/2008/layout/VerticalCurvedList"/>
    <dgm:cxn modelId="{02B0CBE4-78A8-46C5-9373-BBD313CECAFD}" type="presParOf" srcId="{97B62193-5952-451C-A032-24B3B2EA3076}" destId="{C8676676-3D75-4EE2-BE3B-CB3EFDE7F23C}" srcOrd="6" destOrd="0" presId="urn:microsoft.com/office/officeart/2008/layout/VerticalCurvedList"/>
    <dgm:cxn modelId="{00D9A951-980D-418D-8E67-BAE52F730C07}" type="presParOf" srcId="{C8676676-3D75-4EE2-BE3B-CB3EFDE7F23C}" destId="{44975C73-AAC4-428F-9E94-FD89BF6A9C3D}" srcOrd="0" destOrd="0" presId="urn:microsoft.com/office/officeart/2008/layout/VerticalCurvedList"/>
    <dgm:cxn modelId="{324FBB56-DBF0-46D9-B178-2A96C9716871}" type="presParOf" srcId="{97B62193-5952-451C-A032-24B3B2EA3076}" destId="{218D4F6F-B658-41A6-8CA2-04F573A0CD2C}" srcOrd="7" destOrd="0" presId="urn:microsoft.com/office/officeart/2008/layout/VerticalCurvedList"/>
    <dgm:cxn modelId="{C3E6A174-148E-402A-A104-8D8AB239C9ED}" type="presParOf" srcId="{97B62193-5952-451C-A032-24B3B2EA3076}" destId="{7997B9BA-8BDF-4A50-8107-0BCBE98804EF}" srcOrd="8" destOrd="0" presId="urn:microsoft.com/office/officeart/2008/layout/VerticalCurvedList"/>
    <dgm:cxn modelId="{73DFEC35-62AB-4568-98CB-180FCA9F24F1}" type="presParOf" srcId="{7997B9BA-8BDF-4A50-8107-0BCBE98804EF}" destId="{D6298742-3333-4FFF-BC71-661311F97259}" srcOrd="0" destOrd="0" presId="urn:microsoft.com/office/officeart/2008/layout/VerticalCurvedList"/>
    <dgm:cxn modelId="{28449F95-8E2B-42F0-A764-1BC1DFA3BD0F}" type="presParOf" srcId="{97B62193-5952-451C-A032-24B3B2EA3076}" destId="{B7CEE193-9196-45CA-9E50-CAB6CF51D1E2}" srcOrd="9" destOrd="0" presId="urn:microsoft.com/office/officeart/2008/layout/VerticalCurvedList"/>
    <dgm:cxn modelId="{58C73B05-BCA7-4D2A-AC39-8B2305635A15}" type="presParOf" srcId="{97B62193-5952-451C-A032-24B3B2EA3076}" destId="{CA3D318B-9701-474F-BE46-B474A943BD26}" srcOrd="10" destOrd="0" presId="urn:microsoft.com/office/officeart/2008/layout/VerticalCurvedList"/>
    <dgm:cxn modelId="{0E2B1D1E-2F39-41DC-B495-0E14673012BC}" type="presParOf" srcId="{CA3D318B-9701-474F-BE46-B474A943BD26}" destId="{B96E86D2-D36A-46FD-AB9C-088DC258E07E}" srcOrd="0" destOrd="0" presId="urn:microsoft.com/office/officeart/2008/layout/VerticalCurvedList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CF1346F-1F30-4162-9C57-5A4F2D81C19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7C1AAAE-951C-4733-819A-C238EBD1F439}">
      <dgm:prSet phldrT="[Текст]"/>
      <dgm:spPr/>
      <dgm:t>
        <a:bodyPr/>
        <a:lstStyle/>
        <a:p>
          <a:pPr algn="l"/>
          <a:r>
            <a:rPr lang="ru-RU" dirty="0"/>
            <a:t>Продолжительность стажировки: 7 месяцев с возможностью продления и дальнейшего трудоустройства </a:t>
          </a:r>
          <a:br>
            <a:rPr lang="ru-RU" dirty="0"/>
          </a:br>
          <a:br>
            <a:rPr lang="ru-RU" dirty="0"/>
          </a:br>
          <a:br>
            <a:rPr lang="ru-RU" dirty="0"/>
          </a:br>
          <a:r>
            <a:rPr lang="uk-UA" dirty="0"/>
            <a:t>Старт</a:t>
          </a:r>
          <a:r>
            <a:rPr lang="ru-RU" dirty="0"/>
            <a:t>: декабрь 2019</a:t>
          </a:r>
        </a:p>
      </dgm:t>
    </dgm:pt>
    <dgm:pt modelId="{4352C370-584B-4FFD-9232-624CDB9C1CD0}" type="parTrans" cxnId="{70F57D86-1FD4-40D4-9640-DC1B8964C553}">
      <dgm:prSet/>
      <dgm:spPr/>
      <dgm:t>
        <a:bodyPr/>
        <a:lstStyle/>
        <a:p>
          <a:endParaRPr lang="ru-RU"/>
        </a:p>
      </dgm:t>
    </dgm:pt>
    <dgm:pt modelId="{01A4E3D9-861F-4642-BE24-1CF300EABAA3}" type="sibTrans" cxnId="{70F57D86-1FD4-40D4-9640-DC1B8964C553}">
      <dgm:prSet/>
      <dgm:spPr/>
      <dgm:t>
        <a:bodyPr/>
        <a:lstStyle/>
        <a:p>
          <a:endParaRPr lang="ru-RU"/>
        </a:p>
      </dgm:t>
    </dgm:pt>
    <dgm:pt modelId="{7EB2EA86-A5E9-4145-A6C9-A7D5764EBE00}">
      <dgm:prSet phldrT="[Текст]" custT="1"/>
      <dgm:spPr/>
      <dgm:t>
        <a:bodyPr/>
        <a:lstStyle/>
        <a:p>
          <a:r>
            <a:rPr lang="en-US" sz="2600" b="1" dirty="0" err="1"/>
            <a:t>e-mail:</a:t>
          </a:r>
          <a:r>
            <a:rPr lang="en-US" sz="2600" b="1" dirty="0" err="1">
              <a:solidFill>
                <a:schemeClr val="tx1"/>
              </a:solidFill>
            </a:rPr>
            <a:t>career-ukraine@basf.com</a:t>
          </a:r>
          <a:endParaRPr lang="en-US" sz="2600" b="1" dirty="0"/>
        </a:p>
        <a:p>
          <a:r>
            <a:rPr lang="en-US" sz="2600" b="1" dirty="0"/>
            <a:t>Phone </a:t>
          </a:r>
          <a:r>
            <a:rPr lang="ru-RU" sz="2600" b="1" dirty="0"/>
            <a:t>: (044) 591-55-95</a:t>
          </a:r>
          <a:endParaRPr lang="en-US" sz="2600" b="1" dirty="0"/>
        </a:p>
        <a:p>
          <a:r>
            <a:rPr lang="en-US" sz="2600" b="1" dirty="0"/>
            <a:t>050 442 81 95</a:t>
          </a:r>
          <a:endParaRPr lang="ru-RU" sz="2600" dirty="0"/>
        </a:p>
      </dgm:t>
    </dgm:pt>
    <dgm:pt modelId="{0072F019-294F-4F11-86C3-207F54965335}" type="parTrans" cxnId="{D1C52A5D-AD21-435E-8A57-C4BC537EE7FA}">
      <dgm:prSet/>
      <dgm:spPr/>
      <dgm:t>
        <a:bodyPr/>
        <a:lstStyle/>
        <a:p>
          <a:endParaRPr lang="ru-RU"/>
        </a:p>
      </dgm:t>
    </dgm:pt>
    <dgm:pt modelId="{02430DCB-2BFE-441F-BCE1-A69E535FC408}" type="sibTrans" cxnId="{D1C52A5D-AD21-435E-8A57-C4BC537EE7FA}">
      <dgm:prSet/>
      <dgm:spPr/>
      <dgm:t>
        <a:bodyPr/>
        <a:lstStyle/>
        <a:p>
          <a:endParaRPr lang="ru-RU"/>
        </a:p>
      </dgm:t>
    </dgm:pt>
    <dgm:pt modelId="{70386BC4-DB30-4C52-8BBD-C0523D99AA9B}" type="pres">
      <dgm:prSet presAssocID="{CCF1346F-1F30-4162-9C57-5A4F2D81C195}" presName="diagram" presStyleCnt="0">
        <dgm:presLayoutVars>
          <dgm:dir/>
          <dgm:resizeHandles val="exact"/>
        </dgm:presLayoutVars>
      </dgm:prSet>
      <dgm:spPr/>
    </dgm:pt>
    <dgm:pt modelId="{E080D89B-04B7-410D-94F1-A979178DB1F3}" type="pres">
      <dgm:prSet presAssocID="{07C1AAAE-951C-4733-819A-C238EBD1F439}" presName="node" presStyleLbl="node1" presStyleIdx="0" presStyleCnt="2" custScaleX="137574" custLinFactNeighborX="3654" custLinFactNeighborY="-76">
        <dgm:presLayoutVars>
          <dgm:bulletEnabled val="1"/>
        </dgm:presLayoutVars>
      </dgm:prSet>
      <dgm:spPr/>
    </dgm:pt>
    <dgm:pt modelId="{E368EC0C-FCA7-4DC4-A949-C16B30BA73BC}" type="pres">
      <dgm:prSet presAssocID="{01A4E3D9-861F-4642-BE24-1CF300EABAA3}" presName="sibTrans" presStyleCnt="0"/>
      <dgm:spPr/>
    </dgm:pt>
    <dgm:pt modelId="{91800884-71D0-4290-AA81-DA1A195D66A7}" type="pres">
      <dgm:prSet presAssocID="{7EB2EA86-A5E9-4145-A6C9-A7D5764EBE00}" presName="node" presStyleLbl="node1" presStyleIdx="1" presStyleCnt="2" custScaleX="138323" custLinFactNeighborX="19158" custLinFactNeighborY="-8333">
        <dgm:presLayoutVars>
          <dgm:bulletEnabled val="1"/>
        </dgm:presLayoutVars>
      </dgm:prSet>
      <dgm:spPr/>
    </dgm:pt>
  </dgm:ptLst>
  <dgm:cxnLst>
    <dgm:cxn modelId="{96DA1F0A-72F7-4B8B-B738-72E2E0E80AB3}" type="presOf" srcId="{CCF1346F-1F30-4162-9C57-5A4F2D81C195}" destId="{70386BC4-DB30-4C52-8BBD-C0523D99AA9B}" srcOrd="0" destOrd="0" presId="urn:microsoft.com/office/officeart/2005/8/layout/default"/>
    <dgm:cxn modelId="{D1C52A5D-AD21-435E-8A57-C4BC537EE7FA}" srcId="{CCF1346F-1F30-4162-9C57-5A4F2D81C195}" destId="{7EB2EA86-A5E9-4145-A6C9-A7D5764EBE00}" srcOrd="1" destOrd="0" parTransId="{0072F019-294F-4F11-86C3-207F54965335}" sibTransId="{02430DCB-2BFE-441F-BCE1-A69E535FC408}"/>
    <dgm:cxn modelId="{235D3A43-5BCF-4067-ABC6-73880FDB2DD9}" type="presOf" srcId="{07C1AAAE-951C-4733-819A-C238EBD1F439}" destId="{E080D89B-04B7-410D-94F1-A979178DB1F3}" srcOrd="0" destOrd="0" presId="urn:microsoft.com/office/officeart/2005/8/layout/default"/>
    <dgm:cxn modelId="{FDCF9B82-F61A-40D7-BEFD-69AA9895D853}" type="presOf" srcId="{7EB2EA86-A5E9-4145-A6C9-A7D5764EBE00}" destId="{91800884-71D0-4290-AA81-DA1A195D66A7}" srcOrd="0" destOrd="0" presId="urn:microsoft.com/office/officeart/2005/8/layout/default"/>
    <dgm:cxn modelId="{70F57D86-1FD4-40D4-9640-DC1B8964C553}" srcId="{CCF1346F-1F30-4162-9C57-5A4F2D81C195}" destId="{07C1AAAE-951C-4733-819A-C238EBD1F439}" srcOrd="0" destOrd="0" parTransId="{4352C370-584B-4FFD-9232-624CDB9C1CD0}" sibTransId="{01A4E3D9-861F-4642-BE24-1CF300EABAA3}"/>
    <dgm:cxn modelId="{C62F1EF1-BBE6-4F98-86E1-B07DFBBA0C9A}" type="presParOf" srcId="{70386BC4-DB30-4C52-8BBD-C0523D99AA9B}" destId="{E080D89B-04B7-410D-94F1-A979178DB1F3}" srcOrd="0" destOrd="0" presId="urn:microsoft.com/office/officeart/2005/8/layout/default"/>
    <dgm:cxn modelId="{766C9DD1-3F90-4794-AC06-8174DC0DF620}" type="presParOf" srcId="{70386BC4-DB30-4C52-8BBD-C0523D99AA9B}" destId="{E368EC0C-FCA7-4DC4-A949-C16B30BA73BC}" srcOrd="1" destOrd="0" presId="urn:microsoft.com/office/officeart/2005/8/layout/default"/>
    <dgm:cxn modelId="{90F06A51-0487-4050-8EE3-C909CCAD75AB}" type="presParOf" srcId="{70386BC4-DB30-4C52-8BBD-C0523D99AA9B}" destId="{91800884-71D0-4290-AA81-DA1A195D66A7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3EBBF2-CA9F-4BB3-B929-47C3908FDE94}">
      <dsp:nvSpPr>
        <dsp:cNvPr id="0" name=""/>
        <dsp:cNvSpPr/>
      </dsp:nvSpPr>
      <dsp:spPr>
        <a:xfrm>
          <a:off x="153684" y="2003"/>
          <a:ext cx="2282952" cy="1572954"/>
        </a:xfrm>
        <a:prstGeom prst="round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68963E9-A32F-41E1-896D-6170B5D0FFCF}">
      <dsp:nvSpPr>
        <dsp:cNvPr id="0" name=""/>
        <dsp:cNvSpPr/>
      </dsp:nvSpPr>
      <dsp:spPr>
        <a:xfrm>
          <a:off x="153684" y="1574957"/>
          <a:ext cx="2282952" cy="8469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800" kern="1200" dirty="0"/>
            <a:t>Концепція розвитку продукту</a:t>
          </a:r>
          <a:endParaRPr lang="en-GB" sz="1800" kern="1200" dirty="0"/>
        </a:p>
      </dsp:txBody>
      <dsp:txXfrm>
        <a:off x="153684" y="1574957"/>
        <a:ext cx="2282952" cy="846975"/>
      </dsp:txXfrm>
    </dsp:sp>
    <dsp:sp modelId="{3BD2D139-E59C-4057-9F1A-97D9F8EE28A7}">
      <dsp:nvSpPr>
        <dsp:cNvPr id="0" name=""/>
        <dsp:cNvSpPr/>
      </dsp:nvSpPr>
      <dsp:spPr>
        <a:xfrm>
          <a:off x="2665028" y="2003"/>
          <a:ext cx="2282952" cy="1572954"/>
        </a:xfrm>
        <a:prstGeom prst="roundRect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48CBCD-8606-46A3-A9C6-93BA2188D45D}">
      <dsp:nvSpPr>
        <dsp:cNvPr id="0" name=""/>
        <dsp:cNvSpPr/>
      </dsp:nvSpPr>
      <dsp:spPr>
        <a:xfrm>
          <a:off x="2665028" y="1574957"/>
          <a:ext cx="2282952" cy="8469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800" kern="1200" dirty="0"/>
            <a:t>Дрібноділянкові досліди в Агроцентрах</a:t>
          </a:r>
          <a:endParaRPr lang="en-GB" sz="1800" kern="1200" dirty="0"/>
        </a:p>
      </dsp:txBody>
      <dsp:txXfrm>
        <a:off x="2665028" y="1574957"/>
        <a:ext cx="2282952" cy="846975"/>
      </dsp:txXfrm>
    </dsp:sp>
    <dsp:sp modelId="{67E924D6-BC67-48DA-9AFF-6AFD0DCAD91A}">
      <dsp:nvSpPr>
        <dsp:cNvPr id="0" name=""/>
        <dsp:cNvSpPr/>
      </dsp:nvSpPr>
      <dsp:spPr>
        <a:xfrm>
          <a:off x="5176372" y="2003"/>
          <a:ext cx="2282952" cy="1572954"/>
        </a:xfrm>
        <a:prstGeom prst="round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664773-1146-4E08-988E-85A4DB27CC04}">
      <dsp:nvSpPr>
        <dsp:cNvPr id="0" name=""/>
        <dsp:cNvSpPr/>
      </dsp:nvSpPr>
      <dsp:spPr>
        <a:xfrm>
          <a:off x="5176372" y="1574957"/>
          <a:ext cx="2282952" cy="8469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800" kern="1200" dirty="0"/>
            <a:t>Дослідження в НДІ</a:t>
          </a:r>
          <a:endParaRPr lang="en-GB" sz="1800" kern="1200" dirty="0"/>
        </a:p>
      </dsp:txBody>
      <dsp:txXfrm>
        <a:off x="5176372" y="1574957"/>
        <a:ext cx="2282952" cy="846975"/>
      </dsp:txXfrm>
    </dsp:sp>
    <dsp:sp modelId="{C3D0273F-F49F-401F-BC97-964E3B2E7D90}">
      <dsp:nvSpPr>
        <dsp:cNvPr id="0" name=""/>
        <dsp:cNvSpPr/>
      </dsp:nvSpPr>
      <dsp:spPr>
        <a:xfrm>
          <a:off x="7687716" y="2003"/>
          <a:ext cx="2282952" cy="1572954"/>
        </a:xfrm>
        <a:prstGeom prst="roundRect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7000" b="-2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996AC4-B4EA-4811-BFA1-4117545F56BB}">
      <dsp:nvSpPr>
        <dsp:cNvPr id="0" name=""/>
        <dsp:cNvSpPr/>
      </dsp:nvSpPr>
      <dsp:spPr>
        <a:xfrm>
          <a:off x="7687716" y="1574957"/>
          <a:ext cx="2282952" cy="8469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800" kern="1200" dirty="0"/>
            <a:t>Лабораторні дослідження</a:t>
          </a:r>
          <a:endParaRPr lang="en-GB" sz="1800" kern="1200" dirty="0"/>
        </a:p>
      </dsp:txBody>
      <dsp:txXfrm>
        <a:off x="7687716" y="1574957"/>
        <a:ext cx="2282952" cy="846975"/>
      </dsp:txXfrm>
    </dsp:sp>
    <dsp:sp modelId="{070B06E4-8397-4C8A-BF0D-9A973AD53CFA}">
      <dsp:nvSpPr>
        <dsp:cNvPr id="0" name=""/>
        <dsp:cNvSpPr/>
      </dsp:nvSpPr>
      <dsp:spPr>
        <a:xfrm>
          <a:off x="153684" y="2650228"/>
          <a:ext cx="2282952" cy="1572954"/>
        </a:xfrm>
        <a:prstGeom prst="roundRect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DA3734-3F84-436D-B2DD-51EBBBFBA865}">
      <dsp:nvSpPr>
        <dsp:cNvPr id="0" name=""/>
        <dsp:cNvSpPr/>
      </dsp:nvSpPr>
      <dsp:spPr>
        <a:xfrm>
          <a:off x="153684" y="4223182"/>
          <a:ext cx="2282952" cy="8469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800" kern="1200" dirty="0"/>
            <a:t>Технологія внесення</a:t>
          </a:r>
          <a:endParaRPr lang="en-GB" sz="1800" kern="1200" dirty="0"/>
        </a:p>
      </dsp:txBody>
      <dsp:txXfrm>
        <a:off x="153684" y="4223182"/>
        <a:ext cx="2282952" cy="846975"/>
      </dsp:txXfrm>
    </dsp:sp>
    <dsp:sp modelId="{3654C9ED-AB11-4496-B53C-76AE7303F121}">
      <dsp:nvSpPr>
        <dsp:cNvPr id="0" name=""/>
        <dsp:cNvSpPr/>
      </dsp:nvSpPr>
      <dsp:spPr>
        <a:xfrm>
          <a:off x="2665028" y="2650228"/>
          <a:ext cx="2282952" cy="1572954"/>
        </a:xfrm>
        <a:prstGeom prst="roundRect">
          <a:avLst/>
        </a:prstGeom>
        <a:blipFill>
          <a:blip xmlns:r="http://schemas.openxmlformats.org/officeDocument/2006/relationships"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" b="-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7DDDAA-C857-4C16-9F8F-FF9BE6F7EAA9}">
      <dsp:nvSpPr>
        <dsp:cNvPr id="0" name=""/>
        <dsp:cNvSpPr/>
      </dsp:nvSpPr>
      <dsp:spPr>
        <a:xfrm>
          <a:off x="2665028" y="4223182"/>
          <a:ext cx="2282952" cy="8469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800" kern="1200" dirty="0"/>
            <a:t>Цифрові технології в агро</a:t>
          </a:r>
          <a:endParaRPr lang="en-GB" sz="1800" kern="1200" dirty="0"/>
        </a:p>
      </dsp:txBody>
      <dsp:txXfrm>
        <a:off x="2665028" y="4223182"/>
        <a:ext cx="2282952" cy="846975"/>
      </dsp:txXfrm>
    </dsp:sp>
    <dsp:sp modelId="{87065348-78EE-4EC7-8E30-E0AB6C42B9FC}">
      <dsp:nvSpPr>
        <dsp:cNvPr id="0" name=""/>
        <dsp:cNvSpPr/>
      </dsp:nvSpPr>
      <dsp:spPr>
        <a:xfrm>
          <a:off x="5176372" y="2650228"/>
          <a:ext cx="2282952" cy="1572954"/>
        </a:xfrm>
        <a:prstGeom prst="roundRect">
          <a:avLst/>
        </a:prstGeom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1000" r="-2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8AA6F6-E5D0-4C15-9724-909E76D97B5C}">
      <dsp:nvSpPr>
        <dsp:cNvPr id="0" name=""/>
        <dsp:cNvSpPr/>
      </dsp:nvSpPr>
      <dsp:spPr>
        <a:xfrm>
          <a:off x="5176372" y="4223182"/>
          <a:ext cx="2282952" cy="8469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800" kern="1200" dirty="0"/>
            <a:t>Виробниці досліди</a:t>
          </a:r>
          <a:endParaRPr lang="en-GB" sz="1800" kern="1200" dirty="0"/>
        </a:p>
      </dsp:txBody>
      <dsp:txXfrm>
        <a:off x="5176372" y="4223182"/>
        <a:ext cx="2282952" cy="846975"/>
      </dsp:txXfrm>
    </dsp:sp>
    <dsp:sp modelId="{88DDBE96-E244-45AC-AA07-1963B806FA97}">
      <dsp:nvSpPr>
        <dsp:cNvPr id="0" name=""/>
        <dsp:cNvSpPr/>
      </dsp:nvSpPr>
      <dsp:spPr>
        <a:xfrm>
          <a:off x="7687716" y="2650228"/>
          <a:ext cx="2282952" cy="1572954"/>
        </a:xfrm>
        <a:prstGeom prst="roundRect">
          <a:avLst/>
        </a:prstGeom>
        <a:blipFill>
          <a:blip xmlns:r="http://schemas.openxmlformats.org/officeDocument/2006/relationships"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7D70022-F486-430C-A4A1-A39F5DB2100A}">
      <dsp:nvSpPr>
        <dsp:cNvPr id="0" name=""/>
        <dsp:cNvSpPr/>
      </dsp:nvSpPr>
      <dsp:spPr>
        <a:xfrm>
          <a:off x="7687716" y="4223182"/>
          <a:ext cx="2282952" cy="8469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800" kern="1200" dirty="0"/>
            <a:t>Моніторинг резистентності</a:t>
          </a:r>
          <a:endParaRPr lang="en-GB" sz="1800" kern="1200" dirty="0"/>
        </a:p>
      </dsp:txBody>
      <dsp:txXfrm>
        <a:off x="7687716" y="4223182"/>
        <a:ext cx="2282952" cy="84697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9D15C6-07AC-4589-8CCC-24CF3FC9C6DB}">
      <dsp:nvSpPr>
        <dsp:cNvPr id="0" name=""/>
        <dsp:cNvSpPr/>
      </dsp:nvSpPr>
      <dsp:spPr>
        <a:xfrm rot="5400000">
          <a:off x="427924" y="2250213"/>
          <a:ext cx="1158580" cy="1927852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3EF2DD0-17D3-4D27-B4F6-F9D46B57DF85}">
      <dsp:nvSpPr>
        <dsp:cNvPr id="0" name=""/>
        <dsp:cNvSpPr/>
      </dsp:nvSpPr>
      <dsp:spPr>
        <a:xfrm>
          <a:off x="292356" y="2889402"/>
          <a:ext cx="2206001" cy="15256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Студенты старших курсов, выпускники Аграрных ВУЗов</a:t>
          </a:r>
          <a:endParaRPr lang="en-US" sz="1800" kern="1200" dirty="0"/>
        </a:p>
      </dsp:txBody>
      <dsp:txXfrm>
        <a:off x="292356" y="2889402"/>
        <a:ext cx="2206001" cy="1525629"/>
      </dsp:txXfrm>
    </dsp:sp>
    <dsp:sp modelId="{BB165B35-CC80-4076-9101-07C7DE8E269A}">
      <dsp:nvSpPr>
        <dsp:cNvPr id="0" name=""/>
        <dsp:cNvSpPr/>
      </dsp:nvSpPr>
      <dsp:spPr>
        <a:xfrm>
          <a:off x="1646613" y="2108282"/>
          <a:ext cx="328391" cy="328391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C3FC654-B3F4-4CBE-AA1B-608264053F6B}">
      <dsp:nvSpPr>
        <dsp:cNvPr id="0" name=""/>
        <dsp:cNvSpPr/>
      </dsp:nvSpPr>
      <dsp:spPr>
        <a:xfrm rot="5400000">
          <a:off x="2791370" y="1722973"/>
          <a:ext cx="1158580" cy="1927852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90D207F-6633-4503-95C2-3F109B785740}">
      <dsp:nvSpPr>
        <dsp:cNvPr id="0" name=""/>
        <dsp:cNvSpPr/>
      </dsp:nvSpPr>
      <dsp:spPr>
        <a:xfrm>
          <a:off x="2652694" y="2387426"/>
          <a:ext cx="2121988" cy="15256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Возможность работать полный рабочий день</a:t>
          </a:r>
          <a:endParaRPr lang="en-US" sz="1800" kern="1200" dirty="0"/>
        </a:p>
      </dsp:txBody>
      <dsp:txXfrm>
        <a:off x="2652694" y="2387426"/>
        <a:ext cx="2121988" cy="1525629"/>
      </dsp:txXfrm>
    </dsp:sp>
    <dsp:sp modelId="{C316683A-655C-45FC-AFF7-0765AEE8E61F}">
      <dsp:nvSpPr>
        <dsp:cNvPr id="0" name=""/>
        <dsp:cNvSpPr/>
      </dsp:nvSpPr>
      <dsp:spPr>
        <a:xfrm>
          <a:off x="4010058" y="1581043"/>
          <a:ext cx="328391" cy="328391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6A9F2B5-1B55-4913-9546-59E0E1D0110A}">
      <dsp:nvSpPr>
        <dsp:cNvPr id="0" name=""/>
        <dsp:cNvSpPr/>
      </dsp:nvSpPr>
      <dsp:spPr>
        <a:xfrm rot="5400000">
          <a:off x="5196338" y="1195734"/>
          <a:ext cx="1158580" cy="1927852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B36B8EF-09FD-4F50-B1B2-2C7A4D27391E}">
      <dsp:nvSpPr>
        <dsp:cNvPr id="0" name=""/>
        <dsp:cNvSpPr/>
      </dsp:nvSpPr>
      <dsp:spPr>
        <a:xfrm>
          <a:off x="5104821" y="1872834"/>
          <a:ext cx="2092661" cy="15256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Удостоверение водителя категории </a:t>
          </a:r>
          <a:r>
            <a:rPr lang="en-US" sz="1800" kern="1200" dirty="0"/>
            <a:t>B</a:t>
          </a:r>
          <a:endParaRPr lang="uk-UA" sz="1800" kern="1200" dirty="0"/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800" kern="1200" dirty="0"/>
            <a:t>Стаж </a:t>
          </a:r>
          <a:r>
            <a:rPr lang="ru-RU" sz="1800" kern="1200" noProof="0" dirty="0"/>
            <a:t>вождения</a:t>
          </a:r>
          <a:r>
            <a:rPr lang="uk-UA" sz="1800" kern="1200" dirty="0"/>
            <a:t> </a:t>
          </a:r>
          <a:r>
            <a:rPr lang="ru-RU" sz="1800" kern="1200" noProof="0" dirty="0"/>
            <a:t>более</a:t>
          </a:r>
          <a:r>
            <a:rPr lang="uk-UA" sz="1800" kern="1200" dirty="0"/>
            <a:t> </a:t>
          </a:r>
          <a:r>
            <a:rPr lang="ru-RU" sz="1800" kern="1200" noProof="0" dirty="0"/>
            <a:t>года</a:t>
          </a:r>
        </a:p>
      </dsp:txBody>
      <dsp:txXfrm>
        <a:off x="5104821" y="1872834"/>
        <a:ext cx="2092661" cy="1525629"/>
      </dsp:txXfrm>
    </dsp:sp>
    <dsp:sp modelId="{1C955794-C0D3-4843-9D15-76FD669DD9B1}">
      <dsp:nvSpPr>
        <dsp:cNvPr id="0" name=""/>
        <dsp:cNvSpPr/>
      </dsp:nvSpPr>
      <dsp:spPr>
        <a:xfrm>
          <a:off x="6415026" y="1053803"/>
          <a:ext cx="328391" cy="328391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C0D2D31-959E-4F74-BE42-635C8A784ABE}">
      <dsp:nvSpPr>
        <dsp:cNvPr id="0" name=""/>
        <dsp:cNvSpPr/>
      </dsp:nvSpPr>
      <dsp:spPr>
        <a:xfrm rot="5400000">
          <a:off x="7747692" y="668494"/>
          <a:ext cx="1158580" cy="1927852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3EC714B-C3FE-4641-BC69-7AD59D4978D4}">
      <dsp:nvSpPr>
        <dsp:cNvPr id="0" name=""/>
        <dsp:cNvSpPr/>
      </dsp:nvSpPr>
      <dsp:spPr>
        <a:xfrm>
          <a:off x="7626221" y="1392035"/>
          <a:ext cx="2415728" cy="15256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noProof="0" dirty="0"/>
            <a:t>Базовые</a:t>
          </a:r>
          <a:r>
            <a:rPr lang="uk-UA" sz="1800" kern="1200" dirty="0"/>
            <a:t> </a:t>
          </a:r>
          <a:r>
            <a:rPr lang="ru-RU" sz="1800" kern="1200" noProof="0" dirty="0"/>
            <a:t>знания</a:t>
          </a:r>
          <a:r>
            <a:rPr lang="uk-UA" sz="1800" kern="1200" dirty="0"/>
            <a:t> </a:t>
          </a:r>
          <a:r>
            <a:rPr lang="ru-RU" sz="1800" kern="1200" noProof="0" dirty="0"/>
            <a:t>физиологии</a:t>
          </a:r>
          <a:r>
            <a:rPr lang="uk-UA" sz="1800" kern="1200" dirty="0"/>
            <a:t> </a:t>
          </a:r>
          <a:r>
            <a:rPr lang="ru-RU" sz="1800" kern="1200" noProof="0" dirty="0"/>
            <a:t>растения</a:t>
          </a:r>
          <a:r>
            <a:rPr lang="uk-UA" sz="1800" kern="1200" dirty="0"/>
            <a:t>, </a:t>
          </a:r>
          <a:r>
            <a:rPr lang="ru-RU" sz="1800" kern="1200" noProof="0" dirty="0"/>
            <a:t>защит</a:t>
          </a:r>
          <a:r>
            <a:rPr lang="ru-RU" sz="1800" kern="1200" dirty="0"/>
            <a:t>ы.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Агро технологий</a:t>
          </a:r>
          <a:endParaRPr lang="en-US" sz="1800" kern="1200" dirty="0"/>
        </a:p>
      </dsp:txBody>
      <dsp:txXfrm>
        <a:off x="7626221" y="1392035"/>
        <a:ext cx="2415728" cy="1525629"/>
      </dsp:txXfrm>
    </dsp:sp>
    <dsp:sp modelId="{6E2C60CB-92D3-42C7-9797-B98A7E7024F7}">
      <dsp:nvSpPr>
        <dsp:cNvPr id="0" name=""/>
        <dsp:cNvSpPr/>
      </dsp:nvSpPr>
      <dsp:spPr>
        <a:xfrm>
          <a:off x="8966381" y="526563"/>
          <a:ext cx="328391" cy="328391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8FC8BE4-95D3-4409-AA7F-3573E266C6CD}">
      <dsp:nvSpPr>
        <dsp:cNvPr id="0" name=""/>
        <dsp:cNvSpPr/>
      </dsp:nvSpPr>
      <dsp:spPr>
        <a:xfrm rot="5400000">
          <a:off x="10006274" y="141254"/>
          <a:ext cx="1158580" cy="1927852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0D8CB92-0718-41D1-B065-99B075A8BBD5}">
      <dsp:nvSpPr>
        <dsp:cNvPr id="0" name=""/>
        <dsp:cNvSpPr/>
      </dsp:nvSpPr>
      <dsp:spPr>
        <a:xfrm>
          <a:off x="9812878" y="717267"/>
          <a:ext cx="1740476" cy="15256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Желание развиваться и достигать целей</a:t>
          </a:r>
          <a:endParaRPr lang="en-US" sz="1800" kern="1200" dirty="0"/>
        </a:p>
      </dsp:txBody>
      <dsp:txXfrm>
        <a:off x="9812878" y="717267"/>
        <a:ext cx="1740476" cy="152562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C6893-73B1-4A8C-A75D-FCBFED62213C}">
      <dsp:nvSpPr>
        <dsp:cNvPr id="0" name=""/>
        <dsp:cNvSpPr/>
      </dsp:nvSpPr>
      <dsp:spPr>
        <a:xfrm>
          <a:off x="762811" y="0"/>
          <a:ext cx="8645194" cy="4848859"/>
        </a:xfrm>
        <a:prstGeom prst="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A43B9AA-C9BB-431D-BE50-2D65E4605F0D}">
      <dsp:nvSpPr>
        <dsp:cNvPr id="0" name=""/>
        <dsp:cNvSpPr/>
      </dsp:nvSpPr>
      <dsp:spPr>
        <a:xfrm>
          <a:off x="5090" y="1454657"/>
          <a:ext cx="2448346" cy="1939543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/>
            <a:t>Формирование базы клиентов</a:t>
          </a:r>
          <a:endParaRPr lang="en-US" sz="2300" kern="1200" dirty="0"/>
        </a:p>
      </dsp:txBody>
      <dsp:txXfrm>
        <a:off x="99771" y="1549338"/>
        <a:ext cx="2258984" cy="1750181"/>
      </dsp:txXfrm>
    </dsp:sp>
    <dsp:sp modelId="{D114D26A-1DC5-49E3-AC2F-75D4A2A1961F}">
      <dsp:nvSpPr>
        <dsp:cNvPr id="0" name=""/>
        <dsp:cNvSpPr/>
      </dsp:nvSpPr>
      <dsp:spPr>
        <a:xfrm>
          <a:off x="2575853" y="1454657"/>
          <a:ext cx="2448346" cy="1939543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/>
            <a:t>Осуществлять визиты в хозяйства</a:t>
          </a:r>
          <a:endParaRPr lang="en-US" sz="2300" kern="1200" dirty="0"/>
        </a:p>
      </dsp:txBody>
      <dsp:txXfrm>
        <a:off x="2670534" y="1549338"/>
        <a:ext cx="2258984" cy="1750181"/>
      </dsp:txXfrm>
    </dsp:sp>
    <dsp:sp modelId="{BADF9EF9-60FA-4FE2-9899-60AFCED19BAE}">
      <dsp:nvSpPr>
        <dsp:cNvPr id="0" name=""/>
        <dsp:cNvSpPr/>
      </dsp:nvSpPr>
      <dsp:spPr>
        <a:xfrm>
          <a:off x="5146617" y="1454657"/>
          <a:ext cx="2448346" cy="1939543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/>
            <a:t>Ведение переговоров </a:t>
          </a:r>
          <a:endParaRPr lang="en-US" sz="2300" kern="1200" dirty="0"/>
        </a:p>
      </dsp:txBody>
      <dsp:txXfrm>
        <a:off x="5241298" y="1549338"/>
        <a:ext cx="2258984" cy="1750181"/>
      </dsp:txXfrm>
    </dsp:sp>
    <dsp:sp modelId="{310BF1EF-12BE-460E-9688-B284BC252ED5}">
      <dsp:nvSpPr>
        <dsp:cNvPr id="0" name=""/>
        <dsp:cNvSpPr/>
      </dsp:nvSpPr>
      <dsp:spPr>
        <a:xfrm>
          <a:off x="7717380" y="1454657"/>
          <a:ext cx="2448346" cy="1939543"/>
        </a:xfrm>
        <a:prstGeom prst="roundRect">
          <a:avLst/>
        </a:prstGeom>
        <a:solidFill>
          <a:srgbClr val="FFC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/>
            <a:t>Продвижение технологии защиты </a:t>
          </a:r>
          <a:r>
            <a:rPr lang="en-US" sz="2300" kern="1200" dirty="0"/>
            <a:t>BASF</a:t>
          </a:r>
        </a:p>
      </dsp:txBody>
      <dsp:txXfrm>
        <a:off x="7812061" y="1549338"/>
        <a:ext cx="2258984" cy="175018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528F53-765E-4B98-B8BD-0BE89D28EBCA}">
      <dsp:nvSpPr>
        <dsp:cNvPr id="0" name=""/>
        <dsp:cNvSpPr/>
      </dsp:nvSpPr>
      <dsp:spPr>
        <a:xfrm>
          <a:off x="-4982358" y="-763397"/>
          <a:ext cx="5933759" cy="5933759"/>
        </a:xfrm>
        <a:prstGeom prst="blockArc">
          <a:avLst>
            <a:gd name="adj1" fmla="val 18900000"/>
            <a:gd name="adj2" fmla="val 2700000"/>
            <a:gd name="adj3" fmla="val 364"/>
          </a:avLst>
        </a:pr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646181-64B1-44F3-B79E-820234ED8D9A}">
      <dsp:nvSpPr>
        <dsp:cNvPr id="0" name=""/>
        <dsp:cNvSpPr/>
      </dsp:nvSpPr>
      <dsp:spPr>
        <a:xfrm>
          <a:off x="416230" y="275347"/>
          <a:ext cx="6189998" cy="55104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37393" tIns="50800" rIns="50800" bIns="508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kern="1200" dirty="0">
              <a:solidFill>
                <a:schemeClr val="tx1"/>
              </a:solidFill>
            </a:rPr>
            <a:t>Тренинги </a:t>
          </a: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 dirty="0"/>
        </a:p>
      </dsp:txBody>
      <dsp:txXfrm>
        <a:off x="416230" y="275347"/>
        <a:ext cx="6189998" cy="551046"/>
      </dsp:txXfrm>
    </dsp:sp>
    <dsp:sp modelId="{544C56DA-7A18-4AE0-AEFE-8E74AD9AC001}">
      <dsp:nvSpPr>
        <dsp:cNvPr id="0" name=""/>
        <dsp:cNvSpPr/>
      </dsp:nvSpPr>
      <dsp:spPr>
        <a:xfrm>
          <a:off x="71825" y="206466"/>
          <a:ext cx="688808" cy="68880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3A0944-0833-4AE3-B541-584BBF5AC8CD}">
      <dsp:nvSpPr>
        <dsp:cNvPr id="0" name=""/>
        <dsp:cNvSpPr/>
      </dsp:nvSpPr>
      <dsp:spPr>
        <a:xfrm>
          <a:off x="811094" y="1101652"/>
          <a:ext cx="5795134" cy="55104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37393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kern="1200" dirty="0">
              <a:solidFill>
                <a:schemeClr val="tx1"/>
              </a:solidFill>
            </a:rPr>
            <a:t>Коучинг с представителями БАСФ</a:t>
          </a:r>
          <a:endParaRPr lang="en-US" sz="2000" kern="1200" dirty="0"/>
        </a:p>
      </dsp:txBody>
      <dsp:txXfrm>
        <a:off x="811094" y="1101652"/>
        <a:ext cx="5795134" cy="551046"/>
      </dsp:txXfrm>
    </dsp:sp>
    <dsp:sp modelId="{347CF1D6-54F1-4597-8009-9D2342388E1B}">
      <dsp:nvSpPr>
        <dsp:cNvPr id="0" name=""/>
        <dsp:cNvSpPr/>
      </dsp:nvSpPr>
      <dsp:spPr>
        <a:xfrm>
          <a:off x="466689" y="1032772"/>
          <a:ext cx="688808" cy="68880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729E07-5E2C-4312-B070-C0FADAC3D673}">
      <dsp:nvSpPr>
        <dsp:cNvPr id="0" name=""/>
        <dsp:cNvSpPr/>
      </dsp:nvSpPr>
      <dsp:spPr>
        <a:xfrm>
          <a:off x="932285" y="1927958"/>
          <a:ext cx="5673943" cy="55104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37393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altLang="ru-RU" sz="2000" b="0" kern="1200" dirty="0">
              <a:solidFill>
                <a:schemeClr val="tx1"/>
              </a:solidFill>
            </a:rPr>
            <a:t>Служебный</a:t>
          </a:r>
          <a:r>
            <a:rPr lang="uk-UA" altLang="ru-RU" sz="2000" b="0" kern="1200" dirty="0">
              <a:solidFill>
                <a:schemeClr val="tx1"/>
              </a:solidFill>
            </a:rPr>
            <a:t> </a:t>
          </a:r>
          <a:r>
            <a:rPr lang="ru-RU" altLang="ru-RU" sz="2000" b="0" kern="1200" dirty="0">
              <a:solidFill>
                <a:schemeClr val="tx1"/>
              </a:solidFill>
            </a:rPr>
            <a:t>автомобиль</a:t>
          </a:r>
          <a:r>
            <a:rPr lang="uk-UA" altLang="ru-RU" sz="2000" b="0" kern="1200" dirty="0">
              <a:solidFill>
                <a:schemeClr val="tx1"/>
              </a:solidFill>
            </a:rPr>
            <a:t> </a:t>
          </a:r>
          <a:r>
            <a:rPr lang="en-US" sz="2000" kern="1200" dirty="0">
              <a:solidFill>
                <a:schemeClr val="tx1"/>
              </a:solidFill>
            </a:rPr>
            <a:t>Volkswagen Jetta </a:t>
          </a:r>
          <a:endParaRPr lang="en-US" sz="2000" kern="1200" dirty="0"/>
        </a:p>
      </dsp:txBody>
      <dsp:txXfrm>
        <a:off x="932285" y="1927958"/>
        <a:ext cx="5673943" cy="551046"/>
      </dsp:txXfrm>
    </dsp:sp>
    <dsp:sp modelId="{44975C73-AAC4-428F-9E94-FD89BF6A9C3D}">
      <dsp:nvSpPr>
        <dsp:cNvPr id="0" name=""/>
        <dsp:cNvSpPr/>
      </dsp:nvSpPr>
      <dsp:spPr>
        <a:xfrm>
          <a:off x="587881" y="1859077"/>
          <a:ext cx="688808" cy="68880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8D4F6F-B658-41A6-8CA2-04F573A0CD2C}">
      <dsp:nvSpPr>
        <dsp:cNvPr id="0" name=""/>
        <dsp:cNvSpPr/>
      </dsp:nvSpPr>
      <dsp:spPr>
        <a:xfrm>
          <a:off x="811094" y="2754264"/>
          <a:ext cx="5795134" cy="551046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37393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altLang="ru-RU" sz="2000" b="0" kern="1200" dirty="0">
              <a:solidFill>
                <a:schemeClr val="tx1"/>
              </a:solidFill>
            </a:rPr>
            <a:t>Ноут бук, </a:t>
          </a:r>
          <a:r>
            <a:rPr lang="uk-UA" altLang="ru-RU" sz="2000" b="0" kern="1200" dirty="0" err="1">
              <a:solidFill>
                <a:schemeClr val="tx1"/>
              </a:solidFill>
            </a:rPr>
            <a:t>мобильний</a:t>
          </a:r>
          <a:r>
            <a:rPr lang="uk-UA" altLang="ru-RU" sz="2000" b="0" kern="1200" dirty="0">
              <a:solidFill>
                <a:schemeClr val="tx1"/>
              </a:solidFill>
            </a:rPr>
            <a:t> телефон</a:t>
          </a:r>
          <a:endParaRPr lang="en-US" sz="2000" kern="1200" dirty="0"/>
        </a:p>
      </dsp:txBody>
      <dsp:txXfrm>
        <a:off x="811094" y="2754264"/>
        <a:ext cx="5795134" cy="551046"/>
      </dsp:txXfrm>
    </dsp:sp>
    <dsp:sp modelId="{D6298742-3333-4FFF-BC71-661311F97259}">
      <dsp:nvSpPr>
        <dsp:cNvPr id="0" name=""/>
        <dsp:cNvSpPr/>
      </dsp:nvSpPr>
      <dsp:spPr>
        <a:xfrm>
          <a:off x="466689" y="2685383"/>
          <a:ext cx="688808" cy="68880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CEE193-9196-45CA-9E50-CAB6CF51D1E2}">
      <dsp:nvSpPr>
        <dsp:cNvPr id="0" name=""/>
        <dsp:cNvSpPr/>
      </dsp:nvSpPr>
      <dsp:spPr>
        <a:xfrm>
          <a:off x="416230" y="3580570"/>
          <a:ext cx="6189998" cy="551046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37393" tIns="50800" rIns="50800" bIns="508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altLang="ru-RU" sz="2000" b="0" kern="1200" dirty="0" err="1">
              <a:solidFill>
                <a:schemeClr val="tx1"/>
              </a:solidFill>
            </a:rPr>
            <a:t>Промо</a:t>
          </a:r>
          <a:r>
            <a:rPr lang="uk-UA" altLang="ru-RU" sz="2000" b="0" kern="1200" dirty="0">
              <a:solidFill>
                <a:schemeClr val="tx1"/>
              </a:solidFill>
            </a:rPr>
            <a:t> </a:t>
          </a:r>
          <a:r>
            <a:rPr lang="uk-UA" altLang="ru-RU" sz="2000" b="0" kern="1200" dirty="0" err="1">
              <a:solidFill>
                <a:schemeClr val="tx1"/>
              </a:solidFill>
            </a:rPr>
            <a:t>материал</a:t>
          </a:r>
          <a:r>
            <a:rPr lang="ru-RU" altLang="ru-RU" sz="2000" b="0" kern="1200" dirty="0">
              <a:solidFill>
                <a:schemeClr val="tx1"/>
              </a:solidFill>
            </a:rPr>
            <a:t>ы</a:t>
          </a: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 dirty="0"/>
        </a:p>
      </dsp:txBody>
      <dsp:txXfrm>
        <a:off x="416230" y="3580570"/>
        <a:ext cx="6189998" cy="551046"/>
      </dsp:txXfrm>
    </dsp:sp>
    <dsp:sp modelId="{B96E86D2-D36A-46FD-AB9C-088DC258E07E}">
      <dsp:nvSpPr>
        <dsp:cNvPr id="0" name=""/>
        <dsp:cNvSpPr/>
      </dsp:nvSpPr>
      <dsp:spPr>
        <a:xfrm>
          <a:off x="71825" y="3511689"/>
          <a:ext cx="688808" cy="68880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80D89B-04B7-410D-94F1-A979178DB1F3}">
      <dsp:nvSpPr>
        <dsp:cNvPr id="0" name=""/>
        <dsp:cNvSpPr/>
      </dsp:nvSpPr>
      <dsp:spPr>
        <a:xfrm>
          <a:off x="317707" y="0"/>
          <a:ext cx="5834693" cy="254467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600" kern="1200" dirty="0"/>
            <a:t>Продолжительность стажировки: 7 месяцев с возможностью продления и дальнейшего трудоустройства </a:t>
          </a:r>
          <a:br>
            <a:rPr lang="ru-RU" sz="2600" kern="1200" dirty="0"/>
          </a:br>
          <a:br>
            <a:rPr lang="ru-RU" sz="2600" kern="1200" dirty="0"/>
          </a:br>
          <a:br>
            <a:rPr lang="ru-RU" sz="2600" kern="1200" dirty="0"/>
          </a:br>
          <a:r>
            <a:rPr lang="uk-UA" sz="2600" kern="1200" dirty="0"/>
            <a:t>Старт</a:t>
          </a:r>
          <a:r>
            <a:rPr lang="ru-RU" sz="2600" kern="1200" dirty="0"/>
            <a:t>: декабрь 2019</a:t>
          </a:r>
        </a:p>
      </dsp:txBody>
      <dsp:txXfrm>
        <a:off x="317707" y="0"/>
        <a:ext cx="5834693" cy="2544678"/>
      </dsp:txXfrm>
    </dsp:sp>
    <dsp:sp modelId="{91800884-71D0-4290-AA81-DA1A195D66A7}">
      <dsp:nvSpPr>
        <dsp:cNvPr id="0" name=""/>
        <dsp:cNvSpPr/>
      </dsp:nvSpPr>
      <dsp:spPr>
        <a:xfrm>
          <a:off x="293707" y="2758678"/>
          <a:ext cx="5866460" cy="254467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1" kern="1200" dirty="0" err="1"/>
            <a:t>e-mail:</a:t>
          </a:r>
          <a:r>
            <a:rPr lang="en-US" sz="2600" b="1" kern="1200" dirty="0" err="1">
              <a:solidFill>
                <a:schemeClr val="tx1"/>
              </a:solidFill>
            </a:rPr>
            <a:t>career-ukraine@basf.com</a:t>
          </a:r>
          <a:endParaRPr lang="en-US" sz="2600" b="1" kern="1200" dirty="0"/>
        </a:p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1" kern="1200" dirty="0"/>
            <a:t>Phone </a:t>
          </a:r>
          <a:r>
            <a:rPr lang="ru-RU" sz="2600" b="1" kern="1200" dirty="0"/>
            <a:t>: (044) 591-55-95</a:t>
          </a:r>
          <a:endParaRPr lang="en-US" sz="2600" b="1" kern="1200" dirty="0"/>
        </a:p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1" kern="1200" dirty="0"/>
            <a:t>050 442 81 95</a:t>
          </a:r>
          <a:endParaRPr lang="ru-RU" sz="2600" kern="1200" dirty="0"/>
        </a:p>
      </dsp:txBody>
      <dsp:txXfrm>
        <a:off x="293707" y="2758678"/>
        <a:ext cx="5866460" cy="25446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1">
  <dgm:title val=""/>
  <dgm:desc val=""/>
  <dgm:catLst>
    <dgm:cat type="list" pri="2000"/>
    <dgm:cat type="picture" pri="2500"/>
    <dgm:cat type="pictureconvert" pri="2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3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1"/>
      <dgm:constr type="sp" refType="w" refFor="ch" refForName="compNode" op="equ" fact="0.1"/>
      <dgm:constr type="primFontSz" for="des" ptType="node" op="equ" val="65"/>
    </dgm:constrLst>
    <dgm:ruleLst/>
    <dgm:forEach name="Name4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 axis="self"/>
        <dgm:constrLst>
          <dgm:constr type="h" refType="w" fact="1.06"/>
          <dgm:constr type="h" for="ch" forName="pictRect" refType="h" fact="0.65"/>
          <dgm:constr type="w" for="ch" forName="pictRect" refType="w"/>
          <dgm:constr type="l" for="ch" forName="pictRect"/>
          <dgm:constr type="t" for="ch" forName="pictRect"/>
          <dgm:constr type="w" for="ch" forName="textRect" refType="w"/>
          <dgm:constr type="h" for="ch" forName="textRect" refType="h" fact="0.35"/>
          <dgm:constr type="l" for="ch" forName="textRect"/>
          <dgm:constr type="t" for="ch" forName="textRect" refType="b" refFor="ch" refForName="pictRect"/>
        </dgm:constrLst>
        <dgm:ruleLst/>
        <dgm:layoutNode name="pictRect">
          <dgm:alg type="sp"/>
          <dgm:shape xmlns:r="http://schemas.openxmlformats.org/officeDocument/2006/relationships" type="roundRect" r:blip="" blipPhldr="1">
            <dgm:adjLst/>
          </dgm:shape>
          <dgm:presOf/>
          <dgm:constrLst/>
          <dgm:ruleLst/>
        </dgm:layoutNode>
        <dgm:layoutNode name="textRect" styleLbl="revTx">
          <dgm:varLst>
            <dgm:bulletEnabled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bMarg"/>
          </dgm:constrLst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94579C-BA7F-4638-BFCF-59BCF4E47C13}" type="slidenum">
              <a:rPr lang="de-DE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591671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extLst/>
        </p:spPr>
        <p:txBody>
          <a:bodyPr vert="horz" lIns="0" tIns="0" rIns="0" bIns="0" rtlCol="0"/>
          <a:lstStyle/>
          <a:p>
            <a:pPr lvl="0">
              <a:lnSpc>
                <a:spcPct val="95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de-DE" dirty="0"/>
              <a:t>Textmasterformat bearbeiten</a:t>
            </a:r>
          </a:p>
          <a:p>
            <a:pPr marL="360363" lvl="1" indent="-180975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525463" lvl="2" indent="-165100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673100" lvl="3" indent="-136525">
              <a:lnSpc>
                <a:spcPct val="95000"/>
              </a:lnSpc>
              <a:buFont typeface="Arial" pitchFamily="34" charset="0"/>
              <a:buChar char="–"/>
            </a:pPr>
            <a:r>
              <a:rPr lang="de-DE" dirty="0"/>
              <a:t>Vier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AF5D3482-0E29-453E-9A86-1606B0B4944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73724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179388" indent="-179388" algn="l" defTabSz="914400" rtl="0" eaLnBrk="1" latinLnBrk="0" hangingPunct="1">
      <a:buNone/>
      <a:defRPr lang="de-DE" sz="1200" kern="1200" noProof="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* 5% of sales not shown belonged to Other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527F9D-E732-4CF1-B879-AB48759AAB4A}" type="slidenum">
              <a:rPr lang="uk-UA" smtClean="0"/>
              <a:t>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606175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2400" b="0" dirty="0"/>
              <a:t>В сегменте сельскохозяйственных решений мы помогаем аграриям быть успешными в сложном мире современного сельского хозяйства. Мы предлагаем им инновационные решения, в том числе решения на основе цифровых технологий, в сочетании с практическими прагматичными знаниями для оптимизации сельскохозяйственного производства и повышения рентабельности их хозяйств.</a:t>
            </a:r>
            <a:endParaRPr lang="de-DE" sz="2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62472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uk-UA" altLang="ko-KR" dirty="0">
                <a:ea typeface="Gulim" pitchFamily="34" charset="-127"/>
              </a:rPr>
              <a:t>Повідомлення</a:t>
            </a:r>
            <a:r>
              <a:rPr lang="en-US" altLang="ko-KR" dirty="0">
                <a:ea typeface="Gulim" pitchFamily="34" charset="-127"/>
              </a:rPr>
              <a:t>: BASF </a:t>
            </a:r>
            <a:r>
              <a:rPr lang="uk-UA" altLang="ko-KR" dirty="0">
                <a:ea typeface="Gulim" pitchFamily="34" charset="-127"/>
              </a:rPr>
              <a:t>має унікальну позицію для внеску у обґрунтовані рішення для ефективного сільського господарства і потужність ХІМІЧНОЇ КОМПАНІЇ.</a:t>
            </a:r>
            <a:endParaRPr lang="en-US" altLang="ko-KR" dirty="0">
              <a:ea typeface="Gulim" pitchFamily="34" charset="-127"/>
            </a:endParaRPr>
          </a:p>
          <a:p>
            <a:pPr eaLnBrk="1" hangingPunct="1">
              <a:buFont typeface="Wingdings" pitchFamily="2" charset="2"/>
              <a:buNone/>
            </a:pPr>
            <a:r>
              <a:rPr lang="uk-UA" altLang="ko-KR" b="1" dirty="0">
                <a:ea typeface="Gulim" pitchFamily="34" charset="-127"/>
              </a:rPr>
              <a:t>Діаграма ліворуч внизу</a:t>
            </a:r>
            <a:r>
              <a:rPr lang="en-US" altLang="ko-KR" dirty="0">
                <a:ea typeface="Gulim" pitchFamily="34" charset="-127"/>
              </a:rPr>
              <a:t>: </a:t>
            </a:r>
          </a:p>
          <a:p>
            <a:pPr eaLnBrk="1" hangingPunct="1"/>
            <a:r>
              <a:rPr lang="ru-RU" altLang="ko-KR" noProof="0" dirty="0">
                <a:ea typeface="Gulim" pitchFamily="34" charset="-127"/>
              </a:rPr>
              <a:t>З</a:t>
            </a:r>
            <a:r>
              <a:rPr lang="uk-UA" altLang="ko-KR" noProof="0" dirty="0" err="1">
                <a:ea typeface="Gulim" pitchFamily="34" charset="-127"/>
              </a:rPr>
              <a:t>елений</a:t>
            </a:r>
            <a:r>
              <a:rPr lang="uk-UA" altLang="ko-KR" noProof="0" dirty="0">
                <a:ea typeface="Gulim" pitchFamily="34" charset="-127"/>
              </a:rPr>
              <a:t> сектор представляє наші інвестиції</a:t>
            </a:r>
            <a:r>
              <a:rPr lang="uk-UA" altLang="ko-KR" baseline="0" noProof="0" dirty="0">
                <a:ea typeface="Gulim" pitchFamily="34" charset="-127"/>
              </a:rPr>
              <a:t> у дослідження та розробки для</a:t>
            </a:r>
            <a:r>
              <a:rPr lang="uk-UA" altLang="ko-KR" noProof="0" dirty="0">
                <a:ea typeface="Gulim" pitchFamily="34" charset="-127"/>
              </a:rPr>
              <a:t> сільського господарства</a:t>
            </a:r>
            <a:r>
              <a:rPr lang="uk-UA" altLang="ko-KR" baseline="0" noProof="0" dirty="0">
                <a:ea typeface="Gulim" pitchFamily="34" charset="-127"/>
              </a:rPr>
              <a:t> </a:t>
            </a:r>
            <a:r>
              <a:rPr lang="uk-UA" altLang="ko-KR" b="0" strike="noStrike" noProof="0" dirty="0">
                <a:ea typeface="Gulim" pitchFamily="34" charset="-127"/>
              </a:rPr>
              <a:t>та</a:t>
            </a:r>
            <a:r>
              <a:rPr lang="uk-UA" altLang="ko-KR" b="0" strike="noStrike" baseline="0" noProof="0" dirty="0">
                <a:ea typeface="Gulim" pitchFamily="34" charset="-127"/>
              </a:rPr>
              <a:t> складає </a:t>
            </a:r>
            <a:r>
              <a:rPr lang="uk-UA" altLang="ko-KR" b="1" noProof="0" dirty="0">
                <a:ea typeface="Gulim" pitchFamily="34" charset="-127"/>
              </a:rPr>
              <a:t>27% </a:t>
            </a:r>
            <a:r>
              <a:rPr lang="uk-UA" altLang="ko-KR" noProof="0" dirty="0">
                <a:ea typeface="Gulim" pitchFamily="34" charset="-127"/>
              </a:rPr>
              <a:t>від нашого загального бюджету на дослідження та розробки. Це демонструє нашу прихильність до цієї справи. Ми також підключаємося до наукових розробок </a:t>
            </a:r>
            <a:r>
              <a:rPr lang="uk-UA" altLang="ko-KR" dirty="0">
                <a:ea typeface="Gulim" pitchFamily="34" charset="-127"/>
              </a:rPr>
              <a:t>Хімічної Компанії </a:t>
            </a:r>
            <a:r>
              <a:rPr lang="ru-RU" altLang="ko-KR" dirty="0">
                <a:ea typeface="Gulim" pitchFamily="34" charset="-127"/>
              </a:rPr>
              <a:t>з </a:t>
            </a:r>
            <a:r>
              <a:rPr lang="uk-UA" altLang="ko-KR" b="1" noProof="0" dirty="0">
                <a:ea typeface="Gulim" pitchFamily="34" charset="-127"/>
              </a:rPr>
              <a:t>шістьма операційними сегментами і майже 10 700 вчених</a:t>
            </a:r>
            <a:r>
              <a:rPr lang="uk-UA" altLang="ko-KR" noProof="0" dirty="0">
                <a:ea typeface="Gulim" pitchFamily="34" charset="-127"/>
              </a:rPr>
              <a:t>, щоб допомогти покращити нашу сільськогосподарську продукцію, послуги та програми. </a:t>
            </a:r>
          </a:p>
          <a:p>
            <a:pPr eaLnBrk="1" hangingPunct="1"/>
            <a:r>
              <a:rPr lang="uk-UA" altLang="ko-KR" b="1" noProof="0" dirty="0"/>
              <a:t>Один приклад: </a:t>
            </a:r>
            <a:r>
              <a:rPr lang="uk-UA" altLang="ko-KR" noProof="0" dirty="0">
                <a:ea typeface="Gulim" pitchFamily="34" charset="-127"/>
              </a:rPr>
              <a:t>ви знаєте, що малярія була і залишається серйозною проблемою в багатьох країнах, що розвиваються. Коли ми хотіли</a:t>
            </a:r>
            <a:r>
              <a:rPr lang="uk-UA" altLang="ko-KR" baseline="0" noProof="0" dirty="0">
                <a:ea typeface="Gulim" pitchFamily="34" charset="-127"/>
              </a:rPr>
              <a:t> включити</a:t>
            </a:r>
            <a:r>
              <a:rPr lang="uk-UA" altLang="ko-KR" noProof="0" dirty="0">
                <a:ea typeface="Gulim" pitchFamily="34" charset="-127"/>
              </a:rPr>
              <a:t> наші</a:t>
            </a:r>
            <a:r>
              <a:rPr lang="uk-UA" altLang="ko-KR" baseline="0" noProof="0" dirty="0">
                <a:ea typeface="Gulim" pitchFamily="34" charset="-127"/>
              </a:rPr>
              <a:t> фермерські</a:t>
            </a:r>
            <a:r>
              <a:rPr lang="uk-UA" altLang="ko-KR" noProof="0" dirty="0">
                <a:ea typeface="Gulim" pitchFamily="34" charset="-127"/>
              </a:rPr>
              <a:t> інсектициди у протималярійну сітку </a:t>
            </a:r>
            <a:r>
              <a:rPr lang="ru-RU" altLang="ko-KR" dirty="0">
                <a:ea typeface="Gulim" pitchFamily="34" charset="-127"/>
              </a:rPr>
              <a:t>(</a:t>
            </a:r>
            <a:r>
              <a:rPr lang="en-US" altLang="ko-KR" dirty="0">
                <a:ea typeface="Gulim" pitchFamily="34" charset="-127"/>
              </a:rPr>
              <a:t>INTERCEPTOR </a:t>
            </a:r>
            <a:r>
              <a:rPr lang="uk-UA" altLang="ko-KR" dirty="0">
                <a:ea typeface="Gulim" pitchFamily="34" charset="-127"/>
              </a:rPr>
              <a:t>з </a:t>
            </a:r>
            <a:r>
              <a:rPr lang="en-US" altLang="ko-KR" b="1" dirty="0">
                <a:ea typeface="Gulim" pitchFamily="34" charset="-127"/>
              </a:rPr>
              <a:t>FENDOZIN</a:t>
            </a:r>
            <a:r>
              <a:rPr lang="en-US" altLang="ko-KR" dirty="0">
                <a:ea typeface="Gulim" pitchFamily="34" charset="-127"/>
              </a:rPr>
              <a:t>), </a:t>
            </a:r>
            <a:r>
              <a:rPr lang="ru-RU" altLang="ko-KR" dirty="0">
                <a:ea typeface="Gulim" pitchFamily="34" charset="-127"/>
              </a:rPr>
              <a:t>ми просто </a:t>
            </a:r>
            <a:r>
              <a:rPr lang="uk-UA" altLang="ko-KR" dirty="0">
                <a:ea typeface="Gulim" pitchFamily="34" charset="-127"/>
              </a:rPr>
              <a:t>звернулися до наших </a:t>
            </a:r>
            <a:r>
              <a:rPr lang="uk-UA" altLang="ko-KR" noProof="0" dirty="0">
                <a:ea typeface="Gulim" pitchFamily="34" charset="-127"/>
              </a:rPr>
              <a:t>колег з відділу досліджень та розробок у галузі текстильних хімічних речовин. Вони допомогли нам створити сітку, яка захищає людей від малярійних комарів – стійку до прання (до&gt;20 циклів прання) з терміном придатності</a:t>
            </a:r>
            <a:r>
              <a:rPr lang="uk-UA" altLang="ko-KR" baseline="0" noProof="0" dirty="0">
                <a:ea typeface="Gulim" pitchFamily="34" charset="-127"/>
              </a:rPr>
              <a:t> </a:t>
            </a:r>
            <a:r>
              <a:rPr lang="uk-UA" altLang="ko-KR" noProof="0" dirty="0">
                <a:ea typeface="Gulim" pitchFamily="34" charset="-127"/>
              </a:rPr>
              <a:t>до трьох років. І ми співпрацюємо знову, щоб створити сітку наступного покоління для боротьби</a:t>
            </a:r>
            <a:r>
              <a:rPr lang="uk-UA" altLang="ko-KR" baseline="0" noProof="0" dirty="0">
                <a:ea typeface="Gulim" pitchFamily="34" charset="-127"/>
              </a:rPr>
              <a:t> з</a:t>
            </a:r>
            <a:r>
              <a:rPr lang="uk-UA" altLang="ko-KR" noProof="0" dirty="0">
                <a:ea typeface="Gulim" pitchFamily="34" charset="-127"/>
              </a:rPr>
              <a:t> комарами, які набули стійкості до існуючих інсектицидів. </a:t>
            </a:r>
            <a:endParaRPr lang="uk-UA" altLang="ko-KR" b="1" noProof="0" dirty="0">
              <a:ea typeface="Gulim" pitchFamily="34" charset="-127"/>
            </a:endParaRPr>
          </a:p>
          <a:p>
            <a:pPr eaLnBrk="1" hangingPunct="1"/>
            <a:endParaRPr lang="uk-UA" altLang="ko-KR" b="1" dirty="0">
              <a:ea typeface="Gulim" pitchFamily="34" charset="-127"/>
            </a:endParaRPr>
          </a:p>
          <a:p>
            <a:pPr eaLnBrk="1" hangingPunct="1"/>
            <a:r>
              <a:rPr lang="uk-UA" altLang="ko-KR" b="1" dirty="0">
                <a:ea typeface="Gulim" pitchFamily="34" charset="-127"/>
              </a:rPr>
              <a:t>Продажі по відділах (дані на 31</a:t>
            </a:r>
            <a:r>
              <a:rPr lang="uk-UA" altLang="ko-KR" b="1" baseline="0" dirty="0">
                <a:ea typeface="Gulim" pitchFamily="34" charset="-127"/>
              </a:rPr>
              <a:t> грудня 2014)</a:t>
            </a:r>
            <a:r>
              <a:rPr lang="de-DE" altLang="ko-KR" dirty="0">
                <a:ea typeface="Gulim" pitchFamily="34" charset="-127"/>
              </a:rPr>
              <a:t>:</a:t>
            </a:r>
            <a:r>
              <a:rPr lang="uk-UA" altLang="ko-KR" dirty="0">
                <a:ea typeface="Gulim" pitchFamily="34" charset="-127"/>
              </a:rPr>
              <a:t> </a:t>
            </a:r>
          </a:p>
          <a:p>
            <a:pPr eaLnBrk="1" hangingPunct="1"/>
            <a:r>
              <a:rPr lang="uk-UA" altLang="ko-KR" b="1" dirty="0">
                <a:ea typeface="Gulim" pitchFamily="34" charset="-127"/>
              </a:rPr>
              <a:t>7</a:t>
            </a:r>
            <a:r>
              <a:rPr lang="de-DE" altLang="ko-KR" b="1" dirty="0">
                <a:ea typeface="Gulim" pitchFamily="34" charset="-127"/>
              </a:rPr>
              <a:t> % </a:t>
            </a:r>
            <a:r>
              <a:rPr lang="uk-UA" altLang="ko-KR" b="1" dirty="0">
                <a:ea typeface="Gulim" pitchFamily="34" charset="-127"/>
              </a:rPr>
              <a:t>Захист рослин</a:t>
            </a:r>
            <a:r>
              <a:rPr lang="de-DE" altLang="ko-KR" dirty="0">
                <a:ea typeface="Gulim" pitchFamily="34" charset="-127"/>
              </a:rPr>
              <a:t>, </a:t>
            </a:r>
            <a:r>
              <a:rPr lang="uk-UA" altLang="ko-KR" dirty="0">
                <a:ea typeface="Gulim" pitchFamily="34" charset="-127"/>
              </a:rPr>
              <a:t>20</a:t>
            </a:r>
            <a:r>
              <a:rPr lang="de-DE" altLang="ko-KR" dirty="0">
                <a:ea typeface="Gulim" pitchFamily="34" charset="-127"/>
              </a:rPr>
              <a:t>% </a:t>
            </a:r>
            <a:r>
              <a:rPr lang="uk-UA" altLang="ko-KR" dirty="0">
                <a:ea typeface="Gulim" pitchFamily="34" charset="-127"/>
              </a:rPr>
              <a:t>Нафта і газ,  23</a:t>
            </a:r>
            <a:r>
              <a:rPr lang="de-DE" altLang="ko-KR" dirty="0">
                <a:ea typeface="Gulim" pitchFamily="34" charset="-127"/>
              </a:rPr>
              <a:t> % </a:t>
            </a:r>
            <a:r>
              <a:rPr lang="uk-UA" altLang="ko-KR" dirty="0">
                <a:ea typeface="Gulim" pitchFamily="34" charset="-127"/>
              </a:rPr>
              <a:t>Хімікати, </a:t>
            </a:r>
            <a:r>
              <a:rPr lang="de-DE" altLang="ko-KR" dirty="0">
                <a:ea typeface="Gulim" pitchFamily="34" charset="-127"/>
              </a:rPr>
              <a:t>2</a:t>
            </a:r>
            <a:r>
              <a:rPr lang="uk-UA" altLang="ko-KR" dirty="0">
                <a:ea typeface="Gulim" pitchFamily="34" charset="-127"/>
              </a:rPr>
              <a:t>1</a:t>
            </a:r>
            <a:r>
              <a:rPr lang="de-DE" altLang="ko-KR" dirty="0">
                <a:ea typeface="Gulim" pitchFamily="34" charset="-127"/>
              </a:rPr>
              <a:t> % </a:t>
            </a:r>
            <a:r>
              <a:rPr lang="uk-UA" altLang="ko-KR" dirty="0">
                <a:ea typeface="Gulim" pitchFamily="34" charset="-127"/>
              </a:rPr>
              <a:t>Спеціальні продукти, 24</a:t>
            </a:r>
            <a:r>
              <a:rPr lang="de-DE" altLang="ko-KR" dirty="0">
                <a:ea typeface="Gulim" pitchFamily="34" charset="-127"/>
              </a:rPr>
              <a:t>% </a:t>
            </a:r>
            <a:r>
              <a:rPr lang="uk-UA" altLang="ko-KR" dirty="0">
                <a:ea typeface="Gulim" pitchFamily="34" charset="-127"/>
              </a:rPr>
              <a:t>Функціональні рішення і матеріали</a:t>
            </a:r>
          </a:p>
          <a:p>
            <a:pPr eaLnBrk="1" hangingPunct="1">
              <a:buFont typeface="Wingdings" pitchFamily="2" charset="2"/>
              <a:buNone/>
            </a:pPr>
            <a:endParaRPr lang="en-US" altLang="ko-KR" dirty="0">
              <a:ea typeface="Gulim" pitchFamily="34" charset="-127"/>
            </a:endParaRPr>
          </a:p>
          <a:p>
            <a:pPr eaLnBrk="1" hangingPunct="1"/>
            <a:r>
              <a:rPr lang="uk-UA" altLang="ko-KR" b="1" dirty="0">
                <a:ea typeface="Gulim" pitchFamily="34" charset="-127"/>
              </a:rPr>
              <a:t>Дослідження і розробки по відділах (дані</a:t>
            </a:r>
            <a:r>
              <a:rPr lang="uk-UA" altLang="ko-KR" b="1" baseline="0" dirty="0">
                <a:ea typeface="Gulim" pitchFamily="34" charset="-127"/>
              </a:rPr>
              <a:t> на 31 грудня 2014):</a:t>
            </a:r>
          </a:p>
          <a:p>
            <a:pPr eaLnBrk="1" hangingPunct="1"/>
            <a:r>
              <a:rPr lang="uk-UA" altLang="ko-KR" b="1" dirty="0">
                <a:ea typeface="Gulim" pitchFamily="34" charset="-127"/>
              </a:rPr>
              <a:t>Сільськогосподарські</a:t>
            </a:r>
            <a:r>
              <a:rPr lang="uk-UA" altLang="ko-KR" b="1" baseline="0" dirty="0">
                <a:ea typeface="Gulim" pitchFamily="34" charset="-127"/>
              </a:rPr>
              <a:t> рішення</a:t>
            </a:r>
            <a:r>
              <a:rPr lang="de-DE" altLang="ko-KR" b="1" dirty="0">
                <a:ea typeface="Gulim" pitchFamily="34" charset="-127"/>
              </a:rPr>
              <a:t> 2</a:t>
            </a:r>
            <a:r>
              <a:rPr lang="uk-UA" altLang="ko-KR" b="1" dirty="0">
                <a:ea typeface="Gulim" pitchFamily="34" charset="-127"/>
              </a:rPr>
              <a:t>7</a:t>
            </a:r>
            <a:r>
              <a:rPr lang="de-DE" altLang="ko-KR" b="1" dirty="0">
                <a:ea typeface="Gulim" pitchFamily="34" charset="-127"/>
              </a:rPr>
              <a:t> % (= </a:t>
            </a:r>
            <a:r>
              <a:rPr lang="uk-UA" altLang="ko-KR" b="1" dirty="0">
                <a:ea typeface="Gulim" pitchFamily="34" charset="-127"/>
              </a:rPr>
              <a:t>508 млн.</a:t>
            </a:r>
            <a:r>
              <a:rPr lang="de-DE" altLang="ko-KR" b="1" dirty="0">
                <a:ea typeface="Gulim" pitchFamily="34" charset="-127"/>
              </a:rPr>
              <a:t> €)</a:t>
            </a:r>
            <a:r>
              <a:rPr lang="uk-UA" altLang="ko-KR" b="0" dirty="0">
                <a:ea typeface="Gulim" pitchFamily="34" charset="-127"/>
              </a:rPr>
              <a:t>,</a:t>
            </a:r>
            <a:r>
              <a:rPr lang="uk-UA" altLang="ko-KR" b="0" baseline="0" dirty="0">
                <a:ea typeface="Gulim" pitchFamily="34" charset="-127"/>
              </a:rPr>
              <a:t> </a:t>
            </a:r>
            <a:r>
              <a:rPr lang="uk-UA" altLang="ko-KR" dirty="0">
                <a:ea typeface="Gulim" pitchFamily="34" charset="-127"/>
              </a:rPr>
              <a:t>Хімікати</a:t>
            </a:r>
            <a:r>
              <a:rPr lang="de-DE" altLang="ko-KR" dirty="0">
                <a:ea typeface="Gulim" pitchFamily="34" charset="-127"/>
              </a:rPr>
              <a:t>: </a:t>
            </a:r>
            <a:r>
              <a:rPr lang="uk-UA" altLang="ko-KR" dirty="0">
                <a:ea typeface="Gulim" pitchFamily="34" charset="-127"/>
              </a:rPr>
              <a:t>10</a:t>
            </a:r>
            <a:r>
              <a:rPr lang="de-DE" altLang="ko-KR" dirty="0">
                <a:ea typeface="Gulim" pitchFamily="34" charset="-127"/>
              </a:rPr>
              <a:t> %, </a:t>
            </a:r>
            <a:r>
              <a:rPr lang="uk-UA" altLang="ko-KR" dirty="0">
                <a:ea typeface="Gulim" pitchFamily="34" charset="-127"/>
              </a:rPr>
              <a:t>Спеціальні продукти</a:t>
            </a:r>
            <a:r>
              <a:rPr lang="de-DE" altLang="ko-KR" dirty="0">
                <a:ea typeface="Gulim" pitchFamily="34" charset="-127"/>
              </a:rPr>
              <a:t>: </a:t>
            </a:r>
            <a:r>
              <a:rPr lang="uk-UA" altLang="ko-KR" dirty="0">
                <a:ea typeface="Gulim" pitchFamily="34" charset="-127"/>
              </a:rPr>
              <a:t>19</a:t>
            </a:r>
            <a:r>
              <a:rPr lang="de-DE" altLang="ko-KR" dirty="0">
                <a:ea typeface="Gulim" pitchFamily="34" charset="-127"/>
              </a:rPr>
              <a:t>%, </a:t>
            </a:r>
            <a:r>
              <a:rPr lang="uk-UA" altLang="ko-KR" dirty="0">
                <a:ea typeface="Gulim" pitchFamily="34" charset="-127"/>
              </a:rPr>
              <a:t>Функціональні рішення</a:t>
            </a:r>
            <a:r>
              <a:rPr lang="de-DE" altLang="ko-KR" dirty="0">
                <a:ea typeface="Gulim" pitchFamily="34" charset="-127"/>
              </a:rPr>
              <a:t>: </a:t>
            </a:r>
            <a:r>
              <a:rPr lang="uk-UA" altLang="ko-KR" dirty="0">
                <a:ea typeface="Gulim" pitchFamily="34" charset="-127"/>
              </a:rPr>
              <a:t>20</a:t>
            </a:r>
            <a:r>
              <a:rPr lang="de-DE" altLang="ko-KR" dirty="0">
                <a:ea typeface="Gulim" pitchFamily="34" charset="-127"/>
              </a:rPr>
              <a:t> %,</a:t>
            </a:r>
            <a:r>
              <a:rPr lang="uk-UA" altLang="ko-KR" dirty="0">
                <a:ea typeface="Gulim" pitchFamily="34" charset="-127"/>
              </a:rPr>
              <a:t> корпоративні дослідження та інше – 21%</a:t>
            </a:r>
            <a:r>
              <a:rPr lang="de-DE" altLang="ko-KR" dirty="0">
                <a:ea typeface="Gulim" pitchFamily="34" charset="-127"/>
              </a:rPr>
              <a:t> </a:t>
            </a:r>
            <a:r>
              <a:rPr lang="uk-UA" altLang="ko-KR" dirty="0">
                <a:ea typeface="Gulim" pitchFamily="34" charset="-127"/>
              </a:rPr>
              <a:t>Нафта і газ</a:t>
            </a:r>
            <a:r>
              <a:rPr lang="de-DE" altLang="ko-KR" dirty="0">
                <a:ea typeface="Gulim" pitchFamily="34" charset="-127"/>
              </a:rPr>
              <a:t> </a:t>
            </a:r>
            <a:r>
              <a:rPr lang="uk-UA" altLang="ko-KR" dirty="0">
                <a:ea typeface="Gulim" pitchFamily="34" charset="-127"/>
              </a:rPr>
              <a:t>3</a:t>
            </a:r>
            <a:r>
              <a:rPr lang="de-DE" altLang="ko-KR" dirty="0">
                <a:ea typeface="Gulim" pitchFamily="34" charset="-127"/>
              </a:rPr>
              <a:t>%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527F9D-E732-4CF1-B879-AB48759AAB4A}" type="slidenum">
              <a:rPr lang="uk-UA" smtClean="0"/>
              <a:t>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5566654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uk-UA" dirty="0"/>
              <a:t>У нас працює </a:t>
            </a:r>
            <a:r>
              <a:rPr lang="uk-UA" b="1" dirty="0"/>
              <a:t>більше 7</a:t>
            </a:r>
            <a:r>
              <a:rPr lang="uk-UA" b="1" baseline="0" dirty="0"/>
              <a:t> </a:t>
            </a:r>
            <a:r>
              <a:rPr lang="uk-UA" b="1" dirty="0"/>
              <a:t>000 людей </a:t>
            </a:r>
            <a:r>
              <a:rPr lang="uk-UA" dirty="0"/>
              <a:t>в усьому світі в</a:t>
            </a:r>
            <a:r>
              <a:rPr lang="en-US" dirty="0"/>
              <a:t> </a:t>
            </a:r>
            <a:r>
              <a:rPr lang="uk-UA" dirty="0"/>
              <a:t>Департаменті Агро</a:t>
            </a:r>
            <a:r>
              <a:rPr lang="en-US" dirty="0"/>
              <a:t>!</a:t>
            </a:r>
          </a:p>
          <a:p>
            <a:pPr>
              <a:buFontTx/>
              <a:buChar char="-"/>
            </a:pPr>
            <a:r>
              <a:rPr lang="uk-UA" dirty="0"/>
              <a:t> </a:t>
            </a:r>
            <a:r>
              <a:rPr lang="de-DE" dirty="0"/>
              <a:t>BASF </a:t>
            </a:r>
            <a:r>
              <a:rPr lang="uk-UA" dirty="0"/>
              <a:t>утримує</a:t>
            </a:r>
            <a:r>
              <a:rPr lang="de-DE" dirty="0"/>
              <a:t> 2 </a:t>
            </a:r>
            <a:r>
              <a:rPr lang="uk-UA" dirty="0"/>
              <a:t>глобальні дослідницькі</a:t>
            </a:r>
            <a:r>
              <a:rPr lang="uk-UA" baseline="0" dirty="0"/>
              <a:t> центри</a:t>
            </a:r>
            <a:r>
              <a:rPr lang="de-DE" dirty="0"/>
              <a:t>, </a:t>
            </a:r>
            <a:r>
              <a:rPr lang="uk-UA" dirty="0"/>
              <a:t>один у штаб-квартирі в </a:t>
            </a:r>
            <a:r>
              <a:rPr lang="uk-UA" dirty="0" err="1"/>
              <a:t>Лімбургерхофі</a:t>
            </a:r>
            <a:r>
              <a:rPr lang="uk-UA" dirty="0"/>
              <a:t>, Німеччина, і один в </a:t>
            </a:r>
            <a:r>
              <a:rPr lang="uk-UA" dirty="0" err="1"/>
              <a:t>Ресерч</a:t>
            </a:r>
            <a:r>
              <a:rPr lang="uk-UA" dirty="0"/>
              <a:t> </a:t>
            </a:r>
            <a:r>
              <a:rPr lang="uk-UA" dirty="0" err="1"/>
              <a:t>Тріангл</a:t>
            </a:r>
            <a:r>
              <a:rPr lang="uk-UA" dirty="0"/>
              <a:t> Парк, Північна Каліфорнія</a:t>
            </a:r>
            <a:r>
              <a:rPr lang="de-DE" dirty="0"/>
              <a:t>.</a:t>
            </a:r>
          </a:p>
          <a:p>
            <a:pPr>
              <a:buFontTx/>
              <a:buChar char="-"/>
            </a:pPr>
            <a:r>
              <a:rPr lang="uk-UA" dirty="0"/>
              <a:t> Наша мережа дослідницьких сільськогосподарських станцій розповсюджується</a:t>
            </a:r>
            <a:r>
              <a:rPr lang="uk-UA" baseline="0" dirty="0"/>
              <a:t> по багатьох континентах та кліматичних зонах</a:t>
            </a:r>
            <a:r>
              <a:rPr lang="de-DE" dirty="0"/>
              <a:t>, </a:t>
            </a:r>
            <a:r>
              <a:rPr lang="uk-UA" dirty="0"/>
              <a:t>таким чином, наші продукти можуть ідеально пасувати до природних умов вирощування у всіх важливих сільськогосподарських регіонах світу</a:t>
            </a:r>
            <a:r>
              <a:rPr lang="de-DE" dirty="0"/>
              <a:t>.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527F9D-E732-4CF1-B879-AB48759AAB4A}" type="slidenum">
              <a:rPr lang="uk-UA" smtClean="0"/>
              <a:t>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9600115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роме того, есть демонстрационные центры партнеров – наших </a:t>
            </a:r>
            <a:r>
              <a:rPr lang="ru-RU" dirty="0" err="1"/>
              <a:t>дистрибюторов</a:t>
            </a:r>
            <a:r>
              <a:rPr lang="ru-RU" dirty="0"/>
              <a:t>, семенных компаний, в каждом из </a:t>
            </a:r>
            <a:r>
              <a:rPr lang="ru-RU" dirty="0" err="1"/>
              <a:t>агроцентров</a:t>
            </a:r>
            <a:r>
              <a:rPr lang="ru-RU" dirty="0"/>
              <a:t> есть </a:t>
            </a:r>
            <a:r>
              <a:rPr lang="ru-RU" dirty="0" err="1"/>
              <a:t>демочасть</a:t>
            </a:r>
            <a:r>
              <a:rPr lang="ru-RU" dirty="0"/>
              <a:t>.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15154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F5D3482-0E29-453E-9A86-1606B0B49448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77506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2755" y="4706942"/>
            <a:ext cx="5455920" cy="4469746"/>
          </a:xfrm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581"/>
              </a:spcAft>
              <a:buFont typeface="Wingdings" panose="05000000000000000000" pitchFamily="2" charset="2"/>
              <a:buChar char="§"/>
              <a:defRPr/>
            </a:pPr>
            <a:r>
              <a:rPr lang="en-US" dirty="0"/>
              <a:t>Agriculture will remain being the biggest job on earth</a:t>
            </a:r>
          </a:p>
          <a:p>
            <a:pPr eaLnBrk="1" fontAlgn="auto" hangingPunct="1">
              <a:spcBef>
                <a:spcPts val="0"/>
              </a:spcBef>
              <a:spcAft>
                <a:spcPts val="581"/>
              </a:spcAft>
              <a:defRPr/>
            </a:pPr>
            <a:endParaRPr lang="en-US" b="1" u="sng" dirty="0"/>
          </a:p>
          <a:p>
            <a:pPr eaLnBrk="1" fontAlgn="auto" hangingPunct="1">
              <a:spcBef>
                <a:spcPts val="0"/>
              </a:spcBef>
              <a:spcAft>
                <a:spcPts val="581"/>
              </a:spcAft>
              <a:buFont typeface="Wingdings" panose="05000000000000000000" pitchFamily="2" charset="2"/>
              <a:buChar char="§"/>
              <a:defRPr/>
            </a:pPr>
            <a:r>
              <a:rPr lang="en-US" dirty="0"/>
              <a:t>Global megatrends drive innovations and together, we are looking at the mega-trends that shape the future of agriculture too..</a:t>
            </a:r>
          </a:p>
          <a:p>
            <a:pPr marL="608407" lvl="1" indent="-165929" eaLnBrk="1" fontAlgn="auto" hangingPunct="1">
              <a:spcBef>
                <a:spcPts val="0"/>
              </a:spcBef>
              <a:spcAft>
                <a:spcPts val="581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en-US" dirty="0"/>
              <a:t>Growing population worldwide. We expect the population to hit 9 billion by the year 2050, most of them living in cities. </a:t>
            </a:r>
          </a:p>
          <a:p>
            <a:pPr marL="608407" lvl="1" indent="-165929" eaLnBrk="1" fontAlgn="auto" hangingPunct="1">
              <a:spcBef>
                <a:spcPts val="0"/>
              </a:spcBef>
              <a:spcAft>
                <a:spcPts val="581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en-US" dirty="0"/>
              <a:t>By 2030, we will need 50% more energy than we were producing in 2005.</a:t>
            </a:r>
          </a:p>
          <a:p>
            <a:pPr marL="608407" lvl="1" indent="-165929" eaLnBrk="1" fontAlgn="auto" hangingPunct="1">
              <a:spcBef>
                <a:spcPts val="0"/>
              </a:spcBef>
              <a:spcAft>
                <a:spcPts val="581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en-US" dirty="0"/>
              <a:t>By 2020, there will be 1.2 billion cars on earth, compared to 620 million today. </a:t>
            </a:r>
          </a:p>
          <a:p>
            <a:pPr marL="442478" lvl="1" indent="0" eaLnBrk="1" fontAlgn="auto" hangingPunct="1">
              <a:spcBef>
                <a:spcPts val="0"/>
              </a:spcBef>
              <a:spcAft>
                <a:spcPts val="581"/>
              </a:spcAft>
              <a:buFont typeface="Wingdings" panose="05000000000000000000" pitchFamily="2" charset="2"/>
              <a:buChar char="§"/>
              <a:defRPr/>
            </a:pPr>
            <a:endParaRPr lang="en-US" dirty="0"/>
          </a:p>
          <a:p>
            <a:pPr marL="173612" lvl="1" indent="-173612" eaLnBrk="1" fontAlgn="auto" hangingPunct="1">
              <a:spcBef>
                <a:spcPts val="0"/>
              </a:spcBef>
              <a:spcAft>
                <a:spcPts val="581"/>
              </a:spcAft>
              <a:buFont typeface="Wingdings" panose="05000000000000000000" pitchFamily="2" charset="2"/>
              <a:buChar char="§"/>
              <a:defRPr/>
            </a:pPr>
            <a:r>
              <a:rPr lang="en-US" dirty="0"/>
              <a:t>For agriculture, it means not only producing more, sufficient amount of food, but doing it while preserving the environment and attending the demands from society. Farmers must:</a:t>
            </a:r>
          </a:p>
          <a:p>
            <a:pPr marL="442478" lvl="1" indent="0" eaLnBrk="1" fontAlgn="auto" hangingPunct="1">
              <a:spcBef>
                <a:spcPts val="0"/>
              </a:spcBef>
              <a:spcAft>
                <a:spcPts val="581"/>
              </a:spcAft>
              <a:defRPr/>
            </a:pPr>
            <a:endParaRPr lang="en-US" dirty="0"/>
          </a:p>
          <a:p>
            <a:pPr marL="608407" lvl="1" indent="-172075" eaLnBrk="1" fontAlgn="auto" hangingPunct="1">
              <a:spcBef>
                <a:spcPts val="0"/>
              </a:spcBef>
              <a:spcAft>
                <a:spcPts val="581"/>
              </a:spcAft>
              <a:buClr>
                <a:srgbClr val="65AC1E"/>
              </a:buClr>
              <a:buFont typeface="Wingdings" panose="05000000000000000000" pitchFamily="2" charset="2"/>
              <a:buChar char="§"/>
              <a:defRPr/>
            </a:pPr>
            <a:r>
              <a:rPr lang="en-US" dirty="0"/>
              <a:t>Increasing productivity and quality</a:t>
            </a:r>
          </a:p>
          <a:p>
            <a:pPr marL="608407" lvl="1" indent="-172075" eaLnBrk="1" fontAlgn="auto" hangingPunct="1">
              <a:spcBef>
                <a:spcPts val="0"/>
              </a:spcBef>
              <a:spcAft>
                <a:spcPts val="581"/>
              </a:spcAft>
              <a:buClr>
                <a:srgbClr val="65AC1E"/>
              </a:buClr>
              <a:buFont typeface="Wingdings" panose="05000000000000000000" pitchFamily="2" charset="2"/>
              <a:buChar char="§"/>
              <a:defRPr/>
            </a:pPr>
            <a:r>
              <a:rPr lang="en-US" dirty="0"/>
              <a:t>Optimizing resource uses </a:t>
            </a:r>
          </a:p>
          <a:p>
            <a:pPr marL="608407" lvl="1" indent="-172075" eaLnBrk="1" fontAlgn="auto" hangingPunct="1">
              <a:spcBef>
                <a:spcPts val="0"/>
              </a:spcBef>
              <a:spcAft>
                <a:spcPts val="581"/>
              </a:spcAft>
              <a:buClr>
                <a:srgbClr val="65AC1E"/>
              </a:buClr>
              <a:buFont typeface="Wingdings" panose="05000000000000000000" pitchFamily="2" charset="2"/>
              <a:buChar char="§"/>
              <a:defRPr/>
            </a:pPr>
            <a:r>
              <a:rPr lang="en-US" dirty="0"/>
              <a:t>Meeting consumers’ expectations </a:t>
            </a:r>
          </a:p>
          <a:p>
            <a:pPr marL="608407" lvl="1" indent="-172075" eaLnBrk="1" fontAlgn="auto" hangingPunct="1">
              <a:spcBef>
                <a:spcPts val="0"/>
              </a:spcBef>
              <a:spcAft>
                <a:spcPts val="581"/>
              </a:spcAft>
              <a:buClr>
                <a:srgbClr val="65AC1E"/>
              </a:buClr>
              <a:buFont typeface="Wingdings" panose="05000000000000000000" pitchFamily="2" charset="2"/>
              <a:buChar char="§"/>
              <a:defRPr/>
            </a:pPr>
            <a:r>
              <a:rPr lang="en-US" dirty="0"/>
              <a:t>Tailoring production methods to local conditions</a:t>
            </a:r>
          </a:p>
          <a:p>
            <a:pPr marL="442478" lvl="1" indent="0" eaLnBrk="1" fontAlgn="auto" hangingPunct="1">
              <a:spcBef>
                <a:spcPct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9939" name="Fußzeilenplatzhalter 3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uk-UA" dirty="0">
              <a:latin typeface="Arial" charset="0"/>
              <a:cs typeface="Arial" charset="0"/>
            </a:endParaRPr>
          </a:p>
        </p:txBody>
      </p:sp>
      <p:sp>
        <p:nvSpPr>
          <p:cNvPr id="39940" name="Foliennummernplatzhalter 4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8B2942A-A0B5-4FCA-8C3C-90CB87DEB45D}" type="slidenum">
              <a:rPr lang="de-DE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de-DE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0799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E0F8EE6B-986A-48B5-8797-A95C3D1E6A47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Notizenplatzhalt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14039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1.xml"/><Relationship Id="rId1" Type="http://schemas.openxmlformats.org/officeDocument/2006/relationships/tags" Target="../tags/tag5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4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4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4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7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8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4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01.xml"/><Relationship Id="rId1" Type="http://schemas.openxmlformats.org/officeDocument/2006/relationships/tags" Target="../tags/tag100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4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0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11.xml"/><Relationship Id="rId1" Type="http://schemas.openxmlformats.org/officeDocument/2006/relationships/tags" Target="../tags/tag11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4" Type="http://schemas.openxmlformats.org/officeDocument/2006/relationships/slideMaster" Target="../slideMasters/slideMaster1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1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21.xml"/><Relationship Id="rId1" Type="http://schemas.openxmlformats.org/officeDocument/2006/relationships/tags" Target="../tags/tag120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4" Type="http://schemas.openxmlformats.org/officeDocument/2006/relationships/slideMaster" Target="../slideMasters/slideMaster1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2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31.xml"/><Relationship Id="rId1" Type="http://schemas.openxmlformats.org/officeDocument/2006/relationships/tags" Target="../tags/tag13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4" Type="http://schemas.openxmlformats.org/officeDocument/2006/relationships/slideMaster" Target="../slideMasters/slideMaster1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3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1.xml"/><Relationship Id="rId1" Type="http://schemas.openxmlformats.org/officeDocument/2006/relationships/tags" Target="../tags/tag14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4" Type="http://schemas.openxmlformats.org/officeDocument/2006/relationships/slideMaster" Target="../slideMasters/slideMaster1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4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15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156.xml"/><Relationship Id="rId4" Type="http://schemas.openxmlformats.org/officeDocument/2006/relationships/tags" Target="../tags/tag15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161.xml"/><Relationship Id="rId4" Type="http://schemas.openxmlformats.org/officeDocument/2006/relationships/tags" Target="../tags/tag160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67.xml"/><Relationship Id="rId1" Type="http://schemas.openxmlformats.org/officeDocument/2006/relationships/tags" Target="../tags/tag16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4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ags" Target="../tags/tag17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ctrTitle"/>
          </p:nvPr>
        </p:nvSpPr>
        <p:spPr>
          <a:xfrm>
            <a:off x="2196000" y="4896000"/>
            <a:ext cx="9767400" cy="954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1" i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subTitle" idx="1"/>
          </p:nvPr>
        </p:nvSpPr>
        <p:spPr>
          <a:xfrm>
            <a:off x="2196000" y="6048000"/>
            <a:ext cx="9767400" cy="432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None/>
              <a:defRPr sz="1800" b="0" i="0">
                <a:solidFill>
                  <a:schemeClr val="bg1">
                    <a:lumMod val="50000"/>
                  </a:schemeClr>
                </a:solidFill>
                <a:latin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2"/>
          </p:nvPr>
        </p:nvSpPr>
        <p:spPr>
          <a:xfrm>
            <a:off x="10942575" y="6645600"/>
            <a:ext cx="959875" cy="151200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latin typeface="Arial"/>
              </a:defRPr>
            </a:lvl1pPr>
          </a:lstStyle>
          <a:p>
            <a:fld id="{B8314B7C-9B55-430E-825C-B5C93C366BD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</p:nvPr>
        </p:nvSpPr>
        <p:spPr>
          <a:xfrm>
            <a:off x="5809070" y="6630134"/>
            <a:ext cx="572273" cy="184666"/>
          </a:xfrm>
        </p:spPr>
        <p:txBody>
          <a:bodyPr wrap="none" lIns="0" tIns="0" rIns="0" bIns="0" anchor="b"/>
          <a:lstStyle>
            <a:lvl1pPr algn="ct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1200" b="0" i="0">
                <a:latin typeface="Arial"/>
              </a:defRPr>
            </a:lvl1pPr>
          </a:lstStyle>
          <a:p>
            <a:endParaRPr lang="de-DE" dirty="0"/>
          </a:p>
        </p:txBody>
      </p:sp>
      <p:sp>
        <p:nvSpPr>
          <p:cNvPr id="4" name="DatumPlaz"/>
          <p:cNvSpPr>
            <a:spLocks noGrp="1"/>
          </p:cNvSpPr>
          <p:nvPr>
            <p:ph type="dt" sz="half" idx="10"/>
          </p:nvPr>
        </p:nvSpPr>
        <p:spPr>
          <a:xfrm>
            <a:off x="2170113" y="6645600"/>
            <a:ext cx="959875" cy="151200"/>
          </a:xfrm>
        </p:spPr>
        <p:txBody>
          <a:bodyPr lIns="0" tIns="0" rIns="0" bIns="0" anchor="b"/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latin typeface="Arial"/>
              </a:defRPr>
            </a:lvl1pPr>
          </a:lstStyle>
          <a:p>
            <a:fld id="{EB75EA7B-0E98-442C-BE83-2E5CA6B1021F}" type="datetime1">
              <a:rPr lang="de-DE" smtClean="0"/>
              <a:pPr/>
              <a:t>06.11.20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7481069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17171" y="902000"/>
            <a:ext cx="6683830" cy="10665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1963813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277256" y="648000"/>
            <a:ext cx="7068457" cy="8532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z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35313" y="1980000"/>
            <a:ext cx="9303658" cy="44366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65AC1E"/>
              </a:buClr>
              <a:defRPr lang="de-DE" dirty="0" smtClean="0"/>
            </a:lvl1pPr>
            <a:lvl2pPr>
              <a:buClr>
                <a:srgbClr val="65AC1E"/>
              </a:buClr>
              <a:defRPr lang="de-DE" dirty="0" smtClean="0"/>
            </a:lvl2pPr>
            <a:lvl3pPr>
              <a:buClr>
                <a:srgbClr val="65AC1E"/>
              </a:buClr>
              <a:defRPr lang="de-DE" dirty="0" smtClean="0"/>
            </a:lvl3pPr>
            <a:lvl4pPr>
              <a:buClr>
                <a:srgbClr val="65AC1E"/>
              </a:buClr>
              <a:defRPr lang="de-DE" dirty="0" smtClean="0"/>
            </a:lvl4pPr>
          </a:lstStyle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743319632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6720534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32811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2943671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995057" y="876600"/>
            <a:ext cx="6647543" cy="10538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z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35313" y="2018100"/>
            <a:ext cx="9303658" cy="44366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</a:lstStyle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096745385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1535631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7306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009571" y="863900"/>
            <a:ext cx="6620329" cy="10792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6769868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995057" y="851200"/>
            <a:ext cx="6685644" cy="10792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z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35313" y="2030800"/>
            <a:ext cx="9303658" cy="44366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</a:lstStyle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71415345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4063913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9332983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25258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62529" y="863900"/>
            <a:ext cx="9289142" cy="10665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/>
              <a:t>Titelmasterformat durch Klicken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3261674253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z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1335313" y="2030800"/>
            <a:ext cx="9303658" cy="44366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</a:lstStyle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6" name="TitelPlaz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62529" y="863900"/>
            <a:ext cx="9289142" cy="10665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/>
              <a:t>Titelmasterformat durch Klicken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2770391144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5150445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89859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464026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007757" y="876600"/>
            <a:ext cx="6647544" cy="10538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z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35313" y="2018100"/>
            <a:ext cx="9303658" cy="44366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</a:lstStyle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392581813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1819408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1931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25218" y="921573"/>
            <a:ext cx="6685644" cy="1028400"/>
          </a:xfrm>
        </p:spPr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z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35313" y="2018100"/>
            <a:ext cx="9303658" cy="44366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</a:lstStyle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87521463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62529" y="863900"/>
            <a:ext cx="9289142" cy="10665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/>
              <a:t>Titelmasterformat durch Klicken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179389805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z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1335313" y="2018100"/>
            <a:ext cx="9303658" cy="44366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</a:lstStyle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6" name="TitelPlaz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62529" y="863900"/>
            <a:ext cx="9289142" cy="10665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/>
              <a:t>Titelmasterformat durch Klicken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2313251760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7256035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06011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9990447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995057" y="863900"/>
            <a:ext cx="6660244" cy="10665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z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35313" y="2018100"/>
            <a:ext cx="9303658" cy="44366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</a:lstStyle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610497421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1474805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76625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49829" y="863900"/>
            <a:ext cx="9305471" cy="10538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/>
              <a:t>Titelmasterformat durch Klicken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35343533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z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1335313" y="2018100"/>
            <a:ext cx="9303658" cy="44366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</a:lstStyle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6" name="TitelPlaz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49829" y="863900"/>
            <a:ext cx="9305471" cy="10538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/>
              <a:t>Titelmasterformat durch Klicken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197671939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5268418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0915761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95244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9346528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020457" y="863900"/>
            <a:ext cx="6647544" cy="10665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z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35313" y="2030800"/>
            <a:ext cx="9303658" cy="44366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</a:lstStyle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809784259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058383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5524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49829" y="863900"/>
            <a:ext cx="9305472" cy="10665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/>
              <a:t>Titelmasterformat durch Klicken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1134569376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z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1335313" y="2030800"/>
            <a:ext cx="9303658" cy="44366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</a:lstStyle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6" name="TitelPlaz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49829" y="863900"/>
            <a:ext cx="9305472" cy="10665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/>
              <a:t>Titelmasterformat durch Klicken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756670221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953647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04425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44428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1498351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007757" y="851200"/>
            <a:ext cx="6660244" cy="10665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z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48013" y="2030800"/>
            <a:ext cx="9303658" cy="44366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</a:lstStyle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663881814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4130523"/>
      </p:ext>
    </p:extLst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76318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49829" y="863900"/>
            <a:ext cx="9318172" cy="10538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/>
              <a:t>Titelmasterformat durch Klicken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144392823"/>
      </p:ext>
    </p:extLst>
  </p:cSld>
  <p:clrMapOvr>
    <a:masterClrMapping/>
  </p:clrMapOvr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z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1348013" y="2030800"/>
            <a:ext cx="9303658" cy="44366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</a:lstStyle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6" name="TitelPlaz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49829" y="863900"/>
            <a:ext cx="9318172" cy="10538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/>
              <a:t>Titelmasterformat durch Klicken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1854904681"/>
      </p:ext>
    </p:extLst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1483644"/>
      </p:ext>
    </p:extLst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064113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ctrTitle"/>
          </p:nvPr>
        </p:nvSpPr>
        <p:spPr>
          <a:xfrm>
            <a:off x="2196000" y="4896000"/>
            <a:ext cx="9767400" cy="954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1" i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subTitle" idx="1"/>
          </p:nvPr>
        </p:nvSpPr>
        <p:spPr>
          <a:xfrm>
            <a:off x="2196000" y="6048000"/>
            <a:ext cx="9767400" cy="432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None/>
              <a:defRPr sz="1800" b="0" i="0">
                <a:solidFill>
                  <a:schemeClr val="bg1">
                    <a:lumMod val="50000"/>
                  </a:schemeClr>
                </a:solidFill>
                <a:latin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2"/>
          </p:nvPr>
        </p:nvSpPr>
        <p:spPr>
          <a:xfrm>
            <a:off x="10942575" y="6645600"/>
            <a:ext cx="959875" cy="151200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latin typeface="Arial"/>
              </a:defRPr>
            </a:lvl1pPr>
          </a:lstStyle>
          <a:p>
            <a:fld id="{B8314B7C-9B55-430E-825C-B5C93C366BD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</p:nvPr>
        </p:nvSpPr>
        <p:spPr>
          <a:xfrm>
            <a:off x="5809070" y="6630134"/>
            <a:ext cx="572273" cy="184666"/>
          </a:xfrm>
        </p:spPr>
        <p:txBody>
          <a:bodyPr wrap="none" lIns="0" tIns="0" rIns="0" bIns="0" anchor="b"/>
          <a:lstStyle>
            <a:lvl1pPr algn="ct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1200" b="0" i="0">
                <a:latin typeface="Arial"/>
              </a:defRPr>
            </a:lvl1pPr>
          </a:lstStyle>
          <a:p>
            <a:endParaRPr lang="de-DE" dirty="0"/>
          </a:p>
        </p:txBody>
      </p:sp>
      <p:sp>
        <p:nvSpPr>
          <p:cNvPr id="4" name="DatumPlaz"/>
          <p:cNvSpPr>
            <a:spLocks noGrp="1"/>
          </p:cNvSpPr>
          <p:nvPr>
            <p:ph type="dt" sz="half" idx="10"/>
          </p:nvPr>
        </p:nvSpPr>
        <p:spPr>
          <a:xfrm>
            <a:off x="2170113" y="6645600"/>
            <a:ext cx="959875" cy="151200"/>
          </a:xfrm>
        </p:spPr>
        <p:txBody>
          <a:bodyPr lIns="0" tIns="0" rIns="0" bIns="0" anchor="b"/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latin typeface="Arial"/>
              </a:defRPr>
            </a:lvl1pPr>
          </a:lstStyle>
          <a:p>
            <a:fld id="{EB75EA7B-0E98-442C-BE83-2E5CA6B1021F}" type="datetime1">
              <a:rPr lang="de-DE" smtClean="0"/>
              <a:pPr/>
              <a:t>06.11.20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4680404"/>
      </p:ext>
    </p:extLst>
  </p:cSld>
  <p:clrMapOvr>
    <a:masterClrMapping/>
  </p:clrMapOvr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59A4BCB6-06DB-4722-B535-191C8D3CF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6.11.2019</a:t>
            </a:fld>
            <a:endParaRPr lang="de-DE" dirty="0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9D8C653-082A-4547-8F61-15A68369B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AC016C49-66EA-43A4-8374-8A27282E9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4184"/>
      </p:ext>
    </p:extLst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4063913"/>
      </p:ext>
    </p:extLst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59A4BCB6-06DB-4722-B535-191C8D3CF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6.11.2019</a:t>
            </a:fld>
            <a:endParaRPr lang="de-DE" dirty="0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9D8C653-082A-4547-8F61-15A68369B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AC016C49-66EA-43A4-8374-8A27282E9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9377645"/>
      </p:ext>
    </p:extLst>
  </p:cSld>
  <p:clrMapOvr>
    <a:masterClrMapping/>
  </p:clrMapOvr>
  <p:transition spd="med">
    <p:wipe dir="r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254F36-360A-2E48-B558-C7AE1F1E22CB}" type="datetimeFigureOut">
              <a:rPr lang="ru-RU" smtClean="0"/>
              <a:t>06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1B84D-07BB-3E40-8A49-101BE4FCB8F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1905522"/>
      </p:ext>
    </p:extLst>
  </p:cSld>
  <p:clrMapOvr>
    <a:masterClrMapping/>
  </p:clrMapOvr>
  <p:hf sldNum="0"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05C7D7BC-3A63-427C-9D7F-63F95FDD71B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ssPlaz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Plaz"/>
          <p:cNvSpPr>
            <a:spLocks noGrp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/>
          <a:p>
            <a:fld id="{64402EDC-432E-4ED1-9C44-D3A0A859FBE6}" type="datetimeFigureOut">
              <a:rPr lang="de-DE" smtClean="0"/>
              <a:pPr/>
              <a:t>06.11.20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8701701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967192" y="640800"/>
            <a:ext cx="6019018" cy="8532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967191" y="1980001"/>
            <a:ext cx="10935259" cy="4436675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05C7D7BC-3A63-427C-9D7F-63F95FDD71B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fld id="{64402EDC-432E-4ED1-9C44-D3A0A859FBE6}" type="datetimeFigureOut">
              <a:rPr lang="de-DE" smtClean="0"/>
              <a:pPr/>
              <a:t>06.11.20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5959194"/>
      </p:ext>
    </p:extLst>
  </p:cSld>
  <p:clrMapOvr>
    <a:masterClrMapping/>
  </p:clrMapOvr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el und Tabell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  <p:custDataLst>
              <p:tags r:id="rId2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05C7D7BC-3A63-427C-9D7F-63F95FDD71B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fld id="{64402EDC-432E-4ED1-9C44-D3A0A859FBE6}" type="datetimeFigureOut">
              <a:rPr lang="de-DE" smtClean="0"/>
              <a:pPr/>
              <a:t>06.11.20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8196112"/>
      </p:ext>
    </p:extLst>
  </p:cSld>
  <p:clrMapOvr>
    <a:masterClrMapping/>
  </p:clrMapOvr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8004097"/>
      </p:ext>
    </p:extLst>
  </p:cSld>
  <p:clrMapOvr>
    <a:masterClrMapping/>
  </p:clrMapOvr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020457" y="851200"/>
            <a:ext cx="6634844" cy="10665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z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35313" y="2018100"/>
            <a:ext cx="9303658" cy="44366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</a:lstStyle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961407849"/>
      </p:ext>
    </p:extLst>
  </p:cSld>
  <p:clrMapOvr>
    <a:masterClrMapping/>
  </p:clrMapOvr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8708701"/>
      </p:ext>
    </p:extLst>
  </p:cSld>
  <p:clrMapOvr>
    <a:masterClrMapping/>
  </p:clrMapOvr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16784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9530" y="876300"/>
            <a:ext cx="6622143" cy="10668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z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35313" y="2030800"/>
            <a:ext cx="9303658" cy="44366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65AC1E"/>
              </a:buClr>
              <a:defRPr lang="de-DE" dirty="0" smtClean="0">
                <a:solidFill>
                  <a:schemeClr val="bg1"/>
                </a:solidFill>
              </a:defRPr>
            </a:lvl1pPr>
            <a:lvl2pPr>
              <a:buClr>
                <a:srgbClr val="65AC1E"/>
              </a:buClr>
              <a:defRPr lang="de-DE" dirty="0" smtClean="0">
                <a:solidFill>
                  <a:schemeClr val="bg1"/>
                </a:solidFill>
              </a:defRPr>
            </a:lvl2pPr>
            <a:lvl3pPr>
              <a:buClr>
                <a:srgbClr val="65AC1E"/>
              </a:buClr>
              <a:defRPr lang="de-DE" dirty="0" smtClean="0">
                <a:solidFill>
                  <a:schemeClr val="bg1"/>
                </a:solidFill>
              </a:defRPr>
            </a:lvl3pPr>
            <a:lvl4pPr>
              <a:buClr>
                <a:srgbClr val="65AC1E"/>
              </a:buClr>
              <a:defRPr lang="de-DE" dirty="0" smtClean="0">
                <a:solidFill>
                  <a:schemeClr val="bg1"/>
                </a:solidFill>
              </a:defRPr>
            </a:lvl4pPr>
          </a:lstStyle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87521463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5268418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4442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3" Type="http://schemas.openxmlformats.org/officeDocument/2006/relationships/slideLayout" Target="../slideLayouts/slideLayout36.xml"/><Relationship Id="rId7" Type="http://schemas.openxmlformats.org/officeDocument/2006/relationships/tags" Target="../tags/tag87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tags" Target="../tags/tag86.xml"/><Relationship Id="rId11" Type="http://schemas.openxmlformats.org/officeDocument/2006/relationships/image" Target="../media/image2.png"/><Relationship Id="rId5" Type="http://schemas.openxmlformats.org/officeDocument/2006/relationships/theme" Target="../theme/theme10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8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slideLayout" Target="../slideLayouts/slideLayout40.xml"/><Relationship Id="rId7" Type="http://schemas.openxmlformats.org/officeDocument/2006/relationships/tags" Target="../tags/tag97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ags" Target="../tags/tag96.xml"/><Relationship Id="rId11" Type="http://schemas.openxmlformats.org/officeDocument/2006/relationships/image" Target="../media/image4.png"/><Relationship Id="rId5" Type="http://schemas.openxmlformats.org/officeDocument/2006/relationships/theme" Target="../theme/theme11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41.xml"/><Relationship Id="rId9" Type="http://schemas.openxmlformats.org/officeDocument/2006/relationships/tags" Target="../tags/tag9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3" Type="http://schemas.openxmlformats.org/officeDocument/2006/relationships/slideLayout" Target="../slideLayouts/slideLayout44.xml"/><Relationship Id="rId7" Type="http://schemas.openxmlformats.org/officeDocument/2006/relationships/tags" Target="../tags/tag107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ags" Target="../tags/tag106.xml"/><Relationship Id="rId11" Type="http://schemas.openxmlformats.org/officeDocument/2006/relationships/image" Target="../media/image2.png"/><Relationship Id="rId5" Type="http://schemas.openxmlformats.org/officeDocument/2006/relationships/theme" Target="../theme/theme12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45.xml"/><Relationship Id="rId9" Type="http://schemas.openxmlformats.org/officeDocument/2006/relationships/tags" Target="../tags/tag10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3" Type="http://schemas.openxmlformats.org/officeDocument/2006/relationships/slideLayout" Target="../slideLayouts/slideLayout48.xml"/><Relationship Id="rId7" Type="http://schemas.openxmlformats.org/officeDocument/2006/relationships/tags" Target="../tags/tag11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ags" Target="../tags/tag116.xml"/><Relationship Id="rId11" Type="http://schemas.openxmlformats.org/officeDocument/2006/relationships/image" Target="../media/image4.png"/><Relationship Id="rId5" Type="http://schemas.openxmlformats.org/officeDocument/2006/relationships/theme" Target="../theme/theme13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49.xml"/><Relationship Id="rId9" Type="http://schemas.openxmlformats.org/officeDocument/2006/relationships/tags" Target="../tags/tag11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3" Type="http://schemas.openxmlformats.org/officeDocument/2006/relationships/slideLayout" Target="../slideLayouts/slideLayout52.xml"/><Relationship Id="rId7" Type="http://schemas.openxmlformats.org/officeDocument/2006/relationships/tags" Target="../tags/tag127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tags" Target="../tags/tag126.xml"/><Relationship Id="rId11" Type="http://schemas.openxmlformats.org/officeDocument/2006/relationships/image" Target="../media/image2.png"/><Relationship Id="rId5" Type="http://schemas.openxmlformats.org/officeDocument/2006/relationships/theme" Target="../theme/theme14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53.xml"/><Relationship Id="rId9" Type="http://schemas.openxmlformats.org/officeDocument/2006/relationships/tags" Target="../tags/tag129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ags" Target="../tags/tag13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heme" Target="../theme/theme15.xml"/><Relationship Id="rId17" Type="http://schemas.openxmlformats.org/officeDocument/2006/relationships/image" Target="../media/image11.png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139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13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ags" Target="../tags/tag13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3" Type="http://schemas.openxmlformats.org/officeDocument/2006/relationships/slideLayout" Target="../slideLayouts/slideLayout67.xml"/><Relationship Id="rId7" Type="http://schemas.openxmlformats.org/officeDocument/2006/relationships/tags" Target="../tags/tag163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tags" Target="../tags/tag162.xml"/><Relationship Id="rId5" Type="http://schemas.openxmlformats.org/officeDocument/2006/relationships/theme" Target="../theme/theme1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68.xml"/><Relationship Id="rId9" Type="http://schemas.openxmlformats.org/officeDocument/2006/relationships/tags" Target="../tags/tag16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4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6.xml"/><Relationship Id="rId11" Type="http://schemas.openxmlformats.org/officeDocument/2006/relationships/image" Target="../media/image4.png"/><Relationship Id="rId5" Type="http://schemas.openxmlformats.org/officeDocument/2006/relationships/theme" Target="../theme/theme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1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16.xml"/><Relationship Id="rId11" Type="http://schemas.openxmlformats.org/officeDocument/2006/relationships/image" Target="../media/image4.png"/><Relationship Id="rId5" Type="http://schemas.openxmlformats.org/officeDocument/2006/relationships/theme" Target="../theme/theme3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slideLayout" Target="../slideLayouts/slideLayout12.xml"/><Relationship Id="rId7" Type="http://schemas.openxmlformats.org/officeDocument/2006/relationships/tags" Target="../tags/tag27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26.xml"/><Relationship Id="rId11" Type="http://schemas.openxmlformats.org/officeDocument/2006/relationships/image" Target="../media/image4.png"/><Relationship Id="rId5" Type="http://schemas.openxmlformats.org/officeDocument/2006/relationships/theme" Target="../theme/theme4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2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37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36.xml"/><Relationship Id="rId11" Type="http://schemas.openxmlformats.org/officeDocument/2006/relationships/image" Target="../media/image2.png"/><Relationship Id="rId5" Type="http://schemas.openxmlformats.org/officeDocument/2006/relationships/theme" Target="../theme/theme5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3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47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46.xml"/><Relationship Id="rId11" Type="http://schemas.openxmlformats.org/officeDocument/2006/relationships/image" Target="../media/image2.png"/><Relationship Id="rId5" Type="http://schemas.openxmlformats.org/officeDocument/2006/relationships/theme" Target="../theme/theme6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4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57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56.xml"/><Relationship Id="rId11" Type="http://schemas.openxmlformats.org/officeDocument/2006/relationships/image" Target="../media/image4.png"/><Relationship Id="rId5" Type="http://schemas.openxmlformats.org/officeDocument/2006/relationships/theme" Target="../theme/theme7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5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slideLayout" Target="../slideLayouts/slideLayout28.xml"/><Relationship Id="rId7" Type="http://schemas.openxmlformats.org/officeDocument/2006/relationships/tags" Target="../tags/tag6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66.xml"/><Relationship Id="rId11" Type="http://schemas.openxmlformats.org/officeDocument/2006/relationships/image" Target="../media/image2.png"/><Relationship Id="rId5" Type="http://schemas.openxmlformats.org/officeDocument/2006/relationships/theme" Target="../theme/theme8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29.xml"/><Relationship Id="rId9" Type="http://schemas.openxmlformats.org/officeDocument/2006/relationships/tags" Target="../tags/tag6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3" Type="http://schemas.openxmlformats.org/officeDocument/2006/relationships/slideLayout" Target="../slideLayouts/slideLayout32.xml"/><Relationship Id="rId7" Type="http://schemas.openxmlformats.org/officeDocument/2006/relationships/tags" Target="../tags/tag77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ags" Target="../tags/tag76.xml"/><Relationship Id="rId11" Type="http://schemas.openxmlformats.org/officeDocument/2006/relationships/image" Target="../media/image4.png"/><Relationship Id="rId5" Type="http://schemas.openxmlformats.org/officeDocument/2006/relationships/theme" Target="../theme/theme9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\\server3.sablya\New disk\BASF\2017\PPT_Templates_2017\Стажировка\PPT_Шаблон\BASF_stazhirovka_1600x900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2" cy="6857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0" y="6641885"/>
            <a:ext cx="720090" cy="1512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B8314B7C-9B55-430E-825C-B5C93C366BD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5809070" y="6630986"/>
            <a:ext cx="572273" cy="184666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z="1200" b="0" i="0" smtClean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pPr algn="ctr">
              <a:spcBef>
                <a:spcPct val="110000"/>
              </a:spcBef>
              <a:spcAft>
                <a:spcPct val="110000"/>
              </a:spcAft>
            </a:pPr>
            <a:endParaRPr lang="de-DE"/>
          </a:p>
        </p:txBody>
      </p:sp>
      <p:sp>
        <p:nvSpPr>
          <p:cNvPr id="4" name="DatumPlaz"/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2160270" y="6646431"/>
            <a:ext cx="720090" cy="1512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04A66102-D738-455C-9CA0-36A6C73C6E9D}" type="datetime1">
              <a:rPr lang="de-DE" smtClean="0"/>
              <a:pPr/>
              <a:t>06.11.2019</a:t>
            </a:fld>
            <a:endParaRPr lang="de-DE"/>
          </a:p>
        </p:txBody>
      </p:sp>
      <p:sp>
        <p:nvSpPr>
          <p:cNvPr id="9" name="DokuPlaz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2880360" y="6765246"/>
            <a:ext cx="5400675" cy="97212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898989"/>
              </a:solidFill>
              <a:latin typeface="Arial"/>
            </a:endParaRPr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-24" y="864000"/>
            <a:ext cx="3936413" cy="1080000"/>
            <a:chOff x="710004" y="864000"/>
            <a:chExt cx="3936413" cy="1080000"/>
          </a:xfrm>
        </p:grpSpPr>
        <p:sp>
          <p:nvSpPr>
            <p:cNvPr id="11" name="Rechteck 19">
              <a:extLst>
                <a:ext uri="{FF2B5EF4-FFF2-40B4-BE49-F238E27FC236}">
                  <a16:creationId xmlns:a16="http://schemas.microsoft.com/office/drawing/2014/main" id="{7A42CA26-4D8F-4D74-8D34-922D1B6CE1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0004" y="864000"/>
              <a:ext cx="3936413" cy="1080000"/>
            </a:xfrm>
            <a:prstGeom prst="rect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2" name="Grafik 5">
              <a:extLst>
                <a:ext uri="{FF2B5EF4-FFF2-40B4-BE49-F238E27FC236}">
                  <a16:creationId xmlns:a16="http://schemas.microsoft.com/office/drawing/2014/main" id="{485AB957-69F2-4491-A031-DFABB6002A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3595" y="1127317"/>
              <a:ext cx="1620397" cy="587074"/>
            </a:xfrm>
            <a:prstGeom prst="rect">
              <a:avLst/>
            </a:prstGeom>
            <a:solidFill>
              <a:srgbClr val="65AC1E"/>
            </a:solidFill>
          </p:spPr>
        </p:pic>
      </p:grpSp>
    </p:spTree>
    <p:extLst>
      <p:ext uri="{BB962C8B-B14F-4D97-AF65-F5344CB8AC3E}">
        <p14:creationId xmlns:p14="http://schemas.microsoft.com/office/powerpoint/2010/main" val="3633240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8400" cy="686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Plaz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009571" y="863900"/>
            <a:ext cx="6645729" cy="1053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1349829" y="2030800"/>
            <a:ext cx="9289142" cy="44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10942575" y="6645600"/>
            <a:ext cx="959875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3359563" y="6764400"/>
            <a:ext cx="7535019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898989"/>
              </a:solidFill>
              <a:latin typeface="Arial"/>
            </a:endParaRPr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-24" y="864000"/>
            <a:ext cx="3936413" cy="1080000"/>
            <a:chOff x="710004" y="864000"/>
            <a:chExt cx="3936413" cy="1080000"/>
          </a:xfrm>
        </p:grpSpPr>
        <p:sp>
          <p:nvSpPr>
            <p:cNvPr id="11" name="Rechteck 19">
              <a:extLst>
                <a:ext uri="{FF2B5EF4-FFF2-40B4-BE49-F238E27FC236}">
                  <a16:creationId xmlns:a16="http://schemas.microsoft.com/office/drawing/2014/main" id="{7A42CA26-4D8F-4D74-8D34-922D1B6CE1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0004" y="864000"/>
              <a:ext cx="3936413" cy="1080000"/>
            </a:xfrm>
            <a:prstGeom prst="rect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2" name="Grafik 5">
              <a:extLst>
                <a:ext uri="{FF2B5EF4-FFF2-40B4-BE49-F238E27FC236}">
                  <a16:creationId xmlns:a16="http://schemas.microsoft.com/office/drawing/2014/main" id="{485AB957-69F2-4491-A031-DFABB6002A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3595" y="1127317"/>
              <a:ext cx="1620397" cy="587074"/>
            </a:xfrm>
            <a:prstGeom prst="rect">
              <a:avLst/>
            </a:prstGeom>
            <a:solidFill>
              <a:srgbClr val="65AC1E"/>
            </a:solidFill>
          </p:spPr>
        </p:pic>
      </p:grpSp>
    </p:spTree>
    <p:extLst>
      <p:ext uri="{BB962C8B-B14F-4D97-AF65-F5344CB8AC3E}">
        <p14:creationId xmlns:p14="http://schemas.microsoft.com/office/powerpoint/2010/main" val="1657335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bg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8400" cy="686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Plaz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349829" y="863900"/>
            <a:ext cx="9305471" cy="10538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/>
              <a:t>Titelmasterformat durch Klicken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10942575" y="6645600"/>
            <a:ext cx="959875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3359563" y="6764400"/>
            <a:ext cx="7535019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898989"/>
              </a:solidFill>
              <a:latin typeface="Arial"/>
            </a:endParaRP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9568808" y="5992438"/>
            <a:ext cx="2621605" cy="540000"/>
            <a:chOff x="6522395" y="6055938"/>
            <a:chExt cx="2621605" cy="540000"/>
          </a:xfrm>
        </p:grpSpPr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8D253E6D-A006-4B38-917A-B79C55599133}"/>
                </a:ext>
              </a:extLst>
            </p:cNvPr>
            <p:cNvSpPr/>
            <p:nvPr userDrawn="1"/>
          </p:nvSpPr>
          <p:spPr>
            <a:xfrm>
              <a:off x="6522395" y="6055938"/>
              <a:ext cx="2621605" cy="540000"/>
            </a:xfrm>
            <a:prstGeom prst="rect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9">
              <a:extLst>
                <a:ext uri="{FF2B5EF4-FFF2-40B4-BE49-F238E27FC236}">
                  <a16:creationId xmlns:a16="http://schemas.microsoft.com/office/drawing/2014/main" id="{72F26C6A-6E52-4667-AFBC-94F9A4E95E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54747" y="6185114"/>
              <a:ext cx="820336" cy="297210"/>
            </a:xfrm>
            <a:prstGeom prst="rect">
              <a:avLst/>
            </a:prstGeom>
          </p:spPr>
        </p:pic>
      </p:grpSp>
      <p:sp>
        <p:nvSpPr>
          <p:cNvPr id="3" name="TextPlaz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1349829" y="2030800"/>
            <a:ext cx="9289142" cy="44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745131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bg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Plaz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034971" y="863900"/>
            <a:ext cx="6620330" cy="10665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1349829" y="2018100"/>
            <a:ext cx="9289142" cy="44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10942575" y="6645600"/>
            <a:ext cx="959875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3359563" y="6764400"/>
            <a:ext cx="7535019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898989"/>
              </a:solidFill>
              <a:latin typeface="Arial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-24" y="864000"/>
            <a:ext cx="3936413" cy="1080000"/>
            <a:chOff x="710004" y="864000"/>
            <a:chExt cx="3936413" cy="1080000"/>
          </a:xfrm>
        </p:grpSpPr>
        <p:sp>
          <p:nvSpPr>
            <p:cNvPr id="10" name="Rechteck 19">
              <a:extLst>
                <a:ext uri="{FF2B5EF4-FFF2-40B4-BE49-F238E27FC236}">
                  <a16:creationId xmlns:a16="http://schemas.microsoft.com/office/drawing/2014/main" id="{7A42CA26-4D8F-4D74-8D34-922D1B6CE1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0004" y="864000"/>
              <a:ext cx="3936413" cy="1080000"/>
            </a:xfrm>
            <a:prstGeom prst="rect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2" name="Grafik 5">
              <a:extLst>
                <a:ext uri="{FF2B5EF4-FFF2-40B4-BE49-F238E27FC236}">
                  <a16:creationId xmlns:a16="http://schemas.microsoft.com/office/drawing/2014/main" id="{485AB957-69F2-4491-A031-DFABB6002A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3595" y="1127317"/>
              <a:ext cx="1620397" cy="587074"/>
            </a:xfrm>
            <a:prstGeom prst="rect">
              <a:avLst/>
            </a:prstGeom>
            <a:solidFill>
              <a:srgbClr val="65AC1E"/>
            </a:solidFill>
          </p:spPr>
        </p:pic>
      </p:grpSp>
    </p:spTree>
    <p:extLst>
      <p:ext uri="{BB962C8B-B14F-4D97-AF65-F5344CB8AC3E}">
        <p14:creationId xmlns:p14="http://schemas.microsoft.com/office/powerpoint/2010/main" val="1545423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Plaz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349829" y="863900"/>
            <a:ext cx="9305472" cy="10665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/>
              <a:t>Titelmasterformat durch Klicken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10942575" y="6645600"/>
            <a:ext cx="959875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3359563" y="6764400"/>
            <a:ext cx="7535019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898989"/>
              </a:solidFill>
              <a:latin typeface="Arial"/>
            </a:endParaRP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9568808" y="5992438"/>
            <a:ext cx="2621605" cy="540000"/>
            <a:chOff x="6522395" y="6055938"/>
            <a:chExt cx="2621605" cy="540000"/>
          </a:xfrm>
        </p:grpSpPr>
        <p:sp>
          <p:nvSpPr>
            <p:cNvPr id="14" name="Rechteck 12">
              <a:extLst>
                <a:ext uri="{FF2B5EF4-FFF2-40B4-BE49-F238E27FC236}">
                  <a16:creationId xmlns:a16="http://schemas.microsoft.com/office/drawing/2014/main" id="{8D253E6D-A006-4B38-917A-B79C55599133}"/>
                </a:ext>
              </a:extLst>
            </p:cNvPr>
            <p:cNvSpPr/>
            <p:nvPr userDrawn="1"/>
          </p:nvSpPr>
          <p:spPr>
            <a:xfrm>
              <a:off x="6522395" y="6055938"/>
              <a:ext cx="2621605" cy="540000"/>
            </a:xfrm>
            <a:prstGeom prst="rect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" name="Grafik 9">
              <a:extLst>
                <a:ext uri="{FF2B5EF4-FFF2-40B4-BE49-F238E27FC236}">
                  <a16:creationId xmlns:a16="http://schemas.microsoft.com/office/drawing/2014/main" id="{72F26C6A-6E52-4667-AFBC-94F9A4E95E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54747" y="6185114"/>
              <a:ext cx="820336" cy="297210"/>
            </a:xfrm>
            <a:prstGeom prst="rect">
              <a:avLst/>
            </a:prstGeom>
          </p:spPr>
        </p:pic>
      </p:grpSp>
      <p:sp>
        <p:nvSpPr>
          <p:cNvPr id="3" name="TextPlaz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1349829" y="2018100"/>
            <a:ext cx="9289142" cy="44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749884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7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Plaz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034971" y="863900"/>
            <a:ext cx="6633030" cy="1053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1349829" y="2043500"/>
            <a:ext cx="9289142" cy="44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10942575" y="6645600"/>
            <a:ext cx="959875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3359563" y="6764400"/>
            <a:ext cx="7535019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898989"/>
              </a:solidFill>
              <a:latin typeface="Arial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-24" y="864000"/>
            <a:ext cx="3936413" cy="1080000"/>
            <a:chOff x="710004" y="864000"/>
            <a:chExt cx="3936413" cy="1080000"/>
          </a:xfrm>
        </p:grpSpPr>
        <p:sp>
          <p:nvSpPr>
            <p:cNvPr id="10" name="Rechteck 19">
              <a:extLst>
                <a:ext uri="{FF2B5EF4-FFF2-40B4-BE49-F238E27FC236}">
                  <a16:creationId xmlns:a16="http://schemas.microsoft.com/office/drawing/2014/main" id="{7A42CA26-4D8F-4D74-8D34-922D1B6CE1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0004" y="864000"/>
              <a:ext cx="3936413" cy="1080000"/>
            </a:xfrm>
            <a:prstGeom prst="rect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2" name="Grafik 5">
              <a:extLst>
                <a:ext uri="{FF2B5EF4-FFF2-40B4-BE49-F238E27FC236}">
                  <a16:creationId xmlns:a16="http://schemas.microsoft.com/office/drawing/2014/main" id="{485AB957-69F2-4491-A031-DFABB6002A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3595" y="1127317"/>
              <a:ext cx="1620397" cy="587074"/>
            </a:xfrm>
            <a:prstGeom prst="rect">
              <a:avLst/>
            </a:prstGeom>
            <a:solidFill>
              <a:srgbClr val="65AC1E"/>
            </a:solidFill>
          </p:spPr>
        </p:pic>
      </p:grpSp>
    </p:spTree>
    <p:extLst>
      <p:ext uri="{BB962C8B-B14F-4D97-AF65-F5344CB8AC3E}">
        <p14:creationId xmlns:p14="http://schemas.microsoft.com/office/powerpoint/2010/main" val="474314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7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Plaz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349829" y="863900"/>
            <a:ext cx="9318172" cy="10538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/>
              <a:t>Titelmasterformat durch Klicken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14"/>
            </p:custDataLst>
          </p:nvPr>
        </p:nvSpPr>
        <p:spPr>
          <a:xfrm>
            <a:off x="10942575" y="6645600"/>
            <a:ext cx="959875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15"/>
            </p:custDataLst>
          </p:nvPr>
        </p:nvSpPr>
        <p:spPr>
          <a:xfrm>
            <a:off x="3359563" y="6764400"/>
            <a:ext cx="7535019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898989"/>
              </a:solidFill>
              <a:latin typeface="Arial"/>
            </a:endParaRP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9568808" y="5992438"/>
            <a:ext cx="2621605" cy="540000"/>
            <a:chOff x="6522395" y="6055938"/>
            <a:chExt cx="2621605" cy="540000"/>
          </a:xfrm>
        </p:grpSpPr>
        <p:sp>
          <p:nvSpPr>
            <p:cNvPr id="14" name="Rechteck 12">
              <a:extLst>
                <a:ext uri="{FF2B5EF4-FFF2-40B4-BE49-F238E27FC236}">
                  <a16:creationId xmlns:a16="http://schemas.microsoft.com/office/drawing/2014/main" id="{8D253E6D-A006-4B38-917A-B79C55599133}"/>
                </a:ext>
              </a:extLst>
            </p:cNvPr>
            <p:cNvSpPr/>
            <p:nvPr userDrawn="1"/>
          </p:nvSpPr>
          <p:spPr>
            <a:xfrm>
              <a:off x="6522395" y="6055938"/>
              <a:ext cx="2621605" cy="540000"/>
            </a:xfrm>
            <a:prstGeom prst="rect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" name="Grafik 9">
              <a:extLst>
                <a:ext uri="{FF2B5EF4-FFF2-40B4-BE49-F238E27FC236}">
                  <a16:creationId xmlns:a16="http://schemas.microsoft.com/office/drawing/2014/main" id="{72F26C6A-6E52-4667-AFBC-94F9A4E95E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54747" y="6185114"/>
              <a:ext cx="820336" cy="297210"/>
            </a:xfrm>
            <a:prstGeom prst="rect">
              <a:avLst/>
            </a:prstGeom>
          </p:spPr>
        </p:pic>
      </p:grpSp>
      <p:sp>
        <p:nvSpPr>
          <p:cNvPr id="3" name="TextPlaz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1349829" y="2043500"/>
            <a:ext cx="9289142" cy="44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033370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9" r:id="rId5"/>
    <p:sldLayoutId id="2147483770" r:id="rId6"/>
    <p:sldLayoutId id="2147483771" r:id="rId7"/>
    <p:sldLayoutId id="2147483773" r:id="rId8"/>
    <p:sldLayoutId id="2147483774" r:id="rId9"/>
    <p:sldLayoutId id="2147483775" r:id="rId10"/>
    <p:sldLayoutId id="2147483776" r:id="rId11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996871" y="876600"/>
            <a:ext cx="6671130" cy="1053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1362529" y="2030800"/>
            <a:ext cx="9289142" cy="44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10942575" y="6645600"/>
            <a:ext cx="959875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3359563" y="6764400"/>
            <a:ext cx="7535019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898989"/>
              </a:solidFill>
              <a:latin typeface="Arial"/>
            </a:endParaRPr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-24" y="864000"/>
            <a:ext cx="3936413" cy="1080000"/>
            <a:chOff x="710004" y="864000"/>
            <a:chExt cx="3936413" cy="1080000"/>
          </a:xfrm>
        </p:grpSpPr>
        <p:sp>
          <p:nvSpPr>
            <p:cNvPr id="9" name="Rechteck 19">
              <a:extLst>
                <a:ext uri="{FF2B5EF4-FFF2-40B4-BE49-F238E27FC236}">
                  <a16:creationId xmlns:a16="http://schemas.microsoft.com/office/drawing/2014/main" id="{7A42CA26-4D8F-4D74-8D34-922D1B6CE1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0004" y="864000"/>
              <a:ext cx="3936413" cy="1080000"/>
            </a:xfrm>
            <a:prstGeom prst="rect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0" name="Grafik 5">
              <a:extLst>
                <a:ext uri="{FF2B5EF4-FFF2-40B4-BE49-F238E27FC236}">
                  <a16:creationId xmlns:a16="http://schemas.microsoft.com/office/drawing/2014/main" id="{485AB957-69F2-4491-A031-DFABB6002A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3595" y="1127317"/>
              <a:ext cx="1620397" cy="587074"/>
            </a:xfrm>
            <a:prstGeom prst="rect">
              <a:avLst/>
            </a:prstGeom>
            <a:solidFill>
              <a:srgbClr val="65AC1E"/>
            </a:solidFill>
          </p:spPr>
        </p:pic>
      </p:grpSp>
    </p:spTree>
    <p:extLst>
      <p:ext uri="{BB962C8B-B14F-4D97-AF65-F5344CB8AC3E}">
        <p14:creationId xmlns:p14="http://schemas.microsoft.com/office/powerpoint/2010/main" val="4156762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\\server3.sablya\New disk\BASF\2017\PPT_Templates_2017\Стажировка\PPT_Шаблон\BASF_stazhirovka_1600x900_2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893"/>
            <a:ext cx="12190411" cy="6857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z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328975" y="822812"/>
            <a:ext cx="6671130" cy="10411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1362529" y="2043500"/>
            <a:ext cx="9289142" cy="44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10942575" y="6645600"/>
            <a:ext cx="959875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3359563" y="6764400"/>
            <a:ext cx="7535019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898989"/>
              </a:solidFill>
              <a:latin typeface="Arial"/>
            </a:endParaRP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9568808" y="5992438"/>
            <a:ext cx="2621605" cy="540000"/>
            <a:chOff x="6522395" y="6055938"/>
            <a:chExt cx="2621605" cy="540000"/>
          </a:xfrm>
        </p:grpSpPr>
        <p:sp>
          <p:nvSpPr>
            <p:cNvPr id="14" name="Rechteck 12">
              <a:extLst>
                <a:ext uri="{FF2B5EF4-FFF2-40B4-BE49-F238E27FC236}">
                  <a16:creationId xmlns:a16="http://schemas.microsoft.com/office/drawing/2014/main" id="{8D253E6D-A006-4B38-917A-B79C55599133}"/>
                </a:ext>
              </a:extLst>
            </p:cNvPr>
            <p:cNvSpPr/>
            <p:nvPr userDrawn="1"/>
          </p:nvSpPr>
          <p:spPr>
            <a:xfrm>
              <a:off x="6522395" y="6055938"/>
              <a:ext cx="2621605" cy="540000"/>
            </a:xfrm>
            <a:prstGeom prst="rect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" name="Grafik 9">
              <a:extLst>
                <a:ext uri="{FF2B5EF4-FFF2-40B4-BE49-F238E27FC236}">
                  <a16:creationId xmlns:a16="http://schemas.microsoft.com/office/drawing/2014/main" id="{72F26C6A-6E52-4667-AFBC-94F9A4E95E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54747" y="6185114"/>
              <a:ext cx="820336" cy="2972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57917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61" r:id="rId2"/>
    <p:sldLayoutId id="2147483675" r:id="rId3"/>
    <p:sldLayoutId id="2147483685" r:id="rId4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bg1"/>
          </a:solidFill>
          <a:effectLst/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bg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bg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bg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bg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\\server3.sablya\New disk\BASF\2017\PPT_Templates_2017\Стажировка\PPT_Шаблон\BASF_stazhirovka_1600x900_bez_samolet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6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z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330917" y="853242"/>
            <a:ext cx="6633030" cy="10665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1349829" y="2030800"/>
            <a:ext cx="9289142" cy="44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10942575" y="6645600"/>
            <a:ext cx="959875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3359563" y="6764400"/>
            <a:ext cx="7535019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898989"/>
              </a:solidFill>
              <a:latin typeface="Arial"/>
            </a:endParaRPr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9568808" y="5992438"/>
            <a:ext cx="2621605" cy="540000"/>
            <a:chOff x="6522395" y="6055938"/>
            <a:chExt cx="2621605" cy="540000"/>
          </a:xfrm>
        </p:grpSpPr>
        <p:sp>
          <p:nvSpPr>
            <p:cNvPr id="17" name="Rechteck 12">
              <a:extLst>
                <a:ext uri="{FF2B5EF4-FFF2-40B4-BE49-F238E27FC236}">
                  <a16:creationId xmlns:a16="http://schemas.microsoft.com/office/drawing/2014/main" id="{8D253E6D-A006-4B38-917A-B79C55599133}"/>
                </a:ext>
              </a:extLst>
            </p:cNvPr>
            <p:cNvSpPr/>
            <p:nvPr userDrawn="1"/>
          </p:nvSpPr>
          <p:spPr>
            <a:xfrm>
              <a:off x="6522395" y="6055938"/>
              <a:ext cx="2621605" cy="540000"/>
            </a:xfrm>
            <a:prstGeom prst="rect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" name="Grafik 9">
              <a:extLst>
                <a:ext uri="{FF2B5EF4-FFF2-40B4-BE49-F238E27FC236}">
                  <a16:creationId xmlns:a16="http://schemas.microsoft.com/office/drawing/2014/main" id="{72F26C6A-6E52-4667-AFBC-94F9A4E95E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54747" y="6185114"/>
              <a:ext cx="820336" cy="2972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57917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bg1"/>
          </a:solidFill>
          <a:effectLst/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bg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bg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bg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bg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\\server3.sablya\New disk\BASF\2017\PPT_Templates_2017\Стажировка\PPT_Шаблон\BASF_stazhirovka_1600x900_2_bez_samolet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1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z"/>
          <p:cNvSpPr>
            <a:spLocks noGrp="1"/>
          </p:cNvSpPr>
          <p:nvPr>
            <p:ph type="body" idx="1"/>
            <p:custDataLst>
              <p:tags r:id="rId6"/>
            </p:custDataLst>
          </p:nvPr>
        </p:nvSpPr>
        <p:spPr>
          <a:xfrm>
            <a:off x="1349829" y="2018100"/>
            <a:ext cx="9289142" cy="44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10942575" y="6645600"/>
            <a:ext cx="959875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3359563" y="6764400"/>
            <a:ext cx="7535019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898989"/>
              </a:solidFill>
              <a:latin typeface="Arial"/>
            </a:endParaRPr>
          </a:p>
        </p:txBody>
      </p:sp>
      <p:sp>
        <p:nvSpPr>
          <p:cNvPr id="17" name="TitelPlaz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1351643" y="666200"/>
            <a:ext cx="4455886" cy="8532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9568808" y="5992438"/>
            <a:ext cx="2621605" cy="540000"/>
            <a:chOff x="6522395" y="6055938"/>
            <a:chExt cx="2621605" cy="540000"/>
          </a:xfrm>
        </p:grpSpPr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8D253E6D-A006-4B38-917A-B79C55599133}"/>
                </a:ext>
              </a:extLst>
            </p:cNvPr>
            <p:cNvSpPr/>
            <p:nvPr userDrawn="1"/>
          </p:nvSpPr>
          <p:spPr>
            <a:xfrm>
              <a:off x="6522395" y="6055938"/>
              <a:ext cx="2621605" cy="540000"/>
            </a:xfrm>
            <a:prstGeom prst="rect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9">
              <a:extLst>
                <a:ext uri="{FF2B5EF4-FFF2-40B4-BE49-F238E27FC236}">
                  <a16:creationId xmlns:a16="http://schemas.microsoft.com/office/drawing/2014/main" id="{72F26C6A-6E52-4667-AFBC-94F9A4E95E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54747" y="6185114"/>
              <a:ext cx="820336" cy="2972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7570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bg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bg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bg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bg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bg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\\server3.sablya\New disk\BASF\2017\PPT_Templates_2017\Стажировка\PPT_Шаблон\pole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052096"/>
            <a:ext cx="12190413" cy="3809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z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254605" y="863900"/>
            <a:ext cx="6683830" cy="10665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1658363" y="2018100"/>
            <a:ext cx="9289142" cy="44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10942575" y="6645600"/>
            <a:ext cx="959875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3359563" y="6764400"/>
            <a:ext cx="7535019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898989"/>
              </a:solidFill>
              <a:latin typeface="Arial"/>
            </a:endParaRP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-24" y="864000"/>
            <a:ext cx="3936413" cy="1080000"/>
            <a:chOff x="710004" y="864000"/>
            <a:chExt cx="3936413" cy="1080000"/>
          </a:xfrm>
        </p:grpSpPr>
        <p:sp>
          <p:nvSpPr>
            <p:cNvPr id="15" name="Rechteck 19">
              <a:extLst>
                <a:ext uri="{FF2B5EF4-FFF2-40B4-BE49-F238E27FC236}">
                  <a16:creationId xmlns:a16="http://schemas.microsoft.com/office/drawing/2014/main" id="{7A42CA26-4D8F-4D74-8D34-922D1B6CE1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0004" y="864000"/>
              <a:ext cx="3936413" cy="1080000"/>
            </a:xfrm>
            <a:prstGeom prst="rect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6" name="Grafik 5">
              <a:extLst>
                <a:ext uri="{FF2B5EF4-FFF2-40B4-BE49-F238E27FC236}">
                  <a16:creationId xmlns:a16="http://schemas.microsoft.com/office/drawing/2014/main" id="{485AB957-69F2-4491-A031-DFABB6002A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3595" y="1127317"/>
              <a:ext cx="1620397" cy="587074"/>
            </a:xfrm>
            <a:prstGeom prst="rect">
              <a:avLst/>
            </a:prstGeom>
            <a:solidFill>
              <a:srgbClr val="65AC1E"/>
            </a:solidFill>
          </p:spPr>
        </p:pic>
      </p:grpSp>
    </p:spTree>
    <p:extLst>
      <p:ext uri="{BB962C8B-B14F-4D97-AF65-F5344CB8AC3E}">
        <p14:creationId xmlns:p14="http://schemas.microsoft.com/office/powerpoint/2010/main" val="3346010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Plaz"/>
          <p:cNvSpPr>
            <a:spLocks noGrp="1"/>
          </p:cNvSpPr>
          <p:nvPr>
            <p:ph type="body" idx="1"/>
            <p:custDataLst>
              <p:tags r:id="rId6"/>
            </p:custDataLst>
          </p:nvPr>
        </p:nvSpPr>
        <p:spPr>
          <a:xfrm>
            <a:off x="1362529" y="2030800"/>
            <a:ext cx="9289142" cy="44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10942575" y="6645600"/>
            <a:ext cx="959875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3359563" y="6764400"/>
            <a:ext cx="7535019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898989"/>
              </a:solidFill>
              <a:latin typeface="Arial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-24" y="864000"/>
            <a:ext cx="3936413" cy="1080000"/>
            <a:chOff x="710004" y="864000"/>
            <a:chExt cx="3936413" cy="1080000"/>
          </a:xfrm>
        </p:grpSpPr>
        <p:sp>
          <p:nvSpPr>
            <p:cNvPr id="10" name="Rechteck 19">
              <a:extLst>
                <a:ext uri="{FF2B5EF4-FFF2-40B4-BE49-F238E27FC236}">
                  <a16:creationId xmlns:a16="http://schemas.microsoft.com/office/drawing/2014/main" id="{7A42CA26-4D8F-4D74-8D34-922D1B6CE1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0004" y="864000"/>
              <a:ext cx="3936413" cy="1080000"/>
            </a:xfrm>
            <a:prstGeom prst="rect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2" name="Grafik 5">
              <a:extLst>
                <a:ext uri="{FF2B5EF4-FFF2-40B4-BE49-F238E27FC236}">
                  <a16:creationId xmlns:a16="http://schemas.microsoft.com/office/drawing/2014/main" id="{485AB957-69F2-4491-A031-DFABB6002A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3595" y="1127317"/>
              <a:ext cx="1620397" cy="587074"/>
            </a:xfrm>
            <a:prstGeom prst="rect">
              <a:avLst/>
            </a:prstGeom>
            <a:solidFill>
              <a:srgbClr val="65AC1E"/>
            </a:solidFill>
          </p:spPr>
        </p:pic>
      </p:grpSp>
      <p:sp>
        <p:nvSpPr>
          <p:cNvPr id="11" name="TitelPlaz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254605" y="863900"/>
            <a:ext cx="6683830" cy="10665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71492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10942575" y="6645600"/>
            <a:ext cx="959875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3359563" y="6764400"/>
            <a:ext cx="7535019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898989"/>
              </a:solidFill>
              <a:latin typeface="Arial"/>
            </a:endParaRPr>
          </a:p>
        </p:txBody>
      </p:sp>
      <p:sp>
        <p:nvSpPr>
          <p:cNvPr id="11" name="TitelPlaz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1362529" y="863900"/>
            <a:ext cx="9289142" cy="10665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/>
              <a:t>Titelmasterformat durch Klicken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9568808" y="5992438"/>
            <a:ext cx="2621605" cy="540000"/>
            <a:chOff x="6522395" y="6055938"/>
            <a:chExt cx="2621605" cy="540000"/>
          </a:xfrm>
        </p:grpSpPr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8D253E6D-A006-4B38-917A-B79C55599133}"/>
                </a:ext>
              </a:extLst>
            </p:cNvPr>
            <p:cNvSpPr/>
            <p:nvPr userDrawn="1"/>
          </p:nvSpPr>
          <p:spPr>
            <a:xfrm>
              <a:off x="6522395" y="6055938"/>
              <a:ext cx="2621605" cy="540000"/>
            </a:xfrm>
            <a:prstGeom prst="rect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9">
              <a:extLst>
                <a:ext uri="{FF2B5EF4-FFF2-40B4-BE49-F238E27FC236}">
                  <a16:creationId xmlns:a16="http://schemas.microsoft.com/office/drawing/2014/main" id="{72F26C6A-6E52-4667-AFBC-94F9A4E95E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54747" y="6185114"/>
              <a:ext cx="820336" cy="297210"/>
            </a:xfrm>
            <a:prstGeom prst="rect">
              <a:avLst/>
            </a:prstGeom>
          </p:spPr>
        </p:pic>
      </p:grpSp>
      <p:sp>
        <p:nvSpPr>
          <p:cNvPr id="3" name="TextPlaz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1362529" y="2030800"/>
            <a:ext cx="9289142" cy="44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964642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8400" cy="686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Plaz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009571" y="863900"/>
            <a:ext cx="6645730" cy="10665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1349829" y="2030800"/>
            <a:ext cx="9289142" cy="44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10942575" y="6645600"/>
            <a:ext cx="959875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3359563" y="6764400"/>
            <a:ext cx="7535019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898989"/>
              </a:solidFill>
              <a:latin typeface="Arial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-24" y="864000"/>
            <a:ext cx="3936413" cy="1080000"/>
            <a:chOff x="710004" y="864000"/>
            <a:chExt cx="3936413" cy="1080000"/>
          </a:xfrm>
        </p:grpSpPr>
        <p:sp>
          <p:nvSpPr>
            <p:cNvPr id="10" name="Rechteck 19">
              <a:extLst>
                <a:ext uri="{FF2B5EF4-FFF2-40B4-BE49-F238E27FC236}">
                  <a16:creationId xmlns:a16="http://schemas.microsoft.com/office/drawing/2014/main" id="{7A42CA26-4D8F-4D74-8D34-922D1B6CE1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10004" y="864000"/>
              <a:ext cx="3936413" cy="1080000"/>
            </a:xfrm>
            <a:prstGeom prst="rect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2" name="Grafik 5">
              <a:extLst>
                <a:ext uri="{FF2B5EF4-FFF2-40B4-BE49-F238E27FC236}">
                  <a16:creationId xmlns:a16="http://schemas.microsoft.com/office/drawing/2014/main" id="{485AB957-69F2-4491-A031-DFABB6002A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3595" y="1127317"/>
              <a:ext cx="1620397" cy="587074"/>
            </a:xfrm>
            <a:prstGeom prst="rect">
              <a:avLst/>
            </a:prstGeom>
            <a:solidFill>
              <a:srgbClr val="65AC1E"/>
            </a:solidFill>
          </p:spPr>
        </p:pic>
      </p:grpSp>
    </p:spTree>
    <p:extLst>
      <p:ext uri="{BB962C8B-B14F-4D97-AF65-F5344CB8AC3E}">
        <p14:creationId xmlns:p14="http://schemas.microsoft.com/office/powerpoint/2010/main" val="747363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8400" cy="686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10942575" y="6645600"/>
            <a:ext cx="959875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F650CEC-26F9-4F22-968D-7DCAC09124C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3359563" y="6764400"/>
            <a:ext cx="7535019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898989"/>
              </a:solidFill>
              <a:latin typeface="Arial"/>
            </a:endParaRP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9568808" y="5992438"/>
            <a:ext cx="2621605" cy="540000"/>
            <a:chOff x="6522395" y="6055938"/>
            <a:chExt cx="2621605" cy="540000"/>
          </a:xfrm>
        </p:grpSpPr>
        <p:sp>
          <p:nvSpPr>
            <p:cNvPr id="14" name="Rechteck 12">
              <a:extLst>
                <a:ext uri="{FF2B5EF4-FFF2-40B4-BE49-F238E27FC236}">
                  <a16:creationId xmlns:a16="http://schemas.microsoft.com/office/drawing/2014/main" id="{8D253E6D-A006-4B38-917A-B79C55599133}"/>
                </a:ext>
              </a:extLst>
            </p:cNvPr>
            <p:cNvSpPr/>
            <p:nvPr userDrawn="1"/>
          </p:nvSpPr>
          <p:spPr>
            <a:xfrm>
              <a:off x="6522395" y="6055938"/>
              <a:ext cx="2621605" cy="540000"/>
            </a:xfrm>
            <a:prstGeom prst="rect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" name="Grafik 9">
              <a:extLst>
                <a:ext uri="{FF2B5EF4-FFF2-40B4-BE49-F238E27FC236}">
                  <a16:creationId xmlns:a16="http://schemas.microsoft.com/office/drawing/2014/main" id="{72F26C6A-6E52-4667-AFBC-94F9A4E95E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54747" y="6185114"/>
              <a:ext cx="820336" cy="297210"/>
            </a:xfrm>
            <a:prstGeom prst="rect">
              <a:avLst/>
            </a:prstGeom>
          </p:spPr>
        </p:pic>
      </p:grpSp>
      <p:sp>
        <p:nvSpPr>
          <p:cNvPr id="3" name="TextPlaz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1349829" y="2030800"/>
            <a:ext cx="9289142" cy="44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95000"/>
              </a:lnSpc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16" name="TitelPlaz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1362529" y="863900"/>
            <a:ext cx="9289142" cy="10665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/>
              <a:t>Titelmasterformat durch Klicken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3049314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 typeface="Wingdings"/>
        <a:buChar char="n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65AC1E"/>
        </a:buClr>
        <a:buFontTx/>
        <a:buChar char="–"/>
        <a:defRPr lang="de-DE" sz="2000" b="0" i="0" kern="1200" dirty="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6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6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diagramLayout" Target="../diagrams/layout4.xml"/><Relationship Id="rId7" Type="http://schemas.openxmlformats.org/officeDocument/2006/relationships/image" Target="../media/image38.jpe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64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10" Type="http://schemas.openxmlformats.org/officeDocument/2006/relationships/image" Target="../media/image41.png"/><Relationship Id="rId4" Type="http://schemas.openxmlformats.org/officeDocument/2006/relationships/diagramQuickStyle" Target="../diagrams/quickStyle4.xml"/><Relationship Id="rId9" Type="http://schemas.openxmlformats.org/officeDocument/2006/relationships/image" Target="../media/image4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3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45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tags" Target="../tags/tag184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174.xml"/><Relationship Id="rId21" Type="http://schemas.openxmlformats.org/officeDocument/2006/relationships/image" Target="../media/image15.jpeg"/><Relationship Id="rId7" Type="http://schemas.openxmlformats.org/officeDocument/2006/relationships/tags" Target="../tags/tag178.xml"/><Relationship Id="rId12" Type="http://schemas.openxmlformats.org/officeDocument/2006/relationships/tags" Target="../tags/tag183.xml"/><Relationship Id="rId17" Type="http://schemas.openxmlformats.org/officeDocument/2006/relationships/slideLayout" Target="../slideLayouts/slideLayout62.xml"/><Relationship Id="rId2" Type="http://schemas.openxmlformats.org/officeDocument/2006/relationships/tags" Target="../tags/tag173.xml"/><Relationship Id="rId16" Type="http://schemas.openxmlformats.org/officeDocument/2006/relationships/tags" Target="../tags/tag187.xml"/><Relationship Id="rId20" Type="http://schemas.openxmlformats.org/officeDocument/2006/relationships/image" Target="../media/image14.jpeg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11" Type="http://schemas.openxmlformats.org/officeDocument/2006/relationships/tags" Target="../tags/tag182.xml"/><Relationship Id="rId5" Type="http://schemas.openxmlformats.org/officeDocument/2006/relationships/tags" Target="../tags/tag176.xml"/><Relationship Id="rId15" Type="http://schemas.openxmlformats.org/officeDocument/2006/relationships/tags" Target="../tags/tag186.xml"/><Relationship Id="rId23" Type="http://schemas.openxmlformats.org/officeDocument/2006/relationships/image" Target="../media/image17.jpeg"/><Relationship Id="rId10" Type="http://schemas.openxmlformats.org/officeDocument/2006/relationships/tags" Target="../tags/tag181.xml"/><Relationship Id="rId19" Type="http://schemas.openxmlformats.org/officeDocument/2006/relationships/image" Target="../media/image13.jpeg"/><Relationship Id="rId4" Type="http://schemas.openxmlformats.org/officeDocument/2006/relationships/tags" Target="../tags/tag175.xml"/><Relationship Id="rId9" Type="http://schemas.openxmlformats.org/officeDocument/2006/relationships/tags" Target="../tags/tag180.xml"/><Relationship Id="rId14" Type="http://schemas.openxmlformats.org/officeDocument/2006/relationships/tags" Target="../tags/tag185.xml"/><Relationship Id="rId22" Type="http://schemas.openxmlformats.org/officeDocument/2006/relationships/image" Target="../media/image1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20.png"/><Relationship Id="rId5" Type="http://schemas.openxmlformats.org/officeDocument/2006/relationships/chart" Target="../charts/chart2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2.xml"/><Relationship Id="rId4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2196000" y="4724550"/>
            <a:ext cx="3899206" cy="954000"/>
          </a:xfrm>
        </p:spPr>
        <p:txBody>
          <a:bodyPr>
            <a:normAutofit/>
          </a:bodyPr>
          <a:lstStyle/>
          <a:p>
            <a:r>
              <a:rPr lang="en-US" sz="3600" dirty="0"/>
              <a:t>Promoters 2019 </a:t>
            </a:r>
            <a:endParaRPr lang="ru-RU" sz="3600" dirty="0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uk-UA" sz="2400" dirty="0">
                <a:solidFill>
                  <a:schemeClr val="bg1"/>
                </a:solidFill>
              </a:rPr>
              <a:t>Р</a:t>
            </a:r>
            <a:r>
              <a:rPr lang="ru-RU" sz="2400" dirty="0" err="1">
                <a:solidFill>
                  <a:schemeClr val="bg1"/>
                </a:solidFill>
              </a:rPr>
              <a:t>ыбкин</a:t>
            </a:r>
            <a:r>
              <a:rPr lang="ru-RU" sz="2400" dirty="0">
                <a:solidFill>
                  <a:schemeClr val="bg1"/>
                </a:solidFill>
              </a:rPr>
              <a:t> Денис </a:t>
            </a:r>
          </a:p>
          <a:p>
            <a:r>
              <a:rPr lang="ru-RU" sz="1400" dirty="0">
                <a:solidFill>
                  <a:schemeClr val="bg1"/>
                </a:solidFill>
              </a:rPr>
              <a:t>Руководитель регионального маркетинга в Украине</a:t>
            </a:r>
          </a:p>
        </p:txBody>
      </p:sp>
    </p:spTree>
  </p:cSld>
  <p:clrMapOvr>
    <a:masterClrMapping/>
  </p:clrMapOvr>
  <p:transition spd="slow">
    <p:cover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F66E58B-8400-43FD-B188-BEAA981C24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730" y="1355835"/>
            <a:ext cx="9224685" cy="5188886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7412841" y="313279"/>
            <a:ext cx="3860749" cy="7058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uk-UA" sz="1467" b="1" i="1" dirty="0" err="1"/>
              <a:t>Агроцентр</a:t>
            </a:r>
            <a:r>
              <a:rPr lang="uk-UA" sz="1467" b="1" i="1" dirty="0"/>
              <a:t> ТОВ «Маяк», Одеська обл.</a:t>
            </a:r>
          </a:p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uk-UA" sz="1467" b="1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4.05.2018</a:t>
            </a:r>
            <a:endParaRPr lang="uk-UA" sz="1467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DF8688-2E8B-466D-A814-38A5627CFE97}"/>
              </a:ext>
            </a:extLst>
          </p:cNvPr>
          <p:cNvCxnSpPr/>
          <p:nvPr/>
        </p:nvCxnSpPr>
        <p:spPr>
          <a:xfrm flipH="1">
            <a:off x="2368822" y="2726120"/>
            <a:ext cx="1910438" cy="3818601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CA078787-422C-4FDF-9D6E-D2D2CA3D8AE7}"/>
              </a:ext>
            </a:extLst>
          </p:cNvPr>
          <p:cNvSpPr/>
          <p:nvPr/>
        </p:nvSpPr>
        <p:spPr>
          <a:xfrm>
            <a:off x="2459339" y="3288420"/>
            <a:ext cx="1510610" cy="316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uk-UA" sz="1467" b="1" i="1" dirty="0">
                <a:solidFill>
                  <a:schemeClr val="bg1"/>
                </a:solidFill>
              </a:rPr>
              <a:t>ДЕМО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B35982F-55A5-486F-9817-87DC8CE4347D}"/>
              </a:ext>
            </a:extLst>
          </p:cNvPr>
          <p:cNvSpPr/>
          <p:nvPr/>
        </p:nvSpPr>
        <p:spPr>
          <a:xfrm>
            <a:off x="5358124" y="3277588"/>
            <a:ext cx="1510610" cy="316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uk-UA" sz="1467" b="1" i="1" dirty="0" err="1">
                <a:solidFill>
                  <a:schemeClr val="bg1"/>
                </a:solidFill>
              </a:rPr>
              <a:t>Оп</a:t>
            </a:r>
            <a:r>
              <a:rPr lang="ru-RU" sz="1467" b="1" i="1" dirty="0" err="1">
                <a:solidFill>
                  <a:schemeClr val="bg1"/>
                </a:solidFill>
              </a:rPr>
              <a:t>ыты</a:t>
            </a:r>
            <a:endParaRPr lang="uk-UA" sz="1467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505839"/>
      </p:ext>
    </p:extLst>
  </p:cSld>
  <p:clrMapOvr>
    <a:masterClrMapping/>
  </p:clrMapOvr>
  <p:transition spd="slow">
    <p:cover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4C7FEAF-D52E-436F-93EA-0E8C457E9BBE}"/>
              </a:ext>
            </a:extLst>
          </p:cNvPr>
          <p:cNvSpPr/>
          <p:nvPr/>
        </p:nvSpPr>
        <p:spPr>
          <a:xfrm>
            <a:off x="6775207" y="371912"/>
            <a:ext cx="4897849" cy="5579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uk-UA" sz="1467" b="1" i="1" dirty="0" err="1"/>
              <a:t>Агроцентр</a:t>
            </a:r>
            <a:r>
              <a:rPr lang="uk-UA" sz="1467" b="1" i="1" dirty="0"/>
              <a:t> АОПП «</a:t>
            </a:r>
            <a:r>
              <a:rPr lang="uk-UA" sz="1467" b="1" i="1" dirty="0" err="1"/>
              <a:t>Великосорочинське</a:t>
            </a:r>
            <a:r>
              <a:rPr lang="uk-UA" sz="1467" b="1" i="1" dirty="0"/>
              <a:t>», Полтавська обл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BBE26C-4579-43E9-9FCE-25608DCE962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83" r="20680"/>
          <a:stretch/>
        </p:blipFill>
        <p:spPr>
          <a:xfrm>
            <a:off x="384426" y="929822"/>
            <a:ext cx="8768451" cy="5750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59250"/>
      </p:ext>
    </p:extLst>
  </p:cSld>
  <p:clrMapOvr>
    <a:masterClrMapping/>
  </p:clrMapOvr>
  <p:transition spd="slow">
    <p:cover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547673" y="5341168"/>
            <a:ext cx="11414139" cy="954000"/>
          </a:xfrm>
        </p:spPr>
        <p:txBody>
          <a:bodyPr>
            <a:normAutofit/>
          </a:bodyPr>
          <a:lstStyle/>
          <a:p>
            <a:r>
              <a:rPr lang="uk-UA" dirty="0"/>
              <a:t>Стажування</a:t>
            </a:r>
            <a:r>
              <a:rPr lang="ru-RU" dirty="0"/>
              <a:t> в </a:t>
            </a:r>
            <a:r>
              <a:rPr lang="uk-UA" dirty="0"/>
              <a:t>компанії </a:t>
            </a:r>
            <a:r>
              <a:rPr lang="en-US" dirty="0"/>
              <a:t>BASF – </a:t>
            </a:r>
            <a:r>
              <a:rPr lang="uk-UA" dirty="0"/>
              <a:t>це зліт твоєї кар'єри </a:t>
            </a:r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58658298"/>
      </p:ext>
    </p:extLst>
  </p:cSld>
  <p:clrMapOvr>
    <a:masterClrMapping/>
  </p:clrMapOvr>
  <p:transition spd="slow">
    <p:cove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D1A5FC-A272-4ACA-8119-FB77E6DB37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35" y="377825"/>
            <a:ext cx="9318172" cy="1053800"/>
          </a:xfrm>
        </p:spPr>
        <p:txBody>
          <a:bodyPr/>
          <a:lstStyle/>
          <a:p>
            <a:r>
              <a:rPr lang="ru-RU" dirty="0"/>
              <a:t>Условия к кандидатам </a:t>
            </a:r>
          </a:p>
        </p:txBody>
      </p:sp>
      <p:graphicFrame>
        <p:nvGraphicFramePr>
          <p:cNvPr id="4" name="Diagram 5">
            <a:extLst>
              <a:ext uri="{FF2B5EF4-FFF2-40B4-BE49-F238E27FC236}">
                <a16:creationId xmlns:a16="http://schemas.microsoft.com/office/drawing/2014/main" id="{935BB532-C696-4EEC-8FB2-12DB4A966AA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3267649"/>
              </p:ext>
            </p:extLst>
          </p:nvPr>
        </p:nvGraphicFramePr>
        <p:xfrm>
          <a:off x="512552" y="1260588"/>
          <a:ext cx="11555121" cy="48777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000C0129-39CD-4FDE-98CB-6D98EFECCE3D}"/>
              </a:ext>
            </a:extLst>
          </p:cNvPr>
          <p:cNvGrpSpPr/>
          <p:nvPr/>
        </p:nvGrpSpPr>
        <p:grpSpPr>
          <a:xfrm>
            <a:off x="5469035" y="0"/>
            <a:ext cx="4248472" cy="1260587"/>
            <a:chOff x="0" y="788781"/>
            <a:chExt cx="4248472" cy="1260587"/>
          </a:xfrm>
        </p:grpSpPr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88B1B0DC-12B3-488C-9E92-CD7CBA76670C}"/>
                </a:ext>
              </a:extLst>
            </p:cNvPr>
            <p:cNvSpPr/>
            <p:nvPr/>
          </p:nvSpPr>
          <p:spPr>
            <a:xfrm>
              <a:off x="0" y="788781"/>
              <a:ext cx="4248472" cy="126058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7EF7318-0011-4BF4-9F5A-A563C074A43A}"/>
                </a:ext>
              </a:extLst>
            </p:cNvPr>
            <p:cNvSpPr txBox="1"/>
            <p:nvPr/>
          </p:nvSpPr>
          <p:spPr>
            <a:xfrm>
              <a:off x="0" y="788781"/>
              <a:ext cx="4248472" cy="126058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4290" tIns="34290" rIns="34290" bIns="34290" numCol="1" spcCol="1270" anchor="t" anchorCtr="0">
              <a:noAutofit/>
            </a:bodyPr>
            <a:lstStyle/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US" sz="180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5986701"/>
      </p:ext>
    </p:extLst>
  </p:cSld>
  <p:clrMapOvr>
    <a:masterClrMapping/>
  </p:clrMapOvr>
  <p:transition spd="slow">
    <p:cover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1EEEA85-946D-494A-A716-396753494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4186" y="377825"/>
            <a:ext cx="2704813" cy="1354722"/>
          </a:xfrm>
        </p:spPr>
        <p:txBody>
          <a:bodyPr/>
          <a:lstStyle/>
          <a:p>
            <a:r>
              <a:rPr lang="ru-RU" dirty="0"/>
              <a:t>Задачи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362E46B8-BF2B-4C5D-9692-C444B9B85C3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64899533"/>
              </p:ext>
            </p:extLst>
          </p:nvPr>
        </p:nvGraphicFramePr>
        <p:xfrm>
          <a:off x="724187" y="1431624"/>
          <a:ext cx="10170817" cy="48488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18819259"/>
      </p:ext>
    </p:extLst>
  </p:cSld>
  <p:clrMapOvr>
    <a:masterClrMapping/>
  </p:clrMapOvr>
  <p:transition spd="slow">
    <p:cover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2">
            <a:extLst>
              <a:ext uri="{FF2B5EF4-FFF2-40B4-BE49-F238E27FC236}">
                <a16:creationId xmlns:a16="http://schemas.microsoft.com/office/drawing/2014/main" id="{CF7E6749-D004-4D1D-99BF-9AD7B0E3E8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8582835"/>
              </p:ext>
            </p:extLst>
          </p:nvPr>
        </p:nvGraphicFramePr>
        <p:xfrm>
          <a:off x="0" y="1248422"/>
          <a:ext cx="6666832" cy="44069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A5723D8-957A-4A8A-BC5B-648E4635A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664" y="267901"/>
            <a:ext cx="4329076" cy="1053800"/>
          </a:xfrm>
        </p:spPr>
        <p:txBody>
          <a:bodyPr/>
          <a:lstStyle/>
          <a:p>
            <a:r>
              <a:rPr lang="uk-UA" dirty="0" err="1"/>
              <a:t>Обеспечения</a:t>
            </a:r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7267532-F5B8-4831-8E0F-33AA9CFDDD0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56" t="12043"/>
          <a:stretch/>
        </p:blipFill>
        <p:spPr>
          <a:xfrm>
            <a:off x="10422514" y="1894089"/>
            <a:ext cx="1665121" cy="153964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1461982-02D8-46D0-9269-DA12E1454B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07464" y="1193880"/>
            <a:ext cx="3452897" cy="2212217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1874C854-5277-44AA-B6ED-AA0B73CF0D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669" t="14631" r="-9891" b="-9337"/>
          <a:stretch/>
        </p:blipFill>
        <p:spPr bwMode="auto">
          <a:xfrm>
            <a:off x="6798839" y="3451904"/>
            <a:ext cx="3905694" cy="2465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5C339CE-07B6-487D-BBFB-A2FBFC21793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4022" b="4673"/>
          <a:stretch/>
        </p:blipFill>
        <p:spPr>
          <a:xfrm>
            <a:off x="10422514" y="4123263"/>
            <a:ext cx="1767899" cy="153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208151"/>
      </p:ext>
    </p:extLst>
  </p:cSld>
  <p:clrMapOvr>
    <a:masterClrMapping/>
  </p:clrMapOvr>
  <p:transition spd="slow">
    <p:cover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6193" y="161727"/>
            <a:ext cx="7067537" cy="853089"/>
          </a:xfrm>
          <a:effectLst/>
        </p:spPr>
        <p:txBody>
          <a:bodyPr>
            <a:normAutofit/>
          </a:bodyPr>
          <a:lstStyle/>
          <a:p>
            <a:r>
              <a:rPr lang="uk-UA" sz="2400" dirty="0" err="1"/>
              <a:t>Регионы</a:t>
            </a:r>
            <a:endParaRPr lang="uk-UA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308" name="Таблица 307">
            <a:extLst>
              <a:ext uri="{FF2B5EF4-FFF2-40B4-BE49-F238E27FC236}">
                <a16:creationId xmlns:a16="http://schemas.microsoft.com/office/drawing/2014/main" id="{511CFEB4-87D9-44EA-BCAB-44D6211A08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5478603"/>
              </p:ext>
            </p:extLst>
          </p:nvPr>
        </p:nvGraphicFramePr>
        <p:xfrm>
          <a:off x="247353" y="1006008"/>
          <a:ext cx="3904364" cy="461755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44821">
                  <a:extLst>
                    <a:ext uri="{9D8B030D-6E8A-4147-A177-3AD203B41FA5}">
                      <a16:colId xmlns:a16="http://schemas.microsoft.com/office/drawing/2014/main" val="36787102"/>
                    </a:ext>
                  </a:extLst>
                </a:gridCol>
                <a:gridCol w="1140737">
                  <a:extLst>
                    <a:ext uri="{9D8B030D-6E8A-4147-A177-3AD203B41FA5}">
                      <a16:colId xmlns:a16="http://schemas.microsoft.com/office/drawing/2014/main" val="618903969"/>
                    </a:ext>
                  </a:extLst>
                </a:gridCol>
                <a:gridCol w="1118806">
                  <a:extLst>
                    <a:ext uri="{9D8B030D-6E8A-4147-A177-3AD203B41FA5}">
                      <a16:colId xmlns:a16="http://schemas.microsoft.com/office/drawing/2014/main" val="2332030131"/>
                    </a:ext>
                  </a:extLst>
                </a:gridCol>
              </a:tblGrid>
              <a:tr h="32537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Regions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500-1000</a:t>
                      </a:r>
                      <a:r>
                        <a:rPr lang="en-US" sz="900" dirty="0">
                          <a:effectLst/>
                        </a:rPr>
                        <a:t> ha</a:t>
                      </a:r>
                      <a:endParaRPr lang="ru-RU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000-3000</a:t>
                      </a:r>
                      <a:r>
                        <a:rPr lang="en-US" sz="900" dirty="0">
                          <a:effectLst/>
                        </a:rPr>
                        <a:t> ha</a:t>
                      </a:r>
                      <a:endParaRPr lang="ru-RU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3591983324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effectLst/>
                        </a:rPr>
                        <a:t>Vinnica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72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219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1318026130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effectLst/>
                        </a:rPr>
                        <a:t>Volyn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43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41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1207792202"/>
                  </a:ext>
                </a:extLst>
              </a:tr>
              <a:tr h="2239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Dnepropetrovsk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0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65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2649525387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effectLst/>
                        </a:rPr>
                        <a:t>Doneck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60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09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396635585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Zhitomir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96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16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4123278383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effectLst/>
                        </a:rPr>
                        <a:t>Zakarpate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5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85916083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effectLst/>
                        </a:rPr>
                        <a:t>Zaporozhie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65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61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2453875666"/>
                  </a:ext>
                </a:extLst>
              </a:tr>
              <a:tr h="2072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Ivano-Frankovsk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1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6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995009556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Kiev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7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06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2177993733"/>
                  </a:ext>
                </a:extLst>
              </a:tr>
              <a:tr h="1550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Kirovograd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9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7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1138118472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Lugansk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97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07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4253878585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Lvov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5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3240322164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Nikolaev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6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1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1449035200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Odessa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09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7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188216272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Poltava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2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0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3424970214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Rovno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7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4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3012094352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Sumy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81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4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2460403628"/>
                  </a:ext>
                </a:extLst>
              </a:tr>
              <a:tr h="21015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ernopol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8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89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923514142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effectLst/>
                        </a:rPr>
                        <a:t>Kharkiv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6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5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1578236276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Kherson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3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67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1283502553"/>
                  </a:ext>
                </a:extLst>
              </a:tr>
              <a:tr h="1860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effectLst/>
                        </a:rPr>
                        <a:t>Khmelnick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07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0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3206217327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Cherkasy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33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9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1888873403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effectLst/>
                        </a:rPr>
                        <a:t>Chernovcy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1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178904754"/>
                  </a:ext>
                </a:extLst>
              </a:tr>
              <a:tr h="1650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effectLst/>
                        </a:rPr>
                        <a:t>Chernogov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1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36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177380633"/>
                  </a:ext>
                </a:extLst>
              </a:tr>
              <a:tr h="17470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otal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656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3499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65" marR="65465" marT="0" marB="0" anchor="b"/>
                </a:tc>
                <a:extLst>
                  <a:ext uri="{0D108BD9-81ED-4DB2-BD59-A6C34878D82A}">
                    <a16:rowId xmlns:a16="http://schemas.microsoft.com/office/drawing/2014/main" val="3718990822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48A67F12-41B8-44BB-B417-97A0573E15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3973500"/>
              </p:ext>
            </p:extLst>
          </p:nvPr>
        </p:nvGraphicFramePr>
        <p:xfrm>
          <a:off x="4655194" y="1037455"/>
          <a:ext cx="7149288" cy="7177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7322">
                  <a:extLst>
                    <a:ext uri="{9D8B030D-6E8A-4147-A177-3AD203B41FA5}">
                      <a16:colId xmlns:a16="http://schemas.microsoft.com/office/drawing/2014/main" val="3010846141"/>
                    </a:ext>
                  </a:extLst>
                </a:gridCol>
                <a:gridCol w="1787322">
                  <a:extLst>
                    <a:ext uri="{9D8B030D-6E8A-4147-A177-3AD203B41FA5}">
                      <a16:colId xmlns:a16="http://schemas.microsoft.com/office/drawing/2014/main" val="868769928"/>
                    </a:ext>
                  </a:extLst>
                </a:gridCol>
                <a:gridCol w="1787322">
                  <a:extLst>
                    <a:ext uri="{9D8B030D-6E8A-4147-A177-3AD203B41FA5}">
                      <a16:colId xmlns:a16="http://schemas.microsoft.com/office/drawing/2014/main" val="3999314364"/>
                    </a:ext>
                  </a:extLst>
                </a:gridCol>
                <a:gridCol w="1787322">
                  <a:extLst>
                    <a:ext uri="{9D8B030D-6E8A-4147-A177-3AD203B41FA5}">
                      <a16:colId xmlns:a16="http://schemas.microsoft.com/office/drawing/2014/main" val="3505116713"/>
                    </a:ext>
                  </a:extLst>
                </a:gridCol>
              </a:tblGrid>
              <a:tr h="358854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2016</a:t>
                      </a:r>
                    </a:p>
                  </a:txBody>
                  <a:tcPr marL="91428" marR="91428" marT="45714" marB="4571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2017</a:t>
                      </a:r>
                    </a:p>
                  </a:txBody>
                  <a:tcPr marL="91428" marR="91428" marT="45714" marB="4571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2018</a:t>
                      </a:r>
                    </a:p>
                  </a:txBody>
                  <a:tcPr marL="91428" marR="91428" marT="45714" marB="4571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 2019</a:t>
                      </a:r>
                    </a:p>
                  </a:txBody>
                  <a:tcPr marL="91428" marR="91428" marT="45714" marB="45714" anchor="ctr"/>
                </a:tc>
                <a:extLst>
                  <a:ext uri="{0D108BD9-81ED-4DB2-BD59-A6C34878D82A}">
                    <a16:rowId xmlns:a16="http://schemas.microsoft.com/office/drawing/2014/main" val="133373121"/>
                  </a:ext>
                </a:extLst>
              </a:tr>
              <a:tr h="358854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5</a:t>
                      </a:r>
                    </a:p>
                  </a:txBody>
                  <a:tcPr marL="91428" marR="91428" marT="45714" marB="4571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8</a:t>
                      </a:r>
                    </a:p>
                  </a:txBody>
                  <a:tcPr marL="91428" marR="91428" marT="45714" marB="4571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10</a:t>
                      </a:r>
                    </a:p>
                  </a:txBody>
                  <a:tcPr marL="91428" marR="91428" marT="45714" marB="4571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1</a:t>
                      </a:r>
                      <a:r>
                        <a:rPr lang="uk-UA" sz="1400" b="1" dirty="0"/>
                        <a:t>4</a:t>
                      </a:r>
                      <a:endParaRPr lang="en-US" sz="1400" b="1" dirty="0"/>
                    </a:p>
                  </a:txBody>
                  <a:tcPr marL="91428" marR="91428" marT="45714" marB="45714" anchor="ctr"/>
                </a:tc>
                <a:extLst>
                  <a:ext uri="{0D108BD9-81ED-4DB2-BD59-A6C34878D82A}">
                    <a16:rowId xmlns:a16="http://schemas.microsoft.com/office/drawing/2014/main" val="2429617954"/>
                  </a:ext>
                </a:extLst>
              </a:tr>
            </a:tbl>
          </a:graphicData>
        </a:graphic>
      </p:graphicFrame>
      <p:sp>
        <p:nvSpPr>
          <p:cNvPr id="496" name="Номер слайда 2">
            <a:extLst>
              <a:ext uri="{FF2B5EF4-FFF2-40B4-BE49-F238E27FC236}">
                <a16:creationId xmlns:a16="http://schemas.microsoft.com/office/drawing/2014/main" id="{1A579138-B3E0-4CB9-8880-4A3F2DA17B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3794457" y="5377945"/>
            <a:ext cx="959750" cy="151180"/>
          </a:xfrm>
        </p:spPr>
        <p:txBody>
          <a:bodyPr/>
          <a:lstStyle/>
          <a:p>
            <a:fld id="{8F650CEC-26F9-4F22-968D-7DCAC09124C1}" type="slidenum">
              <a:rPr lang="de-DE" smtClean="0"/>
              <a:pPr/>
              <a:t>16</a:t>
            </a:fld>
            <a:endParaRPr lang="de-DE"/>
          </a:p>
        </p:txBody>
      </p:sp>
      <p:grpSp>
        <p:nvGrpSpPr>
          <p:cNvPr id="497" name="Grupa 260">
            <a:extLst>
              <a:ext uri="{FF2B5EF4-FFF2-40B4-BE49-F238E27FC236}">
                <a16:creationId xmlns:a16="http://schemas.microsoft.com/office/drawing/2014/main" id="{80BA93A5-3F1D-4759-92B3-F04087882899}"/>
              </a:ext>
            </a:extLst>
          </p:cNvPr>
          <p:cNvGrpSpPr/>
          <p:nvPr/>
        </p:nvGrpSpPr>
        <p:grpSpPr>
          <a:xfrm>
            <a:off x="4488374" y="1772913"/>
            <a:ext cx="7509598" cy="4304782"/>
            <a:chOff x="755576" y="1181479"/>
            <a:chExt cx="6480720" cy="3630256"/>
          </a:xfrm>
        </p:grpSpPr>
        <p:grpSp>
          <p:nvGrpSpPr>
            <p:cNvPr id="498" name="MapShapes">
              <a:extLst>
                <a:ext uri="{FF2B5EF4-FFF2-40B4-BE49-F238E27FC236}">
                  <a16:creationId xmlns:a16="http://schemas.microsoft.com/office/drawing/2014/main" id="{E6F72E7F-A35D-4F05-BD36-32775185581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7516" y="1181479"/>
              <a:ext cx="6191800" cy="3630256"/>
              <a:chOff x="3" y="-2"/>
              <a:chExt cx="63183906" cy="42051896"/>
            </a:xfrm>
          </p:grpSpPr>
          <p:sp>
            <p:nvSpPr>
              <p:cNvPr id="675" name="Kiev¬0" descr="Kiev¬0">
                <a:extLst>
                  <a:ext uri="{FF2B5EF4-FFF2-40B4-BE49-F238E27FC236}">
                    <a16:creationId xmlns:a16="http://schemas.microsoft.com/office/drawing/2014/main" id="{29727E65-E026-40E0-BDC2-B7968F90CCA3}"/>
                  </a:ext>
                </a:extLst>
              </p:cNvPr>
              <p:cNvSpPr/>
              <p:nvPr/>
            </p:nvSpPr>
            <p:spPr>
              <a:xfrm>
                <a:off x="24936849" y="4598147"/>
                <a:ext cx="10009656" cy="12272982"/>
              </a:xfrm>
              <a:custGeom>
                <a:avLst/>
                <a:gdLst/>
                <a:ahLst/>
                <a:cxnLst/>
                <a:rect l="0" t="0" r="0" b="0"/>
                <a:pathLst>
                  <a:path w="10009659" h="12272988">
                    <a:moveTo>
                      <a:pt x="9957981" y="6141983"/>
                    </a:moveTo>
                    <a:lnTo>
                      <a:pt x="9907655" y="6065811"/>
                    </a:lnTo>
                    <a:lnTo>
                      <a:pt x="9805637" y="5913470"/>
                    </a:lnTo>
                    <a:lnTo>
                      <a:pt x="9832711" y="5864291"/>
                    </a:lnTo>
                    <a:lnTo>
                      <a:pt x="9866073" y="5830367"/>
                    </a:lnTo>
                    <a:lnTo>
                      <a:pt x="9899485" y="5811453"/>
                    </a:lnTo>
                    <a:lnTo>
                      <a:pt x="9906117" y="5779870"/>
                    </a:lnTo>
                    <a:lnTo>
                      <a:pt x="9888286" y="5756656"/>
                    </a:lnTo>
                    <a:lnTo>
                      <a:pt x="9860040" y="5747522"/>
                    </a:lnTo>
                    <a:lnTo>
                      <a:pt x="9831260" y="5747192"/>
                    </a:lnTo>
                    <a:lnTo>
                      <a:pt x="9787015" y="5756405"/>
                    </a:lnTo>
                    <a:lnTo>
                      <a:pt x="9757389" y="5767603"/>
                    </a:lnTo>
                    <a:lnTo>
                      <a:pt x="9732184" y="5763851"/>
                    </a:lnTo>
                    <a:lnTo>
                      <a:pt x="9698729" y="5758865"/>
                    </a:lnTo>
                    <a:lnTo>
                      <a:pt x="9678925" y="5745577"/>
                    </a:lnTo>
                    <a:lnTo>
                      <a:pt x="9662811" y="5727124"/>
                    </a:lnTo>
                    <a:lnTo>
                      <a:pt x="9646695" y="5708671"/>
                    </a:lnTo>
                    <a:lnTo>
                      <a:pt x="9634481" y="5685121"/>
                    </a:lnTo>
                    <a:lnTo>
                      <a:pt x="9616563" y="5663193"/>
                    </a:lnTo>
                    <a:lnTo>
                      <a:pt x="9608991" y="5628510"/>
                    </a:lnTo>
                    <a:lnTo>
                      <a:pt x="9630637" y="5560497"/>
                    </a:lnTo>
                    <a:lnTo>
                      <a:pt x="9617921" y="5540778"/>
                    </a:lnTo>
                    <a:lnTo>
                      <a:pt x="9603767" y="5518758"/>
                    </a:lnTo>
                    <a:lnTo>
                      <a:pt x="9571118" y="5499870"/>
                    </a:lnTo>
                    <a:lnTo>
                      <a:pt x="9540391" y="5482288"/>
                    </a:lnTo>
                    <a:lnTo>
                      <a:pt x="9509664" y="5464706"/>
                    </a:lnTo>
                    <a:lnTo>
                      <a:pt x="9480351" y="5449089"/>
                    </a:lnTo>
                    <a:lnTo>
                      <a:pt x="9472838" y="5410041"/>
                    </a:lnTo>
                    <a:lnTo>
                      <a:pt x="9489972" y="5370841"/>
                    </a:lnTo>
                    <a:lnTo>
                      <a:pt x="9510464" y="5336745"/>
                    </a:lnTo>
                    <a:lnTo>
                      <a:pt x="9530962" y="5302656"/>
                    </a:lnTo>
                    <a:lnTo>
                      <a:pt x="9555184" y="5272669"/>
                    </a:lnTo>
                    <a:lnTo>
                      <a:pt x="9589551" y="5266318"/>
                    </a:lnTo>
                    <a:lnTo>
                      <a:pt x="9613152" y="5275491"/>
                    </a:lnTo>
                    <a:lnTo>
                      <a:pt x="9635610" y="5279620"/>
                    </a:lnTo>
                    <a:lnTo>
                      <a:pt x="9657357" y="5283082"/>
                    </a:lnTo>
                    <a:lnTo>
                      <a:pt x="9685663" y="5273197"/>
                    </a:lnTo>
                    <a:lnTo>
                      <a:pt x="9698518" y="5250912"/>
                    </a:lnTo>
                    <a:lnTo>
                      <a:pt x="9698174" y="5222488"/>
                    </a:lnTo>
                    <a:lnTo>
                      <a:pt x="9700087" y="5193860"/>
                    </a:lnTo>
                    <a:lnTo>
                      <a:pt x="9732178" y="5183044"/>
                    </a:lnTo>
                    <a:lnTo>
                      <a:pt x="9750880" y="5150505"/>
                    </a:lnTo>
                    <a:lnTo>
                      <a:pt x="9743104" y="5126776"/>
                    </a:lnTo>
                    <a:lnTo>
                      <a:pt x="9732178" y="5104149"/>
                    </a:lnTo>
                    <a:lnTo>
                      <a:pt x="9721251" y="5081523"/>
                    </a:lnTo>
                    <a:lnTo>
                      <a:pt x="9707850" y="5059555"/>
                    </a:lnTo>
                    <a:lnTo>
                      <a:pt x="9698174" y="5040225"/>
                    </a:lnTo>
                    <a:lnTo>
                      <a:pt x="9639941" y="5026745"/>
                    </a:lnTo>
                    <a:lnTo>
                      <a:pt x="9586642" y="5027979"/>
                    </a:lnTo>
                    <a:lnTo>
                      <a:pt x="9533334" y="5029212"/>
                    </a:lnTo>
                    <a:lnTo>
                      <a:pt x="9474488" y="5031737"/>
                    </a:lnTo>
                    <a:lnTo>
                      <a:pt x="9445175" y="5021179"/>
                    </a:lnTo>
                    <a:lnTo>
                      <a:pt x="9409112" y="5008187"/>
                    </a:lnTo>
                    <a:lnTo>
                      <a:pt x="9387554" y="4986153"/>
                    </a:lnTo>
                    <a:lnTo>
                      <a:pt x="9370361" y="4959972"/>
                    </a:lnTo>
                    <a:lnTo>
                      <a:pt x="9353174" y="4933790"/>
                    </a:lnTo>
                    <a:lnTo>
                      <a:pt x="9340195" y="4903875"/>
                    </a:lnTo>
                    <a:lnTo>
                      <a:pt x="9321393" y="4875636"/>
                    </a:lnTo>
                    <a:lnTo>
                      <a:pt x="9302619" y="4847430"/>
                    </a:lnTo>
                    <a:lnTo>
                      <a:pt x="9282636" y="4818933"/>
                    </a:lnTo>
                    <a:lnTo>
                      <a:pt x="9262910" y="4791307"/>
                    </a:lnTo>
                    <a:lnTo>
                      <a:pt x="9231545" y="4779944"/>
                    </a:lnTo>
                    <a:lnTo>
                      <a:pt x="9205035" y="4770969"/>
                    </a:lnTo>
                    <a:lnTo>
                      <a:pt x="9182658" y="4757304"/>
                    </a:lnTo>
                    <a:lnTo>
                      <a:pt x="9160287" y="4743632"/>
                    </a:lnTo>
                    <a:lnTo>
                      <a:pt x="9141538" y="4726334"/>
                    </a:lnTo>
                    <a:lnTo>
                      <a:pt x="9124168" y="4697455"/>
                    </a:lnTo>
                    <a:lnTo>
                      <a:pt x="9111757" y="4676813"/>
                    </a:lnTo>
                    <a:lnTo>
                      <a:pt x="9105893" y="4656283"/>
                    </a:lnTo>
                    <a:lnTo>
                      <a:pt x="9088806" y="4637606"/>
                    </a:lnTo>
                    <a:lnTo>
                      <a:pt x="9068296" y="4628400"/>
                    </a:lnTo>
                    <a:lnTo>
                      <a:pt x="9018668" y="4631176"/>
                    </a:lnTo>
                    <a:lnTo>
                      <a:pt x="8970466" y="4640323"/>
                    </a:lnTo>
                    <a:lnTo>
                      <a:pt x="8922271" y="4649471"/>
                    </a:lnTo>
                    <a:lnTo>
                      <a:pt x="8875520" y="4664870"/>
                    </a:lnTo>
                    <a:lnTo>
                      <a:pt x="8846734" y="4709965"/>
                    </a:lnTo>
                    <a:lnTo>
                      <a:pt x="8867620" y="4756064"/>
                    </a:lnTo>
                    <a:lnTo>
                      <a:pt x="8850768" y="4776344"/>
                    </a:lnTo>
                    <a:lnTo>
                      <a:pt x="8823563" y="4795383"/>
                    </a:lnTo>
                    <a:lnTo>
                      <a:pt x="8811325" y="4816743"/>
                    </a:lnTo>
                    <a:lnTo>
                      <a:pt x="8818382" y="4845669"/>
                    </a:lnTo>
                    <a:lnTo>
                      <a:pt x="8829005" y="4866113"/>
                    </a:lnTo>
                    <a:lnTo>
                      <a:pt x="8806371" y="4896846"/>
                    </a:lnTo>
                    <a:lnTo>
                      <a:pt x="8782202" y="4905603"/>
                    </a:lnTo>
                    <a:lnTo>
                      <a:pt x="8761000" y="4910998"/>
                    </a:lnTo>
                    <a:lnTo>
                      <a:pt x="8754681" y="4935993"/>
                    </a:lnTo>
                    <a:lnTo>
                      <a:pt x="8720103" y="4989636"/>
                    </a:lnTo>
                    <a:lnTo>
                      <a:pt x="8699785" y="5006216"/>
                    </a:lnTo>
                    <a:lnTo>
                      <a:pt x="8674493" y="5017763"/>
                    </a:lnTo>
                    <a:lnTo>
                      <a:pt x="8637720" y="5013225"/>
                    </a:lnTo>
                    <a:lnTo>
                      <a:pt x="8597776" y="5007574"/>
                    </a:lnTo>
                    <a:lnTo>
                      <a:pt x="8557825" y="5001922"/>
                    </a:lnTo>
                    <a:lnTo>
                      <a:pt x="8514317" y="4995360"/>
                    </a:lnTo>
                    <a:lnTo>
                      <a:pt x="8479429" y="5003498"/>
                    </a:lnTo>
                    <a:lnTo>
                      <a:pt x="8457648" y="5008576"/>
                    </a:lnTo>
                    <a:lnTo>
                      <a:pt x="8444337" y="5025076"/>
                    </a:lnTo>
                    <a:lnTo>
                      <a:pt x="8431829" y="5042942"/>
                    </a:lnTo>
                    <a:lnTo>
                      <a:pt x="8419318" y="5060808"/>
                    </a:lnTo>
                    <a:lnTo>
                      <a:pt x="8408153" y="5079511"/>
                    </a:lnTo>
                    <a:lnTo>
                      <a:pt x="8370041" y="5106194"/>
                    </a:lnTo>
                    <a:lnTo>
                      <a:pt x="8338635" y="5092338"/>
                    </a:lnTo>
                    <a:lnTo>
                      <a:pt x="8313489" y="5102791"/>
                    </a:lnTo>
                    <a:lnTo>
                      <a:pt x="8286688" y="5124257"/>
                    </a:lnTo>
                    <a:lnTo>
                      <a:pt x="8263105" y="5157687"/>
                    </a:lnTo>
                    <a:lnTo>
                      <a:pt x="8244117" y="5185761"/>
                    </a:lnTo>
                    <a:lnTo>
                      <a:pt x="8226384" y="5196953"/>
                    </a:lnTo>
                    <a:lnTo>
                      <a:pt x="8189717" y="5191202"/>
                    </a:lnTo>
                    <a:lnTo>
                      <a:pt x="8153583" y="5182207"/>
                    </a:lnTo>
                    <a:lnTo>
                      <a:pt x="8115067" y="5193399"/>
                    </a:lnTo>
                    <a:lnTo>
                      <a:pt x="8098364" y="5228529"/>
                    </a:lnTo>
                    <a:lnTo>
                      <a:pt x="8065935" y="5238818"/>
                    </a:lnTo>
                    <a:lnTo>
                      <a:pt x="8035072" y="5233588"/>
                    </a:lnTo>
                    <a:lnTo>
                      <a:pt x="8001068" y="5229769"/>
                    </a:lnTo>
                    <a:lnTo>
                      <a:pt x="7970719" y="5222495"/>
                    </a:lnTo>
                    <a:lnTo>
                      <a:pt x="7916639" y="5204762"/>
                    </a:lnTo>
                    <a:lnTo>
                      <a:pt x="7875506" y="5195291"/>
                    </a:lnTo>
                    <a:lnTo>
                      <a:pt x="7854937" y="5190556"/>
                    </a:lnTo>
                    <a:lnTo>
                      <a:pt x="7833828" y="5187707"/>
                    </a:lnTo>
                    <a:lnTo>
                      <a:pt x="7800209" y="5186533"/>
                    </a:lnTo>
                    <a:lnTo>
                      <a:pt x="7781655" y="5196650"/>
                    </a:lnTo>
                    <a:lnTo>
                      <a:pt x="7759371" y="5224388"/>
                    </a:lnTo>
                    <a:lnTo>
                      <a:pt x="7737168" y="5253412"/>
                    </a:lnTo>
                    <a:lnTo>
                      <a:pt x="7710924" y="5272821"/>
                    </a:lnTo>
                    <a:lnTo>
                      <a:pt x="7683372" y="5290179"/>
                    </a:lnTo>
                    <a:lnTo>
                      <a:pt x="7651412" y="5296272"/>
                    </a:lnTo>
                    <a:lnTo>
                      <a:pt x="7614344" y="5287784"/>
                    </a:lnTo>
                    <a:lnTo>
                      <a:pt x="7576390" y="5268785"/>
                    </a:lnTo>
                    <a:lnTo>
                      <a:pt x="7522325" y="5249462"/>
                    </a:lnTo>
                    <a:lnTo>
                      <a:pt x="7484898" y="5241218"/>
                    </a:lnTo>
                    <a:lnTo>
                      <a:pt x="7449762" y="5229294"/>
                    </a:lnTo>
                    <a:lnTo>
                      <a:pt x="7409380" y="5215583"/>
                    </a:lnTo>
                    <a:lnTo>
                      <a:pt x="7371618" y="5197415"/>
                    </a:lnTo>
                    <a:lnTo>
                      <a:pt x="7330064" y="5185768"/>
                    </a:lnTo>
                    <a:lnTo>
                      <a:pt x="7305709" y="5214904"/>
                    </a:lnTo>
                    <a:lnTo>
                      <a:pt x="7265525" y="5243988"/>
                    </a:lnTo>
                    <a:lnTo>
                      <a:pt x="7245511" y="5250708"/>
                    </a:lnTo>
                    <a:lnTo>
                      <a:pt x="7213314" y="5248690"/>
                    </a:lnTo>
                    <a:lnTo>
                      <a:pt x="7191325" y="5229294"/>
                    </a:lnTo>
                    <a:lnTo>
                      <a:pt x="7172498" y="5205058"/>
                    </a:lnTo>
                    <a:lnTo>
                      <a:pt x="7153023" y="5185524"/>
                    </a:lnTo>
                    <a:lnTo>
                      <a:pt x="7127394" y="5181686"/>
                    </a:lnTo>
                    <a:lnTo>
                      <a:pt x="7085676" y="5200943"/>
                    </a:lnTo>
                    <a:lnTo>
                      <a:pt x="7055352" y="5187944"/>
                    </a:lnTo>
                    <a:lnTo>
                      <a:pt x="7037170" y="5173535"/>
                    </a:lnTo>
                    <a:lnTo>
                      <a:pt x="7021304" y="5157206"/>
                    </a:lnTo>
                    <a:lnTo>
                      <a:pt x="7005429" y="5140870"/>
                    </a:lnTo>
                    <a:lnTo>
                      <a:pt x="6992608" y="5121890"/>
                    </a:lnTo>
                    <a:lnTo>
                      <a:pt x="6991653" y="5085644"/>
                    </a:lnTo>
                    <a:lnTo>
                      <a:pt x="7010719" y="4994233"/>
                    </a:lnTo>
                    <a:lnTo>
                      <a:pt x="6998180" y="4976300"/>
                    </a:lnTo>
                    <a:lnTo>
                      <a:pt x="6958862" y="4957571"/>
                    </a:lnTo>
                    <a:lnTo>
                      <a:pt x="6912759" y="4967562"/>
                    </a:lnTo>
                    <a:lnTo>
                      <a:pt x="6890723" y="4984459"/>
                    </a:lnTo>
                    <a:lnTo>
                      <a:pt x="6858186" y="4982289"/>
                    </a:lnTo>
                    <a:lnTo>
                      <a:pt x="6802946" y="4923463"/>
                    </a:lnTo>
                    <a:lnTo>
                      <a:pt x="6754235" y="4872583"/>
                    </a:lnTo>
                    <a:lnTo>
                      <a:pt x="6701656" y="4825317"/>
                    </a:lnTo>
                    <a:lnTo>
                      <a:pt x="6712195" y="4733569"/>
                    </a:lnTo>
                    <a:lnTo>
                      <a:pt x="6737018" y="4715143"/>
                    </a:lnTo>
                    <a:lnTo>
                      <a:pt x="6781697" y="4728577"/>
                    </a:lnTo>
                    <a:lnTo>
                      <a:pt x="6807686" y="4709023"/>
                    </a:lnTo>
                    <a:lnTo>
                      <a:pt x="6818101" y="4689983"/>
                    </a:lnTo>
                    <a:lnTo>
                      <a:pt x="6847606" y="4627009"/>
                    </a:lnTo>
                    <a:lnTo>
                      <a:pt x="6853141" y="4595359"/>
                    </a:lnTo>
                    <a:lnTo>
                      <a:pt x="6849913" y="4562800"/>
                    </a:lnTo>
                    <a:lnTo>
                      <a:pt x="6846698" y="4530248"/>
                    </a:lnTo>
                    <a:lnTo>
                      <a:pt x="6835551" y="4496910"/>
                    </a:lnTo>
                    <a:lnTo>
                      <a:pt x="6822712" y="4447185"/>
                    </a:lnTo>
                    <a:lnTo>
                      <a:pt x="6812567" y="4407913"/>
                    </a:lnTo>
                    <a:lnTo>
                      <a:pt x="6782606" y="4357198"/>
                    </a:lnTo>
                    <a:lnTo>
                      <a:pt x="6751981" y="4330211"/>
                    </a:lnTo>
                    <a:lnTo>
                      <a:pt x="6728773" y="4309721"/>
                    </a:lnTo>
                    <a:lnTo>
                      <a:pt x="6643020" y="4248448"/>
                    </a:lnTo>
                    <a:lnTo>
                      <a:pt x="6628200" y="4225471"/>
                    </a:lnTo>
                    <a:lnTo>
                      <a:pt x="6649160" y="4152934"/>
                    </a:lnTo>
                    <a:lnTo>
                      <a:pt x="6623834" y="4130524"/>
                    </a:lnTo>
                    <a:lnTo>
                      <a:pt x="6602381" y="4128796"/>
                    </a:lnTo>
                    <a:lnTo>
                      <a:pt x="6580599" y="4130261"/>
                    </a:lnTo>
                    <a:lnTo>
                      <a:pt x="6558809" y="4131725"/>
                    </a:lnTo>
                    <a:lnTo>
                      <a:pt x="6536531" y="4135279"/>
                    </a:lnTo>
                    <a:lnTo>
                      <a:pt x="6496803" y="4136163"/>
                    </a:lnTo>
                    <a:lnTo>
                      <a:pt x="6470423" y="4120737"/>
                    </a:lnTo>
                    <a:lnTo>
                      <a:pt x="6458315" y="4086959"/>
                    </a:lnTo>
                    <a:lnTo>
                      <a:pt x="6467707" y="4050007"/>
                    </a:lnTo>
                    <a:lnTo>
                      <a:pt x="6473254" y="4028132"/>
                    </a:lnTo>
                    <a:lnTo>
                      <a:pt x="6500794" y="4001297"/>
                    </a:lnTo>
                    <a:lnTo>
                      <a:pt x="6433697" y="3961596"/>
                    </a:lnTo>
                    <a:lnTo>
                      <a:pt x="6421307" y="3939536"/>
                    </a:lnTo>
                    <a:lnTo>
                      <a:pt x="6424516" y="3917898"/>
                    </a:lnTo>
                    <a:lnTo>
                      <a:pt x="6426897" y="3890865"/>
                    </a:lnTo>
                    <a:lnTo>
                      <a:pt x="6363540" y="3865171"/>
                    </a:lnTo>
                    <a:lnTo>
                      <a:pt x="6319059" y="3880089"/>
                    </a:lnTo>
                    <a:lnTo>
                      <a:pt x="6301060" y="3907775"/>
                    </a:lnTo>
                    <a:lnTo>
                      <a:pt x="6277278" y="3920786"/>
                    </a:lnTo>
                    <a:lnTo>
                      <a:pt x="6254796" y="3933086"/>
                    </a:lnTo>
                    <a:lnTo>
                      <a:pt x="6227396" y="3937366"/>
                    </a:lnTo>
                    <a:lnTo>
                      <a:pt x="6198384" y="3938474"/>
                    </a:lnTo>
                    <a:lnTo>
                      <a:pt x="6169375" y="3939582"/>
                    </a:lnTo>
                    <a:lnTo>
                      <a:pt x="6139426" y="3937069"/>
                    </a:lnTo>
                    <a:lnTo>
                      <a:pt x="6108616" y="3933027"/>
                    </a:lnTo>
                    <a:lnTo>
                      <a:pt x="6046979" y="3924961"/>
                    </a:lnTo>
                    <a:lnTo>
                      <a:pt x="5985823" y="3913110"/>
                    </a:lnTo>
                    <a:lnTo>
                      <a:pt x="5945392" y="3920786"/>
                    </a:lnTo>
                    <a:lnTo>
                      <a:pt x="5918386" y="3925917"/>
                    </a:lnTo>
                    <a:lnTo>
                      <a:pt x="5896682" y="3944482"/>
                    </a:lnTo>
                    <a:lnTo>
                      <a:pt x="5874655" y="3965671"/>
                    </a:lnTo>
                    <a:lnTo>
                      <a:pt x="5852635" y="3986868"/>
                    </a:lnTo>
                    <a:lnTo>
                      <a:pt x="5830568" y="4010550"/>
                    </a:lnTo>
                    <a:lnTo>
                      <a:pt x="5802566" y="4021445"/>
                    </a:lnTo>
                    <a:lnTo>
                      <a:pt x="5784871" y="4007259"/>
                    </a:lnTo>
                    <a:lnTo>
                      <a:pt x="5743454" y="3978209"/>
                    </a:lnTo>
                    <a:lnTo>
                      <a:pt x="5700554" y="3958872"/>
                    </a:lnTo>
                    <a:lnTo>
                      <a:pt x="5679101" y="3949204"/>
                    </a:lnTo>
                    <a:lnTo>
                      <a:pt x="5657074" y="3941910"/>
                    </a:lnTo>
                    <a:lnTo>
                      <a:pt x="5618891" y="3937755"/>
                    </a:lnTo>
                    <a:lnTo>
                      <a:pt x="5591733" y="3952073"/>
                    </a:lnTo>
                    <a:lnTo>
                      <a:pt x="5577067" y="3992698"/>
                    </a:lnTo>
                    <a:lnTo>
                      <a:pt x="5563170" y="4013280"/>
                    </a:lnTo>
                    <a:lnTo>
                      <a:pt x="5549273" y="4033863"/>
                    </a:lnTo>
                    <a:lnTo>
                      <a:pt x="5532208" y="4050423"/>
                    </a:lnTo>
                    <a:lnTo>
                      <a:pt x="5496259" y="4048398"/>
                    </a:lnTo>
                    <a:lnTo>
                      <a:pt x="5473399" y="4029602"/>
                    </a:lnTo>
                    <a:lnTo>
                      <a:pt x="5455930" y="4004548"/>
                    </a:lnTo>
                    <a:lnTo>
                      <a:pt x="5439178" y="3975768"/>
                    </a:lnTo>
                    <a:lnTo>
                      <a:pt x="5418993" y="3947990"/>
                    </a:lnTo>
                    <a:lnTo>
                      <a:pt x="5393128" y="3922699"/>
                    </a:lnTo>
                    <a:lnTo>
                      <a:pt x="5353220" y="3907273"/>
                    </a:lnTo>
                    <a:lnTo>
                      <a:pt x="5316974" y="3911270"/>
                    </a:lnTo>
                    <a:lnTo>
                      <a:pt x="5282530" y="3923787"/>
                    </a:lnTo>
                    <a:lnTo>
                      <a:pt x="5250761" y="3939562"/>
                    </a:lnTo>
                    <a:lnTo>
                      <a:pt x="5220400" y="3950721"/>
                    </a:lnTo>
                    <a:lnTo>
                      <a:pt x="5187385" y="3954164"/>
                    </a:lnTo>
                    <a:lnTo>
                      <a:pt x="5166097" y="3942095"/>
                    </a:lnTo>
                    <a:lnTo>
                      <a:pt x="5153942" y="3921492"/>
                    </a:lnTo>
                    <a:lnTo>
                      <a:pt x="5149980" y="3898179"/>
                    </a:lnTo>
                    <a:lnTo>
                      <a:pt x="5162627" y="3871925"/>
                    </a:lnTo>
                    <a:lnTo>
                      <a:pt x="5178232" y="3845980"/>
                    </a:lnTo>
                    <a:lnTo>
                      <a:pt x="5193841" y="3820043"/>
                    </a:lnTo>
                    <a:lnTo>
                      <a:pt x="5212268" y="3795628"/>
                    </a:lnTo>
                    <a:lnTo>
                      <a:pt x="5232626" y="3758235"/>
                    </a:lnTo>
                    <a:lnTo>
                      <a:pt x="5243059" y="3730873"/>
                    </a:lnTo>
                    <a:lnTo>
                      <a:pt x="5253043" y="3707244"/>
                    </a:lnTo>
                    <a:lnTo>
                      <a:pt x="5276654" y="3651305"/>
                    </a:lnTo>
                    <a:lnTo>
                      <a:pt x="5287754" y="3596792"/>
                    </a:lnTo>
                    <a:lnTo>
                      <a:pt x="5296572" y="3537214"/>
                    </a:lnTo>
                    <a:lnTo>
                      <a:pt x="5310448" y="3480260"/>
                    </a:lnTo>
                    <a:lnTo>
                      <a:pt x="5299078" y="3438218"/>
                    </a:lnTo>
                    <a:lnTo>
                      <a:pt x="5255769" y="3412076"/>
                    </a:lnTo>
                    <a:lnTo>
                      <a:pt x="5218047" y="3385854"/>
                    </a:lnTo>
                    <a:lnTo>
                      <a:pt x="5177063" y="3352293"/>
                    </a:lnTo>
                    <a:lnTo>
                      <a:pt x="5134706" y="3333187"/>
                    </a:lnTo>
                    <a:lnTo>
                      <a:pt x="5102200" y="3318520"/>
                    </a:lnTo>
                    <a:lnTo>
                      <a:pt x="5042786" y="3305040"/>
                    </a:lnTo>
                    <a:lnTo>
                      <a:pt x="4987804" y="3288303"/>
                    </a:lnTo>
                    <a:lnTo>
                      <a:pt x="4960317" y="3279926"/>
                    </a:lnTo>
                    <a:lnTo>
                      <a:pt x="4934808" y="3270331"/>
                    </a:lnTo>
                    <a:lnTo>
                      <a:pt x="4912999" y="3259740"/>
                    </a:lnTo>
                    <a:lnTo>
                      <a:pt x="4891189" y="3249141"/>
                    </a:lnTo>
                    <a:lnTo>
                      <a:pt x="4865389" y="3224372"/>
                    </a:lnTo>
                    <a:lnTo>
                      <a:pt x="4851744" y="3202258"/>
                    </a:lnTo>
                    <a:lnTo>
                      <a:pt x="4849549" y="3172093"/>
                    </a:lnTo>
                    <a:lnTo>
                      <a:pt x="4853148" y="3138677"/>
                    </a:lnTo>
                    <a:lnTo>
                      <a:pt x="4856751" y="3105261"/>
                    </a:lnTo>
                    <a:lnTo>
                      <a:pt x="4865746" y="3068363"/>
                    </a:lnTo>
                    <a:lnTo>
                      <a:pt x="4874911" y="3028503"/>
                    </a:lnTo>
                    <a:lnTo>
                      <a:pt x="4884074" y="2988643"/>
                    </a:lnTo>
                    <a:lnTo>
                      <a:pt x="4893630" y="2946165"/>
                    </a:lnTo>
                    <a:lnTo>
                      <a:pt x="4896674" y="2904723"/>
                    </a:lnTo>
                    <a:lnTo>
                      <a:pt x="4899722" y="2863287"/>
                    </a:lnTo>
                    <a:lnTo>
                      <a:pt x="4896479" y="2823190"/>
                    </a:lnTo>
                    <a:lnTo>
                      <a:pt x="4881711" y="2785026"/>
                    </a:lnTo>
                    <a:lnTo>
                      <a:pt x="4871253" y="2757973"/>
                    </a:lnTo>
                    <a:lnTo>
                      <a:pt x="4857588" y="2739270"/>
                    </a:lnTo>
                    <a:lnTo>
                      <a:pt x="4842268" y="2723818"/>
                    </a:lnTo>
                    <a:lnTo>
                      <a:pt x="4826948" y="2708366"/>
                    </a:lnTo>
                    <a:lnTo>
                      <a:pt x="4809346" y="2695420"/>
                    </a:lnTo>
                    <a:lnTo>
                      <a:pt x="4790579" y="2676210"/>
                    </a:lnTo>
                    <a:lnTo>
                      <a:pt x="4771228" y="2650852"/>
                    </a:lnTo>
                    <a:lnTo>
                      <a:pt x="4747359" y="2628120"/>
                    </a:lnTo>
                    <a:lnTo>
                      <a:pt x="4715764" y="2623160"/>
                    </a:lnTo>
                    <a:lnTo>
                      <a:pt x="4684160" y="2628812"/>
                    </a:lnTo>
                    <a:lnTo>
                      <a:pt x="4651985" y="2649071"/>
                    </a:lnTo>
                    <a:lnTo>
                      <a:pt x="4619197" y="2642206"/>
                    </a:lnTo>
                    <a:lnTo>
                      <a:pt x="4589372" y="2625864"/>
                    </a:lnTo>
                    <a:lnTo>
                      <a:pt x="4567398" y="2595976"/>
                    </a:lnTo>
                    <a:lnTo>
                      <a:pt x="4544383" y="2568759"/>
                    </a:lnTo>
                    <a:lnTo>
                      <a:pt x="4500857" y="2560469"/>
                    </a:lnTo>
                    <a:lnTo>
                      <a:pt x="4445090" y="2635407"/>
                    </a:lnTo>
                    <a:lnTo>
                      <a:pt x="4396162" y="2627097"/>
                    </a:lnTo>
                    <a:lnTo>
                      <a:pt x="4366629" y="2589717"/>
                    </a:lnTo>
                    <a:lnTo>
                      <a:pt x="4358425" y="2529928"/>
                    </a:lnTo>
                    <a:lnTo>
                      <a:pt x="4353954" y="2468107"/>
                    </a:lnTo>
                    <a:lnTo>
                      <a:pt x="4349483" y="2406280"/>
                    </a:lnTo>
                    <a:lnTo>
                      <a:pt x="4349399" y="2342198"/>
                    </a:lnTo>
                    <a:lnTo>
                      <a:pt x="4351238" y="2304884"/>
                    </a:lnTo>
                    <a:lnTo>
                      <a:pt x="4353539" y="2258290"/>
                    </a:lnTo>
                    <a:lnTo>
                      <a:pt x="4353356" y="2209528"/>
                    </a:lnTo>
                    <a:lnTo>
                      <a:pt x="4355312" y="2160699"/>
                    </a:lnTo>
                    <a:lnTo>
                      <a:pt x="4357278" y="2111871"/>
                    </a:lnTo>
                    <a:lnTo>
                      <a:pt x="4361327" y="2063583"/>
                    </a:lnTo>
                    <a:lnTo>
                      <a:pt x="4371637" y="2017880"/>
                    </a:lnTo>
                    <a:lnTo>
                      <a:pt x="4392125" y="1927022"/>
                    </a:lnTo>
                    <a:lnTo>
                      <a:pt x="4414983" y="1866079"/>
                    </a:lnTo>
                    <a:lnTo>
                      <a:pt x="4426043" y="1805689"/>
                    </a:lnTo>
                    <a:lnTo>
                      <a:pt x="4431571" y="1775491"/>
                    </a:lnTo>
                    <a:lnTo>
                      <a:pt x="4433642" y="1745312"/>
                    </a:lnTo>
                    <a:lnTo>
                      <a:pt x="4431484" y="1711834"/>
                    </a:lnTo>
                    <a:lnTo>
                      <a:pt x="4429329" y="1678353"/>
                    </a:lnTo>
                    <a:lnTo>
                      <a:pt x="4423116" y="1641609"/>
                    </a:lnTo>
                    <a:lnTo>
                      <a:pt x="4409721" y="1597577"/>
                    </a:lnTo>
                    <a:lnTo>
                      <a:pt x="4399843" y="1560400"/>
                    </a:lnTo>
                    <a:lnTo>
                      <a:pt x="4393400" y="1540448"/>
                    </a:lnTo>
                    <a:lnTo>
                      <a:pt x="4386957" y="1520498"/>
                    </a:lnTo>
                    <a:lnTo>
                      <a:pt x="4367553" y="1488761"/>
                    </a:lnTo>
                    <a:lnTo>
                      <a:pt x="4372877" y="1468337"/>
                    </a:lnTo>
                    <a:lnTo>
                      <a:pt x="4394758" y="1457476"/>
                    </a:lnTo>
                    <a:lnTo>
                      <a:pt x="4421355" y="1456922"/>
                    </a:lnTo>
                    <a:lnTo>
                      <a:pt x="4452497" y="1463474"/>
                    </a:lnTo>
                    <a:lnTo>
                      <a:pt x="4484535" y="1465638"/>
                    </a:lnTo>
                    <a:lnTo>
                      <a:pt x="4514977" y="1457306"/>
                    </a:lnTo>
                    <a:lnTo>
                      <a:pt x="4526703" y="1439794"/>
                    </a:lnTo>
                    <a:lnTo>
                      <a:pt x="4528061" y="1418031"/>
                    </a:lnTo>
                    <a:lnTo>
                      <a:pt x="4515814" y="1397628"/>
                    </a:lnTo>
                    <a:lnTo>
                      <a:pt x="4506292" y="1371784"/>
                    </a:lnTo>
                    <a:lnTo>
                      <a:pt x="4499492" y="1345940"/>
                    </a:lnTo>
                    <a:lnTo>
                      <a:pt x="4498131" y="1324177"/>
                    </a:lnTo>
                    <a:lnTo>
                      <a:pt x="4468679" y="1304917"/>
                    </a:lnTo>
                    <a:lnTo>
                      <a:pt x="4454825" y="1270034"/>
                    </a:lnTo>
                    <a:lnTo>
                      <a:pt x="4428762" y="1260247"/>
                    </a:lnTo>
                    <a:lnTo>
                      <a:pt x="4375546" y="1240313"/>
                    </a:lnTo>
                    <a:lnTo>
                      <a:pt x="4297331" y="1273127"/>
                    </a:lnTo>
                    <a:lnTo>
                      <a:pt x="4253297" y="1235764"/>
                    </a:lnTo>
                    <a:lnTo>
                      <a:pt x="4216490" y="1204501"/>
                    </a:lnTo>
                    <a:lnTo>
                      <a:pt x="4255145" y="1128053"/>
                    </a:lnTo>
                    <a:lnTo>
                      <a:pt x="4183924" y="1092943"/>
                    </a:lnTo>
                    <a:lnTo>
                      <a:pt x="4126247" y="1064507"/>
                    </a:lnTo>
                    <a:lnTo>
                      <a:pt x="4063463" y="1099701"/>
                    </a:lnTo>
                    <a:lnTo>
                      <a:pt x="4005743" y="1084782"/>
                    </a:lnTo>
                    <a:lnTo>
                      <a:pt x="3979602" y="1078023"/>
                    </a:lnTo>
                    <a:lnTo>
                      <a:pt x="3953374" y="1066228"/>
                    </a:lnTo>
                    <a:lnTo>
                      <a:pt x="3930932" y="1050777"/>
                    </a:lnTo>
                    <a:lnTo>
                      <a:pt x="3757590" y="858011"/>
                    </a:lnTo>
                    <a:lnTo>
                      <a:pt x="3746958" y="816610"/>
                    </a:lnTo>
                    <a:lnTo>
                      <a:pt x="3775484" y="805261"/>
                    </a:lnTo>
                    <a:lnTo>
                      <a:pt x="3792187" y="792339"/>
                    </a:lnTo>
                    <a:lnTo>
                      <a:pt x="3796521" y="552370"/>
                    </a:lnTo>
                    <a:lnTo>
                      <a:pt x="3790829" y="524379"/>
                    </a:lnTo>
                    <a:lnTo>
                      <a:pt x="3752388" y="486592"/>
                    </a:lnTo>
                    <a:lnTo>
                      <a:pt x="3666225" y="457114"/>
                    </a:lnTo>
                    <a:lnTo>
                      <a:pt x="3616731" y="433247"/>
                    </a:lnTo>
                    <a:lnTo>
                      <a:pt x="3569946" y="410697"/>
                    </a:lnTo>
                    <a:lnTo>
                      <a:pt x="3497923" y="348404"/>
                    </a:lnTo>
                    <a:lnTo>
                      <a:pt x="3463022" y="306749"/>
                    </a:lnTo>
                    <a:lnTo>
                      <a:pt x="3438267" y="281946"/>
                    </a:lnTo>
                    <a:lnTo>
                      <a:pt x="3404920" y="229132"/>
                    </a:lnTo>
                    <a:lnTo>
                      <a:pt x="3380389" y="182779"/>
                    </a:lnTo>
                    <a:lnTo>
                      <a:pt x="3348766" y="150325"/>
                    </a:lnTo>
                    <a:lnTo>
                      <a:pt x="3273657" y="73241"/>
                    </a:lnTo>
                    <a:lnTo>
                      <a:pt x="3154216" y="52795"/>
                    </a:lnTo>
                    <a:lnTo>
                      <a:pt x="3050880" y="63273"/>
                    </a:lnTo>
                    <a:lnTo>
                      <a:pt x="2995668" y="68862"/>
                    </a:lnTo>
                    <a:lnTo>
                      <a:pt x="2940264" y="82252"/>
                    </a:lnTo>
                    <a:lnTo>
                      <a:pt x="2884940" y="83676"/>
                    </a:lnTo>
                    <a:lnTo>
                      <a:pt x="2782503" y="86331"/>
                    </a:lnTo>
                    <a:lnTo>
                      <a:pt x="2675684" y="67013"/>
                    </a:lnTo>
                    <a:lnTo>
                      <a:pt x="2572097" y="90476"/>
                    </a:lnTo>
                    <a:lnTo>
                      <a:pt x="2450631" y="98064"/>
                    </a:lnTo>
                    <a:lnTo>
                      <a:pt x="2413589" y="171557"/>
                    </a:lnTo>
                    <a:lnTo>
                      <a:pt x="2339503" y="250980"/>
                    </a:lnTo>
                    <a:lnTo>
                      <a:pt x="2280121" y="235359"/>
                    </a:lnTo>
                    <a:lnTo>
                      <a:pt x="2302135" y="196083"/>
                    </a:lnTo>
                    <a:lnTo>
                      <a:pt x="2261967" y="169368"/>
                    </a:lnTo>
                    <a:lnTo>
                      <a:pt x="2154984" y="168689"/>
                    </a:lnTo>
                    <a:lnTo>
                      <a:pt x="2145013" y="318437"/>
                    </a:lnTo>
                    <a:lnTo>
                      <a:pt x="2086502" y="348914"/>
                    </a:lnTo>
                    <a:lnTo>
                      <a:pt x="2025907" y="380454"/>
                    </a:lnTo>
                    <a:lnTo>
                      <a:pt x="2014968" y="329192"/>
                    </a:lnTo>
                    <a:lnTo>
                      <a:pt x="1943683" y="323070"/>
                    </a:lnTo>
                    <a:lnTo>
                      <a:pt x="1921814" y="321198"/>
                    </a:lnTo>
                    <a:lnTo>
                      <a:pt x="1896120" y="318204"/>
                    </a:lnTo>
                    <a:lnTo>
                      <a:pt x="1874310" y="320350"/>
                    </a:lnTo>
                    <a:lnTo>
                      <a:pt x="1789810" y="328703"/>
                    </a:lnTo>
                    <a:lnTo>
                      <a:pt x="1692746" y="372463"/>
                    </a:lnTo>
                    <a:lnTo>
                      <a:pt x="1651238" y="261862"/>
                    </a:lnTo>
                    <a:lnTo>
                      <a:pt x="1640020" y="231980"/>
                    </a:lnTo>
                    <a:lnTo>
                      <a:pt x="1642994" y="198102"/>
                    </a:lnTo>
                    <a:lnTo>
                      <a:pt x="1632198" y="169368"/>
                    </a:lnTo>
                    <a:lnTo>
                      <a:pt x="1583673" y="61572"/>
                    </a:lnTo>
                    <a:lnTo>
                      <a:pt x="1528117" y="0"/>
                    </a:lnTo>
                    <a:lnTo>
                      <a:pt x="1407061" y="37577"/>
                    </a:lnTo>
                    <a:lnTo>
                      <a:pt x="1341112" y="53754"/>
                    </a:lnTo>
                    <a:lnTo>
                      <a:pt x="1320716" y="58748"/>
                    </a:lnTo>
                    <a:lnTo>
                      <a:pt x="1260630" y="67887"/>
                    </a:lnTo>
                    <a:lnTo>
                      <a:pt x="1232278" y="87823"/>
                    </a:lnTo>
                    <a:lnTo>
                      <a:pt x="1208831" y="120339"/>
                    </a:lnTo>
                    <a:lnTo>
                      <a:pt x="1180613" y="174535"/>
                    </a:lnTo>
                    <a:lnTo>
                      <a:pt x="1187260" y="247220"/>
                    </a:lnTo>
                    <a:lnTo>
                      <a:pt x="1150686" y="272745"/>
                    </a:lnTo>
                    <a:lnTo>
                      <a:pt x="1071730" y="327812"/>
                    </a:lnTo>
                    <a:lnTo>
                      <a:pt x="961386" y="220548"/>
                    </a:lnTo>
                    <a:lnTo>
                      <a:pt x="903132" y="270025"/>
                    </a:lnTo>
                    <a:lnTo>
                      <a:pt x="885828" y="289387"/>
                    </a:lnTo>
                    <a:lnTo>
                      <a:pt x="869512" y="328152"/>
                    </a:lnTo>
                    <a:lnTo>
                      <a:pt x="870337" y="359564"/>
                    </a:lnTo>
                    <a:lnTo>
                      <a:pt x="862322" y="388362"/>
                    </a:lnTo>
                    <a:lnTo>
                      <a:pt x="850723" y="429912"/>
                    </a:lnTo>
                    <a:lnTo>
                      <a:pt x="798565" y="589034"/>
                    </a:lnTo>
                    <a:lnTo>
                      <a:pt x="760313" y="603274"/>
                    </a:lnTo>
                    <a:lnTo>
                      <a:pt x="708747" y="622465"/>
                    </a:lnTo>
                    <a:lnTo>
                      <a:pt x="633981" y="529484"/>
                    </a:lnTo>
                    <a:lnTo>
                      <a:pt x="546757" y="532543"/>
                    </a:lnTo>
                    <a:lnTo>
                      <a:pt x="383058" y="538288"/>
                    </a:lnTo>
                    <a:lnTo>
                      <a:pt x="357621" y="644544"/>
                    </a:lnTo>
                    <a:lnTo>
                      <a:pt x="301921" y="679445"/>
                    </a:lnTo>
                    <a:lnTo>
                      <a:pt x="316213" y="703213"/>
                    </a:lnTo>
                    <a:lnTo>
                      <a:pt x="339314" y="746707"/>
                    </a:lnTo>
                    <a:lnTo>
                      <a:pt x="365852" y="754256"/>
                    </a:lnTo>
                    <a:lnTo>
                      <a:pt x="400429" y="731833"/>
                    </a:lnTo>
                    <a:lnTo>
                      <a:pt x="422977" y="718890"/>
                    </a:lnTo>
                    <a:lnTo>
                      <a:pt x="439715" y="732896"/>
                    </a:lnTo>
                    <a:lnTo>
                      <a:pt x="445214" y="767324"/>
                    </a:lnTo>
                    <a:lnTo>
                      <a:pt x="444746" y="803223"/>
                    </a:lnTo>
                    <a:lnTo>
                      <a:pt x="444278" y="839123"/>
                    </a:lnTo>
                    <a:lnTo>
                      <a:pt x="438449" y="875409"/>
                    </a:lnTo>
                    <a:lnTo>
                      <a:pt x="432460" y="931889"/>
                    </a:lnTo>
                    <a:lnTo>
                      <a:pt x="438218" y="965958"/>
                    </a:lnTo>
                    <a:lnTo>
                      <a:pt x="439300" y="1004533"/>
                    </a:lnTo>
                    <a:lnTo>
                      <a:pt x="440123" y="1033543"/>
                    </a:lnTo>
                    <a:lnTo>
                      <a:pt x="422535" y="1075202"/>
                    </a:lnTo>
                    <a:lnTo>
                      <a:pt x="410737" y="1099746"/>
                    </a:lnTo>
                    <a:lnTo>
                      <a:pt x="382813" y="1157813"/>
                    </a:lnTo>
                    <a:lnTo>
                      <a:pt x="358874" y="1193722"/>
                    </a:lnTo>
                    <a:lnTo>
                      <a:pt x="329125" y="1223524"/>
                    </a:lnTo>
                    <a:lnTo>
                      <a:pt x="299369" y="1253327"/>
                    </a:lnTo>
                    <a:lnTo>
                      <a:pt x="263077" y="1277780"/>
                    </a:lnTo>
                    <a:lnTo>
                      <a:pt x="210787" y="1314658"/>
                    </a:lnTo>
                    <a:lnTo>
                      <a:pt x="177066" y="1338438"/>
                    </a:lnTo>
                    <a:lnTo>
                      <a:pt x="148305" y="1355660"/>
                    </a:lnTo>
                    <a:lnTo>
                      <a:pt x="116934" y="1366346"/>
                    </a:lnTo>
                    <a:lnTo>
                      <a:pt x="85562" y="1377030"/>
                    </a:lnTo>
                    <a:lnTo>
                      <a:pt x="51434" y="1381052"/>
                    </a:lnTo>
                    <a:lnTo>
                      <a:pt x="9477" y="1375867"/>
                    </a:lnTo>
                    <a:lnTo>
                      <a:pt x="0" y="1411821"/>
                    </a:lnTo>
                    <a:lnTo>
                      <a:pt x="33858" y="1475643"/>
                    </a:lnTo>
                    <a:lnTo>
                      <a:pt x="40763" y="1509160"/>
                    </a:lnTo>
                    <a:lnTo>
                      <a:pt x="54289" y="1553005"/>
                    </a:lnTo>
                    <a:lnTo>
                      <a:pt x="75748" y="1600081"/>
                    </a:lnTo>
                    <a:lnTo>
                      <a:pt x="81571" y="1637019"/>
                    </a:lnTo>
                    <a:lnTo>
                      <a:pt x="88695" y="1682097"/>
                    </a:lnTo>
                    <a:lnTo>
                      <a:pt x="90007" y="1731443"/>
                    </a:lnTo>
                    <a:lnTo>
                      <a:pt x="93819" y="1777120"/>
                    </a:lnTo>
                    <a:lnTo>
                      <a:pt x="96628" y="1810839"/>
                    </a:lnTo>
                    <a:lnTo>
                      <a:pt x="105730" y="1862787"/>
                    </a:lnTo>
                    <a:lnTo>
                      <a:pt x="118299" y="1914498"/>
                    </a:lnTo>
                    <a:lnTo>
                      <a:pt x="130869" y="1966209"/>
                    </a:lnTo>
                    <a:lnTo>
                      <a:pt x="146209" y="2018137"/>
                    </a:lnTo>
                    <a:lnTo>
                      <a:pt x="163183" y="2049160"/>
                    </a:lnTo>
                    <a:lnTo>
                      <a:pt x="253324" y="1914841"/>
                    </a:lnTo>
                    <a:lnTo>
                      <a:pt x="265200" y="1895459"/>
                    </a:lnTo>
                    <a:lnTo>
                      <a:pt x="320737" y="1897338"/>
                    </a:lnTo>
                    <a:lnTo>
                      <a:pt x="380525" y="1931724"/>
                    </a:lnTo>
                    <a:lnTo>
                      <a:pt x="433865" y="1972988"/>
                    </a:lnTo>
                    <a:lnTo>
                      <a:pt x="460534" y="1993617"/>
                    </a:lnTo>
                    <a:lnTo>
                      <a:pt x="485939" y="2016020"/>
                    </a:lnTo>
                    <a:lnTo>
                      <a:pt x="505955" y="2038278"/>
                    </a:lnTo>
                    <a:lnTo>
                      <a:pt x="525977" y="2060536"/>
                    </a:lnTo>
                    <a:lnTo>
                      <a:pt x="540188" y="2082444"/>
                    </a:lnTo>
                    <a:lnTo>
                      <a:pt x="560322" y="2121545"/>
                    </a:lnTo>
                    <a:lnTo>
                      <a:pt x="563785" y="2151704"/>
                    </a:lnTo>
                    <a:lnTo>
                      <a:pt x="567162" y="2174298"/>
                    </a:lnTo>
                    <a:lnTo>
                      <a:pt x="622005" y="2196312"/>
                    </a:lnTo>
                    <a:lnTo>
                      <a:pt x="667615" y="2206586"/>
                    </a:lnTo>
                    <a:lnTo>
                      <a:pt x="704546" y="2225982"/>
                    </a:lnTo>
                    <a:lnTo>
                      <a:pt x="738834" y="2248484"/>
                    </a:lnTo>
                    <a:lnTo>
                      <a:pt x="765477" y="2279658"/>
                    </a:lnTo>
                    <a:lnTo>
                      <a:pt x="775258" y="2298539"/>
                    </a:lnTo>
                    <a:lnTo>
                      <a:pt x="780718" y="2322558"/>
                    </a:lnTo>
                    <a:lnTo>
                      <a:pt x="787517" y="2352485"/>
                    </a:lnTo>
                    <a:lnTo>
                      <a:pt x="786159" y="2382407"/>
                    </a:lnTo>
                    <a:lnTo>
                      <a:pt x="776634" y="2404117"/>
                    </a:lnTo>
                    <a:lnTo>
                      <a:pt x="760392" y="2423374"/>
                    </a:lnTo>
                    <a:lnTo>
                      <a:pt x="743998" y="2442255"/>
                    </a:lnTo>
                    <a:lnTo>
                      <a:pt x="727596" y="2461137"/>
                    </a:lnTo>
                    <a:lnTo>
                      <a:pt x="711009" y="2479595"/>
                    </a:lnTo>
                    <a:lnTo>
                      <a:pt x="700464" y="2502104"/>
                    </a:lnTo>
                    <a:lnTo>
                      <a:pt x="689846" y="2546910"/>
                    </a:lnTo>
                    <a:lnTo>
                      <a:pt x="688224" y="2578275"/>
                    </a:lnTo>
                    <a:lnTo>
                      <a:pt x="686601" y="2609647"/>
                    </a:lnTo>
                    <a:lnTo>
                      <a:pt x="687379" y="2641579"/>
                    </a:lnTo>
                    <a:lnTo>
                      <a:pt x="691818" y="2672958"/>
                    </a:lnTo>
                    <a:lnTo>
                      <a:pt x="700431" y="2708834"/>
                    </a:lnTo>
                    <a:lnTo>
                      <a:pt x="705905" y="2744223"/>
                    </a:lnTo>
                    <a:lnTo>
                      <a:pt x="711379" y="2779604"/>
                    </a:lnTo>
                    <a:lnTo>
                      <a:pt x="714075" y="2814973"/>
                    </a:lnTo>
                    <a:lnTo>
                      <a:pt x="682677" y="2835074"/>
                    </a:lnTo>
                    <a:lnTo>
                      <a:pt x="664074" y="2819741"/>
                    </a:lnTo>
                    <a:lnTo>
                      <a:pt x="647422" y="2802707"/>
                    </a:lnTo>
                    <a:lnTo>
                      <a:pt x="630763" y="2785678"/>
                    </a:lnTo>
                    <a:lnTo>
                      <a:pt x="615086" y="2766012"/>
                    </a:lnTo>
                    <a:lnTo>
                      <a:pt x="547937" y="2754927"/>
                    </a:lnTo>
                    <a:lnTo>
                      <a:pt x="490106" y="2756206"/>
                    </a:lnTo>
                    <a:lnTo>
                      <a:pt x="439306" y="2760539"/>
                    </a:lnTo>
                    <a:lnTo>
                      <a:pt x="437440" y="2822663"/>
                    </a:lnTo>
                    <a:lnTo>
                      <a:pt x="430449" y="2881898"/>
                    </a:lnTo>
                    <a:lnTo>
                      <a:pt x="437948" y="2918321"/>
                    </a:lnTo>
                    <a:lnTo>
                      <a:pt x="471845" y="2922991"/>
                    </a:lnTo>
                    <a:lnTo>
                      <a:pt x="507431" y="2916370"/>
                    </a:lnTo>
                    <a:lnTo>
                      <a:pt x="539964" y="2927845"/>
                    </a:lnTo>
                    <a:lnTo>
                      <a:pt x="562004" y="2969182"/>
                    </a:lnTo>
                    <a:lnTo>
                      <a:pt x="591675" y="3004735"/>
                    </a:lnTo>
                    <a:lnTo>
                      <a:pt x="617494" y="3043460"/>
                    </a:lnTo>
                    <a:lnTo>
                      <a:pt x="663869" y="3112957"/>
                    </a:lnTo>
                    <a:lnTo>
                      <a:pt x="704144" y="3184578"/>
                    </a:lnTo>
                    <a:lnTo>
                      <a:pt x="756237" y="3250210"/>
                    </a:lnTo>
                    <a:lnTo>
                      <a:pt x="784439" y="3285704"/>
                    </a:lnTo>
                    <a:lnTo>
                      <a:pt x="822266" y="3311866"/>
                    </a:lnTo>
                    <a:lnTo>
                      <a:pt x="847365" y="3349503"/>
                    </a:lnTo>
                    <a:lnTo>
                      <a:pt x="857510" y="3390992"/>
                    </a:lnTo>
                    <a:lnTo>
                      <a:pt x="850348" y="3430265"/>
                    </a:lnTo>
                    <a:lnTo>
                      <a:pt x="841418" y="3451137"/>
                    </a:lnTo>
                    <a:lnTo>
                      <a:pt x="836485" y="3471924"/>
                    </a:lnTo>
                    <a:lnTo>
                      <a:pt x="814449" y="3564800"/>
                    </a:lnTo>
                    <a:lnTo>
                      <a:pt x="779952" y="3723816"/>
                    </a:lnTo>
                    <a:lnTo>
                      <a:pt x="773918" y="3810612"/>
                    </a:lnTo>
                    <a:lnTo>
                      <a:pt x="788987" y="3826934"/>
                    </a:lnTo>
                    <a:lnTo>
                      <a:pt x="836076" y="3821645"/>
                    </a:lnTo>
                    <a:lnTo>
                      <a:pt x="893161" y="3808152"/>
                    </a:lnTo>
                    <a:lnTo>
                      <a:pt x="946664" y="3807888"/>
                    </a:lnTo>
                    <a:lnTo>
                      <a:pt x="973413" y="3807756"/>
                    </a:lnTo>
                    <a:lnTo>
                      <a:pt x="998621" y="3811311"/>
                    </a:lnTo>
                    <a:lnTo>
                      <a:pt x="1020114" y="3820135"/>
                    </a:lnTo>
                    <a:lnTo>
                      <a:pt x="1041610" y="3828953"/>
                    </a:lnTo>
                    <a:lnTo>
                      <a:pt x="1058744" y="3843455"/>
                    </a:lnTo>
                    <a:lnTo>
                      <a:pt x="1067720" y="3866378"/>
                    </a:lnTo>
                    <a:lnTo>
                      <a:pt x="1084526" y="3909311"/>
                    </a:lnTo>
                    <a:lnTo>
                      <a:pt x="1084808" y="3951795"/>
                    </a:lnTo>
                    <a:lnTo>
                      <a:pt x="1094925" y="3995599"/>
                    </a:lnTo>
                    <a:lnTo>
                      <a:pt x="1105845" y="4042845"/>
                    </a:lnTo>
                    <a:lnTo>
                      <a:pt x="1121199" y="4091661"/>
                    </a:lnTo>
                    <a:lnTo>
                      <a:pt x="1134371" y="4138418"/>
                    </a:lnTo>
                    <a:lnTo>
                      <a:pt x="1144981" y="4176082"/>
                    </a:lnTo>
                    <a:lnTo>
                      <a:pt x="1149768" y="4205376"/>
                    </a:lnTo>
                    <a:lnTo>
                      <a:pt x="1147976" y="4229553"/>
                    </a:lnTo>
                    <a:lnTo>
                      <a:pt x="1146168" y="4253731"/>
                    </a:lnTo>
                    <a:lnTo>
                      <a:pt x="1123488" y="4288043"/>
                    </a:lnTo>
                    <a:lnTo>
                      <a:pt x="1095868" y="4320247"/>
                    </a:lnTo>
                    <a:lnTo>
                      <a:pt x="1044441" y="4341370"/>
                    </a:lnTo>
                    <a:lnTo>
                      <a:pt x="971147" y="4373731"/>
                    </a:lnTo>
                    <a:lnTo>
                      <a:pt x="923562" y="4464339"/>
                    </a:lnTo>
                    <a:lnTo>
                      <a:pt x="892342" y="4537509"/>
                    </a:lnTo>
                    <a:lnTo>
                      <a:pt x="836866" y="4585902"/>
                    </a:lnTo>
                    <a:lnTo>
                      <a:pt x="803845" y="4643054"/>
                    </a:lnTo>
                    <a:lnTo>
                      <a:pt x="777828" y="4688044"/>
                    </a:lnTo>
                    <a:lnTo>
                      <a:pt x="759508" y="4738350"/>
                    </a:lnTo>
                    <a:lnTo>
                      <a:pt x="734474" y="4784514"/>
                    </a:lnTo>
                    <a:lnTo>
                      <a:pt x="742283" y="4807253"/>
                    </a:lnTo>
                    <a:lnTo>
                      <a:pt x="764745" y="4829781"/>
                    </a:lnTo>
                    <a:lnTo>
                      <a:pt x="795681" y="4852521"/>
                    </a:lnTo>
                    <a:lnTo>
                      <a:pt x="827403" y="4874271"/>
                    </a:lnTo>
                    <a:lnTo>
                      <a:pt x="862573" y="4893712"/>
                    </a:lnTo>
                    <a:lnTo>
                      <a:pt x="875934" y="4912369"/>
                    </a:lnTo>
                    <a:lnTo>
                      <a:pt x="865680" y="4942139"/>
                    </a:lnTo>
                    <a:lnTo>
                      <a:pt x="855371" y="4982091"/>
                    </a:lnTo>
                    <a:lnTo>
                      <a:pt x="843291" y="5019827"/>
                    </a:lnTo>
                    <a:lnTo>
                      <a:pt x="831202" y="5057570"/>
                    </a:lnTo>
                    <a:lnTo>
                      <a:pt x="818083" y="5093967"/>
                    </a:lnTo>
                    <a:lnTo>
                      <a:pt x="799765" y="5119120"/>
                    </a:lnTo>
                    <a:lnTo>
                      <a:pt x="774157" y="5126994"/>
                    </a:lnTo>
                    <a:lnTo>
                      <a:pt x="743753" y="5122127"/>
                    </a:lnTo>
                    <a:lnTo>
                      <a:pt x="718145" y="5128636"/>
                    </a:lnTo>
                    <a:lnTo>
                      <a:pt x="709671" y="5197949"/>
                    </a:lnTo>
                    <a:lnTo>
                      <a:pt x="801123" y="5240176"/>
                    </a:lnTo>
                    <a:lnTo>
                      <a:pt x="821218" y="5275953"/>
                    </a:lnTo>
                    <a:lnTo>
                      <a:pt x="825661" y="5300038"/>
                    </a:lnTo>
                    <a:lnTo>
                      <a:pt x="821528" y="5324505"/>
                    </a:lnTo>
                    <a:lnTo>
                      <a:pt x="817392" y="5348978"/>
                    </a:lnTo>
                    <a:lnTo>
                      <a:pt x="804518" y="5373136"/>
                    </a:lnTo>
                    <a:lnTo>
                      <a:pt x="790240" y="5408841"/>
                    </a:lnTo>
                    <a:lnTo>
                      <a:pt x="781884" y="5429733"/>
                    </a:lnTo>
                    <a:lnTo>
                      <a:pt x="773918" y="5453725"/>
                    </a:lnTo>
                    <a:lnTo>
                      <a:pt x="760398" y="5472086"/>
                    </a:lnTo>
                    <a:lnTo>
                      <a:pt x="741274" y="5486370"/>
                    </a:lnTo>
                    <a:lnTo>
                      <a:pt x="720295" y="5490703"/>
                    </a:lnTo>
                    <a:lnTo>
                      <a:pt x="655434" y="5471176"/>
                    </a:lnTo>
                    <a:lnTo>
                      <a:pt x="635175" y="5464607"/>
                    </a:lnTo>
                    <a:lnTo>
                      <a:pt x="614328" y="5486179"/>
                    </a:lnTo>
                    <a:lnTo>
                      <a:pt x="609336" y="5513575"/>
                    </a:lnTo>
                    <a:lnTo>
                      <a:pt x="707270" y="5570706"/>
                    </a:lnTo>
                    <a:lnTo>
                      <a:pt x="701400" y="5599526"/>
                    </a:lnTo>
                    <a:lnTo>
                      <a:pt x="682718" y="5638818"/>
                    </a:lnTo>
                    <a:lnTo>
                      <a:pt x="565802" y="5650953"/>
                    </a:lnTo>
                    <a:lnTo>
                      <a:pt x="543539" y="5673745"/>
                    </a:lnTo>
                    <a:lnTo>
                      <a:pt x="541836" y="5709780"/>
                    </a:lnTo>
                    <a:lnTo>
                      <a:pt x="552205" y="5742088"/>
                    </a:lnTo>
                    <a:lnTo>
                      <a:pt x="579408" y="5752969"/>
                    </a:lnTo>
                    <a:lnTo>
                      <a:pt x="600769" y="5757784"/>
                    </a:lnTo>
                    <a:lnTo>
                      <a:pt x="637469" y="5747120"/>
                    </a:lnTo>
                    <a:lnTo>
                      <a:pt x="670438" y="5740531"/>
                    </a:lnTo>
                    <a:lnTo>
                      <a:pt x="699106" y="5729841"/>
                    </a:lnTo>
                    <a:lnTo>
                      <a:pt x="720802" y="5721769"/>
                    </a:lnTo>
                    <a:lnTo>
                      <a:pt x="740931" y="5705954"/>
                    </a:lnTo>
                    <a:lnTo>
                      <a:pt x="763037" y="5697196"/>
                    </a:lnTo>
                    <a:lnTo>
                      <a:pt x="797039" y="5683598"/>
                    </a:lnTo>
                    <a:lnTo>
                      <a:pt x="844965" y="5677405"/>
                    </a:lnTo>
                    <a:lnTo>
                      <a:pt x="899439" y="5680030"/>
                    </a:lnTo>
                    <a:lnTo>
                      <a:pt x="948022" y="5678157"/>
                    </a:lnTo>
                    <a:lnTo>
                      <a:pt x="975611" y="5687561"/>
                    </a:lnTo>
                    <a:lnTo>
                      <a:pt x="992910" y="5702637"/>
                    </a:lnTo>
                    <a:lnTo>
                      <a:pt x="1010208" y="5717719"/>
                    </a:lnTo>
                    <a:lnTo>
                      <a:pt x="1028402" y="5737458"/>
                    </a:lnTo>
                    <a:lnTo>
                      <a:pt x="1045957" y="5759769"/>
                    </a:lnTo>
                    <a:lnTo>
                      <a:pt x="1081062" y="5804390"/>
                    </a:lnTo>
                    <a:lnTo>
                      <a:pt x="1111088" y="5855606"/>
                    </a:lnTo>
                    <a:lnTo>
                      <a:pt x="1112605" y="5879466"/>
                    </a:lnTo>
                    <a:lnTo>
                      <a:pt x="1114288" y="5905925"/>
                    </a:lnTo>
                    <a:lnTo>
                      <a:pt x="1110068" y="5929931"/>
                    </a:lnTo>
                    <a:lnTo>
                      <a:pt x="1107166" y="5954279"/>
                    </a:lnTo>
                    <a:lnTo>
                      <a:pt x="1104264" y="5978627"/>
                    </a:lnTo>
                    <a:lnTo>
                      <a:pt x="1102900" y="6003931"/>
                    </a:lnTo>
                    <a:lnTo>
                      <a:pt x="1109888" y="6030450"/>
                    </a:lnTo>
                    <a:lnTo>
                      <a:pt x="1127531" y="6046152"/>
                    </a:lnTo>
                    <a:lnTo>
                      <a:pt x="1166105" y="6053401"/>
                    </a:lnTo>
                    <a:lnTo>
                      <a:pt x="1170781" y="6118327"/>
                    </a:lnTo>
                    <a:lnTo>
                      <a:pt x="1143787" y="6172418"/>
                    </a:lnTo>
                    <a:lnTo>
                      <a:pt x="1149340" y="6222236"/>
                    </a:lnTo>
                    <a:lnTo>
                      <a:pt x="1166750" y="6241434"/>
                    </a:lnTo>
                    <a:lnTo>
                      <a:pt x="1194516" y="6238546"/>
                    </a:lnTo>
                    <a:lnTo>
                      <a:pt x="1224145" y="6235835"/>
                    </a:lnTo>
                    <a:lnTo>
                      <a:pt x="1253777" y="6233124"/>
                    </a:lnTo>
                    <a:lnTo>
                      <a:pt x="1286554" y="6230513"/>
                    </a:lnTo>
                    <a:lnTo>
                      <a:pt x="1307117" y="6237193"/>
                    </a:lnTo>
                    <a:lnTo>
                      <a:pt x="1326926" y="6250311"/>
                    </a:lnTo>
                    <a:lnTo>
                      <a:pt x="1345598" y="6294384"/>
                    </a:lnTo>
                    <a:lnTo>
                      <a:pt x="1365606" y="6340568"/>
                    </a:lnTo>
                    <a:lnTo>
                      <a:pt x="1385614" y="6386759"/>
                    </a:lnTo>
                    <a:lnTo>
                      <a:pt x="1405762" y="6434797"/>
                    </a:lnTo>
                    <a:lnTo>
                      <a:pt x="1429537" y="6458908"/>
                    </a:lnTo>
                    <a:lnTo>
                      <a:pt x="1473448" y="6477399"/>
                    </a:lnTo>
                    <a:lnTo>
                      <a:pt x="1522031" y="6498352"/>
                    </a:lnTo>
                    <a:lnTo>
                      <a:pt x="1506050" y="6532105"/>
                    </a:lnTo>
                    <a:lnTo>
                      <a:pt x="1491682" y="6555437"/>
                    </a:lnTo>
                    <a:lnTo>
                      <a:pt x="1482588" y="6577247"/>
                    </a:lnTo>
                    <a:lnTo>
                      <a:pt x="1486327" y="6619942"/>
                    </a:lnTo>
                    <a:lnTo>
                      <a:pt x="1481717" y="6662894"/>
                    </a:lnTo>
                    <a:lnTo>
                      <a:pt x="1483946" y="6705102"/>
                    </a:lnTo>
                    <a:lnTo>
                      <a:pt x="1486008" y="6743913"/>
                    </a:lnTo>
                    <a:lnTo>
                      <a:pt x="1494826" y="6784781"/>
                    </a:lnTo>
                    <a:lnTo>
                      <a:pt x="1494826" y="6823441"/>
                    </a:lnTo>
                    <a:lnTo>
                      <a:pt x="1494826" y="6866690"/>
                    </a:lnTo>
                    <a:lnTo>
                      <a:pt x="1489471" y="6911661"/>
                    </a:lnTo>
                    <a:lnTo>
                      <a:pt x="1488020" y="6955379"/>
                    </a:lnTo>
                    <a:lnTo>
                      <a:pt x="1504199" y="6995252"/>
                    </a:lnTo>
                    <a:lnTo>
                      <a:pt x="1519327" y="7012075"/>
                    </a:lnTo>
                    <a:lnTo>
                      <a:pt x="1538352" y="7026109"/>
                    </a:lnTo>
                    <a:lnTo>
                      <a:pt x="1557374" y="7040150"/>
                    </a:lnTo>
                    <a:lnTo>
                      <a:pt x="1580461" y="7051915"/>
                    </a:lnTo>
                    <a:lnTo>
                      <a:pt x="1605002" y="7062836"/>
                    </a:lnTo>
                    <a:lnTo>
                      <a:pt x="1621324" y="7092763"/>
                    </a:lnTo>
                    <a:lnTo>
                      <a:pt x="1624021" y="7114751"/>
                    </a:lnTo>
                    <a:lnTo>
                      <a:pt x="1596835" y="7147172"/>
                    </a:lnTo>
                    <a:lnTo>
                      <a:pt x="1585574" y="7166336"/>
                    </a:lnTo>
                    <a:lnTo>
                      <a:pt x="1580905" y="7190572"/>
                    </a:lnTo>
                    <a:lnTo>
                      <a:pt x="1587314" y="7223342"/>
                    </a:lnTo>
                    <a:lnTo>
                      <a:pt x="1606612" y="7240134"/>
                    </a:lnTo>
                    <a:lnTo>
                      <a:pt x="1643930" y="7232780"/>
                    </a:lnTo>
                    <a:lnTo>
                      <a:pt x="1667566" y="7246464"/>
                    </a:lnTo>
                    <a:lnTo>
                      <a:pt x="1668800" y="7267463"/>
                    </a:lnTo>
                    <a:lnTo>
                      <a:pt x="1663123" y="7291606"/>
                    </a:lnTo>
                    <a:lnTo>
                      <a:pt x="1649595" y="7329435"/>
                    </a:lnTo>
                    <a:lnTo>
                      <a:pt x="1600603" y="7352220"/>
                    </a:lnTo>
                    <a:lnTo>
                      <a:pt x="1551945" y="7368879"/>
                    </a:lnTo>
                    <a:lnTo>
                      <a:pt x="1503294" y="7385544"/>
                    </a:lnTo>
                    <a:lnTo>
                      <a:pt x="1454981" y="7396116"/>
                    </a:lnTo>
                    <a:lnTo>
                      <a:pt x="1427426" y="7397296"/>
                    </a:lnTo>
                    <a:lnTo>
                      <a:pt x="1400178" y="7426921"/>
                    </a:lnTo>
                    <a:lnTo>
                      <a:pt x="1402326" y="7447774"/>
                    </a:lnTo>
                    <a:lnTo>
                      <a:pt x="1406745" y="7490983"/>
                    </a:lnTo>
                    <a:lnTo>
                      <a:pt x="1472676" y="7727206"/>
                    </a:lnTo>
                    <a:lnTo>
                      <a:pt x="1457796" y="7757536"/>
                    </a:lnTo>
                    <a:lnTo>
                      <a:pt x="1425172" y="7770014"/>
                    </a:lnTo>
                    <a:lnTo>
                      <a:pt x="1405380" y="7796011"/>
                    </a:lnTo>
                    <a:lnTo>
                      <a:pt x="1416592" y="7825932"/>
                    </a:lnTo>
                    <a:lnTo>
                      <a:pt x="1436331" y="7863992"/>
                    </a:lnTo>
                    <a:lnTo>
                      <a:pt x="1456069" y="7902057"/>
                    </a:lnTo>
                    <a:lnTo>
                      <a:pt x="1484011" y="7947674"/>
                    </a:lnTo>
                    <a:lnTo>
                      <a:pt x="1513861" y="7994570"/>
                    </a:lnTo>
                    <a:lnTo>
                      <a:pt x="1543716" y="8041473"/>
                    </a:lnTo>
                    <a:lnTo>
                      <a:pt x="1575674" y="8089095"/>
                    </a:lnTo>
                    <a:lnTo>
                      <a:pt x="1600913" y="8129232"/>
                    </a:lnTo>
                    <a:lnTo>
                      <a:pt x="1626158" y="8169369"/>
                    </a:lnTo>
                    <a:lnTo>
                      <a:pt x="1645341" y="8202587"/>
                    </a:lnTo>
                    <a:lnTo>
                      <a:pt x="1649214" y="8259283"/>
                    </a:lnTo>
                    <a:lnTo>
                      <a:pt x="1633596" y="8290148"/>
                    </a:lnTo>
                    <a:lnTo>
                      <a:pt x="1611793" y="8315577"/>
                    </a:lnTo>
                    <a:lnTo>
                      <a:pt x="1589999" y="8341014"/>
                    </a:lnTo>
                    <a:lnTo>
                      <a:pt x="1561262" y="8360410"/>
                    </a:lnTo>
                    <a:lnTo>
                      <a:pt x="1531546" y="8376790"/>
                    </a:lnTo>
                    <a:lnTo>
                      <a:pt x="1501824" y="8393172"/>
                    </a:lnTo>
                    <a:lnTo>
                      <a:pt x="1471646" y="8405821"/>
                    </a:lnTo>
                    <a:lnTo>
                      <a:pt x="1445852" y="8417594"/>
                    </a:lnTo>
                    <a:lnTo>
                      <a:pt x="1420062" y="8429366"/>
                    </a:lnTo>
                    <a:lnTo>
                      <a:pt x="1398733" y="8439997"/>
                    </a:lnTo>
                    <a:lnTo>
                      <a:pt x="1373482" y="8481459"/>
                    </a:lnTo>
                    <a:lnTo>
                      <a:pt x="1383128" y="8502609"/>
                    </a:lnTo>
                    <a:lnTo>
                      <a:pt x="1375122" y="8530493"/>
                    </a:lnTo>
                    <a:lnTo>
                      <a:pt x="1360608" y="8550764"/>
                    </a:lnTo>
                    <a:lnTo>
                      <a:pt x="1333996" y="8576380"/>
                    </a:lnTo>
                    <a:lnTo>
                      <a:pt x="1301669" y="8606663"/>
                    </a:lnTo>
                    <a:lnTo>
                      <a:pt x="1285348" y="8622985"/>
                    </a:lnTo>
                    <a:lnTo>
                      <a:pt x="1205098" y="8651547"/>
                    </a:lnTo>
                    <a:lnTo>
                      <a:pt x="1166288" y="8690359"/>
                    </a:lnTo>
                    <a:lnTo>
                      <a:pt x="1132873" y="8719825"/>
                    </a:lnTo>
                    <a:lnTo>
                      <a:pt x="1109671" y="8730681"/>
                    </a:lnTo>
                    <a:lnTo>
                      <a:pt x="1085403" y="8739959"/>
                    </a:lnTo>
                    <a:lnTo>
                      <a:pt x="1061126" y="8749245"/>
                    </a:lnTo>
                    <a:lnTo>
                      <a:pt x="1036060" y="8756229"/>
                    </a:lnTo>
                    <a:lnTo>
                      <a:pt x="1011947" y="8769887"/>
                    </a:lnTo>
                    <a:lnTo>
                      <a:pt x="982067" y="8786823"/>
                    </a:lnTo>
                    <a:lnTo>
                      <a:pt x="921729" y="8841488"/>
                    </a:lnTo>
                    <a:lnTo>
                      <a:pt x="885453" y="8866463"/>
                    </a:lnTo>
                    <a:lnTo>
                      <a:pt x="867950" y="8878498"/>
                    </a:lnTo>
                    <a:lnTo>
                      <a:pt x="836485" y="8871903"/>
                    </a:lnTo>
                    <a:lnTo>
                      <a:pt x="804499" y="8860172"/>
                    </a:lnTo>
                    <a:lnTo>
                      <a:pt x="778290" y="8875960"/>
                    </a:lnTo>
                    <a:lnTo>
                      <a:pt x="771559" y="8910879"/>
                    </a:lnTo>
                    <a:lnTo>
                      <a:pt x="743990" y="8948075"/>
                    </a:lnTo>
                    <a:lnTo>
                      <a:pt x="717533" y="8959036"/>
                    </a:lnTo>
                    <a:lnTo>
                      <a:pt x="687373" y="8936784"/>
                    </a:lnTo>
                    <a:lnTo>
                      <a:pt x="659655" y="8941269"/>
                    </a:lnTo>
                    <a:lnTo>
                      <a:pt x="631541" y="8945793"/>
                    </a:lnTo>
                    <a:lnTo>
                      <a:pt x="615832" y="8977489"/>
                    </a:lnTo>
                    <a:lnTo>
                      <a:pt x="587565" y="8988877"/>
                    </a:lnTo>
                    <a:lnTo>
                      <a:pt x="586906" y="9030121"/>
                    </a:lnTo>
                    <a:lnTo>
                      <a:pt x="601890" y="9054965"/>
                    </a:lnTo>
                    <a:lnTo>
                      <a:pt x="617494" y="9077289"/>
                    </a:lnTo>
                    <a:lnTo>
                      <a:pt x="633091" y="9099619"/>
                    </a:lnTo>
                    <a:lnTo>
                      <a:pt x="648634" y="9120598"/>
                    </a:lnTo>
                    <a:lnTo>
                      <a:pt x="650138" y="9152101"/>
                    </a:lnTo>
                    <a:lnTo>
                      <a:pt x="652051" y="9192251"/>
                    </a:lnTo>
                    <a:lnTo>
                      <a:pt x="642429" y="9236002"/>
                    </a:lnTo>
                    <a:lnTo>
                      <a:pt x="625651" y="9278597"/>
                    </a:lnTo>
                    <a:lnTo>
                      <a:pt x="608874" y="9321201"/>
                    </a:lnTo>
                    <a:lnTo>
                      <a:pt x="585100" y="9362366"/>
                    </a:lnTo>
                    <a:lnTo>
                      <a:pt x="561720" y="9394220"/>
                    </a:lnTo>
                    <a:lnTo>
                      <a:pt x="547450" y="9413668"/>
                    </a:lnTo>
                    <a:lnTo>
                      <a:pt x="530758" y="9426481"/>
                    </a:lnTo>
                    <a:lnTo>
                      <a:pt x="520918" y="9449987"/>
                    </a:lnTo>
                    <a:lnTo>
                      <a:pt x="560640" y="9453554"/>
                    </a:lnTo>
                    <a:lnTo>
                      <a:pt x="609052" y="9458421"/>
                    </a:lnTo>
                    <a:lnTo>
                      <a:pt x="648774" y="9451345"/>
                    </a:lnTo>
                    <a:lnTo>
                      <a:pt x="682994" y="9445245"/>
                    </a:lnTo>
                    <a:lnTo>
                      <a:pt x="712237" y="9431751"/>
                    </a:lnTo>
                    <a:lnTo>
                      <a:pt x="748073" y="9435022"/>
                    </a:lnTo>
                    <a:lnTo>
                      <a:pt x="764844" y="9486403"/>
                    </a:lnTo>
                    <a:lnTo>
                      <a:pt x="760313" y="9526158"/>
                    </a:lnTo>
                    <a:lnTo>
                      <a:pt x="755783" y="9565912"/>
                    </a:lnTo>
                    <a:lnTo>
                      <a:pt x="746022" y="9605388"/>
                    </a:lnTo>
                    <a:lnTo>
                      <a:pt x="727596" y="9621811"/>
                    </a:lnTo>
                    <a:lnTo>
                      <a:pt x="688224" y="9633608"/>
                    </a:lnTo>
                    <a:lnTo>
                      <a:pt x="650541" y="9648955"/>
                    </a:lnTo>
                    <a:lnTo>
                      <a:pt x="634897" y="9669538"/>
                    </a:lnTo>
                    <a:lnTo>
                      <a:pt x="631093" y="9701621"/>
                    </a:lnTo>
                    <a:lnTo>
                      <a:pt x="631059" y="9733429"/>
                    </a:lnTo>
                    <a:lnTo>
                      <a:pt x="673279" y="9756029"/>
                    </a:lnTo>
                    <a:lnTo>
                      <a:pt x="723678" y="9754565"/>
                    </a:lnTo>
                    <a:lnTo>
                      <a:pt x="769830" y="9761470"/>
                    </a:lnTo>
                    <a:lnTo>
                      <a:pt x="792906" y="9764920"/>
                    </a:lnTo>
                    <a:lnTo>
                      <a:pt x="815103" y="9770155"/>
                    </a:lnTo>
                    <a:lnTo>
                      <a:pt x="833760" y="9780509"/>
                    </a:lnTo>
                    <a:lnTo>
                      <a:pt x="852419" y="9790870"/>
                    </a:lnTo>
                    <a:lnTo>
                      <a:pt x="867336" y="9806948"/>
                    </a:lnTo>
                    <a:lnTo>
                      <a:pt x="877286" y="9829477"/>
                    </a:lnTo>
                    <a:lnTo>
                      <a:pt x="877022" y="9854505"/>
                    </a:lnTo>
                    <a:lnTo>
                      <a:pt x="865041" y="9894766"/>
                    </a:lnTo>
                    <a:lnTo>
                      <a:pt x="857553" y="9915072"/>
                    </a:lnTo>
                    <a:lnTo>
                      <a:pt x="846732" y="9935088"/>
                    </a:lnTo>
                    <a:lnTo>
                      <a:pt x="835118" y="9957339"/>
                    </a:lnTo>
                    <a:lnTo>
                      <a:pt x="821810" y="9977507"/>
                    </a:lnTo>
                    <a:lnTo>
                      <a:pt x="805746" y="10017030"/>
                    </a:lnTo>
                    <a:lnTo>
                      <a:pt x="800152" y="10053756"/>
                    </a:lnTo>
                    <a:lnTo>
                      <a:pt x="799749" y="10090635"/>
                    </a:lnTo>
                    <a:lnTo>
                      <a:pt x="799355" y="10127521"/>
                    </a:lnTo>
                    <a:lnTo>
                      <a:pt x="803746" y="10164188"/>
                    </a:lnTo>
                    <a:lnTo>
                      <a:pt x="814716" y="10192652"/>
                    </a:lnTo>
                    <a:lnTo>
                      <a:pt x="827019" y="10224597"/>
                    </a:lnTo>
                    <a:lnTo>
                      <a:pt x="848711" y="10248774"/>
                    </a:lnTo>
                    <a:lnTo>
                      <a:pt x="873205" y="10267464"/>
                    </a:lnTo>
                    <a:lnTo>
                      <a:pt x="897697" y="10286155"/>
                    </a:lnTo>
                    <a:lnTo>
                      <a:pt x="925205" y="10299541"/>
                    </a:lnTo>
                    <a:lnTo>
                      <a:pt x="952093" y="10310990"/>
                    </a:lnTo>
                    <a:lnTo>
                      <a:pt x="978988" y="10322439"/>
                    </a:lnTo>
                    <a:lnTo>
                      <a:pt x="1004695" y="10332068"/>
                    </a:lnTo>
                    <a:lnTo>
                      <a:pt x="1024188" y="10342277"/>
                    </a:lnTo>
                    <a:lnTo>
                      <a:pt x="1043675" y="10352485"/>
                    </a:lnTo>
                    <a:lnTo>
                      <a:pt x="1059550" y="10377639"/>
                    </a:lnTo>
                    <a:lnTo>
                      <a:pt x="1061541" y="10411734"/>
                    </a:lnTo>
                    <a:lnTo>
                      <a:pt x="1057532" y="10446925"/>
                    </a:lnTo>
                    <a:lnTo>
                      <a:pt x="1051393" y="10481014"/>
                    </a:lnTo>
                    <a:lnTo>
                      <a:pt x="1053517" y="10506589"/>
                    </a:lnTo>
                    <a:lnTo>
                      <a:pt x="1030222" y="10526354"/>
                    </a:lnTo>
                    <a:lnTo>
                      <a:pt x="1006499" y="10535422"/>
                    </a:lnTo>
                    <a:lnTo>
                      <a:pt x="983127" y="10545624"/>
                    </a:lnTo>
                    <a:lnTo>
                      <a:pt x="964583" y="10560587"/>
                    </a:lnTo>
                    <a:lnTo>
                      <a:pt x="956174" y="10584389"/>
                    </a:lnTo>
                    <a:lnTo>
                      <a:pt x="960719" y="10625185"/>
                    </a:lnTo>
                    <a:lnTo>
                      <a:pt x="971131" y="10649678"/>
                    </a:lnTo>
                    <a:lnTo>
                      <a:pt x="981552" y="10674179"/>
                    </a:lnTo>
                    <a:lnTo>
                      <a:pt x="995895" y="10700796"/>
                    </a:lnTo>
                    <a:lnTo>
                      <a:pt x="1010583" y="10725850"/>
                    </a:lnTo>
                    <a:lnTo>
                      <a:pt x="1039949" y="10775965"/>
                    </a:lnTo>
                    <a:lnTo>
                      <a:pt x="1070102" y="10821891"/>
                    </a:lnTo>
                    <a:lnTo>
                      <a:pt x="1066356" y="10895872"/>
                    </a:lnTo>
                    <a:lnTo>
                      <a:pt x="1063640" y="10951652"/>
                    </a:lnTo>
                    <a:lnTo>
                      <a:pt x="1053253" y="10980024"/>
                    </a:lnTo>
                    <a:lnTo>
                      <a:pt x="1025066" y="11007617"/>
                    </a:lnTo>
                    <a:lnTo>
                      <a:pt x="1006006" y="11020846"/>
                    </a:lnTo>
                    <a:lnTo>
                      <a:pt x="986110" y="11033264"/>
                    </a:lnTo>
                    <a:lnTo>
                      <a:pt x="946323" y="11058093"/>
                    </a:lnTo>
                    <a:lnTo>
                      <a:pt x="902986" y="11078545"/>
                    </a:lnTo>
                    <a:lnTo>
                      <a:pt x="868753" y="11099023"/>
                    </a:lnTo>
                    <a:lnTo>
                      <a:pt x="843291" y="11127117"/>
                    </a:lnTo>
                    <a:lnTo>
                      <a:pt x="823869" y="11161430"/>
                    </a:lnTo>
                    <a:lnTo>
                      <a:pt x="814133" y="11210707"/>
                    </a:lnTo>
                    <a:lnTo>
                      <a:pt x="815426" y="11232450"/>
                    </a:lnTo>
                    <a:lnTo>
                      <a:pt x="824910" y="11266625"/>
                    </a:lnTo>
                    <a:lnTo>
                      <a:pt x="843291" y="11288982"/>
                    </a:lnTo>
                    <a:lnTo>
                      <a:pt x="863996" y="11310659"/>
                    </a:lnTo>
                    <a:lnTo>
                      <a:pt x="882429" y="11335317"/>
                    </a:lnTo>
                    <a:lnTo>
                      <a:pt x="892258" y="11370594"/>
                    </a:lnTo>
                    <a:lnTo>
                      <a:pt x="895991" y="11397521"/>
                    </a:lnTo>
                    <a:lnTo>
                      <a:pt x="894646" y="11424322"/>
                    </a:lnTo>
                    <a:lnTo>
                      <a:pt x="896332" y="11449482"/>
                    </a:lnTo>
                    <a:lnTo>
                      <a:pt x="898022" y="11474648"/>
                    </a:lnTo>
                    <a:lnTo>
                      <a:pt x="902698" y="11498792"/>
                    </a:lnTo>
                    <a:lnTo>
                      <a:pt x="919454" y="11521577"/>
                    </a:lnTo>
                    <a:lnTo>
                      <a:pt x="938020" y="11534517"/>
                    </a:lnTo>
                    <a:lnTo>
                      <a:pt x="977720" y="11540089"/>
                    </a:lnTo>
                    <a:lnTo>
                      <a:pt x="1017389" y="11543340"/>
                    </a:lnTo>
                    <a:lnTo>
                      <a:pt x="1057058" y="11546592"/>
                    </a:lnTo>
                    <a:lnTo>
                      <a:pt x="1097114" y="11546968"/>
                    </a:lnTo>
                    <a:lnTo>
                      <a:pt x="1119404" y="11548781"/>
                    </a:lnTo>
                    <a:lnTo>
                      <a:pt x="1148283" y="11560257"/>
                    </a:lnTo>
                    <a:lnTo>
                      <a:pt x="1169420" y="11588990"/>
                    </a:lnTo>
                    <a:lnTo>
                      <a:pt x="1184696" y="11627670"/>
                    </a:lnTo>
                    <a:lnTo>
                      <a:pt x="1199415" y="11667444"/>
                    </a:lnTo>
                    <a:lnTo>
                      <a:pt x="1209644" y="11710508"/>
                    </a:lnTo>
                    <a:lnTo>
                      <a:pt x="1224139" y="11726969"/>
                    </a:lnTo>
                    <a:lnTo>
                      <a:pt x="1251712" y="11750487"/>
                    </a:lnTo>
                    <a:lnTo>
                      <a:pt x="1275460" y="11771458"/>
                    </a:lnTo>
                    <a:lnTo>
                      <a:pt x="1292153" y="11804499"/>
                    </a:lnTo>
                    <a:lnTo>
                      <a:pt x="1298990" y="11834894"/>
                    </a:lnTo>
                    <a:lnTo>
                      <a:pt x="1304345" y="11866590"/>
                    </a:lnTo>
                    <a:lnTo>
                      <a:pt x="1315274" y="11896993"/>
                    </a:lnTo>
                    <a:lnTo>
                      <a:pt x="1339140" y="11910432"/>
                    </a:lnTo>
                    <a:lnTo>
                      <a:pt x="1376480" y="11907874"/>
                    </a:lnTo>
                    <a:lnTo>
                      <a:pt x="1413743" y="11892739"/>
                    </a:lnTo>
                    <a:lnTo>
                      <a:pt x="1436331" y="11879312"/>
                    </a:lnTo>
                    <a:lnTo>
                      <a:pt x="1459452" y="11882028"/>
                    </a:lnTo>
                    <a:lnTo>
                      <a:pt x="1481221" y="11886103"/>
                    </a:lnTo>
                    <a:lnTo>
                      <a:pt x="1500255" y="11909042"/>
                    </a:lnTo>
                    <a:lnTo>
                      <a:pt x="1507436" y="11938046"/>
                    </a:lnTo>
                    <a:lnTo>
                      <a:pt x="1511141" y="11971791"/>
                    </a:lnTo>
                    <a:lnTo>
                      <a:pt x="1530498" y="11987046"/>
                    </a:lnTo>
                    <a:lnTo>
                      <a:pt x="1558751" y="11998996"/>
                    </a:lnTo>
                    <a:lnTo>
                      <a:pt x="1583094" y="12001430"/>
                    </a:lnTo>
                    <a:lnTo>
                      <a:pt x="1612084" y="11994128"/>
                    </a:lnTo>
                    <a:lnTo>
                      <a:pt x="1645803" y="11989478"/>
                    </a:lnTo>
                    <a:lnTo>
                      <a:pt x="1664416" y="12003335"/>
                    </a:lnTo>
                    <a:lnTo>
                      <a:pt x="1678883" y="12024583"/>
                    </a:lnTo>
                    <a:lnTo>
                      <a:pt x="1685249" y="12046604"/>
                    </a:lnTo>
                    <a:lnTo>
                      <a:pt x="1665027" y="12065920"/>
                    </a:lnTo>
                    <a:lnTo>
                      <a:pt x="1641729" y="12073808"/>
                    </a:lnTo>
                    <a:lnTo>
                      <a:pt x="1620282" y="12084657"/>
                    </a:lnTo>
                    <a:lnTo>
                      <a:pt x="1605976" y="12109592"/>
                    </a:lnTo>
                    <a:lnTo>
                      <a:pt x="1608543" y="12140937"/>
                    </a:lnTo>
                    <a:lnTo>
                      <a:pt x="1642005" y="12176300"/>
                    </a:lnTo>
                    <a:lnTo>
                      <a:pt x="1670614" y="12209578"/>
                    </a:lnTo>
                    <a:lnTo>
                      <a:pt x="1702934" y="12234315"/>
                    </a:lnTo>
                    <a:lnTo>
                      <a:pt x="1735832" y="12257509"/>
                    </a:lnTo>
                    <a:lnTo>
                      <a:pt x="1773417" y="12270962"/>
                    </a:lnTo>
                    <a:lnTo>
                      <a:pt x="1794823" y="12272987"/>
                    </a:lnTo>
                    <a:lnTo>
                      <a:pt x="1817191" y="12271035"/>
                    </a:lnTo>
                    <a:lnTo>
                      <a:pt x="1849329" y="12269578"/>
                    </a:lnTo>
                    <a:lnTo>
                      <a:pt x="1882989" y="12267065"/>
                    </a:lnTo>
                    <a:lnTo>
                      <a:pt x="1916484" y="12262884"/>
                    </a:lnTo>
                    <a:lnTo>
                      <a:pt x="1947140" y="12255960"/>
                    </a:lnTo>
                    <a:lnTo>
                      <a:pt x="1978325" y="12248032"/>
                    </a:lnTo>
                    <a:lnTo>
                      <a:pt x="2011703" y="12245196"/>
                    </a:lnTo>
                    <a:lnTo>
                      <a:pt x="2046966" y="12251969"/>
                    </a:lnTo>
                    <a:lnTo>
                      <a:pt x="2079808" y="12262910"/>
                    </a:lnTo>
                    <a:lnTo>
                      <a:pt x="2117796" y="12265601"/>
                    </a:lnTo>
                    <a:lnTo>
                      <a:pt x="2131156" y="12244643"/>
                    </a:lnTo>
                    <a:lnTo>
                      <a:pt x="2126019" y="12219187"/>
                    </a:lnTo>
                    <a:lnTo>
                      <a:pt x="2120518" y="12194871"/>
                    </a:lnTo>
                    <a:lnTo>
                      <a:pt x="2115012" y="12170556"/>
                    </a:lnTo>
                    <a:lnTo>
                      <a:pt x="2108159" y="12147157"/>
                    </a:lnTo>
                    <a:lnTo>
                      <a:pt x="2125523" y="12115488"/>
                    </a:lnTo>
                    <a:lnTo>
                      <a:pt x="2146365" y="12096937"/>
                    </a:lnTo>
                    <a:lnTo>
                      <a:pt x="2168264" y="12079169"/>
                    </a:lnTo>
                    <a:lnTo>
                      <a:pt x="2209186" y="12038031"/>
                    </a:lnTo>
                    <a:lnTo>
                      <a:pt x="2227619" y="12011486"/>
                    </a:lnTo>
                    <a:lnTo>
                      <a:pt x="2241574" y="11982680"/>
                    </a:lnTo>
                    <a:lnTo>
                      <a:pt x="2255530" y="11953873"/>
                    </a:lnTo>
                    <a:lnTo>
                      <a:pt x="2265970" y="11923214"/>
                    </a:lnTo>
                    <a:lnTo>
                      <a:pt x="2278301" y="11883387"/>
                    </a:lnTo>
                    <a:lnTo>
                      <a:pt x="2303183" y="11866154"/>
                    </a:lnTo>
                    <a:lnTo>
                      <a:pt x="2328626" y="11852101"/>
                    </a:lnTo>
                    <a:lnTo>
                      <a:pt x="2354070" y="11838047"/>
                    </a:lnTo>
                    <a:lnTo>
                      <a:pt x="2382632" y="11817523"/>
                    </a:lnTo>
                    <a:lnTo>
                      <a:pt x="2396635" y="11784088"/>
                    </a:lnTo>
                    <a:lnTo>
                      <a:pt x="2422388" y="11774623"/>
                    </a:lnTo>
                    <a:lnTo>
                      <a:pt x="2455633" y="11779781"/>
                    </a:lnTo>
                    <a:lnTo>
                      <a:pt x="2487770" y="11785446"/>
                    </a:lnTo>
                    <a:lnTo>
                      <a:pt x="2519905" y="11791117"/>
                    </a:lnTo>
                    <a:lnTo>
                      <a:pt x="2551187" y="11796599"/>
                    </a:lnTo>
                    <a:lnTo>
                      <a:pt x="2572103" y="11790888"/>
                    </a:lnTo>
                    <a:lnTo>
                      <a:pt x="2603385" y="11781859"/>
                    </a:lnTo>
                    <a:lnTo>
                      <a:pt x="2628952" y="11761316"/>
                    </a:lnTo>
                    <a:lnTo>
                      <a:pt x="2637479" y="11730755"/>
                    </a:lnTo>
                    <a:lnTo>
                      <a:pt x="2649633" y="11705200"/>
                    </a:lnTo>
                    <a:lnTo>
                      <a:pt x="2663003" y="11681015"/>
                    </a:lnTo>
                    <a:lnTo>
                      <a:pt x="2682509" y="11664086"/>
                    </a:lnTo>
                    <a:lnTo>
                      <a:pt x="2712200" y="11658950"/>
                    </a:lnTo>
                    <a:lnTo>
                      <a:pt x="2735941" y="11676696"/>
                    </a:lnTo>
                    <a:lnTo>
                      <a:pt x="2748055" y="11700800"/>
                    </a:lnTo>
                    <a:lnTo>
                      <a:pt x="2774773" y="11714715"/>
                    </a:lnTo>
                    <a:lnTo>
                      <a:pt x="2801977" y="11688877"/>
                    </a:lnTo>
                    <a:lnTo>
                      <a:pt x="2826112" y="11677659"/>
                    </a:lnTo>
                    <a:lnTo>
                      <a:pt x="2851286" y="11678325"/>
                    </a:lnTo>
                    <a:lnTo>
                      <a:pt x="2875424" y="11688877"/>
                    </a:lnTo>
                    <a:lnTo>
                      <a:pt x="2899978" y="11700206"/>
                    </a:lnTo>
                    <a:lnTo>
                      <a:pt x="2923601" y="11718132"/>
                    </a:lnTo>
                    <a:lnTo>
                      <a:pt x="2939355" y="11733762"/>
                    </a:lnTo>
                    <a:lnTo>
                      <a:pt x="2966473" y="11737033"/>
                    </a:lnTo>
                    <a:lnTo>
                      <a:pt x="2986965" y="11717439"/>
                    </a:lnTo>
                    <a:lnTo>
                      <a:pt x="2979160" y="11678708"/>
                    </a:lnTo>
                    <a:lnTo>
                      <a:pt x="2967918" y="11657590"/>
                    </a:lnTo>
                    <a:lnTo>
                      <a:pt x="2956678" y="11636474"/>
                    </a:lnTo>
                    <a:lnTo>
                      <a:pt x="2942604" y="11616373"/>
                    </a:lnTo>
                    <a:lnTo>
                      <a:pt x="2932106" y="11578234"/>
                    </a:lnTo>
                    <a:lnTo>
                      <a:pt x="2951088" y="11536515"/>
                    </a:lnTo>
                    <a:lnTo>
                      <a:pt x="2971998" y="11521571"/>
                    </a:lnTo>
                    <a:lnTo>
                      <a:pt x="3050896" y="11510689"/>
                    </a:lnTo>
                    <a:lnTo>
                      <a:pt x="3062917" y="11484165"/>
                    </a:lnTo>
                    <a:lnTo>
                      <a:pt x="3050037" y="11456004"/>
                    </a:lnTo>
                    <a:lnTo>
                      <a:pt x="3065859" y="11427719"/>
                    </a:lnTo>
                    <a:lnTo>
                      <a:pt x="3110672" y="11430627"/>
                    </a:lnTo>
                    <a:lnTo>
                      <a:pt x="3143389" y="11442682"/>
                    </a:lnTo>
                    <a:lnTo>
                      <a:pt x="3176097" y="11454731"/>
                    </a:lnTo>
                    <a:lnTo>
                      <a:pt x="3208520" y="11469247"/>
                    </a:lnTo>
                    <a:lnTo>
                      <a:pt x="3219955" y="11505525"/>
                    </a:lnTo>
                    <a:lnTo>
                      <a:pt x="3194729" y="11535855"/>
                    </a:lnTo>
                    <a:lnTo>
                      <a:pt x="3173310" y="11566456"/>
                    </a:lnTo>
                    <a:lnTo>
                      <a:pt x="3152877" y="11596549"/>
                    </a:lnTo>
                    <a:lnTo>
                      <a:pt x="3142056" y="11628863"/>
                    </a:lnTo>
                    <a:lnTo>
                      <a:pt x="3147463" y="11664390"/>
                    </a:lnTo>
                    <a:lnTo>
                      <a:pt x="3193101" y="11690354"/>
                    </a:lnTo>
                    <a:lnTo>
                      <a:pt x="3250846" y="11703840"/>
                    </a:lnTo>
                    <a:lnTo>
                      <a:pt x="3308582" y="11717328"/>
                    </a:lnTo>
                    <a:lnTo>
                      <a:pt x="3385123" y="11730913"/>
                    </a:lnTo>
                    <a:lnTo>
                      <a:pt x="3463035" y="11744644"/>
                    </a:lnTo>
                    <a:lnTo>
                      <a:pt x="3618848" y="11772112"/>
                    </a:lnTo>
                    <a:lnTo>
                      <a:pt x="3783338" y="11799065"/>
                    </a:lnTo>
                    <a:lnTo>
                      <a:pt x="3828929" y="11822172"/>
                    </a:lnTo>
                    <a:lnTo>
                      <a:pt x="3827437" y="11860582"/>
                    </a:lnTo>
                    <a:lnTo>
                      <a:pt x="3831902" y="11908995"/>
                    </a:lnTo>
                    <a:lnTo>
                      <a:pt x="3820765" y="11945952"/>
                    </a:lnTo>
                    <a:lnTo>
                      <a:pt x="3852242" y="11957018"/>
                    </a:lnTo>
                    <a:lnTo>
                      <a:pt x="3889945" y="11956637"/>
                    </a:lnTo>
                    <a:lnTo>
                      <a:pt x="3922780" y="11950034"/>
                    </a:lnTo>
                    <a:lnTo>
                      <a:pt x="3957594" y="11830654"/>
                    </a:lnTo>
                    <a:lnTo>
                      <a:pt x="3979524" y="11728005"/>
                    </a:lnTo>
                    <a:lnTo>
                      <a:pt x="4003033" y="11624946"/>
                    </a:lnTo>
                    <a:lnTo>
                      <a:pt x="4009135" y="11598211"/>
                    </a:lnTo>
                    <a:lnTo>
                      <a:pt x="4027388" y="11574898"/>
                    </a:lnTo>
                    <a:lnTo>
                      <a:pt x="4031595" y="11548775"/>
                    </a:lnTo>
                    <a:lnTo>
                      <a:pt x="4035614" y="11523753"/>
                    </a:lnTo>
                    <a:lnTo>
                      <a:pt x="4033905" y="11499775"/>
                    </a:lnTo>
                    <a:lnTo>
                      <a:pt x="4032953" y="11475327"/>
                    </a:lnTo>
                    <a:lnTo>
                      <a:pt x="4032005" y="11450874"/>
                    </a:lnTo>
                    <a:lnTo>
                      <a:pt x="4031629" y="11426624"/>
                    </a:lnTo>
                    <a:lnTo>
                      <a:pt x="4041111" y="11400514"/>
                    </a:lnTo>
                    <a:lnTo>
                      <a:pt x="4064775" y="11344340"/>
                    </a:lnTo>
                    <a:lnTo>
                      <a:pt x="4092283" y="11324364"/>
                    </a:lnTo>
                    <a:lnTo>
                      <a:pt x="4122725" y="11320262"/>
                    </a:lnTo>
                    <a:lnTo>
                      <a:pt x="4155892" y="11324904"/>
                    </a:lnTo>
                    <a:lnTo>
                      <a:pt x="4203300" y="11343626"/>
                    </a:lnTo>
                    <a:lnTo>
                      <a:pt x="4231499" y="11365383"/>
                    </a:lnTo>
                    <a:lnTo>
                      <a:pt x="4249229" y="11385551"/>
                    </a:lnTo>
                    <a:lnTo>
                      <a:pt x="4269165" y="11408204"/>
                    </a:lnTo>
                    <a:lnTo>
                      <a:pt x="4277494" y="11447121"/>
                    </a:lnTo>
                    <a:lnTo>
                      <a:pt x="4291397" y="11473963"/>
                    </a:lnTo>
                    <a:lnTo>
                      <a:pt x="4438547" y="11424191"/>
                    </a:lnTo>
                    <a:lnTo>
                      <a:pt x="4461420" y="11419554"/>
                    </a:lnTo>
                    <a:lnTo>
                      <a:pt x="4483757" y="11376457"/>
                    </a:lnTo>
                    <a:lnTo>
                      <a:pt x="4503585" y="11359712"/>
                    </a:lnTo>
                    <a:lnTo>
                      <a:pt x="4519640" y="11375778"/>
                    </a:lnTo>
                    <a:lnTo>
                      <a:pt x="4547747" y="11385946"/>
                    </a:lnTo>
                    <a:lnTo>
                      <a:pt x="4572951" y="11397798"/>
                    </a:lnTo>
                    <a:lnTo>
                      <a:pt x="4598165" y="11409649"/>
                    </a:lnTo>
                    <a:lnTo>
                      <a:pt x="4619479" y="11422938"/>
                    </a:lnTo>
                    <a:lnTo>
                      <a:pt x="4638241" y="11448124"/>
                    </a:lnTo>
                    <a:lnTo>
                      <a:pt x="4675444" y="11406516"/>
                    </a:lnTo>
                    <a:lnTo>
                      <a:pt x="4694008" y="11366518"/>
                    </a:lnTo>
                    <a:lnTo>
                      <a:pt x="4712580" y="11326513"/>
                    </a:lnTo>
                    <a:lnTo>
                      <a:pt x="4730241" y="11283858"/>
                    </a:lnTo>
                    <a:lnTo>
                      <a:pt x="4756581" y="11272659"/>
                    </a:lnTo>
                    <a:lnTo>
                      <a:pt x="4817786" y="11333867"/>
                    </a:lnTo>
                    <a:lnTo>
                      <a:pt x="4842104" y="11346780"/>
                    </a:lnTo>
                    <a:lnTo>
                      <a:pt x="4866927" y="11340000"/>
                    </a:lnTo>
                    <a:lnTo>
                      <a:pt x="4892600" y="11322986"/>
                    </a:lnTo>
                    <a:lnTo>
                      <a:pt x="4918530" y="11305826"/>
                    </a:lnTo>
                    <a:lnTo>
                      <a:pt x="4945558" y="11296612"/>
                    </a:lnTo>
                    <a:lnTo>
                      <a:pt x="4972853" y="11305297"/>
                    </a:lnTo>
                    <a:lnTo>
                      <a:pt x="4998687" y="11322260"/>
                    </a:lnTo>
                    <a:lnTo>
                      <a:pt x="5019960" y="11364348"/>
                    </a:lnTo>
                    <a:lnTo>
                      <a:pt x="5039503" y="11404590"/>
                    </a:lnTo>
                    <a:lnTo>
                      <a:pt x="5059049" y="11444833"/>
                    </a:lnTo>
                    <a:lnTo>
                      <a:pt x="5077014" y="11482858"/>
                    </a:lnTo>
                    <a:lnTo>
                      <a:pt x="5131962" y="11482291"/>
                    </a:lnTo>
                    <a:lnTo>
                      <a:pt x="5149406" y="11463345"/>
                    </a:lnTo>
                    <a:lnTo>
                      <a:pt x="5163281" y="11445400"/>
                    </a:lnTo>
                    <a:lnTo>
                      <a:pt x="5177150" y="11427448"/>
                    </a:lnTo>
                    <a:lnTo>
                      <a:pt x="5208165" y="11407314"/>
                    </a:lnTo>
                    <a:lnTo>
                      <a:pt x="5247010" y="11421012"/>
                    </a:lnTo>
                    <a:lnTo>
                      <a:pt x="5273938" y="11420577"/>
                    </a:lnTo>
                    <a:lnTo>
                      <a:pt x="5295221" y="11412756"/>
                    </a:lnTo>
                    <a:lnTo>
                      <a:pt x="5316500" y="11404927"/>
                    </a:lnTo>
                    <a:lnTo>
                      <a:pt x="5331941" y="11389165"/>
                    </a:lnTo>
                    <a:lnTo>
                      <a:pt x="5344185" y="11371946"/>
                    </a:lnTo>
                    <a:lnTo>
                      <a:pt x="5356432" y="11354733"/>
                    </a:lnTo>
                    <a:lnTo>
                      <a:pt x="5366463" y="11336095"/>
                    </a:lnTo>
                    <a:lnTo>
                      <a:pt x="5389922" y="11307143"/>
                    </a:lnTo>
                    <a:lnTo>
                      <a:pt x="5423083" y="11297133"/>
                    </a:lnTo>
                    <a:lnTo>
                      <a:pt x="5455614" y="11339960"/>
                    </a:lnTo>
                    <a:lnTo>
                      <a:pt x="5477675" y="11359218"/>
                    </a:lnTo>
                    <a:lnTo>
                      <a:pt x="5523777" y="11350097"/>
                    </a:lnTo>
                    <a:lnTo>
                      <a:pt x="5559155" y="11325860"/>
                    </a:lnTo>
                    <a:lnTo>
                      <a:pt x="5567260" y="11293057"/>
                    </a:lnTo>
                    <a:lnTo>
                      <a:pt x="5584471" y="11265340"/>
                    </a:lnTo>
                    <a:lnTo>
                      <a:pt x="5623024" y="11256331"/>
                    </a:lnTo>
                    <a:lnTo>
                      <a:pt x="5644790" y="11263129"/>
                    </a:lnTo>
                    <a:lnTo>
                      <a:pt x="5665979" y="11298011"/>
                    </a:lnTo>
                    <a:lnTo>
                      <a:pt x="5673353" y="11318896"/>
                    </a:lnTo>
                    <a:lnTo>
                      <a:pt x="5680732" y="11339782"/>
                    </a:lnTo>
                    <a:lnTo>
                      <a:pt x="5687615" y="11359864"/>
                    </a:lnTo>
                    <a:lnTo>
                      <a:pt x="5748163" y="11380109"/>
                    </a:lnTo>
                    <a:lnTo>
                      <a:pt x="5772652" y="11371946"/>
                    </a:lnTo>
                    <a:lnTo>
                      <a:pt x="5794731" y="11327179"/>
                    </a:lnTo>
                    <a:lnTo>
                      <a:pt x="5795171" y="11298649"/>
                    </a:lnTo>
                    <a:lnTo>
                      <a:pt x="5793048" y="11271294"/>
                    </a:lnTo>
                    <a:lnTo>
                      <a:pt x="5790933" y="11243932"/>
                    </a:lnTo>
                    <a:lnTo>
                      <a:pt x="5785860" y="11217084"/>
                    </a:lnTo>
                    <a:lnTo>
                      <a:pt x="5794406" y="11174719"/>
                    </a:lnTo>
                    <a:lnTo>
                      <a:pt x="5799835" y="11147745"/>
                    </a:lnTo>
                    <a:lnTo>
                      <a:pt x="5847286" y="11095679"/>
                    </a:lnTo>
                    <a:lnTo>
                      <a:pt x="5862420" y="11063178"/>
                    </a:lnTo>
                    <a:lnTo>
                      <a:pt x="5911388" y="10955728"/>
                    </a:lnTo>
                    <a:lnTo>
                      <a:pt x="5932531" y="10938602"/>
                    </a:lnTo>
                    <a:lnTo>
                      <a:pt x="5963691" y="10932039"/>
                    </a:lnTo>
                    <a:lnTo>
                      <a:pt x="5990282" y="10917643"/>
                    </a:lnTo>
                    <a:lnTo>
                      <a:pt x="6026066" y="10878957"/>
                    </a:lnTo>
                    <a:lnTo>
                      <a:pt x="6045516" y="10817051"/>
                    </a:lnTo>
                    <a:lnTo>
                      <a:pt x="6085492" y="10784340"/>
                    </a:lnTo>
                    <a:lnTo>
                      <a:pt x="6119074" y="10774857"/>
                    </a:lnTo>
                    <a:lnTo>
                      <a:pt x="6141687" y="10758454"/>
                    </a:lnTo>
                    <a:lnTo>
                      <a:pt x="6157580" y="10736732"/>
                    </a:lnTo>
                    <a:lnTo>
                      <a:pt x="6172795" y="10714387"/>
                    </a:lnTo>
                    <a:lnTo>
                      <a:pt x="6183969" y="10688370"/>
                    </a:lnTo>
                    <a:lnTo>
                      <a:pt x="6207909" y="10666001"/>
                    </a:lnTo>
                    <a:lnTo>
                      <a:pt x="6230779" y="10644633"/>
                    </a:lnTo>
                    <a:lnTo>
                      <a:pt x="6256579" y="10638282"/>
                    </a:lnTo>
                    <a:lnTo>
                      <a:pt x="6282720" y="10629281"/>
                    </a:lnTo>
                    <a:lnTo>
                      <a:pt x="6308870" y="10620272"/>
                    </a:lnTo>
                    <a:lnTo>
                      <a:pt x="6335492" y="10608045"/>
                    </a:lnTo>
                    <a:lnTo>
                      <a:pt x="6358892" y="10574872"/>
                    </a:lnTo>
                    <a:lnTo>
                      <a:pt x="6375214" y="10551745"/>
                    </a:lnTo>
                    <a:lnTo>
                      <a:pt x="6382546" y="10530324"/>
                    </a:lnTo>
                    <a:lnTo>
                      <a:pt x="6392893" y="10505501"/>
                    </a:lnTo>
                    <a:lnTo>
                      <a:pt x="6402992" y="10481271"/>
                    </a:lnTo>
                    <a:lnTo>
                      <a:pt x="6416808" y="10457636"/>
                    </a:lnTo>
                    <a:lnTo>
                      <a:pt x="6426903" y="10433412"/>
                    </a:lnTo>
                    <a:lnTo>
                      <a:pt x="6454077" y="10368182"/>
                    </a:lnTo>
                    <a:lnTo>
                      <a:pt x="6462445" y="10336638"/>
                    </a:lnTo>
                    <a:lnTo>
                      <a:pt x="6482671" y="10316432"/>
                    </a:lnTo>
                    <a:lnTo>
                      <a:pt x="6502899" y="10296225"/>
                    </a:lnTo>
                    <a:lnTo>
                      <a:pt x="6534091" y="10287855"/>
                    </a:lnTo>
                    <a:lnTo>
                      <a:pt x="6605091" y="10267464"/>
                    </a:lnTo>
                    <a:lnTo>
                      <a:pt x="6624132" y="10237544"/>
                    </a:lnTo>
                    <a:lnTo>
                      <a:pt x="6631372" y="10203329"/>
                    </a:lnTo>
                    <a:lnTo>
                      <a:pt x="6634128" y="10142748"/>
                    </a:lnTo>
                    <a:lnTo>
                      <a:pt x="6630048" y="10100758"/>
                    </a:lnTo>
                    <a:lnTo>
                      <a:pt x="6618058" y="10068357"/>
                    </a:lnTo>
                    <a:lnTo>
                      <a:pt x="6586053" y="10062072"/>
                    </a:lnTo>
                    <a:lnTo>
                      <a:pt x="6551225" y="10062139"/>
                    </a:lnTo>
                    <a:lnTo>
                      <a:pt x="6527834" y="10044022"/>
                    </a:lnTo>
                    <a:lnTo>
                      <a:pt x="6522175" y="10015077"/>
                    </a:lnTo>
                    <a:lnTo>
                      <a:pt x="6520764" y="9985902"/>
                    </a:lnTo>
                    <a:lnTo>
                      <a:pt x="6519344" y="9956725"/>
                    </a:lnTo>
                    <a:lnTo>
                      <a:pt x="6522774" y="9926983"/>
                    </a:lnTo>
                    <a:lnTo>
                      <a:pt x="6543358" y="9891983"/>
                    </a:lnTo>
                    <a:lnTo>
                      <a:pt x="6569130" y="9871031"/>
                    </a:lnTo>
                    <a:lnTo>
                      <a:pt x="6595575" y="9860763"/>
                    </a:lnTo>
                    <a:lnTo>
                      <a:pt x="6616845" y="9781255"/>
                    </a:lnTo>
                    <a:lnTo>
                      <a:pt x="6652465" y="9710551"/>
                    </a:lnTo>
                    <a:lnTo>
                      <a:pt x="6689427" y="9637690"/>
                    </a:lnTo>
                    <a:lnTo>
                      <a:pt x="6700592" y="9615644"/>
                    </a:lnTo>
                    <a:lnTo>
                      <a:pt x="6683989" y="9579207"/>
                    </a:lnTo>
                    <a:lnTo>
                      <a:pt x="6662374" y="9546780"/>
                    </a:lnTo>
                    <a:lnTo>
                      <a:pt x="6670448" y="9489899"/>
                    </a:lnTo>
                    <a:lnTo>
                      <a:pt x="6704601" y="9450350"/>
                    </a:lnTo>
                    <a:lnTo>
                      <a:pt x="6727515" y="9415983"/>
                    </a:lnTo>
                    <a:lnTo>
                      <a:pt x="6766253" y="9221750"/>
                    </a:lnTo>
                    <a:lnTo>
                      <a:pt x="6771041" y="9183388"/>
                    </a:lnTo>
                    <a:lnTo>
                      <a:pt x="6720027" y="9131617"/>
                    </a:lnTo>
                    <a:lnTo>
                      <a:pt x="6707351" y="9086205"/>
                    </a:lnTo>
                    <a:lnTo>
                      <a:pt x="6723003" y="9056456"/>
                    </a:lnTo>
                    <a:lnTo>
                      <a:pt x="6739753" y="9026963"/>
                    </a:lnTo>
                    <a:lnTo>
                      <a:pt x="6756505" y="8997477"/>
                    </a:lnTo>
                    <a:lnTo>
                      <a:pt x="6774020" y="8968782"/>
                    </a:lnTo>
                    <a:lnTo>
                      <a:pt x="6779198" y="8935828"/>
                    </a:lnTo>
                    <a:lnTo>
                      <a:pt x="6754632" y="8922269"/>
                    </a:lnTo>
                    <a:lnTo>
                      <a:pt x="6710216" y="8892711"/>
                    </a:lnTo>
                    <a:lnTo>
                      <a:pt x="6694868" y="8867821"/>
                    </a:lnTo>
                    <a:lnTo>
                      <a:pt x="6699532" y="8846751"/>
                    </a:lnTo>
                    <a:lnTo>
                      <a:pt x="6723431" y="8821571"/>
                    </a:lnTo>
                    <a:lnTo>
                      <a:pt x="6751454" y="8798740"/>
                    </a:lnTo>
                    <a:lnTo>
                      <a:pt x="6763751" y="8778447"/>
                    </a:lnTo>
                    <a:lnTo>
                      <a:pt x="6785747" y="8711568"/>
                    </a:lnTo>
                    <a:lnTo>
                      <a:pt x="6796450" y="8681654"/>
                    </a:lnTo>
                    <a:lnTo>
                      <a:pt x="6829530" y="8661071"/>
                    </a:lnTo>
                    <a:lnTo>
                      <a:pt x="6867794" y="8650856"/>
                    </a:lnTo>
                    <a:lnTo>
                      <a:pt x="6889371" y="8650189"/>
                    </a:lnTo>
                    <a:lnTo>
                      <a:pt x="6932541" y="8648851"/>
                    </a:lnTo>
                    <a:lnTo>
                      <a:pt x="6977822" y="8655043"/>
                    </a:lnTo>
                    <a:lnTo>
                      <a:pt x="7000912" y="8639308"/>
                    </a:lnTo>
                    <a:lnTo>
                      <a:pt x="7018660" y="8627212"/>
                    </a:lnTo>
                    <a:lnTo>
                      <a:pt x="7034659" y="8604580"/>
                    </a:lnTo>
                    <a:lnTo>
                      <a:pt x="7051237" y="8590340"/>
                    </a:lnTo>
                    <a:lnTo>
                      <a:pt x="7086519" y="8560010"/>
                    </a:lnTo>
                    <a:lnTo>
                      <a:pt x="7130045" y="8522941"/>
                    </a:lnTo>
                    <a:lnTo>
                      <a:pt x="7177735" y="8492407"/>
                    </a:lnTo>
                    <a:lnTo>
                      <a:pt x="7201588" y="8477139"/>
                    </a:lnTo>
                    <a:lnTo>
                      <a:pt x="7227605" y="8464312"/>
                    </a:lnTo>
                    <a:lnTo>
                      <a:pt x="7252546" y="8454321"/>
                    </a:lnTo>
                    <a:lnTo>
                      <a:pt x="7277496" y="8444329"/>
                    </a:lnTo>
                    <a:lnTo>
                      <a:pt x="7302655" y="8437795"/>
                    </a:lnTo>
                    <a:lnTo>
                      <a:pt x="7327360" y="8436640"/>
                    </a:lnTo>
                    <a:lnTo>
                      <a:pt x="7376049" y="8434345"/>
                    </a:lnTo>
                    <a:lnTo>
                      <a:pt x="7428182" y="8447837"/>
                    </a:lnTo>
                    <a:lnTo>
                      <a:pt x="7476985" y="8437999"/>
                    </a:lnTo>
                    <a:lnTo>
                      <a:pt x="7497923" y="8433765"/>
                    </a:lnTo>
                    <a:lnTo>
                      <a:pt x="7524356" y="8421135"/>
                    </a:lnTo>
                    <a:lnTo>
                      <a:pt x="7550432" y="8412153"/>
                    </a:lnTo>
                    <a:lnTo>
                      <a:pt x="7576508" y="8403170"/>
                    </a:lnTo>
                    <a:lnTo>
                      <a:pt x="7602131" y="8397084"/>
                    </a:lnTo>
                    <a:lnTo>
                      <a:pt x="7623878" y="8408077"/>
                    </a:lnTo>
                    <a:lnTo>
                      <a:pt x="7643335" y="8429787"/>
                    </a:lnTo>
                    <a:lnTo>
                      <a:pt x="7650680" y="8457097"/>
                    </a:lnTo>
                    <a:lnTo>
                      <a:pt x="7653808" y="8486965"/>
                    </a:lnTo>
                    <a:lnTo>
                      <a:pt x="7660627" y="8517942"/>
                    </a:lnTo>
                    <a:lnTo>
                      <a:pt x="7679633" y="8545772"/>
                    </a:lnTo>
                    <a:lnTo>
                      <a:pt x="7719097" y="8567219"/>
                    </a:lnTo>
                    <a:lnTo>
                      <a:pt x="7727999" y="8596124"/>
                    </a:lnTo>
                    <a:lnTo>
                      <a:pt x="7722815" y="8640712"/>
                    </a:lnTo>
                    <a:lnTo>
                      <a:pt x="7732703" y="8662437"/>
                    </a:lnTo>
                    <a:lnTo>
                      <a:pt x="7742429" y="8683837"/>
                    </a:lnTo>
                    <a:lnTo>
                      <a:pt x="7767938" y="8693630"/>
                    </a:lnTo>
                    <a:lnTo>
                      <a:pt x="7778945" y="8714120"/>
                    </a:lnTo>
                    <a:lnTo>
                      <a:pt x="7789933" y="8750465"/>
                    </a:lnTo>
                    <a:lnTo>
                      <a:pt x="7823829" y="8759006"/>
                    </a:lnTo>
                    <a:lnTo>
                      <a:pt x="7840073" y="8740257"/>
                    </a:lnTo>
                    <a:lnTo>
                      <a:pt x="7845673" y="8709748"/>
                    </a:lnTo>
                    <a:lnTo>
                      <a:pt x="7846953" y="8674676"/>
                    </a:lnTo>
                    <a:lnTo>
                      <a:pt x="7852029" y="8640007"/>
                    </a:lnTo>
                    <a:lnTo>
                      <a:pt x="7866354" y="8614128"/>
                    </a:lnTo>
                    <a:lnTo>
                      <a:pt x="7897279" y="8603946"/>
                    </a:lnTo>
                    <a:lnTo>
                      <a:pt x="7931202" y="8612975"/>
                    </a:lnTo>
                    <a:lnTo>
                      <a:pt x="7944206" y="8652867"/>
                    </a:lnTo>
                    <a:lnTo>
                      <a:pt x="7966648" y="8661071"/>
                    </a:lnTo>
                    <a:lnTo>
                      <a:pt x="7990746" y="8669895"/>
                    </a:lnTo>
                    <a:lnTo>
                      <a:pt x="8027435" y="8665523"/>
                    </a:lnTo>
                    <a:lnTo>
                      <a:pt x="8048262" y="8652913"/>
                    </a:lnTo>
                    <a:lnTo>
                      <a:pt x="8072446" y="8638260"/>
                    </a:lnTo>
                    <a:lnTo>
                      <a:pt x="8086942" y="8620881"/>
                    </a:lnTo>
                    <a:lnTo>
                      <a:pt x="8104792" y="8584286"/>
                    </a:lnTo>
                    <a:lnTo>
                      <a:pt x="8109467" y="8546814"/>
                    </a:lnTo>
                    <a:lnTo>
                      <a:pt x="8110509" y="8507944"/>
                    </a:lnTo>
                    <a:lnTo>
                      <a:pt x="8113873" y="8474146"/>
                    </a:lnTo>
                    <a:lnTo>
                      <a:pt x="8127156" y="8447521"/>
                    </a:lnTo>
                    <a:lnTo>
                      <a:pt x="8160060" y="8439384"/>
                    </a:lnTo>
                    <a:lnTo>
                      <a:pt x="8189729" y="8458403"/>
                    </a:lnTo>
                    <a:lnTo>
                      <a:pt x="8202727" y="8491760"/>
                    </a:lnTo>
                    <a:lnTo>
                      <a:pt x="8201970" y="8515528"/>
                    </a:lnTo>
                    <a:lnTo>
                      <a:pt x="8201204" y="8539303"/>
                    </a:lnTo>
                    <a:lnTo>
                      <a:pt x="8196628" y="8566315"/>
                    </a:lnTo>
                    <a:lnTo>
                      <a:pt x="8195161" y="8590340"/>
                    </a:lnTo>
                    <a:lnTo>
                      <a:pt x="8193704" y="8614367"/>
                    </a:lnTo>
                    <a:lnTo>
                      <a:pt x="8203328" y="8648831"/>
                    </a:lnTo>
                    <a:lnTo>
                      <a:pt x="8230586" y="8662060"/>
                    </a:lnTo>
                    <a:lnTo>
                      <a:pt x="8253654" y="8666512"/>
                    </a:lnTo>
                    <a:lnTo>
                      <a:pt x="8276729" y="8670969"/>
                    </a:lnTo>
                    <a:lnTo>
                      <a:pt x="8300696" y="8674103"/>
                    </a:lnTo>
                    <a:lnTo>
                      <a:pt x="8326521" y="8678462"/>
                    </a:lnTo>
                    <a:lnTo>
                      <a:pt x="8387621" y="8690213"/>
                    </a:lnTo>
                    <a:lnTo>
                      <a:pt x="8446799" y="8701881"/>
                    </a:lnTo>
                    <a:lnTo>
                      <a:pt x="8505980" y="8713540"/>
                    </a:lnTo>
                    <a:lnTo>
                      <a:pt x="8564128" y="8724513"/>
                    </a:lnTo>
                    <a:lnTo>
                      <a:pt x="8590198" y="8711634"/>
                    </a:lnTo>
                    <a:lnTo>
                      <a:pt x="8606600" y="8678033"/>
                    </a:lnTo>
                    <a:lnTo>
                      <a:pt x="8623628" y="8642032"/>
                    </a:lnTo>
                    <a:lnTo>
                      <a:pt x="8640657" y="8606023"/>
                    </a:lnTo>
                    <a:lnTo>
                      <a:pt x="8658507" y="8567424"/>
                    </a:lnTo>
                    <a:lnTo>
                      <a:pt x="8675318" y="8546814"/>
                    </a:lnTo>
                    <a:lnTo>
                      <a:pt x="8695974" y="8521484"/>
                    </a:lnTo>
                    <a:lnTo>
                      <a:pt x="8726323" y="8497636"/>
                    </a:lnTo>
                    <a:lnTo>
                      <a:pt x="8750129" y="8474726"/>
                    </a:lnTo>
                    <a:lnTo>
                      <a:pt x="8758947" y="8442318"/>
                    </a:lnTo>
                    <a:lnTo>
                      <a:pt x="8755564" y="8418958"/>
                    </a:lnTo>
                    <a:lnTo>
                      <a:pt x="8752175" y="8395594"/>
                    </a:lnTo>
                    <a:lnTo>
                      <a:pt x="8747599" y="8371278"/>
                    </a:lnTo>
                    <a:lnTo>
                      <a:pt x="8761341" y="8335903"/>
                    </a:lnTo>
                    <a:lnTo>
                      <a:pt x="8796210" y="8306279"/>
                    </a:lnTo>
                    <a:lnTo>
                      <a:pt x="8809973" y="8288380"/>
                    </a:lnTo>
                    <a:lnTo>
                      <a:pt x="8829963" y="8262370"/>
                    </a:lnTo>
                    <a:lnTo>
                      <a:pt x="8847267" y="8235264"/>
                    </a:lnTo>
                    <a:lnTo>
                      <a:pt x="8863015" y="8208126"/>
                    </a:lnTo>
                    <a:lnTo>
                      <a:pt x="8878769" y="8180988"/>
                    </a:lnTo>
                    <a:lnTo>
                      <a:pt x="8892065" y="8153376"/>
                    </a:lnTo>
                    <a:lnTo>
                      <a:pt x="8903825" y="8122432"/>
                    </a:lnTo>
                    <a:lnTo>
                      <a:pt x="8918717" y="8083265"/>
                    </a:lnTo>
                    <a:lnTo>
                      <a:pt x="8914609" y="8031970"/>
                    </a:lnTo>
                    <a:lnTo>
                      <a:pt x="8907899" y="7986413"/>
                    </a:lnTo>
                    <a:lnTo>
                      <a:pt x="8901199" y="7940855"/>
                    </a:lnTo>
                    <a:lnTo>
                      <a:pt x="8891928" y="7901206"/>
                    </a:lnTo>
                    <a:lnTo>
                      <a:pt x="8939569" y="7855325"/>
                    </a:lnTo>
                    <a:lnTo>
                      <a:pt x="9000532" y="7849575"/>
                    </a:lnTo>
                    <a:lnTo>
                      <a:pt x="9050718" y="7836794"/>
                    </a:lnTo>
                    <a:lnTo>
                      <a:pt x="9075815" y="7830404"/>
                    </a:lnTo>
                    <a:lnTo>
                      <a:pt x="9098480" y="7822021"/>
                    </a:lnTo>
                    <a:lnTo>
                      <a:pt x="9114649" y="7808224"/>
                    </a:lnTo>
                    <a:lnTo>
                      <a:pt x="9130822" y="7794435"/>
                    </a:lnTo>
                    <a:lnTo>
                      <a:pt x="9140471" y="7775409"/>
                    </a:lnTo>
                    <a:lnTo>
                      <a:pt x="9140490" y="7747017"/>
                    </a:lnTo>
                    <a:lnTo>
                      <a:pt x="9104284" y="7659199"/>
                    </a:lnTo>
                    <a:lnTo>
                      <a:pt x="9097993" y="7624853"/>
                    </a:lnTo>
                    <a:lnTo>
                      <a:pt x="9091404" y="7598652"/>
                    </a:lnTo>
                    <a:lnTo>
                      <a:pt x="9088806" y="7574270"/>
                    </a:lnTo>
                    <a:lnTo>
                      <a:pt x="9093097" y="7529596"/>
                    </a:lnTo>
                    <a:lnTo>
                      <a:pt x="9081194" y="7480017"/>
                    </a:lnTo>
                    <a:lnTo>
                      <a:pt x="9062538" y="7443250"/>
                    </a:lnTo>
                    <a:lnTo>
                      <a:pt x="9050718" y="7412412"/>
                    </a:lnTo>
                    <a:lnTo>
                      <a:pt x="9059595" y="7362093"/>
                    </a:lnTo>
                    <a:lnTo>
                      <a:pt x="9077052" y="7345197"/>
                    </a:lnTo>
                    <a:lnTo>
                      <a:pt x="9096970" y="7333517"/>
                    </a:lnTo>
                    <a:lnTo>
                      <a:pt x="9116885" y="7321844"/>
                    </a:lnTo>
                    <a:lnTo>
                      <a:pt x="9139467" y="7315546"/>
                    </a:lnTo>
                    <a:lnTo>
                      <a:pt x="9162259" y="7304954"/>
                    </a:lnTo>
                    <a:lnTo>
                      <a:pt x="9185051" y="7294363"/>
                    </a:lnTo>
                    <a:lnTo>
                      <a:pt x="9207329" y="7279920"/>
                    </a:lnTo>
                    <a:lnTo>
                      <a:pt x="9226190" y="7253264"/>
                    </a:lnTo>
                    <a:lnTo>
                      <a:pt x="9245045" y="7226613"/>
                    </a:lnTo>
                    <a:lnTo>
                      <a:pt x="9260247" y="7188000"/>
                    </a:lnTo>
                    <a:lnTo>
                      <a:pt x="9268352" y="7128126"/>
                    </a:lnTo>
                    <a:lnTo>
                      <a:pt x="9297652" y="7134760"/>
                    </a:lnTo>
                    <a:lnTo>
                      <a:pt x="9313837" y="7148900"/>
                    </a:lnTo>
                    <a:lnTo>
                      <a:pt x="9342564" y="7164483"/>
                    </a:lnTo>
                    <a:lnTo>
                      <a:pt x="9369009" y="7163494"/>
                    </a:lnTo>
                    <a:lnTo>
                      <a:pt x="9395897" y="7159194"/>
                    </a:lnTo>
                    <a:lnTo>
                      <a:pt x="9422224" y="7138163"/>
                    </a:lnTo>
                    <a:lnTo>
                      <a:pt x="9456061" y="7109086"/>
                    </a:lnTo>
                    <a:lnTo>
                      <a:pt x="9480193" y="7088345"/>
                    </a:lnTo>
                    <a:lnTo>
                      <a:pt x="9518687" y="7052911"/>
                    </a:lnTo>
                    <a:lnTo>
                      <a:pt x="9543116" y="7013869"/>
                    </a:lnTo>
                    <a:lnTo>
                      <a:pt x="9555330" y="6994355"/>
                    </a:lnTo>
                    <a:lnTo>
                      <a:pt x="9563791" y="6973897"/>
                    </a:lnTo>
                    <a:lnTo>
                      <a:pt x="9568690" y="6934150"/>
                    </a:lnTo>
                    <a:lnTo>
                      <a:pt x="9551280" y="6896895"/>
                    </a:lnTo>
                    <a:lnTo>
                      <a:pt x="9523790" y="6866815"/>
                    </a:lnTo>
                    <a:lnTo>
                      <a:pt x="9499872" y="6834474"/>
                    </a:lnTo>
                    <a:lnTo>
                      <a:pt x="9485982" y="6796237"/>
                    </a:lnTo>
                    <a:lnTo>
                      <a:pt x="9480695" y="6773689"/>
                    </a:lnTo>
                    <a:lnTo>
                      <a:pt x="9481520" y="6750118"/>
                    </a:lnTo>
                    <a:lnTo>
                      <a:pt x="9488701" y="6726872"/>
                    </a:lnTo>
                    <a:lnTo>
                      <a:pt x="9495894" y="6703618"/>
                    </a:lnTo>
                    <a:lnTo>
                      <a:pt x="9509580" y="6680312"/>
                    </a:lnTo>
                    <a:lnTo>
                      <a:pt x="9525427" y="6660217"/>
                    </a:lnTo>
                    <a:lnTo>
                      <a:pt x="9541281" y="6640122"/>
                    </a:lnTo>
                    <a:lnTo>
                      <a:pt x="9560514" y="6622969"/>
                    </a:lnTo>
                    <a:lnTo>
                      <a:pt x="9581195" y="6609891"/>
                    </a:lnTo>
                    <a:lnTo>
                      <a:pt x="9601882" y="6596814"/>
                    </a:lnTo>
                    <a:lnTo>
                      <a:pt x="9623428" y="6588965"/>
                    </a:lnTo>
                    <a:lnTo>
                      <a:pt x="9645126" y="6586770"/>
                    </a:lnTo>
                    <a:lnTo>
                      <a:pt x="9684258" y="6588828"/>
                    </a:lnTo>
                    <a:lnTo>
                      <a:pt x="9720253" y="6603751"/>
                    </a:lnTo>
                    <a:lnTo>
                      <a:pt x="9752583" y="6624855"/>
                    </a:lnTo>
                    <a:lnTo>
                      <a:pt x="9782999" y="6645385"/>
                    </a:lnTo>
                    <a:lnTo>
                      <a:pt x="9807122" y="6664662"/>
                    </a:lnTo>
                    <a:lnTo>
                      <a:pt x="9826029" y="6646619"/>
                    </a:lnTo>
                    <a:lnTo>
                      <a:pt x="9849014" y="6629241"/>
                    </a:lnTo>
                    <a:lnTo>
                      <a:pt x="9865611" y="6604147"/>
                    </a:lnTo>
                    <a:lnTo>
                      <a:pt x="9880438" y="6578605"/>
                    </a:lnTo>
                    <a:lnTo>
                      <a:pt x="9896930" y="6554844"/>
                    </a:lnTo>
                    <a:lnTo>
                      <a:pt x="9921881" y="6525931"/>
                    </a:lnTo>
                    <a:lnTo>
                      <a:pt x="9932128" y="6498359"/>
                    </a:lnTo>
                    <a:lnTo>
                      <a:pt x="9938894" y="6471379"/>
                    </a:lnTo>
                    <a:lnTo>
                      <a:pt x="9928079" y="6446443"/>
                    </a:lnTo>
                    <a:lnTo>
                      <a:pt x="9894038" y="6426263"/>
                    </a:lnTo>
                    <a:lnTo>
                      <a:pt x="9894233" y="6403985"/>
                    </a:lnTo>
                    <a:lnTo>
                      <a:pt x="9910089" y="6389872"/>
                    </a:lnTo>
                    <a:lnTo>
                      <a:pt x="9928039" y="6377295"/>
                    </a:lnTo>
                    <a:lnTo>
                      <a:pt x="9945997" y="6364726"/>
                    </a:lnTo>
                    <a:lnTo>
                      <a:pt x="9966678" y="6352961"/>
                    </a:lnTo>
                    <a:lnTo>
                      <a:pt x="9987157" y="6324088"/>
                    </a:lnTo>
                    <a:lnTo>
                      <a:pt x="9997954" y="6248352"/>
                    </a:lnTo>
                    <a:lnTo>
                      <a:pt x="10009658" y="6219513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76" name="Kiev City¬0" descr="Kiev City¬0">
                <a:extLst>
                  <a:ext uri="{FF2B5EF4-FFF2-40B4-BE49-F238E27FC236}">
                    <a16:creationId xmlns:a16="http://schemas.microsoft.com/office/drawing/2014/main" id="{723AAB0A-C1C7-4899-B35D-CBD7F78FAD3A}"/>
                  </a:ext>
                </a:extLst>
              </p:cNvPr>
              <p:cNvSpPr/>
              <p:nvPr/>
            </p:nvSpPr>
            <p:spPr>
              <a:xfrm>
                <a:off x="28334594" y="9464853"/>
                <a:ext cx="2072942" cy="2026098"/>
              </a:xfrm>
              <a:custGeom>
                <a:avLst/>
                <a:gdLst/>
                <a:ahLst/>
                <a:cxnLst/>
                <a:rect l="0" t="0" r="0" b="0"/>
                <a:pathLst>
                  <a:path w="2072938" h="2026101">
                    <a:moveTo>
                      <a:pt x="1742749" y="0"/>
                    </a:moveTo>
                    <a:lnTo>
                      <a:pt x="1762813" y="13006"/>
                    </a:lnTo>
                    <a:lnTo>
                      <a:pt x="1800898" y="51091"/>
                    </a:lnTo>
                    <a:lnTo>
                      <a:pt x="1877070" y="105499"/>
                    </a:lnTo>
                    <a:lnTo>
                      <a:pt x="1947800" y="100058"/>
                    </a:lnTo>
                    <a:lnTo>
                      <a:pt x="2062057" y="203434"/>
                    </a:lnTo>
                    <a:lnTo>
                      <a:pt x="2067495" y="274163"/>
                    </a:lnTo>
                    <a:lnTo>
                      <a:pt x="1926034" y="366657"/>
                    </a:lnTo>
                    <a:lnTo>
                      <a:pt x="1893391" y="334012"/>
                    </a:lnTo>
                    <a:lnTo>
                      <a:pt x="1844424" y="361216"/>
                    </a:lnTo>
                    <a:lnTo>
                      <a:pt x="1844424" y="421065"/>
                    </a:lnTo>
                    <a:lnTo>
                      <a:pt x="1784576" y="470032"/>
                    </a:lnTo>
                    <a:lnTo>
                      <a:pt x="1779135" y="546203"/>
                    </a:lnTo>
                    <a:lnTo>
                      <a:pt x="1833544" y="567966"/>
                    </a:lnTo>
                    <a:lnTo>
                      <a:pt x="1844424" y="758394"/>
                    </a:lnTo>
                    <a:lnTo>
                      <a:pt x="1958680" y="791039"/>
                    </a:lnTo>
                    <a:lnTo>
                      <a:pt x="2040294" y="883532"/>
                    </a:lnTo>
                    <a:lnTo>
                      <a:pt x="2023969" y="921618"/>
                    </a:lnTo>
                    <a:lnTo>
                      <a:pt x="2072937" y="992348"/>
                    </a:lnTo>
                    <a:lnTo>
                      <a:pt x="2034852" y="1019553"/>
                    </a:lnTo>
                    <a:lnTo>
                      <a:pt x="1969563" y="1014112"/>
                    </a:lnTo>
                    <a:lnTo>
                      <a:pt x="1958680" y="1068520"/>
                    </a:lnTo>
                    <a:lnTo>
                      <a:pt x="1887950" y="1155572"/>
                    </a:lnTo>
                    <a:lnTo>
                      <a:pt x="1893391" y="1186859"/>
                    </a:lnTo>
                    <a:lnTo>
                      <a:pt x="1893391" y="1220862"/>
                    </a:lnTo>
                    <a:lnTo>
                      <a:pt x="1871628" y="1231744"/>
                    </a:lnTo>
                    <a:lnTo>
                      <a:pt x="1851223" y="1237184"/>
                    </a:lnTo>
                    <a:lnTo>
                      <a:pt x="1828102" y="1220862"/>
                    </a:lnTo>
                    <a:lnTo>
                      <a:pt x="1806339" y="1166454"/>
                    </a:lnTo>
                    <a:lnTo>
                      <a:pt x="1757372" y="1166454"/>
                    </a:lnTo>
                    <a:lnTo>
                      <a:pt x="1762813" y="1280710"/>
                    </a:lnTo>
                    <a:lnTo>
                      <a:pt x="1626790" y="1324237"/>
                    </a:lnTo>
                    <a:lnTo>
                      <a:pt x="1566943" y="1280710"/>
                    </a:lnTo>
                    <a:lnTo>
                      <a:pt x="1523417" y="1286151"/>
                    </a:lnTo>
                    <a:lnTo>
                      <a:pt x="1490771" y="1248066"/>
                    </a:lnTo>
                    <a:lnTo>
                      <a:pt x="1338430" y="1275270"/>
                    </a:lnTo>
                    <a:lnTo>
                      <a:pt x="1360872" y="1303193"/>
                    </a:lnTo>
                    <a:lnTo>
                      <a:pt x="1383314" y="1331036"/>
                    </a:lnTo>
                    <a:lnTo>
                      <a:pt x="1412010" y="1363319"/>
                    </a:lnTo>
                    <a:lnTo>
                      <a:pt x="1426849" y="1400408"/>
                    </a:lnTo>
                    <a:lnTo>
                      <a:pt x="1460850" y="1427612"/>
                    </a:lnTo>
                    <a:lnTo>
                      <a:pt x="1460850" y="1454816"/>
                    </a:lnTo>
                    <a:lnTo>
                      <a:pt x="1460850" y="1482020"/>
                    </a:lnTo>
                    <a:lnTo>
                      <a:pt x="1458134" y="1569073"/>
                    </a:lnTo>
                    <a:lnTo>
                      <a:pt x="1463575" y="1732297"/>
                    </a:lnTo>
                    <a:lnTo>
                      <a:pt x="1398286" y="1759501"/>
                    </a:lnTo>
                    <a:lnTo>
                      <a:pt x="1436371" y="1835672"/>
                    </a:lnTo>
                    <a:lnTo>
                      <a:pt x="1403725" y="1884639"/>
                    </a:lnTo>
                    <a:lnTo>
                      <a:pt x="1441812" y="1928166"/>
                    </a:lnTo>
                    <a:lnTo>
                      <a:pt x="1463575" y="1971692"/>
                    </a:lnTo>
                    <a:lnTo>
                      <a:pt x="1251384" y="2026100"/>
                    </a:lnTo>
                    <a:lnTo>
                      <a:pt x="1093601" y="1726856"/>
                    </a:lnTo>
                    <a:lnTo>
                      <a:pt x="1094280" y="1703727"/>
                    </a:lnTo>
                    <a:lnTo>
                      <a:pt x="1092243" y="1680606"/>
                    </a:lnTo>
                    <a:lnTo>
                      <a:pt x="1090197" y="1657484"/>
                    </a:lnTo>
                    <a:lnTo>
                      <a:pt x="1085444" y="1634363"/>
                    </a:lnTo>
                    <a:lnTo>
                      <a:pt x="1058239" y="1634363"/>
                    </a:lnTo>
                    <a:lnTo>
                      <a:pt x="1025593" y="1619398"/>
                    </a:lnTo>
                    <a:lnTo>
                      <a:pt x="1003824" y="1596276"/>
                    </a:lnTo>
                    <a:lnTo>
                      <a:pt x="1028312" y="1547310"/>
                    </a:lnTo>
                    <a:lnTo>
                      <a:pt x="1028312" y="1520106"/>
                    </a:lnTo>
                    <a:lnTo>
                      <a:pt x="1017429" y="1492901"/>
                    </a:lnTo>
                    <a:lnTo>
                      <a:pt x="997703" y="1461616"/>
                    </a:lnTo>
                    <a:lnTo>
                      <a:pt x="980703" y="1448010"/>
                    </a:lnTo>
                    <a:lnTo>
                      <a:pt x="963702" y="1434411"/>
                    </a:lnTo>
                    <a:lnTo>
                      <a:pt x="943976" y="1424888"/>
                    </a:lnTo>
                    <a:lnTo>
                      <a:pt x="905898" y="1430329"/>
                    </a:lnTo>
                    <a:lnTo>
                      <a:pt x="888209" y="1416731"/>
                    </a:lnTo>
                    <a:lnTo>
                      <a:pt x="873252" y="1397685"/>
                    </a:lnTo>
                    <a:lnTo>
                      <a:pt x="846047" y="1381362"/>
                    </a:lnTo>
                    <a:lnTo>
                      <a:pt x="843325" y="1350076"/>
                    </a:lnTo>
                    <a:lnTo>
                      <a:pt x="848763" y="1324237"/>
                    </a:lnTo>
                    <a:lnTo>
                      <a:pt x="837883" y="1291592"/>
                    </a:lnTo>
                    <a:lnTo>
                      <a:pt x="696422" y="1318797"/>
                    </a:lnTo>
                    <a:lnTo>
                      <a:pt x="680101" y="1248066"/>
                    </a:lnTo>
                    <a:lnTo>
                      <a:pt x="723627" y="1166454"/>
                    </a:lnTo>
                    <a:lnTo>
                      <a:pt x="565844" y="997789"/>
                    </a:lnTo>
                    <a:lnTo>
                      <a:pt x="533198" y="1019553"/>
                    </a:lnTo>
                    <a:lnTo>
                      <a:pt x="489672" y="981467"/>
                    </a:lnTo>
                    <a:lnTo>
                      <a:pt x="505994" y="943381"/>
                    </a:lnTo>
                    <a:lnTo>
                      <a:pt x="429825" y="812803"/>
                    </a:lnTo>
                    <a:lnTo>
                      <a:pt x="380857" y="807362"/>
                    </a:lnTo>
                    <a:lnTo>
                      <a:pt x="342769" y="769276"/>
                    </a:lnTo>
                    <a:lnTo>
                      <a:pt x="130581" y="801921"/>
                    </a:lnTo>
                    <a:lnTo>
                      <a:pt x="92493" y="845447"/>
                    </a:lnTo>
                    <a:lnTo>
                      <a:pt x="102018" y="867210"/>
                    </a:lnTo>
                    <a:lnTo>
                      <a:pt x="103376" y="891691"/>
                    </a:lnTo>
                    <a:lnTo>
                      <a:pt x="54409" y="899855"/>
                    </a:lnTo>
                    <a:lnTo>
                      <a:pt x="0" y="883532"/>
                    </a:lnTo>
                    <a:lnTo>
                      <a:pt x="43526" y="709427"/>
                    </a:lnTo>
                    <a:lnTo>
                      <a:pt x="54409" y="627815"/>
                    </a:lnTo>
                    <a:lnTo>
                      <a:pt x="103376" y="546203"/>
                    </a:lnTo>
                    <a:lnTo>
                      <a:pt x="119019" y="529881"/>
                    </a:lnTo>
                    <a:lnTo>
                      <a:pt x="114256" y="502677"/>
                    </a:lnTo>
                    <a:lnTo>
                      <a:pt x="96577" y="465270"/>
                    </a:lnTo>
                    <a:lnTo>
                      <a:pt x="91135" y="428544"/>
                    </a:lnTo>
                    <a:lnTo>
                      <a:pt x="114256" y="404743"/>
                    </a:lnTo>
                    <a:lnTo>
                      <a:pt x="155745" y="375494"/>
                    </a:lnTo>
                    <a:lnTo>
                      <a:pt x="175465" y="354417"/>
                    </a:lnTo>
                    <a:lnTo>
                      <a:pt x="195191" y="333333"/>
                    </a:lnTo>
                    <a:lnTo>
                      <a:pt x="212191" y="312249"/>
                    </a:lnTo>
                    <a:lnTo>
                      <a:pt x="223074" y="290486"/>
                    </a:lnTo>
                    <a:lnTo>
                      <a:pt x="233954" y="265999"/>
                    </a:lnTo>
                    <a:lnTo>
                      <a:pt x="250276" y="246960"/>
                    </a:lnTo>
                    <a:lnTo>
                      <a:pt x="282922" y="246960"/>
                    </a:lnTo>
                    <a:lnTo>
                      <a:pt x="301969" y="260558"/>
                    </a:lnTo>
                    <a:lnTo>
                      <a:pt x="331890" y="287763"/>
                    </a:lnTo>
                    <a:lnTo>
                      <a:pt x="369974" y="285045"/>
                    </a:lnTo>
                    <a:lnTo>
                      <a:pt x="353653" y="225197"/>
                    </a:lnTo>
                    <a:lnTo>
                      <a:pt x="380857" y="187111"/>
                    </a:lnTo>
                    <a:lnTo>
                      <a:pt x="261159" y="29328"/>
                    </a:lnTo>
                    <a:lnTo>
                      <a:pt x="451588" y="89176"/>
                    </a:lnTo>
                    <a:lnTo>
                      <a:pt x="500555" y="40209"/>
                    </a:lnTo>
                    <a:lnTo>
                      <a:pt x="772594" y="51091"/>
                    </a:lnTo>
                    <a:lnTo>
                      <a:pt x="788916" y="116381"/>
                    </a:lnTo>
                    <a:lnTo>
                      <a:pt x="865088" y="154466"/>
                    </a:lnTo>
                    <a:lnTo>
                      <a:pt x="984786" y="241519"/>
                    </a:lnTo>
                    <a:lnTo>
                      <a:pt x="1158890" y="372098"/>
                    </a:lnTo>
                    <a:lnTo>
                      <a:pt x="1180653" y="306809"/>
                    </a:lnTo>
                    <a:lnTo>
                      <a:pt x="1485338" y="290486"/>
                    </a:lnTo>
                    <a:lnTo>
                      <a:pt x="1507102" y="214315"/>
                    </a:lnTo>
                    <a:lnTo>
                      <a:pt x="1577832" y="149025"/>
                    </a:lnTo>
                    <a:lnTo>
                      <a:pt x="1615917" y="170788"/>
                    </a:lnTo>
                    <a:lnTo>
                      <a:pt x="1659443" y="143585"/>
                    </a:lnTo>
                    <a:lnTo>
                      <a:pt x="1645843" y="117739"/>
                    </a:lnTo>
                    <a:lnTo>
                      <a:pt x="1640396" y="83735"/>
                    </a:lnTo>
                    <a:lnTo>
                      <a:pt x="1654001" y="67413"/>
                    </a:lnTo>
                    <a:lnTo>
                      <a:pt x="1667600" y="51091"/>
                    </a:lnTo>
                    <a:lnTo>
                      <a:pt x="1685289" y="27283"/>
                    </a:lnTo>
                    <a:lnTo>
                      <a:pt x="1704327" y="13006"/>
                    </a:lnTo>
                    <a:lnTo>
                      <a:pt x="1723033" y="1530"/>
                    </a:lnTo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77" name="Chernihiv¬0" descr="Chernihiv¬0">
                <a:extLst>
                  <a:ext uri="{FF2B5EF4-FFF2-40B4-BE49-F238E27FC236}">
                    <a16:creationId xmlns:a16="http://schemas.microsoft.com/office/drawing/2014/main" id="{105C4AB4-10E4-4D31-AA47-7BF70A50C9D7}"/>
                  </a:ext>
                </a:extLst>
              </p:cNvPr>
              <p:cNvSpPr/>
              <p:nvPr/>
            </p:nvSpPr>
            <p:spPr>
              <a:xfrm>
                <a:off x="29286240" y="-2"/>
                <a:ext cx="10443917" cy="10817649"/>
              </a:xfrm>
              <a:custGeom>
                <a:avLst/>
                <a:gdLst/>
                <a:ahLst/>
                <a:cxnLst/>
                <a:rect l="0" t="0" r="0" b="0"/>
                <a:pathLst>
                  <a:path w="10443919" h="10817651">
                    <a:moveTo>
                      <a:pt x="9383300" y="21610"/>
                    </a:moveTo>
                    <a:lnTo>
                      <a:pt x="9376374" y="106282"/>
                    </a:lnTo>
                    <a:lnTo>
                      <a:pt x="9343684" y="157779"/>
                    </a:lnTo>
                    <a:lnTo>
                      <a:pt x="9322734" y="190828"/>
                    </a:lnTo>
                    <a:lnTo>
                      <a:pt x="9286472" y="202155"/>
                    </a:lnTo>
                    <a:lnTo>
                      <a:pt x="9256632" y="224429"/>
                    </a:lnTo>
                    <a:lnTo>
                      <a:pt x="9222371" y="223217"/>
                    </a:lnTo>
                    <a:lnTo>
                      <a:pt x="9187898" y="229062"/>
                    </a:lnTo>
                    <a:lnTo>
                      <a:pt x="9154623" y="236670"/>
                    </a:lnTo>
                    <a:lnTo>
                      <a:pt x="9116873" y="264533"/>
                    </a:lnTo>
                    <a:lnTo>
                      <a:pt x="9094899" y="363169"/>
                    </a:lnTo>
                    <a:lnTo>
                      <a:pt x="9055323" y="375411"/>
                    </a:lnTo>
                    <a:lnTo>
                      <a:pt x="9019025" y="375837"/>
                    </a:lnTo>
                    <a:lnTo>
                      <a:pt x="9020085" y="337155"/>
                    </a:lnTo>
                    <a:lnTo>
                      <a:pt x="8981874" y="330524"/>
                    </a:lnTo>
                    <a:lnTo>
                      <a:pt x="8910802" y="338261"/>
                    </a:lnTo>
                    <a:lnTo>
                      <a:pt x="8850741" y="408629"/>
                    </a:lnTo>
                    <a:lnTo>
                      <a:pt x="8805044" y="455663"/>
                    </a:lnTo>
                    <a:lnTo>
                      <a:pt x="8785452" y="475853"/>
                    </a:lnTo>
                    <a:lnTo>
                      <a:pt x="8754765" y="492154"/>
                    </a:lnTo>
                    <a:lnTo>
                      <a:pt x="8730239" y="505990"/>
                    </a:lnTo>
                    <a:lnTo>
                      <a:pt x="8699336" y="523460"/>
                    </a:lnTo>
                    <a:lnTo>
                      <a:pt x="8664693" y="541929"/>
                    </a:lnTo>
                    <a:lnTo>
                      <a:pt x="8636388" y="563118"/>
                    </a:lnTo>
                    <a:lnTo>
                      <a:pt x="8592775" y="595826"/>
                    </a:lnTo>
                    <a:lnTo>
                      <a:pt x="8518727" y="686598"/>
                    </a:lnTo>
                    <a:lnTo>
                      <a:pt x="8466358" y="696418"/>
                    </a:lnTo>
                    <a:lnTo>
                      <a:pt x="8361881" y="715992"/>
                    </a:lnTo>
                    <a:lnTo>
                      <a:pt x="8349385" y="582161"/>
                    </a:lnTo>
                    <a:lnTo>
                      <a:pt x="8244644" y="575360"/>
                    </a:lnTo>
                    <a:lnTo>
                      <a:pt x="8218804" y="573680"/>
                    </a:lnTo>
                    <a:lnTo>
                      <a:pt x="8189643" y="583755"/>
                    </a:lnTo>
                    <a:lnTo>
                      <a:pt x="8165756" y="591683"/>
                    </a:lnTo>
                    <a:lnTo>
                      <a:pt x="8139231" y="594976"/>
                    </a:lnTo>
                    <a:lnTo>
                      <a:pt x="8103360" y="604689"/>
                    </a:lnTo>
                    <a:lnTo>
                      <a:pt x="8080146" y="620502"/>
                    </a:lnTo>
                    <a:lnTo>
                      <a:pt x="8056938" y="627048"/>
                    </a:lnTo>
                    <a:lnTo>
                      <a:pt x="7983913" y="647578"/>
                    </a:lnTo>
                    <a:lnTo>
                      <a:pt x="7915440" y="645368"/>
                    </a:lnTo>
                    <a:lnTo>
                      <a:pt x="7840666" y="632488"/>
                    </a:lnTo>
                    <a:lnTo>
                      <a:pt x="7790381" y="618844"/>
                    </a:lnTo>
                    <a:lnTo>
                      <a:pt x="7732108" y="610661"/>
                    </a:lnTo>
                    <a:lnTo>
                      <a:pt x="7685606" y="586241"/>
                    </a:lnTo>
                    <a:lnTo>
                      <a:pt x="7644799" y="564818"/>
                    </a:lnTo>
                    <a:lnTo>
                      <a:pt x="7605775" y="537211"/>
                    </a:lnTo>
                    <a:lnTo>
                      <a:pt x="7564543" y="516871"/>
                    </a:lnTo>
                    <a:lnTo>
                      <a:pt x="7521315" y="495555"/>
                    </a:lnTo>
                    <a:lnTo>
                      <a:pt x="7476983" y="477596"/>
                    </a:lnTo>
                    <a:lnTo>
                      <a:pt x="7433971" y="455663"/>
                    </a:lnTo>
                    <a:lnTo>
                      <a:pt x="7370846" y="423443"/>
                    </a:lnTo>
                    <a:lnTo>
                      <a:pt x="7075894" y="238009"/>
                    </a:lnTo>
                    <a:lnTo>
                      <a:pt x="7020465" y="297879"/>
                    </a:lnTo>
                    <a:lnTo>
                      <a:pt x="7013752" y="329738"/>
                    </a:lnTo>
                    <a:lnTo>
                      <a:pt x="6985447" y="349121"/>
                    </a:lnTo>
                    <a:lnTo>
                      <a:pt x="6949734" y="330524"/>
                    </a:lnTo>
                    <a:lnTo>
                      <a:pt x="6927760" y="322852"/>
                    </a:lnTo>
                    <a:lnTo>
                      <a:pt x="6903703" y="318963"/>
                    </a:lnTo>
                    <a:lnTo>
                      <a:pt x="6881729" y="311481"/>
                    </a:lnTo>
                    <a:lnTo>
                      <a:pt x="6776018" y="275394"/>
                    </a:lnTo>
                    <a:lnTo>
                      <a:pt x="6696444" y="197161"/>
                    </a:lnTo>
                    <a:lnTo>
                      <a:pt x="6574318" y="248912"/>
                    </a:lnTo>
                    <a:lnTo>
                      <a:pt x="6542190" y="265362"/>
                    </a:lnTo>
                    <a:lnTo>
                      <a:pt x="6519748" y="286509"/>
                    </a:lnTo>
                    <a:lnTo>
                      <a:pt x="6511966" y="307486"/>
                    </a:lnTo>
                    <a:lnTo>
                      <a:pt x="6428268" y="469350"/>
                    </a:lnTo>
                    <a:lnTo>
                      <a:pt x="6585208" y="621118"/>
                    </a:lnTo>
                    <a:lnTo>
                      <a:pt x="6585208" y="658332"/>
                    </a:lnTo>
                    <a:lnTo>
                      <a:pt x="6585208" y="759475"/>
                    </a:lnTo>
                    <a:lnTo>
                      <a:pt x="6432398" y="775819"/>
                    </a:lnTo>
                    <a:lnTo>
                      <a:pt x="6416542" y="852840"/>
                    </a:lnTo>
                    <a:lnTo>
                      <a:pt x="6409268" y="887972"/>
                    </a:lnTo>
                    <a:lnTo>
                      <a:pt x="6437198" y="912944"/>
                    </a:lnTo>
                    <a:lnTo>
                      <a:pt x="6430141" y="948054"/>
                    </a:lnTo>
                    <a:lnTo>
                      <a:pt x="6421813" y="989647"/>
                    </a:lnTo>
                    <a:lnTo>
                      <a:pt x="6384063" y="1013917"/>
                    </a:lnTo>
                    <a:lnTo>
                      <a:pt x="6379815" y="1062311"/>
                    </a:lnTo>
                    <a:lnTo>
                      <a:pt x="6376585" y="1099292"/>
                    </a:lnTo>
                    <a:lnTo>
                      <a:pt x="6411103" y="1121225"/>
                    </a:lnTo>
                    <a:lnTo>
                      <a:pt x="6411103" y="1146643"/>
                    </a:lnTo>
                    <a:lnTo>
                      <a:pt x="6411103" y="1190340"/>
                    </a:lnTo>
                    <a:lnTo>
                      <a:pt x="6368849" y="1211487"/>
                    </a:lnTo>
                    <a:lnTo>
                      <a:pt x="6351247" y="1245938"/>
                    </a:lnTo>
                    <a:lnTo>
                      <a:pt x="6325453" y="1296520"/>
                    </a:lnTo>
                    <a:lnTo>
                      <a:pt x="6326470" y="1357580"/>
                    </a:lnTo>
                    <a:lnTo>
                      <a:pt x="6292763" y="1406441"/>
                    </a:lnTo>
                    <a:lnTo>
                      <a:pt x="6250471" y="1449500"/>
                    </a:lnTo>
                    <a:lnTo>
                      <a:pt x="6204899" y="1474069"/>
                    </a:lnTo>
                    <a:lnTo>
                      <a:pt x="6170005" y="1486120"/>
                    </a:lnTo>
                    <a:lnTo>
                      <a:pt x="6137697" y="1503016"/>
                    </a:lnTo>
                    <a:lnTo>
                      <a:pt x="6070027" y="1538423"/>
                    </a:lnTo>
                    <a:lnTo>
                      <a:pt x="6009289" y="1591279"/>
                    </a:lnTo>
                    <a:lnTo>
                      <a:pt x="5939111" y="1621353"/>
                    </a:lnTo>
                    <a:lnTo>
                      <a:pt x="5898006" y="1638972"/>
                    </a:lnTo>
                    <a:lnTo>
                      <a:pt x="5844323" y="1627771"/>
                    </a:lnTo>
                    <a:lnTo>
                      <a:pt x="5803091" y="1648557"/>
                    </a:lnTo>
                    <a:lnTo>
                      <a:pt x="5762117" y="1669215"/>
                    </a:lnTo>
                    <a:lnTo>
                      <a:pt x="5705330" y="1756990"/>
                    </a:lnTo>
                    <a:lnTo>
                      <a:pt x="5667071" y="1765534"/>
                    </a:lnTo>
                    <a:lnTo>
                      <a:pt x="5589411" y="1782834"/>
                    </a:lnTo>
                    <a:lnTo>
                      <a:pt x="5506737" y="1722284"/>
                    </a:lnTo>
                    <a:lnTo>
                      <a:pt x="5434475" y="1702965"/>
                    </a:lnTo>
                    <a:lnTo>
                      <a:pt x="5405912" y="1695336"/>
                    </a:lnTo>
                    <a:lnTo>
                      <a:pt x="5370249" y="1696163"/>
                    </a:lnTo>
                    <a:lnTo>
                      <a:pt x="5340623" y="1696163"/>
                    </a:lnTo>
                    <a:lnTo>
                      <a:pt x="5272829" y="1696163"/>
                    </a:lnTo>
                    <a:lnTo>
                      <a:pt x="5169837" y="1712508"/>
                    </a:lnTo>
                    <a:lnTo>
                      <a:pt x="5109388" y="1745131"/>
                    </a:lnTo>
                    <a:lnTo>
                      <a:pt x="5085758" y="1757883"/>
                    </a:lnTo>
                    <a:lnTo>
                      <a:pt x="5017744" y="1803449"/>
                    </a:lnTo>
                    <a:lnTo>
                      <a:pt x="4996489" y="1804979"/>
                    </a:lnTo>
                    <a:lnTo>
                      <a:pt x="4971796" y="1806765"/>
                    </a:lnTo>
                    <a:lnTo>
                      <a:pt x="4945187" y="1792738"/>
                    </a:lnTo>
                    <a:lnTo>
                      <a:pt x="4928481" y="1775056"/>
                    </a:lnTo>
                    <a:lnTo>
                      <a:pt x="4924611" y="1738627"/>
                    </a:lnTo>
                    <a:lnTo>
                      <a:pt x="4890356" y="1721008"/>
                    </a:lnTo>
                    <a:lnTo>
                      <a:pt x="4890396" y="1694803"/>
                    </a:lnTo>
                    <a:lnTo>
                      <a:pt x="4902557" y="1669619"/>
                    </a:lnTo>
                    <a:lnTo>
                      <a:pt x="4914500" y="1632404"/>
                    </a:lnTo>
                    <a:lnTo>
                      <a:pt x="4915390" y="1554405"/>
                    </a:lnTo>
                    <a:lnTo>
                      <a:pt x="4906718" y="1530219"/>
                    </a:lnTo>
                    <a:lnTo>
                      <a:pt x="4884744" y="1469010"/>
                    </a:lnTo>
                    <a:lnTo>
                      <a:pt x="4699462" y="1414453"/>
                    </a:lnTo>
                    <a:lnTo>
                      <a:pt x="4640120" y="1410522"/>
                    </a:lnTo>
                    <a:lnTo>
                      <a:pt x="4584480" y="1406844"/>
                    </a:lnTo>
                    <a:lnTo>
                      <a:pt x="4528586" y="1424186"/>
                    </a:lnTo>
                    <a:lnTo>
                      <a:pt x="4472812" y="1428205"/>
                    </a:lnTo>
                    <a:lnTo>
                      <a:pt x="4344129" y="1419578"/>
                    </a:lnTo>
                    <a:lnTo>
                      <a:pt x="4240349" y="1469138"/>
                    </a:lnTo>
                    <a:lnTo>
                      <a:pt x="4134126" y="1456769"/>
                    </a:lnTo>
                    <a:lnTo>
                      <a:pt x="4075063" y="1449862"/>
                    </a:lnTo>
                    <a:lnTo>
                      <a:pt x="4015067" y="1434623"/>
                    </a:lnTo>
                    <a:lnTo>
                      <a:pt x="3955939" y="1429565"/>
                    </a:lnTo>
                    <a:lnTo>
                      <a:pt x="3866676" y="1421935"/>
                    </a:lnTo>
                    <a:lnTo>
                      <a:pt x="3777032" y="1414284"/>
                    </a:lnTo>
                    <a:lnTo>
                      <a:pt x="3687980" y="1403721"/>
                    </a:lnTo>
                    <a:lnTo>
                      <a:pt x="3567327" y="1389439"/>
                    </a:lnTo>
                    <a:lnTo>
                      <a:pt x="3445678" y="1369652"/>
                    </a:lnTo>
                    <a:lnTo>
                      <a:pt x="3323447" y="1368356"/>
                    </a:lnTo>
                    <a:lnTo>
                      <a:pt x="3284724" y="1367953"/>
                    </a:lnTo>
                    <a:lnTo>
                      <a:pt x="3245067" y="1365635"/>
                    </a:lnTo>
                    <a:lnTo>
                      <a:pt x="3206468" y="1365635"/>
                    </a:lnTo>
                    <a:lnTo>
                      <a:pt x="3178966" y="1365635"/>
                    </a:lnTo>
                    <a:lnTo>
                      <a:pt x="3153740" y="1377877"/>
                    </a:lnTo>
                    <a:lnTo>
                      <a:pt x="3126222" y="1377877"/>
                    </a:lnTo>
                    <a:lnTo>
                      <a:pt x="3069413" y="1377877"/>
                    </a:lnTo>
                    <a:lnTo>
                      <a:pt x="3011389" y="1373733"/>
                    </a:lnTo>
                    <a:lnTo>
                      <a:pt x="2956192" y="1391480"/>
                    </a:lnTo>
                    <a:lnTo>
                      <a:pt x="2903848" y="1408290"/>
                    </a:lnTo>
                    <a:lnTo>
                      <a:pt x="2771487" y="1512983"/>
                    </a:lnTo>
                    <a:lnTo>
                      <a:pt x="2748081" y="1561504"/>
                    </a:lnTo>
                    <a:lnTo>
                      <a:pt x="2711336" y="1637717"/>
                    </a:lnTo>
                    <a:lnTo>
                      <a:pt x="2752756" y="1700329"/>
                    </a:lnTo>
                    <a:lnTo>
                      <a:pt x="2655587" y="1741050"/>
                    </a:lnTo>
                    <a:lnTo>
                      <a:pt x="2621967" y="1756374"/>
                    </a:lnTo>
                    <a:lnTo>
                      <a:pt x="2584283" y="1759094"/>
                    </a:lnTo>
                    <a:lnTo>
                      <a:pt x="2546180" y="1754057"/>
                    </a:lnTo>
                    <a:lnTo>
                      <a:pt x="2526367" y="1739690"/>
                    </a:lnTo>
                    <a:lnTo>
                      <a:pt x="2510111" y="1720881"/>
                    </a:lnTo>
                    <a:lnTo>
                      <a:pt x="2455255" y="1664858"/>
                    </a:lnTo>
                    <a:lnTo>
                      <a:pt x="2355559" y="1575276"/>
                    </a:lnTo>
                    <a:lnTo>
                      <a:pt x="2292412" y="1558784"/>
                    </a:lnTo>
                    <a:lnTo>
                      <a:pt x="2267676" y="1552323"/>
                    </a:lnTo>
                    <a:lnTo>
                      <a:pt x="2240710" y="1549496"/>
                    </a:lnTo>
                    <a:lnTo>
                      <a:pt x="2213524" y="1546542"/>
                    </a:lnTo>
                    <a:lnTo>
                      <a:pt x="2164197" y="1537594"/>
                    </a:lnTo>
                    <a:lnTo>
                      <a:pt x="1959003" y="1545671"/>
                    </a:lnTo>
                    <a:lnTo>
                      <a:pt x="1904758" y="1553343"/>
                    </a:lnTo>
                    <a:lnTo>
                      <a:pt x="1841131" y="1562355"/>
                    </a:lnTo>
                    <a:lnTo>
                      <a:pt x="1793866" y="1572619"/>
                    </a:lnTo>
                    <a:lnTo>
                      <a:pt x="1726577" y="1561504"/>
                    </a:lnTo>
                    <a:lnTo>
                      <a:pt x="1680881" y="1563863"/>
                    </a:lnTo>
                    <a:lnTo>
                      <a:pt x="1642241" y="1555234"/>
                    </a:lnTo>
                    <a:lnTo>
                      <a:pt x="1597357" y="1569665"/>
                    </a:lnTo>
                    <a:lnTo>
                      <a:pt x="1566137" y="1579697"/>
                    </a:lnTo>
                    <a:lnTo>
                      <a:pt x="1526626" y="1607751"/>
                    </a:lnTo>
                    <a:lnTo>
                      <a:pt x="1528006" y="1640034"/>
                    </a:lnTo>
                    <a:lnTo>
                      <a:pt x="1501633" y="1651596"/>
                    </a:lnTo>
                    <a:lnTo>
                      <a:pt x="1495342" y="1679842"/>
                    </a:lnTo>
                    <a:lnTo>
                      <a:pt x="1521675" y="1716078"/>
                    </a:lnTo>
                    <a:lnTo>
                      <a:pt x="1530710" y="1735609"/>
                    </a:lnTo>
                    <a:lnTo>
                      <a:pt x="1495447" y="1772632"/>
                    </a:lnTo>
                    <a:lnTo>
                      <a:pt x="1483100" y="1838985"/>
                    </a:lnTo>
                    <a:lnTo>
                      <a:pt x="1570001" y="1827211"/>
                    </a:lnTo>
                    <a:lnTo>
                      <a:pt x="1591488" y="1845297"/>
                    </a:lnTo>
                    <a:lnTo>
                      <a:pt x="1642241" y="1905634"/>
                    </a:lnTo>
                    <a:lnTo>
                      <a:pt x="1662324" y="1977151"/>
                    </a:lnTo>
                    <a:lnTo>
                      <a:pt x="1552656" y="2010455"/>
                    </a:lnTo>
                    <a:lnTo>
                      <a:pt x="1500780" y="2003568"/>
                    </a:lnTo>
                    <a:lnTo>
                      <a:pt x="1469495" y="1943720"/>
                    </a:lnTo>
                    <a:lnTo>
                      <a:pt x="1432769" y="1963209"/>
                    </a:lnTo>
                    <a:lnTo>
                      <a:pt x="1401338" y="1994791"/>
                    </a:lnTo>
                    <a:lnTo>
                      <a:pt x="1362044" y="2009009"/>
                    </a:lnTo>
                    <a:lnTo>
                      <a:pt x="1355390" y="2056467"/>
                    </a:lnTo>
                    <a:lnTo>
                      <a:pt x="1371560" y="2096062"/>
                    </a:lnTo>
                    <a:lnTo>
                      <a:pt x="1355220" y="2119461"/>
                    </a:lnTo>
                    <a:lnTo>
                      <a:pt x="1329392" y="2124626"/>
                    </a:lnTo>
                    <a:lnTo>
                      <a:pt x="1322599" y="2161352"/>
                    </a:lnTo>
                    <a:lnTo>
                      <a:pt x="1300898" y="2195845"/>
                    </a:lnTo>
                    <a:lnTo>
                      <a:pt x="1277076" y="2189342"/>
                    </a:lnTo>
                    <a:lnTo>
                      <a:pt x="1220623" y="2260987"/>
                    </a:lnTo>
                    <a:lnTo>
                      <a:pt x="1193168" y="2230850"/>
                    </a:lnTo>
                    <a:lnTo>
                      <a:pt x="1143053" y="2252485"/>
                    </a:lnTo>
                    <a:lnTo>
                      <a:pt x="1123290" y="2268552"/>
                    </a:lnTo>
                    <a:lnTo>
                      <a:pt x="1092873" y="2281580"/>
                    </a:lnTo>
                    <a:lnTo>
                      <a:pt x="1058996" y="2287404"/>
                    </a:lnTo>
                    <a:lnTo>
                      <a:pt x="1036954" y="2289211"/>
                    </a:lnTo>
                    <a:lnTo>
                      <a:pt x="1031131" y="2318455"/>
                    </a:lnTo>
                    <a:lnTo>
                      <a:pt x="1036954" y="2355860"/>
                    </a:lnTo>
                    <a:lnTo>
                      <a:pt x="1047242" y="2410268"/>
                    </a:lnTo>
                    <a:lnTo>
                      <a:pt x="1056826" y="2463464"/>
                    </a:lnTo>
                    <a:lnTo>
                      <a:pt x="1013833" y="2508202"/>
                    </a:lnTo>
                    <a:lnTo>
                      <a:pt x="957877" y="2566436"/>
                    </a:lnTo>
                    <a:lnTo>
                      <a:pt x="872412" y="2511773"/>
                    </a:lnTo>
                    <a:lnTo>
                      <a:pt x="839729" y="2546288"/>
                    </a:lnTo>
                    <a:lnTo>
                      <a:pt x="808909" y="2578848"/>
                    </a:lnTo>
                    <a:lnTo>
                      <a:pt x="813947" y="2624797"/>
                    </a:lnTo>
                    <a:lnTo>
                      <a:pt x="793477" y="2661905"/>
                    </a:lnTo>
                    <a:lnTo>
                      <a:pt x="772948" y="2699098"/>
                    </a:lnTo>
                    <a:lnTo>
                      <a:pt x="725661" y="2691978"/>
                    </a:lnTo>
                    <a:lnTo>
                      <a:pt x="705067" y="2721753"/>
                    </a:lnTo>
                    <a:lnTo>
                      <a:pt x="660841" y="2793546"/>
                    </a:lnTo>
                    <a:lnTo>
                      <a:pt x="620908" y="2876391"/>
                    </a:lnTo>
                    <a:lnTo>
                      <a:pt x="645964" y="2884659"/>
                    </a:lnTo>
                    <a:lnTo>
                      <a:pt x="554084" y="2906740"/>
                    </a:lnTo>
                    <a:lnTo>
                      <a:pt x="501250" y="2961659"/>
                    </a:lnTo>
                    <a:lnTo>
                      <a:pt x="575404" y="3012836"/>
                    </a:lnTo>
                    <a:lnTo>
                      <a:pt x="570406" y="3065884"/>
                    </a:lnTo>
                    <a:lnTo>
                      <a:pt x="568393" y="3087328"/>
                    </a:lnTo>
                    <a:lnTo>
                      <a:pt x="554472" y="3106116"/>
                    </a:lnTo>
                    <a:lnTo>
                      <a:pt x="540848" y="3143309"/>
                    </a:lnTo>
                    <a:lnTo>
                      <a:pt x="534535" y="3165774"/>
                    </a:lnTo>
                    <a:lnTo>
                      <a:pt x="494854" y="3226005"/>
                    </a:lnTo>
                    <a:lnTo>
                      <a:pt x="417107" y="3191872"/>
                    </a:lnTo>
                    <a:lnTo>
                      <a:pt x="393582" y="3218226"/>
                    </a:lnTo>
                    <a:lnTo>
                      <a:pt x="384296" y="3245940"/>
                    </a:lnTo>
                    <a:lnTo>
                      <a:pt x="399557" y="3282304"/>
                    </a:lnTo>
                    <a:lnTo>
                      <a:pt x="462698" y="3300051"/>
                    </a:lnTo>
                    <a:lnTo>
                      <a:pt x="484718" y="3317521"/>
                    </a:lnTo>
                    <a:lnTo>
                      <a:pt x="470902" y="3344087"/>
                    </a:lnTo>
                    <a:lnTo>
                      <a:pt x="450860" y="3353332"/>
                    </a:lnTo>
                    <a:lnTo>
                      <a:pt x="416341" y="3405105"/>
                    </a:lnTo>
                    <a:lnTo>
                      <a:pt x="446289" y="3494942"/>
                    </a:lnTo>
                    <a:lnTo>
                      <a:pt x="407188" y="3550115"/>
                    </a:lnTo>
                    <a:lnTo>
                      <a:pt x="378836" y="3590090"/>
                    </a:lnTo>
                    <a:lnTo>
                      <a:pt x="299942" y="3537171"/>
                    </a:lnTo>
                    <a:lnTo>
                      <a:pt x="233074" y="3586840"/>
                    </a:lnTo>
                    <a:lnTo>
                      <a:pt x="217801" y="3616955"/>
                    </a:lnTo>
                    <a:lnTo>
                      <a:pt x="240138" y="3651917"/>
                    </a:lnTo>
                    <a:lnTo>
                      <a:pt x="237152" y="3683414"/>
                    </a:lnTo>
                    <a:lnTo>
                      <a:pt x="233459" y="3722669"/>
                    </a:lnTo>
                    <a:lnTo>
                      <a:pt x="189548" y="3737525"/>
                    </a:lnTo>
                    <a:lnTo>
                      <a:pt x="185468" y="3786789"/>
                    </a:lnTo>
                    <a:lnTo>
                      <a:pt x="229146" y="3828488"/>
                    </a:lnTo>
                    <a:lnTo>
                      <a:pt x="214862" y="3883682"/>
                    </a:lnTo>
                    <a:lnTo>
                      <a:pt x="158263" y="3902406"/>
                    </a:lnTo>
                    <a:lnTo>
                      <a:pt x="155969" y="3935158"/>
                    </a:lnTo>
                    <a:lnTo>
                      <a:pt x="173227" y="3967696"/>
                    </a:lnTo>
                    <a:lnTo>
                      <a:pt x="119584" y="3983424"/>
                    </a:lnTo>
                    <a:lnTo>
                      <a:pt x="106574" y="4026184"/>
                    </a:lnTo>
                    <a:lnTo>
                      <a:pt x="93846" y="4045057"/>
                    </a:lnTo>
                    <a:lnTo>
                      <a:pt x="64068" y="4051157"/>
                    </a:lnTo>
                    <a:lnTo>
                      <a:pt x="50806" y="4071071"/>
                    </a:lnTo>
                    <a:lnTo>
                      <a:pt x="9172" y="4133491"/>
                    </a:lnTo>
                    <a:lnTo>
                      <a:pt x="50475" y="4187644"/>
                    </a:lnTo>
                    <a:lnTo>
                      <a:pt x="113379" y="4204371"/>
                    </a:lnTo>
                    <a:lnTo>
                      <a:pt x="116095" y="4235655"/>
                    </a:lnTo>
                    <a:lnTo>
                      <a:pt x="90891" y="4244602"/>
                    </a:lnTo>
                    <a:lnTo>
                      <a:pt x="71084" y="4252636"/>
                    </a:lnTo>
                    <a:lnTo>
                      <a:pt x="52171" y="4272380"/>
                    </a:lnTo>
                    <a:lnTo>
                      <a:pt x="42581" y="4298564"/>
                    </a:lnTo>
                    <a:lnTo>
                      <a:pt x="67128" y="4329509"/>
                    </a:lnTo>
                    <a:lnTo>
                      <a:pt x="128957" y="4455114"/>
                    </a:lnTo>
                    <a:lnTo>
                      <a:pt x="169317" y="4372355"/>
                    </a:lnTo>
                    <a:lnTo>
                      <a:pt x="254841" y="4415201"/>
                    </a:lnTo>
                    <a:lnTo>
                      <a:pt x="260043" y="4457452"/>
                    </a:lnTo>
                    <a:lnTo>
                      <a:pt x="218830" y="4504974"/>
                    </a:lnTo>
                    <a:lnTo>
                      <a:pt x="201789" y="4526737"/>
                    </a:lnTo>
                    <a:lnTo>
                      <a:pt x="200109" y="4557958"/>
                    </a:lnTo>
                    <a:lnTo>
                      <a:pt x="265041" y="4589434"/>
                    </a:lnTo>
                    <a:lnTo>
                      <a:pt x="280684" y="4617871"/>
                    </a:lnTo>
                    <a:lnTo>
                      <a:pt x="283211" y="4650771"/>
                    </a:lnTo>
                    <a:lnTo>
                      <a:pt x="273180" y="4723073"/>
                    </a:lnTo>
                    <a:lnTo>
                      <a:pt x="280684" y="4743009"/>
                    </a:lnTo>
                    <a:lnTo>
                      <a:pt x="300317" y="4795334"/>
                    </a:lnTo>
                    <a:lnTo>
                      <a:pt x="364018" y="4764283"/>
                    </a:lnTo>
                    <a:lnTo>
                      <a:pt x="379977" y="4843664"/>
                    </a:lnTo>
                    <a:lnTo>
                      <a:pt x="343297" y="4879369"/>
                    </a:lnTo>
                    <a:lnTo>
                      <a:pt x="310651" y="4851634"/>
                    </a:lnTo>
                    <a:lnTo>
                      <a:pt x="284761" y="4865427"/>
                    </a:lnTo>
                    <a:lnTo>
                      <a:pt x="260577" y="4891419"/>
                    </a:lnTo>
                    <a:lnTo>
                      <a:pt x="248546" y="4996112"/>
                    </a:lnTo>
                    <a:lnTo>
                      <a:pt x="276604" y="5023210"/>
                    </a:lnTo>
                    <a:lnTo>
                      <a:pt x="311457" y="5040744"/>
                    </a:lnTo>
                    <a:lnTo>
                      <a:pt x="368713" y="5029480"/>
                    </a:lnTo>
                    <a:lnTo>
                      <a:pt x="393576" y="5065376"/>
                    </a:lnTo>
                    <a:lnTo>
                      <a:pt x="406264" y="5083696"/>
                    </a:lnTo>
                    <a:lnTo>
                      <a:pt x="405929" y="5156977"/>
                    </a:lnTo>
                    <a:lnTo>
                      <a:pt x="409898" y="5182353"/>
                    </a:lnTo>
                    <a:lnTo>
                      <a:pt x="417488" y="5230981"/>
                    </a:lnTo>
                    <a:lnTo>
                      <a:pt x="486557" y="5282583"/>
                    </a:lnTo>
                    <a:lnTo>
                      <a:pt x="479270" y="5323814"/>
                    </a:lnTo>
                    <a:lnTo>
                      <a:pt x="474976" y="5348128"/>
                    </a:lnTo>
                    <a:lnTo>
                      <a:pt x="445201" y="5360795"/>
                    </a:lnTo>
                    <a:lnTo>
                      <a:pt x="437102" y="5385023"/>
                    </a:lnTo>
                    <a:lnTo>
                      <a:pt x="466409" y="5437135"/>
                    </a:lnTo>
                    <a:lnTo>
                      <a:pt x="484923" y="5458686"/>
                    </a:lnTo>
                    <a:lnTo>
                      <a:pt x="479270" y="5503360"/>
                    </a:lnTo>
                    <a:lnTo>
                      <a:pt x="361333" y="5565993"/>
                    </a:lnTo>
                    <a:lnTo>
                      <a:pt x="365693" y="5539236"/>
                    </a:lnTo>
                    <a:lnTo>
                      <a:pt x="277962" y="5648902"/>
                    </a:lnTo>
                    <a:lnTo>
                      <a:pt x="239282" y="5656255"/>
                    </a:lnTo>
                    <a:lnTo>
                      <a:pt x="179453" y="5710726"/>
                    </a:lnTo>
                    <a:lnTo>
                      <a:pt x="237964" y="5740587"/>
                    </a:lnTo>
                    <a:lnTo>
                      <a:pt x="226262" y="5812125"/>
                    </a:lnTo>
                    <a:lnTo>
                      <a:pt x="220381" y="5848192"/>
                    </a:lnTo>
                    <a:lnTo>
                      <a:pt x="164759" y="5842454"/>
                    </a:lnTo>
                    <a:lnTo>
                      <a:pt x="154174" y="5927742"/>
                    </a:lnTo>
                    <a:lnTo>
                      <a:pt x="151802" y="5952591"/>
                    </a:lnTo>
                    <a:lnTo>
                      <a:pt x="159814" y="5978739"/>
                    </a:lnTo>
                    <a:lnTo>
                      <a:pt x="170188" y="6003562"/>
                    </a:lnTo>
                    <a:lnTo>
                      <a:pt x="177304" y="6027036"/>
                    </a:lnTo>
                    <a:lnTo>
                      <a:pt x="165578" y="6055431"/>
                    </a:lnTo>
                    <a:lnTo>
                      <a:pt x="135136" y="6063762"/>
                    </a:lnTo>
                    <a:lnTo>
                      <a:pt x="103098" y="6061599"/>
                    </a:lnTo>
                    <a:lnTo>
                      <a:pt x="71956" y="6055044"/>
                    </a:lnTo>
                    <a:lnTo>
                      <a:pt x="45359" y="6055601"/>
                    </a:lnTo>
                    <a:lnTo>
                      <a:pt x="23484" y="6066461"/>
                    </a:lnTo>
                    <a:lnTo>
                      <a:pt x="18154" y="6086886"/>
                    </a:lnTo>
                    <a:lnTo>
                      <a:pt x="37558" y="6118622"/>
                    </a:lnTo>
                    <a:lnTo>
                      <a:pt x="44001" y="6138573"/>
                    </a:lnTo>
                    <a:lnTo>
                      <a:pt x="50444" y="6158525"/>
                    </a:lnTo>
                    <a:lnTo>
                      <a:pt x="55541" y="6179975"/>
                    </a:lnTo>
                    <a:lnTo>
                      <a:pt x="73717" y="6239733"/>
                    </a:lnTo>
                    <a:lnTo>
                      <a:pt x="79930" y="6276477"/>
                    </a:lnTo>
                    <a:lnTo>
                      <a:pt x="82085" y="6309958"/>
                    </a:lnTo>
                    <a:lnTo>
                      <a:pt x="84243" y="6343437"/>
                    </a:lnTo>
                    <a:lnTo>
                      <a:pt x="82150" y="6373615"/>
                    </a:lnTo>
                    <a:lnTo>
                      <a:pt x="76644" y="6403813"/>
                    </a:lnTo>
                    <a:lnTo>
                      <a:pt x="65584" y="6464202"/>
                    </a:lnTo>
                    <a:lnTo>
                      <a:pt x="42726" y="6525146"/>
                    </a:lnTo>
                    <a:lnTo>
                      <a:pt x="22238" y="6616004"/>
                    </a:lnTo>
                    <a:lnTo>
                      <a:pt x="11928" y="6661714"/>
                    </a:lnTo>
                    <a:lnTo>
                      <a:pt x="7879" y="6709994"/>
                    </a:lnTo>
                    <a:lnTo>
                      <a:pt x="5913" y="6758823"/>
                    </a:lnTo>
                    <a:lnTo>
                      <a:pt x="3950" y="6807652"/>
                    </a:lnTo>
                    <a:lnTo>
                      <a:pt x="4133" y="6856421"/>
                    </a:lnTo>
                    <a:lnTo>
                      <a:pt x="1839" y="6903007"/>
                    </a:lnTo>
                    <a:lnTo>
                      <a:pt x="0" y="6940328"/>
                    </a:lnTo>
                    <a:lnTo>
                      <a:pt x="90" y="7004404"/>
                    </a:lnTo>
                    <a:lnTo>
                      <a:pt x="4555" y="7066232"/>
                    </a:lnTo>
                    <a:lnTo>
                      <a:pt x="9026" y="7128052"/>
                    </a:lnTo>
                    <a:lnTo>
                      <a:pt x="17230" y="7187841"/>
                    </a:lnTo>
                    <a:lnTo>
                      <a:pt x="30401" y="7218573"/>
                    </a:lnTo>
                    <a:lnTo>
                      <a:pt x="77496" y="7235279"/>
                    </a:lnTo>
                    <a:lnTo>
                      <a:pt x="135136" y="7169607"/>
                    </a:lnTo>
                    <a:lnTo>
                      <a:pt x="177447" y="7159319"/>
                    </a:lnTo>
                    <a:lnTo>
                      <a:pt x="208279" y="7177864"/>
                    </a:lnTo>
                    <a:lnTo>
                      <a:pt x="228988" y="7209051"/>
                    </a:lnTo>
                    <a:lnTo>
                      <a:pt x="252090" y="7236617"/>
                    </a:lnTo>
                    <a:lnTo>
                      <a:pt x="302586" y="7247202"/>
                    </a:lnTo>
                    <a:lnTo>
                      <a:pt x="334761" y="7226936"/>
                    </a:lnTo>
                    <a:lnTo>
                      <a:pt x="366365" y="7221297"/>
                    </a:lnTo>
                    <a:lnTo>
                      <a:pt x="397960" y="7226257"/>
                    </a:lnTo>
                    <a:lnTo>
                      <a:pt x="421829" y="7248983"/>
                    </a:lnTo>
                    <a:lnTo>
                      <a:pt x="441180" y="7274341"/>
                    </a:lnTo>
                    <a:lnTo>
                      <a:pt x="459947" y="7293551"/>
                    </a:lnTo>
                    <a:lnTo>
                      <a:pt x="477549" y="7306497"/>
                    </a:lnTo>
                    <a:lnTo>
                      <a:pt x="492869" y="7321949"/>
                    </a:lnTo>
                    <a:lnTo>
                      <a:pt x="508189" y="7337401"/>
                    </a:lnTo>
                    <a:lnTo>
                      <a:pt x="521860" y="7356104"/>
                    </a:lnTo>
                    <a:lnTo>
                      <a:pt x="532312" y="7383156"/>
                    </a:lnTo>
                    <a:lnTo>
                      <a:pt x="547065" y="7421321"/>
                    </a:lnTo>
                    <a:lnTo>
                      <a:pt x="550323" y="7461418"/>
                    </a:lnTo>
                    <a:lnTo>
                      <a:pt x="547275" y="7502854"/>
                    </a:lnTo>
                    <a:lnTo>
                      <a:pt x="544231" y="7544296"/>
                    </a:lnTo>
                    <a:lnTo>
                      <a:pt x="534681" y="7586774"/>
                    </a:lnTo>
                    <a:lnTo>
                      <a:pt x="525512" y="7626634"/>
                    </a:lnTo>
                    <a:lnTo>
                      <a:pt x="516347" y="7666493"/>
                    </a:lnTo>
                    <a:lnTo>
                      <a:pt x="507352" y="7703392"/>
                    </a:lnTo>
                    <a:lnTo>
                      <a:pt x="503749" y="7736808"/>
                    </a:lnTo>
                    <a:lnTo>
                      <a:pt x="500150" y="7770224"/>
                    </a:lnTo>
                    <a:lnTo>
                      <a:pt x="502351" y="7800389"/>
                    </a:lnTo>
                    <a:lnTo>
                      <a:pt x="515990" y="7822502"/>
                    </a:lnTo>
                    <a:lnTo>
                      <a:pt x="541790" y="7847272"/>
                    </a:lnTo>
                    <a:lnTo>
                      <a:pt x="563600" y="7857871"/>
                    </a:lnTo>
                    <a:lnTo>
                      <a:pt x="585409" y="7868462"/>
                    </a:lnTo>
                    <a:lnTo>
                      <a:pt x="610924" y="7878064"/>
                    </a:lnTo>
                    <a:lnTo>
                      <a:pt x="638405" y="7886433"/>
                    </a:lnTo>
                    <a:lnTo>
                      <a:pt x="693387" y="7903171"/>
                    </a:lnTo>
                    <a:lnTo>
                      <a:pt x="752807" y="7916651"/>
                    </a:lnTo>
                    <a:lnTo>
                      <a:pt x="785307" y="7931318"/>
                    </a:lnTo>
                    <a:lnTo>
                      <a:pt x="827664" y="7950423"/>
                    </a:lnTo>
                    <a:lnTo>
                      <a:pt x="868648" y="7983985"/>
                    </a:lnTo>
                    <a:lnTo>
                      <a:pt x="906370" y="8010213"/>
                    </a:lnTo>
                    <a:lnTo>
                      <a:pt x="933190" y="8028870"/>
                    </a:lnTo>
                    <a:lnTo>
                      <a:pt x="958053" y="8067338"/>
                    </a:lnTo>
                    <a:lnTo>
                      <a:pt x="949000" y="8123124"/>
                    </a:lnTo>
                    <a:lnTo>
                      <a:pt x="938355" y="8194923"/>
                    </a:lnTo>
                    <a:lnTo>
                      <a:pt x="927261" y="8249436"/>
                    </a:lnTo>
                    <a:lnTo>
                      <a:pt x="903644" y="8305375"/>
                    </a:lnTo>
                    <a:lnTo>
                      <a:pt x="893660" y="8329004"/>
                    </a:lnTo>
                    <a:lnTo>
                      <a:pt x="883227" y="8356366"/>
                    </a:lnTo>
                    <a:lnTo>
                      <a:pt x="871001" y="8378822"/>
                    </a:lnTo>
                    <a:lnTo>
                      <a:pt x="844442" y="8418174"/>
                    </a:lnTo>
                    <a:lnTo>
                      <a:pt x="828833" y="8444111"/>
                    </a:lnTo>
                    <a:lnTo>
                      <a:pt x="813228" y="8470056"/>
                    </a:lnTo>
                    <a:lnTo>
                      <a:pt x="800581" y="8496310"/>
                    </a:lnTo>
                    <a:lnTo>
                      <a:pt x="804550" y="8519623"/>
                    </a:lnTo>
                    <a:lnTo>
                      <a:pt x="816704" y="8540232"/>
                    </a:lnTo>
                    <a:lnTo>
                      <a:pt x="837986" y="8552294"/>
                    </a:lnTo>
                    <a:lnTo>
                      <a:pt x="871001" y="8548852"/>
                    </a:lnTo>
                    <a:lnTo>
                      <a:pt x="901362" y="8537693"/>
                    </a:lnTo>
                    <a:lnTo>
                      <a:pt x="933131" y="8521918"/>
                    </a:lnTo>
                    <a:lnTo>
                      <a:pt x="967575" y="8509401"/>
                    </a:lnTo>
                    <a:lnTo>
                      <a:pt x="1003821" y="8505411"/>
                    </a:lnTo>
                    <a:lnTo>
                      <a:pt x="1024700" y="8513477"/>
                    </a:lnTo>
                    <a:lnTo>
                      <a:pt x="1058249" y="8532944"/>
                    </a:lnTo>
                    <a:lnTo>
                      <a:pt x="1080930" y="8559305"/>
                    </a:lnTo>
                    <a:lnTo>
                      <a:pt x="1098156" y="8588289"/>
                    </a:lnTo>
                    <a:lnTo>
                      <a:pt x="1113876" y="8616746"/>
                    </a:lnTo>
                    <a:lnTo>
                      <a:pt x="1134123" y="8638727"/>
                    </a:lnTo>
                    <a:lnTo>
                      <a:pt x="1163446" y="8649496"/>
                    </a:lnTo>
                    <a:lnTo>
                      <a:pt x="1199874" y="8631993"/>
                    </a:lnTo>
                    <a:lnTo>
                      <a:pt x="1213771" y="8611411"/>
                    </a:lnTo>
                    <a:lnTo>
                      <a:pt x="1227668" y="8590828"/>
                    </a:lnTo>
                    <a:lnTo>
                      <a:pt x="1238449" y="8566242"/>
                    </a:lnTo>
                    <a:lnTo>
                      <a:pt x="1253294" y="8538774"/>
                    </a:lnTo>
                    <a:lnTo>
                      <a:pt x="1288582" y="8537963"/>
                    </a:lnTo>
                    <a:lnTo>
                      <a:pt x="1329702" y="8547341"/>
                    </a:lnTo>
                    <a:lnTo>
                      <a:pt x="1351155" y="8557003"/>
                    </a:lnTo>
                    <a:lnTo>
                      <a:pt x="1394055" y="8576339"/>
                    </a:lnTo>
                    <a:lnTo>
                      <a:pt x="1435479" y="8605390"/>
                    </a:lnTo>
                    <a:lnTo>
                      <a:pt x="1453167" y="8619576"/>
                    </a:lnTo>
                    <a:lnTo>
                      <a:pt x="1481169" y="8608681"/>
                    </a:lnTo>
                    <a:lnTo>
                      <a:pt x="1503236" y="8584999"/>
                    </a:lnTo>
                    <a:lnTo>
                      <a:pt x="1525256" y="8563809"/>
                    </a:lnTo>
                    <a:lnTo>
                      <a:pt x="1547283" y="8542620"/>
                    </a:lnTo>
                    <a:lnTo>
                      <a:pt x="1568987" y="8524048"/>
                    </a:lnTo>
                    <a:lnTo>
                      <a:pt x="1595993" y="8518917"/>
                    </a:lnTo>
                    <a:lnTo>
                      <a:pt x="1636424" y="8511241"/>
                    </a:lnTo>
                    <a:lnTo>
                      <a:pt x="1697580" y="8523091"/>
                    </a:lnTo>
                    <a:lnTo>
                      <a:pt x="1759217" y="8531164"/>
                    </a:lnTo>
                    <a:lnTo>
                      <a:pt x="1790027" y="8535200"/>
                    </a:lnTo>
                    <a:lnTo>
                      <a:pt x="1819976" y="8537713"/>
                    </a:lnTo>
                    <a:lnTo>
                      <a:pt x="1848985" y="8536605"/>
                    </a:lnTo>
                    <a:lnTo>
                      <a:pt x="1877997" y="8535497"/>
                    </a:lnTo>
                    <a:lnTo>
                      <a:pt x="1905397" y="8531224"/>
                    </a:lnTo>
                    <a:lnTo>
                      <a:pt x="1927879" y="8518917"/>
                    </a:lnTo>
                    <a:lnTo>
                      <a:pt x="1951661" y="8505906"/>
                    </a:lnTo>
                    <a:lnTo>
                      <a:pt x="1969660" y="8478220"/>
                    </a:lnTo>
                    <a:lnTo>
                      <a:pt x="1995888" y="8464509"/>
                    </a:lnTo>
                    <a:lnTo>
                      <a:pt x="2068128" y="8473419"/>
                    </a:lnTo>
                    <a:lnTo>
                      <a:pt x="2078289" y="8500986"/>
                    </a:lnTo>
                    <a:lnTo>
                      <a:pt x="2070699" y="8527082"/>
                    </a:lnTo>
                    <a:lnTo>
                      <a:pt x="2077058" y="8551925"/>
                    </a:lnTo>
                    <a:lnTo>
                      <a:pt x="2148229" y="8578766"/>
                    </a:lnTo>
                    <a:lnTo>
                      <a:pt x="2123861" y="8626263"/>
                    </a:lnTo>
                    <a:lnTo>
                      <a:pt x="2118308" y="8648138"/>
                    </a:lnTo>
                    <a:lnTo>
                      <a:pt x="2108916" y="8685089"/>
                    </a:lnTo>
                    <a:lnTo>
                      <a:pt x="2111549" y="8706483"/>
                    </a:lnTo>
                    <a:lnTo>
                      <a:pt x="2130497" y="8731253"/>
                    </a:lnTo>
                    <a:lnTo>
                      <a:pt x="2167270" y="8733832"/>
                    </a:lnTo>
                    <a:lnTo>
                      <a:pt x="2209410" y="8729856"/>
                    </a:lnTo>
                    <a:lnTo>
                      <a:pt x="2231200" y="8728391"/>
                    </a:lnTo>
                    <a:lnTo>
                      <a:pt x="2252988" y="8726927"/>
                    </a:lnTo>
                    <a:lnTo>
                      <a:pt x="2274435" y="8728655"/>
                    </a:lnTo>
                    <a:lnTo>
                      <a:pt x="2299761" y="8751071"/>
                    </a:lnTo>
                    <a:lnTo>
                      <a:pt x="2283324" y="8809278"/>
                    </a:lnTo>
                    <a:lnTo>
                      <a:pt x="2293621" y="8846579"/>
                    </a:lnTo>
                    <a:lnTo>
                      <a:pt x="2379374" y="8907852"/>
                    </a:lnTo>
                    <a:lnTo>
                      <a:pt x="2402582" y="8928342"/>
                    </a:lnTo>
                    <a:lnTo>
                      <a:pt x="2433207" y="8955329"/>
                    </a:lnTo>
                    <a:lnTo>
                      <a:pt x="2463168" y="9006043"/>
                    </a:lnTo>
                    <a:lnTo>
                      <a:pt x="2473313" y="9045316"/>
                    </a:lnTo>
                    <a:lnTo>
                      <a:pt x="2486159" y="9095041"/>
                    </a:lnTo>
                    <a:lnTo>
                      <a:pt x="2497299" y="9128379"/>
                    </a:lnTo>
                    <a:lnTo>
                      <a:pt x="2500514" y="9160931"/>
                    </a:lnTo>
                    <a:lnTo>
                      <a:pt x="2503733" y="9193490"/>
                    </a:lnTo>
                    <a:lnTo>
                      <a:pt x="2498201" y="9225139"/>
                    </a:lnTo>
                    <a:lnTo>
                      <a:pt x="2476035" y="9272471"/>
                    </a:lnTo>
                    <a:lnTo>
                      <a:pt x="2458287" y="9307153"/>
                    </a:lnTo>
                    <a:lnTo>
                      <a:pt x="2432298" y="9326708"/>
                    </a:lnTo>
                    <a:lnTo>
                      <a:pt x="2399435" y="9318451"/>
                    </a:lnTo>
                    <a:lnTo>
                      <a:pt x="2374020" y="9317349"/>
                    </a:lnTo>
                    <a:lnTo>
                      <a:pt x="2346393" y="9406380"/>
                    </a:lnTo>
                    <a:lnTo>
                      <a:pt x="2404836" y="9470713"/>
                    </a:lnTo>
                    <a:lnTo>
                      <a:pt x="2453547" y="9521593"/>
                    </a:lnTo>
                    <a:lnTo>
                      <a:pt x="2501875" y="9573066"/>
                    </a:lnTo>
                    <a:lnTo>
                      <a:pt x="2531821" y="9583783"/>
                    </a:lnTo>
                    <a:lnTo>
                      <a:pt x="2563360" y="9565693"/>
                    </a:lnTo>
                    <a:lnTo>
                      <a:pt x="2609463" y="9555708"/>
                    </a:lnTo>
                    <a:lnTo>
                      <a:pt x="2636537" y="9563550"/>
                    </a:lnTo>
                    <a:lnTo>
                      <a:pt x="2661320" y="9592370"/>
                    </a:lnTo>
                    <a:lnTo>
                      <a:pt x="2642254" y="9683775"/>
                    </a:lnTo>
                    <a:lnTo>
                      <a:pt x="2643216" y="9720021"/>
                    </a:lnTo>
                    <a:lnTo>
                      <a:pt x="2656037" y="9739001"/>
                    </a:lnTo>
                    <a:lnTo>
                      <a:pt x="2671905" y="9755336"/>
                    </a:lnTo>
                    <a:lnTo>
                      <a:pt x="2687771" y="9771672"/>
                    </a:lnTo>
                    <a:lnTo>
                      <a:pt x="2705953" y="9786075"/>
                    </a:lnTo>
                    <a:lnTo>
                      <a:pt x="2736277" y="9799074"/>
                    </a:lnTo>
                    <a:lnTo>
                      <a:pt x="2765506" y="9788383"/>
                    </a:lnTo>
                    <a:lnTo>
                      <a:pt x="2793086" y="9777192"/>
                    </a:lnTo>
                    <a:lnTo>
                      <a:pt x="2813363" y="9793422"/>
                    </a:lnTo>
                    <a:lnTo>
                      <a:pt x="2831849" y="9816445"/>
                    </a:lnTo>
                    <a:lnTo>
                      <a:pt x="2852003" y="9838406"/>
                    </a:lnTo>
                    <a:lnTo>
                      <a:pt x="2880014" y="9847830"/>
                    </a:lnTo>
                    <a:lnTo>
                      <a:pt x="2916126" y="9842119"/>
                    </a:lnTo>
                    <a:lnTo>
                      <a:pt x="2943945" y="9821984"/>
                    </a:lnTo>
                    <a:lnTo>
                      <a:pt x="2969788" y="9795077"/>
                    </a:lnTo>
                    <a:lnTo>
                      <a:pt x="3022219" y="9795546"/>
                    </a:lnTo>
                    <a:lnTo>
                      <a:pt x="3059981" y="9813721"/>
                    </a:lnTo>
                    <a:lnTo>
                      <a:pt x="3100363" y="9827425"/>
                    </a:lnTo>
                    <a:lnTo>
                      <a:pt x="3135499" y="9839349"/>
                    </a:lnTo>
                    <a:lnTo>
                      <a:pt x="3172926" y="9847593"/>
                    </a:lnTo>
                    <a:lnTo>
                      <a:pt x="3207820" y="9860070"/>
                    </a:lnTo>
                    <a:lnTo>
                      <a:pt x="3245694" y="9879518"/>
                    </a:lnTo>
                    <a:lnTo>
                      <a:pt x="3285031" y="9892583"/>
                    </a:lnTo>
                    <a:lnTo>
                      <a:pt x="3317993" y="9891356"/>
                    </a:lnTo>
                    <a:lnTo>
                      <a:pt x="3348404" y="9880659"/>
                    </a:lnTo>
                    <a:lnTo>
                      <a:pt x="3387769" y="9851543"/>
                    </a:lnTo>
                    <a:lnTo>
                      <a:pt x="3409972" y="9822518"/>
                    </a:lnTo>
                    <a:lnTo>
                      <a:pt x="3432256" y="9794781"/>
                    </a:lnTo>
                    <a:lnTo>
                      <a:pt x="3450810" y="9784683"/>
                    </a:lnTo>
                    <a:lnTo>
                      <a:pt x="3484429" y="9785851"/>
                    </a:lnTo>
                    <a:lnTo>
                      <a:pt x="3505538" y="9788680"/>
                    </a:lnTo>
                    <a:lnTo>
                      <a:pt x="3526107" y="9793422"/>
                    </a:lnTo>
                    <a:lnTo>
                      <a:pt x="3567240" y="9802892"/>
                    </a:lnTo>
                    <a:lnTo>
                      <a:pt x="3607920" y="9817414"/>
                    </a:lnTo>
                    <a:lnTo>
                      <a:pt x="3651669" y="9827900"/>
                    </a:lnTo>
                    <a:lnTo>
                      <a:pt x="3685673" y="9831719"/>
                    </a:lnTo>
                    <a:lnTo>
                      <a:pt x="3716536" y="9836948"/>
                    </a:lnTo>
                    <a:lnTo>
                      <a:pt x="3748965" y="9826660"/>
                    </a:lnTo>
                    <a:lnTo>
                      <a:pt x="3765668" y="9791529"/>
                    </a:lnTo>
                    <a:lnTo>
                      <a:pt x="3787267" y="9785257"/>
                    </a:lnTo>
                    <a:lnTo>
                      <a:pt x="3821969" y="9785719"/>
                    </a:lnTo>
                    <a:lnTo>
                      <a:pt x="3858658" y="9793000"/>
                    </a:lnTo>
                    <a:lnTo>
                      <a:pt x="3894718" y="9783892"/>
                    </a:lnTo>
                    <a:lnTo>
                      <a:pt x="3913706" y="9755818"/>
                    </a:lnTo>
                    <a:lnTo>
                      <a:pt x="3937289" y="9722388"/>
                    </a:lnTo>
                    <a:lnTo>
                      <a:pt x="3964090" y="9700922"/>
                    </a:lnTo>
                    <a:lnTo>
                      <a:pt x="3989236" y="9690469"/>
                    </a:lnTo>
                    <a:lnTo>
                      <a:pt x="4020642" y="9704318"/>
                    </a:lnTo>
                    <a:lnTo>
                      <a:pt x="4042984" y="9688682"/>
                    </a:lnTo>
                    <a:lnTo>
                      <a:pt x="4069919" y="9658938"/>
                    </a:lnTo>
                    <a:lnTo>
                      <a:pt x="4082430" y="9641073"/>
                    </a:lnTo>
                    <a:lnTo>
                      <a:pt x="4094938" y="9623207"/>
                    </a:lnTo>
                    <a:lnTo>
                      <a:pt x="4108255" y="9606707"/>
                    </a:lnTo>
                    <a:lnTo>
                      <a:pt x="4130037" y="9601629"/>
                    </a:lnTo>
                    <a:lnTo>
                      <a:pt x="4164924" y="9593497"/>
                    </a:lnTo>
                    <a:lnTo>
                      <a:pt x="4208426" y="9600059"/>
                    </a:lnTo>
                    <a:lnTo>
                      <a:pt x="4248377" y="9605704"/>
                    </a:lnTo>
                    <a:lnTo>
                      <a:pt x="4288321" y="9611356"/>
                    </a:lnTo>
                    <a:lnTo>
                      <a:pt x="4325101" y="9615894"/>
                    </a:lnTo>
                    <a:lnTo>
                      <a:pt x="4350386" y="9604346"/>
                    </a:lnTo>
                    <a:lnTo>
                      <a:pt x="4370704" y="9587767"/>
                    </a:lnTo>
                    <a:lnTo>
                      <a:pt x="4405282" y="9534124"/>
                    </a:lnTo>
                    <a:lnTo>
                      <a:pt x="4411601" y="9509129"/>
                    </a:lnTo>
                    <a:lnTo>
                      <a:pt x="4432803" y="9503728"/>
                    </a:lnTo>
                    <a:lnTo>
                      <a:pt x="4456972" y="9494976"/>
                    </a:lnTo>
                    <a:lnTo>
                      <a:pt x="4475526" y="9483290"/>
                    </a:lnTo>
                    <a:lnTo>
                      <a:pt x="4468977" y="9443800"/>
                    </a:lnTo>
                    <a:lnTo>
                      <a:pt x="4461920" y="9414874"/>
                    </a:lnTo>
                    <a:lnTo>
                      <a:pt x="4474158" y="9393514"/>
                    </a:lnTo>
                    <a:lnTo>
                      <a:pt x="4501369" y="9374474"/>
                    </a:lnTo>
                    <a:lnTo>
                      <a:pt x="4518221" y="9354195"/>
                    </a:lnTo>
                    <a:lnTo>
                      <a:pt x="4497326" y="9308096"/>
                    </a:lnTo>
                    <a:lnTo>
                      <a:pt x="4513610" y="9277898"/>
                    </a:lnTo>
                    <a:lnTo>
                      <a:pt x="4572865" y="9247602"/>
                    </a:lnTo>
                    <a:lnTo>
                      <a:pt x="4621067" y="9238454"/>
                    </a:lnTo>
                    <a:lnTo>
                      <a:pt x="4669263" y="9229300"/>
                    </a:lnTo>
                    <a:lnTo>
                      <a:pt x="4718891" y="9226531"/>
                    </a:lnTo>
                    <a:lnTo>
                      <a:pt x="4739401" y="9235737"/>
                    </a:lnTo>
                    <a:lnTo>
                      <a:pt x="4756488" y="9254414"/>
                    </a:lnTo>
                    <a:lnTo>
                      <a:pt x="4762358" y="9274944"/>
                    </a:lnTo>
                    <a:lnTo>
                      <a:pt x="4774769" y="9295586"/>
                    </a:lnTo>
                    <a:lnTo>
                      <a:pt x="4792126" y="9324465"/>
                    </a:lnTo>
                    <a:lnTo>
                      <a:pt x="4810882" y="9341763"/>
                    </a:lnTo>
                    <a:lnTo>
                      <a:pt x="4833253" y="9355434"/>
                    </a:lnTo>
                    <a:lnTo>
                      <a:pt x="4855629" y="9369100"/>
                    </a:lnTo>
                    <a:lnTo>
                      <a:pt x="4882133" y="9378075"/>
                    </a:lnTo>
                    <a:lnTo>
                      <a:pt x="4913505" y="9389438"/>
                    </a:lnTo>
                    <a:lnTo>
                      <a:pt x="4933231" y="9417064"/>
                    </a:lnTo>
                    <a:lnTo>
                      <a:pt x="4953220" y="9445561"/>
                    </a:lnTo>
                    <a:lnTo>
                      <a:pt x="4971994" y="9473767"/>
                    </a:lnTo>
                    <a:lnTo>
                      <a:pt x="4990790" y="9502006"/>
                    </a:lnTo>
                    <a:lnTo>
                      <a:pt x="5003775" y="9531921"/>
                    </a:lnTo>
                    <a:lnTo>
                      <a:pt x="5020962" y="9558103"/>
                    </a:lnTo>
                    <a:lnTo>
                      <a:pt x="5038149" y="9584284"/>
                    </a:lnTo>
                    <a:lnTo>
                      <a:pt x="5059707" y="9606318"/>
                    </a:lnTo>
                    <a:lnTo>
                      <a:pt x="5095776" y="9619310"/>
                    </a:lnTo>
                    <a:lnTo>
                      <a:pt x="5125083" y="9629868"/>
                    </a:lnTo>
                    <a:lnTo>
                      <a:pt x="5183929" y="9627349"/>
                    </a:lnTo>
                    <a:lnTo>
                      <a:pt x="5237228" y="9626109"/>
                    </a:lnTo>
                    <a:lnTo>
                      <a:pt x="5290536" y="9624876"/>
                    </a:lnTo>
                    <a:lnTo>
                      <a:pt x="5339188" y="9624961"/>
                    </a:lnTo>
                    <a:lnTo>
                      <a:pt x="5358436" y="9657686"/>
                    </a:lnTo>
                    <a:lnTo>
                      <a:pt x="5371843" y="9679653"/>
                    </a:lnTo>
                    <a:lnTo>
                      <a:pt x="5382772" y="9702280"/>
                    </a:lnTo>
                    <a:lnTo>
                      <a:pt x="5393705" y="9724907"/>
                    </a:lnTo>
                    <a:lnTo>
                      <a:pt x="5401475" y="9748636"/>
                    </a:lnTo>
                    <a:lnTo>
                      <a:pt x="5397736" y="9771652"/>
                    </a:lnTo>
                    <a:lnTo>
                      <a:pt x="5362374" y="9781175"/>
                    </a:lnTo>
                    <a:lnTo>
                      <a:pt x="5349184" y="9806348"/>
                    </a:lnTo>
                    <a:lnTo>
                      <a:pt x="5348306" y="9834890"/>
                    </a:lnTo>
                    <a:lnTo>
                      <a:pt x="5341969" y="9861428"/>
                    </a:lnTo>
                    <a:lnTo>
                      <a:pt x="5327012" y="9877006"/>
                    </a:lnTo>
                    <a:lnTo>
                      <a:pt x="5297429" y="9879809"/>
                    </a:lnTo>
                    <a:lnTo>
                      <a:pt x="5263747" y="9873622"/>
                    </a:lnTo>
                    <a:lnTo>
                      <a:pt x="5240146" y="9864455"/>
                    </a:lnTo>
                    <a:lnTo>
                      <a:pt x="5205779" y="9870800"/>
                    </a:lnTo>
                    <a:lnTo>
                      <a:pt x="5181554" y="9900787"/>
                    </a:lnTo>
                    <a:lnTo>
                      <a:pt x="5161065" y="9934876"/>
                    </a:lnTo>
                    <a:lnTo>
                      <a:pt x="5140567" y="9968971"/>
                    </a:lnTo>
                    <a:lnTo>
                      <a:pt x="5123421" y="10008171"/>
                    </a:lnTo>
                    <a:lnTo>
                      <a:pt x="5122981" y="10030093"/>
                    </a:lnTo>
                    <a:lnTo>
                      <a:pt x="5160259" y="10062837"/>
                    </a:lnTo>
                    <a:lnTo>
                      <a:pt x="5190986" y="10080419"/>
                    </a:lnTo>
                    <a:lnTo>
                      <a:pt x="5221713" y="10098001"/>
                    </a:lnTo>
                    <a:lnTo>
                      <a:pt x="5254362" y="10116889"/>
                    </a:lnTo>
                    <a:lnTo>
                      <a:pt x="5268516" y="10138909"/>
                    </a:lnTo>
                    <a:lnTo>
                      <a:pt x="5281231" y="10158634"/>
                    </a:lnTo>
                    <a:lnTo>
                      <a:pt x="5259586" y="10226641"/>
                    </a:lnTo>
                    <a:lnTo>
                      <a:pt x="5267158" y="10261323"/>
                    </a:lnTo>
                    <a:lnTo>
                      <a:pt x="5285076" y="10283251"/>
                    </a:lnTo>
                    <a:lnTo>
                      <a:pt x="5297289" y="10306802"/>
                    </a:lnTo>
                    <a:lnTo>
                      <a:pt x="5313406" y="10325254"/>
                    </a:lnTo>
                    <a:lnTo>
                      <a:pt x="5329526" y="10343707"/>
                    </a:lnTo>
                    <a:lnTo>
                      <a:pt x="5349323" y="10356996"/>
                    </a:lnTo>
                    <a:lnTo>
                      <a:pt x="5382772" y="10361982"/>
                    </a:lnTo>
                    <a:lnTo>
                      <a:pt x="5407977" y="10365741"/>
                    </a:lnTo>
                    <a:lnTo>
                      <a:pt x="5437609" y="10354542"/>
                    </a:lnTo>
                    <a:lnTo>
                      <a:pt x="5467108" y="10348376"/>
                    </a:lnTo>
                    <a:lnTo>
                      <a:pt x="5496443" y="10343463"/>
                    </a:lnTo>
                    <a:lnTo>
                      <a:pt x="5524832" y="10347849"/>
                    </a:lnTo>
                    <a:lnTo>
                      <a:pt x="5551438" y="10367422"/>
                    </a:lnTo>
                    <a:lnTo>
                      <a:pt x="5554074" y="10399111"/>
                    </a:lnTo>
                    <a:lnTo>
                      <a:pt x="5516668" y="10428505"/>
                    </a:lnTo>
                    <a:lnTo>
                      <a:pt x="5483306" y="10462429"/>
                    </a:lnTo>
                    <a:lnTo>
                      <a:pt x="5460309" y="10492560"/>
                    </a:lnTo>
                    <a:lnTo>
                      <a:pt x="5558250" y="10663949"/>
                    </a:lnTo>
                    <a:lnTo>
                      <a:pt x="5608576" y="10740121"/>
                    </a:lnTo>
                    <a:lnTo>
                      <a:pt x="5660259" y="10817650"/>
                    </a:lnTo>
                    <a:lnTo>
                      <a:pt x="5665766" y="10789833"/>
                    </a:lnTo>
                    <a:lnTo>
                      <a:pt x="5679747" y="10767272"/>
                    </a:lnTo>
                    <a:lnTo>
                      <a:pt x="5692905" y="10744202"/>
                    </a:lnTo>
                    <a:lnTo>
                      <a:pt x="5706067" y="10721133"/>
                    </a:lnTo>
                    <a:lnTo>
                      <a:pt x="5717304" y="10697722"/>
                    </a:lnTo>
                    <a:lnTo>
                      <a:pt x="5717391" y="10669390"/>
                    </a:lnTo>
                    <a:lnTo>
                      <a:pt x="5740751" y="10665737"/>
                    </a:lnTo>
                    <a:lnTo>
                      <a:pt x="5781613" y="10670426"/>
                    </a:lnTo>
                    <a:lnTo>
                      <a:pt x="5822125" y="10670749"/>
                    </a:lnTo>
                    <a:lnTo>
                      <a:pt x="5862644" y="10671078"/>
                    </a:lnTo>
                    <a:lnTo>
                      <a:pt x="5901863" y="10667596"/>
                    </a:lnTo>
                    <a:lnTo>
                      <a:pt x="5936382" y="10659867"/>
                    </a:lnTo>
                    <a:lnTo>
                      <a:pt x="5969025" y="10700669"/>
                    </a:lnTo>
                    <a:lnTo>
                      <a:pt x="6000893" y="10712659"/>
                    </a:lnTo>
                    <a:lnTo>
                      <a:pt x="6029654" y="10710443"/>
                    </a:lnTo>
                    <a:lnTo>
                      <a:pt x="6054719" y="10696587"/>
                    </a:lnTo>
                    <a:lnTo>
                      <a:pt x="6079958" y="10680390"/>
                    </a:lnTo>
                    <a:lnTo>
                      <a:pt x="6102862" y="10652158"/>
                    </a:lnTo>
                    <a:lnTo>
                      <a:pt x="6124092" y="10620416"/>
                    </a:lnTo>
                    <a:lnTo>
                      <a:pt x="6145321" y="10588682"/>
                    </a:lnTo>
                    <a:lnTo>
                      <a:pt x="6165388" y="10553175"/>
                    </a:lnTo>
                    <a:lnTo>
                      <a:pt x="6186658" y="10522482"/>
                    </a:lnTo>
                    <a:lnTo>
                      <a:pt x="6207934" y="10491789"/>
                    </a:lnTo>
                    <a:lnTo>
                      <a:pt x="6230652" y="10466188"/>
                    </a:lnTo>
                    <a:lnTo>
                      <a:pt x="6256031" y="10453116"/>
                    </a:lnTo>
                    <a:lnTo>
                      <a:pt x="6275242" y="10443225"/>
                    </a:lnTo>
                    <a:lnTo>
                      <a:pt x="6314520" y="10439512"/>
                    </a:lnTo>
                    <a:lnTo>
                      <a:pt x="6356133" y="10440507"/>
                    </a:lnTo>
                    <a:lnTo>
                      <a:pt x="6377087" y="10440870"/>
                    </a:lnTo>
                    <a:lnTo>
                      <a:pt x="6399318" y="10415796"/>
                    </a:lnTo>
                    <a:lnTo>
                      <a:pt x="6414703" y="10375284"/>
                    </a:lnTo>
                    <a:lnTo>
                      <a:pt x="6428777" y="10359258"/>
                    </a:lnTo>
                    <a:lnTo>
                      <a:pt x="6494066" y="10355182"/>
                    </a:lnTo>
                    <a:lnTo>
                      <a:pt x="6534467" y="10352188"/>
                    </a:lnTo>
                    <a:lnTo>
                      <a:pt x="6570238" y="10364705"/>
                    </a:lnTo>
                    <a:lnTo>
                      <a:pt x="6595145" y="10391863"/>
                    </a:lnTo>
                    <a:lnTo>
                      <a:pt x="6615122" y="10416390"/>
                    </a:lnTo>
                    <a:lnTo>
                      <a:pt x="6643427" y="10440131"/>
                    </a:lnTo>
                    <a:lnTo>
                      <a:pt x="6666806" y="10459923"/>
                    </a:lnTo>
                    <a:lnTo>
                      <a:pt x="6688528" y="10450723"/>
                    </a:lnTo>
                    <a:lnTo>
                      <a:pt x="6700940" y="10426407"/>
                    </a:lnTo>
                    <a:lnTo>
                      <a:pt x="6718499" y="10412314"/>
                    </a:lnTo>
                    <a:lnTo>
                      <a:pt x="6752633" y="10398353"/>
                    </a:lnTo>
                    <a:lnTo>
                      <a:pt x="6771249" y="10373062"/>
                    </a:lnTo>
                    <a:lnTo>
                      <a:pt x="6786504" y="10356548"/>
                    </a:lnTo>
                    <a:lnTo>
                      <a:pt x="6806822" y="10351239"/>
                    </a:lnTo>
                    <a:lnTo>
                      <a:pt x="6833518" y="10354826"/>
                    </a:lnTo>
                    <a:lnTo>
                      <a:pt x="6899409" y="10370153"/>
                    </a:lnTo>
                    <a:lnTo>
                      <a:pt x="6929956" y="10406702"/>
                    </a:lnTo>
                    <a:lnTo>
                      <a:pt x="6938845" y="10439525"/>
                    </a:lnTo>
                    <a:lnTo>
                      <a:pt x="6947744" y="10472341"/>
                    </a:lnTo>
                    <a:lnTo>
                      <a:pt x="6953322" y="10506384"/>
                    </a:lnTo>
                    <a:lnTo>
                      <a:pt x="6965628" y="10534056"/>
                    </a:lnTo>
                    <a:lnTo>
                      <a:pt x="6987812" y="10563298"/>
                    </a:lnTo>
                    <a:lnTo>
                      <a:pt x="7023460" y="10579897"/>
                    </a:lnTo>
                    <a:lnTo>
                      <a:pt x="7132994" y="10595349"/>
                    </a:lnTo>
                    <a:lnTo>
                      <a:pt x="7240814" y="10602748"/>
                    </a:lnTo>
                    <a:lnTo>
                      <a:pt x="7348634" y="10610142"/>
                    </a:lnTo>
                    <a:lnTo>
                      <a:pt x="7454984" y="10610121"/>
                    </a:lnTo>
                    <a:lnTo>
                      <a:pt x="7488374" y="10594584"/>
                    </a:lnTo>
                    <a:lnTo>
                      <a:pt x="7504696" y="10555140"/>
                    </a:lnTo>
                    <a:lnTo>
                      <a:pt x="7531978" y="10554678"/>
                    </a:lnTo>
                    <a:lnTo>
                      <a:pt x="7590343" y="10553399"/>
                    </a:lnTo>
                    <a:lnTo>
                      <a:pt x="7614863" y="10570104"/>
                    </a:lnTo>
                    <a:lnTo>
                      <a:pt x="7626853" y="10607636"/>
                    </a:lnTo>
                    <a:lnTo>
                      <a:pt x="7642582" y="10626932"/>
                    </a:lnTo>
                    <a:lnTo>
                      <a:pt x="7694107" y="10631074"/>
                    </a:lnTo>
                    <a:lnTo>
                      <a:pt x="7744092" y="10629953"/>
                    </a:lnTo>
                    <a:lnTo>
                      <a:pt x="7794067" y="10628831"/>
                    </a:lnTo>
                    <a:lnTo>
                      <a:pt x="7842830" y="10623661"/>
                    </a:lnTo>
                    <a:lnTo>
                      <a:pt x="7851549" y="10587785"/>
                    </a:lnTo>
                    <a:lnTo>
                      <a:pt x="7866227" y="10565045"/>
                    </a:lnTo>
                    <a:lnTo>
                      <a:pt x="7886291" y="10550648"/>
                    </a:lnTo>
                    <a:lnTo>
                      <a:pt x="7908674" y="10540176"/>
                    </a:lnTo>
                    <a:lnTo>
                      <a:pt x="7931057" y="10529703"/>
                    </a:lnTo>
                    <a:lnTo>
                      <a:pt x="7956110" y="10522811"/>
                    </a:lnTo>
                    <a:lnTo>
                      <a:pt x="7979405" y="10512972"/>
                    </a:lnTo>
                    <a:lnTo>
                      <a:pt x="8013493" y="10488063"/>
                    </a:lnTo>
                    <a:lnTo>
                      <a:pt x="8058885" y="10474444"/>
                    </a:lnTo>
                    <a:lnTo>
                      <a:pt x="8097906" y="10458650"/>
                    </a:lnTo>
                    <a:lnTo>
                      <a:pt x="8131746" y="10453123"/>
                    </a:lnTo>
                    <a:lnTo>
                      <a:pt x="8163434" y="10447946"/>
                    </a:lnTo>
                    <a:lnTo>
                      <a:pt x="8197069" y="10449523"/>
                    </a:lnTo>
                    <a:lnTo>
                      <a:pt x="8229681" y="10447683"/>
                    </a:lnTo>
                    <a:lnTo>
                      <a:pt x="8262284" y="10445842"/>
                    </a:lnTo>
                    <a:lnTo>
                      <a:pt x="8294843" y="10440072"/>
                    </a:lnTo>
                    <a:lnTo>
                      <a:pt x="8323532" y="10420479"/>
                    </a:lnTo>
                    <a:lnTo>
                      <a:pt x="8342065" y="10397944"/>
                    </a:lnTo>
                    <a:lnTo>
                      <a:pt x="8348297" y="10358816"/>
                    </a:lnTo>
                    <a:lnTo>
                      <a:pt x="8357537" y="10321186"/>
                    </a:lnTo>
                    <a:lnTo>
                      <a:pt x="8367815" y="10283707"/>
                    </a:lnTo>
                    <a:lnTo>
                      <a:pt x="8382623" y="10252572"/>
                    </a:lnTo>
                    <a:lnTo>
                      <a:pt x="8405143" y="10232775"/>
                    </a:lnTo>
                    <a:lnTo>
                      <a:pt x="8459887" y="10202022"/>
                    </a:lnTo>
                    <a:lnTo>
                      <a:pt x="8523015" y="10201039"/>
                    </a:lnTo>
                    <a:lnTo>
                      <a:pt x="8577889" y="10174284"/>
                    </a:lnTo>
                    <a:lnTo>
                      <a:pt x="8586986" y="10120958"/>
                    </a:lnTo>
                    <a:lnTo>
                      <a:pt x="8599265" y="10085893"/>
                    </a:lnTo>
                    <a:lnTo>
                      <a:pt x="8613251" y="10062745"/>
                    </a:lnTo>
                    <a:lnTo>
                      <a:pt x="8627241" y="10039603"/>
                    </a:lnTo>
                    <a:lnTo>
                      <a:pt x="8660861" y="10020583"/>
                    </a:lnTo>
                    <a:lnTo>
                      <a:pt x="8700647" y="10011298"/>
                    </a:lnTo>
                    <a:lnTo>
                      <a:pt x="8723427" y="10005620"/>
                    </a:lnTo>
                    <a:lnTo>
                      <a:pt x="8746220" y="9999942"/>
                    </a:lnTo>
                    <a:lnTo>
                      <a:pt x="8771549" y="9991362"/>
                    </a:lnTo>
                    <a:lnTo>
                      <a:pt x="8798238" y="9972975"/>
                    </a:lnTo>
                    <a:lnTo>
                      <a:pt x="8816541" y="9952847"/>
                    </a:lnTo>
                    <a:lnTo>
                      <a:pt x="8824004" y="9930168"/>
                    </a:lnTo>
                    <a:lnTo>
                      <a:pt x="8830884" y="9907685"/>
                    </a:lnTo>
                    <a:lnTo>
                      <a:pt x="8837762" y="9885203"/>
                    </a:lnTo>
                    <a:lnTo>
                      <a:pt x="8844146" y="9862438"/>
                    </a:lnTo>
                    <a:lnTo>
                      <a:pt x="8856731" y="9841037"/>
                    </a:lnTo>
                    <a:lnTo>
                      <a:pt x="8870625" y="9817434"/>
                    </a:lnTo>
                    <a:lnTo>
                      <a:pt x="8890279" y="9796106"/>
                    </a:lnTo>
                    <a:lnTo>
                      <a:pt x="8908415" y="9774383"/>
                    </a:lnTo>
                    <a:lnTo>
                      <a:pt x="8926556" y="9752659"/>
                    </a:lnTo>
                    <a:lnTo>
                      <a:pt x="8943188" y="9730368"/>
                    </a:lnTo>
                    <a:lnTo>
                      <a:pt x="8949225" y="9703652"/>
                    </a:lnTo>
                    <a:lnTo>
                      <a:pt x="8949225" y="9677813"/>
                    </a:lnTo>
                    <a:lnTo>
                      <a:pt x="8952666" y="9656472"/>
                    </a:lnTo>
                    <a:lnTo>
                      <a:pt x="8953299" y="9617964"/>
                    </a:lnTo>
                    <a:lnTo>
                      <a:pt x="8973111" y="9558603"/>
                    </a:lnTo>
                    <a:lnTo>
                      <a:pt x="9017230" y="9494185"/>
                    </a:lnTo>
                    <a:lnTo>
                      <a:pt x="9042971" y="9447255"/>
                    </a:lnTo>
                    <a:lnTo>
                      <a:pt x="9066994" y="9384709"/>
                    </a:lnTo>
                    <a:lnTo>
                      <a:pt x="9083877" y="9320079"/>
                    </a:lnTo>
                    <a:lnTo>
                      <a:pt x="9100769" y="9255449"/>
                    </a:lnTo>
                    <a:lnTo>
                      <a:pt x="9111491" y="9187568"/>
                    </a:lnTo>
                    <a:lnTo>
                      <a:pt x="9109723" y="9132368"/>
                    </a:lnTo>
                    <a:lnTo>
                      <a:pt x="9097225" y="9098088"/>
                    </a:lnTo>
                    <a:lnTo>
                      <a:pt x="9086181" y="9063914"/>
                    </a:lnTo>
                    <a:lnTo>
                      <a:pt x="9082519" y="9027635"/>
                    </a:lnTo>
                    <a:lnTo>
                      <a:pt x="9103274" y="9003299"/>
                    </a:lnTo>
                    <a:lnTo>
                      <a:pt x="9140655" y="8989404"/>
                    </a:lnTo>
                    <a:lnTo>
                      <a:pt x="9161156" y="8984887"/>
                    </a:lnTo>
                    <a:lnTo>
                      <a:pt x="9184779" y="8964475"/>
                    </a:lnTo>
                    <a:lnTo>
                      <a:pt x="9185895" y="8788029"/>
                    </a:lnTo>
                    <a:lnTo>
                      <a:pt x="9185895" y="8758319"/>
                    </a:lnTo>
                    <a:lnTo>
                      <a:pt x="9210123" y="8724421"/>
                    </a:lnTo>
                    <a:lnTo>
                      <a:pt x="9245823" y="8709114"/>
                    </a:lnTo>
                    <a:lnTo>
                      <a:pt x="9275670" y="8691664"/>
                    </a:lnTo>
                    <a:lnTo>
                      <a:pt x="9304663" y="8672737"/>
                    </a:lnTo>
                    <a:lnTo>
                      <a:pt x="9322845" y="8648026"/>
                    </a:lnTo>
                    <a:lnTo>
                      <a:pt x="9325995" y="8611417"/>
                    </a:lnTo>
                    <a:lnTo>
                      <a:pt x="9324333" y="8589120"/>
                    </a:lnTo>
                    <a:lnTo>
                      <a:pt x="9324169" y="8564831"/>
                    </a:lnTo>
                    <a:lnTo>
                      <a:pt x="9316473" y="8543404"/>
                    </a:lnTo>
                    <a:lnTo>
                      <a:pt x="9293436" y="8521918"/>
                    </a:lnTo>
                    <a:lnTo>
                      <a:pt x="9260700" y="8522999"/>
                    </a:lnTo>
                    <a:lnTo>
                      <a:pt x="9239511" y="8512283"/>
                    </a:lnTo>
                    <a:lnTo>
                      <a:pt x="9223850" y="8496237"/>
                    </a:lnTo>
                    <a:lnTo>
                      <a:pt x="9210374" y="8479473"/>
                    </a:lnTo>
                    <a:lnTo>
                      <a:pt x="9196909" y="8462715"/>
                    </a:lnTo>
                    <a:lnTo>
                      <a:pt x="9184661" y="8444778"/>
                    </a:lnTo>
                    <a:lnTo>
                      <a:pt x="9168213" y="8429148"/>
                    </a:lnTo>
                    <a:lnTo>
                      <a:pt x="9162765" y="8400724"/>
                    </a:lnTo>
                    <a:lnTo>
                      <a:pt x="9158579" y="8347543"/>
                    </a:lnTo>
                    <a:lnTo>
                      <a:pt x="9157327" y="8294486"/>
                    </a:lnTo>
                    <a:lnTo>
                      <a:pt x="9156086" y="8241430"/>
                    </a:lnTo>
                    <a:lnTo>
                      <a:pt x="9157789" y="8189113"/>
                    </a:lnTo>
                    <a:lnTo>
                      <a:pt x="9168213" y="8162548"/>
                    </a:lnTo>
                    <a:lnTo>
                      <a:pt x="9219896" y="8030611"/>
                    </a:lnTo>
                    <a:lnTo>
                      <a:pt x="9230950" y="8002536"/>
                    </a:lnTo>
                    <a:lnTo>
                      <a:pt x="9225127" y="7960751"/>
                    </a:lnTo>
                    <a:lnTo>
                      <a:pt x="9232137" y="7929952"/>
                    </a:lnTo>
                    <a:lnTo>
                      <a:pt x="9239749" y="7896418"/>
                    </a:lnTo>
                    <a:lnTo>
                      <a:pt x="9282246" y="7818822"/>
                    </a:lnTo>
                    <a:lnTo>
                      <a:pt x="9331899" y="7829724"/>
                    </a:lnTo>
                    <a:lnTo>
                      <a:pt x="9362474" y="7815024"/>
                    </a:lnTo>
                    <a:lnTo>
                      <a:pt x="9370929" y="7793946"/>
                    </a:lnTo>
                    <a:lnTo>
                      <a:pt x="9374963" y="7766729"/>
                    </a:lnTo>
                    <a:lnTo>
                      <a:pt x="9378994" y="7739518"/>
                    </a:lnTo>
                    <a:lnTo>
                      <a:pt x="9378451" y="7705594"/>
                    </a:lnTo>
                    <a:lnTo>
                      <a:pt x="9376315" y="7671519"/>
                    </a:lnTo>
                    <a:lnTo>
                      <a:pt x="9372048" y="7603360"/>
                    </a:lnTo>
                    <a:lnTo>
                      <a:pt x="9361826" y="7533500"/>
                    </a:lnTo>
                    <a:lnTo>
                      <a:pt x="9368157" y="7506936"/>
                    </a:lnTo>
                    <a:lnTo>
                      <a:pt x="9373685" y="7483643"/>
                    </a:lnTo>
                    <a:lnTo>
                      <a:pt x="9392255" y="7451908"/>
                    </a:lnTo>
                    <a:lnTo>
                      <a:pt x="9402161" y="7429399"/>
                    </a:lnTo>
                    <a:lnTo>
                      <a:pt x="9359438" y="7398700"/>
                    </a:lnTo>
                    <a:lnTo>
                      <a:pt x="9328715" y="7373633"/>
                    </a:lnTo>
                    <a:lnTo>
                      <a:pt x="9297982" y="7348572"/>
                    </a:lnTo>
                    <a:lnTo>
                      <a:pt x="9270138" y="7322213"/>
                    </a:lnTo>
                    <a:lnTo>
                      <a:pt x="9268799" y="7292377"/>
                    </a:lnTo>
                    <a:lnTo>
                      <a:pt x="9279747" y="7263459"/>
                    </a:lnTo>
                    <a:lnTo>
                      <a:pt x="9296617" y="7236301"/>
                    </a:lnTo>
                    <a:lnTo>
                      <a:pt x="9331688" y="7199435"/>
                    </a:lnTo>
                    <a:lnTo>
                      <a:pt x="9360719" y="7177521"/>
                    </a:lnTo>
                    <a:lnTo>
                      <a:pt x="9379040" y="7157360"/>
                    </a:lnTo>
                    <a:lnTo>
                      <a:pt x="9475146" y="6991821"/>
                    </a:lnTo>
                    <a:lnTo>
                      <a:pt x="9463370" y="6969656"/>
                    </a:lnTo>
                    <a:lnTo>
                      <a:pt x="9372030" y="6934861"/>
                    </a:lnTo>
                    <a:lnTo>
                      <a:pt x="9336878" y="6928846"/>
                    </a:lnTo>
                    <a:lnTo>
                      <a:pt x="9310406" y="6990318"/>
                    </a:lnTo>
                    <a:lnTo>
                      <a:pt x="9290627" y="7032222"/>
                    </a:lnTo>
                    <a:lnTo>
                      <a:pt x="9270842" y="7074132"/>
                    </a:lnTo>
                    <a:lnTo>
                      <a:pt x="9250226" y="7113081"/>
                    </a:lnTo>
                    <a:lnTo>
                      <a:pt x="9214858" y="7132497"/>
                    </a:lnTo>
                    <a:lnTo>
                      <a:pt x="9132686" y="7116518"/>
                    </a:lnTo>
                    <a:lnTo>
                      <a:pt x="9052592" y="7089353"/>
                    </a:lnTo>
                    <a:lnTo>
                      <a:pt x="9012548" y="7075774"/>
                    </a:lnTo>
                    <a:lnTo>
                      <a:pt x="8972845" y="7059644"/>
                    </a:lnTo>
                    <a:lnTo>
                      <a:pt x="8941058" y="7043104"/>
                    </a:lnTo>
                    <a:lnTo>
                      <a:pt x="8909270" y="7026570"/>
                    </a:lnTo>
                    <a:lnTo>
                      <a:pt x="8885365" y="7009324"/>
                    </a:lnTo>
                    <a:lnTo>
                      <a:pt x="8878488" y="6972373"/>
                    </a:lnTo>
                    <a:lnTo>
                      <a:pt x="8900961" y="6953076"/>
                    </a:lnTo>
                    <a:lnTo>
                      <a:pt x="8920653" y="6945169"/>
                    </a:lnTo>
                    <a:lnTo>
                      <a:pt x="8940341" y="6937268"/>
                    </a:lnTo>
                    <a:lnTo>
                      <a:pt x="8961199" y="6928985"/>
                    </a:lnTo>
                    <a:lnTo>
                      <a:pt x="8979223" y="6897224"/>
                    </a:lnTo>
                    <a:lnTo>
                      <a:pt x="8965282" y="6868727"/>
                    </a:lnTo>
                    <a:lnTo>
                      <a:pt x="8941051" y="6837718"/>
                    </a:lnTo>
                    <a:lnTo>
                      <a:pt x="8868454" y="6857628"/>
                    </a:lnTo>
                    <a:lnTo>
                      <a:pt x="8827905" y="6862845"/>
                    </a:lnTo>
                    <a:lnTo>
                      <a:pt x="8795160" y="6850446"/>
                    </a:lnTo>
                    <a:lnTo>
                      <a:pt x="8762870" y="6834995"/>
                    </a:lnTo>
                    <a:lnTo>
                      <a:pt x="8730574" y="6819549"/>
                    </a:lnTo>
                    <a:lnTo>
                      <a:pt x="8699066" y="6801862"/>
                    </a:lnTo>
                    <a:lnTo>
                      <a:pt x="8675818" y="6792827"/>
                    </a:lnTo>
                    <a:lnTo>
                      <a:pt x="8625868" y="6773425"/>
                    </a:lnTo>
                    <a:lnTo>
                      <a:pt x="8568237" y="6761673"/>
                    </a:lnTo>
                    <a:lnTo>
                      <a:pt x="8515313" y="6754741"/>
                    </a:lnTo>
                    <a:lnTo>
                      <a:pt x="8527551" y="6708603"/>
                    </a:lnTo>
                    <a:lnTo>
                      <a:pt x="8545404" y="6673663"/>
                    </a:lnTo>
                    <a:lnTo>
                      <a:pt x="8565645" y="6640485"/>
                    </a:lnTo>
                    <a:lnTo>
                      <a:pt x="8588251" y="6603335"/>
                    </a:lnTo>
                    <a:lnTo>
                      <a:pt x="8622513" y="6569523"/>
                    </a:lnTo>
                    <a:lnTo>
                      <a:pt x="8639092" y="6528951"/>
                    </a:lnTo>
                    <a:lnTo>
                      <a:pt x="8639684" y="6498858"/>
                    </a:lnTo>
                    <a:lnTo>
                      <a:pt x="8590124" y="6443257"/>
                    </a:lnTo>
                    <a:lnTo>
                      <a:pt x="8611149" y="6401802"/>
                    </a:lnTo>
                    <a:lnTo>
                      <a:pt x="8614612" y="6377967"/>
                    </a:lnTo>
                    <a:lnTo>
                      <a:pt x="8618066" y="6354140"/>
                    </a:lnTo>
                    <a:lnTo>
                      <a:pt x="8613462" y="6330986"/>
                    </a:lnTo>
                    <a:lnTo>
                      <a:pt x="8594207" y="6314040"/>
                    </a:lnTo>
                    <a:lnTo>
                      <a:pt x="8615198" y="6294834"/>
                    </a:lnTo>
                    <a:lnTo>
                      <a:pt x="8636366" y="6288196"/>
                    </a:lnTo>
                    <a:lnTo>
                      <a:pt x="8657543" y="6281558"/>
                    </a:lnTo>
                    <a:lnTo>
                      <a:pt x="8683793" y="6276443"/>
                    </a:lnTo>
                    <a:lnTo>
                      <a:pt x="8711180" y="6270513"/>
                    </a:lnTo>
                    <a:lnTo>
                      <a:pt x="8738577" y="6264584"/>
                    </a:lnTo>
                    <a:lnTo>
                      <a:pt x="8767639" y="6257848"/>
                    </a:lnTo>
                    <a:lnTo>
                      <a:pt x="8791433" y="6248750"/>
                    </a:lnTo>
                    <a:lnTo>
                      <a:pt x="8815220" y="6239652"/>
                    </a:lnTo>
                    <a:lnTo>
                      <a:pt x="8834109" y="6228166"/>
                    </a:lnTo>
                    <a:lnTo>
                      <a:pt x="8854771" y="6180996"/>
                    </a:lnTo>
                    <a:lnTo>
                      <a:pt x="8843374" y="6082232"/>
                    </a:lnTo>
                    <a:lnTo>
                      <a:pt x="8828153" y="6055601"/>
                    </a:lnTo>
                    <a:lnTo>
                      <a:pt x="8841402" y="6030330"/>
                    </a:lnTo>
                    <a:lnTo>
                      <a:pt x="8869319" y="6012863"/>
                    </a:lnTo>
                    <a:lnTo>
                      <a:pt x="8904331" y="5998473"/>
                    </a:lnTo>
                    <a:lnTo>
                      <a:pt x="8940735" y="5985410"/>
                    </a:lnTo>
                    <a:lnTo>
                      <a:pt x="8971298" y="5968011"/>
                    </a:lnTo>
                    <a:lnTo>
                      <a:pt x="8990025" y="5942705"/>
                    </a:lnTo>
                    <a:lnTo>
                      <a:pt x="8980702" y="5904218"/>
                    </a:lnTo>
                    <a:lnTo>
                      <a:pt x="8969620" y="5884217"/>
                    </a:lnTo>
                    <a:lnTo>
                      <a:pt x="8958536" y="5864215"/>
                    </a:lnTo>
                    <a:lnTo>
                      <a:pt x="8947705" y="5844102"/>
                    </a:lnTo>
                    <a:lnTo>
                      <a:pt x="8954657" y="5808343"/>
                    </a:lnTo>
                    <a:lnTo>
                      <a:pt x="8990276" y="5766262"/>
                    </a:lnTo>
                    <a:lnTo>
                      <a:pt x="8995777" y="5728920"/>
                    </a:lnTo>
                    <a:lnTo>
                      <a:pt x="8976110" y="5713123"/>
                    </a:lnTo>
                    <a:lnTo>
                      <a:pt x="8954657" y="5699229"/>
                    </a:lnTo>
                    <a:lnTo>
                      <a:pt x="8933204" y="5685336"/>
                    </a:lnTo>
                    <a:lnTo>
                      <a:pt x="8909382" y="5673237"/>
                    </a:lnTo>
                    <a:lnTo>
                      <a:pt x="8897525" y="5654343"/>
                    </a:lnTo>
                    <a:lnTo>
                      <a:pt x="8894809" y="5631220"/>
                    </a:lnTo>
                    <a:lnTo>
                      <a:pt x="8906455" y="5601136"/>
                    </a:lnTo>
                    <a:lnTo>
                      <a:pt x="8925691" y="5573951"/>
                    </a:lnTo>
                    <a:lnTo>
                      <a:pt x="8934258" y="5545527"/>
                    </a:lnTo>
                    <a:lnTo>
                      <a:pt x="8940354" y="5516669"/>
                    </a:lnTo>
                    <a:lnTo>
                      <a:pt x="8933601" y="5487333"/>
                    </a:lnTo>
                    <a:lnTo>
                      <a:pt x="8909779" y="5457114"/>
                    </a:lnTo>
                    <a:lnTo>
                      <a:pt x="8844654" y="5457734"/>
                    </a:lnTo>
                    <a:lnTo>
                      <a:pt x="8819198" y="5458982"/>
                    </a:lnTo>
                    <a:lnTo>
                      <a:pt x="8799600" y="5438069"/>
                    </a:lnTo>
                    <a:lnTo>
                      <a:pt x="8802151" y="5405010"/>
                    </a:lnTo>
                    <a:lnTo>
                      <a:pt x="8791309" y="5382729"/>
                    </a:lnTo>
                    <a:lnTo>
                      <a:pt x="8776475" y="5361898"/>
                    </a:lnTo>
                    <a:lnTo>
                      <a:pt x="8761651" y="5341067"/>
                    </a:lnTo>
                    <a:lnTo>
                      <a:pt x="8742921" y="5321963"/>
                    </a:lnTo>
                    <a:lnTo>
                      <a:pt x="8731591" y="5295249"/>
                    </a:lnTo>
                    <a:lnTo>
                      <a:pt x="8731526" y="5272125"/>
                    </a:lnTo>
                    <a:lnTo>
                      <a:pt x="8737969" y="5248202"/>
                    </a:lnTo>
                    <a:lnTo>
                      <a:pt x="8747913" y="5225878"/>
                    </a:lnTo>
                    <a:lnTo>
                      <a:pt x="8757859" y="5203555"/>
                    </a:lnTo>
                    <a:lnTo>
                      <a:pt x="8771378" y="5182299"/>
                    </a:lnTo>
                    <a:lnTo>
                      <a:pt x="8783275" y="5163309"/>
                    </a:lnTo>
                    <a:lnTo>
                      <a:pt x="8834754" y="5168452"/>
                    </a:lnTo>
                    <a:lnTo>
                      <a:pt x="8882165" y="5208302"/>
                    </a:lnTo>
                    <a:lnTo>
                      <a:pt x="8885120" y="5250742"/>
                    </a:lnTo>
                    <a:lnTo>
                      <a:pt x="8900257" y="5283007"/>
                    </a:lnTo>
                    <a:lnTo>
                      <a:pt x="8918650" y="5313025"/>
                    </a:lnTo>
                    <a:lnTo>
                      <a:pt x="8955311" y="5329160"/>
                    </a:lnTo>
                    <a:lnTo>
                      <a:pt x="8981294" y="5330693"/>
                    </a:lnTo>
                    <a:lnTo>
                      <a:pt x="9019955" y="5325170"/>
                    </a:lnTo>
                    <a:lnTo>
                      <a:pt x="9047712" y="5321205"/>
                    </a:lnTo>
                    <a:lnTo>
                      <a:pt x="9073927" y="5317322"/>
                    </a:lnTo>
                    <a:lnTo>
                      <a:pt x="9098843" y="5308848"/>
                    </a:lnTo>
                    <a:lnTo>
                      <a:pt x="9123757" y="5300373"/>
                    </a:lnTo>
                    <a:lnTo>
                      <a:pt x="9146729" y="5287563"/>
                    </a:lnTo>
                    <a:lnTo>
                      <a:pt x="9168213" y="5268042"/>
                    </a:lnTo>
                    <a:lnTo>
                      <a:pt x="9178206" y="5236194"/>
                    </a:lnTo>
                    <a:lnTo>
                      <a:pt x="9172578" y="5213847"/>
                    </a:lnTo>
                    <a:lnTo>
                      <a:pt x="9164139" y="5191871"/>
                    </a:lnTo>
                    <a:lnTo>
                      <a:pt x="9155689" y="5169895"/>
                    </a:lnTo>
                    <a:lnTo>
                      <a:pt x="9145606" y="5148950"/>
                    </a:lnTo>
                    <a:lnTo>
                      <a:pt x="9145092" y="5119781"/>
                    </a:lnTo>
                    <a:lnTo>
                      <a:pt x="9157655" y="5091758"/>
                    </a:lnTo>
                    <a:lnTo>
                      <a:pt x="9181502" y="5068911"/>
                    </a:lnTo>
                    <a:lnTo>
                      <a:pt x="9198143" y="5042249"/>
                    </a:lnTo>
                    <a:lnTo>
                      <a:pt x="9172560" y="5003322"/>
                    </a:lnTo>
                    <a:lnTo>
                      <a:pt x="9139867" y="4980539"/>
                    </a:lnTo>
                    <a:lnTo>
                      <a:pt x="9111094" y="4972888"/>
                    </a:lnTo>
                    <a:lnTo>
                      <a:pt x="9110672" y="4925876"/>
                    </a:lnTo>
                    <a:lnTo>
                      <a:pt x="9109196" y="4895127"/>
                    </a:lnTo>
                    <a:lnTo>
                      <a:pt x="9105655" y="4870873"/>
                    </a:lnTo>
                    <a:lnTo>
                      <a:pt x="9102105" y="4846618"/>
                    </a:lnTo>
                    <a:lnTo>
                      <a:pt x="9098850" y="4819185"/>
                    </a:lnTo>
                    <a:lnTo>
                      <a:pt x="9111094" y="4801503"/>
                    </a:lnTo>
                    <a:lnTo>
                      <a:pt x="9134091" y="4793214"/>
                    </a:lnTo>
                    <a:lnTo>
                      <a:pt x="9189349" y="4768071"/>
                    </a:lnTo>
                    <a:lnTo>
                      <a:pt x="9202223" y="4745734"/>
                    </a:lnTo>
                    <a:lnTo>
                      <a:pt x="9196171" y="4691818"/>
                    </a:lnTo>
                    <a:lnTo>
                      <a:pt x="9184544" y="4655961"/>
                    </a:lnTo>
                    <a:lnTo>
                      <a:pt x="9172910" y="4620105"/>
                    </a:lnTo>
                    <a:lnTo>
                      <a:pt x="9158868" y="4585146"/>
                    </a:lnTo>
                    <a:lnTo>
                      <a:pt x="9155975" y="4560747"/>
                    </a:lnTo>
                    <a:lnTo>
                      <a:pt x="9213190" y="4580895"/>
                    </a:lnTo>
                    <a:lnTo>
                      <a:pt x="9262027" y="4617897"/>
                    </a:lnTo>
                    <a:lnTo>
                      <a:pt x="9319199" y="4639639"/>
                    </a:lnTo>
                    <a:lnTo>
                      <a:pt x="9397030" y="4548740"/>
                    </a:lnTo>
                    <a:lnTo>
                      <a:pt x="9382575" y="4528910"/>
                    </a:lnTo>
                    <a:lnTo>
                      <a:pt x="9377009" y="4507891"/>
                    </a:lnTo>
                    <a:lnTo>
                      <a:pt x="9348822" y="4480751"/>
                    </a:lnTo>
                    <a:lnTo>
                      <a:pt x="9270402" y="4429743"/>
                    </a:lnTo>
                    <a:lnTo>
                      <a:pt x="9261137" y="4374358"/>
                    </a:lnTo>
                    <a:lnTo>
                      <a:pt x="9246087" y="4318908"/>
                    </a:lnTo>
                    <a:lnTo>
                      <a:pt x="9253907" y="4280547"/>
                    </a:lnTo>
                    <a:lnTo>
                      <a:pt x="9285576" y="4254767"/>
                    </a:lnTo>
                    <a:lnTo>
                      <a:pt x="9340875" y="4253704"/>
                    </a:lnTo>
                    <a:lnTo>
                      <a:pt x="9379046" y="4237020"/>
                    </a:lnTo>
                    <a:lnTo>
                      <a:pt x="9373518" y="4200550"/>
                    </a:lnTo>
                    <a:lnTo>
                      <a:pt x="9345721" y="4174090"/>
                    </a:lnTo>
                    <a:lnTo>
                      <a:pt x="9320938" y="4159914"/>
                    </a:lnTo>
                    <a:lnTo>
                      <a:pt x="9297433" y="4151328"/>
                    </a:lnTo>
                    <a:lnTo>
                      <a:pt x="9291802" y="4116079"/>
                    </a:lnTo>
                    <a:lnTo>
                      <a:pt x="9294487" y="4061876"/>
                    </a:lnTo>
                    <a:lnTo>
                      <a:pt x="9294717" y="4008507"/>
                    </a:lnTo>
                    <a:lnTo>
                      <a:pt x="9294915" y="3955137"/>
                    </a:lnTo>
                    <a:lnTo>
                      <a:pt x="9292165" y="3902666"/>
                    </a:lnTo>
                    <a:lnTo>
                      <a:pt x="9278395" y="3872487"/>
                    </a:lnTo>
                    <a:lnTo>
                      <a:pt x="9228404" y="3873067"/>
                    </a:lnTo>
                    <a:lnTo>
                      <a:pt x="9203200" y="3860904"/>
                    </a:lnTo>
                    <a:lnTo>
                      <a:pt x="9196782" y="3823519"/>
                    </a:lnTo>
                    <a:lnTo>
                      <a:pt x="9196586" y="3785881"/>
                    </a:lnTo>
                    <a:lnTo>
                      <a:pt x="9200015" y="3764203"/>
                    </a:lnTo>
                    <a:lnTo>
                      <a:pt x="9217186" y="3751429"/>
                    </a:lnTo>
                    <a:lnTo>
                      <a:pt x="9231849" y="3734374"/>
                    </a:lnTo>
                    <a:lnTo>
                      <a:pt x="9253221" y="3715772"/>
                    </a:lnTo>
                    <a:lnTo>
                      <a:pt x="9268870" y="3694301"/>
                    </a:lnTo>
                    <a:lnTo>
                      <a:pt x="9283412" y="3672169"/>
                    </a:lnTo>
                    <a:lnTo>
                      <a:pt x="9289691" y="3648423"/>
                    </a:lnTo>
                    <a:lnTo>
                      <a:pt x="9285195" y="3623571"/>
                    </a:lnTo>
                    <a:lnTo>
                      <a:pt x="9261221" y="3592668"/>
                    </a:lnTo>
                    <a:lnTo>
                      <a:pt x="9229598" y="3570119"/>
                    </a:lnTo>
                    <a:lnTo>
                      <a:pt x="9198143" y="3547399"/>
                    </a:lnTo>
                    <a:lnTo>
                      <a:pt x="9136847" y="3503108"/>
                    </a:lnTo>
                    <a:lnTo>
                      <a:pt x="9095042" y="3478303"/>
                    </a:lnTo>
                    <a:lnTo>
                      <a:pt x="9063481" y="3445384"/>
                    </a:lnTo>
                    <a:lnTo>
                      <a:pt x="9047705" y="3428925"/>
                    </a:lnTo>
                    <a:lnTo>
                      <a:pt x="9034088" y="3411202"/>
                    </a:lnTo>
                    <a:lnTo>
                      <a:pt x="9022677" y="3386895"/>
                    </a:lnTo>
                    <a:lnTo>
                      <a:pt x="9011267" y="3362589"/>
                    </a:lnTo>
                    <a:lnTo>
                      <a:pt x="9001845" y="3332323"/>
                    </a:lnTo>
                    <a:lnTo>
                      <a:pt x="8992751" y="3293042"/>
                    </a:lnTo>
                    <a:lnTo>
                      <a:pt x="8977409" y="3226637"/>
                    </a:lnTo>
                    <a:lnTo>
                      <a:pt x="8958681" y="3167075"/>
                    </a:lnTo>
                    <a:lnTo>
                      <a:pt x="8956030" y="3109416"/>
                    </a:lnTo>
                    <a:lnTo>
                      <a:pt x="8954703" y="3080585"/>
                    </a:lnTo>
                    <a:lnTo>
                      <a:pt x="8958244" y="3052295"/>
                    </a:lnTo>
                    <a:lnTo>
                      <a:pt x="8966910" y="3023723"/>
                    </a:lnTo>
                    <a:lnTo>
                      <a:pt x="8975570" y="2995151"/>
                    </a:lnTo>
                    <a:lnTo>
                      <a:pt x="8989960" y="2966270"/>
                    </a:lnTo>
                    <a:lnTo>
                      <a:pt x="9013156" y="2936670"/>
                    </a:lnTo>
                    <a:lnTo>
                      <a:pt x="9039343" y="2903239"/>
                    </a:lnTo>
                    <a:lnTo>
                      <a:pt x="9064464" y="2867236"/>
                    </a:lnTo>
                    <a:lnTo>
                      <a:pt x="9098850" y="2841456"/>
                    </a:lnTo>
                    <a:lnTo>
                      <a:pt x="9124436" y="2822264"/>
                    </a:lnTo>
                    <a:lnTo>
                      <a:pt x="9147817" y="2818354"/>
                    </a:lnTo>
                    <a:lnTo>
                      <a:pt x="9165497" y="2788409"/>
                    </a:lnTo>
                    <a:lnTo>
                      <a:pt x="9176997" y="2768951"/>
                    </a:lnTo>
                    <a:lnTo>
                      <a:pt x="9179477" y="2740735"/>
                    </a:lnTo>
                    <a:lnTo>
                      <a:pt x="9183185" y="2714958"/>
                    </a:lnTo>
                    <a:lnTo>
                      <a:pt x="9186891" y="2689180"/>
                    </a:lnTo>
                    <a:lnTo>
                      <a:pt x="9191935" y="2665523"/>
                    </a:lnTo>
                    <a:lnTo>
                      <a:pt x="9210387" y="2653749"/>
                    </a:lnTo>
                    <a:lnTo>
                      <a:pt x="9244946" y="2631709"/>
                    </a:lnTo>
                    <a:lnTo>
                      <a:pt x="9283031" y="2639063"/>
                    </a:lnTo>
                    <a:lnTo>
                      <a:pt x="9317838" y="2619743"/>
                    </a:lnTo>
                    <a:lnTo>
                      <a:pt x="9313881" y="2589034"/>
                    </a:lnTo>
                    <a:lnTo>
                      <a:pt x="9301687" y="2567695"/>
                    </a:lnTo>
                    <a:lnTo>
                      <a:pt x="9302025" y="2540257"/>
                    </a:lnTo>
                    <a:lnTo>
                      <a:pt x="9312610" y="2502576"/>
                    </a:lnTo>
                    <a:lnTo>
                      <a:pt x="9357897" y="2484616"/>
                    </a:lnTo>
                    <a:lnTo>
                      <a:pt x="9409581" y="2488670"/>
                    </a:lnTo>
                    <a:lnTo>
                      <a:pt x="9455218" y="2493245"/>
                    </a:lnTo>
                    <a:lnTo>
                      <a:pt x="9500847" y="2497820"/>
                    </a:lnTo>
                    <a:lnTo>
                      <a:pt x="9539802" y="2503000"/>
                    </a:lnTo>
                    <a:lnTo>
                      <a:pt x="9549281" y="2478750"/>
                    </a:lnTo>
                    <a:lnTo>
                      <a:pt x="9557615" y="2446467"/>
                    </a:lnTo>
                    <a:lnTo>
                      <a:pt x="9601098" y="2424087"/>
                    </a:lnTo>
                    <a:lnTo>
                      <a:pt x="9649805" y="2438922"/>
                    </a:lnTo>
                    <a:lnTo>
                      <a:pt x="9674207" y="2426595"/>
                    </a:lnTo>
                    <a:lnTo>
                      <a:pt x="9682364" y="2406192"/>
                    </a:lnTo>
                    <a:lnTo>
                      <a:pt x="9737632" y="2384493"/>
                    </a:lnTo>
                    <a:lnTo>
                      <a:pt x="9781369" y="2372187"/>
                    </a:lnTo>
                    <a:lnTo>
                      <a:pt x="9822467" y="2357225"/>
                    </a:lnTo>
                    <a:lnTo>
                      <a:pt x="9882724" y="2335260"/>
                    </a:lnTo>
                    <a:lnTo>
                      <a:pt x="9910887" y="2313699"/>
                    </a:lnTo>
                    <a:lnTo>
                      <a:pt x="9948860" y="2304304"/>
                    </a:lnTo>
                    <a:lnTo>
                      <a:pt x="10029218" y="2306898"/>
                    </a:lnTo>
                    <a:lnTo>
                      <a:pt x="10056084" y="2293125"/>
                    </a:lnTo>
                    <a:lnTo>
                      <a:pt x="10070151" y="2242703"/>
                    </a:lnTo>
                    <a:lnTo>
                      <a:pt x="10064211" y="2212366"/>
                    </a:lnTo>
                    <a:lnTo>
                      <a:pt x="10049622" y="2183120"/>
                    </a:lnTo>
                    <a:lnTo>
                      <a:pt x="10035034" y="2153873"/>
                    </a:lnTo>
                    <a:lnTo>
                      <a:pt x="10012301" y="2125778"/>
                    </a:lnTo>
                    <a:lnTo>
                      <a:pt x="9987050" y="2087906"/>
                    </a:lnTo>
                    <a:lnTo>
                      <a:pt x="9970728" y="2060702"/>
                    </a:lnTo>
                    <a:lnTo>
                      <a:pt x="9990922" y="2030607"/>
                    </a:lnTo>
                    <a:lnTo>
                      <a:pt x="10021147" y="2009800"/>
                    </a:lnTo>
                    <a:lnTo>
                      <a:pt x="10037381" y="1987251"/>
                    </a:lnTo>
                    <a:lnTo>
                      <a:pt x="10046122" y="1946296"/>
                    </a:lnTo>
                    <a:lnTo>
                      <a:pt x="10041378" y="1886331"/>
                    </a:lnTo>
                    <a:lnTo>
                      <a:pt x="10037381" y="1830828"/>
                    </a:lnTo>
                    <a:lnTo>
                      <a:pt x="10033385" y="1775325"/>
                    </a:lnTo>
                    <a:lnTo>
                      <a:pt x="10030476" y="1724583"/>
                    </a:lnTo>
                    <a:lnTo>
                      <a:pt x="10045539" y="1704330"/>
                    </a:lnTo>
                    <a:lnTo>
                      <a:pt x="10082696" y="1685053"/>
                    </a:lnTo>
                    <a:lnTo>
                      <a:pt x="10111851" y="1700653"/>
                    </a:lnTo>
                    <a:lnTo>
                      <a:pt x="10121587" y="1727942"/>
                    </a:lnTo>
                    <a:lnTo>
                      <a:pt x="10123069" y="1749216"/>
                    </a:lnTo>
                    <a:lnTo>
                      <a:pt x="10171392" y="1768662"/>
                    </a:lnTo>
                    <a:lnTo>
                      <a:pt x="10228284" y="1767555"/>
                    </a:lnTo>
                    <a:lnTo>
                      <a:pt x="10282225" y="1760098"/>
                    </a:lnTo>
                    <a:lnTo>
                      <a:pt x="10336157" y="1752641"/>
                    </a:lnTo>
                    <a:lnTo>
                      <a:pt x="10387214" y="1739089"/>
                    </a:lnTo>
                    <a:lnTo>
                      <a:pt x="10414161" y="1719292"/>
                    </a:lnTo>
                    <a:lnTo>
                      <a:pt x="10419749" y="1688634"/>
                    </a:lnTo>
                    <a:lnTo>
                      <a:pt x="10428657" y="1660426"/>
                    </a:lnTo>
                    <a:lnTo>
                      <a:pt x="10434566" y="1632239"/>
                    </a:lnTo>
                    <a:lnTo>
                      <a:pt x="10440470" y="1604052"/>
                    </a:lnTo>
                    <a:lnTo>
                      <a:pt x="10443918" y="1575610"/>
                    </a:lnTo>
                    <a:lnTo>
                      <a:pt x="10440002" y="1543826"/>
                    </a:lnTo>
                    <a:lnTo>
                      <a:pt x="10414078" y="1542955"/>
                    </a:lnTo>
                    <a:lnTo>
                      <a:pt x="10302965" y="1543848"/>
                    </a:lnTo>
                    <a:lnTo>
                      <a:pt x="10284941" y="1531584"/>
                    </a:lnTo>
                    <a:lnTo>
                      <a:pt x="10268744" y="1510990"/>
                    </a:lnTo>
                    <a:lnTo>
                      <a:pt x="10256379" y="1467655"/>
                    </a:lnTo>
                    <a:lnTo>
                      <a:pt x="10247372" y="1447401"/>
                    </a:lnTo>
                    <a:lnTo>
                      <a:pt x="10217271" y="1436264"/>
                    </a:lnTo>
                    <a:lnTo>
                      <a:pt x="10203331" y="1420048"/>
                    </a:lnTo>
                    <a:lnTo>
                      <a:pt x="10180849" y="1393885"/>
                    </a:lnTo>
                    <a:lnTo>
                      <a:pt x="10165206" y="1358457"/>
                    </a:lnTo>
                    <a:lnTo>
                      <a:pt x="10142122" y="1332995"/>
                    </a:lnTo>
                    <a:lnTo>
                      <a:pt x="10079556" y="1277227"/>
                    </a:lnTo>
                    <a:lnTo>
                      <a:pt x="10062719" y="1256335"/>
                    </a:lnTo>
                    <a:lnTo>
                      <a:pt x="10022213" y="1234880"/>
                    </a:lnTo>
                    <a:lnTo>
                      <a:pt x="9992339" y="1229222"/>
                    </a:lnTo>
                    <a:lnTo>
                      <a:pt x="9961219" y="1222819"/>
                    </a:lnTo>
                    <a:lnTo>
                      <a:pt x="9930095" y="1216417"/>
                    </a:lnTo>
                    <a:lnTo>
                      <a:pt x="9898072" y="1208952"/>
                    </a:lnTo>
                    <a:lnTo>
                      <a:pt x="9871441" y="1192895"/>
                    </a:lnTo>
                    <a:lnTo>
                      <a:pt x="9867683" y="1170218"/>
                    </a:lnTo>
                    <a:lnTo>
                      <a:pt x="9866121" y="1144454"/>
                    </a:lnTo>
                    <a:lnTo>
                      <a:pt x="9860561" y="1119444"/>
                    </a:lnTo>
                    <a:lnTo>
                      <a:pt x="9854999" y="1094435"/>
                    </a:lnTo>
                    <a:lnTo>
                      <a:pt x="9844599" y="1070307"/>
                    </a:lnTo>
                    <a:lnTo>
                      <a:pt x="9838795" y="1039192"/>
                    </a:lnTo>
                    <a:lnTo>
                      <a:pt x="9834721" y="1017323"/>
                    </a:lnTo>
                    <a:lnTo>
                      <a:pt x="9840203" y="992287"/>
                    </a:lnTo>
                    <a:lnTo>
                      <a:pt x="9838795" y="969822"/>
                    </a:lnTo>
                    <a:lnTo>
                      <a:pt x="9835270" y="912312"/>
                    </a:lnTo>
                    <a:lnTo>
                      <a:pt x="9841545" y="879645"/>
                    </a:lnTo>
                    <a:lnTo>
                      <a:pt x="9860561" y="854205"/>
                    </a:lnTo>
                    <a:lnTo>
                      <a:pt x="9879574" y="828765"/>
                    </a:lnTo>
                    <a:lnTo>
                      <a:pt x="9911380" y="811061"/>
                    </a:lnTo>
                    <a:lnTo>
                      <a:pt x="9961212" y="783475"/>
                    </a:lnTo>
                    <a:lnTo>
                      <a:pt x="9989350" y="749470"/>
                    </a:lnTo>
                    <a:lnTo>
                      <a:pt x="9998959" y="715029"/>
                    </a:lnTo>
                    <a:lnTo>
                      <a:pt x="9991806" y="691500"/>
                    </a:lnTo>
                    <a:lnTo>
                      <a:pt x="9985698" y="667858"/>
                    </a:lnTo>
                    <a:lnTo>
                      <a:pt x="9979593" y="644217"/>
                    </a:lnTo>
                    <a:lnTo>
                      <a:pt x="9974350" y="621718"/>
                    </a:lnTo>
                    <a:lnTo>
                      <a:pt x="9984340" y="601208"/>
                    </a:lnTo>
                    <a:lnTo>
                      <a:pt x="9999046" y="571029"/>
                    </a:lnTo>
                    <a:lnTo>
                      <a:pt x="10012732" y="537874"/>
                    </a:lnTo>
                    <a:lnTo>
                      <a:pt x="10029224" y="508715"/>
                    </a:lnTo>
                    <a:lnTo>
                      <a:pt x="10044103" y="482362"/>
                    </a:lnTo>
                    <a:lnTo>
                      <a:pt x="10070285" y="455666"/>
                    </a:lnTo>
                    <a:lnTo>
                      <a:pt x="10082275" y="428463"/>
                    </a:lnTo>
                    <a:lnTo>
                      <a:pt x="10090773" y="409175"/>
                    </a:lnTo>
                    <a:lnTo>
                      <a:pt x="10097105" y="383829"/>
                    </a:lnTo>
                    <a:lnTo>
                      <a:pt x="10104038" y="355012"/>
                    </a:lnTo>
                    <a:lnTo>
                      <a:pt x="10110968" y="326196"/>
                    </a:lnTo>
                    <a:lnTo>
                      <a:pt x="10118223" y="293564"/>
                    </a:lnTo>
                    <a:lnTo>
                      <a:pt x="10125801" y="262519"/>
                    </a:lnTo>
                    <a:lnTo>
                      <a:pt x="10133379" y="231473"/>
                    </a:lnTo>
                    <a:lnTo>
                      <a:pt x="10141204" y="201440"/>
                    </a:lnTo>
                    <a:lnTo>
                      <a:pt x="10151638" y="175466"/>
                    </a:lnTo>
                    <a:lnTo>
                      <a:pt x="10175525" y="141904"/>
                    </a:lnTo>
                    <a:lnTo>
                      <a:pt x="10192448" y="116978"/>
                    </a:lnTo>
                    <a:lnTo>
                      <a:pt x="10178492" y="98302"/>
                    </a:lnTo>
                    <a:lnTo>
                      <a:pt x="10067014" y="27715"/>
                    </a:lnTo>
                    <a:lnTo>
                      <a:pt x="10011498" y="134150"/>
                    </a:lnTo>
                    <a:lnTo>
                      <a:pt x="9913609" y="119698"/>
                    </a:lnTo>
                    <a:lnTo>
                      <a:pt x="9856695" y="111303"/>
                    </a:lnTo>
                    <a:lnTo>
                      <a:pt x="9808664" y="85098"/>
                    </a:lnTo>
                    <a:lnTo>
                      <a:pt x="9754468" y="73451"/>
                    </a:lnTo>
                    <a:lnTo>
                      <a:pt x="9697976" y="61358"/>
                    </a:lnTo>
                    <a:lnTo>
                      <a:pt x="9637955" y="58638"/>
                    </a:lnTo>
                    <a:lnTo>
                      <a:pt x="9583080" y="39446"/>
                    </a:lnTo>
                    <a:lnTo>
                      <a:pt x="9539765" y="24293"/>
                    </a:lnTo>
                    <a:lnTo>
                      <a:pt x="9499681" y="3337"/>
                    </a:lnTo>
                    <a:lnTo>
                      <a:pt x="9452499" y="0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78" name="Sevastopol¬0" descr="Sevastopol¬0">
                <a:extLst>
                  <a:ext uri="{FF2B5EF4-FFF2-40B4-BE49-F238E27FC236}">
                    <a16:creationId xmlns:a16="http://schemas.microsoft.com/office/drawing/2014/main" id="{CB8585AB-6890-438A-9B23-CB1D6F55E710}"/>
                  </a:ext>
                </a:extLst>
              </p:cNvPr>
              <p:cNvSpPr/>
              <p:nvPr/>
            </p:nvSpPr>
            <p:spPr>
              <a:xfrm>
                <a:off x="39301274" y="39580425"/>
                <a:ext cx="1922559" cy="2412948"/>
              </a:xfrm>
              <a:custGeom>
                <a:avLst/>
                <a:gdLst/>
                <a:ahLst/>
                <a:cxnLst/>
                <a:rect l="0" t="0" r="0" b="0"/>
                <a:pathLst>
                  <a:path w="1922554" h="2412945">
                    <a:moveTo>
                      <a:pt x="1317266" y="2380338"/>
                    </a:moveTo>
                    <a:lnTo>
                      <a:pt x="1318624" y="2354504"/>
                    </a:lnTo>
                    <a:lnTo>
                      <a:pt x="1351270" y="2332735"/>
                    </a:lnTo>
                    <a:lnTo>
                      <a:pt x="1397512" y="2332735"/>
                    </a:lnTo>
                    <a:lnTo>
                      <a:pt x="1389354" y="2253847"/>
                    </a:lnTo>
                    <a:lnTo>
                      <a:pt x="1441038" y="2232084"/>
                    </a:lnTo>
                    <a:lnTo>
                      <a:pt x="1492731" y="2272887"/>
                    </a:lnTo>
                    <a:lnTo>
                      <a:pt x="1615145" y="2204879"/>
                    </a:lnTo>
                    <a:lnTo>
                      <a:pt x="1892626" y="2291934"/>
                    </a:lnTo>
                    <a:lnTo>
                      <a:pt x="1922553" y="2259288"/>
                    </a:lnTo>
                    <a:lnTo>
                      <a:pt x="1821895" y="2030775"/>
                    </a:lnTo>
                    <a:lnTo>
                      <a:pt x="1857264" y="1973644"/>
                    </a:lnTo>
                    <a:lnTo>
                      <a:pt x="1819179" y="1949164"/>
                    </a:lnTo>
                    <a:lnTo>
                      <a:pt x="1756606" y="1984524"/>
                    </a:lnTo>
                    <a:lnTo>
                      <a:pt x="1745723" y="1902913"/>
                    </a:lnTo>
                    <a:lnTo>
                      <a:pt x="1704923" y="1867551"/>
                    </a:lnTo>
                    <a:lnTo>
                      <a:pt x="1743007" y="1826747"/>
                    </a:lnTo>
                    <a:lnTo>
                      <a:pt x="1710361" y="1799536"/>
                    </a:lnTo>
                    <a:lnTo>
                      <a:pt x="1685876" y="1807703"/>
                    </a:lnTo>
                    <a:lnTo>
                      <a:pt x="1620587" y="1753294"/>
                    </a:lnTo>
                    <a:lnTo>
                      <a:pt x="1626034" y="1647195"/>
                    </a:lnTo>
                    <a:lnTo>
                      <a:pt x="1582499" y="1576465"/>
                    </a:lnTo>
                    <a:lnTo>
                      <a:pt x="1560736" y="1543822"/>
                    </a:lnTo>
                    <a:lnTo>
                      <a:pt x="1558020" y="1483971"/>
                    </a:lnTo>
                    <a:lnTo>
                      <a:pt x="1574341" y="1456767"/>
                    </a:lnTo>
                    <a:lnTo>
                      <a:pt x="1571619" y="1424124"/>
                    </a:lnTo>
                    <a:lnTo>
                      <a:pt x="1490012" y="1396919"/>
                    </a:lnTo>
                    <a:lnTo>
                      <a:pt x="1490012" y="1361557"/>
                    </a:lnTo>
                    <a:lnTo>
                      <a:pt x="1451921" y="1312589"/>
                    </a:lnTo>
                    <a:lnTo>
                      <a:pt x="1397512" y="1358835"/>
                    </a:lnTo>
                    <a:lnTo>
                      <a:pt x="1367591" y="1337072"/>
                    </a:lnTo>
                    <a:lnTo>
                      <a:pt x="1332223" y="1366998"/>
                    </a:lnTo>
                    <a:lnTo>
                      <a:pt x="1288697" y="1356115"/>
                    </a:lnTo>
                    <a:lnTo>
                      <a:pt x="1231572" y="1228253"/>
                    </a:lnTo>
                    <a:lnTo>
                      <a:pt x="1261492" y="1187453"/>
                    </a:lnTo>
                    <a:lnTo>
                      <a:pt x="1237013" y="1173847"/>
                    </a:lnTo>
                    <a:lnTo>
                      <a:pt x="1283262" y="1097682"/>
                    </a:lnTo>
                    <a:lnTo>
                      <a:pt x="1307744" y="1114003"/>
                    </a:lnTo>
                    <a:lnTo>
                      <a:pt x="1405679" y="969820"/>
                    </a:lnTo>
                    <a:lnTo>
                      <a:pt x="1402960" y="915410"/>
                    </a:lnTo>
                    <a:lnTo>
                      <a:pt x="1481848" y="850121"/>
                    </a:lnTo>
                    <a:lnTo>
                      <a:pt x="1476406" y="784832"/>
                    </a:lnTo>
                    <a:lnTo>
                      <a:pt x="1405679" y="757628"/>
                    </a:lnTo>
                    <a:lnTo>
                      <a:pt x="1383922" y="746748"/>
                    </a:lnTo>
                    <a:lnTo>
                      <a:pt x="1362150" y="735865"/>
                    </a:lnTo>
                    <a:lnTo>
                      <a:pt x="1326791" y="676017"/>
                    </a:lnTo>
                    <a:lnTo>
                      <a:pt x="1299586" y="656970"/>
                    </a:lnTo>
                    <a:lnTo>
                      <a:pt x="1264224" y="714102"/>
                    </a:lnTo>
                    <a:lnTo>
                      <a:pt x="1217973" y="673292"/>
                    </a:lnTo>
                    <a:lnTo>
                      <a:pt x="1226130" y="635207"/>
                    </a:lnTo>
                    <a:lnTo>
                      <a:pt x="1160841" y="640649"/>
                    </a:lnTo>
                    <a:lnTo>
                      <a:pt x="1155400" y="692339"/>
                    </a:lnTo>
                    <a:lnTo>
                      <a:pt x="1134998" y="703222"/>
                    </a:lnTo>
                    <a:lnTo>
                      <a:pt x="891524" y="673292"/>
                    </a:lnTo>
                    <a:lnTo>
                      <a:pt x="886086" y="493746"/>
                    </a:lnTo>
                    <a:lnTo>
                      <a:pt x="1174446" y="414858"/>
                    </a:lnTo>
                    <a:lnTo>
                      <a:pt x="1169005" y="303318"/>
                    </a:lnTo>
                    <a:lnTo>
                      <a:pt x="820797" y="186345"/>
                    </a:lnTo>
                    <a:lnTo>
                      <a:pt x="799031" y="175465"/>
                    </a:lnTo>
                    <a:lnTo>
                      <a:pt x="779987" y="150977"/>
                    </a:lnTo>
                    <a:lnTo>
                      <a:pt x="760946" y="126497"/>
                    </a:lnTo>
                    <a:lnTo>
                      <a:pt x="744625" y="93851"/>
                    </a:lnTo>
                    <a:lnTo>
                      <a:pt x="740178" y="67196"/>
                    </a:lnTo>
                    <a:lnTo>
                      <a:pt x="735655" y="32395"/>
                    </a:lnTo>
                    <a:lnTo>
                      <a:pt x="731019" y="0"/>
                    </a:lnTo>
                    <a:lnTo>
                      <a:pt x="699688" y="4096"/>
                    </a:lnTo>
                    <a:lnTo>
                      <a:pt x="665333" y="19245"/>
                    </a:lnTo>
                    <a:lnTo>
                      <a:pt x="629010" y="89771"/>
                    </a:lnTo>
                    <a:lnTo>
                      <a:pt x="608307" y="130026"/>
                    </a:lnTo>
                    <a:lnTo>
                      <a:pt x="607622" y="173636"/>
                    </a:lnTo>
                    <a:lnTo>
                      <a:pt x="595000" y="216266"/>
                    </a:lnTo>
                    <a:lnTo>
                      <a:pt x="585310" y="249082"/>
                    </a:lnTo>
                    <a:lnTo>
                      <a:pt x="571879" y="281517"/>
                    </a:lnTo>
                    <a:lnTo>
                      <a:pt x="558273" y="312843"/>
                    </a:lnTo>
                    <a:lnTo>
                      <a:pt x="538888" y="349188"/>
                    </a:lnTo>
                    <a:lnTo>
                      <a:pt x="542674" y="394791"/>
                    </a:lnTo>
                    <a:lnTo>
                      <a:pt x="561377" y="425524"/>
                    </a:lnTo>
                    <a:lnTo>
                      <a:pt x="566437" y="451585"/>
                    </a:lnTo>
                    <a:lnTo>
                      <a:pt x="574976" y="495495"/>
                    </a:lnTo>
                    <a:lnTo>
                      <a:pt x="570942" y="542035"/>
                    </a:lnTo>
                    <a:lnTo>
                      <a:pt x="578675" y="586246"/>
                    </a:lnTo>
                    <a:lnTo>
                      <a:pt x="590495" y="654338"/>
                    </a:lnTo>
                    <a:lnTo>
                      <a:pt x="639422" y="712356"/>
                    </a:lnTo>
                    <a:lnTo>
                      <a:pt x="641248" y="784832"/>
                    </a:lnTo>
                    <a:lnTo>
                      <a:pt x="642138" y="819134"/>
                    </a:lnTo>
                    <a:lnTo>
                      <a:pt x="615488" y="917621"/>
                    </a:lnTo>
                    <a:lnTo>
                      <a:pt x="599080" y="948057"/>
                    </a:lnTo>
                    <a:lnTo>
                      <a:pt x="572517" y="997281"/>
                    </a:lnTo>
                    <a:lnTo>
                      <a:pt x="507228" y="1052962"/>
                    </a:lnTo>
                    <a:lnTo>
                      <a:pt x="524269" y="1115364"/>
                    </a:lnTo>
                    <a:lnTo>
                      <a:pt x="547945" y="1202205"/>
                    </a:lnTo>
                    <a:lnTo>
                      <a:pt x="630619" y="1147620"/>
                    </a:lnTo>
                    <a:lnTo>
                      <a:pt x="706537" y="1216015"/>
                    </a:lnTo>
                    <a:lnTo>
                      <a:pt x="682356" y="1276799"/>
                    </a:lnTo>
                    <a:lnTo>
                      <a:pt x="589816" y="1264043"/>
                    </a:lnTo>
                    <a:lnTo>
                      <a:pt x="546032" y="1267705"/>
                    </a:lnTo>
                    <a:lnTo>
                      <a:pt x="504292" y="1271187"/>
                    </a:lnTo>
                    <a:lnTo>
                      <a:pt x="473950" y="1291422"/>
                    </a:lnTo>
                    <a:lnTo>
                      <a:pt x="430417" y="1273141"/>
                    </a:lnTo>
                    <a:lnTo>
                      <a:pt x="407076" y="1277770"/>
                    </a:lnTo>
                    <a:lnTo>
                      <a:pt x="378179" y="1283050"/>
                    </a:lnTo>
                    <a:lnTo>
                      <a:pt x="347446" y="1294910"/>
                    </a:lnTo>
                    <a:lnTo>
                      <a:pt x="315225" y="1299164"/>
                    </a:lnTo>
                    <a:lnTo>
                      <a:pt x="284327" y="1292265"/>
                    </a:lnTo>
                    <a:lnTo>
                      <a:pt x="252230" y="1293542"/>
                    </a:lnTo>
                    <a:lnTo>
                      <a:pt x="243009" y="1329466"/>
                    </a:lnTo>
                    <a:lnTo>
                      <a:pt x="211473" y="1340473"/>
                    </a:lnTo>
                    <a:lnTo>
                      <a:pt x="189539" y="1334439"/>
                    </a:lnTo>
                    <a:lnTo>
                      <a:pt x="156847" y="1367296"/>
                    </a:lnTo>
                    <a:lnTo>
                      <a:pt x="145458" y="1397855"/>
                    </a:lnTo>
                    <a:lnTo>
                      <a:pt x="124374" y="1418682"/>
                    </a:lnTo>
                    <a:lnTo>
                      <a:pt x="103461" y="1424164"/>
                    </a:lnTo>
                    <a:lnTo>
                      <a:pt x="64868" y="1401508"/>
                    </a:lnTo>
                    <a:lnTo>
                      <a:pt x="77701" y="1359340"/>
                    </a:lnTo>
                    <a:lnTo>
                      <a:pt x="11476" y="1366992"/>
                    </a:lnTo>
                    <a:lnTo>
                      <a:pt x="0" y="1392963"/>
                    </a:lnTo>
                    <a:lnTo>
                      <a:pt x="36603" y="1516016"/>
                    </a:lnTo>
                    <a:lnTo>
                      <a:pt x="171342" y="1615479"/>
                    </a:lnTo>
                    <a:lnTo>
                      <a:pt x="254952" y="1690715"/>
                    </a:lnTo>
                    <a:lnTo>
                      <a:pt x="275270" y="1708996"/>
                    </a:lnTo>
                    <a:lnTo>
                      <a:pt x="290876" y="1734328"/>
                    </a:lnTo>
                    <a:lnTo>
                      <a:pt x="309361" y="1753288"/>
                    </a:lnTo>
                    <a:lnTo>
                      <a:pt x="324449" y="1768673"/>
                    </a:lnTo>
                    <a:lnTo>
                      <a:pt x="577147" y="1911539"/>
                    </a:lnTo>
                    <a:lnTo>
                      <a:pt x="635980" y="1922546"/>
                    </a:lnTo>
                    <a:lnTo>
                      <a:pt x="706367" y="1847608"/>
                    </a:lnTo>
                    <a:lnTo>
                      <a:pt x="751424" y="1872986"/>
                    </a:lnTo>
                    <a:lnTo>
                      <a:pt x="801750" y="1917870"/>
                    </a:lnTo>
                    <a:lnTo>
                      <a:pt x="911752" y="2101881"/>
                    </a:lnTo>
                    <a:lnTo>
                      <a:pt x="915076" y="2143199"/>
                    </a:lnTo>
                    <a:lnTo>
                      <a:pt x="884852" y="2174735"/>
                    </a:lnTo>
                    <a:lnTo>
                      <a:pt x="922812" y="2214392"/>
                    </a:lnTo>
                    <a:lnTo>
                      <a:pt x="953669" y="2246526"/>
                    </a:lnTo>
                    <a:lnTo>
                      <a:pt x="1045912" y="2250166"/>
                    </a:lnTo>
                    <a:lnTo>
                      <a:pt x="1087394" y="2271523"/>
                    </a:lnTo>
                    <a:lnTo>
                      <a:pt x="1135252" y="2296219"/>
                    </a:lnTo>
                    <a:lnTo>
                      <a:pt x="1146774" y="2349165"/>
                    </a:lnTo>
                    <a:lnTo>
                      <a:pt x="1183971" y="2380338"/>
                    </a:lnTo>
                    <a:lnTo>
                      <a:pt x="1222313" y="2403044"/>
                    </a:lnTo>
                    <a:lnTo>
                      <a:pt x="1259995" y="2412944"/>
                    </a:lnTo>
                    <a:lnTo>
                      <a:pt x="1288222" y="2408966"/>
                    </a:lnTo>
                    <a:lnTo>
                      <a:pt x="1315908" y="2407536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79" name="Republic of Crimea¬0" descr="Republic of Crimea¬0">
                <a:extLst>
                  <a:ext uri="{FF2B5EF4-FFF2-40B4-BE49-F238E27FC236}">
                    <a16:creationId xmlns:a16="http://schemas.microsoft.com/office/drawing/2014/main" id="{AE55B34E-5728-4219-8B48-793C41B12FA6}"/>
                  </a:ext>
                </a:extLst>
              </p:cNvPr>
              <p:cNvSpPr/>
              <p:nvPr/>
            </p:nvSpPr>
            <p:spPr>
              <a:xfrm>
                <a:off x="36199254" y="32301998"/>
                <a:ext cx="14566891" cy="9749896"/>
              </a:xfrm>
              <a:custGeom>
                <a:avLst/>
                <a:gdLst/>
                <a:ahLst/>
                <a:cxnLst/>
                <a:rect l="0" t="0" r="0" b="0"/>
                <a:pathLst>
                  <a:path w="14566889" h="9749892">
                    <a:moveTo>
                      <a:pt x="4074998" y="11441"/>
                    </a:moveTo>
                    <a:lnTo>
                      <a:pt x="4050667" y="39442"/>
                    </a:lnTo>
                    <a:lnTo>
                      <a:pt x="4035657" y="73149"/>
                    </a:lnTo>
                    <a:lnTo>
                      <a:pt x="4027646" y="127096"/>
                    </a:lnTo>
                    <a:lnTo>
                      <a:pt x="4033695" y="166368"/>
                    </a:lnTo>
                    <a:lnTo>
                      <a:pt x="4043868" y="204024"/>
                    </a:lnTo>
                    <a:lnTo>
                      <a:pt x="4051604" y="232463"/>
                    </a:lnTo>
                    <a:lnTo>
                      <a:pt x="4058022" y="261664"/>
                    </a:lnTo>
                    <a:lnTo>
                      <a:pt x="4066992" y="289718"/>
                    </a:lnTo>
                    <a:lnTo>
                      <a:pt x="4073494" y="310077"/>
                    </a:lnTo>
                    <a:lnTo>
                      <a:pt x="4086935" y="331629"/>
                    </a:lnTo>
                    <a:lnTo>
                      <a:pt x="4091477" y="352291"/>
                    </a:lnTo>
                    <a:lnTo>
                      <a:pt x="4092330" y="393610"/>
                    </a:lnTo>
                    <a:lnTo>
                      <a:pt x="4097573" y="445142"/>
                    </a:lnTo>
                    <a:lnTo>
                      <a:pt x="4103678" y="467208"/>
                    </a:lnTo>
                    <a:lnTo>
                      <a:pt x="4098311" y="506685"/>
                    </a:lnTo>
                    <a:lnTo>
                      <a:pt x="4060192" y="552236"/>
                    </a:lnTo>
                    <a:lnTo>
                      <a:pt x="4027370" y="574923"/>
                    </a:lnTo>
                    <a:lnTo>
                      <a:pt x="4038302" y="643343"/>
                    </a:lnTo>
                    <a:lnTo>
                      <a:pt x="4106041" y="724759"/>
                    </a:lnTo>
                    <a:lnTo>
                      <a:pt x="4095555" y="792996"/>
                    </a:lnTo>
                    <a:lnTo>
                      <a:pt x="4089307" y="833586"/>
                    </a:lnTo>
                    <a:lnTo>
                      <a:pt x="4042674" y="833673"/>
                    </a:lnTo>
                    <a:lnTo>
                      <a:pt x="4028904" y="869168"/>
                    </a:lnTo>
                    <a:lnTo>
                      <a:pt x="4022483" y="996001"/>
                    </a:lnTo>
                    <a:lnTo>
                      <a:pt x="4027205" y="1084371"/>
                    </a:lnTo>
                    <a:lnTo>
                      <a:pt x="4089264" y="1098823"/>
                    </a:lnTo>
                    <a:lnTo>
                      <a:pt x="4098271" y="1126244"/>
                    </a:lnTo>
                    <a:lnTo>
                      <a:pt x="4082501" y="1181540"/>
                    </a:lnTo>
                    <a:lnTo>
                      <a:pt x="4034768" y="1173041"/>
                    </a:lnTo>
                    <a:lnTo>
                      <a:pt x="4013941" y="1232343"/>
                    </a:lnTo>
                    <a:lnTo>
                      <a:pt x="4029540" y="1287298"/>
                    </a:lnTo>
                    <a:lnTo>
                      <a:pt x="4092665" y="1315944"/>
                    </a:lnTo>
                    <a:lnTo>
                      <a:pt x="4086036" y="1383320"/>
                    </a:lnTo>
                    <a:lnTo>
                      <a:pt x="4081441" y="1429398"/>
                    </a:lnTo>
                    <a:lnTo>
                      <a:pt x="3961702" y="1506506"/>
                    </a:lnTo>
                    <a:lnTo>
                      <a:pt x="4013941" y="1556066"/>
                    </a:lnTo>
                    <a:lnTo>
                      <a:pt x="4074554" y="1573284"/>
                    </a:lnTo>
                    <a:lnTo>
                      <a:pt x="4084337" y="1477085"/>
                    </a:lnTo>
                    <a:lnTo>
                      <a:pt x="4126840" y="1459489"/>
                    </a:lnTo>
                    <a:lnTo>
                      <a:pt x="4179208" y="1437813"/>
                    </a:lnTo>
                    <a:lnTo>
                      <a:pt x="4234461" y="1475516"/>
                    </a:lnTo>
                    <a:lnTo>
                      <a:pt x="4281900" y="1489419"/>
                    </a:lnTo>
                    <a:lnTo>
                      <a:pt x="4373721" y="1516239"/>
                    </a:lnTo>
                    <a:lnTo>
                      <a:pt x="4424381" y="1490433"/>
                    </a:lnTo>
                    <a:lnTo>
                      <a:pt x="4500897" y="1566946"/>
                    </a:lnTo>
                    <a:lnTo>
                      <a:pt x="4518366" y="1584458"/>
                    </a:lnTo>
                    <a:lnTo>
                      <a:pt x="4533925" y="1606094"/>
                    </a:lnTo>
                    <a:lnTo>
                      <a:pt x="4534898" y="1632238"/>
                    </a:lnTo>
                    <a:lnTo>
                      <a:pt x="4522229" y="1655015"/>
                    </a:lnTo>
                    <a:lnTo>
                      <a:pt x="4433475" y="1673594"/>
                    </a:lnTo>
                    <a:lnTo>
                      <a:pt x="4438197" y="1632784"/>
                    </a:lnTo>
                    <a:lnTo>
                      <a:pt x="4355353" y="1688002"/>
                    </a:lnTo>
                    <a:lnTo>
                      <a:pt x="4329506" y="1707049"/>
                    </a:lnTo>
                    <a:lnTo>
                      <a:pt x="4307368" y="1719330"/>
                    </a:lnTo>
                    <a:lnTo>
                      <a:pt x="4274124" y="1696504"/>
                    </a:lnTo>
                    <a:lnTo>
                      <a:pt x="4239738" y="1716565"/>
                    </a:lnTo>
                    <a:lnTo>
                      <a:pt x="4193239" y="1763151"/>
                    </a:lnTo>
                    <a:lnTo>
                      <a:pt x="4293294" y="1916729"/>
                    </a:lnTo>
                    <a:lnTo>
                      <a:pt x="4237022" y="1979088"/>
                    </a:lnTo>
                    <a:lnTo>
                      <a:pt x="4214323" y="1990901"/>
                    </a:lnTo>
                    <a:lnTo>
                      <a:pt x="4098199" y="2023544"/>
                    </a:lnTo>
                    <a:lnTo>
                      <a:pt x="4092922" y="1875715"/>
                    </a:lnTo>
                    <a:lnTo>
                      <a:pt x="4004425" y="1875715"/>
                    </a:lnTo>
                    <a:lnTo>
                      <a:pt x="3976712" y="1875715"/>
                    </a:lnTo>
                    <a:lnTo>
                      <a:pt x="3822241" y="1938663"/>
                    </a:lnTo>
                    <a:lnTo>
                      <a:pt x="3804475" y="1958683"/>
                    </a:lnTo>
                    <a:lnTo>
                      <a:pt x="3770815" y="1996514"/>
                    </a:lnTo>
                    <a:lnTo>
                      <a:pt x="3810561" y="2051896"/>
                    </a:lnTo>
                    <a:lnTo>
                      <a:pt x="3724228" y="2081101"/>
                    </a:lnTo>
                    <a:lnTo>
                      <a:pt x="3579661" y="2130065"/>
                    </a:lnTo>
                    <a:lnTo>
                      <a:pt x="3560576" y="2021929"/>
                    </a:lnTo>
                    <a:lnTo>
                      <a:pt x="3505237" y="2029414"/>
                    </a:lnTo>
                    <a:lnTo>
                      <a:pt x="3465702" y="2042551"/>
                    </a:lnTo>
                    <a:lnTo>
                      <a:pt x="3476668" y="2080124"/>
                    </a:lnTo>
                    <a:lnTo>
                      <a:pt x="3448106" y="2094706"/>
                    </a:lnTo>
                    <a:lnTo>
                      <a:pt x="3426640" y="2095556"/>
                    </a:lnTo>
                    <a:lnTo>
                      <a:pt x="3386897" y="2087897"/>
                    </a:lnTo>
                    <a:lnTo>
                      <a:pt x="3291681" y="2117483"/>
                    </a:lnTo>
                    <a:lnTo>
                      <a:pt x="3252660" y="2150259"/>
                    </a:lnTo>
                    <a:lnTo>
                      <a:pt x="3184565" y="2252572"/>
                    </a:lnTo>
                    <a:lnTo>
                      <a:pt x="3146137" y="2291931"/>
                    </a:lnTo>
                    <a:lnTo>
                      <a:pt x="3082683" y="2356799"/>
                    </a:lnTo>
                    <a:lnTo>
                      <a:pt x="2728602" y="2577914"/>
                    </a:lnTo>
                    <a:lnTo>
                      <a:pt x="2648310" y="2584375"/>
                    </a:lnTo>
                    <a:lnTo>
                      <a:pt x="2605118" y="2577703"/>
                    </a:lnTo>
                    <a:lnTo>
                      <a:pt x="2582338" y="2555385"/>
                    </a:lnTo>
                    <a:lnTo>
                      <a:pt x="2576001" y="2535026"/>
                    </a:lnTo>
                    <a:lnTo>
                      <a:pt x="2536645" y="2491373"/>
                    </a:lnTo>
                    <a:lnTo>
                      <a:pt x="2482065" y="2492858"/>
                    </a:lnTo>
                    <a:lnTo>
                      <a:pt x="2457881" y="2456520"/>
                    </a:lnTo>
                    <a:lnTo>
                      <a:pt x="2439600" y="2429144"/>
                    </a:lnTo>
                    <a:lnTo>
                      <a:pt x="2453673" y="2375582"/>
                    </a:lnTo>
                    <a:lnTo>
                      <a:pt x="2417077" y="2364020"/>
                    </a:lnTo>
                    <a:lnTo>
                      <a:pt x="2397268" y="2372739"/>
                    </a:lnTo>
                    <a:lnTo>
                      <a:pt x="2388508" y="2408913"/>
                    </a:lnTo>
                    <a:lnTo>
                      <a:pt x="2351915" y="2522990"/>
                    </a:lnTo>
                    <a:lnTo>
                      <a:pt x="2519344" y="2534599"/>
                    </a:lnTo>
                    <a:lnTo>
                      <a:pt x="2467403" y="2604780"/>
                    </a:lnTo>
                    <a:lnTo>
                      <a:pt x="2428171" y="2629433"/>
                    </a:lnTo>
                    <a:lnTo>
                      <a:pt x="2376863" y="2624116"/>
                    </a:lnTo>
                    <a:lnTo>
                      <a:pt x="2336819" y="2645584"/>
                    </a:lnTo>
                    <a:lnTo>
                      <a:pt x="2269703" y="2681498"/>
                    </a:lnTo>
                    <a:lnTo>
                      <a:pt x="2208712" y="2730208"/>
                    </a:lnTo>
                    <a:lnTo>
                      <a:pt x="2140955" y="2765282"/>
                    </a:lnTo>
                    <a:lnTo>
                      <a:pt x="2063248" y="2805491"/>
                    </a:lnTo>
                    <a:lnTo>
                      <a:pt x="1978918" y="2832701"/>
                    </a:lnTo>
                    <a:lnTo>
                      <a:pt x="1901561" y="2872739"/>
                    </a:lnTo>
                    <a:lnTo>
                      <a:pt x="1818670" y="2915586"/>
                    </a:lnTo>
                    <a:lnTo>
                      <a:pt x="1734083" y="2962086"/>
                    </a:lnTo>
                    <a:lnTo>
                      <a:pt x="1648560" y="3000601"/>
                    </a:lnTo>
                    <a:lnTo>
                      <a:pt x="1622887" y="3012114"/>
                    </a:lnTo>
                    <a:lnTo>
                      <a:pt x="1597127" y="3019977"/>
                    </a:lnTo>
                    <a:lnTo>
                      <a:pt x="1572391" y="3033238"/>
                    </a:lnTo>
                    <a:lnTo>
                      <a:pt x="1486399" y="3079316"/>
                    </a:lnTo>
                    <a:lnTo>
                      <a:pt x="1426806" y="3156424"/>
                    </a:lnTo>
                    <a:lnTo>
                      <a:pt x="1354758" y="3218225"/>
                    </a:lnTo>
                    <a:lnTo>
                      <a:pt x="1315011" y="3252276"/>
                    </a:lnTo>
                    <a:lnTo>
                      <a:pt x="1265879" y="3280838"/>
                    </a:lnTo>
                    <a:lnTo>
                      <a:pt x="1230979" y="3318882"/>
                    </a:lnTo>
                    <a:lnTo>
                      <a:pt x="1216778" y="3334395"/>
                    </a:lnTo>
                    <a:lnTo>
                      <a:pt x="1195490" y="3355141"/>
                    </a:lnTo>
                    <a:lnTo>
                      <a:pt x="1187453" y="3374650"/>
                    </a:lnTo>
                    <a:lnTo>
                      <a:pt x="1160373" y="3440236"/>
                    </a:lnTo>
                    <a:lnTo>
                      <a:pt x="1293552" y="3462123"/>
                    </a:lnTo>
                    <a:lnTo>
                      <a:pt x="1209216" y="3550115"/>
                    </a:lnTo>
                    <a:lnTo>
                      <a:pt x="1153536" y="3608260"/>
                    </a:lnTo>
                    <a:lnTo>
                      <a:pt x="1003315" y="3486993"/>
                    </a:lnTo>
                    <a:lnTo>
                      <a:pt x="945341" y="3525633"/>
                    </a:lnTo>
                    <a:lnTo>
                      <a:pt x="891012" y="3561847"/>
                    </a:lnTo>
                    <a:lnTo>
                      <a:pt x="893945" y="3667047"/>
                    </a:lnTo>
                    <a:lnTo>
                      <a:pt x="798438" y="3720139"/>
                    </a:lnTo>
                    <a:lnTo>
                      <a:pt x="717888" y="3764858"/>
                    </a:lnTo>
                    <a:lnTo>
                      <a:pt x="629478" y="3746624"/>
                    </a:lnTo>
                    <a:lnTo>
                      <a:pt x="567203" y="3779992"/>
                    </a:lnTo>
                    <a:lnTo>
                      <a:pt x="517382" y="3806682"/>
                    </a:lnTo>
                    <a:lnTo>
                      <a:pt x="485254" y="3852934"/>
                    </a:lnTo>
                    <a:lnTo>
                      <a:pt x="439347" y="3884727"/>
                    </a:lnTo>
                    <a:lnTo>
                      <a:pt x="369084" y="3933397"/>
                    </a:lnTo>
                    <a:lnTo>
                      <a:pt x="285514" y="3969311"/>
                    </a:lnTo>
                    <a:lnTo>
                      <a:pt x="221714" y="4027546"/>
                    </a:lnTo>
                    <a:lnTo>
                      <a:pt x="155832" y="4087651"/>
                    </a:lnTo>
                    <a:lnTo>
                      <a:pt x="78637" y="4205092"/>
                    </a:lnTo>
                    <a:lnTo>
                      <a:pt x="39452" y="4285986"/>
                    </a:lnTo>
                    <a:lnTo>
                      <a:pt x="28141" y="4328703"/>
                    </a:lnTo>
                    <a:lnTo>
                      <a:pt x="16917" y="4363687"/>
                    </a:lnTo>
                    <a:lnTo>
                      <a:pt x="2037" y="4392928"/>
                    </a:lnTo>
                    <a:lnTo>
                      <a:pt x="0" y="4432678"/>
                    </a:lnTo>
                    <a:lnTo>
                      <a:pt x="51129" y="4485844"/>
                    </a:lnTo>
                    <a:lnTo>
                      <a:pt x="62567" y="4514499"/>
                    </a:lnTo>
                    <a:lnTo>
                      <a:pt x="86116" y="4573327"/>
                    </a:lnTo>
                    <a:lnTo>
                      <a:pt x="40934" y="4658162"/>
                    </a:lnTo>
                    <a:lnTo>
                      <a:pt x="100657" y="4704928"/>
                    </a:lnTo>
                    <a:lnTo>
                      <a:pt x="150468" y="4711892"/>
                    </a:lnTo>
                    <a:lnTo>
                      <a:pt x="198586" y="4718868"/>
                    </a:lnTo>
                    <a:lnTo>
                      <a:pt x="238035" y="4748454"/>
                    </a:lnTo>
                    <a:lnTo>
                      <a:pt x="280284" y="4780164"/>
                    </a:lnTo>
                    <a:lnTo>
                      <a:pt x="283006" y="4804392"/>
                    </a:lnTo>
                    <a:lnTo>
                      <a:pt x="341412" y="4817820"/>
                    </a:lnTo>
                    <a:lnTo>
                      <a:pt x="394032" y="4829981"/>
                    </a:lnTo>
                    <a:lnTo>
                      <a:pt x="437387" y="4795462"/>
                    </a:lnTo>
                    <a:lnTo>
                      <a:pt x="493753" y="4813743"/>
                    </a:lnTo>
                    <a:lnTo>
                      <a:pt x="531840" y="4826077"/>
                    </a:lnTo>
                    <a:lnTo>
                      <a:pt x="543526" y="4859440"/>
                    </a:lnTo>
                    <a:lnTo>
                      <a:pt x="594404" y="4857269"/>
                    </a:lnTo>
                    <a:lnTo>
                      <a:pt x="629047" y="4849198"/>
                    </a:lnTo>
                    <a:lnTo>
                      <a:pt x="661014" y="4819271"/>
                    </a:lnTo>
                    <a:lnTo>
                      <a:pt x="666883" y="4783441"/>
                    </a:lnTo>
                    <a:lnTo>
                      <a:pt x="685539" y="4760695"/>
                    </a:lnTo>
                    <a:lnTo>
                      <a:pt x="719503" y="4719464"/>
                    </a:lnTo>
                    <a:lnTo>
                      <a:pt x="757675" y="4701359"/>
                    </a:lnTo>
                    <a:lnTo>
                      <a:pt x="797080" y="4669566"/>
                    </a:lnTo>
                    <a:lnTo>
                      <a:pt x="816034" y="4654218"/>
                    </a:lnTo>
                    <a:lnTo>
                      <a:pt x="829422" y="4635562"/>
                    </a:lnTo>
                    <a:lnTo>
                      <a:pt x="851489" y="4623314"/>
                    </a:lnTo>
                    <a:lnTo>
                      <a:pt x="897223" y="4597939"/>
                    </a:lnTo>
                    <a:lnTo>
                      <a:pt x="996938" y="4626806"/>
                    </a:lnTo>
                    <a:lnTo>
                      <a:pt x="1048714" y="4628756"/>
                    </a:lnTo>
                    <a:lnTo>
                      <a:pt x="1099167" y="4630669"/>
                    </a:lnTo>
                    <a:lnTo>
                      <a:pt x="1166242" y="4604488"/>
                    </a:lnTo>
                    <a:lnTo>
                      <a:pt x="1224179" y="4597477"/>
                    </a:lnTo>
                    <a:lnTo>
                      <a:pt x="1253762" y="4593815"/>
                    </a:lnTo>
                    <a:lnTo>
                      <a:pt x="1295332" y="4597009"/>
                    </a:lnTo>
                    <a:lnTo>
                      <a:pt x="1324837" y="4601545"/>
                    </a:lnTo>
                    <a:lnTo>
                      <a:pt x="1348597" y="4605201"/>
                    </a:lnTo>
                    <a:lnTo>
                      <a:pt x="1588033" y="4680613"/>
                    </a:lnTo>
                    <a:lnTo>
                      <a:pt x="1642185" y="4719715"/>
                    </a:lnTo>
                    <a:lnTo>
                      <a:pt x="1677420" y="4755294"/>
                    </a:lnTo>
                    <a:lnTo>
                      <a:pt x="1715210" y="4789258"/>
                    </a:lnTo>
                    <a:lnTo>
                      <a:pt x="1753254" y="4823516"/>
                    </a:lnTo>
                    <a:lnTo>
                      <a:pt x="1803285" y="4850848"/>
                    </a:lnTo>
                    <a:lnTo>
                      <a:pt x="1847146" y="4876310"/>
                    </a:lnTo>
                    <a:lnTo>
                      <a:pt x="1879581" y="4895137"/>
                    </a:lnTo>
                    <a:lnTo>
                      <a:pt x="2076261" y="5072645"/>
                    </a:lnTo>
                    <a:lnTo>
                      <a:pt x="2101506" y="5104823"/>
                    </a:lnTo>
                    <a:lnTo>
                      <a:pt x="2144697" y="5159911"/>
                    </a:lnTo>
                    <a:lnTo>
                      <a:pt x="2190003" y="5222943"/>
                    </a:lnTo>
                    <a:lnTo>
                      <a:pt x="2241609" y="5269405"/>
                    </a:lnTo>
                    <a:lnTo>
                      <a:pt x="2264011" y="5289599"/>
                    </a:lnTo>
                    <a:lnTo>
                      <a:pt x="2283947" y="5324242"/>
                    </a:lnTo>
                    <a:lnTo>
                      <a:pt x="2302814" y="5348293"/>
                    </a:lnTo>
                    <a:lnTo>
                      <a:pt x="2340518" y="5396418"/>
                    </a:lnTo>
                    <a:lnTo>
                      <a:pt x="2384003" y="5440747"/>
                    </a:lnTo>
                    <a:lnTo>
                      <a:pt x="2429318" y="5481597"/>
                    </a:lnTo>
                    <a:lnTo>
                      <a:pt x="2459834" y="5509059"/>
                    </a:lnTo>
                    <a:lnTo>
                      <a:pt x="2525254" y="5495748"/>
                    </a:lnTo>
                    <a:lnTo>
                      <a:pt x="2565338" y="5508801"/>
                    </a:lnTo>
                    <a:lnTo>
                      <a:pt x="2678060" y="5545354"/>
                    </a:lnTo>
                    <a:lnTo>
                      <a:pt x="2674832" y="5667691"/>
                    </a:lnTo>
                    <a:lnTo>
                      <a:pt x="2787045" y="5676106"/>
                    </a:lnTo>
                    <a:lnTo>
                      <a:pt x="2844304" y="5680360"/>
                    </a:lnTo>
                    <a:lnTo>
                      <a:pt x="2863301" y="5633898"/>
                    </a:lnTo>
                    <a:lnTo>
                      <a:pt x="2891786" y="5597218"/>
                    </a:lnTo>
                    <a:lnTo>
                      <a:pt x="2912191" y="5571371"/>
                    </a:lnTo>
                    <a:lnTo>
                      <a:pt x="2952651" y="5555512"/>
                    </a:lnTo>
                    <a:lnTo>
                      <a:pt x="2977598" y="5578686"/>
                    </a:lnTo>
                    <a:lnTo>
                      <a:pt x="3008759" y="5571371"/>
                    </a:lnTo>
                    <a:lnTo>
                      <a:pt x="3037238" y="5564699"/>
                    </a:lnTo>
                    <a:lnTo>
                      <a:pt x="3050880" y="5547010"/>
                    </a:lnTo>
                    <a:lnTo>
                      <a:pt x="3072690" y="5531929"/>
                    </a:lnTo>
                    <a:lnTo>
                      <a:pt x="3119019" y="5499872"/>
                    </a:lnTo>
                    <a:lnTo>
                      <a:pt x="3189455" y="5497708"/>
                    </a:lnTo>
                    <a:lnTo>
                      <a:pt x="3239991" y="5523765"/>
                    </a:lnTo>
                    <a:lnTo>
                      <a:pt x="3260651" y="5534388"/>
                    </a:lnTo>
                    <a:lnTo>
                      <a:pt x="3276467" y="5550842"/>
                    </a:lnTo>
                    <a:lnTo>
                      <a:pt x="3295765" y="5563207"/>
                    </a:lnTo>
                    <a:lnTo>
                      <a:pt x="3322755" y="5576298"/>
                    </a:lnTo>
                    <a:lnTo>
                      <a:pt x="3458604" y="5710023"/>
                    </a:lnTo>
                    <a:lnTo>
                      <a:pt x="3488916" y="5737315"/>
                    </a:lnTo>
                    <a:lnTo>
                      <a:pt x="3515987" y="5761670"/>
                    </a:lnTo>
                    <a:lnTo>
                      <a:pt x="3560192" y="5767663"/>
                    </a:lnTo>
                    <a:lnTo>
                      <a:pt x="3592289" y="5786282"/>
                    </a:lnTo>
                    <a:lnTo>
                      <a:pt x="3613882" y="5798824"/>
                    </a:lnTo>
                    <a:lnTo>
                      <a:pt x="3625357" y="5817521"/>
                    </a:lnTo>
                    <a:lnTo>
                      <a:pt x="3643973" y="5832531"/>
                    </a:lnTo>
                    <a:lnTo>
                      <a:pt x="3710918" y="5886642"/>
                    </a:lnTo>
                    <a:lnTo>
                      <a:pt x="3801538" y="5979511"/>
                    </a:lnTo>
                    <a:lnTo>
                      <a:pt x="3824880" y="6065121"/>
                    </a:lnTo>
                    <a:lnTo>
                      <a:pt x="3832699" y="6093727"/>
                    </a:lnTo>
                    <a:lnTo>
                      <a:pt x="3853058" y="6211301"/>
                    </a:lnTo>
                    <a:lnTo>
                      <a:pt x="3857523" y="6244673"/>
                    </a:lnTo>
                    <a:lnTo>
                      <a:pt x="3864198" y="6294828"/>
                    </a:lnTo>
                    <a:lnTo>
                      <a:pt x="3841840" y="6432971"/>
                    </a:lnTo>
                    <a:lnTo>
                      <a:pt x="3886085" y="6460939"/>
                    </a:lnTo>
                    <a:lnTo>
                      <a:pt x="3905851" y="6501110"/>
                    </a:lnTo>
                    <a:lnTo>
                      <a:pt x="3920598" y="6526104"/>
                    </a:lnTo>
                    <a:lnTo>
                      <a:pt x="3933695" y="6558874"/>
                    </a:lnTo>
                    <a:lnTo>
                      <a:pt x="3962850" y="6631648"/>
                    </a:lnTo>
                    <a:lnTo>
                      <a:pt x="4010372" y="6893821"/>
                    </a:lnTo>
                    <a:lnTo>
                      <a:pt x="3998984" y="6966933"/>
                    </a:lnTo>
                    <a:lnTo>
                      <a:pt x="3991288" y="7016328"/>
                    </a:lnTo>
                    <a:lnTo>
                      <a:pt x="3964294" y="7063807"/>
                    </a:lnTo>
                    <a:lnTo>
                      <a:pt x="3956816" y="7112477"/>
                    </a:lnTo>
                    <a:lnTo>
                      <a:pt x="3950267" y="7154980"/>
                    </a:lnTo>
                    <a:lnTo>
                      <a:pt x="3959368" y="7219847"/>
                    </a:lnTo>
                    <a:lnTo>
                      <a:pt x="3926889" y="7255296"/>
                    </a:lnTo>
                    <a:lnTo>
                      <a:pt x="3900503" y="7284088"/>
                    </a:lnTo>
                    <a:lnTo>
                      <a:pt x="3868722" y="7273754"/>
                    </a:lnTo>
                    <a:lnTo>
                      <a:pt x="3833037" y="7278424"/>
                    </a:lnTo>
                    <a:lnTo>
                      <a:pt x="3837666" y="7310819"/>
                    </a:lnTo>
                    <a:lnTo>
                      <a:pt x="3842196" y="7345620"/>
                    </a:lnTo>
                    <a:lnTo>
                      <a:pt x="3846636" y="7372269"/>
                    </a:lnTo>
                    <a:lnTo>
                      <a:pt x="3862964" y="7404915"/>
                    </a:lnTo>
                    <a:lnTo>
                      <a:pt x="3882005" y="7429401"/>
                    </a:lnTo>
                    <a:lnTo>
                      <a:pt x="3901042" y="7453889"/>
                    </a:lnTo>
                    <a:lnTo>
                      <a:pt x="3922805" y="7464769"/>
                    </a:lnTo>
                    <a:lnTo>
                      <a:pt x="4271023" y="7581742"/>
                    </a:lnTo>
                    <a:lnTo>
                      <a:pt x="4276458" y="7693282"/>
                    </a:lnTo>
                    <a:lnTo>
                      <a:pt x="3988098" y="7772170"/>
                    </a:lnTo>
                    <a:lnTo>
                      <a:pt x="3993536" y="7951716"/>
                    </a:lnTo>
                    <a:lnTo>
                      <a:pt x="4224775" y="7968041"/>
                    </a:lnTo>
                    <a:lnTo>
                      <a:pt x="4244156" y="7986399"/>
                    </a:lnTo>
                    <a:lnTo>
                      <a:pt x="4265575" y="7938120"/>
                    </a:lnTo>
                    <a:lnTo>
                      <a:pt x="4328148" y="7913631"/>
                    </a:lnTo>
                    <a:lnTo>
                      <a:pt x="4319991" y="7951716"/>
                    </a:lnTo>
                    <a:lnTo>
                      <a:pt x="4366236" y="7992526"/>
                    </a:lnTo>
                    <a:lnTo>
                      <a:pt x="4401598" y="7935394"/>
                    </a:lnTo>
                    <a:lnTo>
                      <a:pt x="4428799" y="7954441"/>
                    </a:lnTo>
                    <a:lnTo>
                      <a:pt x="4464168" y="8014289"/>
                    </a:lnTo>
                    <a:lnTo>
                      <a:pt x="4485931" y="8025172"/>
                    </a:lnTo>
                    <a:lnTo>
                      <a:pt x="4507697" y="8036046"/>
                    </a:lnTo>
                    <a:lnTo>
                      <a:pt x="4578424" y="8063256"/>
                    </a:lnTo>
                    <a:lnTo>
                      <a:pt x="4583866" y="8128545"/>
                    </a:lnTo>
                    <a:lnTo>
                      <a:pt x="4504978" y="8193834"/>
                    </a:lnTo>
                    <a:lnTo>
                      <a:pt x="4507697" y="8248244"/>
                    </a:lnTo>
                    <a:lnTo>
                      <a:pt x="4409762" y="8392421"/>
                    </a:lnTo>
                    <a:lnTo>
                      <a:pt x="4385273" y="8376099"/>
                    </a:lnTo>
                    <a:lnTo>
                      <a:pt x="4339031" y="8452271"/>
                    </a:lnTo>
                    <a:lnTo>
                      <a:pt x="4363510" y="8465877"/>
                    </a:lnTo>
                    <a:lnTo>
                      <a:pt x="4333583" y="8506677"/>
                    </a:lnTo>
                    <a:lnTo>
                      <a:pt x="4390715" y="8634539"/>
                    </a:lnTo>
                    <a:lnTo>
                      <a:pt x="4434241" y="8645422"/>
                    </a:lnTo>
                    <a:lnTo>
                      <a:pt x="4469603" y="8615496"/>
                    </a:lnTo>
                    <a:lnTo>
                      <a:pt x="4499530" y="8637259"/>
                    </a:lnTo>
                    <a:lnTo>
                      <a:pt x="4553939" y="8591013"/>
                    </a:lnTo>
                    <a:lnTo>
                      <a:pt x="4592024" y="8639981"/>
                    </a:lnTo>
                    <a:lnTo>
                      <a:pt x="4592024" y="8675343"/>
                    </a:lnTo>
                    <a:lnTo>
                      <a:pt x="4673637" y="8702548"/>
                    </a:lnTo>
                    <a:lnTo>
                      <a:pt x="4676353" y="8735191"/>
                    </a:lnTo>
                    <a:lnTo>
                      <a:pt x="4660032" y="8762395"/>
                    </a:lnTo>
                    <a:lnTo>
                      <a:pt x="4662754" y="8822246"/>
                    </a:lnTo>
                    <a:lnTo>
                      <a:pt x="4684517" y="8854889"/>
                    </a:lnTo>
                    <a:lnTo>
                      <a:pt x="4728043" y="8925619"/>
                    </a:lnTo>
                    <a:lnTo>
                      <a:pt x="4722605" y="9031718"/>
                    </a:lnTo>
                    <a:lnTo>
                      <a:pt x="4787894" y="9086127"/>
                    </a:lnTo>
                    <a:lnTo>
                      <a:pt x="4812373" y="9077960"/>
                    </a:lnTo>
                    <a:lnTo>
                      <a:pt x="4845019" y="9105165"/>
                    </a:lnTo>
                    <a:lnTo>
                      <a:pt x="4806931" y="9145975"/>
                    </a:lnTo>
                    <a:lnTo>
                      <a:pt x="4847741" y="9181337"/>
                    </a:lnTo>
                    <a:lnTo>
                      <a:pt x="4858624" y="9262948"/>
                    </a:lnTo>
                    <a:lnTo>
                      <a:pt x="4921197" y="9227588"/>
                    </a:lnTo>
                    <a:lnTo>
                      <a:pt x="4959276" y="9252068"/>
                    </a:lnTo>
                    <a:lnTo>
                      <a:pt x="4923913" y="9309193"/>
                    </a:lnTo>
                    <a:lnTo>
                      <a:pt x="5024565" y="9537712"/>
                    </a:lnTo>
                    <a:lnTo>
                      <a:pt x="4994644" y="9570358"/>
                    </a:lnTo>
                    <a:lnTo>
                      <a:pt x="4717163" y="9483303"/>
                    </a:lnTo>
                    <a:lnTo>
                      <a:pt x="4594749" y="9551311"/>
                    </a:lnTo>
                    <a:lnTo>
                      <a:pt x="4543056" y="9510508"/>
                    </a:lnTo>
                    <a:lnTo>
                      <a:pt x="4491372" y="9532264"/>
                    </a:lnTo>
                    <a:lnTo>
                      <a:pt x="4499530" y="9611159"/>
                    </a:lnTo>
                    <a:lnTo>
                      <a:pt x="4453282" y="9611159"/>
                    </a:lnTo>
                    <a:lnTo>
                      <a:pt x="4420636" y="9632922"/>
                    </a:lnTo>
                    <a:lnTo>
                      <a:pt x="4419284" y="9658762"/>
                    </a:lnTo>
                    <a:lnTo>
                      <a:pt x="4417919" y="9685973"/>
                    </a:lnTo>
                    <a:lnTo>
                      <a:pt x="4444761" y="9686429"/>
                    </a:lnTo>
                    <a:lnTo>
                      <a:pt x="4488017" y="9689672"/>
                    </a:lnTo>
                    <a:lnTo>
                      <a:pt x="4519771" y="9703646"/>
                    </a:lnTo>
                    <a:lnTo>
                      <a:pt x="4549862" y="9710446"/>
                    </a:lnTo>
                    <a:lnTo>
                      <a:pt x="4573749" y="9716290"/>
                    </a:lnTo>
                    <a:lnTo>
                      <a:pt x="4650944" y="9713103"/>
                    </a:lnTo>
                    <a:lnTo>
                      <a:pt x="4696039" y="9639321"/>
                    </a:lnTo>
                    <a:lnTo>
                      <a:pt x="4770211" y="9647873"/>
                    </a:lnTo>
                    <a:lnTo>
                      <a:pt x="4877584" y="9660244"/>
                    </a:lnTo>
                    <a:lnTo>
                      <a:pt x="4969780" y="9749891"/>
                    </a:lnTo>
                    <a:lnTo>
                      <a:pt x="5081696" y="9749891"/>
                    </a:lnTo>
                    <a:lnTo>
                      <a:pt x="5117092" y="9745972"/>
                    </a:lnTo>
                    <a:lnTo>
                      <a:pt x="5146768" y="9743408"/>
                    </a:lnTo>
                    <a:lnTo>
                      <a:pt x="5170115" y="9740360"/>
                    </a:lnTo>
                    <a:lnTo>
                      <a:pt x="5211483" y="9727983"/>
                    </a:lnTo>
                    <a:lnTo>
                      <a:pt x="5248284" y="9696366"/>
                    </a:lnTo>
                    <a:lnTo>
                      <a:pt x="5288446" y="9679155"/>
                    </a:lnTo>
                    <a:lnTo>
                      <a:pt x="5374695" y="9642214"/>
                    </a:lnTo>
                    <a:lnTo>
                      <a:pt x="5368265" y="9692388"/>
                    </a:lnTo>
                    <a:lnTo>
                      <a:pt x="5439429" y="9596183"/>
                    </a:lnTo>
                    <a:lnTo>
                      <a:pt x="5482661" y="9583086"/>
                    </a:lnTo>
                    <a:lnTo>
                      <a:pt x="5512581" y="9568721"/>
                    </a:lnTo>
                    <a:lnTo>
                      <a:pt x="5541448" y="9552663"/>
                    </a:lnTo>
                    <a:lnTo>
                      <a:pt x="5568519" y="9544583"/>
                    </a:lnTo>
                    <a:lnTo>
                      <a:pt x="5598216" y="9544887"/>
                    </a:lnTo>
                    <a:lnTo>
                      <a:pt x="5624416" y="9536342"/>
                    </a:lnTo>
                    <a:lnTo>
                      <a:pt x="5662324" y="9523837"/>
                    </a:lnTo>
                    <a:lnTo>
                      <a:pt x="5782841" y="9464669"/>
                    </a:lnTo>
                    <a:lnTo>
                      <a:pt x="5806687" y="9435675"/>
                    </a:lnTo>
                    <a:lnTo>
                      <a:pt x="5840961" y="9394068"/>
                    </a:lnTo>
                    <a:lnTo>
                      <a:pt x="5863468" y="9331793"/>
                    </a:lnTo>
                    <a:lnTo>
                      <a:pt x="5886934" y="9283340"/>
                    </a:lnTo>
                    <a:lnTo>
                      <a:pt x="5905506" y="9245122"/>
                    </a:lnTo>
                    <a:lnTo>
                      <a:pt x="5930460" y="9199723"/>
                    </a:lnTo>
                    <a:lnTo>
                      <a:pt x="5964470" y="9173161"/>
                    </a:lnTo>
                    <a:lnTo>
                      <a:pt x="5995665" y="9166445"/>
                    </a:lnTo>
                    <a:lnTo>
                      <a:pt x="6022398" y="9157431"/>
                    </a:lnTo>
                    <a:lnTo>
                      <a:pt x="6042000" y="9147320"/>
                    </a:lnTo>
                    <a:lnTo>
                      <a:pt x="6083191" y="9137963"/>
                    </a:lnTo>
                    <a:lnTo>
                      <a:pt x="6124885" y="9154542"/>
                    </a:lnTo>
                    <a:lnTo>
                      <a:pt x="6167137" y="9137789"/>
                    </a:lnTo>
                    <a:lnTo>
                      <a:pt x="6179722" y="9114926"/>
                    </a:lnTo>
                    <a:lnTo>
                      <a:pt x="6192251" y="9095668"/>
                    </a:lnTo>
                    <a:lnTo>
                      <a:pt x="6202499" y="9071142"/>
                    </a:lnTo>
                    <a:lnTo>
                      <a:pt x="6216700" y="9037054"/>
                    </a:lnTo>
                    <a:lnTo>
                      <a:pt x="6248434" y="8895851"/>
                    </a:lnTo>
                    <a:lnTo>
                      <a:pt x="6277313" y="8883439"/>
                    </a:lnTo>
                    <a:lnTo>
                      <a:pt x="6336515" y="8858061"/>
                    </a:lnTo>
                    <a:lnTo>
                      <a:pt x="6446596" y="8957571"/>
                    </a:lnTo>
                    <a:lnTo>
                      <a:pt x="6500385" y="8872556"/>
                    </a:lnTo>
                    <a:lnTo>
                      <a:pt x="6516067" y="8847779"/>
                    </a:lnTo>
                    <a:lnTo>
                      <a:pt x="6527040" y="8750901"/>
                    </a:lnTo>
                    <a:lnTo>
                      <a:pt x="6542553" y="8707974"/>
                    </a:lnTo>
                    <a:lnTo>
                      <a:pt x="6557469" y="8666736"/>
                    </a:lnTo>
                    <a:lnTo>
                      <a:pt x="6587647" y="8633287"/>
                    </a:lnTo>
                    <a:lnTo>
                      <a:pt x="6606484" y="8595075"/>
                    </a:lnTo>
                    <a:lnTo>
                      <a:pt x="6635948" y="8535141"/>
                    </a:lnTo>
                    <a:lnTo>
                      <a:pt x="6650651" y="8460885"/>
                    </a:lnTo>
                    <a:lnTo>
                      <a:pt x="6675850" y="8397850"/>
                    </a:lnTo>
                    <a:lnTo>
                      <a:pt x="6699954" y="8337612"/>
                    </a:lnTo>
                    <a:lnTo>
                      <a:pt x="6756394" y="8294179"/>
                    </a:lnTo>
                    <a:lnTo>
                      <a:pt x="6783307" y="8235984"/>
                    </a:lnTo>
                    <a:lnTo>
                      <a:pt x="6820033" y="8156879"/>
                    </a:lnTo>
                    <a:lnTo>
                      <a:pt x="6881068" y="7950807"/>
                    </a:lnTo>
                    <a:lnTo>
                      <a:pt x="6985974" y="7935382"/>
                    </a:lnTo>
                    <a:lnTo>
                      <a:pt x="7014074" y="7926880"/>
                    </a:lnTo>
                    <a:lnTo>
                      <a:pt x="7074219" y="7883519"/>
                    </a:lnTo>
                    <a:lnTo>
                      <a:pt x="7160930" y="7807139"/>
                    </a:lnTo>
                    <a:lnTo>
                      <a:pt x="7215860" y="7791199"/>
                    </a:lnTo>
                    <a:lnTo>
                      <a:pt x="7245477" y="7790005"/>
                    </a:lnTo>
                    <a:lnTo>
                      <a:pt x="7325103" y="7773522"/>
                    </a:lnTo>
                    <a:lnTo>
                      <a:pt x="7387704" y="7747679"/>
                    </a:lnTo>
                    <a:lnTo>
                      <a:pt x="7451167" y="7728632"/>
                    </a:lnTo>
                    <a:lnTo>
                      <a:pt x="7498392" y="7714431"/>
                    </a:lnTo>
                    <a:lnTo>
                      <a:pt x="7558280" y="7717749"/>
                    </a:lnTo>
                    <a:lnTo>
                      <a:pt x="7602150" y="7697344"/>
                    </a:lnTo>
                    <a:lnTo>
                      <a:pt x="7663588" y="7668744"/>
                    </a:lnTo>
                    <a:lnTo>
                      <a:pt x="7693878" y="7626623"/>
                    </a:lnTo>
                    <a:lnTo>
                      <a:pt x="7734086" y="7574930"/>
                    </a:lnTo>
                    <a:lnTo>
                      <a:pt x="7747865" y="7557250"/>
                    </a:lnTo>
                    <a:lnTo>
                      <a:pt x="7769166" y="7547477"/>
                    </a:lnTo>
                    <a:lnTo>
                      <a:pt x="7787137" y="7535487"/>
                    </a:lnTo>
                    <a:lnTo>
                      <a:pt x="7840793" y="7499657"/>
                    </a:lnTo>
                    <a:lnTo>
                      <a:pt x="7886167" y="7472065"/>
                    </a:lnTo>
                    <a:lnTo>
                      <a:pt x="7953077" y="7466115"/>
                    </a:lnTo>
                    <a:lnTo>
                      <a:pt x="8014119" y="7460760"/>
                    </a:lnTo>
                    <a:lnTo>
                      <a:pt x="8085485" y="7451027"/>
                    </a:lnTo>
                    <a:lnTo>
                      <a:pt x="8144870" y="7468831"/>
                    </a:lnTo>
                    <a:lnTo>
                      <a:pt x="8180825" y="7479627"/>
                    </a:lnTo>
                    <a:lnTo>
                      <a:pt x="8209651" y="7514481"/>
                    </a:lnTo>
                    <a:lnTo>
                      <a:pt x="8250963" y="7497393"/>
                    </a:lnTo>
                    <a:lnTo>
                      <a:pt x="8272983" y="7488299"/>
                    </a:lnTo>
                    <a:lnTo>
                      <a:pt x="8282973" y="7461861"/>
                    </a:lnTo>
                    <a:lnTo>
                      <a:pt x="8297211" y="7444345"/>
                    </a:lnTo>
                    <a:lnTo>
                      <a:pt x="8379802" y="7406056"/>
                    </a:lnTo>
                    <a:lnTo>
                      <a:pt x="8389903" y="7509557"/>
                    </a:lnTo>
                    <a:lnTo>
                      <a:pt x="8464513" y="7487878"/>
                    </a:lnTo>
                    <a:lnTo>
                      <a:pt x="8522838" y="7470955"/>
                    </a:lnTo>
                    <a:lnTo>
                      <a:pt x="8520153" y="7387775"/>
                    </a:lnTo>
                    <a:lnTo>
                      <a:pt x="8571970" y="7360016"/>
                    </a:lnTo>
                    <a:lnTo>
                      <a:pt x="8592716" y="7348878"/>
                    </a:lnTo>
                    <a:lnTo>
                      <a:pt x="8616503" y="7354193"/>
                    </a:lnTo>
                    <a:lnTo>
                      <a:pt x="8638617" y="7347774"/>
                    </a:lnTo>
                    <a:lnTo>
                      <a:pt x="8693751" y="7331751"/>
                    </a:lnTo>
                    <a:lnTo>
                      <a:pt x="8727194" y="7326139"/>
                    </a:lnTo>
                    <a:lnTo>
                      <a:pt x="8785519" y="7339617"/>
                    </a:lnTo>
                    <a:lnTo>
                      <a:pt x="8822826" y="7355855"/>
                    </a:lnTo>
                    <a:lnTo>
                      <a:pt x="8848216" y="7379701"/>
                    </a:lnTo>
                    <a:lnTo>
                      <a:pt x="8937650" y="7500500"/>
                    </a:lnTo>
                    <a:lnTo>
                      <a:pt x="8955549" y="7524604"/>
                    </a:lnTo>
                    <a:lnTo>
                      <a:pt x="8970811" y="7555033"/>
                    </a:lnTo>
                    <a:lnTo>
                      <a:pt x="9008340" y="7608342"/>
                    </a:lnTo>
                    <a:lnTo>
                      <a:pt x="9072187" y="7616031"/>
                    </a:lnTo>
                    <a:lnTo>
                      <a:pt x="9113332" y="7593970"/>
                    </a:lnTo>
                    <a:lnTo>
                      <a:pt x="9225372" y="7533949"/>
                    </a:lnTo>
                    <a:lnTo>
                      <a:pt x="9232990" y="7343524"/>
                    </a:lnTo>
                    <a:lnTo>
                      <a:pt x="9262957" y="7234879"/>
                    </a:lnTo>
                    <a:lnTo>
                      <a:pt x="9274262" y="7193905"/>
                    </a:lnTo>
                    <a:lnTo>
                      <a:pt x="9289805" y="7159854"/>
                    </a:lnTo>
                    <a:lnTo>
                      <a:pt x="9307835" y="7121981"/>
                    </a:lnTo>
                    <a:lnTo>
                      <a:pt x="9318209" y="7100137"/>
                    </a:lnTo>
                    <a:lnTo>
                      <a:pt x="9338909" y="7063534"/>
                    </a:lnTo>
                    <a:lnTo>
                      <a:pt x="9358167" y="7048531"/>
                    </a:lnTo>
                    <a:lnTo>
                      <a:pt x="9475946" y="6932786"/>
                    </a:lnTo>
                    <a:lnTo>
                      <a:pt x="9575403" y="6973422"/>
                    </a:lnTo>
                    <a:lnTo>
                      <a:pt x="9623400" y="6930194"/>
                    </a:lnTo>
                    <a:lnTo>
                      <a:pt x="9664970" y="6892748"/>
                    </a:lnTo>
                    <a:lnTo>
                      <a:pt x="9650527" y="6743340"/>
                    </a:lnTo>
                    <a:lnTo>
                      <a:pt x="9730860" y="6700323"/>
                    </a:lnTo>
                    <a:lnTo>
                      <a:pt x="9786624" y="6670439"/>
                    </a:lnTo>
                    <a:lnTo>
                      <a:pt x="9846611" y="6728243"/>
                    </a:lnTo>
                    <a:lnTo>
                      <a:pt x="9881849" y="6718002"/>
                    </a:lnTo>
                    <a:lnTo>
                      <a:pt x="9938578" y="6683446"/>
                    </a:lnTo>
                    <a:lnTo>
                      <a:pt x="9993374" y="6686420"/>
                    </a:lnTo>
                    <a:lnTo>
                      <a:pt x="10043833" y="6755361"/>
                    </a:lnTo>
                    <a:lnTo>
                      <a:pt x="10079078" y="6787375"/>
                    </a:lnTo>
                    <a:lnTo>
                      <a:pt x="10102193" y="6792816"/>
                    </a:lnTo>
                    <a:lnTo>
                      <a:pt x="10118802" y="6776702"/>
                    </a:lnTo>
                    <a:lnTo>
                      <a:pt x="10132454" y="6687185"/>
                    </a:lnTo>
                    <a:lnTo>
                      <a:pt x="10035542" y="6655389"/>
                    </a:lnTo>
                    <a:lnTo>
                      <a:pt x="10098115" y="6561578"/>
                    </a:lnTo>
                    <a:lnTo>
                      <a:pt x="10161749" y="6466117"/>
                    </a:lnTo>
                    <a:lnTo>
                      <a:pt x="10321906" y="6564046"/>
                    </a:lnTo>
                    <a:lnTo>
                      <a:pt x="10351117" y="6474525"/>
                    </a:lnTo>
                    <a:lnTo>
                      <a:pt x="10310874" y="6418079"/>
                    </a:lnTo>
                    <a:lnTo>
                      <a:pt x="10234064" y="6420631"/>
                    </a:lnTo>
                    <a:lnTo>
                      <a:pt x="10213730" y="6367075"/>
                    </a:lnTo>
                    <a:lnTo>
                      <a:pt x="10205058" y="6344329"/>
                    </a:lnTo>
                    <a:lnTo>
                      <a:pt x="10214390" y="6298679"/>
                    </a:lnTo>
                    <a:lnTo>
                      <a:pt x="10220530" y="6275939"/>
                    </a:lnTo>
                    <a:lnTo>
                      <a:pt x="10258530" y="6133371"/>
                    </a:lnTo>
                    <a:lnTo>
                      <a:pt x="10352422" y="6080711"/>
                    </a:lnTo>
                    <a:lnTo>
                      <a:pt x="10465358" y="6002542"/>
                    </a:lnTo>
                    <a:lnTo>
                      <a:pt x="10487124" y="5987445"/>
                    </a:lnTo>
                    <a:lnTo>
                      <a:pt x="10513864" y="5976695"/>
                    </a:lnTo>
                    <a:lnTo>
                      <a:pt x="10534737" y="5960374"/>
                    </a:lnTo>
                    <a:lnTo>
                      <a:pt x="10563526" y="5937892"/>
                    </a:lnTo>
                    <a:lnTo>
                      <a:pt x="10619364" y="5881861"/>
                    </a:lnTo>
                    <a:lnTo>
                      <a:pt x="10650355" y="5870596"/>
                    </a:lnTo>
                    <a:lnTo>
                      <a:pt x="10701179" y="5852191"/>
                    </a:lnTo>
                    <a:lnTo>
                      <a:pt x="10851775" y="5850877"/>
                    </a:lnTo>
                    <a:lnTo>
                      <a:pt x="10907421" y="5861081"/>
                    </a:lnTo>
                    <a:lnTo>
                      <a:pt x="11002764" y="5878503"/>
                    </a:lnTo>
                    <a:lnTo>
                      <a:pt x="11120465" y="5907028"/>
                    </a:lnTo>
                    <a:lnTo>
                      <a:pt x="11202591" y="5960374"/>
                    </a:lnTo>
                    <a:lnTo>
                      <a:pt x="11227795" y="5976782"/>
                    </a:lnTo>
                    <a:lnTo>
                      <a:pt x="11252225" y="5996462"/>
                    </a:lnTo>
                    <a:lnTo>
                      <a:pt x="11277395" y="6012064"/>
                    </a:lnTo>
                    <a:lnTo>
                      <a:pt x="11299800" y="6025998"/>
                    </a:lnTo>
                    <a:lnTo>
                      <a:pt x="11324437" y="6033523"/>
                    </a:lnTo>
                    <a:lnTo>
                      <a:pt x="11348126" y="6044710"/>
                    </a:lnTo>
                    <a:lnTo>
                      <a:pt x="11369725" y="6054905"/>
                    </a:lnTo>
                    <a:lnTo>
                      <a:pt x="11391019" y="6070975"/>
                    </a:lnTo>
                    <a:lnTo>
                      <a:pt x="11412063" y="6082788"/>
                    </a:lnTo>
                    <a:lnTo>
                      <a:pt x="11444920" y="6101280"/>
                    </a:lnTo>
                    <a:lnTo>
                      <a:pt x="11475740" y="6137538"/>
                    </a:lnTo>
                    <a:lnTo>
                      <a:pt x="11507276" y="6160324"/>
                    </a:lnTo>
                    <a:lnTo>
                      <a:pt x="11535962" y="6181064"/>
                    </a:lnTo>
                    <a:lnTo>
                      <a:pt x="11572987" y="6191182"/>
                    </a:lnTo>
                    <a:lnTo>
                      <a:pt x="11594328" y="6221530"/>
                    </a:lnTo>
                    <a:lnTo>
                      <a:pt x="11607378" y="6240062"/>
                    </a:lnTo>
                    <a:lnTo>
                      <a:pt x="11615313" y="6261695"/>
                    </a:lnTo>
                    <a:lnTo>
                      <a:pt x="11625613" y="6281381"/>
                    </a:lnTo>
                    <a:lnTo>
                      <a:pt x="11644402" y="6308288"/>
                    </a:lnTo>
                    <a:lnTo>
                      <a:pt x="11686518" y="6368089"/>
                    </a:lnTo>
                    <a:lnTo>
                      <a:pt x="11705208" y="6420671"/>
                    </a:lnTo>
                    <a:lnTo>
                      <a:pt x="11723542" y="6473167"/>
                    </a:lnTo>
                    <a:lnTo>
                      <a:pt x="11730645" y="6493486"/>
                    </a:lnTo>
                    <a:lnTo>
                      <a:pt x="11736849" y="6519034"/>
                    </a:lnTo>
                    <a:lnTo>
                      <a:pt x="11754836" y="6533015"/>
                    </a:lnTo>
                    <a:lnTo>
                      <a:pt x="11772767" y="6546955"/>
                    </a:lnTo>
                    <a:lnTo>
                      <a:pt x="11809989" y="6557972"/>
                    </a:lnTo>
                    <a:lnTo>
                      <a:pt x="11832357" y="6558861"/>
                    </a:lnTo>
                    <a:lnTo>
                      <a:pt x="12018795" y="6518355"/>
                    </a:lnTo>
                    <a:lnTo>
                      <a:pt x="12049996" y="6501690"/>
                    </a:lnTo>
                    <a:lnTo>
                      <a:pt x="12092871" y="6468662"/>
                    </a:lnTo>
                    <a:lnTo>
                      <a:pt x="12115279" y="6467726"/>
                    </a:lnTo>
                    <a:lnTo>
                      <a:pt x="12178866" y="6465087"/>
                    </a:lnTo>
                    <a:lnTo>
                      <a:pt x="12234258" y="6541049"/>
                    </a:lnTo>
                    <a:lnTo>
                      <a:pt x="12302998" y="6512610"/>
                    </a:lnTo>
                    <a:lnTo>
                      <a:pt x="12384574" y="6478863"/>
                    </a:lnTo>
                    <a:lnTo>
                      <a:pt x="12357736" y="6307943"/>
                    </a:lnTo>
                    <a:lnTo>
                      <a:pt x="12467580" y="6281381"/>
                    </a:lnTo>
                    <a:lnTo>
                      <a:pt x="12498087" y="6273980"/>
                    </a:lnTo>
                    <a:lnTo>
                      <a:pt x="12669006" y="6281579"/>
                    </a:lnTo>
                    <a:lnTo>
                      <a:pt x="12690652" y="6299060"/>
                    </a:lnTo>
                    <a:lnTo>
                      <a:pt x="12729753" y="6330683"/>
                    </a:lnTo>
                    <a:lnTo>
                      <a:pt x="12751774" y="6367841"/>
                    </a:lnTo>
                    <a:lnTo>
                      <a:pt x="12803544" y="6383396"/>
                    </a:lnTo>
                    <a:lnTo>
                      <a:pt x="12878581" y="6405878"/>
                    </a:lnTo>
                    <a:lnTo>
                      <a:pt x="12960474" y="6411156"/>
                    </a:lnTo>
                    <a:lnTo>
                      <a:pt x="13036138" y="6429641"/>
                    </a:lnTo>
                    <a:lnTo>
                      <a:pt x="13067636" y="6437337"/>
                    </a:lnTo>
                    <a:lnTo>
                      <a:pt x="13100993" y="6461050"/>
                    </a:lnTo>
                    <a:lnTo>
                      <a:pt x="13134073" y="6458204"/>
                    </a:lnTo>
                    <a:lnTo>
                      <a:pt x="13222306" y="6450639"/>
                    </a:lnTo>
                    <a:lnTo>
                      <a:pt x="13203399" y="6308077"/>
                    </a:lnTo>
                    <a:lnTo>
                      <a:pt x="13283698" y="6275939"/>
                    </a:lnTo>
                    <a:lnTo>
                      <a:pt x="13345077" y="6251327"/>
                    </a:lnTo>
                    <a:lnTo>
                      <a:pt x="13442621" y="6272076"/>
                    </a:lnTo>
                    <a:lnTo>
                      <a:pt x="13506769" y="6277297"/>
                    </a:lnTo>
                    <a:lnTo>
                      <a:pt x="13531462" y="6279297"/>
                    </a:lnTo>
                    <a:lnTo>
                      <a:pt x="13555256" y="6272153"/>
                    </a:lnTo>
                    <a:lnTo>
                      <a:pt x="13578852" y="6273223"/>
                    </a:lnTo>
                    <a:lnTo>
                      <a:pt x="13604428" y="6277812"/>
                    </a:lnTo>
                    <a:lnTo>
                      <a:pt x="13649582" y="6275939"/>
                    </a:lnTo>
                    <a:lnTo>
                      <a:pt x="13756019" y="6190667"/>
                    </a:lnTo>
                    <a:lnTo>
                      <a:pt x="13797849" y="6171198"/>
                    </a:lnTo>
                    <a:lnTo>
                      <a:pt x="13835552" y="6153649"/>
                    </a:lnTo>
                    <a:lnTo>
                      <a:pt x="13883794" y="6145736"/>
                    </a:lnTo>
                    <a:lnTo>
                      <a:pt x="13914831" y="6115431"/>
                    </a:lnTo>
                    <a:lnTo>
                      <a:pt x="13931844" y="6098775"/>
                    </a:lnTo>
                    <a:lnTo>
                      <a:pt x="13939602" y="6064389"/>
                    </a:lnTo>
                    <a:lnTo>
                      <a:pt x="13932505" y="6041984"/>
                    </a:lnTo>
                    <a:lnTo>
                      <a:pt x="13923646" y="6013977"/>
                    </a:lnTo>
                    <a:lnTo>
                      <a:pt x="13881639" y="5975204"/>
                    </a:lnTo>
                    <a:lnTo>
                      <a:pt x="13864499" y="5950849"/>
                    </a:lnTo>
                    <a:lnTo>
                      <a:pt x="13836529" y="5911062"/>
                    </a:lnTo>
                    <a:lnTo>
                      <a:pt x="13763002" y="5772069"/>
                    </a:lnTo>
                    <a:lnTo>
                      <a:pt x="13755681" y="5727777"/>
                    </a:lnTo>
                    <a:lnTo>
                      <a:pt x="13741912" y="5645230"/>
                    </a:lnTo>
                    <a:lnTo>
                      <a:pt x="13775534" y="5404008"/>
                    </a:lnTo>
                    <a:lnTo>
                      <a:pt x="13799207" y="5321076"/>
                    </a:lnTo>
                    <a:lnTo>
                      <a:pt x="13811296" y="5278611"/>
                    </a:lnTo>
                    <a:lnTo>
                      <a:pt x="13835850" y="5246483"/>
                    </a:lnTo>
                    <a:lnTo>
                      <a:pt x="13841369" y="5200020"/>
                    </a:lnTo>
                    <a:lnTo>
                      <a:pt x="13846897" y="5153856"/>
                    </a:lnTo>
                    <a:lnTo>
                      <a:pt x="13830402" y="5109353"/>
                    </a:lnTo>
                    <a:lnTo>
                      <a:pt x="13844067" y="5061275"/>
                    </a:lnTo>
                    <a:lnTo>
                      <a:pt x="13871910" y="4963858"/>
                    </a:lnTo>
                    <a:lnTo>
                      <a:pt x="14026403" y="5013207"/>
                    </a:lnTo>
                    <a:lnTo>
                      <a:pt x="14068499" y="4961985"/>
                    </a:lnTo>
                    <a:lnTo>
                      <a:pt x="14079807" y="4923132"/>
                    </a:lnTo>
                    <a:lnTo>
                      <a:pt x="14060934" y="4863706"/>
                    </a:lnTo>
                    <a:lnTo>
                      <a:pt x="13983193" y="4806416"/>
                    </a:lnTo>
                    <a:lnTo>
                      <a:pt x="14034495" y="4729395"/>
                    </a:lnTo>
                    <a:lnTo>
                      <a:pt x="14047164" y="4710388"/>
                    </a:lnTo>
                    <a:lnTo>
                      <a:pt x="14069231" y="4692154"/>
                    </a:lnTo>
                    <a:lnTo>
                      <a:pt x="14091627" y="4685863"/>
                    </a:lnTo>
                    <a:lnTo>
                      <a:pt x="14113858" y="4679624"/>
                    </a:lnTo>
                    <a:lnTo>
                      <a:pt x="14200107" y="4683401"/>
                    </a:lnTo>
                    <a:lnTo>
                      <a:pt x="14223563" y="4688579"/>
                    </a:lnTo>
                    <a:lnTo>
                      <a:pt x="14253803" y="4695214"/>
                    </a:lnTo>
                    <a:lnTo>
                      <a:pt x="14280775" y="4721395"/>
                    </a:lnTo>
                    <a:lnTo>
                      <a:pt x="14309251" y="4734830"/>
                    </a:lnTo>
                    <a:lnTo>
                      <a:pt x="14349084" y="4753573"/>
                    </a:lnTo>
                    <a:lnTo>
                      <a:pt x="14487637" y="4757998"/>
                    </a:lnTo>
                    <a:lnTo>
                      <a:pt x="14525526" y="4734830"/>
                    </a:lnTo>
                    <a:lnTo>
                      <a:pt x="14560841" y="4686244"/>
                    </a:lnTo>
                    <a:lnTo>
                      <a:pt x="14566888" y="4661802"/>
                    </a:lnTo>
                    <a:lnTo>
                      <a:pt x="14565436" y="4497645"/>
                    </a:lnTo>
                    <a:lnTo>
                      <a:pt x="14553877" y="4463470"/>
                    </a:lnTo>
                    <a:lnTo>
                      <a:pt x="14526871" y="4428319"/>
                    </a:lnTo>
                    <a:lnTo>
                      <a:pt x="14511939" y="4400218"/>
                    </a:lnTo>
                    <a:lnTo>
                      <a:pt x="14482142" y="4344324"/>
                    </a:lnTo>
                    <a:lnTo>
                      <a:pt x="14470959" y="4251957"/>
                    </a:lnTo>
                    <a:lnTo>
                      <a:pt x="14388160" y="4251957"/>
                    </a:lnTo>
                    <a:lnTo>
                      <a:pt x="14328356" y="4251957"/>
                    </a:lnTo>
                    <a:lnTo>
                      <a:pt x="14274964" y="4382833"/>
                    </a:lnTo>
                    <a:lnTo>
                      <a:pt x="14197732" y="4343093"/>
                    </a:lnTo>
                    <a:lnTo>
                      <a:pt x="14169334" y="4318775"/>
                    </a:lnTo>
                    <a:lnTo>
                      <a:pt x="14120797" y="4263305"/>
                    </a:lnTo>
                    <a:lnTo>
                      <a:pt x="14060407" y="4151641"/>
                    </a:lnTo>
                    <a:lnTo>
                      <a:pt x="13995065" y="4163544"/>
                    </a:lnTo>
                    <a:lnTo>
                      <a:pt x="13974145" y="4167330"/>
                    </a:lnTo>
                    <a:lnTo>
                      <a:pt x="13952723" y="4178253"/>
                    </a:lnTo>
                    <a:lnTo>
                      <a:pt x="13932492" y="4185307"/>
                    </a:lnTo>
                    <a:lnTo>
                      <a:pt x="13912159" y="4192451"/>
                    </a:lnTo>
                    <a:lnTo>
                      <a:pt x="13887943" y="4197846"/>
                    </a:lnTo>
                    <a:lnTo>
                      <a:pt x="13868561" y="4207073"/>
                    </a:lnTo>
                    <a:lnTo>
                      <a:pt x="13837044" y="4209702"/>
                    </a:lnTo>
                    <a:lnTo>
                      <a:pt x="13636656" y="4227391"/>
                    </a:lnTo>
                    <a:lnTo>
                      <a:pt x="13638522" y="4109730"/>
                    </a:lnTo>
                    <a:lnTo>
                      <a:pt x="13553002" y="4096897"/>
                    </a:lnTo>
                    <a:lnTo>
                      <a:pt x="13479031" y="4085843"/>
                    </a:lnTo>
                    <a:lnTo>
                      <a:pt x="13459392" y="4215829"/>
                    </a:lnTo>
                    <a:lnTo>
                      <a:pt x="13382972" y="4188032"/>
                    </a:lnTo>
                    <a:lnTo>
                      <a:pt x="13358940" y="4112626"/>
                    </a:lnTo>
                    <a:lnTo>
                      <a:pt x="13441006" y="4132135"/>
                    </a:lnTo>
                    <a:lnTo>
                      <a:pt x="13434662" y="4052013"/>
                    </a:lnTo>
                    <a:lnTo>
                      <a:pt x="13402763" y="4026083"/>
                    </a:lnTo>
                    <a:lnTo>
                      <a:pt x="13377503" y="4040358"/>
                    </a:lnTo>
                    <a:lnTo>
                      <a:pt x="13353052" y="4042482"/>
                    </a:lnTo>
                    <a:lnTo>
                      <a:pt x="13311522" y="4046010"/>
                    </a:lnTo>
                    <a:lnTo>
                      <a:pt x="13270799" y="4051154"/>
                    </a:lnTo>
                    <a:lnTo>
                      <a:pt x="13229270" y="4054729"/>
                    </a:lnTo>
                    <a:lnTo>
                      <a:pt x="13180343" y="4058890"/>
                    </a:lnTo>
                    <a:lnTo>
                      <a:pt x="13129983" y="4050990"/>
                    </a:lnTo>
                    <a:lnTo>
                      <a:pt x="13081009" y="4057445"/>
                    </a:lnTo>
                    <a:lnTo>
                      <a:pt x="13020991" y="4065401"/>
                    </a:lnTo>
                    <a:lnTo>
                      <a:pt x="12999476" y="4088138"/>
                    </a:lnTo>
                    <a:lnTo>
                      <a:pt x="12921862" y="4079211"/>
                    </a:lnTo>
                    <a:lnTo>
                      <a:pt x="12889895" y="4075509"/>
                    </a:lnTo>
                    <a:lnTo>
                      <a:pt x="12855643" y="4056261"/>
                    </a:lnTo>
                    <a:lnTo>
                      <a:pt x="12823927" y="4066970"/>
                    </a:lnTo>
                    <a:lnTo>
                      <a:pt x="12588497" y="4226585"/>
                    </a:lnTo>
                    <a:lnTo>
                      <a:pt x="12541005" y="4281580"/>
                    </a:lnTo>
                    <a:lnTo>
                      <a:pt x="12509212" y="4524037"/>
                    </a:lnTo>
                    <a:lnTo>
                      <a:pt x="12409069" y="4585205"/>
                    </a:lnTo>
                    <a:lnTo>
                      <a:pt x="12337138" y="4629199"/>
                    </a:lnTo>
                    <a:lnTo>
                      <a:pt x="12160789" y="4590823"/>
                    </a:lnTo>
                    <a:lnTo>
                      <a:pt x="12097584" y="4541676"/>
                    </a:lnTo>
                    <a:lnTo>
                      <a:pt x="12069617" y="4519913"/>
                    </a:lnTo>
                    <a:lnTo>
                      <a:pt x="12048235" y="4494457"/>
                    </a:lnTo>
                    <a:lnTo>
                      <a:pt x="12017332" y="4473671"/>
                    </a:lnTo>
                    <a:lnTo>
                      <a:pt x="11958538" y="4434095"/>
                    </a:lnTo>
                    <a:lnTo>
                      <a:pt x="11891131" y="4403660"/>
                    </a:lnTo>
                    <a:lnTo>
                      <a:pt x="11841866" y="4349892"/>
                    </a:lnTo>
                    <a:lnTo>
                      <a:pt x="11798257" y="4302370"/>
                    </a:lnTo>
                    <a:lnTo>
                      <a:pt x="11783377" y="4232535"/>
                    </a:lnTo>
                    <a:lnTo>
                      <a:pt x="11783377" y="4170344"/>
                    </a:lnTo>
                    <a:lnTo>
                      <a:pt x="11820401" y="4139018"/>
                    </a:lnTo>
                    <a:lnTo>
                      <a:pt x="11843423" y="4158995"/>
                    </a:lnTo>
                    <a:lnTo>
                      <a:pt x="11864990" y="4115938"/>
                    </a:lnTo>
                    <a:lnTo>
                      <a:pt x="11856430" y="4045799"/>
                    </a:lnTo>
                    <a:lnTo>
                      <a:pt x="11735473" y="3996497"/>
                    </a:lnTo>
                    <a:lnTo>
                      <a:pt x="11692241" y="4046565"/>
                    </a:lnTo>
                    <a:lnTo>
                      <a:pt x="11642430" y="4104335"/>
                    </a:lnTo>
                    <a:lnTo>
                      <a:pt x="11640979" y="4277630"/>
                    </a:lnTo>
                    <a:lnTo>
                      <a:pt x="11586152" y="4368936"/>
                    </a:lnTo>
                    <a:lnTo>
                      <a:pt x="11566596" y="4401582"/>
                    </a:lnTo>
                    <a:lnTo>
                      <a:pt x="11539234" y="4440299"/>
                    </a:lnTo>
                    <a:lnTo>
                      <a:pt x="11508621" y="4464149"/>
                    </a:lnTo>
                    <a:lnTo>
                      <a:pt x="11482431" y="4484638"/>
                    </a:lnTo>
                    <a:lnTo>
                      <a:pt x="11453012" y="4492157"/>
                    </a:lnTo>
                    <a:lnTo>
                      <a:pt x="11440607" y="4526719"/>
                    </a:lnTo>
                    <a:lnTo>
                      <a:pt x="11437475" y="4557836"/>
                    </a:lnTo>
                    <a:lnTo>
                      <a:pt x="11434855" y="4600339"/>
                    </a:lnTo>
                    <a:lnTo>
                      <a:pt x="11411958" y="4601316"/>
                    </a:lnTo>
                    <a:lnTo>
                      <a:pt x="11398439" y="4620574"/>
                    </a:lnTo>
                    <a:lnTo>
                      <a:pt x="11379870" y="4647049"/>
                    </a:lnTo>
                    <a:lnTo>
                      <a:pt x="11374059" y="4686371"/>
                    </a:lnTo>
                    <a:lnTo>
                      <a:pt x="11356277" y="4711706"/>
                    </a:lnTo>
                    <a:lnTo>
                      <a:pt x="11309434" y="4778480"/>
                    </a:lnTo>
                    <a:lnTo>
                      <a:pt x="11060946" y="4809260"/>
                    </a:lnTo>
                    <a:lnTo>
                      <a:pt x="10979497" y="4836839"/>
                    </a:lnTo>
                    <a:lnTo>
                      <a:pt x="10949577" y="4847003"/>
                    </a:lnTo>
                    <a:lnTo>
                      <a:pt x="10917994" y="4862646"/>
                    </a:lnTo>
                    <a:lnTo>
                      <a:pt x="10889729" y="4876288"/>
                    </a:lnTo>
                    <a:lnTo>
                      <a:pt x="10865920" y="4887763"/>
                    </a:lnTo>
                    <a:lnTo>
                      <a:pt x="10840901" y="4903235"/>
                    </a:lnTo>
                    <a:lnTo>
                      <a:pt x="10817640" y="4915734"/>
                    </a:lnTo>
                    <a:lnTo>
                      <a:pt x="10763396" y="4944765"/>
                    </a:lnTo>
                    <a:lnTo>
                      <a:pt x="10587934" y="4994966"/>
                    </a:lnTo>
                    <a:lnTo>
                      <a:pt x="10531996" y="4972859"/>
                    </a:lnTo>
                    <a:lnTo>
                      <a:pt x="10474902" y="4950336"/>
                    </a:lnTo>
                    <a:lnTo>
                      <a:pt x="10409969" y="4907747"/>
                    </a:lnTo>
                    <a:lnTo>
                      <a:pt x="10371494" y="4858609"/>
                    </a:lnTo>
                    <a:lnTo>
                      <a:pt x="10355898" y="4838712"/>
                    </a:lnTo>
                    <a:lnTo>
                      <a:pt x="10345353" y="4806240"/>
                    </a:lnTo>
                    <a:lnTo>
                      <a:pt x="10325246" y="4790594"/>
                    </a:lnTo>
                    <a:lnTo>
                      <a:pt x="10299300" y="4770403"/>
                    </a:lnTo>
                    <a:lnTo>
                      <a:pt x="10258214" y="4766748"/>
                    </a:lnTo>
                    <a:lnTo>
                      <a:pt x="10228675" y="4748435"/>
                    </a:lnTo>
                    <a:lnTo>
                      <a:pt x="10143917" y="4695806"/>
                    </a:lnTo>
                    <a:lnTo>
                      <a:pt x="10049340" y="4607988"/>
                    </a:lnTo>
                    <a:lnTo>
                      <a:pt x="9975676" y="4538960"/>
                    </a:lnTo>
                    <a:lnTo>
                      <a:pt x="9914086" y="4481196"/>
                    </a:lnTo>
                    <a:lnTo>
                      <a:pt x="9854915" y="4362645"/>
                    </a:lnTo>
                    <a:lnTo>
                      <a:pt x="9808369" y="4288684"/>
                    </a:lnTo>
                    <a:lnTo>
                      <a:pt x="9794686" y="4257225"/>
                    </a:lnTo>
                    <a:lnTo>
                      <a:pt x="9753116" y="4198190"/>
                    </a:lnTo>
                    <a:lnTo>
                      <a:pt x="9715540" y="4157761"/>
                    </a:lnTo>
                    <a:lnTo>
                      <a:pt x="9683229" y="4111854"/>
                    </a:lnTo>
                    <a:lnTo>
                      <a:pt x="9645941" y="4058853"/>
                    </a:lnTo>
                    <a:lnTo>
                      <a:pt x="9608424" y="3997433"/>
                    </a:lnTo>
                    <a:lnTo>
                      <a:pt x="9581220" y="3939108"/>
                    </a:lnTo>
                    <a:lnTo>
                      <a:pt x="9556818" y="3886829"/>
                    </a:lnTo>
                    <a:lnTo>
                      <a:pt x="9480832" y="3781456"/>
                    </a:lnTo>
                    <a:lnTo>
                      <a:pt x="9446564" y="3726923"/>
                    </a:lnTo>
                    <a:lnTo>
                      <a:pt x="9422671" y="3688962"/>
                    </a:lnTo>
                    <a:lnTo>
                      <a:pt x="9388497" y="3610496"/>
                    </a:lnTo>
                    <a:lnTo>
                      <a:pt x="9362232" y="3563692"/>
                    </a:lnTo>
                    <a:lnTo>
                      <a:pt x="9336621" y="3518002"/>
                    </a:lnTo>
                    <a:lnTo>
                      <a:pt x="9293123" y="3474135"/>
                    </a:lnTo>
                    <a:lnTo>
                      <a:pt x="9261577" y="3431756"/>
                    </a:lnTo>
                    <a:lnTo>
                      <a:pt x="9228934" y="3387932"/>
                    </a:lnTo>
                    <a:lnTo>
                      <a:pt x="9184642" y="3309553"/>
                    </a:lnTo>
                    <a:lnTo>
                      <a:pt x="9155481" y="3260374"/>
                    </a:lnTo>
                    <a:lnTo>
                      <a:pt x="9136171" y="3227775"/>
                    </a:lnTo>
                    <a:lnTo>
                      <a:pt x="9107760" y="3200183"/>
                    </a:lnTo>
                    <a:lnTo>
                      <a:pt x="9087473" y="3167881"/>
                    </a:lnTo>
                    <a:lnTo>
                      <a:pt x="9064430" y="3131325"/>
                    </a:lnTo>
                    <a:lnTo>
                      <a:pt x="9036211" y="3089665"/>
                    </a:lnTo>
                    <a:lnTo>
                      <a:pt x="9018094" y="3050905"/>
                    </a:lnTo>
                    <a:lnTo>
                      <a:pt x="8998713" y="3009373"/>
                    </a:lnTo>
                    <a:lnTo>
                      <a:pt x="8988478" y="2961763"/>
                    </a:lnTo>
                    <a:lnTo>
                      <a:pt x="8969127" y="2920321"/>
                    </a:lnTo>
                    <a:lnTo>
                      <a:pt x="8957311" y="2894989"/>
                    </a:lnTo>
                    <a:lnTo>
                      <a:pt x="8940353" y="2872587"/>
                    </a:lnTo>
                    <a:lnTo>
                      <a:pt x="8928326" y="2846874"/>
                    </a:lnTo>
                    <a:lnTo>
                      <a:pt x="8918076" y="2814439"/>
                    </a:lnTo>
                    <a:lnTo>
                      <a:pt x="8880618" y="2738143"/>
                    </a:lnTo>
                    <a:lnTo>
                      <a:pt x="8825709" y="2691978"/>
                    </a:lnTo>
                    <a:lnTo>
                      <a:pt x="8797745" y="2631957"/>
                    </a:lnTo>
                    <a:lnTo>
                      <a:pt x="8785380" y="2605518"/>
                    </a:lnTo>
                    <a:lnTo>
                      <a:pt x="8775846" y="2577219"/>
                    </a:lnTo>
                    <a:lnTo>
                      <a:pt x="8766466" y="2548988"/>
                    </a:lnTo>
                    <a:lnTo>
                      <a:pt x="8682137" y="2580273"/>
                    </a:lnTo>
                    <a:lnTo>
                      <a:pt x="8700412" y="2608098"/>
                    </a:lnTo>
                    <a:lnTo>
                      <a:pt x="8716417" y="2635343"/>
                    </a:lnTo>
                    <a:lnTo>
                      <a:pt x="8731092" y="2663251"/>
                    </a:lnTo>
                    <a:lnTo>
                      <a:pt x="8744486" y="2688713"/>
                    </a:lnTo>
                    <a:lnTo>
                      <a:pt x="8736322" y="2712212"/>
                    </a:lnTo>
                    <a:lnTo>
                      <a:pt x="8740620" y="2738065"/>
                    </a:lnTo>
                    <a:lnTo>
                      <a:pt x="8755366" y="2783244"/>
                    </a:lnTo>
                    <a:lnTo>
                      <a:pt x="8762377" y="2803348"/>
                    </a:lnTo>
                    <a:lnTo>
                      <a:pt x="8771902" y="2823750"/>
                    </a:lnTo>
                    <a:lnTo>
                      <a:pt x="8784378" y="2847169"/>
                    </a:lnTo>
                    <a:lnTo>
                      <a:pt x="8801150" y="2868894"/>
                    </a:lnTo>
                    <a:lnTo>
                      <a:pt x="8814070" y="2891764"/>
                    </a:lnTo>
                    <a:lnTo>
                      <a:pt x="8828859" y="2917822"/>
                    </a:lnTo>
                    <a:lnTo>
                      <a:pt x="8833622" y="2948040"/>
                    </a:lnTo>
                    <a:lnTo>
                      <a:pt x="8849429" y="2974736"/>
                    </a:lnTo>
                    <a:lnTo>
                      <a:pt x="8863034" y="2999215"/>
                    </a:lnTo>
                    <a:lnTo>
                      <a:pt x="8888967" y="3021995"/>
                    </a:lnTo>
                    <a:lnTo>
                      <a:pt x="8921452" y="3044450"/>
                    </a:lnTo>
                    <a:lnTo>
                      <a:pt x="8939119" y="3059425"/>
                    </a:lnTo>
                    <a:lnTo>
                      <a:pt x="8958253" y="3091709"/>
                    </a:lnTo>
                    <a:lnTo>
                      <a:pt x="8974224" y="3118702"/>
                    </a:lnTo>
                    <a:lnTo>
                      <a:pt x="8990936" y="3154492"/>
                    </a:lnTo>
                    <a:lnTo>
                      <a:pt x="8996338" y="3185560"/>
                    </a:lnTo>
                    <a:lnTo>
                      <a:pt x="9000830" y="3211537"/>
                    </a:lnTo>
                    <a:lnTo>
                      <a:pt x="8992369" y="3234745"/>
                    </a:lnTo>
                    <a:lnTo>
                      <a:pt x="9005863" y="3260374"/>
                    </a:lnTo>
                    <a:lnTo>
                      <a:pt x="9030863" y="3307897"/>
                    </a:lnTo>
                    <a:lnTo>
                      <a:pt x="9117183" y="3386705"/>
                    </a:lnTo>
                    <a:lnTo>
                      <a:pt x="9156839" y="3439920"/>
                    </a:lnTo>
                    <a:lnTo>
                      <a:pt x="9187275" y="3480776"/>
                    </a:lnTo>
                    <a:lnTo>
                      <a:pt x="9223831" y="3561702"/>
                    </a:lnTo>
                    <a:lnTo>
                      <a:pt x="9252055" y="3597703"/>
                    </a:lnTo>
                    <a:lnTo>
                      <a:pt x="9383985" y="3769091"/>
                    </a:lnTo>
                    <a:lnTo>
                      <a:pt x="9404437" y="3795188"/>
                    </a:lnTo>
                    <a:lnTo>
                      <a:pt x="9417146" y="3828089"/>
                    </a:lnTo>
                    <a:lnTo>
                      <a:pt x="9437043" y="3854785"/>
                    </a:lnTo>
                    <a:lnTo>
                      <a:pt x="9487579" y="3922619"/>
                    </a:lnTo>
                    <a:lnTo>
                      <a:pt x="9526516" y="3995223"/>
                    </a:lnTo>
                    <a:lnTo>
                      <a:pt x="9571698" y="4066976"/>
                    </a:lnTo>
                    <a:lnTo>
                      <a:pt x="9591694" y="4098810"/>
                    </a:lnTo>
                    <a:lnTo>
                      <a:pt x="9621217" y="4129199"/>
                    </a:lnTo>
                    <a:lnTo>
                      <a:pt x="9643793" y="4159470"/>
                    </a:lnTo>
                    <a:lnTo>
                      <a:pt x="9674135" y="4200212"/>
                    </a:lnTo>
                    <a:lnTo>
                      <a:pt x="9692556" y="4246082"/>
                    </a:lnTo>
                    <a:lnTo>
                      <a:pt x="9711801" y="4292767"/>
                    </a:lnTo>
                    <a:lnTo>
                      <a:pt x="9731043" y="4339453"/>
                    </a:lnTo>
                    <a:lnTo>
                      <a:pt x="9750794" y="4386625"/>
                    </a:lnTo>
                    <a:lnTo>
                      <a:pt x="9781164" y="4427429"/>
                    </a:lnTo>
                    <a:lnTo>
                      <a:pt x="9804964" y="4459306"/>
                    </a:lnTo>
                    <a:lnTo>
                      <a:pt x="9826392" y="4491571"/>
                    </a:lnTo>
                    <a:lnTo>
                      <a:pt x="9858701" y="4515839"/>
                    </a:lnTo>
                    <a:lnTo>
                      <a:pt x="9886327" y="4536541"/>
                    </a:lnTo>
                    <a:lnTo>
                      <a:pt x="9924157" y="4546829"/>
                    </a:lnTo>
                    <a:lnTo>
                      <a:pt x="9943030" y="4578406"/>
                    </a:lnTo>
                    <a:lnTo>
                      <a:pt x="9962545" y="4611142"/>
                    </a:lnTo>
                    <a:lnTo>
                      <a:pt x="9984327" y="4695425"/>
                    </a:lnTo>
                    <a:lnTo>
                      <a:pt x="10004236" y="4717147"/>
                    </a:lnTo>
                    <a:lnTo>
                      <a:pt x="10028969" y="4744181"/>
                    </a:lnTo>
                    <a:lnTo>
                      <a:pt x="10059668" y="4748389"/>
                    </a:lnTo>
                    <a:lnTo>
                      <a:pt x="10092655" y="4759315"/>
                    </a:lnTo>
                    <a:lnTo>
                      <a:pt x="10114418" y="4776998"/>
                    </a:lnTo>
                    <a:lnTo>
                      <a:pt x="10138429" y="4806497"/>
                    </a:lnTo>
                    <a:lnTo>
                      <a:pt x="10145362" y="4847853"/>
                    </a:lnTo>
                    <a:lnTo>
                      <a:pt x="10170185" y="4874930"/>
                    </a:lnTo>
                    <a:lnTo>
                      <a:pt x="10187812" y="4886750"/>
                    </a:lnTo>
                    <a:lnTo>
                      <a:pt x="10225233" y="4912720"/>
                    </a:lnTo>
                    <a:lnTo>
                      <a:pt x="10260431" y="4898184"/>
                    </a:lnTo>
                    <a:lnTo>
                      <a:pt x="10289883" y="4910298"/>
                    </a:lnTo>
                    <a:lnTo>
                      <a:pt x="10305135" y="4930486"/>
                    </a:lnTo>
                    <a:lnTo>
                      <a:pt x="10331884" y="4943366"/>
                    </a:lnTo>
                    <a:lnTo>
                      <a:pt x="10356537" y="4957902"/>
                    </a:lnTo>
                    <a:lnTo>
                      <a:pt x="10381183" y="4972444"/>
                    </a:lnTo>
                    <a:lnTo>
                      <a:pt x="10403498" y="4988892"/>
                    </a:lnTo>
                    <a:lnTo>
                      <a:pt x="10410946" y="5012311"/>
                    </a:lnTo>
                    <a:lnTo>
                      <a:pt x="10418462" y="5036030"/>
                    </a:lnTo>
                    <a:lnTo>
                      <a:pt x="10410484" y="5061743"/>
                    </a:lnTo>
                    <a:lnTo>
                      <a:pt x="10400057" y="5083038"/>
                    </a:lnTo>
                    <a:lnTo>
                      <a:pt x="10388674" y="5105794"/>
                    </a:lnTo>
                    <a:lnTo>
                      <a:pt x="10373131" y="5123907"/>
                    </a:lnTo>
                    <a:lnTo>
                      <a:pt x="10355173" y="5137454"/>
                    </a:lnTo>
                    <a:lnTo>
                      <a:pt x="10337189" y="5150988"/>
                    </a:lnTo>
                    <a:lnTo>
                      <a:pt x="10315879" y="5159527"/>
                    </a:lnTo>
                    <a:lnTo>
                      <a:pt x="10293964" y="5164652"/>
                    </a:lnTo>
                    <a:lnTo>
                      <a:pt x="10272049" y="5169777"/>
                    </a:lnTo>
                    <a:lnTo>
                      <a:pt x="10249120" y="5171234"/>
                    </a:lnTo>
                    <a:lnTo>
                      <a:pt x="10225953" y="5168735"/>
                    </a:lnTo>
                    <a:lnTo>
                      <a:pt x="10202776" y="5166233"/>
                    </a:lnTo>
                    <a:lnTo>
                      <a:pt x="10179695" y="5160364"/>
                    </a:lnTo>
                    <a:lnTo>
                      <a:pt x="10157944" y="5151047"/>
                    </a:lnTo>
                    <a:lnTo>
                      <a:pt x="10138007" y="5142508"/>
                    </a:lnTo>
                    <a:lnTo>
                      <a:pt x="10114418" y="5115684"/>
                    </a:lnTo>
                    <a:lnTo>
                      <a:pt x="10094574" y="5083621"/>
                    </a:lnTo>
                    <a:lnTo>
                      <a:pt x="10077165" y="5049809"/>
                    </a:lnTo>
                    <a:lnTo>
                      <a:pt x="10054571" y="5017749"/>
                    </a:lnTo>
                    <a:lnTo>
                      <a:pt x="10023667" y="4985956"/>
                    </a:lnTo>
                    <a:lnTo>
                      <a:pt x="9998797" y="4974223"/>
                    </a:lnTo>
                    <a:lnTo>
                      <a:pt x="9958356" y="4955139"/>
                    </a:lnTo>
                    <a:lnTo>
                      <a:pt x="9914976" y="4962103"/>
                    </a:lnTo>
                    <a:lnTo>
                      <a:pt x="9873652" y="4947019"/>
                    </a:lnTo>
                    <a:lnTo>
                      <a:pt x="9838243" y="4934095"/>
                    </a:lnTo>
                    <a:lnTo>
                      <a:pt x="9811612" y="4905533"/>
                    </a:lnTo>
                    <a:lnTo>
                      <a:pt x="9778448" y="4889887"/>
                    </a:lnTo>
                    <a:lnTo>
                      <a:pt x="9737046" y="4870335"/>
                    </a:lnTo>
                    <a:lnTo>
                      <a:pt x="9688454" y="4866642"/>
                    </a:lnTo>
                    <a:lnTo>
                      <a:pt x="9639703" y="4842287"/>
                    </a:lnTo>
                    <a:lnTo>
                      <a:pt x="9580779" y="4812782"/>
                    </a:lnTo>
                    <a:lnTo>
                      <a:pt x="9538301" y="4762797"/>
                    </a:lnTo>
                    <a:lnTo>
                      <a:pt x="9484646" y="4726663"/>
                    </a:lnTo>
                    <a:lnTo>
                      <a:pt x="9454486" y="4706385"/>
                    </a:lnTo>
                    <a:lnTo>
                      <a:pt x="9428851" y="4704478"/>
                    </a:lnTo>
                    <a:lnTo>
                      <a:pt x="9407109" y="4711700"/>
                    </a:lnTo>
                    <a:lnTo>
                      <a:pt x="9385371" y="4718927"/>
                    </a:lnTo>
                    <a:lnTo>
                      <a:pt x="9366517" y="4735125"/>
                    </a:lnTo>
                    <a:lnTo>
                      <a:pt x="9348626" y="4749787"/>
                    </a:lnTo>
                    <a:lnTo>
                      <a:pt x="9330699" y="4764453"/>
                    </a:lnTo>
                    <a:lnTo>
                      <a:pt x="9314284" y="4777677"/>
                    </a:lnTo>
                    <a:lnTo>
                      <a:pt x="9276866" y="4781745"/>
                    </a:lnTo>
                    <a:lnTo>
                      <a:pt x="9255748" y="4772288"/>
                    </a:lnTo>
                    <a:lnTo>
                      <a:pt x="9231644" y="4741630"/>
                    </a:lnTo>
                    <a:lnTo>
                      <a:pt x="9211351" y="4720208"/>
                    </a:lnTo>
                    <a:lnTo>
                      <a:pt x="9198669" y="4686752"/>
                    </a:lnTo>
                    <a:lnTo>
                      <a:pt x="9174519" y="4664093"/>
                    </a:lnTo>
                    <a:lnTo>
                      <a:pt x="9131033" y="4623376"/>
                    </a:lnTo>
                    <a:lnTo>
                      <a:pt x="9076243" y="4608419"/>
                    </a:lnTo>
                    <a:lnTo>
                      <a:pt x="9039857" y="4574322"/>
                    </a:lnTo>
                    <a:lnTo>
                      <a:pt x="9020342" y="4556047"/>
                    </a:lnTo>
                    <a:lnTo>
                      <a:pt x="9003131" y="4517197"/>
                    </a:lnTo>
                    <a:lnTo>
                      <a:pt x="9004133" y="4477655"/>
                    </a:lnTo>
                    <a:lnTo>
                      <a:pt x="8995665" y="4445710"/>
                    </a:lnTo>
                    <a:lnTo>
                      <a:pt x="8982726" y="4419262"/>
                    </a:lnTo>
                    <a:lnTo>
                      <a:pt x="8969787" y="4392811"/>
                    </a:lnTo>
                    <a:lnTo>
                      <a:pt x="8952483" y="4371879"/>
                    </a:lnTo>
                    <a:lnTo>
                      <a:pt x="8935126" y="4353973"/>
                    </a:lnTo>
                    <a:lnTo>
                      <a:pt x="8917735" y="4336061"/>
                    </a:lnTo>
                    <a:lnTo>
                      <a:pt x="8899841" y="4320288"/>
                    </a:lnTo>
                    <a:lnTo>
                      <a:pt x="8875182" y="4292442"/>
                    </a:lnTo>
                    <a:lnTo>
                      <a:pt x="8869834" y="4265563"/>
                    </a:lnTo>
                    <a:lnTo>
                      <a:pt x="8885901" y="4227432"/>
                    </a:lnTo>
                    <a:lnTo>
                      <a:pt x="8914891" y="4211960"/>
                    </a:lnTo>
                    <a:lnTo>
                      <a:pt x="8949832" y="4210428"/>
                    </a:lnTo>
                    <a:lnTo>
                      <a:pt x="9002703" y="4192510"/>
                    </a:lnTo>
                    <a:lnTo>
                      <a:pt x="9044673" y="4172120"/>
                    </a:lnTo>
                    <a:lnTo>
                      <a:pt x="9080667" y="4145865"/>
                    </a:lnTo>
                    <a:lnTo>
                      <a:pt x="9116650" y="4119603"/>
                    </a:lnTo>
                    <a:lnTo>
                      <a:pt x="9146617" y="4086417"/>
                    </a:lnTo>
                    <a:lnTo>
                      <a:pt x="9160914" y="4050649"/>
                    </a:lnTo>
                    <a:lnTo>
                      <a:pt x="9172008" y="4022908"/>
                    </a:lnTo>
                    <a:lnTo>
                      <a:pt x="9165893" y="3998819"/>
                    </a:lnTo>
                    <a:lnTo>
                      <a:pt x="9155472" y="3974477"/>
                    </a:lnTo>
                    <a:lnTo>
                      <a:pt x="9145079" y="3950128"/>
                    </a:lnTo>
                    <a:lnTo>
                      <a:pt x="9130243" y="3925661"/>
                    </a:lnTo>
                    <a:lnTo>
                      <a:pt x="9122829" y="3899662"/>
                    </a:lnTo>
                    <a:lnTo>
                      <a:pt x="9122004" y="3848652"/>
                    </a:lnTo>
                    <a:lnTo>
                      <a:pt x="9125573" y="3812610"/>
                    </a:lnTo>
                    <a:lnTo>
                      <a:pt x="9129102" y="3776569"/>
                    </a:lnTo>
                    <a:lnTo>
                      <a:pt x="9131170" y="3736590"/>
                    </a:lnTo>
                    <a:lnTo>
                      <a:pt x="9121483" y="3701079"/>
                    </a:lnTo>
                    <a:lnTo>
                      <a:pt x="9105029" y="3640714"/>
                    </a:lnTo>
                    <a:lnTo>
                      <a:pt x="9076847" y="3584736"/>
                    </a:lnTo>
                    <a:lnTo>
                      <a:pt x="9039870" y="3535130"/>
                    </a:lnTo>
                    <a:lnTo>
                      <a:pt x="9021083" y="3509885"/>
                    </a:lnTo>
                    <a:lnTo>
                      <a:pt x="8988239" y="3487232"/>
                    </a:lnTo>
                    <a:lnTo>
                      <a:pt x="8973223" y="3460319"/>
                    </a:lnTo>
                    <a:lnTo>
                      <a:pt x="8960752" y="3438112"/>
                    </a:lnTo>
                    <a:lnTo>
                      <a:pt x="8963602" y="3411516"/>
                    </a:lnTo>
                    <a:lnTo>
                      <a:pt x="8965059" y="3385511"/>
                    </a:lnTo>
                    <a:lnTo>
                      <a:pt x="8966535" y="3359500"/>
                    </a:lnTo>
                    <a:lnTo>
                      <a:pt x="8967189" y="3334798"/>
                    </a:lnTo>
                    <a:lnTo>
                      <a:pt x="8950095" y="3316138"/>
                    </a:lnTo>
                    <a:lnTo>
                      <a:pt x="8922680" y="3286258"/>
                    </a:lnTo>
                    <a:lnTo>
                      <a:pt x="8875790" y="3271465"/>
                    </a:lnTo>
                    <a:lnTo>
                      <a:pt x="8845361" y="3244050"/>
                    </a:lnTo>
                    <a:lnTo>
                      <a:pt x="8817353" y="3203538"/>
                    </a:lnTo>
                    <a:lnTo>
                      <a:pt x="8776736" y="3161590"/>
                    </a:lnTo>
                    <a:lnTo>
                      <a:pt x="8775951" y="3124807"/>
                    </a:lnTo>
                    <a:lnTo>
                      <a:pt x="8770550" y="3088986"/>
                    </a:lnTo>
                    <a:lnTo>
                      <a:pt x="8763505" y="3054182"/>
                    </a:lnTo>
                    <a:lnTo>
                      <a:pt x="8747646" y="3020417"/>
                    </a:lnTo>
                    <a:lnTo>
                      <a:pt x="8735430" y="3003336"/>
                    </a:lnTo>
                    <a:lnTo>
                      <a:pt x="8716141" y="2988335"/>
                    </a:lnTo>
                    <a:lnTo>
                      <a:pt x="8684016" y="2972547"/>
                    </a:lnTo>
                    <a:lnTo>
                      <a:pt x="8650331" y="2974193"/>
                    </a:lnTo>
                    <a:lnTo>
                      <a:pt x="8615490" y="2985610"/>
                    </a:lnTo>
                    <a:lnTo>
                      <a:pt x="8582462" y="3000263"/>
                    </a:lnTo>
                    <a:lnTo>
                      <a:pt x="8550576" y="3009035"/>
                    </a:lnTo>
                    <a:lnTo>
                      <a:pt x="8521638" y="3004657"/>
                    </a:lnTo>
                    <a:lnTo>
                      <a:pt x="8488800" y="2992323"/>
                    </a:lnTo>
                    <a:lnTo>
                      <a:pt x="8470512" y="2976733"/>
                    </a:lnTo>
                    <a:lnTo>
                      <a:pt x="8447642" y="2942803"/>
                    </a:lnTo>
                    <a:lnTo>
                      <a:pt x="8433225" y="2905363"/>
                    </a:lnTo>
                    <a:lnTo>
                      <a:pt x="8410501" y="2869356"/>
                    </a:lnTo>
                    <a:lnTo>
                      <a:pt x="8384257" y="2852312"/>
                    </a:lnTo>
                    <a:lnTo>
                      <a:pt x="8358011" y="2835272"/>
                    </a:lnTo>
                    <a:lnTo>
                      <a:pt x="8318826" y="2819914"/>
                    </a:lnTo>
                    <a:lnTo>
                      <a:pt x="8256395" y="2807422"/>
                    </a:lnTo>
                    <a:lnTo>
                      <a:pt x="8271743" y="2762668"/>
                    </a:lnTo>
                    <a:lnTo>
                      <a:pt x="8304349" y="2738651"/>
                    </a:lnTo>
                    <a:lnTo>
                      <a:pt x="8332595" y="2713571"/>
                    </a:lnTo>
                    <a:lnTo>
                      <a:pt x="8360141" y="2688115"/>
                    </a:lnTo>
                    <a:lnTo>
                      <a:pt x="8378468" y="2660138"/>
                    </a:lnTo>
                    <a:lnTo>
                      <a:pt x="8382921" y="2629241"/>
                    </a:lnTo>
                    <a:lnTo>
                      <a:pt x="8359778" y="2613518"/>
                    </a:lnTo>
                    <a:lnTo>
                      <a:pt x="8339367" y="2619744"/>
                    </a:lnTo>
                    <a:lnTo>
                      <a:pt x="8320611" y="2631762"/>
                    </a:lnTo>
                    <a:lnTo>
                      <a:pt x="8295314" y="2656920"/>
                    </a:lnTo>
                    <a:lnTo>
                      <a:pt x="8279802" y="2677101"/>
                    </a:lnTo>
                    <a:lnTo>
                      <a:pt x="8226602" y="2704628"/>
                    </a:lnTo>
                    <a:lnTo>
                      <a:pt x="8192300" y="2696508"/>
                    </a:lnTo>
                    <a:lnTo>
                      <a:pt x="8159827" y="2709515"/>
                    </a:lnTo>
                    <a:lnTo>
                      <a:pt x="8133466" y="2732555"/>
                    </a:lnTo>
                    <a:lnTo>
                      <a:pt x="8092309" y="2736065"/>
                    </a:lnTo>
                    <a:lnTo>
                      <a:pt x="8066134" y="2717245"/>
                    </a:lnTo>
                    <a:lnTo>
                      <a:pt x="8036049" y="2698632"/>
                    </a:lnTo>
                    <a:lnTo>
                      <a:pt x="8005961" y="2680022"/>
                    </a:lnTo>
                    <a:lnTo>
                      <a:pt x="7971944" y="2661781"/>
                    </a:lnTo>
                    <a:lnTo>
                      <a:pt x="7935398" y="2663270"/>
                    </a:lnTo>
                    <a:lnTo>
                      <a:pt x="7902838" y="2664538"/>
                    </a:lnTo>
                    <a:lnTo>
                      <a:pt x="7873135" y="2688819"/>
                    </a:lnTo>
                    <a:lnTo>
                      <a:pt x="7841543" y="2695916"/>
                    </a:lnTo>
                    <a:lnTo>
                      <a:pt x="7826223" y="2667756"/>
                    </a:lnTo>
                    <a:lnTo>
                      <a:pt x="7860444" y="2629579"/>
                    </a:lnTo>
                    <a:lnTo>
                      <a:pt x="7897310" y="2589817"/>
                    </a:lnTo>
                    <a:lnTo>
                      <a:pt x="7934170" y="2550055"/>
                    </a:lnTo>
                    <a:lnTo>
                      <a:pt x="7972868" y="2508799"/>
                    </a:lnTo>
                    <a:lnTo>
                      <a:pt x="7985714" y="2481002"/>
                    </a:lnTo>
                    <a:lnTo>
                      <a:pt x="7998020" y="2454482"/>
                    </a:lnTo>
                    <a:lnTo>
                      <a:pt x="7991162" y="2415713"/>
                    </a:lnTo>
                    <a:lnTo>
                      <a:pt x="7974260" y="2380093"/>
                    </a:lnTo>
                    <a:lnTo>
                      <a:pt x="7968041" y="2357220"/>
                    </a:lnTo>
                    <a:lnTo>
                      <a:pt x="7958776" y="2323303"/>
                    </a:lnTo>
                    <a:lnTo>
                      <a:pt x="7962342" y="2283733"/>
                    </a:lnTo>
                    <a:lnTo>
                      <a:pt x="7947630" y="2249763"/>
                    </a:lnTo>
                    <a:lnTo>
                      <a:pt x="7927035" y="2225712"/>
                    </a:lnTo>
                    <a:lnTo>
                      <a:pt x="7895378" y="2213170"/>
                    </a:lnTo>
                    <a:lnTo>
                      <a:pt x="7868748" y="2217126"/>
                    </a:lnTo>
                    <a:lnTo>
                      <a:pt x="7846070" y="2227256"/>
                    </a:lnTo>
                    <a:lnTo>
                      <a:pt x="7816103" y="2253999"/>
                    </a:lnTo>
                    <a:lnTo>
                      <a:pt x="7798882" y="2278444"/>
                    </a:lnTo>
                    <a:lnTo>
                      <a:pt x="7777612" y="2291937"/>
                    </a:lnTo>
                    <a:lnTo>
                      <a:pt x="7758317" y="2304178"/>
                    </a:lnTo>
                    <a:lnTo>
                      <a:pt x="7737273" y="2308684"/>
                    </a:lnTo>
                    <a:lnTo>
                      <a:pt x="7717758" y="2319142"/>
                    </a:lnTo>
                    <a:lnTo>
                      <a:pt x="7693995" y="2331851"/>
                    </a:lnTo>
                    <a:lnTo>
                      <a:pt x="7672577" y="2351403"/>
                    </a:lnTo>
                    <a:lnTo>
                      <a:pt x="7648392" y="2362668"/>
                    </a:lnTo>
                    <a:lnTo>
                      <a:pt x="7619746" y="2368578"/>
                    </a:lnTo>
                    <a:lnTo>
                      <a:pt x="7600786" y="2358588"/>
                    </a:lnTo>
                    <a:lnTo>
                      <a:pt x="7598172" y="2326983"/>
                    </a:lnTo>
                    <a:lnTo>
                      <a:pt x="7606100" y="2303143"/>
                    </a:lnTo>
                    <a:lnTo>
                      <a:pt x="7621175" y="2283774"/>
                    </a:lnTo>
                    <a:lnTo>
                      <a:pt x="7636774" y="2266007"/>
                    </a:lnTo>
                    <a:lnTo>
                      <a:pt x="7656035" y="2252343"/>
                    </a:lnTo>
                    <a:lnTo>
                      <a:pt x="7666068" y="2230726"/>
                    </a:lnTo>
                    <a:lnTo>
                      <a:pt x="7676818" y="2207496"/>
                    </a:lnTo>
                    <a:lnTo>
                      <a:pt x="7676428" y="2181842"/>
                    </a:lnTo>
                    <a:lnTo>
                      <a:pt x="7674226" y="2157276"/>
                    </a:lnTo>
                    <a:lnTo>
                      <a:pt x="7672003" y="2132710"/>
                    </a:lnTo>
                    <a:lnTo>
                      <a:pt x="7668323" y="2108454"/>
                    </a:lnTo>
                    <a:lnTo>
                      <a:pt x="7675578" y="2086545"/>
                    </a:lnTo>
                    <a:lnTo>
                      <a:pt x="7726508" y="2042157"/>
                    </a:lnTo>
                    <a:lnTo>
                      <a:pt x="7776235" y="2013099"/>
                    </a:lnTo>
                    <a:lnTo>
                      <a:pt x="7825935" y="1984037"/>
                    </a:lnTo>
                    <a:lnTo>
                      <a:pt x="7879801" y="1956113"/>
                    </a:lnTo>
                    <a:lnTo>
                      <a:pt x="7912255" y="1957331"/>
                    </a:lnTo>
                    <a:lnTo>
                      <a:pt x="7923445" y="1975312"/>
                    </a:lnTo>
                    <a:lnTo>
                      <a:pt x="7931215" y="2002687"/>
                    </a:lnTo>
                    <a:lnTo>
                      <a:pt x="7951698" y="2011734"/>
                    </a:lnTo>
                    <a:lnTo>
                      <a:pt x="7970726" y="1987299"/>
                    </a:lnTo>
                    <a:lnTo>
                      <a:pt x="7978955" y="1946405"/>
                    </a:lnTo>
                    <a:lnTo>
                      <a:pt x="7980610" y="1921126"/>
                    </a:lnTo>
                    <a:lnTo>
                      <a:pt x="7978908" y="1896120"/>
                    </a:lnTo>
                    <a:lnTo>
                      <a:pt x="7975513" y="1846110"/>
                    </a:lnTo>
                    <a:lnTo>
                      <a:pt x="7961843" y="1795189"/>
                    </a:lnTo>
                    <a:lnTo>
                      <a:pt x="7943540" y="1775063"/>
                    </a:lnTo>
                    <a:lnTo>
                      <a:pt x="7902144" y="1807880"/>
                    </a:lnTo>
                    <a:lnTo>
                      <a:pt x="7897719" y="1848814"/>
                    </a:lnTo>
                    <a:lnTo>
                      <a:pt x="7870093" y="1877079"/>
                    </a:lnTo>
                    <a:lnTo>
                      <a:pt x="7852175" y="1895400"/>
                    </a:lnTo>
                    <a:lnTo>
                      <a:pt x="7800590" y="1915700"/>
                    </a:lnTo>
                    <a:lnTo>
                      <a:pt x="7746315" y="1934204"/>
                    </a:lnTo>
                    <a:lnTo>
                      <a:pt x="7692070" y="1952708"/>
                    </a:lnTo>
                    <a:lnTo>
                      <a:pt x="7635376" y="1969507"/>
                    </a:lnTo>
                    <a:lnTo>
                      <a:pt x="7606212" y="1980456"/>
                    </a:lnTo>
                    <a:lnTo>
                      <a:pt x="7582080" y="1989317"/>
                    </a:lnTo>
                    <a:lnTo>
                      <a:pt x="7551803" y="2010376"/>
                    </a:lnTo>
                    <a:lnTo>
                      <a:pt x="7529376" y="2035277"/>
                    </a:lnTo>
                    <a:lnTo>
                      <a:pt x="7506887" y="2074834"/>
                    </a:lnTo>
                    <a:lnTo>
                      <a:pt x="7498311" y="2103357"/>
                    </a:lnTo>
                    <a:lnTo>
                      <a:pt x="7472914" y="2132797"/>
                    </a:lnTo>
                    <a:lnTo>
                      <a:pt x="7437165" y="2174239"/>
                    </a:lnTo>
                    <a:lnTo>
                      <a:pt x="7340972" y="2236040"/>
                    </a:lnTo>
                    <a:lnTo>
                      <a:pt x="7321931" y="2266094"/>
                    </a:lnTo>
                    <a:lnTo>
                      <a:pt x="7304680" y="2302265"/>
                    </a:lnTo>
                    <a:lnTo>
                      <a:pt x="7266508" y="2333169"/>
                    </a:lnTo>
                    <a:lnTo>
                      <a:pt x="7235434" y="2314209"/>
                    </a:lnTo>
                    <a:lnTo>
                      <a:pt x="7206317" y="2327306"/>
                    </a:lnTo>
                    <a:lnTo>
                      <a:pt x="7184982" y="2336908"/>
                    </a:lnTo>
                    <a:lnTo>
                      <a:pt x="7165507" y="2365393"/>
                    </a:lnTo>
                    <a:lnTo>
                      <a:pt x="7150525" y="2392148"/>
                    </a:lnTo>
                    <a:lnTo>
                      <a:pt x="7105479" y="2420776"/>
                    </a:lnTo>
                    <a:lnTo>
                      <a:pt x="7069320" y="2416866"/>
                    </a:lnTo>
                    <a:lnTo>
                      <a:pt x="7034935" y="2426599"/>
                    </a:lnTo>
                    <a:lnTo>
                      <a:pt x="7013718" y="2432549"/>
                    </a:lnTo>
                    <a:lnTo>
                      <a:pt x="6996903" y="2447847"/>
                    </a:lnTo>
                    <a:lnTo>
                      <a:pt x="6976445" y="2453803"/>
                    </a:lnTo>
                    <a:lnTo>
                      <a:pt x="6951411" y="2457456"/>
                    </a:lnTo>
                    <a:lnTo>
                      <a:pt x="6932919" y="2438840"/>
                    </a:lnTo>
                    <a:lnTo>
                      <a:pt x="6939493" y="2413378"/>
                    </a:lnTo>
                    <a:lnTo>
                      <a:pt x="6965305" y="2398545"/>
                    </a:lnTo>
                    <a:lnTo>
                      <a:pt x="6980994" y="2375331"/>
                    </a:lnTo>
                    <a:lnTo>
                      <a:pt x="6999566" y="2365387"/>
                    </a:lnTo>
                    <a:lnTo>
                      <a:pt x="7042705" y="2342278"/>
                    </a:lnTo>
                    <a:lnTo>
                      <a:pt x="7067165" y="2325256"/>
                    </a:lnTo>
                    <a:lnTo>
                      <a:pt x="7095192" y="2296706"/>
                    </a:lnTo>
                    <a:lnTo>
                      <a:pt x="7098860" y="2274258"/>
                    </a:lnTo>
                    <a:lnTo>
                      <a:pt x="7095899" y="2252752"/>
                    </a:lnTo>
                    <a:lnTo>
                      <a:pt x="7099117" y="2225027"/>
                    </a:lnTo>
                    <a:lnTo>
                      <a:pt x="7123354" y="2185838"/>
                    </a:lnTo>
                    <a:lnTo>
                      <a:pt x="7156220" y="2145841"/>
                    </a:lnTo>
                    <a:lnTo>
                      <a:pt x="7203858" y="2124211"/>
                    </a:lnTo>
                    <a:lnTo>
                      <a:pt x="7230802" y="2077023"/>
                    </a:lnTo>
                    <a:lnTo>
                      <a:pt x="7241304" y="2058665"/>
                    </a:lnTo>
                    <a:lnTo>
                      <a:pt x="7238969" y="2018540"/>
                    </a:lnTo>
                    <a:lnTo>
                      <a:pt x="7238011" y="1977817"/>
                    </a:lnTo>
                    <a:lnTo>
                      <a:pt x="7249849" y="1960051"/>
                    </a:lnTo>
                    <a:lnTo>
                      <a:pt x="7276539" y="1936861"/>
                    </a:lnTo>
                    <a:lnTo>
                      <a:pt x="7315659" y="1926105"/>
                    </a:lnTo>
                    <a:lnTo>
                      <a:pt x="7338662" y="1922921"/>
                    </a:lnTo>
                    <a:lnTo>
                      <a:pt x="7361383" y="1917883"/>
                    </a:lnTo>
                    <a:lnTo>
                      <a:pt x="7384107" y="1912844"/>
                    </a:lnTo>
                    <a:lnTo>
                      <a:pt x="7406869" y="1906525"/>
                    </a:lnTo>
                    <a:lnTo>
                      <a:pt x="7426672" y="1892036"/>
                    </a:lnTo>
                    <a:lnTo>
                      <a:pt x="7446476" y="1877553"/>
                    </a:lnTo>
                    <a:lnTo>
                      <a:pt x="7463485" y="1855024"/>
                    </a:lnTo>
                    <a:lnTo>
                      <a:pt x="7474282" y="1821306"/>
                    </a:lnTo>
                    <a:lnTo>
                      <a:pt x="7480784" y="1801080"/>
                    </a:lnTo>
                    <a:lnTo>
                      <a:pt x="7475851" y="1780629"/>
                    </a:lnTo>
                    <a:lnTo>
                      <a:pt x="7494395" y="1745518"/>
                    </a:lnTo>
                    <a:lnTo>
                      <a:pt x="7513337" y="1726394"/>
                    </a:lnTo>
                    <a:lnTo>
                      <a:pt x="7523255" y="1707049"/>
                    </a:lnTo>
                    <a:lnTo>
                      <a:pt x="7546711" y="1654990"/>
                    </a:lnTo>
                    <a:lnTo>
                      <a:pt x="7554540" y="1619997"/>
                    </a:lnTo>
                    <a:lnTo>
                      <a:pt x="7560996" y="1585599"/>
                    </a:lnTo>
                    <a:lnTo>
                      <a:pt x="7558980" y="1556469"/>
                    </a:lnTo>
                    <a:lnTo>
                      <a:pt x="7545018" y="1538383"/>
                    </a:lnTo>
                    <a:lnTo>
                      <a:pt x="7514782" y="1516537"/>
                    </a:lnTo>
                    <a:lnTo>
                      <a:pt x="7474886" y="1510165"/>
                    </a:lnTo>
                    <a:lnTo>
                      <a:pt x="7448448" y="1481261"/>
                    </a:lnTo>
                    <a:lnTo>
                      <a:pt x="7419668" y="1475352"/>
                    </a:lnTo>
                    <a:lnTo>
                      <a:pt x="7391019" y="1470465"/>
                    </a:lnTo>
                    <a:lnTo>
                      <a:pt x="7364112" y="1458137"/>
                    </a:lnTo>
                    <a:lnTo>
                      <a:pt x="7320970" y="1434002"/>
                    </a:lnTo>
                    <a:lnTo>
                      <a:pt x="7293381" y="1421411"/>
                    </a:lnTo>
                    <a:lnTo>
                      <a:pt x="7265789" y="1408822"/>
                    </a:lnTo>
                    <a:lnTo>
                      <a:pt x="7239167" y="1400795"/>
                    </a:lnTo>
                    <a:lnTo>
                      <a:pt x="7226756" y="1428210"/>
                    </a:lnTo>
                    <a:lnTo>
                      <a:pt x="7245027" y="1455883"/>
                    </a:lnTo>
                    <a:lnTo>
                      <a:pt x="7275168" y="1494305"/>
                    </a:lnTo>
                    <a:lnTo>
                      <a:pt x="7308137" y="1531435"/>
                    </a:lnTo>
                    <a:lnTo>
                      <a:pt x="7327407" y="1569671"/>
                    </a:lnTo>
                    <a:lnTo>
                      <a:pt x="7337053" y="1588790"/>
                    </a:lnTo>
                    <a:lnTo>
                      <a:pt x="7342370" y="1625439"/>
                    </a:lnTo>
                    <a:lnTo>
                      <a:pt x="7334712" y="1662165"/>
                    </a:lnTo>
                    <a:lnTo>
                      <a:pt x="7316518" y="1677128"/>
                    </a:lnTo>
                    <a:lnTo>
                      <a:pt x="7270319" y="1676741"/>
                    </a:lnTo>
                    <a:lnTo>
                      <a:pt x="7249322" y="1655399"/>
                    </a:lnTo>
                    <a:lnTo>
                      <a:pt x="7218583" y="1658081"/>
                    </a:lnTo>
                    <a:lnTo>
                      <a:pt x="7182820" y="1680275"/>
                    </a:lnTo>
                    <a:lnTo>
                      <a:pt x="7168263" y="1708407"/>
                    </a:lnTo>
                    <a:lnTo>
                      <a:pt x="7153703" y="1736542"/>
                    </a:lnTo>
                    <a:lnTo>
                      <a:pt x="7139670" y="1771740"/>
                    </a:lnTo>
                    <a:lnTo>
                      <a:pt x="7126095" y="1804984"/>
                    </a:lnTo>
                    <a:lnTo>
                      <a:pt x="7112552" y="1838222"/>
                    </a:lnTo>
                    <a:lnTo>
                      <a:pt x="7099474" y="1869588"/>
                    </a:lnTo>
                    <a:lnTo>
                      <a:pt x="7082563" y="1886588"/>
                    </a:lnTo>
                    <a:lnTo>
                      <a:pt x="7064099" y="1899754"/>
                    </a:lnTo>
                    <a:lnTo>
                      <a:pt x="7033636" y="1896870"/>
                    </a:lnTo>
                    <a:lnTo>
                      <a:pt x="7007079" y="1862280"/>
                    </a:lnTo>
                    <a:lnTo>
                      <a:pt x="6984966" y="1827913"/>
                    </a:lnTo>
                    <a:lnTo>
                      <a:pt x="6969671" y="1792737"/>
                    </a:lnTo>
                    <a:lnTo>
                      <a:pt x="6956186" y="1756841"/>
                    </a:lnTo>
                    <a:lnTo>
                      <a:pt x="6950521" y="1722540"/>
                    </a:lnTo>
                    <a:lnTo>
                      <a:pt x="6956047" y="1692079"/>
                    </a:lnTo>
                    <a:lnTo>
                      <a:pt x="6965531" y="1666155"/>
                    </a:lnTo>
                    <a:lnTo>
                      <a:pt x="6998683" y="1662370"/>
                    </a:lnTo>
                    <a:lnTo>
                      <a:pt x="7013178" y="1634954"/>
                    </a:lnTo>
                    <a:lnTo>
                      <a:pt x="6999408" y="1601418"/>
                    </a:lnTo>
                    <a:lnTo>
                      <a:pt x="6972836" y="1590966"/>
                    </a:lnTo>
                    <a:lnTo>
                      <a:pt x="6945164" y="1587351"/>
                    </a:lnTo>
                    <a:lnTo>
                      <a:pt x="6895616" y="1607756"/>
                    </a:lnTo>
                    <a:lnTo>
                      <a:pt x="6870945" y="1619278"/>
                    </a:lnTo>
                    <a:lnTo>
                      <a:pt x="6848676" y="1624462"/>
                    </a:lnTo>
                    <a:lnTo>
                      <a:pt x="6821087" y="1654600"/>
                    </a:lnTo>
                    <a:lnTo>
                      <a:pt x="6814499" y="1687580"/>
                    </a:lnTo>
                    <a:lnTo>
                      <a:pt x="6809144" y="1712491"/>
                    </a:lnTo>
                    <a:lnTo>
                      <a:pt x="6802689" y="1742588"/>
                    </a:lnTo>
                    <a:lnTo>
                      <a:pt x="6795548" y="1769833"/>
                    </a:lnTo>
                    <a:lnTo>
                      <a:pt x="6795548" y="1800901"/>
                    </a:lnTo>
                    <a:lnTo>
                      <a:pt x="6795548" y="1824853"/>
                    </a:lnTo>
                    <a:lnTo>
                      <a:pt x="6801799" y="1859424"/>
                    </a:lnTo>
                    <a:lnTo>
                      <a:pt x="6805064" y="1892036"/>
                    </a:lnTo>
                    <a:lnTo>
                      <a:pt x="6808375" y="1924648"/>
                    </a:lnTo>
                    <a:lnTo>
                      <a:pt x="6809727" y="1956541"/>
                    </a:lnTo>
                    <a:lnTo>
                      <a:pt x="6799622" y="1976372"/>
                    </a:lnTo>
                    <a:lnTo>
                      <a:pt x="6777227" y="1983593"/>
                    </a:lnTo>
                    <a:lnTo>
                      <a:pt x="6756406" y="1970310"/>
                    </a:lnTo>
                    <a:lnTo>
                      <a:pt x="6747938" y="1942362"/>
                    </a:lnTo>
                    <a:lnTo>
                      <a:pt x="6747938" y="1913232"/>
                    </a:lnTo>
                    <a:lnTo>
                      <a:pt x="6755820" y="1865973"/>
                    </a:lnTo>
                    <a:lnTo>
                      <a:pt x="6765261" y="1833277"/>
                    </a:lnTo>
                    <a:lnTo>
                      <a:pt x="6760158" y="1804984"/>
                    </a:lnTo>
                    <a:lnTo>
                      <a:pt x="6720464" y="1814680"/>
                    </a:lnTo>
                    <a:lnTo>
                      <a:pt x="6704050" y="1857269"/>
                    </a:lnTo>
                    <a:lnTo>
                      <a:pt x="6690785" y="1877079"/>
                    </a:lnTo>
                    <a:lnTo>
                      <a:pt x="6664948" y="1878431"/>
                    </a:lnTo>
                    <a:lnTo>
                      <a:pt x="6673931" y="1843221"/>
                    </a:lnTo>
                    <a:lnTo>
                      <a:pt x="6680405" y="1802116"/>
                    </a:lnTo>
                    <a:lnTo>
                      <a:pt x="6669022" y="1772338"/>
                    </a:lnTo>
                    <a:lnTo>
                      <a:pt x="6643362" y="1800770"/>
                    </a:lnTo>
                    <a:lnTo>
                      <a:pt x="6630938" y="1818590"/>
                    </a:lnTo>
                    <a:lnTo>
                      <a:pt x="6618551" y="1836402"/>
                    </a:lnTo>
                    <a:lnTo>
                      <a:pt x="6604598" y="1852125"/>
                    </a:lnTo>
                    <a:lnTo>
                      <a:pt x="6576535" y="1840353"/>
                    </a:lnTo>
                    <a:lnTo>
                      <a:pt x="6587412" y="1809706"/>
                    </a:lnTo>
                    <a:lnTo>
                      <a:pt x="6621884" y="1763160"/>
                    </a:lnTo>
                    <a:lnTo>
                      <a:pt x="6629493" y="1712109"/>
                    </a:lnTo>
                    <a:lnTo>
                      <a:pt x="6635028" y="1671687"/>
                    </a:lnTo>
                    <a:lnTo>
                      <a:pt x="6654065" y="1644476"/>
                    </a:lnTo>
                    <a:lnTo>
                      <a:pt x="6696742" y="1636129"/>
                    </a:lnTo>
                    <a:lnTo>
                      <a:pt x="6723431" y="1628155"/>
                    </a:lnTo>
                    <a:lnTo>
                      <a:pt x="6742602" y="1606035"/>
                    </a:lnTo>
                    <a:lnTo>
                      <a:pt x="6752000" y="1581912"/>
                    </a:lnTo>
                    <a:lnTo>
                      <a:pt x="6772932" y="1544439"/>
                    </a:lnTo>
                    <a:lnTo>
                      <a:pt x="6780569" y="1524778"/>
                    </a:lnTo>
                    <a:lnTo>
                      <a:pt x="6786004" y="1494857"/>
                    </a:lnTo>
                    <a:lnTo>
                      <a:pt x="6779843" y="1474211"/>
                    </a:lnTo>
                    <a:lnTo>
                      <a:pt x="6745154" y="1438005"/>
                    </a:lnTo>
                    <a:lnTo>
                      <a:pt x="6706304" y="1420744"/>
                    </a:lnTo>
                    <a:lnTo>
                      <a:pt x="6670390" y="1403725"/>
                    </a:lnTo>
                    <a:lnTo>
                      <a:pt x="6634472" y="1386703"/>
                    </a:lnTo>
                    <a:lnTo>
                      <a:pt x="6601526" y="1370313"/>
                    </a:lnTo>
                    <a:lnTo>
                      <a:pt x="6584696" y="1345239"/>
                    </a:lnTo>
                    <a:lnTo>
                      <a:pt x="6596419" y="1314651"/>
                    </a:lnTo>
                    <a:lnTo>
                      <a:pt x="6625496" y="1312596"/>
                    </a:lnTo>
                    <a:lnTo>
                      <a:pt x="6655584" y="1311777"/>
                    </a:lnTo>
                    <a:lnTo>
                      <a:pt x="6671503" y="1288920"/>
                    </a:lnTo>
                    <a:lnTo>
                      <a:pt x="6656791" y="1266344"/>
                    </a:lnTo>
                    <a:lnTo>
                      <a:pt x="6639669" y="1243924"/>
                    </a:lnTo>
                    <a:lnTo>
                      <a:pt x="6622523" y="1207089"/>
                    </a:lnTo>
                    <a:lnTo>
                      <a:pt x="6606852" y="1171727"/>
                    </a:lnTo>
                    <a:lnTo>
                      <a:pt x="6586060" y="1145288"/>
                    </a:lnTo>
                    <a:lnTo>
                      <a:pt x="6564198" y="1121739"/>
                    </a:lnTo>
                    <a:lnTo>
                      <a:pt x="6537185" y="1108983"/>
                    </a:lnTo>
                    <a:lnTo>
                      <a:pt x="6504440" y="1112639"/>
                    </a:lnTo>
                    <a:lnTo>
                      <a:pt x="6484782" y="1128365"/>
                    </a:lnTo>
                    <a:lnTo>
                      <a:pt x="6479242" y="1153328"/>
                    </a:lnTo>
                    <a:lnTo>
                      <a:pt x="6475884" y="1179286"/>
                    </a:lnTo>
                    <a:lnTo>
                      <a:pt x="6472489" y="1205250"/>
                    </a:lnTo>
                    <a:lnTo>
                      <a:pt x="6471915" y="1232163"/>
                    </a:lnTo>
                    <a:lnTo>
                      <a:pt x="6460914" y="1251375"/>
                    </a:lnTo>
                    <a:lnTo>
                      <a:pt x="6440280" y="1269702"/>
                    </a:lnTo>
                    <a:lnTo>
                      <a:pt x="6410827" y="1271141"/>
                    </a:lnTo>
                    <a:lnTo>
                      <a:pt x="6377946" y="1259538"/>
                    </a:lnTo>
                    <a:lnTo>
                      <a:pt x="6344475" y="1245366"/>
                    </a:lnTo>
                    <a:lnTo>
                      <a:pt x="6312160" y="1221221"/>
                    </a:lnTo>
                    <a:lnTo>
                      <a:pt x="6293476" y="1189850"/>
                    </a:lnTo>
                    <a:lnTo>
                      <a:pt x="6293610" y="1156165"/>
                    </a:lnTo>
                    <a:lnTo>
                      <a:pt x="6300592" y="1122570"/>
                    </a:lnTo>
                    <a:lnTo>
                      <a:pt x="6311119" y="1086383"/>
                    </a:lnTo>
                    <a:lnTo>
                      <a:pt x="6318101" y="1050072"/>
                    </a:lnTo>
                    <a:lnTo>
                      <a:pt x="6318563" y="1015237"/>
                    </a:lnTo>
                    <a:lnTo>
                      <a:pt x="6296332" y="990225"/>
                    </a:lnTo>
                    <a:lnTo>
                      <a:pt x="6273462" y="998506"/>
                    </a:lnTo>
                    <a:lnTo>
                      <a:pt x="6224513" y="1113191"/>
                    </a:lnTo>
                    <a:lnTo>
                      <a:pt x="6214721" y="1134402"/>
                    </a:lnTo>
                    <a:lnTo>
                      <a:pt x="6203007" y="1159625"/>
                    </a:lnTo>
                    <a:lnTo>
                      <a:pt x="6187523" y="1188808"/>
                    </a:lnTo>
                    <a:lnTo>
                      <a:pt x="6164473" y="1214205"/>
                    </a:lnTo>
                    <a:lnTo>
                      <a:pt x="6137191" y="1226895"/>
                    </a:lnTo>
                    <a:lnTo>
                      <a:pt x="6109385" y="1222431"/>
                    </a:lnTo>
                    <a:lnTo>
                      <a:pt x="6083443" y="1203877"/>
                    </a:lnTo>
                    <a:lnTo>
                      <a:pt x="6086859" y="1175202"/>
                    </a:lnTo>
                    <a:lnTo>
                      <a:pt x="6100933" y="1145521"/>
                    </a:lnTo>
                    <a:lnTo>
                      <a:pt x="6119040" y="1117842"/>
                    </a:lnTo>
                    <a:lnTo>
                      <a:pt x="6129034" y="1092234"/>
                    </a:lnTo>
                    <a:lnTo>
                      <a:pt x="6124218" y="1066434"/>
                    </a:lnTo>
                    <a:lnTo>
                      <a:pt x="6104545" y="1054146"/>
                    </a:lnTo>
                    <a:lnTo>
                      <a:pt x="6083588" y="1053132"/>
                    </a:lnTo>
                    <a:lnTo>
                      <a:pt x="5855937" y="1018958"/>
                    </a:lnTo>
                    <a:lnTo>
                      <a:pt x="5834286" y="1007138"/>
                    </a:lnTo>
                    <a:lnTo>
                      <a:pt x="5817087" y="986476"/>
                    </a:lnTo>
                    <a:lnTo>
                      <a:pt x="5798496" y="969820"/>
                    </a:lnTo>
                    <a:lnTo>
                      <a:pt x="5779945" y="953154"/>
                    </a:lnTo>
                    <a:lnTo>
                      <a:pt x="5760219" y="939719"/>
                    </a:lnTo>
                    <a:lnTo>
                      <a:pt x="5730490" y="943973"/>
                    </a:lnTo>
                    <a:lnTo>
                      <a:pt x="5718249" y="975258"/>
                    </a:lnTo>
                    <a:lnTo>
                      <a:pt x="5731849" y="992941"/>
                    </a:lnTo>
                    <a:lnTo>
                      <a:pt x="5750511" y="1013299"/>
                    </a:lnTo>
                    <a:lnTo>
                      <a:pt x="5772953" y="1029965"/>
                    </a:lnTo>
                    <a:lnTo>
                      <a:pt x="5788980" y="1052788"/>
                    </a:lnTo>
                    <a:lnTo>
                      <a:pt x="5804861" y="1082715"/>
                    </a:lnTo>
                    <a:lnTo>
                      <a:pt x="5822553" y="1102094"/>
                    </a:lnTo>
                    <a:lnTo>
                      <a:pt x="5844753" y="1112639"/>
                    </a:lnTo>
                    <a:lnTo>
                      <a:pt x="5875446" y="1122840"/>
                    </a:lnTo>
                    <a:lnTo>
                      <a:pt x="5989985" y="1200627"/>
                    </a:lnTo>
                    <a:lnTo>
                      <a:pt x="6006610" y="1226895"/>
                    </a:lnTo>
                    <a:lnTo>
                      <a:pt x="6028178" y="1305117"/>
                    </a:lnTo>
                    <a:lnTo>
                      <a:pt x="6033815" y="1365631"/>
                    </a:lnTo>
                    <a:lnTo>
                      <a:pt x="6039455" y="1426151"/>
                    </a:lnTo>
                    <a:lnTo>
                      <a:pt x="6040701" y="1486523"/>
                    </a:lnTo>
                    <a:lnTo>
                      <a:pt x="6014954" y="1525162"/>
                    </a:lnTo>
                    <a:lnTo>
                      <a:pt x="5982763" y="1534911"/>
                    </a:lnTo>
                    <a:lnTo>
                      <a:pt x="5949472" y="1542461"/>
                    </a:lnTo>
                    <a:lnTo>
                      <a:pt x="5916175" y="1550004"/>
                    </a:lnTo>
                    <a:lnTo>
                      <a:pt x="5881356" y="1554720"/>
                    </a:lnTo>
                    <a:lnTo>
                      <a:pt x="5859698" y="1565582"/>
                    </a:lnTo>
                    <a:lnTo>
                      <a:pt x="5837340" y="1558869"/>
                    </a:lnTo>
                    <a:lnTo>
                      <a:pt x="5810504" y="1544755"/>
                    </a:lnTo>
                    <a:lnTo>
                      <a:pt x="5780295" y="1501592"/>
                    </a:lnTo>
                    <a:lnTo>
                      <a:pt x="5756321" y="1456767"/>
                    </a:lnTo>
                    <a:lnTo>
                      <a:pt x="5732357" y="1411941"/>
                    </a:lnTo>
                    <a:lnTo>
                      <a:pt x="5714076" y="1365678"/>
                    </a:lnTo>
                    <a:lnTo>
                      <a:pt x="5740000" y="1343868"/>
                    </a:lnTo>
                    <a:lnTo>
                      <a:pt x="5773443" y="1361079"/>
                    </a:lnTo>
                    <a:lnTo>
                      <a:pt x="5807190" y="1378347"/>
                    </a:lnTo>
                    <a:lnTo>
                      <a:pt x="5843373" y="1373789"/>
                    </a:lnTo>
                    <a:lnTo>
                      <a:pt x="5861186" y="1359123"/>
                    </a:lnTo>
                    <a:lnTo>
                      <a:pt x="5908876" y="1285636"/>
                    </a:lnTo>
                    <a:lnTo>
                      <a:pt x="5907298" y="1263616"/>
                    </a:lnTo>
                    <a:lnTo>
                      <a:pt x="5860483" y="1226743"/>
                    </a:lnTo>
                    <a:lnTo>
                      <a:pt x="5807044" y="1179965"/>
                    </a:lnTo>
                    <a:lnTo>
                      <a:pt x="5754957" y="1130312"/>
                    </a:lnTo>
                    <a:lnTo>
                      <a:pt x="5702917" y="1080659"/>
                    </a:lnTo>
                    <a:lnTo>
                      <a:pt x="5651897" y="1029146"/>
                    </a:lnTo>
                    <a:lnTo>
                      <a:pt x="5616225" y="997015"/>
                    </a:lnTo>
                    <a:lnTo>
                      <a:pt x="5587070" y="970787"/>
                    </a:lnTo>
                    <a:lnTo>
                      <a:pt x="5550846" y="947836"/>
                    </a:lnTo>
                    <a:lnTo>
                      <a:pt x="5526450" y="916762"/>
                    </a:lnTo>
                    <a:lnTo>
                      <a:pt x="5499568" y="882417"/>
                    </a:lnTo>
                    <a:lnTo>
                      <a:pt x="5474146" y="841964"/>
                    </a:lnTo>
                    <a:lnTo>
                      <a:pt x="5446198" y="805222"/>
                    </a:lnTo>
                    <a:lnTo>
                      <a:pt x="5418252" y="768489"/>
                    </a:lnTo>
                    <a:lnTo>
                      <a:pt x="5387411" y="735006"/>
                    </a:lnTo>
                    <a:lnTo>
                      <a:pt x="5348263" y="712728"/>
                    </a:lnTo>
                    <a:lnTo>
                      <a:pt x="5324435" y="699197"/>
                    </a:lnTo>
                    <a:lnTo>
                      <a:pt x="5254675" y="693164"/>
                    </a:lnTo>
                    <a:lnTo>
                      <a:pt x="5195918" y="703213"/>
                    </a:lnTo>
                    <a:lnTo>
                      <a:pt x="5166547" y="708239"/>
                    </a:lnTo>
                    <a:lnTo>
                      <a:pt x="5140365" y="717128"/>
                    </a:lnTo>
                    <a:lnTo>
                      <a:pt x="5123824" y="731775"/>
                    </a:lnTo>
                    <a:lnTo>
                      <a:pt x="5109868" y="747424"/>
                    </a:lnTo>
                    <a:lnTo>
                      <a:pt x="5106243" y="779608"/>
                    </a:lnTo>
                    <a:lnTo>
                      <a:pt x="5118732" y="810849"/>
                    </a:lnTo>
                    <a:lnTo>
                      <a:pt x="5149683" y="826991"/>
                    </a:lnTo>
                    <a:lnTo>
                      <a:pt x="5189820" y="834082"/>
                    </a:lnTo>
                    <a:lnTo>
                      <a:pt x="5210891" y="835152"/>
                    </a:lnTo>
                    <a:lnTo>
                      <a:pt x="5231988" y="836218"/>
                    </a:lnTo>
                    <a:lnTo>
                      <a:pt x="5269381" y="840590"/>
                    </a:lnTo>
                    <a:lnTo>
                      <a:pt x="5299980" y="849799"/>
                    </a:lnTo>
                    <a:lnTo>
                      <a:pt x="5307412" y="880451"/>
                    </a:lnTo>
                    <a:lnTo>
                      <a:pt x="5293860" y="901799"/>
                    </a:lnTo>
                    <a:lnTo>
                      <a:pt x="5271768" y="916201"/>
                    </a:lnTo>
                    <a:lnTo>
                      <a:pt x="5247974" y="928204"/>
                    </a:lnTo>
                    <a:lnTo>
                      <a:pt x="5228571" y="943967"/>
                    </a:lnTo>
                    <a:lnTo>
                      <a:pt x="5218143" y="966561"/>
                    </a:lnTo>
                    <a:lnTo>
                      <a:pt x="5241240" y="1018905"/>
                    </a:lnTo>
                    <a:lnTo>
                      <a:pt x="5281740" y="1043812"/>
                    </a:lnTo>
                    <a:lnTo>
                      <a:pt x="5292502" y="1079987"/>
                    </a:lnTo>
                    <a:lnTo>
                      <a:pt x="5287054" y="1101750"/>
                    </a:lnTo>
                    <a:lnTo>
                      <a:pt x="5263347" y="1128780"/>
                    </a:lnTo>
                    <a:lnTo>
                      <a:pt x="5224949" y="1153433"/>
                    </a:lnTo>
                    <a:lnTo>
                      <a:pt x="5203555" y="1152571"/>
                    </a:lnTo>
                    <a:lnTo>
                      <a:pt x="5185045" y="1142559"/>
                    </a:lnTo>
                    <a:lnTo>
                      <a:pt x="5166540" y="1132541"/>
                    </a:lnTo>
                    <a:lnTo>
                      <a:pt x="5150699" y="1112676"/>
                    </a:lnTo>
                    <a:lnTo>
                      <a:pt x="5137441" y="1089508"/>
                    </a:lnTo>
                    <a:lnTo>
                      <a:pt x="5110872" y="1043167"/>
                    </a:lnTo>
                    <a:lnTo>
                      <a:pt x="5093205" y="984309"/>
                    </a:lnTo>
                    <a:lnTo>
                      <a:pt x="5077594" y="964372"/>
                    </a:lnTo>
                    <a:lnTo>
                      <a:pt x="5049196" y="939759"/>
                    </a:lnTo>
                    <a:lnTo>
                      <a:pt x="5007397" y="947942"/>
                    </a:lnTo>
                    <a:lnTo>
                      <a:pt x="4995974" y="982051"/>
                    </a:lnTo>
                    <a:lnTo>
                      <a:pt x="4988793" y="1014552"/>
                    </a:lnTo>
                    <a:lnTo>
                      <a:pt x="4943013" y="1037943"/>
                    </a:lnTo>
                    <a:lnTo>
                      <a:pt x="4907564" y="1043260"/>
                    </a:lnTo>
                    <a:lnTo>
                      <a:pt x="4890734" y="1058177"/>
                    </a:lnTo>
                    <a:lnTo>
                      <a:pt x="4868121" y="1066387"/>
                    </a:lnTo>
                    <a:lnTo>
                      <a:pt x="4862764" y="1036163"/>
                    </a:lnTo>
                    <a:lnTo>
                      <a:pt x="4875600" y="1009209"/>
                    </a:lnTo>
                    <a:lnTo>
                      <a:pt x="4851797" y="965730"/>
                    </a:lnTo>
                    <a:lnTo>
                      <a:pt x="4881680" y="937828"/>
                    </a:lnTo>
                    <a:lnTo>
                      <a:pt x="4900764" y="920846"/>
                    </a:lnTo>
                    <a:lnTo>
                      <a:pt x="4919653" y="902202"/>
                    </a:lnTo>
                    <a:lnTo>
                      <a:pt x="4928121" y="874191"/>
                    </a:lnTo>
                    <a:lnTo>
                      <a:pt x="4921169" y="833791"/>
                    </a:lnTo>
                    <a:lnTo>
                      <a:pt x="4914646" y="811265"/>
                    </a:lnTo>
                    <a:lnTo>
                      <a:pt x="4885801" y="784826"/>
                    </a:lnTo>
                    <a:lnTo>
                      <a:pt x="4851164" y="763060"/>
                    </a:lnTo>
                    <a:lnTo>
                      <a:pt x="4824487" y="739961"/>
                    </a:lnTo>
                    <a:lnTo>
                      <a:pt x="4804907" y="718836"/>
                    </a:lnTo>
                    <a:lnTo>
                      <a:pt x="4789233" y="696407"/>
                    </a:lnTo>
                    <a:lnTo>
                      <a:pt x="4773557" y="673983"/>
                    </a:lnTo>
                    <a:lnTo>
                      <a:pt x="4761982" y="650078"/>
                    </a:lnTo>
                    <a:lnTo>
                      <a:pt x="4768062" y="617643"/>
                    </a:lnTo>
                    <a:lnTo>
                      <a:pt x="4795010" y="594264"/>
                    </a:lnTo>
                    <a:lnTo>
                      <a:pt x="4817371" y="558626"/>
                    </a:lnTo>
                    <a:lnTo>
                      <a:pt x="4816081" y="523239"/>
                    </a:lnTo>
                    <a:lnTo>
                      <a:pt x="4810996" y="488299"/>
                    </a:lnTo>
                    <a:lnTo>
                      <a:pt x="4805911" y="453358"/>
                    </a:lnTo>
                    <a:lnTo>
                      <a:pt x="4798175" y="417931"/>
                    </a:lnTo>
                    <a:lnTo>
                      <a:pt x="4791949" y="393089"/>
                    </a:lnTo>
                    <a:lnTo>
                      <a:pt x="4773287" y="368734"/>
                    </a:lnTo>
                    <a:lnTo>
                      <a:pt x="4729931" y="367624"/>
                    </a:lnTo>
                    <a:lnTo>
                      <a:pt x="4703539" y="353637"/>
                    </a:lnTo>
                    <a:lnTo>
                      <a:pt x="4663532" y="315215"/>
                    </a:lnTo>
                    <a:lnTo>
                      <a:pt x="4632827" y="321007"/>
                    </a:lnTo>
                    <a:lnTo>
                      <a:pt x="4627407" y="359255"/>
                    </a:lnTo>
                    <a:lnTo>
                      <a:pt x="4634917" y="418690"/>
                    </a:lnTo>
                    <a:lnTo>
                      <a:pt x="4634185" y="474706"/>
                    </a:lnTo>
                    <a:lnTo>
                      <a:pt x="4633857" y="502713"/>
                    </a:lnTo>
                    <a:lnTo>
                      <a:pt x="4631705" y="530386"/>
                    </a:lnTo>
                    <a:lnTo>
                      <a:pt x="4624663" y="553594"/>
                    </a:lnTo>
                    <a:lnTo>
                      <a:pt x="4617619" y="576808"/>
                    </a:lnTo>
                    <a:lnTo>
                      <a:pt x="4605536" y="595749"/>
                    </a:lnTo>
                    <a:lnTo>
                      <a:pt x="4586576" y="608003"/>
                    </a:lnTo>
                    <a:lnTo>
                      <a:pt x="4561588" y="608201"/>
                    </a:lnTo>
                    <a:lnTo>
                      <a:pt x="4525792" y="585645"/>
                    </a:lnTo>
                    <a:lnTo>
                      <a:pt x="4523755" y="553219"/>
                    </a:lnTo>
                    <a:lnTo>
                      <a:pt x="4500882" y="537279"/>
                    </a:lnTo>
                    <a:lnTo>
                      <a:pt x="4476660" y="520442"/>
                    </a:lnTo>
                    <a:lnTo>
                      <a:pt x="4439034" y="511386"/>
                    </a:lnTo>
                    <a:lnTo>
                      <a:pt x="4412472" y="496469"/>
                    </a:lnTo>
                    <a:lnTo>
                      <a:pt x="4391775" y="484823"/>
                    </a:lnTo>
                    <a:lnTo>
                      <a:pt x="4357557" y="450034"/>
                    </a:lnTo>
                    <a:lnTo>
                      <a:pt x="4328142" y="412139"/>
                    </a:lnTo>
                    <a:lnTo>
                      <a:pt x="4298730" y="374240"/>
                    </a:lnTo>
                    <a:lnTo>
                      <a:pt x="4274204" y="333483"/>
                    </a:lnTo>
                    <a:lnTo>
                      <a:pt x="4269653" y="310123"/>
                    </a:lnTo>
                    <a:lnTo>
                      <a:pt x="4264211" y="282029"/>
                    </a:lnTo>
                    <a:lnTo>
                      <a:pt x="4272883" y="254694"/>
                    </a:lnTo>
                    <a:lnTo>
                      <a:pt x="4281894" y="228513"/>
                    </a:lnTo>
                    <a:lnTo>
                      <a:pt x="4266936" y="199817"/>
                    </a:lnTo>
                    <a:lnTo>
                      <a:pt x="4242448" y="178318"/>
                    </a:lnTo>
                    <a:lnTo>
                      <a:pt x="4213885" y="160498"/>
                    </a:lnTo>
                    <a:lnTo>
                      <a:pt x="4187499" y="140971"/>
                    </a:lnTo>
                    <a:lnTo>
                      <a:pt x="4169535" y="117459"/>
                    </a:lnTo>
                    <a:lnTo>
                      <a:pt x="4166276" y="85694"/>
                    </a:lnTo>
                    <a:lnTo>
                      <a:pt x="4183999" y="66210"/>
                    </a:lnTo>
                    <a:lnTo>
                      <a:pt x="4157197" y="16820"/>
                    </a:lnTo>
                    <a:lnTo>
                      <a:pt x="4133633" y="1358"/>
                    </a:lnTo>
                    <a:lnTo>
                      <a:pt x="4094187" y="0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80" name="Cherkasy¬0" descr="Cherkasy¬0">
                <a:extLst>
                  <a:ext uri="{FF2B5EF4-FFF2-40B4-BE49-F238E27FC236}">
                    <a16:creationId xmlns:a16="http://schemas.microsoft.com/office/drawing/2014/main" id="{1F0EDF2B-4E03-4886-A293-83CBCD11988A}"/>
                  </a:ext>
                </a:extLst>
              </p:cNvPr>
              <p:cNvSpPr/>
              <p:nvPr/>
            </p:nvSpPr>
            <p:spPr>
              <a:xfrm>
                <a:off x="26075645" y="11184910"/>
                <a:ext cx="11443953" cy="9460175"/>
              </a:xfrm>
              <a:custGeom>
                <a:avLst/>
                <a:gdLst/>
                <a:ahLst/>
                <a:cxnLst/>
                <a:rect l="0" t="0" r="0" b="0"/>
                <a:pathLst>
                  <a:path w="11443951" h="9460179">
                    <a:moveTo>
                      <a:pt x="1697177" y="9453385"/>
                    </a:moveTo>
                    <a:lnTo>
                      <a:pt x="1763828" y="9457460"/>
                    </a:lnTo>
                    <a:lnTo>
                      <a:pt x="1829117" y="9460178"/>
                    </a:lnTo>
                    <a:lnTo>
                      <a:pt x="1860278" y="9432736"/>
                    </a:lnTo>
                    <a:lnTo>
                      <a:pt x="1880807" y="9409852"/>
                    </a:lnTo>
                    <a:lnTo>
                      <a:pt x="1901336" y="9386968"/>
                    </a:lnTo>
                    <a:lnTo>
                      <a:pt x="1920153" y="9363840"/>
                    </a:lnTo>
                    <a:lnTo>
                      <a:pt x="1955915" y="9328808"/>
                    </a:lnTo>
                    <a:lnTo>
                      <a:pt x="1982816" y="9301036"/>
                    </a:lnTo>
                    <a:lnTo>
                      <a:pt x="2009726" y="9273259"/>
                    </a:lnTo>
                    <a:lnTo>
                      <a:pt x="2041327" y="9244405"/>
                    </a:lnTo>
                    <a:lnTo>
                      <a:pt x="2069871" y="9237105"/>
                    </a:lnTo>
                    <a:lnTo>
                      <a:pt x="2102514" y="9241180"/>
                    </a:lnTo>
                    <a:lnTo>
                      <a:pt x="2135160" y="9245256"/>
                    </a:lnTo>
                    <a:lnTo>
                      <a:pt x="2159007" y="9277775"/>
                    </a:lnTo>
                    <a:lnTo>
                      <a:pt x="2169170" y="9296948"/>
                    </a:lnTo>
                    <a:lnTo>
                      <a:pt x="2179325" y="9316112"/>
                    </a:lnTo>
                    <a:lnTo>
                      <a:pt x="2204533" y="9341832"/>
                    </a:lnTo>
                    <a:lnTo>
                      <a:pt x="2227297" y="9353894"/>
                    </a:lnTo>
                    <a:lnTo>
                      <a:pt x="2261664" y="9349989"/>
                    </a:lnTo>
                    <a:lnTo>
                      <a:pt x="2292211" y="9331860"/>
                    </a:lnTo>
                    <a:lnTo>
                      <a:pt x="2327065" y="9288322"/>
                    </a:lnTo>
                    <a:lnTo>
                      <a:pt x="2342524" y="9250130"/>
                    </a:lnTo>
                    <a:lnTo>
                      <a:pt x="2364206" y="9232496"/>
                    </a:lnTo>
                    <a:lnTo>
                      <a:pt x="2388462" y="9217743"/>
                    </a:lnTo>
                    <a:lnTo>
                      <a:pt x="2414005" y="9203088"/>
                    </a:lnTo>
                    <a:lnTo>
                      <a:pt x="2439541" y="9188435"/>
                    </a:lnTo>
                    <a:lnTo>
                      <a:pt x="2466337" y="9174519"/>
                    </a:lnTo>
                    <a:lnTo>
                      <a:pt x="2489886" y="9165148"/>
                    </a:lnTo>
                    <a:lnTo>
                      <a:pt x="2517382" y="9152763"/>
                    </a:lnTo>
                    <a:lnTo>
                      <a:pt x="2543284" y="9142376"/>
                    </a:lnTo>
                    <a:lnTo>
                      <a:pt x="2579787" y="9130037"/>
                    </a:lnTo>
                    <a:lnTo>
                      <a:pt x="2621440" y="9122743"/>
                    </a:lnTo>
                    <a:lnTo>
                      <a:pt x="2661559" y="9113318"/>
                    </a:lnTo>
                    <a:lnTo>
                      <a:pt x="2701674" y="9103888"/>
                    </a:lnTo>
                    <a:lnTo>
                      <a:pt x="2740841" y="9092327"/>
                    </a:lnTo>
                    <a:lnTo>
                      <a:pt x="2760852" y="9077950"/>
                    </a:lnTo>
                    <a:lnTo>
                      <a:pt x="2777220" y="9060052"/>
                    </a:lnTo>
                    <a:lnTo>
                      <a:pt x="2790732" y="9033283"/>
                    </a:lnTo>
                    <a:lnTo>
                      <a:pt x="2797578" y="9009943"/>
                    </a:lnTo>
                    <a:lnTo>
                      <a:pt x="2802828" y="8984599"/>
                    </a:lnTo>
                    <a:lnTo>
                      <a:pt x="2803922" y="8957297"/>
                    </a:lnTo>
                    <a:lnTo>
                      <a:pt x="2805742" y="8931049"/>
                    </a:lnTo>
                    <a:lnTo>
                      <a:pt x="2807556" y="8904807"/>
                    </a:lnTo>
                    <a:lnTo>
                      <a:pt x="2810821" y="8879311"/>
                    </a:lnTo>
                    <a:lnTo>
                      <a:pt x="2820700" y="8854878"/>
                    </a:lnTo>
                    <a:lnTo>
                      <a:pt x="2843312" y="8837526"/>
                    </a:lnTo>
                    <a:lnTo>
                      <a:pt x="2879704" y="8828702"/>
                    </a:lnTo>
                    <a:lnTo>
                      <a:pt x="2900763" y="8826658"/>
                    </a:lnTo>
                    <a:lnTo>
                      <a:pt x="2922715" y="8826316"/>
                    </a:lnTo>
                    <a:lnTo>
                      <a:pt x="2966632" y="8825623"/>
                    </a:lnTo>
                    <a:lnTo>
                      <a:pt x="3012936" y="8831123"/>
                    </a:lnTo>
                    <a:lnTo>
                      <a:pt x="3035614" y="8834480"/>
                    </a:lnTo>
                    <a:lnTo>
                      <a:pt x="3064632" y="8854990"/>
                    </a:lnTo>
                    <a:lnTo>
                      <a:pt x="3075059" y="8875282"/>
                    </a:lnTo>
                    <a:lnTo>
                      <a:pt x="3085483" y="8895575"/>
                    </a:lnTo>
                    <a:lnTo>
                      <a:pt x="3095219" y="8918585"/>
                    </a:lnTo>
                    <a:lnTo>
                      <a:pt x="3141461" y="8926195"/>
                    </a:lnTo>
                    <a:lnTo>
                      <a:pt x="3175537" y="8922620"/>
                    </a:lnTo>
                    <a:lnTo>
                      <a:pt x="3209721" y="8920167"/>
                    </a:lnTo>
                    <a:lnTo>
                      <a:pt x="3243902" y="8917713"/>
                    </a:lnTo>
                    <a:lnTo>
                      <a:pt x="3277813" y="8915544"/>
                    </a:lnTo>
                    <a:lnTo>
                      <a:pt x="3311730" y="8914726"/>
                    </a:lnTo>
                    <a:lnTo>
                      <a:pt x="3346999" y="8913876"/>
                    </a:lnTo>
                    <a:lnTo>
                      <a:pt x="3373320" y="8912042"/>
                    </a:lnTo>
                    <a:lnTo>
                      <a:pt x="3413370" y="8903812"/>
                    </a:lnTo>
                    <a:lnTo>
                      <a:pt x="3435509" y="8887523"/>
                    </a:lnTo>
                    <a:lnTo>
                      <a:pt x="3449446" y="8861703"/>
                    </a:lnTo>
                    <a:lnTo>
                      <a:pt x="3454227" y="8820848"/>
                    </a:lnTo>
                    <a:lnTo>
                      <a:pt x="3454555" y="8794495"/>
                    </a:lnTo>
                    <a:lnTo>
                      <a:pt x="3454555" y="8761025"/>
                    </a:lnTo>
                    <a:lnTo>
                      <a:pt x="3457445" y="8728381"/>
                    </a:lnTo>
                    <a:lnTo>
                      <a:pt x="3459823" y="8687579"/>
                    </a:lnTo>
                    <a:lnTo>
                      <a:pt x="3455914" y="8657650"/>
                    </a:lnTo>
                    <a:lnTo>
                      <a:pt x="3444274" y="8638842"/>
                    </a:lnTo>
                    <a:lnTo>
                      <a:pt x="3411854" y="8629649"/>
                    </a:lnTo>
                    <a:lnTo>
                      <a:pt x="3381109" y="8618206"/>
                    </a:lnTo>
                    <a:lnTo>
                      <a:pt x="3350410" y="8605774"/>
                    </a:lnTo>
                    <a:lnTo>
                      <a:pt x="3327466" y="8589822"/>
                    </a:lnTo>
                    <a:lnTo>
                      <a:pt x="3317178" y="8566516"/>
                    </a:lnTo>
                    <a:lnTo>
                      <a:pt x="3324681" y="8545576"/>
                    </a:lnTo>
                    <a:lnTo>
                      <a:pt x="3353957" y="8510854"/>
                    </a:lnTo>
                    <a:lnTo>
                      <a:pt x="3381096" y="8480828"/>
                    </a:lnTo>
                    <a:lnTo>
                      <a:pt x="3408233" y="8450795"/>
                    </a:lnTo>
                    <a:lnTo>
                      <a:pt x="3437186" y="8421620"/>
                    </a:lnTo>
                    <a:lnTo>
                      <a:pt x="3467454" y="8415201"/>
                    </a:lnTo>
                    <a:lnTo>
                      <a:pt x="3490603" y="8413144"/>
                    </a:lnTo>
                    <a:lnTo>
                      <a:pt x="3515755" y="8401932"/>
                    </a:lnTo>
                    <a:lnTo>
                      <a:pt x="3527398" y="8379490"/>
                    </a:lnTo>
                    <a:lnTo>
                      <a:pt x="3546131" y="8326139"/>
                    </a:lnTo>
                    <a:lnTo>
                      <a:pt x="3555200" y="8286318"/>
                    </a:lnTo>
                    <a:lnTo>
                      <a:pt x="3564270" y="8246498"/>
                    </a:lnTo>
                    <a:lnTo>
                      <a:pt x="3573640" y="8206031"/>
                    </a:lnTo>
                    <a:lnTo>
                      <a:pt x="3575804" y="8174594"/>
                    </a:lnTo>
                    <a:lnTo>
                      <a:pt x="3572709" y="8153200"/>
                    </a:lnTo>
                    <a:lnTo>
                      <a:pt x="3566366" y="8127552"/>
                    </a:lnTo>
                    <a:lnTo>
                      <a:pt x="3547530" y="8109020"/>
                    </a:lnTo>
                    <a:lnTo>
                      <a:pt x="3538879" y="8079568"/>
                    </a:lnTo>
                    <a:lnTo>
                      <a:pt x="3546758" y="8049949"/>
                    </a:lnTo>
                    <a:lnTo>
                      <a:pt x="3580135" y="8029175"/>
                    </a:lnTo>
                    <a:lnTo>
                      <a:pt x="3615048" y="8010195"/>
                    </a:lnTo>
                    <a:lnTo>
                      <a:pt x="3649954" y="7991209"/>
                    </a:lnTo>
                    <a:lnTo>
                      <a:pt x="3686690" y="7973714"/>
                    </a:lnTo>
                    <a:lnTo>
                      <a:pt x="3718096" y="7952885"/>
                    </a:lnTo>
                    <a:lnTo>
                      <a:pt x="3730666" y="7914979"/>
                    </a:lnTo>
                    <a:lnTo>
                      <a:pt x="3748274" y="7876788"/>
                    </a:lnTo>
                    <a:lnTo>
                      <a:pt x="3775550" y="7863294"/>
                    </a:lnTo>
                    <a:lnTo>
                      <a:pt x="3812276" y="7853778"/>
                    </a:lnTo>
                    <a:lnTo>
                      <a:pt x="3832846" y="7848819"/>
                    </a:lnTo>
                    <a:lnTo>
                      <a:pt x="3870766" y="7830656"/>
                    </a:lnTo>
                    <a:lnTo>
                      <a:pt x="3889800" y="7820520"/>
                    </a:lnTo>
                    <a:lnTo>
                      <a:pt x="3909486" y="7809032"/>
                    </a:lnTo>
                    <a:lnTo>
                      <a:pt x="3929249" y="7796647"/>
                    </a:lnTo>
                    <a:lnTo>
                      <a:pt x="3951232" y="7801519"/>
                    </a:lnTo>
                    <a:lnTo>
                      <a:pt x="3972564" y="7810818"/>
                    </a:lnTo>
                    <a:lnTo>
                      <a:pt x="3994541" y="7819774"/>
                    </a:lnTo>
                    <a:lnTo>
                      <a:pt x="4022930" y="7815877"/>
                    </a:lnTo>
                    <a:lnTo>
                      <a:pt x="4055923" y="7807350"/>
                    </a:lnTo>
                    <a:lnTo>
                      <a:pt x="4093831" y="7819774"/>
                    </a:lnTo>
                    <a:lnTo>
                      <a:pt x="4113538" y="7834772"/>
                    </a:lnTo>
                    <a:lnTo>
                      <a:pt x="4133984" y="7851022"/>
                    </a:lnTo>
                    <a:lnTo>
                      <a:pt x="4155046" y="7860578"/>
                    </a:lnTo>
                    <a:lnTo>
                      <a:pt x="4179178" y="7858685"/>
                    </a:lnTo>
                    <a:lnTo>
                      <a:pt x="4204364" y="7848872"/>
                    </a:lnTo>
                    <a:lnTo>
                      <a:pt x="4221693" y="7832015"/>
                    </a:lnTo>
                    <a:lnTo>
                      <a:pt x="4243456" y="7832015"/>
                    </a:lnTo>
                    <a:lnTo>
                      <a:pt x="4254122" y="7857873"/>
                    </a:lnTo>
                    <a:lnTo>
                      <a:pt x="4270878" y="7885051"/>
                    </a:lnTo>
                    <a:lnTo>
                      <a:pt x="4291066" y="7904104"/>
                    </a:lnTo>
                    <a:lnTo>
                      <a:pt x="4340073" y="7908944"/>
                    </a:lnTo>
                    <a:lnTo>
                      <a:pt x="4376753" y="7898662"/>
                    </a:lnTo>
                    <a:lnTo>
                      <a:pt x="4413443" y="7888381"/>
                    </a:lnTo>
                    <a:lnTo>
                      <a:pt x="4450005" y="7872501"/>
                    </a:lnTo>
                    <a:lnTo>
                      <a:pt x="4466531" y="7856494"/>
                    </a:lnTo>
                    <a:lnTo>
                      <a:pt x="4499168" y="7853989"/>
                    </a:lnTo>
                    <a:lnTo>
                      <a:pt x="4529110" y="7867165"/>
                    </a:lnTo>
                    <a:lnTo>
                      <a:pt x="4553583" y="7886417"/>
                    </a:lnTo>
                    <a:lnTo>
                      <a:pt x="4575346" y="7880975"/>
                    </a:lnTo>
                    <a:lnTo>
                      <a:pt x="4612178" y="7876873"/>
                    </a:lnTo>
                    <a:lnTo>
                      <a:pt x="4635776" y="7872765"/>
                    </a:lnTo>
                    <a:lnTo>
                      <a:pt x="4656960" y="7868736"/>
                    </a:lnTo>
                    <a:lnTo>
                      <a:pt x="4678140" y="7864699"/>
                    </a:lnTo>
                    <a:lnTo>
                      <a:pt x="4719529" y="7859212"/>
                    </a:lnTo>
                    <a:lnTo>
                      <a:pt x="4740846" y="7857959"/>
                    </a:lnTo>
                    <a:lnTo>
                      <a:pt x="4771216" y="7872817"/>
                    </a:lnTo>
                    <a:lnTo>
                      <a:pt x="4799732" y="7889153"/>
                    </a:lnTo>
                    <a:lnTo>
                      <a:pt x="4831637" y="7894021"/>
                    </a:lnTo>
                    <a:lnTo>
                      <a:pt x="4860984" y="7894574"/>
                    </a:lnTo>
                    <a:lnTo>
                      <a:pt x="4890359" y="7895036"/>
                    </a:lnTo>
                    <a:lnTo>
                      <a:pt x="4935963" y="7902296"/>
                    </a:lnTo>
                    <a:lnTo>
                      <a:pt x="4965139" y="7911226"/>
                    </a:lnTo>
                    <a:lnTo>
                      <a:pt x="4992930" y="7923137"/>
                    </a:lnTo>
                    <a:lnTo>
                      <a:pt x="5020720" y="7935046"/>
                    </a:lnTo>
                    <a:lnTo>
                      <a:pt x="5048188" y="7949430"/>
                    </a:lnTo>
                    <a:lnTo>
                      <a:pt x="5075898" y="7963939"/>
                    </a:lnTo>
                    <a:lnTo>
                      <a:pt x="5099023" y="7987068"/>
                    </a:lnTo>
                    <a:lnTo>
                      <a:pt x="5119809" y="8006786"/>
                    </a:lnTo>
                    <a:lnTo>
                      <a:pt x="5145237" y="8017299"/>
                    </a:lnTo>
                    <a:lnTo>
                      <a:pt x="5173833" y="8012907"/>
                    </a:lnTo>
                    <a:lnTo>
                      <a:pt x="5200675" y="8004202"/>
                    </a:lnTo>
                    <a:lnTo>
                      <a:pt x="5233510" y="8005276"/>
                    </a:lnTo>
                    <a:lnTo>
                      <a:pt x="5263664" y="8010677"/>
                    </a:lnTo>
                    <a:lnTo>
                      <a:pt x="5292174" y="8014265"/>
                    </a:lnTo>
                    <a:lnTo>
                      <a:pt x="5320683" y="8017860"/>
                    </a:lnTo>
                    <a:lnTo>
                      <a:pt x="5348269" y="8020853"/>
                    </a:lnTo>
                    <a:lnTo>
                      <a:pt x="5396728" y="7999611"/>
                    </a:lnTo>
                    <a:lnTo>
                      <a:pt x="5427024" y="7972942"/>
                    </a:lnTo>
                    <a:lnTo>
                      <a:pt x="5458120" y="7947618"/>
                    </a:lnTo>
                    <a:lnTo>
                      <a:pt x="5489203" y="7922292"/>
                    </a:lnTo>
                    <a:lnTo>
                      <a:pt x="5520138" y="7897700"/>
                    </a:lnTo>
                    <a:lnTo>
                      <a:pt x="5558771" y="7885051"/>
                    </a:lnTo>
                    <a:lnTo>
                      <a:pt x="5593783" y="7878733"/>
                    </a:lnTo>
                    <a:lnTo>
                      <a:pt x="5627133" y="7880481"/>
                    </a:lnTo>
                    <a:lnTo>
                      <a:pt x="5660787" y="7882333"/>
                    </a:lnTo>
                    <a:lnTo>
                      <a:pt x="5682543" y="7878245"/>
                    </a:lnTo>
                    <a:lnTo>
                      <a:pt x="5707032" y="7872811"/>
                    </a:lnTo>
                    <a:lnTo>
                      <a:pt x="5730562" y="7871070"/>
                    </a:lnTo>
                    <a:lnTo>
                      <a:pt x="5752865" y="7877057"/>
                    </a:lnTo>
                    <a:lnTo>
                      <a:pt x="5775043" y="7885051"/>
                    </a:lnTo>
                    <a:lnTo>
                      <a:pt x="5797225" y="7893038"/>
                    </a:lnTo>
                    <a:lnTo>
                      <a:pt x="5818579" y="7902746"/>
                    </a:lnTo>
                    <a:lnTo>
                      <a:pt x="5840335" y="7909531"/>
                    </a:lnTo>
                    <a:lnTo>
                      <a:pt x="5870256" y="7909531"/>
                    </a:lnTo>
                    <a:lnTo>
                      <a:pt x="5898825" y="7901374"/>
                    </a:lnTo>
                    <a:lnTo>
                      <a:pt x="5945377" y="7902600"/>
                    </a:lnTo>
                    <a:lnTo>
                      <a:pt x="5970907" y="7910890"/>
                    </a:lnTo>
                    <a:lnTo>
                      <a:pt x="5996444" y="7919187"/>
                    </a:lnTo>
                    <a:lnTo>
                      <a:pt x="6021431" y="7930984"/>
                    </a:lnTo>
                    <a:lnTo>
                      <a:pt x="6044828" y="7947221"/>
                    </a:lnTo>
                    <a:lnTo>
                      <a:pt x="6060685" y="7981620"/>
                    </a:lnTo>
                    <a:lnTo>
                      <a:pt x="6074882" y="8016936"/>
                    </a:lnTo>
                    <a:lnTo>
                      <a:pt x="6085316" y="8035586"/>
                    </a:lnTo>
                    <a:lnTo>
                      <a:pt x="6108279" y="8044185"/>
                    </a:lnTo>
                    <a:lnTo>
                      <a:pt x="6124126" y="8019329"/>
                    </a:lnTo>
                    <a:lnTo>
                      <a:pt x="6130522" y="7992871"/>
                    </a:lnTo>
                    <a:lnTo>
                      <a:pt x="6142289" y="7972090"/>
                    </a:lnTo>
                    <a:lnTo>
                      <a:pt x="6164052" y="7972090"/>
                    </a:lnTo>
                    <a:lnTo>
                      <a:pt x="6185893" y="7989224"/>
                    </a:lnTo>
                    <a:lnTo>
                      <a:pt x="6212939" y="7993049"/>
                    </a:lnTo>
                    <a:lnTo>
                      <a:pt x="6240224" y="7988420"/>
                    </a:lnTo>
                    <a:lnTo>
                      <a:pt x="6262651" y="7966446"/>
                    </a:lnTo>
                    <a:lnTo>
                      <a:pt x="6287812" y="7942348"/>
                    </a:lnTo>
                    <a:lnTo>
                      <a:pt x="6315029" y="7928571"/>
                    </a:lnTo>
                    <a:lnTo>
                      <a:pt x="6342714" y="7917162"/>
                    </a:lnTo>
                    <a:lnTo>
                      <a:pt x="6371674" y="7918216"/>
                    </a:lnTo>
                    <a:lnTo>
                      <a:pt x="6402087" y="7935370"/>
                    </a:lnTo>
                    <a:lnTo>
                      <a:pt x="6445371" y="7927271"/>
                    </a:lnTo>
                    <a:lnTo>
                      <a:pt x="6471453" y="7914971"/>
                    </a:lnTo>
                    <a:lnTo>
                      <a:pt x="6497536" y="7902665"/>
                    </a:lnTo>
                    <a:lnTo>
                      <a:pt x="6524074" y="7888816"/>
                    </a:lnTo>
                    <a:lnTo>
                      <a:pt x="6548184" y="7861105"/>
                    </a:lnTo>
                    <a:lnTo>
                      <a:pt x="6555070" y="7840311"/>
                    </a:lnTo>
                    <a:lnTo>
                      <a:pt x="6562589" y="7819756"/>
                    </a:lnTo>
                    <a:lnTo>
                      <a:pt x="6570099" y="7799205"/>
                    </a:lnTo>
                    <a:lnTo>
                      <a:pt x="6577593" y="7779197"/>
                    </a:lnTo>
                    <a:lnTo>
                      <a:pt x="6584352" y="7758547"/>
                    </a:lnTo>
                    <a:lnTo>
                      <a:pt x="6593992" y="7720126"/>
                    </a:lnTo>
                    <a:lnTo>
                      <a:pt x="6599198" y="7682713"/>
                    </a:lnTo>
                    <a:lnTo>
                      <a:pt x="6606115" y="7645650"/>
                    </a:lnTo>
                    <a:lnTo>
                      <a:pt x="6615531" y="7620865"/>
                    </a:lnTo>
                    <a:lnTo>
                      <a:pt x="6627397" y="7599512"/>
                    </a:lnTo>
                    <a:lnTo>
                      <a:pt x="6645241" y="7580491"/>
                    </a:lnTo>
                    <a:lnTo>
                      <a:pt x="6663240" y="7562678"/>
                    </a:lnTo>
                    <a:lnTo>
                      <a:pt x="6681245" y="7544859"/>
                    </a:lnTo>
                    <a:lnTo>
                      <a:pt x="6699632" y="7528919"/>
                    </a:lnTo>
                    <a:lnTo>
                      <a:pt x="6725019" y="7512584"/>
                    </a:lnTo>
                    <a:lnTo>
                      <a:pt x="6752456" y="7498860"/>
                    </a:lnTo>
                    <a:lnTo>
                      <a:pt x="6775689" y="7477355"/>
                    </a:lnTo>
                    <a:lnTo>
                      <a:pt x="6785661" y="7454601"/>
                    </a:lnTo>
                    <a:lnTo>
                      <a:pt x="6792460" y="7429376"/>
                    </a:lnTo>
                    <a:lnTo>
                      <a:pt x="6799260" y="7404158"/>
                    </a:lnTo>
                    <a:lnTo>
                      <a:pt x="6802407" y="7376412"/>
                    </a:lnTo>
                    <a:lnTo>
                      <a:pt x="6804701" y="7354570"/>
                    </a:lnTo>
                    <a:lnTo>
                      <a:pt x="6809746" y="7306547"/>
                    </a:lnTo>
                    <a:lnTo>
                      <a:pt x="6794913" y="7220614"/>
                    </a:lnTo>
                    <a:lnTo>
                      <a:pt x="6791102" y="7139656"/>
                    </a:lnTo>
                    <a:lnTo>
                      <a:pt x="6789195" y="7099176"/>
                    </a:lnTo>
                    <a:lnTo>
                      <a:pt x="6790073" y="7059949"/>
                    </a:lnTo>
                    <a:lnTo>
                      <a:pt x="6797902" y="7028122"/>
                    </a:lnTo>
                    <a:lnTo>
                      <a:pt x="6805737" y="6996290"/>
                    </a:lnTo>
                    <a:lnTo>
                      <a:pt x="6819969" y="6970668"/>
                    </a:lnTo>
                    <a:lnTo>
                      <a:pt x="6845508" y="6958751"/>
                    </a:lnTo>
                    <a:lnTo>
                      <a:pt x="6879512" y="6956033"/>
                    </a:lnTo>
                    <a:lnTo>
                      <a:pt x="6898823" y="6968049"/>
                    </a:lnTo>
                    <a:lnTo>
                      <a:pt x="6919714" y="6979413"/>
                    </a:lnTo>
                    <a:lnTo>
                      <a:pt x="6942085" y="6988678"/>
                    </a:lnTo>
                    <a:lnTo>
                      <a:pt x="6964450" y="6997938"/>
                    </a:lnTo>
                    <a:lnTo>
                      <a:pt x="6987081" y="7005363"/>
                    </a:lnTo>
                    <a:lnTo>
                      <a:pt x="7008732" y="7011800"/>
                    </a:lnTo>
                    <a:lnTo>
                      <a:pt x="7042817" y="7016601"/>
                    </a:lnTo>
                    <a:lnTo>
                      <a:pt x="7078021" y="7015157"/>
                    </a:lnTo>
                    <a:lnTo>
                      <a:pt x="7112109" y="7014518"/>
                    </a:lnTo>
                    <a:lnTo>
                      <a:pt x="7137155" y="7015994"/>
                    </a:lnTo>
                    <a:lnTo>
                      <a:pt x="7164103" y="7024323"/>
                    </a:lnTo>
                    <a:lnTo>
                      <a:pt x="7189639" y="7026757"/>
                    </a:lnTo>
                    <a:lnTo>
                      <a:pt x="7215182" y="7029198"/>
                    </a:lnTo>
                    <a:lnTo>
                      <a:pt x="7240393" y="7026230"/>
                    </a:lnTo>
                    <a:lnTo>
                      <a:pt x="7263092" y="7007718"/>
                    </a:lnTo>
                    <a:lnTo>
                      <a:pt x="7276474" y="6971545"/>
                    </a:lnTo>
                    <a:lnTo>
                      <a:pt x="7276691" y="6949227"/>
                    </a:lnTo>
                    <a:lnTo>
                      <a:pt x="7276890" y="6926911"/>
                    </a:lnTo>
                    <a:lnTo>
                      <a:pt x="7275215" y="6903822"/>
                    </a:lnTo>
                    <a:lnTo>
                      <a:pt x="7291865" y="6877718"/>
                    </a:lnTo>
                    <a:lnTo>
                      <a:pt x="7318859" y="6874415"/>
                    </a:lnTo>
                    <a:lnTo>
                      <a:pt x="7345695" y="6874613"/>
                    </a:lnTo>
                    <a:lnTo>
                      <a:pt x="7374521" y="6872226"/>
                    </a:lnTo>
                    <a:lnTo>
                      <a:pt x="7403694" y="6866263"/>
                    </a:lnTo>
                    <a:lnTo>
                      <a:pt x="7438839" y="6868750"/>
                    </a:lnTo>
                    <a:lnTo>
                      <a:pt x="7479076" y="6874660"/>
                    </a:lnTo>
                    <a:lnTo>
                      <a:pt x="7503846" y="6878511"/>
                    </a:lnTo>
                    <a:lnTo>
                      <a:pt x="7529935" y="6888541"/>
                    </a:lnTo>
                    <a:lnTo>
                      <a:pt x="7556646" y="6901117"/>
                    </a:lnTo>
                    <a:lnTo>
                      <a:pt x="7584099" y="6912513"/>
                    </a:lnTo>
                    <a:lnTo>
                      <a:pt x="7615167" y="6923792"/>
                    </a:lnTo>
                    <a:lnTo>
                      <a:pt x="7648830" y="6933624"/>
                    </a:lnTo>
                    <a:lnTo>
                      <a:pt x="7682028" y="6943800"/>
                    </a:lnTo>
                    <a:lnTo>
                      <a:pt x="7715238" y="6953970"/>
                    </a:lnTo>
                    <a:lnTo>
                      <a:pt x="7747441" y="6964126"/>
                    </a:lnTo>
                    <a:lnTo>
                      <a:pt x="7777244" y="6977804"/>
                    </a:lnTo>
                    <a:lnTo>
                      <a:pt x="7833011" y="7015888"/>
                    </a:lnTo>
                    <a:lnTo>
                      <a:pt x="7888778" y="7052616"/>
                    </a:lnTo>
                    <a:lnTo>
                      <a:pt x="7916054" y="7082563"/>
                    </a:lnTo>
                    <a:lnTo>
                      <a:pt x="7925504" y="7101576"/>
                    </a:lnTo>
                    <a:lnTo>
                      <a:pt x="7934955" y="7120597"/>
                    </a:lnTo>
                    <a:lnTo>
                      <a:pt x="7941661" y="7142333"/>
                    </a:lnTo>
                    <a:lnTo>
                      <a:pt x="7947267" y="7164149"/>
                    </a:lnTo>
                    <a:lnTo>
                      <a:pt x="7958485" y="7207774"/>
                    </a:lnTo>
                    <a:lnTo>
                      <a:pt x="7963682" y="7253424"/>
                    </a:lnTo>
                    <a:lnTo>
                      <a:pt x="7970388" y="7289287"/>
                    </a:lnTo>
                    <a:lnTo>
                      <a:pt x="7982412" y="7312673"/>
                    </a:lnTo>
                    <a:lnTo>
                      <a:pt x="8004622" y="7331192"/>
                    </a:lnTo>
                    <a:lnTo>
                      <a:pt x="8028878" y="7340979"/>
                    </a:lnTo>
                    <a:lnTo>
                      <a:pt x="8061868" y="7334218"/>
                    </a:lnTo>
                    <a:lnTo>
                      <a:pt x="8084651" y="7304251"/>
                    </a:lnTo>
                    <a:lnTo>
                      <a:pt x="8100954" y="7266957"/>
                    </a:lnTo>
                    <a:lnTo>
                      <a:pt x="8118655" y="7245761"/>
                    </a:lnTo>
                    <a:lnTo>
                      <a:pt x="8136443" y="7234253"/>
                    </a:lnTo>
                    <a:lnTo>
                      <a:pt x="8165645" y="7210721"/>
                    </a:lnTo>
                    <a:lnTo>
                      <a:pt x="8186670" y="7176389"/>
                    </a:lnTo>
                    <a:lnTo>
                      <a:pt x="8203915" y="7138983"/>
                    </a:lnTo>
                    <a:lnTo>
                      <a:pt x="8213865" y="7115182"/>
                    </a:lnTo>
                    <a:lnTo>
                      <a:pt x="8237002" y="7090510"/>
                    </a:lnTo>
                    <a:lnTo>
                      <a:pt x="8260116" y="7085255"/>
                    </a:lnTo>
                    <a:lnTo>
                      <a:pt x="8283231" y="7080012"/>
                    </a:lnTo>
                    <a:lnTo>
                      <a:pt x="8312144" y="7078678"/>
                    </a:lnTo>
                    <a:lnTo>
                      <a:pt x="8343088" y="7073014"/>
                    </a:lnTo>
                    <a:lnTo>
                      <a:pt x="8374029" y="7067355"/>
                    </a:lnTo>
                    <a:lnTo>
                      <a:pt x="8407862" y="7058202"/>
                    </a:lnTo>
                    <a:lnTo>
                      <a:pt x="8438304" y="7040369"/>
                    </a:lnTo>
                    <a:lnTo>
                      <a:pt x="8468739" y="7022536"/>
                    </a:lnTo>
                    <a:lnTo>
                      <a:pt x="8496958" y="6995088"/>
                    </a:lnTo>
                    <a:lnTo>
                      <a:pt x="8518550" y="6953317"/>
                    </a:lnTo>
                    <a:lnTo>
                      <a:pt x="8560718" y="6964205"/>
                    </a:lnTo>
                    <a:lnTo>
                      <a:pt x="8586577" y="6976444"/>
                    </a:lnTo>
                    <a:lnTo>
                      <a:pt x="8594682" y="6996796"/>
                    </a:lnTo>
                    <a:lnTo>
                      <a:pt x="8582494" y="7019972"/>
                    </a:lnTo>
                    <a:lnTo>
                      <a:pt x="8599801" y="7050505"/>
                    </a:lnTo>
                    <a:lnTo>
                      <a:pt x="8627381" y="7049892"/>
                    </a:lnTo>
                    <a:lnTo>
                      <a:pt x="8655407" y="7037988"/>
                    </a:lnTo>
                    <a:lnTo>
                      <a:pt x="8683681" y="7018270"/>
                    </a:lnTo>
                    <a:lnTo>
                      <a:pt x="8711711" y="7000925"/>
                    </a:lnTo>
                    <a:lnTo>
                      <a:pt x="8736946" y="6991349"/>
                    </a:lnTo>
                    <a:lnTo>
                      <a:pt x="8754254" y="7011306"/>
                    </a:lnTo>
                    <a:lnTo>
                      <a:pt x="8756554" y="7032185"/>
                    </a:lnTo>
                    <a:lnTo>
                      <a:pt x="8767065" y="7056903"/>
                    </a:lnTo>
                    <a:lnTo>
                      <a:pt x="8789653" y="7067369"/>
                    </a:lnTo>
                    <a:lnTo>
                      <a:pt x="8817800" y="7071662"/>
                    </a:lnTo>
                    <a:lnTo>
                      <a:pt x="8846890" y="7073066"/>
                    </a:lnTo>
                    <a:lnTo>
                      <a:pt x="8878376" y="7065523"/>
                    </a:lnTo>
                    <a:lnTo>
                      <a:pt x="8906706" y="7044266"/>
                    </a:lnTo>
                    <a:lnTo>
                      <a:pt x="8921130" y="7001861"/>
                    </a:lnTo>
                    <a:lnTo>
                      <a:pt x="8933424" y="6957405"/>
                    </a:lnTo>
                    <a:lnTo>
                      <a:pt x="8945709" y="6912949"/>
                    </a:lnTo>
                    <a:lnTo>
                      <a:pt x="8955569" y="6867015"/>
                    </a:lnTo>
                    <a:lnTo>
                      <a:pt x="8951928" y="6840352"/>
                    </a:lnTo>
                    <a:lnTo>
                      <a:pt x="8925257" y="6817304"/>
                    </a:lnTo>
                    <a:lnTo>
                      <a:pt x="8901479" y="6794894"/>
                    </a:lnTo>
                    <a:lnTo>
                      <a:pt x="8927983" y="6723450"/>
                    </a:lnTo>
                    <a:lnTo>
                      <a:pt x="8956545" y="6658161"/>
                    </a:lnTo>
                    <a:lnTo>
                      <a:pt x="8989104" y="6655622"/>
                    </a:lnTo>
                    <a:lnTo>
                      <a:pt x="9012191" y="6649556"/>
                    </a:lnTo>
                    <a:lnTo>
                      <a:pt x="9034075" y="6639116"/>
                    </a:lnTo>
                    <a:lnTo>
                      <a:pt x="9055962" y="6628683"/>
                    </a:lnTo>
                    <a:lnTo>
                      <a:pt x="9075623" y="6613969"/>
                    </a:lnTo>
                    <a:lnTo>
                      <a:pt x="9103445" y="6596954"/>
                    </a:lnTo>
                    <a:lnTo>
                      <a:pt x="9122960" y="6572263"/>
                    </a:lnTo>
                    <a:lnTo>
                      <a:pt x="9133375" y="6550704"/>
                    </a:lnTo>
                    <a:lnTo>
                      <a:pt x="9143786" y="6529146"/>
                    </a:lnTo>
                    <a:lnTo>
                      <a:pt x="9152716" y="6505997"/>
                    </a:lnTo>
                    <a:lnTo>
                      <a:pt x="9169230" y="6483232"/>
                    </a:lnTo>
                    <a:lnTo>
                      <a:pt x="9188295" y="6460724"/>
                    </a:lnTo>
                    <a:lnTo>
                      <a:pt x="9205271" y="6433302"/>
                    </a:lnTo>
                    <a:lnTo>
                      <a:pt x="9214796" y="6411327"/>
                    </a:lnTo>
                    <a:lnTo>
                      <a:pt x="9224501" y="6390198"/>
                    </a:lnTo>
                    <a:lnTo>
                      <a:pt x="9234209" y="6369067"/>
                    </a:lnTo>
                    <a:lnTo>
                      <a:pt x="9243839" y="6348518"/>
                    </a:lnTo>
                    <a:lnTo>
                      <a:pt x="9258511" y="6330349"/>
                    </a:lnTo>
                    <a:lnTo>
                      <a:pt x="9270805" y="6313268"/>
                    </a:lnTo>
                    <a:lnTo>
                      <a:pt x="9289793" y="6292269"/>
                    </a:lnTo>
                    <a:lnTo>
                      <a:pt x="9331226" y="6303718"/>
                    </a:lnTo>
                    <a:lnTo>
                      <a:pt x="9355082" y="6315392"/>
                    </a:lnTo>
                    <a:lnTo>
                      <a:pt x="9378941" y="6327071"/>
                    </a:lnTo>
                    <a:lnTo>
                      <a:pt x="9404180" y="6338731"/>
                    </a:lnTo>
                    <a:lnTo>
                      <a:pt x="9428529" y="6339878"/>
                    </a:lnTo>
                    <a:lnTo>
                      <a:pt x="9448314" y="6327592"/>
                    </a:lnTo>
                    <a:lnTo>
                      <a:pt x="9453786" y="6297342"/>
                    </a:lnTo>
                    <a:lnTo>
                      <a:pt x="9444100" y="6268159"/>
                    </a:lnTo>
                    <a:lnTo>
                      <a:pt x="9435335" y="6247385"/>
                    </a:lnTo>
                    <a:lnTo>
                      <a:pt x="9446605" y="6216777"/>
                    </a:lnTo>
                    <a:lnTo>
                      <a:pt x="9461181" y="6201141"/>
                    </a:lnTo>
                    <a:lnTo>
                      <a:pt x="9475748" y="6185491"/>
                    </a:lnTo>
                    <a:lnTo>
                      <a:pt x="9490488" y="6169690"/>
                    </a:lnTo>
                    <a:lnTo>
                      <a:pt x="9531905" y="6169855"/>
                    </a:lnTo>
                    <a:lnTo>
                      <a:pt x="9568632" y="6133134"/>
                    </a:lnTo>
                    <a:lnTo>
                      <a:pt x="9590395" y="6101848"/>
                    </a:lnTo>
                    <a:lnTo>
                      <a:pt x="9621680" y="6108654"/>
                    </a:lnTo>
                    <a:lnTo>
                      <a:pt x="9640727" y="6118177"/>
                    </a:lnTo>
                    <a:lnTo>
                      <a:pt x="9648013" y="6148230"/>
                    </a:lnTo>
                    <a:lnTo>
                      <a:pt x="9641598" y="6186058"/>
                    </a:lnTo>
                    <a:lnTo>
                      <a:pt x="9638001" y="6218828"/>
                    </a:lnTo>
                    <a:lnTo>
                      <a:pt x="9660893" y="6230020"/>
                    </a:lnTo>
                    <a:lnTo>
                      <a:pt x="9683112" y="6243013"/>
                    </a:lnTo>
                    <a:lnTo>
                      <a:pt x="9703287" y="6256915"/>
                    </a:lnTo>
                    <a:lnTo>
                      <a:pt x="9704500" y="6278057"/>
                    </a:lnTo>
                    <a:lnTo>
                      <a:pt x="9701334" y="6307670"/>
                    </a:lnTo>
                    <a:lnTo>
                      <a:pt x="9712828" y="6332625"/>
                    </a:lnTo>
                    <a:lnTo>
                      <a:pt x="9745762" y="6345128"/>
                    </a:lnTo>
                    <a:lnTo>
                      <a:pt x="9780814" y="6354848"/>
                    </a:lnTo>
                    <a:lnTo>
                      <a:pt x="9815866" y="6364576"/>
                    </a:lnTo>
                    <a:lnTo>
                      <a:pt x="9852779" y="6371785"/>
                    </a:lnTo>
                    <a:lnTo>
                      <a:pt x="9902301" y="6363672"/>
                    </a:lnTo>
                    <a:lnTo>
                      <a:pt x="9922065" y="6343460"/>
                    </a:lnTo>
                    <a:lnTo>
                      <a:pt x="9939964" y="6322204"/>
                    </a:lnTo>
                    <a:lnTo>
                      <a:pt x="9957861" y="6300955"/>
                    </a:lnTo>
                    <a:lnTo>
                      <a:pt x="9973438" y="6278071"/>
                    </a:lnTo>
                    <a:lnTo>
                      <a:pt x="9999812" y="6262354"/>
                    </a:lnTo>
                    <a:lnTo>
                      <a:pt x="10023364" y="6273929"/>
                    </a:lnTo>
                    <a:lnTo>
                      <a:pt x="10035174" y="6292283"/>
                    </a:lnTo>
                    <a:lnTo>
                      <a:pt x="10035636" y="6326056"/>
                    </a:lnTo>
                    <a:lnTo>
                      <a:pt x="10033019" y="6355462"/>
                    </a:lnTo>
                    <a:lnTo>
                      <a:pt x="10031090" y="6384776"/>
                    </a:lnTo>
                    <a:lnTo>
                      <a:pt x="10029187" y="6414091"/>
                    </a:lnTo>
                    <a:lnTo>
                      <a:pt x="10028297" y="6444052"/>
                    </a:lnTo>
                    <a:lnTo>
                      <a:pt x="10031090" y="6469106"/>
                    </a:lnTo>
                    <a:lnTo>
                      <a:pt x="10068992" y="6539367"/>
                    </a:lnTo>
                    <a:lnTo>
                      <a:pt x="10108621" y="6591527"/>
                    </a:lnTo>
                    <a:lnTo>
                      <a:pt x="10148258" y="6643679"/>
                    </a:lnTo>
                    <a:lnTo>
                      <a:pt x="10191995" y="6696069"/>
                    </a:lnTo>
                    <a:lnTo>
                      <a:pt x="10206556" y="6719382"/>
                    </a:lnTo>
                    <a:lnTo>
                      <a:pt x="10223181" y="6745999"/>
                    </a:lnTo>
                    <a:lnTo>
                      <a:pt x="10229782" y="6787468"/>
                    </a:lnTo>
                    <a:lnTo>
                      <a:pt x="10233760" y="6829563"/>
                    </a:lnTo>
                    <a:lnTo>
                      <a:pt x="10237735" y="6871652"/>
                    </a:lnTo>
                    <a:lnTo>
                      <a:pt x="10238886" y="6915369"/>
                    </a:lnTo>
                    <a:lnTo>
                      <a:pt x="10243282" y="6945178"/>
                    </a:lnTo>
                    <a:lnTo>
                      <a:pt x="10267764" y="6964225"/>
                    </a:lnTo>
                    <a:lnTo>
                      <a:pt x="10294876" y="6967133"/>
                    </a:lnTo>
                    <a:lnTo>
                      <a:pt x="10330421" y="6969468"/>
                    </a:lnTo>
                    <a:lnTo>
                      <a:pt x="10356174" y="6966941"/>
                    </a:lnTo>
                    <a:lnTo>
                      <a:pt x="10372853" y="6947705"/>
                    </a:lnTo>
                    <a:lnTo>
                      <a:pt x="10377593" y="6918159"/>
                    </a:lnTo>
                    <a:lnTo>
                      <a:pt x="10376579" y="6883965"/>
                    </a:lnTo>
                    <a:lnTo>
                      <a:pt x="10374449" y="6849506"/>
                    </a:lnTo>
                    <a:lnTo>
                      <a:pt x="10378710" y="6820496"/>
                    </a:lnTo>
                    <a:lnTo>
                      <a:pt x="10394265" y="6802353"/>
                    </a:lnTo>
                    <a:lnTo>
                      <a:pt x="10413966" y="6790897"/>
                    </a:lnTo>
                    <a:lnTo>
                      <a:pt x="10448668" y="6799635"/>
                    </a:lnTo>
                    <a:lnTo>
                      <a:pt x="10481491" y="6821544"/>
                    </a:lnTo>
                    <a:lnTo>
                      <a:pt x="10498994" y="6836363"/>
                    </a:lnTo>
                    <a:lnTo>
                      <a:pt x="10516503" y="6851174"/>
                    </a:lnTo>
                    <a:lnTo>
                      <a:pt x="10535584" y="6866125"/>
                    </a:lnTo>
                    <a:lnTo>
                      <a:pt x="10557483" y="6875807"/>
                    </a:lnTo>
                    <a:lnTo>
                      <a:pt x="10579392" y="6885489"/>
                    </a:lnTo>
                    <a:lnTo>
                      <a:pt x="10603694" y="6890250"/>
                    </a:lnTo>
                    <a:lnTo>
                      <a:pt x="10633655" y="6882607"/>
                    </a:lnTo>
                    <a:lnTo>
                      <a:pt x="10661288" y="6875562"/>
                    </a:lnTo>
                    <a:lnTo>
                      <a:pt x="10681476" y="6846756"/>
                    </a:lnTo>
                    <a:lnTo>
                      <a:pt x="10701670" y="6829563"/>
                    </a:lnTo>
                    <a:lnTo>
                      <a:pt x="10729935" y="6805439"/>
                    </a:lnTo>
                    <a:lnTo>
                      <a:pt x="10766642" y="6774147"/>
                    </a:lnTo>
                    <a:lnTo>
                      <a:pt x="10781922" y="6738428"/>
                    </a:lnTo>
                    <a:lnTo>
                      <a:pt x="10800309" y="6695437"/>
                    </a:lnTo>
                    <a:lnTo>
                      <a:pt x="10804113" y="6664736"/>
                    </a:lnTo>
                    <a:lnTo>
                      <a:pt x="10823873" y="6642651"/>
                    </a:lnTo>
                    <a:lnTo>
                      <a:pt x="10847211" y="6640494"/>
                    </a:lnTo>
                    <a:lnTo>
                      <a:pt x="10880146" y="6648889"/>
                    </a:lnTo>
                    <a:lnTo>
                      <a:pt x="10907052" y="6660899"/>
                    </a:lnTo>
                    <a:lnTo>
                      <a:pt x="10943531" y="6677162"/>
                    </a:lnTo>
                    <a:lnTo>
                      <a:pt x="10973582" y="6702129"/>
                    </a:lnTo>
                    <a:lnTo>
                      <a:pt x="11006352" y="6724822"/>
                    </a:lnTo>
                    <a:lnTo>
                      <a:pt x="11027563" y="6740618"/>
                    </a:lnTo>
                    <a:lnTo>
                      <a:pt x="11045798" y="6762908"/>
                    </a:lnTo>
                    <a:lnTo>
                      <a:pt x="11068116" y="6778532"/>
                    </a:lnTo>
                    <a:lnTo>
                      <a:pt x="11104498" y="6790581"/>
                    </a:lnTo>
                    <a:lnTo>
                      <a:pt x="11157549" y="6803230"/>
                    </a:lnTo>
                    <a:lnTo>
                      <a:pt x="11184539" y="6791477"/>
                    </a:lnTo>
                    <a:lnTo>
                      <a:pt x="11223985" y="6696260"/>
                    </a:lnTo>
                    <a:lnTo>
                      <a:pt x="11301475" y="6655148"/>
                    </a:lnTo>
                    <a:lnTo>
                      <a:pt x="11332800" y="6643210"/>
                    </a:lnTo>
                    <a:lnTo>
                      <a:pt x="11336499" y="6592378"/>
                    </a:lnTo>
                    <a:lnTo>
                      <a:pt x="11360473" y="6567765"/>
                    </a:lnTo>
                    <a:lnTo>
                      <a:pt x="11403952" y="6560412"/>
                    </a:lnTo>
                    <a:lnTo>
                      <a:pt x="11435662" y="6553844"/>
                    </a:lnTo>
                    <a:lnTo>
                      <a:pt x="11443950" y="6479775"/>
                    </a:lnTo>
                    <a:lnTo>
                      <a:pt x="11347770" y="6448694"/>
                    </a:lnTo>
                    <a:lnTo>
                      <a:pt x="11316572" y="6382561"/>
                    </a:lnTo>
                    <a:lnTo>
                      <a:pt x="11293364" y="6320839"/>
                    </a:lnTo>
                    <a:lnTo>
                      <a:pt x="11270162" y="6259117"/>
                    </a:lnTo>
                    <a:lnTo>
                      <a:pt x="11247956" y="6196921"/>
                    </a:lnTo>
                    <a:lnTo>
                      <a:pt x="11240902" y="6171194"/>
                    </a:lnTo>
                    <a:lnTo>
                      <a:pt x="11240359" y="6148732"/>
                    </a:lnTo>
                    <a:lnTo>
                      <a:pt x="11236831" y="6125313"/>
                    </a:lnTo>
                    <a:lnTo>
                      <a:pt x="11238697" y="6101485"/>
                    </a:lnTo>
                    <a:lnTo>
                      <a:pt x="11239615" y="6077724"/>
                    </a:lnTo>
                    <a:lnTo>
                      <a:pt x="11241671" y="6041993"/>
                    </a:lnTo>
                    <a:lnTo>
                      <a:pt x="11243289" y="6007621"/>
                    </a:lnTo>
                    <a:lnTo>
                      <a:pt x="11242502" y="5951511"/>
                    </a:lnTo>
                    <a:lnTo>
                      <a:pt x="11231997" y="5892514"/>
                    </a:lnTo>
                    <a:lnTo>
                      <a:pt x="11215827" y="5836608"/>
                    </a:lnTo>
                    <a:lnTo>
                      <a:pt x="11199655" y="5780703"/>
                    </a:lnTo>
                    <a:lnTo>
                      <a:pt x="11176614" y="5727384"/>
                    </a:lnTo>
                    <a:lnTo>
                      <a:pt x="11153255" y="5699229"/>
                    </a:lnTo>
                    <a:lnTo>
                      <a:pt x="11129830" y="5674189"/>
                    </a:lnTo>
                    <a:lnTo>
                      <a:pt x="11100507" y="5650810"/>
                    </a:lnTo>
                    <a:lnTo>
                      <a:pt x="11071650" y="5631216"/>
                    </a:lnTo>
                    <a:lnTo>
                      <a:pt x="11072366" y="5602607"/>
                    </a:lnTo>
                    <a:lnTo>
                      <a:pt x="11087370" y="5578720"/>
                    </a:lnTo>
                    <a:lnTo>
                      <a:pt x="11115207" y="5512410"/>
                    </a:lnTo>
                    <a:lnTo>
                      <a:pt x="11128298" y="5434095"/>
                    </a:lnTo>
                    <a:lnTo>
                      <a:pt x="11154613" y="5371417"/>
                    </a:lnTo>
                    <a:lnTo>
                      <a:pt x="11166854" y="5353736"/>
                    </a:lnTo>
                    <a:lnTo>
                      <a:pt x="11175405" y="5332045"/>
                    </a:lnTo>
                    <a:lnTo>
                      <a:pt x="11183333" y="5304512"/>
                    </a:lnTo>
                    <a:lnTo>
                      <a:pt x="11189975" y="5277565"/>
                    </a:lnTo>
                    <a:lnTo>
                      <a:pt x="11196622" y="5250618"/>
                    </a:lnTo>
                    <a:lnTo>
                      <a:pt x="11201431" y="5224581"/>
                    </a:lnTo>
                    <a:lnTo>
                      <a:pt x="11204938" y="5201393"/>
                    </a:lnTo>
                    <a:lnTo>
                      <a:pt x="11219018" y="5145119"/>
                    </a:lnTo>
                    <a:lnTo>
                      <a:pt x="11228100" y="5080126"/>
                    </a:lnTo>
                    <a:lnTo>
                      <a:pt x="11230065" y="5028805"/>
                    </a:lnTo>
                    <a:lnTo>
                      <a:pt x="11228059" y="4981045"/>
                    </a:lnTo>
                    <a:lnTo>
                      <a:pt x="11226056" y="4933277"/>
                    </a:lnTo>
                    <a:lnTo>
                      <a:pt x="11219223" y="4889237"/>
                    </a:lnTo>
                    <a:lnTo>
                      <a:pt x="11209022" y="4846384"/>
                    </a:lnTo>
                    <a:lnTo>
                      <a:pt x="11188617" y="4760663"/>
                    </a:lnTo>
                    <a:lnTo>
                      <a:pt x="11153636" y="4679367"/>
                    </a:lnTo>
                    <a:lnTo>
                      <a:pt x="11112445" y="4577060"/>
                    </a:lnTo>
                    <a:lnTo>
                      <a:pt x="11091559" y="4525192"/>
                    </a:lnTo>
                    <a:lnTo>
                      <a:pt x="11077929" y="4460615"/>
                    </a:lnTo>
                    <a:lnTo>
                      <a:pt x="11044439" y="4415202"/>
                    </a:lnTo>
                    <a:lnTo>
                      <a:pt x="10978719" y="4326085"/>
                    </a:lnTo>
                    <a:lnTo>
                      <a:pt x="10912885" y="4244789"/>
                    </a:lnTo>
                    <a:lnTo>
                      <a:pt x="10839047" y="4162202"/>
                    </a:lnTo>
                    <a:lnTo>
                      <a:pt x="10820679" y="4141651"/>
                    </a:lnTo>
                    <a:lnTo>
                      <a:pt x="10798876" y="4092282"/>
                    </a:lnTo>
                    <a:lnTo>
                      <a:pt x="10799602" y="4064267"/>
                    </a:lnTo>
                    <a:lnTo>
                      <a:pt x="10833950" y="3984568"/>
                    </a:lnTo>
                    <a:lnTo>
                      <a:pt x="10895032" y="3913521"/>
                    </a:lnTo>
                    <a:lnTo>
                      <a:pt x="10939699" y="3838471"/>
                    </a:lnTo>
                    <a:lnTo>
                      <a:pt x="10946504" y="3818073"/>
                    </a:lnTo>
                    <a:lnTo>
                      <a:pt x="10976360" y="3788884"/>
                    </a:lnTo>
                    <a:lnTo>
                      <a:pt x="10999552" y="3773189"/>
                    </a:lnTo>
                    <a:lnTo>
                      <a:pt x="11022742" y="3757486"/>
                    </a:lnTo>
                    <a:lnTo>
                      <a:pt x="11048005" y="3744310"/>
                    </a:lnTo>
                    <a:lnTo>
                      <a:pt x="11086164" y="3720733"/>
                    </a:lnTo>
                    <a:lnTo>
                      <a:pt x="11099329" y="3697789"/>
                    </a:lnTo>
                    <a:lnTo>
                      <a:pt x="11105645" y="3673889"/>
                    </a:lnTo>
                    <a:lnTo>
                      <a:pt x="11111964" y="3649995"/>
                    </a:lnTo>
                    <a:lnTo>
                      <a:pt x="11110789" y="3624407"/>
                    </a:lnTo>
                    <a:lnTo>
                      <a:pt x="11107003" y="3599083"/>
                    </a:lnTo>
                    <a:lnTo>
                      <a:pt x="11099435" y="3548427"/>
                    </a:lnTo>
                    <a:lnTo>
                      <a:pt x="11079333" y="3496630"/>
                    </a:lnTo>
                    <a:lnTo>
                      <a:pt x="11077082" y="3448098"/>
                    </a:lnTo>
                    <a:lnTo>
                      <a:pt x="11054721" y="3415837"/>
                    </a:lnTo>
                    <a:lnTo>
                      <a:pt x="11019232" y="3396883"/>
                    </a:lnTo>
                    <a:lnTo>
                      <a:pt x="10985947" y="3376004"/>
                    </a:lnTo>
                    <a:lnTo>
                      <a:pt x="10953211" y="3355402"/>
                    </a:lnTo>
                    <a:lnTo>
                      <a:pt x="10926192" y="3328606"/>
                    </a:lnTo>
                    <a:lnTo>
                      <a:pt x="10908420" y="3291674"/>
                    </a:lnTo>
                    <a:lnTo>
                      <a:pt x="10898033" y="3259037"/>
                    </a:lnTo>
                    <a:lnTo>
                      <a:pt x="10901930" y="3216954"/>
                    </a:lnTo>
                    <a:lnTo>
                      <a:pt x="10905701" y="3176059"/>
                    </a:lnTo>
                    <a:lnTo>
                      <a:pt x="10909462" y="3135164"/>
                    </a:lnTo>
                    <a:lnTo>
                      <a:pt x="10913096" y="3095667"/>
                    </a:lnTo>
                    <a:lnTo>
                      <a:pt x="10901620" y="3069960"/>
                    </a:lnTo>
                    <a:lnTo>
                      <a:pt x="10871355" y="3047135"/>
                    </a:lnTo>
                    <a:lnTo>
                      <a:pt x="10843004" y="3041438"/>
                    </a:lnTo>
                    <a:lnTo>
                      <a:pt x="10809133" y="3029158"/>
                    </a:lnTo>
                    <a:lnTo>
                      <a:pt x="10752891" y="3008786"/>
                    </a:lnTo>
                    <a:lnTo>
                      <a:pt x="10687134" y="2987241"/>
                    </a:lnTo>
                    <a:lnTo>
                      <a:pt x="10621420" y="2963867"/>
                    </a:lnTo>
                    <a:lnTo>
                      <a:pt x="10555710" y="2940489"/>
                    </a:lnTo>
                    <a:lnTo>
                      <a:pt x="10490123" y="2915619"/>
                    </a:lnTo>
                    <a:lnTo>
                      <a:pt x="10436433" y="2884973"/>
                    </a:lnTo>
                    <a:lnTo>
                      <a:pt x="10422493" y="2867602"/>
                    </a:lnTo>
                    <a:lnTo>
                      <a:pt x="10430300" y="2794346"/>
                    </a:lnTo>
                    <a:lnTo>
                      <a:pt x="10436433" y="2721749"/>
                    </a:lnTo>
                    <a:lnTo>
                      <a:pt x="10439500" y="2685452"/>
                    </a:lnTo>
                    <a:lnTo>
                      <a:pt x="10442699" y="2648671"/>
                    </a:lnTo>
                    <a:lnTo>
                      <a:pt x="10441875" y="2619733"/>
                    </a:lnTo>
                    <a:lnTo>
                      <a:pt x="10441050" y="2590802"/>
                    </a:lnTo>
                    <a:lnTo>
                      <a:pt x="10436204" y="2568715"/>
                    </a:lnTo>
                    <a:lnTo>
                      <a:pt x="10406974" y="2548218"/>
                    </a:lnTo>
                    <a:lnTo>
                      <a:pt x="10289961" y="2454175"/>
                    </a:lnTo>
                    <a:lnTo>
                      <a:pt x="10267408" y="2451635"/>
                    </a:lnTo>
                    <a:lnTo>
                      <a:pt x="10244650" y="2470115"/>
                    </a:lnTo>
                    <a:lnTo>
                      <a:pt x="10220611" y="2488434"/>
                    </a:lnTo>
                    <a:lnTo>
                      <a:pt x="10185900" y="2467885"/>
                    </a:lnTo>
                    <a:lnTo>
                      <a:pt x="10182123" y="2443167"/>
                    </a:lnTo>
                    <a:lnTo>
                      <a:pt x="10145012" y="2397108"/>
                    </a:lnTo>
                    <a:lnTo>
                      <a:pt x="10112751" y="2367161"/>
                    </a:lnTo>
                    <a:lnTo>
                      <a:pt x="10085500" y="2338177"/>
                    </a:lnTo>
                    <a:lnTo>
                      <a:pt x="10053777" y="2328647"/>
                    </a:lnTo>
                    <a:lnTo>
                      <a:pt x="10033816" y="2336819"/>
                    </a:lnTo>
                    <a:lnTo>
                      <a:pt x="10013854" y="2344989"/>
                    </a:lnTo>
                    <a:lnTo>
                      <a:pt x="9994265" y="2358983"/>
                    </a:lnTo>
                    <a:lnTo>
                      <a:pt x="9968679" y="2364391"/>
                    </a:lnTo>
                    <a:lnTo>
                      <a:pt x="9948233" y="2348748"/>
                    </a:lnTo>
                    <a:lnTo>
                      <a:pt x="9926359" y="2325936"/>
                    </a:lnTo>
                    <a:lnTo>
                      <a:pt x="9904484" y="2303125"/>
                    </a:lnTo>
                    <a:lnTo>
                      <a:pt x="9880914" y="2272920"/>
                    </a:lnTo>
                    <a:lnTo>
                      <a:pt x="9858351" y="2240242"/>
                    </a:lnTo>
                    <a:lnTo>
                      <a:pt x="9813222" y="2174894"/>
                    </a:lnTo>
                    <a:lnTo>
                      <a:pt x="9771404" y="2101908"/>
                    </a:lnTo>
                    <a:lnTo>
                      <a:pt x="9753619" y="2068854"/>
                    </a:lnTo>
                    <a:lnTo>
                      <a:pt x="9739669" y="2042989"/>
                    </a:lnTo>
                    <a:lnTo>
                      <a:pt x="9723348" y="2018127"/>
                    </a:lnTo>
                    <a:lnTo>
                      <a:pt x="9712809" y="1989966"/>
                    </a:lnTo>
                    <a:lnTo>
                      <a:pt x="9704980" y="1969054"/>
                    </a:lnTo>
                    <a:lnTo>
                      <a:pt x="9711423" y="1941474"/>
                    </a:lnTo>
                    <a:lnTo>
                      <a:pt x="9725050" y="1921959"/>
                    </a:lnTo>
                    <a:lnTo>
                      <a:pt x="9740724" y="1904898"/>
                    </a:lnTo>
                    <a:lnTo>
                      <a:pt x="9761064" y="1895488"/>
                    </a:lnTo>
                    <a:lnTo>
                      <a:pt x="9784898" y="1897478"/>
                    </a:lnTo>
                    <a:lnTo>
                      <a:pt x="9816480" y="1923088"/>
                    </a:lnTo>
                    <a:lnTo>
                      <a:pt x="9840959" y="1917198"/>
                    </a:lnTo>
                    <a:lnTo>
                      <a:pt x="9874675" y="1894756"/>
                    </a:lnTo>
                    <a:lnTo>
                      <a:pt x="9903743" y="1867136"/>
                    </a:lnTo>
                    <a:lnTo>
                      <a:pt x="9896265" y="1822838"/>
                    </a:lnTo>
                    <a:lnTo>
                      <a:pt x="9869655" y="1801371"/>
                    </a:lnTo>
                    <a:lnTo>
                      <a:pt x="9863792" y="1775058"/>
                    </a:lnTo>
                    <a:lnTo>
                      <a:pt x="9856096" y="1740409"/>
                    </a:lnTo>
                    <a:lnTo>
                      <a:pt x="9872523" y="1682743"/>
                    </a:lnTo>
                    <a:lnTo>
                      <a:pt x="9888271" y="1626797"/>
                    </a:lnTo>
                    <a:lnTo>
                      <a:pt x="9896147" y="1598822"/>
                    </a:lnTo>
                    <a:lnTo>
                      <a:pt x="9903328" y="1571018"/>
                    </a:lnTo>
                    <a:lnTo>
                      <a:pt x="9907318" y="1546545"/>
                    </a:lnTo>
                    <a:lnTo>
                      <a:pt x="9911309" y="1522071"/>
                    </a:lnTo>
                    <a:lnTo>
                      <a:pt x="9905960" y="1486696"/>
                    </a:lnTo>
                    <a:lnTo>
                      <a:pt x="9895251" y="1464589"/>
                    </a:lnTo>
                    <a:lnTo>
                      <a:pt x="9850280" y="1439292"/>
                    </a:lnTo>
                    <a:lnTo>
                      <a:pt x="9806825" y="1415523"/>
                    </a:lnTo>
                    <a:lnTo>
                      <a:pt x="9768576" y="1384679"/>
                    </a:lnTo>
                    <a:lnTo>
                      <a:pt x="9749458" y="1369260"/>
                    </a:lnTo>
                    <a:lnTo>
                      <a:pt x="9731599" y="1352113"/>
                    </a:lnTo>
                    <a:lnTo>
                      <a:pt x="9716889" y="1332995"/>
                    </a:lnTo>
                    <a:lnTo>
                      <a:pt x="9702183" y="1313876"/>
                    </a:lnTo>
                    <a:lnTo>
                      <a:pt x="9690643" y="1291665"/>
                    </a:lnTo>
                    <a:lnTo>
                      <a:pt x="9682888" y="1267705"/>
                    </a:lnTo>
                    <a:lnTo>
                      <a:pt x="9666989" y="1218712"/>
                    </a:lnTo>
                    <a:lnTo>
                      <a:pt x="9656785" y="1161989"/>
                    </a:lnTo>
                    <a:lnTo>
                      <a:pt x="9633921" y="1115363"/>
                    </a:lnTo>
                    <a:lnTo>
                      <a:pt x="9595827" y="1037827"/>
                    </a:lnTo>
                    <a:lnTo>
                      <a:pt x="9565017" y="1032478"/>
                    </a:lnTo>
                    <a:lnTo>
                      <a:pt x="9509290" y="1074580"/>
                    </a:lnTo>
                    <a:lnTo>
                      <a:pt x="9487018" y="1066396"/>
                    </a:lnTo>
                    <a:lnTo>
                      <a:pt x="9348276" y="1016064"/>
                    </a:lnTo>
                    <a:lnTo>
                      <a:pt x="9323069" y="996832"/>
                    </a:lnTo>
                    <a:lnTo>
                      <a:pt x="9323394" y="963739"/>
                    </a:lnTo>
                    <a:lnTo>
                      <a:pt x="9319382" y="932249"/>
                    </a:lnTo>
                    <a:lnTo>
                      <a:pt x="9311550" y="901807"/>
                    </a:lnTo>
                    <a:lnTo>
                      <a:pt x="9303752" y="871371"/>
                    </a:lnTo>
                    <a:lnTo>
                      <a:pt x="9291830" y="841925"/>
                    </a:lnTo>
                    <a:lnTo>
                      <a:pt x="9280268" y="814761"/>
                    </a:lnTo>
                    <a:lnTo>
                      <a:pt x="9257147" y="760432"/>
                    </a:lnTo>
                    <a:lnTo>
                      <a:pt x="9233998" y="716016"/>
                    </a:lnTo>
                    <a:lnTo>
                      <a:pt x="9242184" y="693698"/>
                    </a:lnTo>
                    <a:lnTo>
                      <a:pt x="9388572" y="647323"/>
                    </a:lnTo>
                    <a:lnTo>
                      <a:pt x="9412207" y="639290"/>
                    </a:lnTo>
                    <a:lnTo>
                      <a:pt x="9420201" y="588812"/>
                    </a:lnTo>
                    <a:lnTo>
                      <a:pt x="9416241" y="544356"/>
                    </a:lnTo>
                    <a:lnTo>
                      <a:pt x="9401324" y="512793"/>
                    </a:lnTo>
                    <a:lnTo>
                      <a:pt x="9346918" y="467908"/>
                    </a:lnTo>
                    <a:lnTo>
                      <a:pt x="9301333" y="488722"/>
                    </a:lnTo>
                    <a:lnTo>
                      <a:pt x="9270746" y="514152"/>
                    </a:lnTo>
                    <a:lnTo>
                      <a:pt x="9240159" y="539582"/>
                    </a:lnTo>
                    <a:lnTo>
                      <a:pt x="9207370" y="565948"/>
                    </a:lnTo>
                    <a:lnTo>
                      <a:pt x="9182333" y="563119"/>
                    </a:lnTo>
                    <a:lnTo>
                      <a:pt x="9157934" y="551921"/>
                    </a:lnTo>
                    <a:lnTo>
                      <a:pt x="9143728" y="495910"/>
                    </a:lnTo>
                    <a:lnTo>
                      <a:pt x="9129945" y="466701"/>
                    </a:lnTo>
                    <a:lnTo>
                      <a:pt x="9114322" y="448862"/>
                    </a:lnTo>
                    <a:lnTo>
                      <a:pt x="9098698" y="431030"/>
                    </a:lnTo>
                    <a:lnTo>
                      <a:pt x="9061280" y="420299"/>
                    </a:lnTo>
                    <a:lnTo>
                      <a:pt x="9019084" y="416376"/>
                    </a:lnTo>
                    <a:lnTo>
                      <a:pt x="8997349" y="412136"/>
                    </a:lnTo>
                    <a:lnTo>
                      <a:pt x="8975604" y="407895"/>
                    </a:lnTo>
                    <a:lnTo>
                      <a:pt x="8954328" y="400469"/>
                    </a:lnTo>
                    <a:lnTo>
                      <a:pt x="8933418" y="380855"/>
                    </a:lnTo>
                    <a:lnTo>
                      <a:pt x="8919627" y="353902"/>
                    </a:lnTo>
                    <a:lnTo>
                      <a:pt x="8920008" y="320750"/>
                    </a:lnTo>
                    <a:lnTo>
                      <a:pt x="8915741" y="288362"/>
                    </a:lnTo>
                    <a:lnTo>
                      <a:pt x="8890720" y="257313"/>
                    </a:lnTo>
                    <a:lnTo>
                      <a:pt x="8873574" y="244836"/>
                    </a:lnTo>
                    <a:lnTo>
                      <a:pt x="8856427" y="232358"/>
                    </a:lnTo>
                    <a:lnTo>
                      <a:pt x="8837591" y="219967"/>
                    </a:lnTo>
                    <a:lnTo>
                      <a:pt x="8825009" y="187671"/>
                    </a:lnTo>
                    <a:lnTo>
                      <a:pt x="8820526" y="156424"/>
                    </a:lnTo>
                    <a:lnTo>
                      <a:pt x="8813785" y="125923"/>
                    </a:lnTo>
                    <a:lnTo>
                      <a:pt x="8801209" y="104331"/>
                    </a:lnTo>
                    <a:lnTo>
                      <a:pt x="8789238" y="84329"/>
                    </a:lnTo>
                    <a:lnTo>
                      <a:pt x="8760433" y="70275"/>
                    </a:lnTo>
                    <a:lnTo>
                      <a:pt x="8728268" y="73903"/>
                    </a:lnTo>
                    <a:lnTo>
                      <a:pt x="8699469" y="85687"/>
                    </a:lnTo>
                    <a:lnTo>
                      <a:pt x="8672265" y="63924"/>
                    </a:lnTo>
                    <a:lnTo>
                      <a:pt x="8638921" y="55061"/>
                    </a:lnTo>
                    <a:lnTo>
                      <a:pt x="8613775" y="38086"/>
                    </a:lnTo>
                    <a:lnTo>
                      <a:pt x="8581439" y="16981"/>
                    </a:lnTo>
                    <a:lnTo>
                      <a:pt x="8545451" y="2058"/>
                    </a:lnTo>
                    <a:lnTo>
                      <a:pt x="8506318" y="0"/>
                    </a:lnTo>
                    <a:lnTo>
                      <a:pt x="8484621" y="2196"/>
                    </a:lnTo>
                    <a:lnTo>
                      <a:pt x="8463075" y="10044"/>
                    </a:lnTo>
                    <a:lnTo>
                      <a:pt x="8442394" y="23121"/>
                    </a:lnTo>
                    <a:lnTo>
                      <a:pt x="8421703" y="36200"/>
                    </a:lnTo>
                    <a:lnTo>
                      <a:pt x="8402467" y="53353"/>
                    </a:lnTo>
                    <a:lnTo>
                      <a:pt x="8386620" y="73448"/>
                    </a:lnTo>
                    <a:lnTo>
                      <a:pt x="8370773" y="93542"/>
                    </a:lnTo>
                    <a:lnTo>
                      <a:pt x="8357087" y="116848"/>
                    </a:lnTo>
                    <a:lnTo>
                      <a:pt x="8349900" y="140096"/>
                    </a:lnTo>
                    <a:lnTo>
                      <a:pt x="8342704" y="163349"/>
                    </a:lnTo>
                    <a:lnTo>
                      <a:pt x="8341888" y="186919"/>
                    </a:lnTo>
                    <a:lnTo>
                      <a:pt x="8347181" y="209467"/>
                    </a:lnTo>
                    <a:lnTo>
                      <a:pt x="8361065" y="247705"/>
                    </a:lnTo>
                    <a:lnTo>
                      <a:pt x="8384983" y="280046"/>
                    </a:lnTo>
                    <a:lnTo>
                      <a:pt x="8412467" y="310126"/>
                    </a:lnTo>
                    <a:lnTo>
                      <a:pt x="8426342" y="327536"/>
                    </a:lnTo>
                    <a:lnTo>
                      <a:pt x="8427430" y="367250"/>
                    </a:lnTo>
                    <a:lnTo>
                      <a:pt x="8416513" y="407585"/>
                    </a:lnTo>
                    <a:lnTo>
                      <a:pt x="8404306" y="427099"/>
                    </a:lnTo>
                    <a:lnTo>
                      <a:pt x="8379880" y="466135"/>
                    </a:lnTo>
                    <a:lnTo>
                      <a:pt x="8341392" y="501575"/>
                    </a:lnTo>
                    <a:lnTo>
                      <a:pt x="8317254" y="522316"/>
                    </a:lnTo>
                    <a:lnTo>
                      <a:pt x="8283417" y="551393"/>
                    </a:lnTo>
                    <a:lnTo>
                      <a:pt x="8257090" y="572418"/>
                    </a:lnTo>
                    <a:lnTo>
                      <a:pt x="8230202" y="576724"/>
                    </a:lnTo>
                    <a:lnTo>
                      <a:pt x="8203763" y="577720"/>
                    </a:lnTo>
                    <a:lnTo>
                      <a:pt x="8175030" y="562130"/>
                    </a:lnTo>
                    <a:lnTo>
                      <a:pt x="8158845" y="547990"/>
                    </a:lnTo>
                    <a:lnTo>
                      <a:pt x="8141792" y="527757"/>
                    </a:lnTo>
                    <a:lnTo>
                      <a:pt x="8121440" y="601224"/>
                    </a:lnTo>
                    <a:lnTo>
                      <a:pt x="8106237" y="639844"/>
                    </a:lnTo>
                    <a:lnTo>
                      <a:pt x="8087383" y="666494"/>
                    </a:lnTo>
                    <a:lnTo>
                      <a:pt x="8068522" y="693151"/>
                    </a:lnTo>
                    <a:lnTo>
                      <a:pt x="8046244" y="707594"/>
                    </a:lnTo>
                    <a:lnTo>
                      <a:pt x="8023452" y="718185"/>
                    </a:lnTo>
                    <a:lnTo>
                      <a:pt x="8000659" y="728776"/>
                    </a:lnTo>
                    <a:lnTo>
                      <a:pt x="7978078" y="735075"/>
                    </a:lnTo>
                    <a:lnTo>
                      <a:pt x="7958163" y="746748"/>
                    </a:lnTo>
                    <a:lnTo>
                      <a:pt x="7938238" y="758427"/>
                    </a:lnTo>
                    <a:lnTo>
                      <a:pt x="7920788" y="775324"/>
                    </a:lnTo>
                    <a:lnTo>
                      <a:pt x="7910553" y="805238"/>
                    </a:lnTo>
                    <a:lnTo>
                      <a:pt x="7923731" y="856480"/>
                    </a:lnTo>
                    <a:lnTo>
                      <a:pt x="7942393" y="893247"/>
                    </a:lnTo>
                    <a:lnTo>
                      <a:pt x="7949999" y="924935"/>
                    </a:lnTo>
                    <a:lnTo>
                      <a:pt x="7947999" y="968633"/>
                    </a:lnTo>
                    <a:lnTo>
                      <a:pt x="7952591" y="1011882"/>
                    </a:lnTo>
                    <a:lnTo>
                      <a:pt x="7959186" y="1038084"/>
                    </a:lnTo>
                    <a:lnTo>
                      <a:pt x="7963604" y="1062314"/>
                    </a:lnTo>
                    <a:lnTo>
                      <a:pt x="7996374" y="1153172"/>
                    </a:lnTo>
                    <a:lnTo>
                      <a:pt x="8001661" y="1188639"/>
                    </a:lnTo>
                    <a:lnTo>
                      <a:pt x="7992015" y="1207665"/>
                    </a:lnTo>
                    <a:lnTo>
                      <a:pt x="7975842" y="1221455"/>
                    </a:lnTo>
                    <a:lnTo>
                      <a:pt x="7959673" y="1235252"/>
                    </a:lnTo>
                    <a:lnTo>
                      <a:pt x="7937004" y="1243627"/>
                    </a:lnTo>
                    <a:lnTo>
                      <a:pt x="7911911" y="1250018"/>
                    </a:lnTo>
                    <a:lnTo>
                      <a:pt x="7861725" y="1262805"/>
                    </a:lnTo>
                    <a:lnTo>
                      <a:pt x="7800761" y="1268556"/>
                    </a:lnTo>
                    <a:lnTo>
                      <a:pt x="7758212" y="1294909"/>
                    </a:lnTo>
                    <a:lnTo>
                      <a:pt x="7762392" y="1354085"/>
                    </a:lnTo>
                    <a:lnTo>
                      <a:pt x="7769092" y="1399643"/>
                    </a:lnTo>
                    <a:lnTo>
                      <a:pt x="7775792" y="1445200"/>
                    </a:lnTo>
                    <a:lnTo>
                      <a:pt x="7779901" y="1496496"/>
                    </a:lnTo>
                    <a:lnTo>
                      <a:pt x="7765018" y="1535662"/>
                    </a:lnTo>
                    <a:lnTo>
                      <a:pt x="7753257" y="1566605"/>
                    </a:lnTo>
                    <a:lnTo>
                      <a:pt x="7739962" y="1594212"/>
                    </a:lnTo>
                    <a:lnTo>
                      <a:pt x="7724208" y="1621357"/>
                    </a:lnTo>
                    <a:lnTo>
                      <a:pt x="7708460" y="1648495"/>
                    </a:lnTo>
                    <a:lnTo>
                      <a:pt x="7691146" y="1675600"/>
                    </a:lnTo>
                    <a:lnTo>
                      <a:pt x="7671160" y="1701603"/>
                    </a:lnTo>
                    <a:lnTo>
                      <a:pt x="7657403" y="1719509"/>
                    </a:lnTo>
                    <a:lnTo>
                      <a:pt x="7622534" y="1749126"/>
                    </a:lnTo>
                    <a:lnTo>
                      <a:pt x="7614035" y="1770976"/>
                    </a:lnTo>
                    <a:lnTo>
                      <a:pt x="7613368" y="1808823"/>
                    </a:lnTo>
                    <a:lnTo>
                      <a:pt x="7616751" y="1832183"/>
                    </a:lnTo>
                    <a:lnTo>
                      <a:pt x="7620140" y="1855549"/>
                    </a:lnTo>
                    <a:lnTo>
                      <a:pt x="7621532" y="1878123"/>
                    </a:lnTo>
                    <a:lnTo>
                      <a:pt x="7587503" y="1910867"/>
                    </a:lnTo>
                    <a:lnTo>
                      <a:pt x="7557167" y="1934713"/>
                    </a:lnTo>
                    <a:lnTo>
                      <a:pt x="7536505" y="1960045"/>
                    </a:lnTo>
                    <a:lnTo>
                      <a:pt x="7519693" y="1980655"/>
                    </a:lnTo>
                    <a:lnTo>
                      <a:pt x="7501840" y="2019254"/>
                    </a:lnTo>
                    <a:lnTo>
                      <a:pt x="7484812" y="2055262"/>
                    </a:lnTo>
                    <a:lnTo>
                      <a:pt x="7467786" y="2091263"/>
                    </a:lnTo>
                    <a:lnTo>
                      <a:pt x="7451384" y="2124864"/>
                    </a:lnTo>
                    <a:lnTo>
                      <a:pt x="7433128" y="2136875"/>
                    </a:lnTo>
                    <a:lnTo>
                      <a:pt x="7367166" y="2126771"/>
                    </a:lnTo>
                    <a:lnTo>
                      <a:pt x="7307985" y="2115110"/>
                    </a:lnTo>
                    <a:lnTo>
                      <a:pt x="7248808" y="2103444"/>
                    </a:lnTo>
                    <a:lnTo>
                      <a:pt x="7187707" y="2091693"/>
                    </a:lnTo>
                    <a:lnTo>
                      <a:pt x="7161880" y="2087333"/>
                    </a:lnTo>
                    <a:lnTo>
                      <a:pt x="7137915" y="2084200"/>
                    </a:lnTo>
                    <a:lnTo>
                      <a:pt x="7114837" y="2079742"/>
                    </a:lnTo>
                    <a:lnTo>
                      <a:pt x="7091763" y="2075284"/>
                    </a:lnTo>
                    <a:lnTo>
                      <a:pt x="7069783" y="2068576"/>
                    </a:lnTo>
                    <a:lnTo>
                      <a:pt x="7055914" y="2048252"/>
                    </a:lnTo>
                    <a:lnTo>
                      <a:pt x="7056348" y="2003571"/>
                    </a:lnTo>
                    <a:lnTo>
                      <a:pt x="7057805" y="1979546"/>
                    </a:lnTo>
                    <a:lnTo>
                      <a:pt x="7062391" y="1952534"/>
                    </a:lnTo>
                    <a:lnTo>
                      <a:pt x="7063148" y="1928759"/>
                    </a:lnTo>
                    <a:lnTo>
                      <a:pt x="7063920" y="1904991"/>
                    </a:lnTo>
                    <a:lnTo>
                      <a:pt x="7050906" y="1871633"/>
                    </a:lnTo>
                    <a:lnTo>
                      <a:pt x="7021237" y="1852614"/>
                    </a:lnTo>
                    <a:lnTo>
                      <a:pt x="6988343" y="1860752"/>
                    </a:lnTo>
                    <a:lnTo>
                      <a:pt x="6975060" y="1887375"/>
                    </a:lnTo>
                    <a:lnTo>
                      <a:pt x="6971696" y="1921175"/>
                    </a:lnTo>
                    <a:lnTo>
                      <a:pt x="6970660" y="1960045"/>
                    </a:lnTo>
                    <a:lnTo>
                      <a:pt x="6965985" y="1997517"/>
                    </a:lnTo>
                    <a:lnTo>
                      <a:pt x="6948125" y="2034112"/>
                    </a:lnTo>
                    <a:lnTo>
                      <a:pt x="6933636" y="2051489"/>
                    </a:lnTo>
                    <a:lnTo>
                      <a:pt x="6909455" y="2066136"/>
                    </a:lnTo>
                    <a:lnTo>
                      <a:pt x="6888628" y="2078752"/>
                    </a:lnTo>
                    <a:lnTo>
                      <a:pt x="6851939" y="2083126"/>
                    </a:lnTo>
                    <a:lnTo>
                      <a:pt x="6827841" y="2074302"/>
                    </a:lnTo>
                    <a:lnTo>
                      <a:pt x="6805393" y="2066097"/>
                    </a:lnTo>
                    <a:lnTo>
                      <a:pt x="6792389" y="2026205"/>
                    </a:lnTo>
                    <a:lnTo>
                      <a:pt x="6758472" y="2017176"/>
                    </a:lnTo>
                    <a:lnTo>
                      <a:pt x="6727546" y="2027359"/>
                    </a:lnTo>
                    <a:lnTo>
                      <a:pt x="6713222" y="2053238"/>
                    </a:lnTo>
                    <a:lnTo>
                      <a:pt x="6708143" y="2087901"/>
                    </a:lnTo>
                    <a:lnTo>
                      <a:pt x="6706865" y="2122978"/>
                    </a:lnTo>
                    <a:lnTo>
                      <a:pt x="6701272" y="2153480"/>
                    </a:lnTo>
                    <a:lnTo>
                      <a:pt x="6685022" y="2172235"/>
                    </a:lnTo>
                    <a:lnTo>
                      <a:pt x="6651126" y="2163696"/>
                    </a:lnTo>
                    <a:lnTo>
                      <a:pt x="6647635" y="2141332"/>
                    </a:lnTo>
                    <a:lnTo>
                      <a:pt x="6629124" y="2106861"/>
                    </a:lnTo>
                    <a:lnTo>
                      <a:pt x="6603622" y="2097068"/>
                    </a:lnTo>
                    <a:lnTo>
                      <a:pt x="6593886" y="2075666"/>
                    </a:lnTo>
                    <a:lnTo>
                      <a:pt x="6584002" y="2053943"/>
                    </a:lnTo>
                    <a:lnTo>
                      <a:pt x="6589192" y="2009355"/>
                    </a:lnTo>
                    <a:lnTo>
                      <a:pt x="6580290" y="1980450"/>
                    </a:lnTo>
                    <a:lnTo>
                      <a:pt x="6556382" y="1971117"/>
                    </a:lnTo>
                    <a:lnTo>
                      <a:pt x="6531323" y="1945082"/>
                    </a:lnTo>
                    <a:lnTo>
                      <a:pt x="6517764" y="1915556"/>
                    </a:lnTo>
                    <a:lnTo>
                      <a:pt x="6512235" y="1884843"/>
                    </a:lnTo>
                    <a:lnTo>
                      <a:pt x="6508202" y="1856670"/>
                    </a:lnTo>
                    <a:lnTo>
                      <a:pt x="6497319" y="1830112"/>
                    </a:lnTo>
                    <a:lnTo>
                      <a:pt x="6463321" y="1810321"/>
                    </a:lnTo>
                    <a:lnTo>
                      <a:pt x="6437694" y="1816407"/>
                    </a:lnTo>
                    <a:lnTo>
                      <a:pt x="6411625" y="1825383"/>
                    </a:lnTo>
                    <a:lnTo>
                      <a:pt x="6385549" y="1834360"/>
                    </a:lnTo>
                    <a:lnTo>
                      <a:pt x="6359122" y="1846995"/>
                    </a:lnTo>
                    <a:lnTo>
                      <a:pt x="6338172" y="1851228"/>
                    </a:lnTo>
                    <a:lnTo>
                      <a:pt x="6289375" y="1861068"/>
                    </a:lnTo>
                    <a:lnTo>
                      <a:pt x="6237241" y="1847576"/>
                    </a:lnTo>
                    <a:lnTo>
                      <a:pt x="6188553" y="1849864"/>
                    </a:lnTo>
                    <a:lnTo>
                      <a:pt x="6163847" y="1851032"/>
                    </a:lnTo>
                    <a:lnTo>
                      <a:pt x="6138680" y="1857560"/>
                    </a:lnTo>
                    <a:lnTo>
                      <a:pt x="6113739" y="1867551"/>
                    </a:lnTo>
                    <a:lnTo>
                      <a:pt x="6088798" y="1877535"/>
                    </a:lnTo>
                    <a:lnTo>
                      <a:pt x="6062775" y="1890370"/>
                    </a:lnTo>
                    <a:lnTo>
                      <a:pt x="6038934" y="1905637"/>
                    </a:lnTo>
                    <a:lnTo>
                      <a:pt x="5991238" y="1936170"/>
                    </a:lnTo>
                    <a:lnTo>
                      <a:pt x="5947712" y="1973241"/>
                    </a:lnTo>
                    <a:lnTo>
                      <a:pt x="5912430" y="2003571"/>
                    </a:lnTo>
                    <a:lnTo>
                      <a:pt x="5895858" y="2017809"/>
                    </a:lnTo>
                    <a:lnTo>
                      <a:pt x="5879852" y="2040443"/>
                    </a:lnTo>
                    <a:lnTo>
                      <a:pt x="5862105" y="2052539"/>
                    </a:lnTo>
                    <a:lnTo>
                      <a:pt x="5839008" y="2068274"/>
                    </a:lnTo>
                    <a:lnTo>
                      <a:pt x="5793740" y="2062081"/>
                    </a:lnTo>
                    <a:lnTo>
                      <a:pt x="5750570" y="2063420"/>
                    </a:lnTo>
                    <a:lnTo>
                      <a:pt x="5728978" y="2064093"/>
                    </a:lnTo>
                    <a:lnTo>
                      <a:pt x="5690717" y="2074302"/>
                    </a:lnTo>
                    <a:lnTo>
                      <a:pt x="5657643" y="2094885"/>
                    </a:lnTo>
                    <a:lnTo>
                      <a:pt x="5649913" y="2116470"/>
                    </a:lnTo>
                    <a:lnTo>
                      <a:pt x="5624944" y="2191677"/>
                    </a:lnTo>
                    <a:lnTo>
                      <a:pt x="5612644" y="2211963"/>
                    </a:lnTo>
                    <a:lnTo>
                      <a:pt x="5584624" y="2234802"/>
                    </a:lnTo>
                    <a:lnTo>
                      <a:pt x="5560725" y="2259982"/>
                    </a:lnTo>
                    <a:lnTo>
                      <a:pt x="5556061" y="2281052"/>
                    </a:lnTo>
                    <a:lnTo>
                      <a:pt x="5571400" y="2305940"/>
                    </a:lnTo>
                    <a:lnTo>
                      <a:pt x="5615825" y="2335500"/>
                    </a:lnTo>
                    <a:lnTo>
                      <a:pt x="5640391" y="2349058"/>
                    </a:lnTo>
                    <a:lnTo>
                      <a:pt x="5635213" y="2382013"/>
                    </a:lnTo>
                    <a:lnTo>
                      <a:pt x="5617698" y="2410707"/>
                    </a:lnTo>
                    <a:lnTo>
                      <a:pt x="5600945" y="2440194"/>
                    </a:lnTo>
                    <a:lnTo>
                      <a:pt x="5584187" y="2469679"/>
                    </a:lnTo>
                    <a:lnTo>
                      <a:pt x="5568544" y="2499435"/>
                    </a:lnTo>
                    <a:lnTo>
                      <a:pt x="5569660" y="2535404"/>
                    </a:lnTo>
                    <a:lnTo>
                      <a:pt x="5633523" y="2580954"/>
                    </a:lnTo>
                    <a:lnTo>
                      <a:pt x="5627452" y="2634981"/>
                    </a:lnTo>
                    <a:lnTo>
                      <a:pt x="5598164" y="2815015"/>
                    </a:lnTo>
                    <a:lnTo>
                      <a:pt x="5565788" y="2863579"/>
                    </a:lnTo>
                    <a:lnTo>
                      <a:pt x="5531641" y="2903129"/>
                    </a:lnTo>
                    <a:lnTo>
                      <a:pt x="5523415" y="2944828"/>
                    </a:lnTo>
                    <a:lnTo>
                      <a:pt x="5535855" y="2975093"/>
                    </a:lnTo>
                    <a:lnTo>
                      <a:pt x="5554505" y="3009775"/>
                    </a:lnTo>
                    <a:lnTo>
                      <a:pt x="5550614" y="3050921"/>
                    </a:lnTo>
                    <a:lnTo>
                      <a:pt x="5513655" y="3123776"/>
                    </a:lnTo>
                    <a:lnTo>
                      <a:pt x="5478038" y="3194486"/>
                    </a:lnTo>
                    <a:lnTo>
                      <a:pt x="5456768" y="3273994"/>
                    </a:lnTo>
                    <a:lnTo>
                      <a:pt x="5430329" y="3284262"/>
                    </a:lnTo>
                    <a:lnTo>
                      <a:pt x="5404542" y="3305214"/>
                    </a:lnTo>
                    <a:lnTo>
                      <a:pt x="5390115" y="3329760"/>
                    </a:lnTo>
                    <a:lnTo>
                      <a:pt x="5380537" y="3369956"/>
                    </a:lnTo>
                    <a:lnTo>
                      <a:pt x="5381954" y="3399132"/>
                    </a:lnTo>
                    <a:lnTo>
                      <a:pt x="5383374" y="3428307"/>
                    </a:lnTo>
                    <a:lnTo>
                      <a:pt x="5389017" y="3457253"/>
                    </a:lnTo>
                    <a:lnTo>
                      <a:pt x="5412417" y="3475388"/>
                    </a:lnTo>
                    <a:lnTo>
                      <a:pt x="5447240" y="3475303"/>
                    </a:lnTo>
                    <a:lnTo>
                      <a:pt x="5479250" y="3481582"/>
                    </a:lnTo>
                    <a:lnTo>
                      <a:pt x="5489405" y="3502507"/>
                    </a:lnTo>
                    <a:lnTo>
                      <a:pt x="5495327" y="3555979"/>
                    </a:lnTo>
                    <a:lnTo>
                      <a:pt x="5493488" y="3596365"/>
                    </a:lnTo>
                    <a:lnTo>
                      <a:pt x="5489473" y="3635382"/>
                    </a:lnTo>
                    <a:lnTo>
                      <a:pt x="5481182" y="3666159"/>
                    </a:lnTo>
                    <a:lnTo>
                      <a:pt x="5395290" y="3701086"/>
                    </a:lnTo>
                    <a:lnTo>
                      <a:pt x="5364098" y="3709455"/>
                    </a:lnTo>
                    <a:lnTo>
                      <a:pt x="5343870" y="3729661"/>
                    </a:lnTo>
                    <a:lnTo>
                      <a:pt x="5323644" y="3749869"/>
                    </a:lnTo>
                    <a:lnTo>
                      <a:pt x="5315276" y="3781411"/>
                    </a:lnTo>
                    <a:lnTo>
                      <a:pt x="5288102" y="3846641"/>
                    </a:lnTo>
                    <a:lnTo>
                      <a:pt x="5278007" y="3870865"/>
                    </a:lnTo>
                    <a:lnTo>
                      <a:pt x="5264191" y="3894502"/>
                    </a:lnTo>
                    <a:lnTo>
                      <a:pt x="5254092" y="3918732"/>
                    </a:lnTo>
                    <a:lnTo>
                      <a:pt x="5243745" y="3943555"/>
                    </a:lnTo>
                    <a:lnTo>
                      <a:pt x="5236413" y="3964974"/>
                    </a:lnTo>
                    <a:lnTo>
                      <a:pt x="5220091" y="3988096"/>
                    </a:lnTo>
                    <a:lnTo>
                      <a:pt x="5196691" y="4021276"/>
                    </a:lnTo>
                    <a:lnTo>
                      <a:pt x="5170069" y="4033501"/>
                    </a:lnTo>
                    <a:lnTo>
                      <a:pt x="5143919" y="4042510"/>
                    </a:lnTo>
                    <a:lnTo>
                      <a:pt x="5117778" y="4051513"/>
                    </a:lnTo>
                    <a:lnTo>
                      <a:pt x="5091978" y="4057864"/>
                    </a:lnTo>
                    <a:lnTo>
                      <a:pt x="5069108" y="4079232"/>
                    </a:lnTo>
                    <a:lnTo>
                      <a:pt x="5045168" y="4101601"/>
                    </a:lnTo>
                    <a:lnTo>
                      <a:pt x="5033994" y="4127618"/>
                    </a:lnTo>
                    <a:lnTo>
                      <a:pt x="5018779" y="4149961"/>
                    </a:lnTo>
                    <a:lnTo>
                      <a:pt x="5002886" y="4171685"/>
                    </a:lnTo>
                    <a:lnTo>
                      <a:pt x="4980273" y="4188087"/>
                    </a:lnTo>
                    <a:lnTo>
                      <a:pt x="4946691" y="4197570"/>
                    </a:lnTo>
                    <a:lnTo>
                      <a:pt x="4906715" y="4230282"/>
                    </a:lnTo>
                    <a:lnTo>
                      <a:pt x="4887265" y="4292188"/>
                    </a:lnTo>
                    <a:lnTo>
                      <a:pt x="4851481" y="4330872"/>
                    </a:lnTo>
                    <a:lnTo>
                      <a:pt x="4824890" y="4345270"/>
                    </a:lnTo>
                    <a:lnTo>
                      <a:pt x="4793730" y="4351839"/>
                    </a:lnTo>
                    <a:lnTo>
                      <a:pt x="4772587" y="4368958"/>
                    </a:lnTo>
                    <a:lnTo>
                      <a:pt x="4723619" y="4476409"/>
                    </a:lnTo>
                    <a:lnTo>
                      <a:pt x="4708485" y="4508910"/>
                    </a:lnTo>
                    <a:lnTo>
                      <a:pt x="4661028" y="4560976"/>
                    </a:lnTo>
                    <a:lnTo>
                      <a:pt x="4655605" y="4587948"/>
                    </a:lnTo>
                    <a:lnTo>
                      <a:pt x="4647053" y="4630315"/>
                    </a:lnTo>
                    <a:lnTo>
                      <a:pt x="4652132" y="4657163"/>
                    </a:lnTo>
                    <a:lnTo>
                      <a:pt x="4654247" y="4684525"/>
                    </a:lnTo>
                    <a:lnTo>
                      <a:pt x="4656370" y="4711880"/>
                    </a:lnTo>
                    <a:lnTo>
                      <a:pt x="4655930" y="4740410"/>
                    </a:lnTo>
                    <a:lnTo>
                      <a:pt x="4633851" y="4785176"/>
                    </a:lnTo>
                    <a:lnTo>
                      <a:pt x="4609362" y="4793334"/>
                    </a:lnTo>
                    <a:lnTo>
                      <a:pt x="4563120" y="4782459"/>
                    </a:lnTo>
                    <a:lnTo>
                      <a:pt x="4541931" y="4753013"/>
                    </a:lnTo>
                    <a:lnTo>
                      <a:pt x="4534552" y="4732127"/>
                    </a:lnTo>
                    <a:lnTo>
                      <a:pt x="4527178" y="4711240"/>
                    </a:lnTo>
                    <a:lnTo>
                      <a:pt x="4519613" y="4690038"/>
                    </a:lnTo>
                    <a:lnTo>
                      <a:pt x="4484223" y="4669554"/>
                    </a:lnTo>
                    <a:lnTo>
                      <a:pt x="4445670" y="4678569"/>
                    </a:lnTo>
                    <a:lnTo>
                      <a:pt x="4428459" y="4706280"/>
                    </a:lnTo>
                    <a:lnTo>
                      <a:pt x="4420354" y="4739085"/>
                    </a:lnTo>
                    <a:lnTo>
                      <a:pt x="4399896" y="4759330"/>
                    </a:lnTo>
                    <a:lnTo>
                      <a:pt x="4338874" y="4772441"/>
                    </a:lnTo>
                    <a:lnTo>
                      <a:pt x="4316813" y="4753185"/>
                    </a:lnTo>
                    <a:lnTo>
                      <a:pt x="4297267" y="4718264"/>
                    </a:lnTo>
                    <a:lnTo>
                      <a:pt x="4264540" y="4709967"/>
                    </a:lnTo>
                    <a:lnTo>
                      <a:pt x="4239388" y="4734843"/>
                    </a:lnTo>
                    <a:lnTo>
                      <a:pt x="4217631" y="4767957"/>
                    </a:lnTo>
                    <a:lnTo>
                      <a:pt x="4205384" y="4785169"/>
                    </a:lnTo>
                    <a:lnTo>
                      <a:pt x="4193140" y="4802389"/>
                    </a:lnTo>
                    <a:lnTo>
                      <a:pt x="4177699" y="4818151"/>
                    </a:lnTo>
                    <a:lnTo>
                      <a:pt x="4156420" y="4825979"/>
                    </a:lnTo>
                    <a:lnTo>
                      <a:pt x="4135137" y="4833800"/>
                    </a:lnTo>
                    <a:lnTo>
                      <a:pt x="4108209" y="4834242"/>
                    </a:lnTo>
                    <a:lnTo>
                      <a:pt x="4069364" y="4820539"/>
                    </a:lnTo>
                    <a:lnTo>
                      <a:pt x="4038349" y="4840672"/>
                    </a:lnTo>
                    <a:lnTo>
                      <a:pt x="4024480" y="4858623"/>
                    </a:lnTo>
                    <a:lnTo>
                      <a:pt x="4010605" y="4876568"/>
                    </a:lnTo>
                    <a:lnTo>
                      <a:pt x="3993161" y="4895515"/>
                    </a:lnTo>
                    <a:lnTo>
                      <a:pt x="3957833" y="4902149"/>
                    </a:lnTo>
                    <a:lnTo>
                      <a:pt x="3920242" y="4858056"/>
                    </a:lnTo>
                    <a:lnTo>
                      <a:pt x="3900702" y="4817815"/>
                    </a:lnTo>
                    <a:lnTo>
                      <a:pt x="3881159" y="4777578"/>
                    </a:lnTo>
                    <a:lnTo>
                      <a:pt x="3859886" y="4735483"/>
                    </a:lnTo>
                    <a:lnTo>
                      <a:pt x="3834052" y="4718522"/>
                    </a:lnTo>
                    <a:lnTo>
                      <a:pt x="3806757" y="4709835"/>
                    </a:lnTo>
                    <a:lnTo>
                      <a:pt x="3779729" y="4719055"/>
                    </a:lnTo>
                    <a:lnTo>
                      <a:pt x="3753799" y="4736209"/>
                    </a:lnTo>
                    <a:lnTo>
                      <a:pt x="3728126" y="4753217"/>
                    </a:lnTo>
                    <a:lnTo>
                      <a:pt x="3703303" y="4760003"/>
                    </a:lnTo>
                    <a:lnTo>
                      <a:pt x="3678985" y="4747090"/>
                    </a:lnTo>
                    <a:lnTo>
                      <a:pt x="3617780" y="4685883"/>
                    </a:lnTo>
                    <a:lnTo>
                      <a:pt x="3591440" y="4697081"/>
                    </a:lnTo>
                    <a:lnTo>
                      <a:pt x="3573779" y="4739737"/>
                    </a:lnTo>
                    <a:lnTo>
                      <a:pt x="3555207" y="4779735"/>
                    </a:lnTo>
                    <a:lnTo>
                      <a:pt x="3536643" y="4819740"/>
                    </a:lnTo>
                    <a:lnTo>
                      <a:pt x="3516573" y="4857192"/>
                    </a:lnTo>
                    <a:lnTo>
                      <a:pt x="3484476" y="4855913"/>
                    </a:lnTo>
                    <a:lnTo>
                      <a:pt x="3459364" y="4822872"/>
                    </a:lnTo>
                    <a:lnTo>
                      <a:pt x="3434150" y="4811021"/>
                    </a:lnTo>
                    <a:lnTo>
                      <a:pt x="3408946" y="4799177"/>
                    </a:lnTo>
                    <a:lnTo>
                      <a:pt x="3380839" y="4789007"/>
                    </a:lnTo>
                    <a:lnTo>
                      <a:pt x="3364778" y="4772935"/>
                    </a:lnTo>
                    <a:lnTo>
                      <a:pt x="3344956" y="4789680"/>
                    </a:lnTo>
                    <a:lnTo>
                      <a:pt x="3335050" y="4825490"/>
                    </a:lnTo>
                    <a:lnTo>
                      <a:pt x="3299746" y="4837414"/>
                    </a:lnTo>
                    <a:lnTo>
                      <a:pt x="3158096" y="4889784"/>
                    </a:lnTo>
                    <a:lnTo>
                      <a:pt x="3138693" y="4860345"/>
                    </a:lnTo>
                    <a:lnTo>
                      <a:pt x="3130364" y="4821435"/>
                    </a:lnTo>
                    <a:lnTo>
                      <a:pt x="3110428" y="4798774"/>
                    </a:lnTo>
                    <a:lnTo>
                      <a:pt x="3092698" y="4778608"/>
                    </a:lnTo>
                    <a:lnTo>
                      <a:pt x="3064499" y="4756851"/>
                    </a:lnTo>
                    <a:lnTo>
                      <a:pt x="3032891" y="4744367"/>
                    </a:lnTo>
                    <a:lnTo>
                      <a:pt x="2999579" y="4733347"/>
                    </a:lnTo>
                    <a:lnTo>
                      <a:pt x="2968275" y="4733617"/>
                    </a:lnTo>
                    <a:lnTo>
                      <a:pt x="2940398" y="4747090"/>
                    </a:lnTo>
                    <a:lnTo>
                      <a:pt x="2908096" y="4797884"/>
                    </a:lnTo>
                    <a:lnTo>
                      <a:pt x="2892828" y="4839848"/>
                    </a:lnTo>
                    <a:lnTo>
                      <a:pt x="2893204" y="4864097"/>
                    </a:lnTo>
                    <a:lnTo>
                      <a:pt x="2894152" y="4888552"/>
                    </a:lnTo>
                    <a:lnTo>
                      <a:pt x="2895104" y="4912998"/>
                    </a:lnTo>
                    <a:lnTo>
                      <a:pt x="2896813" y="4936978"/>
                    </a:lnTo>
                    <a:lnTo>
                      <a:pt x="2892794" y="4961998"/>
                    </a:lnTo>
                    <a:lnTo>
                      <a:pt x="2888587" y="4988121"/>
                    </a:lnTo>
                    <a:lnTo>
                      <a:pt x="2870334" y="5011434"/>
                    </a:lnTo>
                    <a:lnTo>
                      <a:pt x="2864232" y="5038170"/>
                    </a:lnTo>
                    <a:lnTo>
                      <a:pt x="2840723" y="5141228"/>
                    </a:lnTo>
                    <a:lnTo>
                      <a:pt x="2818793" y="5243879"/>
                    </a:lnTo>
                    <a:lnTo>
                      <a:pt x="2793501" y="5346936"/>
                    </a:lnTo>
                    <a:lnTo>
                      <a:pt x="2770216" y="5366755"/>
                    </a:lnTo>
                    <a:lnTo>
                      <a:pt x="2732296" y="5370059"/>
                    </a:lnTo>
                    <a:lnTo>
                      <a:pt x="2695002" y="5367783"/>
                    </a:lnTo>
                    <a:lnTo>
                      <a:pt x="2693101" y="5322218"/>
                    </a:lnTo>
                    <a:lnTo>
                      <a:pt x="2688636" y="5273806"/>
                    </a:lnTo>
                    <a:lnTo>
                      <a:pt x="2690128" y="5235397"/>
                    </a:lnTo>
                    <a:lnTo>
                      <a:pt x="2644537" y="5212288"/>
                    </a:lnTo>
                    <a:lnTo>
                      <a:pt x="2480047" y="5185335"/>
                    </a:lnTo>
                    <a:lnTo>
                      <a:pt x="2324234" y="5157867"/>
                    </a:lnTo>
                    <a:lnTo>
                      <a:pt x="2246322" y="5144136"/>
                    </a:lnTo>
                    <a:lnTo>
                      <a:pt x="2169781" y="5130551"/>
                    </a:lnTo>
                    <a:lnTo>
                      <a:pt x="2112045" y="5117065"/>
                    </a:lnTo>
                    <a:lnTo>
                      <a:pt x="2054294" y="5103579"/>
                    </a:lnTo>
                    <a:lnTo>
                      <a:pt x="2014432" y="5089966"/>
                    </a:lnTo>
                    <a:lnTo>
                      <a:pt x="2001838" y="5059643"/>
                    </a:lnTo>
                    <a:lnTo>
                      <a:pt x="2008662" y="5025929"/>
                    </a:lnTo>
                    <a:lnTo>
                      <a:pt x="2023796" y="4994987"/>
                    </a:lnTo>
                    <a:lnTo>
                      <a:pt x="2055928" y="4949080"/>
                    </a:lnTo>
                    <a:lnTo>
                      <a:pt x="2081148" y="4918750"/>
                    </a:lnTo>
                    <a:lnTo>
                      <a:pt x="2082115" y="4885828"/>
                    </a:lnTo>
                    <a:lnTo>
                      <a:pt x="2037296" y="4867956"/>
                    </a:lnTo>
                    <a:lnTo>
                      <a:pt x="2004588" y="4855907"/>
                    </a:lnTo>
                    <a:lnTo>
                      <a:pt x="1971871" y="4843850"/>
                    </a:lnTo>
                    <a:lnTo>
                      <a:pt x="1938564" y="4834598"/>
                    </a:lnTo>
                    <a:lnTo>
                      <a:pt x="1911236" y="4869229"/>
                    </a:lnTo>
                    <a:lnTo>
                      <a:pt x="1924116" y="4897388"/>
                    </a:lnTo>
                    <a:lnTo>
                      <a:pt x="1912095" y="4923914"/>
                    </a:lnTo>
                    <a:lnTo>
                      <a:pt x="1833197" y="4934795"/>
                    </a:lnTo>
                    <a:lnTo>
                      <a:pt x="1812287" y="4949738"/>
                    </a:lnTo>
                    <a:lnTo>
                      <a:pt x="1793305" y="4991458"/>
                    </a:lnTo>
                    <a:lnTo>
                      <a:pt x="1795113" y="5017772"/>
                    </a:lnTo>
                    <a:lnTo>
                      <a:pt x="1817877" y="5049698"/>
                    </a:lnTo>
                    <a:lnTo>
                      <a:pt x="1829117" y="5070815"/>
                    </a:lnTo>
                    <a:lnTo>
                      <a:pt x="1840353" y="5091931"/>
                    </a:lnTo>
                    <a:lnTo>
                      <a:pt x="1849243" y="5114513"/>
                    </a:lnTo>
                    <a:lnTo>
                      <a:pt x="1837281" y="5145627"/>
                    </a:lnTo>
                    <a:lnTo>
                      <a:pt x="1810498" y="5150494"/>
                    </a:lnTo>
                    <a:lnTo>
                      <a:pt x="1784800" y="5131355"/>
                    </a:lnTo>
                    <a:lnTo>
                      <a:pt x="1761177" y="5113431"/>
                    </a:lnTo>
                    <a:lnTo>
                      <a:pt x="1736623" y="5102101"/>
                    </a:lnTo>
                    <a:lnTo>
                      <a:pt x="1712485" y="5091548"/>
                    </a:lnTo>
                    <a:lnTo>
                      <a:pt x="1687311" y="5090890"/>
                    </a:lnTo>
                    <a:lnTo>
                      <a:pt x="1663176" y="5102101"/>
                    </a:lnTo>
                    <a:lnTo>
                      <a:pt x="1653651" y="5121140"/>
                    </a:lnTo>
                    <a:lnTo>
                      <a:pt x="1609254" y="5114025"/>
                    </a:lnTo>
                    <a:lnTo>
                      <a:pt x="1597140" y="5089921"/>
                    </a:lnTo>
                    <a:lnTo>
                      <a:pt x="1573399" y="5072173"/>
                    </a:lnTo>
                    <a:lnTo>
                      <a:pt x="1543708" y="5077311"/>
                    </a:lnTo>
                    <a:lnTo>
                      <a:pt x="1524202" y="5094240"/>
                    </a:lnTo>
                    <a:lnTo>
                      <a:pt x="1510832" y="5118423"/>
                    </a:lnTo>
                    <a:lnTo>
                      <a:pt x="1498678" y="5143978"/>
                    </a:lnTo>
                    <a:lnTo>
                      <a:pt x="1490151" y="5174539"/>
                    </a:lnTo>
                    <a:lnTo>
                      <a:pt x="1470022" y="5193235"/>
                    </a:lnTo>
                    <a:lnTo>
                      <a:pt x="1437262" y="5204836"/>
                    </a:lnTo>
                    <a:lnTo>
                      <a:pt x="1412386" y="5209822"/>
                    </a:lnTo>
                    <a:lnTo>
                      <a:pt x="1381104" y="5204315"/>
                    </a:lnTo>
                    <a:lnTo>
                      <a:pt x="1348969" y="5198671"/>
                    </a:lnTo>
                    <a:lnTo>
                      <a:pt x="1316832" y="5192998"/>
                    </a:lnTo>
                    <a:lnTo>
                      <a:pt x="1283587" y="5187848"/>
                    </a:lnTo>
                    <a:lnTo>
                      <a:pt x="1257834" y="5197311"/>
                    </a:lnTo>
                    <a:lnTo>
                      <a:pt x="1243831" y="5230748"/>
                    </a:lnTo>
                    <a:lnTo>
                      <a:pt x="1215263" y="5251270"/>
                    </a:lnTo>
                    <a:lnTo>
                      <a:pt x="1189825" y="5265324"/>
                    </a:lnTo>
                    <a:lnTo>
                      <a:pt x="1164382" y="5279379"/>
                    </a:lnTo>
                    <a:lnTo>
                      <a:pt x="1142495" y="5286937"/>
                    </a:lnTo>
                    <a:lnTo>
                      <a:pt x="1127169" y="5336437"/>
                    </a:lnTo>
                    <a:lnTo>
                      <a:pt x="1116729" y="5367098"/>
                    </a:lnTo>
                    <a:lnTo>
                      <a:pt x="1102773" y="5395904"/>
                    </a:lnTo>
                    <a:lnTo>
                      <a:pt x="1088818" y="5424709"/>
                    </a:lnTo>
                    <a:lnTo>
                      <a:pt x="1070385" y="5451255"/>
                    </a:lnTo>
                    <a:lnTo>
                      <a:pt x="1040207" y="5481597"/>
                    </a:lnTo>
                    <a:lnTo>
                      <a:pt x="1018267" y="5501046"/>
                    </a:lnTo>
                    <a:lnTo>
                      <a:pt x="996851" y="5519274"/>
                    </a:lnTo>
                    <a:lnTo>
                      <a:pt x="978995" y="5542805"/>
                    </a:lnTo>
                    <a:lnTo>
                      <a:pt x="976211" y="5583779"/>
                    </a:lnTo>
                    <a:lnTo>
                      <a:pt x="981711" y="5608095"/>
                    </a:lnTo>
                    <a:lnTo>
                      <a:pt x="987218" y="5632410"/>
                    </a:lnTo>
                    <a:lnTo>
                      <a:pt x="992349" y="5657874"/>
                    </a:lnTo>
                    <a:lnTo>
                      <a:pt x="978995" y="5678826"/>
                    </a:lnTo>
                    <a:lnTo>
                      <a:pt x="957871" y="5680816"/>
                    </a:lnTo>
                    <a:lnTo>
                      <a:pt x="924586" y="5670667"/>
                    </a:lnTo>
                    <a:lnTo>
                      <a:pt x="892185" y="5658974"/>
                    </a:lnTo>
                    <a:lnTo>
                      <a:pt x="856460" y="5657959"/>
                    </a:lnTo>
                    <a:lnTo>
                      <a:pt x="823935" y="5665227"/>
                    </a:lnTo>
                    <a:lnTo>
                      <a:pt x="793276" y="5673931"/>
                    </a:lnTo>
                    <a:lnTo>
                      <a:pt x="761290" y="5678382"/>
                    </a:lnTo>
                    <a:lnTo>
                      <a:pt x="727358" y="5681548"/>
                    </a:lnTo>
                    <a:lnTo>
                      <a:pt x="694913" y="5682821"/>
                    </a:lnTo>
                    <a:lnTo>
                      <a:pt x="656022" y="5686218"/>
                    </a:lnTo>
                    <a:lnTo>
                      <a:pt x="634616" y="5684199"/>
                    </a:lnTo>
                    <a:lnTo>
                      <a:pt x="597031" y="5670733"/>
                    </a:lnTo>
                    <a:lnTo>
                      <a:pt x="564133" y="5647539"/>
                    </a:lnTo>
                    <a:lnTo>
                      <a:pt x="531813" y="5622801"/>
                    </a:lnTo>
                    <a:lnTo>
                      <a:pt x="503204" y="5589530"/>
                    </a:lnTo>
                    <a:lnTo>
                      <a:pt x="475723" y="5560486"/>
                    </a:lnTo>
                    <a:lnTo>
                      <a:pt x="467559" y="5533283"/>
                    </a:lnTo>
                    <a:lnTo>
                      <a:pt x="469380" y="5512014"/>
                    </a:lnTo>
                    <a:lnTo>
                      <a:pt x="491418" y="5491853"/>
                    </a:lnTo>
                    <a:lnTo>
                      <a:pt x="514428" y="5482211"/>
                    </a:lnTo>
                    <a:lnTo>
                      <a:pt x="536932" y="5477509"/>
                    </a:lnTo>
                    <a:lnTo>
                      <a:pt x="545248" y="5450009"/>
                    </a:lnTo>
                    <a:lnTo>
                      <a:pt x="532842" y="5427184"/>
                    </a:lnTo>
                    <a:lnTo>
                      <a:pt x="515801" y="5407300"/>
                    </a:lnTo>
                    <a:lnTo>
                      <a:pt x="487778" y="5395997"/>
                    </a:lnTo>
                    <a:lnTo>
                      <a:pt x="453954" y="5412227"/>
                    </a:lnTo>
                    <a:lnTo>
                      <a:pt x="433251" y="5415695"/>
                    </a:lnTo>
                    <a:lnTo>
                      <a:pt x="406642" y="5408751"/>
                    </a:lnTo>
                    <a:lnTo>
                      <a:pt x="372340" y="5385022"/>
                    </a:lnTo>
                    <a:lnTo>
                      <a:pt x="337006" y="5401852"/>
                    </a:lnTo>
                    <a:lnTo>
                      <a:pt x="315209" y="5421742"/>
                    </a:lnTo>
                    <a:lnTo>
                      <a:pt x="293421" y="5441639"/>
                    </a:lnTo>
                    <a:lnTo>
                      <a:pt x="273497" y="5464550"/>
                    </a:lnTo>
                    <a:lnTo>
                      <a:pt x="270325" y="5491115"/>
                    </a:lnTo>
                    <a:lnTo>
                      <a:pt x="282250" y="5508867"/>
                    </a:lnTo>
                    <a:lnTo>
                      <a:pt x="300509" y="5521445"/>
                    </a:lnTo>
                    <a:lnTo>
                      <a:pt x="320651" y="5533283"/>
                    </a:lnTo>
                    <a:lnTo>
                      <a:pt x="340792" y="5545119"/>
                    </a:lnTo>
                    <a:lnTo>
                      <a:pt x="362831" y="5555936"/>
                    </a:lnTo>
                    <a:lnTo>
                      <a:pt x="381865" y="5567285"/>
                    </a:lnTo>
                    <a:lnTo>
                      <a:pt x="400897" y="5578635"/>
                    </a:lnTo>
                    <a:lnTo>
                      <a:pt x="426750" y="5606729"/>
                    </a:lnTo>
                    <a:lnTo>
                      <a:pt x="435192" y="5644017"/>
                    </a:lnTo>
                    <a:lnTo>
                      <a:pt x="424033" y="5670660"/>
                    </a:lnTo>
                    <a:lnTo>
                      <a:pt x="392166" y="5687833"/>
                    </a:lnTo>
                    <a:lnTo>
                      <a:pt x="379571" y="5705627"/>
                    </a:lnTo>
                    <a:lnTo>
                      <a:pt x="373286" y="5741786"/>
                    </a:lnTo>
                    <a:lnTo>
                      <a:pt x="390029" y="5778117"/>
                    </a:lnTo>
                    <a:lnTo>
                      <a:pt x="400357" y="5796662"/>
                    </a:lnTo>
                    <a:lnTo>
                      <a:pt x="414121" y="5815314"/>
                    </a:lnTo>
                    <a:lnTo>
                      <a:pt x="431227" y="5852455"/>
                    </a:lnTo>
                    <a:lnTo>
                      <a:pt x="426750" y="5889650"/>
                    </a:lnTo>
                    <a:lnTo>
                      <a:pt x="405858" y="5903890"/>
                    </a:lnTo>
                    <a:lnTo>
                      <a:pt x="372415" y="5915252"/>
                    </a:lnTo>
                    <a:lnTo>
                      <a:pt x="342414" y="5929102"/>
                    </a:lnTo>
                    <a:lnTo>
                      <a:pt x="312422" y="5942945"/>
                    </a:lnTo>
                    <a:lnTo>
                      <a:pt x="286336" y="5958364"/>
                    </a:lnTo>
                    <a:lnTo>
                      <a:pt x="281208" y="5982144"/>
                    </a:lnTo>
                    <a:lnTo>
                      <a:pt x="286253" y="6005623"/>
                    </a:lnTo>
                    <a:lnTo>
                      <a:pt x="292128" y="6025868"/>
                    </a:lnTo>
                    <a:lnTo>
                      <a:pt x="302931" y="6066289"/>
                    </a:lnTo>
                    <a:lnTo>
                      <a:pt x="307039" y="6087069"/>
                    </a:lnTo>
                    <a:lnTo>
                      <a:pt x="305687" y="6112723"/>
                    </a:lnTo>
                    <a:lnTo>
                      <a:pt x="276083" y="6137494"/>
                    </a:lnTo>
                    <a:lnTo>
                      <a:pt x="255362" y="6145368"/>
                    </a:lnTo>
                    <a:lnTo>
                      <a:pt x="234640" y="6153250"/>
                    </a:lnTo>
                    <a:lnTo>
                      <a:pt x="212580" y="6159751"/>
                    </a:lnTo>
                    <a:lnTo>
                      <a:pt x="192023" y="6169413"/>
                    </a:lnTo>
                    <a:lnTo>
                      <a:pt x="173016" y="6184773"/>
                    </a:lnTo>
                    <a:lnTo>
                      <a:pt x="150773" y="6197831"/>
                    </a:lnTo>
                    <a:lnTo>
                      <a:pt x="115258" y="6216098"/>
                    </a:lnTo>
                    <a:lnTo>
                      <a:pt x="80380" y="6236319"/>
                    </a:lnTo>
                    <a:lnTo>
                      <a:pt x="38197" y="6273962"/>
                    </a:lnTo>
                    <a:lnTo>
                      <a:pt x="16778" y="6305994"/>
                    </a:lnTo>
                    <a:lnTo>
                      <a:pt x="6443" y="6341236"/>
                    </a:lnTo>
                    <a:lnTo>
                      <a:pt x="0" y="6377602"/>
                    </a:lnTo>
                    <a:lnTo>
                      <a:pt x="2013" y="6413696"/>
                    </a:lnTo>
                    <a:lnTo>
                      <a:pt x="14607" y="6448694"/>
                    </a:lnTo>
                    <a:lnTo>
                      <a:pt x="28073" y="6472153"/>
                    </a:lnTo>
                    <a:lnTo>
                      <a:pt x="47384" y="6493249"/>
                    </a:lnTo>
                    <a:lnTo>
                      <a:pt x="71739" y="6505819"/>
                    </a:lnTo>
                    <a:lnTo>
                      <a:pt x="99610" y="6514017"/>
                    </a:lnTo>
                    <a:lnTo>
                      <a:pt x="130017" y="6512045"/>
                    </a:lnTo>
                    <a:lnTo>
                      <a:pt x="160152" y="6511260"/>
                    </a:lnTo>
                    <a:lnTo>
                      <a:pt x="190277" y="6510482"/>
                    </a:lnTo>
                    <a:lnTo>
                      <a:pt x="219618" y="6511062"/>
                    </a:lnTo>
                    <a:lnTo>
                      <a:pt x="244479" y="6523508"/>
                    </a:lnTo>
                    <a:lnTo>
                      <a:pt x="274598" y="6558947"/>
                    </a:lnTo>
                    <a:lnTo>
                      <a:pt x="288005" y="6588797"/>
                    </a:lnTo>
                    <a:lnTo>
                      <a:pt x="301415" y="6618638"/>
                    </a:lnTo>
                    <a:lnTo>
                      <a:pt x="310896" y="6651066"/>
                    </a:lnTo>
                    <a:lnTo>
                      <a:pt x="297530" y="6671767"/>
                    </a:lnTo>
                    <a:lnTo>
                      <a:pt x="263308" y="6678915"/>
                    </a:lnTo>
                    <a:lnTo>
                      <a:pt x="228374" y="6686381"/>
                    </a:lnTo>
                    <a:lnTo>
                      <a:pt x="202311" y="6701687"/>
                    </a:lnTo>
                    <a:lnTo>
                      <a:pt x="190817" y="6722350"/>
                    </a:lnTo>
                    <a:lnTo>
                      <a:pt x="194153" y="6756103"/>
                    </a:lnTo>
                    <a:lnTo>
                      <a:pt x="199219" y="6785555"/>
                    </a:lnTo>
                    <a:lnTo>
                      <a:pt x="187164" y="6806864"/>
                    </a:lnTo>
                    <a:lnTo>
                      <a:pt x="166951" y="6820027"/>
                    </a:lnTo>
                    <a:lnTo>
                      <a:pt x="148004" y="6834819"/>
                    </a:lnTo>
                    <a:lnTo>
                      <a:pt x="147008" y="6864510"/>
                    </a:lnTo>
                    <a:lnTo>
                      <a:pt x="172365" y="6877633"/>
                    </a:lnTo>
                    <a:lnTo>
                      <a:pt x="200952" y="6893480"/>
                    </a:lnTo>
                    <a:lnTo>
                      <a:pt x="229549" y="6909321"/>
                    </a:lnTo>
                    <a:lnTo>
                      <a:pt x="262087" y="6927016"/>
                    </a:lnTo>
                    <a:lnTo>
                      <a:pt x="279847" y="6957411"/>
                    </a:lnTo>
                    <a:lnTo>
                      <a:pt x="300584" y="6970344"/>
                    </a:lnTo>
                    <a:lnTo>
                      <a:pt x="326520" y="6955605"/>
                    </a:lnTo>
                    <a:lnTo>
                      <a:pt x="356019" y="6957411"/>
                    </a:lnTo>
                    <a:lnTo>
                      <a:pt x="386572" y="6964191"/>
                    </a:lnTo>
                    <a:lnTo>
                      <a:pt x="402270" y="6979168"/>
                    </a:lnTo>
                    <a:lnTo>
                      <a:pt x="417959" y="6994152"/>
                    </a:lnTo>
                    <a:lnTo>
                      <a:pt x="434070" y="7017749"/>
                    </a:lnTo>
                    <a:lnTo>
                      <a:pt x="449871" y="7058064"/>
                    </a:lnTo>
                    <a:lnTo>
                      <a:pt x="460859" y="7082312"/>
                    </a:lnTo>
                    <a:lnTo>
                      <a:pt x="468825" y="7104543"/>
                    </a:lnTo>
                    <a:lnTo>
                      <a:pt x="466195" y="7130153"/>
                    </a:lnTo>
                    <a:lnTo>
                      <a:pt x="436352" y="7156050"/>
                    </a:lnTo>
                    <a:lnTo>
                      <a:pt x="414502" y="7168237"/>
                    </a:lnTo>
                    <a:lnTo>
                      <a:pt x="392662" y="7180426"/>
                    </a:lnTo>
                    <a:lnTo>
                      <a:pt x="371906" y="7192361"/>
                    </a:lnTo>
                    <a:lnTo>
                      <a:pt x="390175" y="7278426"/>
                    </a:lnTo>
                    <a:lnTo>
                      <a:pt x="397700" y="7311887"/>
                    </a:lnTo>
                    <a:lnTo>
                      <a:pt x="418586" y="7331461"/>
                    </a:lnTo>
                    <a:lnTo>
                      <a:pt x="439471" y="7351042"/>
                    </a:lnTo>
                    <a:lnTo>
                      <a:pt x="473587" y="7356140"/>
                    </a:lnTo>
                    <a:lnTo>
                      <a:pt x="545090" y="7372271"/>
                    </a:lnTo>
                    <a:lnTo>
                      <a:pt x="557935" y="7399884"/>
                    </a:lnTo>
                    <a:lnTo>
                      <a:pt x="562769" y="7422597"/>
                    </a:lnTo>
                    <a:lnTo>
                      <a:pt x="567597" y="7445309"/>
                    </a:lnTo>
                    <a:lnTo>
                      <a:pt x="571454" y="7470000"/>
                    </a:lnTo>
                    <a:lnTo>
                      <a:pt x="576930" y="7494264"/>
                    </a:lnTo>
                    <a:lnTo>
                      <a:pt x="584532" y="7524614"/>
                    </a:lnTo>
                    <a:lnTo>
                      <a:pt x="592163" y="7554810"/>
                    </a:lnTo>
                    <a:lnTo>
                      <a:pt x="596851" y="7591228"/>
                    </a:lnTo>
                    <a:lnTo>
                      <a:pt x="595902" y="7641475"/>
                    </a:lnTo>
                    <a:lnTo>
                      <a:pt x="599496" y="7689196"/>
                    </a:lnTo>
                    <a:lnTo>
                      <a:pt x="601291" y="7713057"/>
                    </a:lnTo>
                    <a:lnTo>
                      <a:pt x="604125" y="7736739"/>
                    </a:lnTo>
                    <a:lnTo>
                      <a:pt x="613901" y="7774955"/>
                    </a:lnTo>
                    <a:lnTo>
                      <a:pt x="630777" y="7796653"/>
                    </a:lnTo>
                    <a:lnTo>
                      <a:pt x="665209" y="7811499"/>
                    </a:lnTo>
                    <a:lnTo>
                      <a:pt x="720936" y="7815996"/>
                    </a:lnTo>
                    <a:lnTo>
                      <a:pt x="777677" y="7815692"/>
                    </a:lnTo>
                    <a:lnTo>
                      <a:pt x="834421" y="7815362"/>
                    </a:lnTo>
                    <a:lnTo>
                      <a:pt x="892033" y="7809764"/>
                    </a:lnTo>
                    <a:lnTo>
                      <a:pt x="931379" y="7804811"/>
                    </a:lnTo>
                    <a:lnTo>
                      <a:pt x="943627" y="7827932"/>
                    </a:lnTo>
                    <a:lnTo>
                      <a:pt x="948941" y="7851654"/>
                    </a:lnTo>
                    <a:lnTo>
                      <a:pt x="951704" y="7882722"/>
                    </a:lnTo>
                    <a:lnTo>
                      <a:pt x="982396" y="7904868"/>
                    </a:lnTo>
                    <a:lnTo>
                      <a:pt x="1017061" y="7915585"/>
                    </a:lnTo>
                    <a:lnTo>
                      <a:pt x="1044284" y="7932673"/>
                    </a:lnTo>
                    <a:lnTo>
                      <a:pt x="1049716" y="7958511"/>
                    </a:lnTo>
                    <a:lnTo>
                      <a:pt x="1028021" y="7987793"/>
                    </a:lnTo>
                    <a:lnTo>
                      <a:pt x="1002504" y="7997494"/>
                    </a:lnTo>
                    <a:lnTo>
                      <a:pt x="978995" y="8008843"/>
                    </a:lnTo>
                    <a:lnTo>
                      <a:pt x="955477" y="8020187"/>
                    </a:lnTo>
                    <a:lnTo>
                      <a:pt x="933990" y="8033970"/>
                    </a:lnTo>
                    <a:lnTo>
                      <a:pt x="920502" y="8057811"/>
                    </a:lnTo>
                    <a:lnTo>
                      <a:pt x="915064" y="8080933"/>
                    </a:lnTo>
                    <a:lnTo>
                      <a:pt x="916422" y="8104054"/>
                    </a:lnTo>
                    <a:lnTo>
                      <a:pt x="918540" y="8125481"/>
                    </a:lnTo>
                    <a:lnTo>
                      <a:pt x="934102" y="8161186"/>
                    </a:lnTo>
                    <a:lnTo>
                      <a:pt x="955530" y="8192736"/>
                    </a:lnTo>
                    <a:lnTo>
                      <a:pt x="997347" y="8232741"/>
                    </a:lnTo>
                    <a:lnTo>
                      <a:pt x="1032182" y="8253621"/>
                    </a:lnTo>
                    <a:lnTo>
                      <a:pt x="1064683" y="8275442"/>
                    </a:lnTo>
                    <a:lnTo>
                      <a:pt x="1085574" y="8289800"/>
                    </a:lnTo>
                    <a:lnTo>
                      <a:pt x="1109071" y="8304613"/>
                    </a:lnTo>
                    <a:lnTo>
                      <a:pt x="1132688" y="8316246"/>
                    </a:lnTo>
                    <a:lnTo>
                      <a:pt x="1155369" y="8324714"/>
                    </a:lnTo>
                    <a:lnTo>
                      <a:pt x="1178911" y="8331737"/>
                    </a:lnTo>
                    <a:lnTo>
                      <a:pt x="1202060" y="8339367"/>
                    </a:lnTo>
                    <a:lnTo>
                      <a:pt x="1225206" y="8347004"/>
                    </a:lnTo>
                    <a:lnTo>
                      <a:pt x="1248501" y="8354734"/>
                    </a:lnTo>
                    <a:lnTo>
                      <a:pt x="1271433" y="8362496"/>
                    </a:lnTo>
                    <a:lnTo>
                      <a:pt x="1299751" y="8403872"/>
                    </a:lnTo>
                    <a:lnTo>
                      <a:pt x="1288809" y="8435554"/>
                    </a:lnTo>
                    <a:lnTo>
                      <a:pt x="1283677" y="8479469"/>
                    </a:lnTo>
                    <a:lnTo>
                      <a:pt x="1281113" y="8501424"/>
                    </a:lnTo>
                    <a:lnTo>
                      <a:pt x="1280670" y="8526162"/>
                    </a:lnTo>
                    <a:lnTo>
                      <a:pt x="1285038" y="8555641"/>
                    </a:lnTo>
                    <a:lnTo>
                      <a:pt x="1289404" y="8585120"/>
                    </a:lnTo>
                    <a:lnTo>
                      <a:pt x="1298675" y="8619242"/>
                    </a:lnTo>
                    <a:lnTo>
                      <a:pt x="1317681" y="8659016"/>
                    </a:lnTo>
                    <a:lnTo>
                      <a:pt x="1332105" y="8691040"/>
                    </a:lnTo>
                    <a:lnTo>
                      <a:pt x="1349503" y="8724925"/>
                    </a:lnTo>
                    <a:lnTo>
                      <a:pt x="1369365" y="8754233"/>
                    </a:lnTo>
                    <a:lnTo>
                      <a:pt x="1402011" y="8795036"/>
                    </a:lnTo>
                    <a:lnTo>
                      <a:pt x="1433296" y="8834480"/>
                    </a:lnTo>
                    <a:lnTo>
                      <a:pt x="1460553" y="8868403"/>
                    </a:lnTo>
                    <a:lnTo>
                      <a:pt x="1472742" y="8890253"/>
                    </a:lnTo>
                    <a:lnTo>
                      <a:pt x="1484936" y="8912101"/>
                    </a:lnTo>
                    <a:lnTo>
                      <a:pt x="1495308" y="8936233"/>
                    </a:lnTo>
                    <a:lnTo>
                      <a:pt x="1500566" y="8967208"/>
                    </a:lnTo>
                    <a:lnTo>
                      <a:pt x="1505384" y="8992262"/>
                    </a:lnTo>
                    <a:lnTo>
                      <a:pt x="1510265" y="9018662"/>
                    </a:lnTo>
                    <a:lnTo>
                      <a:pt x="1511663" y="9047784"/>
                    </a:lnTo>
                    <a:lnTo>
                      <a:pt x="1503921" y="9077976"/>
                    </a:lnTo>
                    <a:lnTo>
                      <a:pt x="1490421" y="9105161"/>
                    </a:lnTo>
                    <a:lnTo>
                      <a:pt x="1476927" y="9132345"/>
                    </a:lnTo>
                    <a:lnTo>
                      <a:pt x="1457217" y="9155817"/>
                    </a:lnTo>
                    <a:lnTo>
                      <a:pt x="1436021" y="9159568"/>
                    </a:lnTo>
                    <a:lnTo>
                      <a:pt x="1406991" y="9172053"/>
                    </a:lnTo>
                    <a:lnTo>
                      <a:pt x="1397934" y="9209902"/>
                    </a:lnTo>
                    <a:lnTo>
                      <a:pt x="1387020" y="9248217"/>
                    </a:lnTo>
                    <a:lnTo>
                      <a:pt x="1372097" y="9265673"/>
                    </a:lnTo>
                    <a:lnTo>
                      <a:pt x="1353899" y="9286936"/>
                    </a:lnTo>
                    <a:lnTo>
                      <a:pt x="1320115" y="9310217"/>
                    </a:lnTo>
                    <a:lnTo>
                      <a:pt x="1295924" y="9336404"/>
                    </a:lnTo>
                    <a:lnTo>
                      <a:pt x="1273616" y="9363047"/>
                    </a:lnTo>
                    <a:lnTo>
                      <a:pt x="1266543" y="9394090"/>
                    </a:lnTo>
                    <a:lnTo>
                      <a:pt x="1280961" y="9430257"/>
                    </a:lnTo>
                    <a:lnTo>
                      <a:pt x="1328115" y="9435276"/>
                    </a:lnTo>
                    <a:lnTo>
                      <a:pt x="1359849" y="9423458"/>
                    </a:lnTo>
                    <a:lnTo>
                      <a:pt x="1391584" y="9411632"/>
                    </a:lnTo>
                    <a:lnTo>
                      <a:pt x="1422317" y="9395039"/>
                    </a:lnTo>
                    <a:lnTo>
                      <a:pt x="1472267" y="9368456"/>
                    </a:lnTo>
                    <a:lnTo>
                      <a:pt x="1506336" y="9350749"/>
                    </a:lnTo>
                    <a:lnTo>
                      <a:pt x="1539395" y="9345921"/>
                    </a:lnTo>
                    <a:lnTo>
                      <a:pt x="1571877" y="9344596"/>
                    </a:lnTo>
                    <a:lnTo>
                      <a:pt x="1604851" y="9355404"/>
                    </a:lnTo>
                    <a:lnTo>
                      <a:pt x="1638688" y="9381283"/>
                    </a:lnTo>
                    <a:lnTo>
                      <a:pt x="1661499" y="9399360"/>
                    </a:lnTo>
                    <a:lnTo>
                      <a:pt x="1683898" y="9420338"/>
                    </a:lnTo>
                    <a:lnTo>
                      <a:pt x="1699903" y="9445214"/>
                    </a:lnTo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81" name="Donetsk¬0" descr="Donetsk¬0">
                <a:extLst>
                  <a:ext uri="{FF2B5EF4-FFF2-40B4-BE49-F238E27FC236}">
                    <a16:creationId xmlns:a16="http://schemas.microsoft.com/office/drawing/2014/main" id="{52A53BB5-7BCB-4AD2-AB8D-B84B3A0F62A5}"/>
                  </a:ext>
                </a:extLst>
              </p:cNvPr>
              <p:cNvSpPr/>
              <p:nvPr/>
            </p:nvSpPr>
            <p:spPr>
              <a:xfrm>
                <a:off x="50391081" y="16540820"/>
                <a:ext cx="8864890" cy="12419157"/>
              </a:xfrm>
              <a:custGeom>
                <a:avLst/>
                <a:gdLst/>
                <a:ahLst/>
                <a:cxnLst/>
                <a:rect l="0" t="0" r="0" b="0"/>
                <a:pathLst>
                  <a:path w="8864896" h="12419153">
                    <a:moveTo>
                      <a:pt x="8795733" y="7136010"/>
                    </a:moveTo>
                    <a:lnTo>
                      <a:pt x="8813382" y="7077519"/>
                    </a:lnTo>
                    <a:lnTo>
                      <a:pt x="8830894" y="7020533"/>
                    </a:lnTo>
                    <a:lnTo>
                      <a:pt x="8848704" y="6962563"/>
                    </a:lnTo>
                    <a:lnTo>
                      <a:pt x="8864467" y="6906447"/>
                    </a:lnTo>
                    <a:lnTo>
                      <a:pt x="8864895" y="6865473"/>
                    </a:lnTo>
                    <a:lnTo>
                      <a:pt x="8855227" y="6840860"/>
                    </a:lnTo>
                    <a:lnTo>
                      <a:pt x="8823322" y="6826207"/>
                    </a:lnTo>
                    <a:lnTo>
                      <a:pt x="8795535" y="6808341"/>
                    </a:lnTo>
                    <a:lnTo>
                      <a:pt x="8768305" y="6788834"/>
                    </a:lnTo>
                    <a:lnTo>
                      <a:pt x="8752021" y="6765284"/>
                    </a:lnTo>
                    <a:lnTo>
                      <a:pt x="8753367" y="6733529"/>
                    </a:lnTo>
                    <a:lnTo>
                      <a:pt x="8761695" y="6700587"/>
                    </a:lnTo>
                    <a:lnTo>
                      <a:pt x="8771177" y="6668536"/>
                    </a:lnTo>
                    <a:lnTo>
                      <a:pt x="8779207" y="6635602"/>
                    </a:lnTo>
                    <a:lnTo>
                      <a:pt x="8787244" y="6602659"/>
                    </a:lnTo>
                    <a:lnTo>
                      <a:pt x="8794195" y="6568841"/>
                    </a:lnTo>
                    <a:lnTo>
                      <a:pt x="8796893" y="6534943"/>
                    </a:lnTo>
                    <a:lnTo>
                      <a:pt x="8799020" y="6507634"/>
                    </a:lnTo>
                    <a:lnTo>
                      <a:pt x="8792800" y="6477811"/>
                    </a:lnTo>
                    <a:lnTo>
                      <a:pt x="8772634" y="6456088"/>
                    </a:lnTo>
                    <a:lnTo>
                      <a:pt x="8747916" y="6446532"/>
                    </a:lnTo>
                    <a:lnTo>
                      <a:pt x="8727179" y="6438513"/>
                    </a:lnTo>
                    <a:lnTo>
                      <a:pt x="8693513" y="6427486"/>
                    </a:lnTo>
                    <a:lnTo>
                      <a:pt x="8657887" y="6418371"/>
                    </a:lnTo>
                    <a:lnTo>
                      <a:pt x="8633659" y="6412528"/>
                    </a:lnTo>
                    <a:lnTo>
                      <a:pt x="8524277" y="6386130"/>
                    </a:lnTo>
                    <a:lnTo>
                      <a:pt x="8454371" y="6373230"/>
                    </a:lnTo>
                    <a:lnTo>
                      <a:pt x="8384744" y="6369002"/>
                    </a:lnTo>
                    <a:lnTo>
                      <a:pt x="8315118" y="6364768"/>
                    </a:lnTo>
                    <a:lnTo>
                      <a:pt x="8244877" y="6369787"/>
                    </a:lnTo>
                    <a:lnTo>
                      <a:pt x="8133107" y="6378518"/>
                    </a:lnTo>
                    <a:lnTo>
                      <a:pt x="8081767" y="6376732"/>
                    </a:lnTo>
                    <a:lnTo>
                      <a:pt x="7968522" y="6232983"/>
                    </a:lnTo>
                    <a:lnTo>
                      <a:pt x="7953192" y="6213567"/>
                    </a:lnTo>
                    <a:lnTo>
                      <a:pt x="7949397" y="6191435"/>
                    </a:lnTo>
                    <a:lnTo>
                      <a:pt x="7953558" y="6167692"/>
                    </a:lnTo>
                    <a:lnTo>
                      <a:pt x="7957750" y="6143945"/>
                    </a:lnTo>
                    <a:lnTo>
                      <a:pt x="7969638" y="6119042"/>
                    </a:lnTo>
                    <a:lnTo>
                      <a:pt x="7983479" y="6094239"/>
                    </a:lnTo>
                    <a:lnTo>
                      <a:pt x="8011173" y="6044631"/>
                    </a:lnTo>
                    <a:lnTo>
                      <a:pt x="8048052" y="5996561"/>
                    </a:lnTo>
                    <a:lnTo>
                      <a:pt x="8055580" y="5962302"/>
                    </a:lnTo>
                    <a:lnTo>
                      <a:pt x="8051531" y="5938625"/>
                    </a:lnTo>
                    <a:lnTo>
                      <a:pt x="8032071" y="5916315"/>
                    </a:lnTo>
                    <a:lnTo>
                      <a:pt x="8009325" y="5898371"/>
                    </a:lnTo>
                    <a:lnTo>
                      <a:pt x="7986586" y="5880418"/>
                    </a:lnTo>
                    <a:lnTo>
                      <a:pt x="7960975" y="5866318"/>
                    </a:lnTo>
                    <a:lnTo>
                      <a:pt x="7851506" y="5800904"/>
                    </a:lnTo>
                    <a:lnTo>
                      <a:pt x="7772608" y="5763115"/>
                    </a:lnTo>
                    <a:lnTo>
                      <a:pt x="7672000" y="5729705"/>
                    </a:lnTo>
                    <a:lnTo>
                      <a:pt x="7649726" y="5722313"/>
                    </a:lnTo>
                    <a:lnTo>
                      <a:pt x="7624431" y="5719081"/>
                    </a:lnTo>
                    <a:lnTo>
                      <a:pt x="7602634" y="5710660"/>
                    </a:lnTo>
                    <a:lnTo>
                      <a:pt x="7556851" y="5693025"/>
                    </a:lnTo>
                    <a:lnTo>
                      <a:pt x="7513411" y="5669460"/>
                    </a:lnTo>
                    <a:lnTo>
                      <a:pt x="7467969" y="5650817"/>
                    </a:lnTo>
                    <a:lnTo>
                      <a:pt x="7447270" y="5642323"/>
                    </a:lnTo>
                    <a:lnTo>
                      <a:pt x="7398200" y="5626198"/>
                    </a:lnTo>
                    <a:lnTo>
                      <a:pt x="7352348" y="5605926"/>
                    </a:lnTo>
                    <a:lnTo>
                      <a:pt x="7329429" y="5595789"/>
                    </a:lnTo>
                    <a:lnTo>
                      <a:pt x="7307191" y="5584901"/>
                    </a:lnTo>
                    <a:lnTo>
                      <a:pt x="7272372" y="5561661"/>
                    </a:lnTo>
                    <a:lnTo>
                      <a:pt x="7255778" y="5536560"/>
                    </a:lnTo>
                    <a:lnTo>
                      <a:pt x="7254909" y="5491366"/>
                    </a:lnTo>
                    <a:lnTo>
                      <a:pt x="7262586" y="5464465"/>
                    </a:lnTo>
                    <a:lnTo>
                      <a:pt x="7270251" y="5437571"/>
                    </a:lnTo>
                    <a:lnTo>
                      <a:pt x="7279733" y="5410611"/>
                    </a:lnTo>
                    <a:lnTo>
                      <a:pt x="7262283" y="5344299"/>
                    </a:lnTo>
                    <a:lnTo>
                      <a:pt x="7233205" y="5298438"/>
                    </a:lnTo>
                    <a:lnTo>
                      <a:pt x="7217696" y="5250915"/>
                    </a:lnTo>
                    <a:lnTo>
                      <a:pt x="7205176" y="5212513"/>
                    </a:lnTo>
                    <a:lnTo>
                      <a:pt x="7197567" y="5171182"/>
                    </a:lnTo>
                    <a:lnTo>
                      <a:pt x="7187769" y="5131217"/>
                    </a:lnTo>
                    <a:lnTo>
                      <a:pt x="7177971" y="5091252"/>
                    </a:lnTo>
                    <a:lnTo>
                      <a:pt x="7165898" y="5052303"/>
                    </a:lnTo>
                    <a:lnTo>
                      <a:pt x="7145601" y="5016961"/>
                    </a:lnTo>
                    <a:lnTo>
                      <a:pt x="7049967" y="5016703"/>
                    </a:lnTo>
                    <a:lnTo>
                      <a:pt x="6963975" y="5034729"/>
                    </a:lnTo>
                    <a:lnTo>
                      <a:pt x="6880365" y="5046883"/>
                    </a:lnTo>
                    <a:lnTo>
                      <a:pt x="6816059" y="5056194"/>
                    </a:lnTo>
                    <a:lnTo>
                      <a:pt x="6749105" y="5048208"/>
                    </a:lnTo>
                    <a:lnTo>
                      <a:pt x="6684495" y="5045523"/>
                    </a:lnTo>
                    <a:lnTo>
                      <a:pt x="6648106" y="5019553"/>
                    </a:lnTo>
                    <a:lnTo>
                      <a:pt x="6627667" y="4961280"/>
                    </a:lnTo>
                    <a:lnTo>
                      <a:pt x="6619674" y="4910698"/>
                    </a:lnTo>
                    <a:lnTo>
                      <a:pt x="6602887" y="4859178"/>
                    </a:lnTo>
                    <a:lnTo>
                      <a:pt x="6593616" y="4830741"/>
                    </a:lnTo>
                    <a:lnTo>
                      <a:pt x="6586690" y="4805622"/>
                    </a:lnTo>
                    <a:lnTo>
                      <a:pt x="6581121" y="4774850"/>
                    </a:lnTo>
                    <a:lnTo>
                      <a:pt x="6597629" y="4758355"/>
                    </a:lnTo>
                    <a:lnTo>
                      <a:pt x="6653675" y="4748338"/>
                    </a:lnTo>
                    <a:lnTo>
                      <a:pt x="6706540" y="4747639"/>
                    </a:lnTo>
                    <a:lnTo>
                      <a:pt x="6751151" y="4735406"/>
                    </a:lnTo>
                    <a:lnTo>
                      <a:pt x="6773450" y="4729279"/>
                    </a:lnTo>
                    <a:lnTo>
                      <a:pt x="6793982" y="4719979"/>
                    </a:lnTo>
                    <a:lnTo>
                      <a:pt x="6809634" y="4705477"/>
                    </a:lnTo>
                    <a:lnTo>
                      <a:pt x="6825280" y="4690974"/>
                    </a:lnTo>
                    <a:lnTo>
                      <a:pt x="6836504" y="4671731"/>
                    </a:lnTo>
                    <a:lnTo>
                      <a:pt x="6840913" y="4644270"/>
                    </a:lnTo>
                    <a:lnTo>
                      <a:pt x="6845558" y="4615430"/>
                    </a:lnTo>
                    <a:lnTo>
                      <a:pt x="6837000" y="4583142"/>
                    </a:lnTo>
                    <a:lnTo>
                      <a:pt x="6823233" y="4553135"/>
                    </a:lnTo>
                    <a:lnTo>
                      <a:pt x="6809454" y="4523129"/>
                    </a:lnTo>
                    <a:lnTo>
                      <a:pt x="6790652" y="4495740"/>
                    </a:lnTo>
                    <a:lnTo>
                      <a:pt x="6774275" y="4474247"/>
                    </a:lnTo>
                    <a:lnTo>
                      <a:pt x="6744026" y="4434572"/>
                    </a:lnTo>
                    <a:lnTo>
                      <a:pt x="6688705" y="4420940"/>
                    </a:lnTo>
                    <a:lnTo>
                      <a:pt x="6658648" y="4383113"/>
                    </a:lnTo>
                    <a:lnTo>
                      <a:pt x="6641886" y="4361942"/>
                    </a:lnTo>
                    <a:lnTo>
                      <a:pt x="6637849" y="4339836"/>
                    </a:lnTo>
                    <a:lnTo>
                      <a:pt x="6635530" y="4316458"/>
                    </a:lnTo>
                    <a:lnTo>
                      <a:pt x="6633223" y="4293086"/>
                    </a:lnTo>
                    <a:lnTo>
                      <a:pt x="6632219" y="4268321"/>
                    </a:lnTo>
                    <a:lnTo>
                      <a:pt x="6623283" y="4245733"/>
                    </a:lnTo>
                    <a:lnTo>
                      <a:pt x="6608623" y="4208624"/>
                    </a:lnTo>
                    <a:lnTo>
                      <a:pt x="6576526" y="4184822"/>
                    </a:lnTo>
                    <a:lnTo>
                      <a:pt x="6562077" y="4145076"/>
                    </a:lnTo>
                    <a:lnTo>
                      <a:pt x="6541669" y="4136911"/>
                    </a:lnTo>
                    <a:lnTo>
                      <a:pt x="6511668" y="4168355"/>
                    </a:lnTo>
                    <a:lnTo>
                      <a:pt x="6489989" y="4191326"/>
                    </a:lnTo>
                    <a:lnTo>
                      <a:pt x="6466908" y="4212317"/>
                    </a:lnTo>
                    <a:lnTo>
                      <a:pt x="6439616" y="4222019"/>
                    </a:lnTo>
                    <a:lnTo>
                      <a:pt x="6408381" y="4213089"/>
                    </a:lnTo>
                    <a:lnTo>
                      <a:pt x="6392866" y="4175939"/>
                    </a:lnTo>
                    <a:lnTo>
                      <a:pt x="6352434" y="4173480"/>
                    </a:lnTo>
                    <a:lnTo>
                      <a:pt x="6315618" y="4173098"/>
                    </a:lnTo>
                    <a:lnTo>
                      <a:pt x="6283235" y="4164121"/>
                    </a:lnTo>
                    <a:lnTo>
                      <a:pt x="6252130" y="4151961"/>
                    </a:lnTo>
                    <a:lnTo>
                      <a:pt x="6227301" y="4132764"/>
                    </a:lnTo>
                    <a:lnTo>
                      <a:pt x="6212505" y="4104272"/>
                    </a:lnTo>
                    <a:lnTo>
                      <a:pt x="6203997" y="4078137"/>
                    </a:lnTo>
                    <a:lnTo>
                      <a:pt x="6207773" y="4042386"/>
                    </a:lnTo>
                    <a:lnTo>
                      <a:pt x="6208424" y="4015862"/>
                    </a:lnTo>
                    <a:lnTo>
                      <a:pt x="6209553" y="3970529"/>
                    </a:lnTo>
                    <a:lnTo>
                      <a:pt x="6216920" y="3921693"/>
                    </a:lnTo>
                    <a:lnTo>
                      <a:pt x="6231542" y="3878483"/>
                    </a:lnTo>
                    <a:lnTo>
                      <a:pt x="6244131" y="3852295"/>
                    </a:lnTo>
                    <a:lnTo>
                      <a:pt x="6256601" y="3807945"/>
                    </a:lnTo>
                    <a:lnTo>
                      <a:pt x="6257370" y="3767623"/>
                    </a:lnTo>
                    <a:lnTo>
                      <a:pt x="6256025" y="3735664"/>
                    </a:lnTo>
                    <a:lnTo>
                      <a:pt x="6231145" y="3714495"/>
                    </a:lnTo>
                    <a:lnTo>
                      <a:pt x="6198713" y="3708493"/>
                    </a:lnTo>
                    <a:lnTo>
                      <a:pt x="6166256" y="3703019"/>
                    </a:lnTo>
                    <a:lnTo>
                      <a:pt x="6133793" y="3697539"/>
                    </a:lnTo>
                    <a:lnTo>
                      <a:pt x="6101795" y="3691643"/>
                    </a:lnTo>
                    <a:lnTo>
                      <a:pt x="6076488" y="3669009"/>
                    </a:lnTo>
                    <a:lnTo>
                      <a:pt x="6056806" y="3637643"/>
                    </a:lnTo>
                    <a:lnTo>
                      <a:pt x="6060806" y="3596999"/>
                    </a:lnTo>
                    <a:lnTo>
                      <a:pt x="6069369" y="3574075"/>
                    </a:lnTo>
                    <a:lnTo>
                      <a:pt x="6077840" y="3550677"/>
                    </a:lnTo>
                    <a:lnTo>
                      <a:pt x="6086299" y="3527272"/>
                    </a:lnTo>
                    <a:lnTo>
                      <a:pt x="6095290" y="3504070"/>
                    </a:lnTo>
                    <a:lnTo>
                      <a:pt x="6099600" y="3481306"/>
                    </a:lnTo>
                    <a:lnTo>
                      <a:pt x="6103916" y="3458540"/>
                    </a:lnTo>
                    <a:lnTo>
                      <a:pt x="6103302" y="3437160"/>
                    </a:lnTo>
                    <a:lnTo>
                      <a:pt x="6092810" y="3418733"/>
                    </a:lnTo>
                    <a:lnTo>
                      <a:pt x="6081741" y="3399291"/>
                    </a:lnTo>
                    <a:lnTo>
                      <a:pt x="6035213" y="3298996"/>
                    </a:lnTo>
                    <a:lnTo>
                      <a:pt x="6035052" y="3273512"/>
                    </a:lnTo>
                    <a:lnTo>
                      <a:pt x="6048242" y="3251216"/>
                    </a:lnTo>
                    <a:lnTo>
                      <a:pt x="6050642" y="3229664"/>
                    </a:lnTo>
                    <a:lnTo>
                      <a:pt x="6053600" y="3202374"/>
                    </a:lnTo>
                    <a:lnTo>
                      <a:pt x="6032789" y="3153175"/>
                    </a:lnTo>
                    <a:lnTo>
                      <a:pt x="6028869" y="3124929"/>
                    </a:lnTo>
                    <a:lnTo>
                      <a:pt x="6024510" y="3093498"/>
                    </a:lnTo>
                    <a:lnTo>
                      <a:pt x="6015047" y="2978794"/>
                    </a:lnTo>
                    <a:lnTo>
                      <a:pt x="6024783" y="2952183"/>
                    </a:lnTo>
                    <a:lnTo>
                      <a:pt x="6038103" y="2915819"/>
                    </a:lnTo>
                    <a:lnTo>
                      <a:pt x="6055721" y="2895315"/>
                    </a:lnTo>
                    <a:lnTo>
                      <a:pt x="6076476" y="2877377"/>
                    </a:lnTo>
                    <a:lnTo>
                      <a:pt x="6097225" y="2859432"/>
                    </a:lnTo>
                    <a:lnTo>
                      <a:pt x="6120492" y="2845055"/>
                    </a:lnTo>
                    <a:lnTo>
                      <a:pt x="6145842" y="2818887"/>
                    </a:lnTo>
                    <a:lnTo>
                      <a:pt x="6171602" y="2792303"/>
                    </a:lnTo>
                    <a:lnTo>
                      <a:pt x="6229415" y="2709286"/>
                    </a:lnTo>
                    <a:lnTo>
                      <a:pt x="6239703" y="2670626"/>
                    </a:lnTo>
                    <a:lnTo>
                      <a:pt x="6219295" y="2643422"/>
                    </a:lnTo>
                    <a:lnTo>
                      <a:pt x="6193833" y="2638173"/>
                    </a:lnTo>
                    <a:lnTo>
                      <a:pt x="6115878" y="2656599"/>
                    </a:lnTo>
                    <a:lnTo>
                      <a:pt x="6098242" y="2673344"/>
                    </a:lnTo>
                    <a:lnTo>
                      <a:pt x="6081604" y="2631136"/>
                    </a:lnTo>
                    <a:lnTo>
                      <a:pt x="6079136" y="2574197"/>
                    </a:lnTo>
                    <a:lnTo>
                      <a:pt x="6092828" y="2542765"/>
                    </a:lnTo>
                    <a:lnTo>
                      <a:pt x="6105231" y="2514386"/>
                    </a:lnTo>
                    <a:lnTo>
                      <a:pt x="6131604" y="2490658"/>
                    </a:lnTo>
                    <a:lnTo>
                      <a:pt x="6148589" y="2465228"/>
                    </a:lnTo>
                    <a:lnTo>
                      <a:pt x="6163863" y="2442371"/>
                    </a:lnTo>
                    <a:lnTo>
                      <a:pt x="6182305" y="2402649"/>
                    </a:lnTo>
                    <a:lnTo>
                      <a:pt x="6192115" y="2363219"/>
                    </a:lnTo>
                    <a:lnTo>
                      <a:pt x="6199216" y="2324176"/>
                    </a:lnTo>
                    <a:lnTo>
                      <a:pt x="6195904" y="2287997"/>
                    </a:lnTo>
                    <a:lnTo>
                      <a:pt x="6178516" y="2258478"/>
                    </a:lnTo>
                    <a:lnTo>
                      <a:pt x="6155386" y="2232639"/>
                    </a:lnTo>
                    <a:lnTo>
                      <a:pt x="6130916" y="2206794"/>
                    </a:lnTo>
                    <a:lnTo>
                      <a:pt x="6120027" y="2180948"/>
                    </a:lnTo>
                    <a:lnTo>
                      <a:pt x="6128187" y="2152385"/>
                    </a:lnTo>
                    <a:lnTo>
                      <a:pt x="6136633" y="2133089"/>
                    </a:lnTo>
                    <a:lnTo>
                      <a:pt x="6148589" y="2112651"/>
                    </a:lnTo>
                    <a:lnTo>
                      <a:pt x="6141793" y="2078932"/>
                    </a:lnTo>
                    <a:lnTo>
                      <a:pt x="6115233" y="2048978"/>
                    </a:lnTo>
                    <a:lnTo>
                      <a:pt x="6069698" y="2045139"/>
                    </a:lnTo>
                    <a:lnTo>
                      <a:pt x="6028888" y="2038129"/>
                    </a:lnTo>
                    <a:lnTo>
                      <a:pt x="5989895" y="2030480"/>
                    </a:lnTo>
                    <a:lnTo>
                      <a:pt x="5961791" y="2015851"/>
                    </a:lnTo>
                    <a:lnTo>
                      <a:pt x="5952725" y="1990521"/>
                    </a:lnTo>
                    <a:lnTo>
                      <a:pt x="5953314" y="1958602"/>
                    </a:lnTo>
                    <a:lnTo>
                      <a:pt x="5957742" y="1922871"/>
                    </a:lnTo>
                    <a:lnTo>
                      <a:pt x="5955423" y="1891228"/>
                    </a:lnTo>
                    <a:lnTo>
                      <a:pt x="5953420" y="1863555"/>
                    </a:lnTo>
                    <a:lnTo>
                      <a:pt x="5942847" y="1812228"/>
                    </a:lnTo>
                    <a:lnTo>
                      <a:pt x="5928212" y="1762008"/>
                    </a:lnTo>
                    <a:lnTo>
                      <a:pt x="5913583" y="1711787"/>
                    </a:lnTo>
                    <a:lnTo>
                      <a:pt x="5895166" y="1663276"/>
                    </a:lnTo>
                    <a:lnTo>
                      <a:pt x="5877890" y="1639586"/>
                    </a:lnTo>
                    <a:lnTo>
                      <a:pt x="5832956" y="1637040"/>
                    </a:lnTo>
                    <a:lnTo>
                      <a:pt x="5795290" y="1599126"/>
                    </a:lnTo>
                    <a:lnTo>
                      <a:pt x="5747305" y="1597425"/>
                    </a:lnTo>
                    <a:lnTo>
                      <a:pt x="5722494" y="1596534"/>
                    </a:lnTo>
                    <a:lnTo>
                      <a:pt x="5695618" y="1603716"/>
                    </a:lnTo>
                    <a:lnTo>
                      <a:pt x="5671136" y="1601501"/>
                    </a:lnTo>
                    <a:lnTo>
                      <a:pt x="5642909" y="1598974"/>
                    </a:lnTo>
                    <a:lnTo>
                      <a:pt x="5613757" y="1586193"/>
                    </a:lnTo>
                    <a:lnTo>
                      <a:pt x="5585442" y="1582454"/>
                    </a:lnTo>
                    <a:lnTo>
                      <a:pt x="5530239" y="1575121"/>
                    </a:lnTo>
                    <a:lnTo>
                      <a:pt x="5473604" y="1575061"/>
                    </a:lnTo>
                    <a:lnTo>
                      <a:pt x="5418141" y="1568855"/>
                    </a:lnTo>
                    <a:lnTo>
                      <a:pt x="5384692" y="1565116"/>
                    </a:lnTo>
                    <a:lnTo>
                      <a:pt x="5351615" y="1553871"/>
                    </a:lnTo>
                    <a:lnTo>
                      <a:pt x="5317483" y="1555251"/>
                    </a:lnTo>
                    <a:lnTo>
                      <a:pt x="5290155" y="1540313"/>
                    </a:lnTo>
                    <a:lnTo>
                      <a:pt x="5283272" y="1511685"/>
                    </a:lnTo>
                    <a:lnTo>
                      <a:pt x="5265803" y="1487244"/>
                    </a:lnTo>
                    <a:lnTo>
                      <a:pt x="5245395" y="1476363"/>
                    </a:lnTo>
                    <a:lnTo>
                      <a:pt x="5189628" y="1480437"/>
                    </a:lnTo>
                    <a:lnTo>
                      <a:pt x="5168841" y="1460370"/>
                    </a:lnTo>
                    <a:lnTo>
                      <a:pt x="5174664" y="1436193"/>
                    </a:lnTo>
                    <a:lnTo>
                      <a:pt x="5184189" y="1412424"/>
                    </a:lnTo>
                    <a:lnTo>
                      <a:pt x="5193826" y="1388657"/>
                    </a:lnTo>
                    <a:lnTo>
                      <a:pt x="5207289" y="1364816"/>
                    </a:lnTo>
                    <a:lnTo>
                      <a:pt x="5228565" y="1350380"/>
                    </a:lnTo>
                    <a:lnTo>
                      <a:pt x="5256278" y="1359375"/>
                    </a:lnTo>
                    <a:lnTo>
                      <a:pt x="5285231" y="1367757"/>
                    </a:lnTo>
                    <a:lnTo>
                      <a:pt x="5304883" y="1336821"/>
                    </a:lnTo>
                    <a:lnTo>
                      <a:pt x="5297224" y="1308601"/>
                    </a:lnTo>
                    <a:lnTo>
                      <a:pt x="5301143" y="1283204"/>
                    </a:lnTo>
                    <a:lnTo>
                      <a:pt x="5336236" y="1286171"/>
                    </a:lnTo>
                    <a:lnTo>
                      <a:pt x="5358275" y="1284562"/>
                    </a:lnTo>
                    <a:lnTo>
                      <a:pt x="5380320" y="1282961"/>
                    </a:lnTo>
                    <a:lnTo>
                      <a:pt x="5401460" y="1279102"/>
                    </a:lnTo>
                    <a:lnTo>
                      <a:pt x="5422575" y="1246754"/>
                    </a:lnTo>
                    <a:lnTo>
                      <a:pt x="5425241" y="1219109"/>
                    </a:lnTo>
                    <a:lnTo>
                      <a:pt x="5422196" y="1189345"/>
                    </a:lnTo>
                    <a:lnTo>
                      <a:pt x="5419158" y="1159588"/>
                    </a:lnTo>
                    <a:lnTo>
                      <a:pt x="5410631" y="1126958"/>
                    </a:lnTo>
                    <a:lnTo>
                      <a:pt x="5399078" y="1095493"/>
                    </a:lnTo>
                    <a:lnTo>
                      <a:pt x="5375967" y="1032565"/>
                    </a:lnTo>
                    <a:lnTo>
                      <a:pt x="5341377" y="972070"/>
                    </a:lnTo>
                    <a:lnTo>
                      <a:pt x="5318829" y="933629"/>
                    </a:lnTo>
                    <a:lnTo>
                      <a:pt x="5292176" y="910210"/>
                    </a:lnTo>
                    <a:lnTo>
                      <a:pt x="5279501" y="874215"/>
                    </a:lnTo>
                    <a:lnTo>
                      <a:pt x="5291252" y="853849"/>
                    </a:lnTo>
                    <a:lnTo>
                      <a:pt x="5306582" y="835694"/>
                    </a:lnTo>
                    <a:lnTo>
                      <a:pt x="5321917" y="817538"/>
                    </a:lnTo>
                    <a:lnTo>
                      <a:pt x="5341104" y="802020"/>
                    </a:lnTo>
                    <a:lnTo>
                      <a:pt x="5371254" y="769705"/>
                    </a:lnTo>
                    <a:lnTo>
                      <a:pt x="5373381" y="740668"/>
                    </a:lnTo>
                    <a:lnTo>
                      <a:pt x="5371874" y="711921"/>
                    </a:lnTo>
                    <a:lnTo>
                      <a:pt x="5370348" y="683166"/>
                    </a:lnTo>
                    <a:lnTo>
                      <a:pt x="5364674" y="654598"/>
                    </a:lnTo>
                    <a:lnTo>
                      <a:pt x="5367787" y="631667"/>
                    </a:lnTo>
                    <a:lnTo>
                      <a:pt x="5376791" y="566141"/>
                    </a:lnTo>
                    <a:lnTo>
                      <a:pt x="5388276" y="496689"/>
                    </a:lnTo>
                    <a:lnTo>
                      <a:pt x="5407233" y="433075"/>
                    </a:lnTo>
                    <a:lnTo>
                      <a:pt x="5383557" y="433859"/>
                    </a:lnTo>
                    <a:lnTo>
                      <a:pt x="5208721" y="419879"/>
                    </a:lnTo>
                    <a:lnTo>
                      <a:pt x="5086279" y="532380"/>
                    </a:lnTo>
                    <a:lnTo>
                      <a:pt x="5039690" y="537228"/>
                    </a:lnTo>
                    <a:lnTo>
                      <a:pt x="4972680" y="489112"/>
                    </a:lnTo>
                    <a:lnTo>
                      <a:pt x="4939187" y="466003"/>
                    </a:lnTo>
                    <a:lnTo>
                      <a:pt x="4904014" y="449410"/>
                    </a:lnTo>
                    <a:lnTo>
                      <a:pt x="4868829" y="432817"/>
                    </a:lnTo>
                    <a:lnTo>
                      <a:pt x="4830896" y="421804"/>
                    </a:lnTo>
                    <a:lnTo>
                      <a:pt x="4765275" y="403160"/>
                    </a:lnTo>
                    <a:lnTo>
                      <a:pt x="4741512" y="387735"/>
                    </a:lnTo>
                    <a:lnTo>
                      <a:pt x="4725997" y="365589"/>
                    </a:lnTo>
                    <a:lnTo>
                      <a:pt x="4768202" y="255177"/>
                    </a:lnTo>
                    <a:lnTo>
                      <a:pt x="4774788" y="234502"/>
                    </a:lnTo>
                    <a:lnTo>
                      <a:pt x="4898061" y="228996"/>
                    </a:lnTo>
                    <a:lnTo>
                      <a:pt x="4928490" y="223615"/>
                    </a:lnTo>
                    <a:lnTo>
                      <a:pt x="4929892" y="172418"/>
                    </a:lnTo>
                    <a:lnTo>
                      <a:pt x="4902377" y="156544"/>
                    </a:lnTo>
                    <a:lnTo>
                      <a:pt x="4792201" y="147469"/>
                    </a:lnTo>
                    <a:lnTo>
                      <a:pt x="4769287" y="113823"/>
                    </a:lnTo>
                    <a:lnTo>
                      <a:pt x="4744359" y="79205"/>
                    </a:lnTo>
                    <a:lnTo>
                      <a:pt x="4716286" y="50873"/>
                    </a:lnTo>
                    <a:lnTo>
                      <a:pt x="4688207" y="22542"/>
                    </a:lnTo>
                    <a:lnTo>
                      <a:pt x="4657071" y="0"/>
                    </a:lnTo>
                    <a:lnTo>
                      <a:pt x="4631950" y="548"/>
                    </a:lnTo>
                    <a:lnTo>
                      <a:pt x="4609179" y="25002"/>
                    </a:lnTo>
                    <a:lnTo>
                      <a:pt x="4605682" y="49363"/>
                    </a:lnTo>
                    <a:lnTo>
                      <a:pt x="4602036" y="73990"/>
                    </a:lnTo>
                    <a:lnTo>
                      <a:pt x="4598383" y="98614"/>
                    </a:lnTo>
                    <a:lnTo>
                      <a:pt x="4593813" y="123266"/>
                    </a:lnTo>
                    <a:lnTo>
                      <a:pt x="4410252" y="154242"/>
                    </a:lnTo>
                    <a:lnTo>
                      <a:pt x="4372344" y="157467"/>
                    </a:lnTo>
                    <a:lnTo>
                      <a:pt x="4331193" y="151743"/>
                    </a:lnTo>
                    <a:lnTo>
                      <a:pt x="4287828" y="142003"/>
                    </a:lnTo>
                    <a:lnTo>
                      <a:pt x="4244476" y="132254"/>
                    </a:lnTo>
                    <a:lnTo>
                      <a:pt x="4199660" y="118207"/>
                    </a:lnTo>
                    <a:lnTo>
                      <a:pt x="4154534" y="102552"/>
                    </a:lnTo>
                    <a:lnTo>
                      <a:pt x="4109408" y="86902"/>
                    </a:lnTo>
                    <a:lnTo>
                      <a:pt x="4064437" y="69452"/>
                    </a:lnTo>
                    <a:lnTo>
                      <a:pt x="4021228" y="54949"/>
                    </a:lnTo>
                    <a:lnTo>
                      <a:pt x="3978018" y="40441"/>
                    </a:lnTo>
                    <a:lnTo>
                      <a:pt x="3936420" y="28603"/>
                    </a:lnTo>
                    <a:lnTo>
                      <a:pt x="3898817" y="22304"/>
                    </a:lnTo>
                    <a:lnTo>
                      <a:pt x="3848023" y="13790"/>
                    </a:lnTo>
                    <a:lnTo>
                      <a:pt x="3768877" y="18289"/>
                    </a:lnTo>
                    <a:lnTo>
                      <a:pt x="3716545" y="19588"/>
                    </a:lnTo>
                    <a:lnTo>
                      <a:pt x="3679004" y="26769"/>
                    </a:lnTo>
                    <a:lnTo>
                      <a:pt x="3616279" y="30126"/>
                    </a:lnTo>
                    <a:lnTo>
                      <a:pt x="3573764" y="22219"/>
                    </a:lnTo>
                    <a:lnTo>
                      <a:pt x="3530206" y="37268"/>
                    </a:lnTo>
                    <a:lnTo>
                      <a:pt x="3520551" y="69636"/>
                    </a:lnTo>
                    <a:lnTo>
                      <a:pt x="3428606" y="223212"/>
                    </a:lnTo>
                    <a:lnTo>
                      <a:pt x="3396900" y="248101"/>
                    </a:lnTo>
                    <a:lnTo>
                      <a:pt x="3419063" y="265149"/>
                    </a:lnTo>
                    <a:lnTo>
                      <a:pt x="3439068" y="272581"/>
                    </a:lnTo>
                    <a:lnTo>
                      <a:pt x="3459067" y="280020"/>
                    </a:lnTo>
                    <a:lnTo>
                      <a:pt x="3484529" y="286522"/>
                    </a:lnTo>
                    <a:lnTo>
                      <a:pt x="3509798" y="291628"/>
                    </a:lnTo>
                    <a:lnTo>
                      <a:pt x="3535062" y="296725"/>
                    </a:lnTo>
                    <a:lnTo>
                      <a:pt x="3560121" y="300379"/>
                    </a:lnTo>
                    <a:lnTo>
                      <a:pt x="3583251" y="302509"/>
                    </a:lnTo>
                    <a:lnTo>
                      <a:pt x="3606375" y="304639"/>
                    </a:lnTo>
                    <a:lnTo>
                      <a:pt x="3640377" y="303867"/>
                    </a:lnTo>
                    <a:lnTo>
                      <a:pt x="3663581" y="301356"/>
                    </a:lnTo>
                    <a:lnTo>
                      <a:pt x="3694922" y="290091"/>
                    </a:lnTo>
                    <a:lnTo>
                      <a:pt x="3717904" y="298427"/>
                    </a:lnTo>
                    <a:lnTo>
                      <a:pt x="3749914" y="337403"/>
                    </a:lnTo>
                    <a:lnTo>
                      <a:pt x="3778142" y="382037"/>
                    </a:lnTo>
                    <a:lnTo>
                      <a:pt x="3802246" y="426283"/>
                    </a:lnTo>
                    <a:lnTo>
                      <a:pt x="3731559" y="486995"/>
                    </a:lnTo>
                    <a:lnTo>
                      <a:pt x="3656698" y="535098"/>
                    </a:lnTo>
                    <a:lnTo>
                      <a:pt x="3581844" y="583202"/>
                    </a:lnTo>
                    <a:lnTo>
                      <a:pt x="3500974" y="631053"/>
                    </a:lnTo>
                    <a:lnTo>
                      <a:pt x="3475791" y="645279"/>
                    </a:lnTo>
                    <a:lnTo>
                      <a:pt x="3400645" y="687487"/>
                    </a:lnTo>
                    <a:lnTo>
                      <a:pt x="3342447" y="724530"/>
                    </a:lnTo>
                    <a:lnTo>
                      <a:pt x="3282643" y="758171"/>
                    </a:lnTo>
                    <a:lnTo>
                      <a:pt x="3252809" y="774942"/>
                    </a:lnTo>
                    <a:lnTo>
                      <a:pt x="3212806" y="776854"/>
                    </a:lnTo>
                    <a:lnTo>
                      <a:pt x="3186072" y="797615"/>
                    </a:lnTo>
                    <a:lnTo>
                      <a:pt x="3160226" y="817743"/>
                    </a:lnTo>
                    <a:lnTo>
                      <a:pt x="3138119" y="847564"/>
                    </a:lnTo>
                    <a:lnTo>
                      <a:pt x="3108533" y="862904"/>
                    </a:lnTo>
                    <a:lnTo>
                      <a:pt x="3072374" y="881694"/>
                    </a:lnTo>
                    <a:lnTo>
                      <a:pt x="3035762" y="896380"/>
                    </a:lnTo>
                    <a:lnTo>
                      <a:pt x="2999721" y="917320"/>
                    </a:lnTo>
                    <a:lnTo>
                      <a:pt x="2947885" y="947425"/>
                    </a:lnTo>
                    <a:lnTo>
                      <a:pt x="2917543" y="971760"/>
                    </a:lnTo>
                    <a:lnTo>
                      <a:pt x="2900428" y="993490"/>
                    </a:lnTo>
                    <a:lnTo>
                      <a:pt x="2883313" y="1015207"/>
                    </a:lnTo>
                    <a:lnTo>
                      <a:pt x="2880020" y="1051973"/>
                    </a:lnTo>
                    <a:lnTo>
                      <a:pt x="2884987" y="1086142"/>
                    </a:lnTo>
                    <a:lnTo>
                      <a:pt x="2885923" y="1121180"/>
                    </a:lnTo>
                    <a:lnTo>
                      <a:pt x="2865063" y="1160790"/>
                    </a:lnTo>
                    <a:lnTo>
                      <a:pt x="2848468" y="1175370"/>
                    </a:lnTo>
                    <a:lnTo>
                      <a:pt x="2824538" y="1181576"/>
                    </a:lnTo>
                    <a:lnTo>
                      <a:pt x="2797054" y="1185277"/>
                    </a:lnTo>
                    <a:lnTo>
                      <a:pt x="2768746" y="1190097"/>
                    </a:lnTo>
                    <a:lnTo>
                      <a:pt x="2743743" y="1202218"/>
                    </a:lnTo>
                    <a:lnTo>
                      <a:pt x="2724966" y="1227437"/>
                    </a:lnTo>
                    <a:lnTo>
                      <a:pt x="2660536" y="1331327"/>
                    </a:lnTo>
                    <a:lnTo>
                      <a:pt x="2661677" y="1370455"/>
                    </a:lnTo>
                    <a:lnTo>
                      <a:pt x="2688236" y="1385227"/>
                    </a:lnTo>
                    <a:lnTo>
                      <a:pt x="2717927" y="1398740"/>
                    </a:lnTo>
                    <a:lnTo>
                      <a:pt x="2722219" y="1442458"/>
                    </a:lnTo>
                    <a:lnTo>
                      <a:pt x="2705172" y="1469345"/>
                    </a:lnTo>
                    <a:lnTo>
                      <a:pt x="2704558" y="1499478"/>
                    </a:lnTo>
                    <a:lnTo>
                      <a:pt x="2716979" y="1527242"/>
                    </a:lnTo>
                    <a:lnTo>
                      <a:pt x="2732947" y="1553332"/>
                    </a:lnTo>
                    <a:lnTo>
                      <a:pt x="2746732" y="1578372"/>
                    </a:lnTo>
                    <a:lnTo>
                      <a:pt x="2753057" y="1603631"/>
                    </a:lnTo>
                    <a:lnTo>
                      <a:pt x="2745808" y="1629285"/>
                    </a:lnTo>
                    <a:lnTo>
                      <a:pt x="2718144" y="1655902"/>
                    </a:lnTo>
                    <a:lnTo>
                      <a:pt x="2676442" y="1664601"/>
                    </a:lnTo>
                    <a:lnTo>
                      <a:pt x="2647414" y="1662700"/>
                    </a:lnTo>
                    <a:lnTo>
                      <a:pt x="2618380" y="1660809"/>
                    </a:lnTo>
                    <a:lnTo>
                      <a:pt x="2589117" y="1655915"/>
                    </a:lnTo>
                    <a:lnTo>
                      <a:pt x="2535756" y="1670483"/>
                    </a:lnTo>
                    <a:lnTo>
                      <a:pt x="2484236" y="1732693"/>
                    </a:lnTo>
                    <a:lnTo>
                      <a:pt x="2405302" y="1768799"/>
                    </a:lnTo>
                    <a:lnTo>
                      <a:pt x="2392081" y="1815511"/>
                    </a:lnTo>
                    <a:lnTo>
                      <a:pt x="2379275" y="1868409"/>
                    </a:lnTo>
                    <a:lnTo>
                      <a:pt x="2356325" y="1911619"/>
                    </a:lnTo>
                    <a:lnTo>
                      <a:pt x="2312799" y="1900737"/>
                    </a:lnTo>
                    <a:lnTo>
                      <a:pt x="2291950" y="1907306"/>
                    </a:lnTo>
                    <a:lnTo>
                      <a:pt x="2275666" y="1930665"/>
                    </a:lnTo>
                    <a:lnTo>
                      <a:pt x="2268733" y="1963304"/>
                    </a:lnTo>
                    <a:lnTo>
                      <a:pt x="2271449" y="1991094"/>
                    </a:lnTo>
                    <a:lnTo>
                      <a:pt x="2274717" y="2019077"/>
                    </a:lnTo>
                    <a:lnTo>
                      <a:pt x="2277979" y="2047052"/>
                    </a:lnTo>
                    <a:lnTo>
                      <a:pt x="2281328" y="2075990"/>
                    </a:lnTo>
                    <a:lnTo>
                      <a:pt x="2281514" y="2097965"/>
                    </a:lnTo>
                    <a:lnTo>
                      <a:pt x="2281514" y="2119945"/>
                    </a:lnTo>
                    <a:lnTo>
                      <a:pt x="2263828" y="2138774"/>
                    </a:lnTo>
                    <a:lnTo>
                      <a:pt x="2240170" y="2145784"/>
                    </a:lnTo>
                    <a:lnTo>
                      <a:pt x="2211316" y="2153526"/>
                    </a:lnTo>
                    <a:lnTo>
                      <a:pt x="2179498" y="2160537"/>
                    </a:lnTo>
                    <a:lnTo>
                      <a:pt x="2149100" y="2164006"/>
                    </a:lnTo>
                    <a:lnTo>
                      <a:pt x="2120122" y="2162509"/>
                    </a:lnTo>
                    <a:lnTo>
                      <a:pt x="2095162" y="2153731"/>
                    </a:lnTo>
                    <a:lnTo>
                      <a:pt x="2069688" y="2134566"/>
                    </a:lnTo>
                    <a:lnTo>
                      <a:pt x="2052635" y="2110330"/>
                    </a:lnTo>
                    <a:lnTo>
                      <a:pt x="2038037" y="2085718"/>
                    </a:lnTo>
                    <a:lnTo>
                      <a:pt x="2022584" y="2063797"/>
                    </a:lnTo>
                    <a:lnTo>
                      <a:pt x="1999081" y="2050522"/>
                    </a:lnTo>
                    <a:lnTo>
                      <a:pt x="1963232" y="2050356"/>
                    </a:lnTo>
                    <a:lnTo>
                      <a:pt x="1923353" y="2058007"/>
                    </a:lnTo>
                    <a:lnTo>
                      <a:pt x="1907459" y="2072119"/>
                    </a:lnTo>
                    <a:lnTo>
                      <a:pt x="1891076" y="2096138"/>
                    </a:lnTo>
                    <a:lnTo>
                      <a:pt x="1889469" y="2127088"/>
                    </a:lnTo>
                    <a:lnTo>
                      <a:pt x="1887063" y="2156455"/>
                    </a:lnTo>
                    <a:lnTo>
                      <a:pt x="1884620" y="2185816"/>
                    </a:lnTo>
                    <a:lnTo>
                      <a:pt x="1880521" y="2213487"/>
                    </a:lnTo>
                    <a:lnTo>
                      <a:pt x="1859859" y="2232627"/>
                    </a:lnTo>
                    <a:lnTo>
                      <a:pt x="1819117" y="2236419"/>
                    </a:lnTo>
                    <a:lnTo>
                      <a:pt x="1794567" y="2224461"/>
                    </a:lnTo>
                    <a:lnTo>
                      <a:pt x="1769991" y="2212512"/>
                    </a:lnTo>
                    <a:lnTo>
                      <a:pt x="1745633" y="2196037"/>
                    </a:lnTo>
                    <a:lnTo>
                      <a:pt x="1707930" y="2190260"/>
                    </a:lnTo>
                    <a:lnTo>
                      <a:pt x="1690027" y="2210368"/>
                    </a:lnTo>
                    <a:lnTo>
                      <a:pt x="1674872" y="2233985"/>
                    </a:lnTo>
                    <a:lnTo>
                      <a:pt x="1659697" y="2257601"/>
                    </a:lnTo>
                    <a:lnTo>
                      <a:pt x="1646904" y="2285332"/>
                    </a:lnTo>
                    <a:lnTo>
                      <a:pt x="1636784" y="2341442"/>
                    </a:lnTo>
                    <a:lnTo>
                      <a:pt x="1651121" y="2362044"/>
                    </a:lnTo>
                    <a:lnTo>
                      <a:pt x="1674121" y="2375248"/>
                    </a:lnTo>
                    <a:lnTo>
                      <a:pt x="1702076" y="2383604"/>
                    </a:lnTo>
                    <a:lnTo>
                      <a:pt x="1729640" y="2392533"/>
                    </a:lnTo>
                    <a:lnTo>
                      <a:pt x="1758135" y="2401238"/>
                    </a:lnTo>
                    <a:lnTo>
                      <a:pt x="1770078" y="2421688"/>
                    </a:lnTo>
                    <a:lnTo>
                      <a:pt x="1764962" y="2456748"/>
                    </a:lnTo>
                    <a:lnTo>
                      <a:pt x="1753428" y="2487289"/>
                    </a:lnTo>
                    <a:lnTo>
                      <a:pt x="1729268" y="2512824"/>
                    </a:lnTo>
                    <a:lnTo>
                      <a:pt x="1686517" y="2492301"/>
                    </a:lnTo>
                    <a:lnTo>
                      <a:pt x="1660156" y="2461990"/>
                    </a:lnTo>
                    <a:lnTo>
                      <a:pt x="1634062" y="2442099"/>
                    </a:lnTo>
                    <a:lnTo>
                      <a:pt x="1606851" y="2431212"/>
                    </a:lnTo>
                    <a:lnTo>
                      <a:pt x="1571963" y="2418761"/>
                    </a:lnTo>
                    <a:lnTo>
                      <a:pt x="1504786" y="2380477"/>
                    </a:lnTo>
                    <a:lnTo>
                      <a:pt x="1469470" y="2361847"/>
                    </a:lnTo>
                    <a:lnTo>
                      <a:pt x="1437020" y="2344719"/>
                    </a:lnTo>
                    <a:lnTo>
                      <a:pt x="1406386" y="2325601"/>
                    </a:lnTo>
                    <a:lnTo>
                      <a:pt x="1375628" y="2310155"/>
                    </a:lnTo>
                    <a:lnTo>
                      <a:pt x="1344852" y="2294718"/>
                    </a:lnTo>
                    <a:lnTo>
                      <a:pt x="1314419" y="2282754"/>
                    </a:lnTo>
                    <a:lnTo>
                      <a:pt x="1284489" y="2276153"/>
                    </a:lnTo>
                    <a:lnTo>
                      <a:pt x="1254556" y="2269558"/>
                    </a:lnTo>
                    <a:lnTo>
                      <a:pt x="1224654" y="2269465"/>
                    </a:lnTo>
                    <a:lnTo>
                      <a:pt x="1194715" y="2278877"/>
                    </a:lnTo>
                    <a:lnTo>
                      <a:pt x="1164766" y="2288287"/>
                    </a:lnTo>
                    <a:lnTo>
                      <a:pt x="1134390" y="2306167"/>
                    </a:lnTo>
                    <a:lnTo>
                      <a:pt x="1103586" y="2338724"/>
                    </a:lnTo>
                    <a:lnTo>
                      <a:pt x="1079699" y="2363963"/>
                    </a:lnTo>
                    <a:lnTo>
                      <a:pt x="1064689" y="2398190"/>
                    </a:lnTo>
                    <a:lnTo>
                      <a:pt x="1036932" y="2420336"/>
                    </a:lnTo>
                    <a:lnTo>
                      <a:pt x="959105" y="2419505"/>
                    </a:lnTo>
                    <a:lnTo>
                      <a:pt x="883652" y="2424927"/>
                    </a:lnTo>
                    <a:lnTo>
                      <a:pt x="827463" y="2405373"/>
                    </a:lnTo>
                    <a:lnTo>
                      <a:pt x="779981" y="2388839"/>
                    </a:lnTo>
                    <a:lnTo>
                      <a:pt x="746141" y="2361417"/>
                    </a:lnTo>
                    <a:lnTo>
                      <a:pt x="703684" y="2338724"/>
                    </a:lnTo>
                    <a:lnTo>
                      <a:pt x="654546" y="2332684"/>
                    </a:lnTo>
                    <a:lnTo>
                      <a:pt x="613408" y="2330745"/>
                    </a:lnTo>
                    <a:lnTo>
                      <a:pt x="582622" y="2344166"/>
                    </a:lnTo>
                    <a:lnTo>
                      <a:pt x="563253" y="2366674"/>
                    </a:lnTo>
                    <a:lnTo>
                      <a:pt x="555762" y="2397821"/>
                    </a:lnTo>
                    <a:lnTo>
                      <a:pt x="556763" y="2433936"/>
                    </a:lnTo>
                    <a:lnTo>
                      <a:pt x="562763" y="2471104"/>
                    </a:lnTo>
                    <a:lnTo>
                      <a:pt x="578638" y="2548897"/>
                    </a:lnTo>
                    <a:lnTo>
                      <a:pt x="589316" y="2603477"/>
                    </a:lnTo>
                    <a:lnTo>
                      <a:pt x="609811" y="2661091"/>
                    </a:lnTo>
                    <a:lnTo>
                      <a:pt x="635196" y="2732460"/>
                    </a:lnTo>
                    <a:lnTo>
                      <a:pt x="643208" y="2773381"/>
                    </a:lnTo>
                    <a:lnTo>
                      <a:pt x="642457" y="2814791"/>
                    </a:lnTo>
                    <a:lnTo>
                      <a:pt x="641713" y="2856201"/>
                    </a:lnTo>
                    <a:lnTo>
                      <a:pt x="632352" y="2897565"/>
                    </a:lnTo>
                    <a:lnTo>
                      <a:pt x="627488" y="2967134"/>
                    </a:lnTo>
                    <a:lnTo>
                      <a:pt x="622052" y="3050104"/>
                    </a:lnTo>
                    <a:lnTo>
                      <a:pt x="634569" y="3093063"/>
                    </a:lnTo>
                    <a:lnTo>
                      <a:pt x="649257" y="3118117"/>
                    </a:lnTo>
                    <a:lnTo>
                      <a:pt x="663950" y="3143171"/>
                    </a:lnTo>
                    <a:lnTo>
                      <a:pt x="679574" y="3169050"/>
                    </a:lnTo>
                    <a:lnTo>
                      <a:pt x="683261" y="3190206"/>
                    </a:lnTo>
                    <a:lnTo>
                      <a:pt x="694532" y="3280299"/>
                    </a:lnTo>
                    <a:lnTo>
                      <a:pt x="711823" y="3311262"/>
                    </a:lnTo>
                    <a:lnTo>
                      <a:pt x="752289" y="3326997"/>
                    </a:lnTo>
                    <a:lnTo>
                      <a:pt x="779605" y="3320463"/>
                    </a:lnTo>
                    <a:lnTo>
                      <a:pt x="807039" y="3312628"/>
                    </a:lnTo>
                    <a:lnTo>
                      <a:pt x="834473" y="3304792"/>
                    </a:lnTo>
                    <a:lnTo>
                      <a:pt x="860980" y="3296272"/>
                    </a:lnTo>
                    <a:lnTo>
                      <a:pt x="887292" y="3294940"/>
                    </a:lnTo>
                    <a:lnTo>
                      <a:pt x="906807" y="3308295"/>
                    </a:lnTo>
                    <a:lnTo>
                      <a:pt x="916732" y="3330558"/>
                    </a:lnTo>
                    <a:lnTo>
                      <a:pt x="921296" y="3354788"/>
                    </a:lnTo>
                    <a:lnTo>
                      <a:pt x="908596" y="3372345"/>
                    </a:lnTo>
                    <a:lnTo>
                      <a:pt x="886266" y="3371546"/>
                    </a:lnTo>
                    <a:lnTo>
                      <a:pt x="866881" y="3383350"/>
                    </a:lnTo>
                    <a:lnTo>
                      <a:pt x="847586" y="3398012"/>
                    </a:lnTo>
                    <a:lnTo>
                      <a:pt x="834501" y="3428546"/>
                    </a:lnTo>
                    <a:lnTo>
                      <a:pt x="830346" y="3450824"/>
                    </a:lnTo>
                    <a:lnTo>
                      <a:pt x="830160" y="3482650"/>
                    </a:lnTo>
                    <a:lnTo>
                      <a:pt x="763507" y="3503055"/>
                    </a:lnTo>
                    <a:lnTo>
                      <a:pt x="753278" y="3550261"/>
                    </a:lnTo>
                    <a:lnTo>
                      <a:pt x="753991" y="3592824"/>
                    </a:lnTo>
                    <a:lnTo>
                      <a:pt x="754689" y="3635388"/>
                    </a:lnTo>
                    <a:lnTo>
                      <a:pt x="758878" y="3680438"/>
                    </a:lnTo>
                    <a:lnTo>
                      <a:pt x="770313" y="3704365"/>
                    </a:lnTo>
                    <a:lnTo>
                      <a:pt x="812059" y="3690205"/>
                    </a:lnTo>
                    <a:lnTo>
                      <a:pt x="857492" y="3691017"/>
                    </a:lnTo>
                    <a:lnTo>
                      <a:pt x="900891" y="3689400"/>
                    </a:lnTo>
                    <a:lnTo>
                      <a:pt x="930880" y="3674668"/>
                    </a:lnTo>
                    <a:lnTo>
                      <a:pt x="940343" y="3652674"/>
                    </a:lnTo>
                    <a:lnTo>
                      <a:pt x="949793" y="3630686"/>
                    </a:lnTo>
                    <a:lnTo>
                      <a:pt x="956261" y="3600666"/>
                    </a:lnTo>
                    <a:lnTo>
                      <a:pt x="960742" y="3571061"/>
                    </a:lnTo>
                    <a:lnTo>
                      <a:pt x="969702" y="3511859"/>
                    </a:lnTo>
                    <a:lnTo>
                      <a:pt x="970667" y="3451766"/>
                    </a:lnTo>
                    <a:lnTo>
                      <a:pt x="993577" y="3435009"/>
                    </a:lnTo>
                    <a:lnTo>
                      <a:pt x="1043692" y="3427115"/>
                    </a:lnTo>
                    <a:lnTo>
                      <a:pt x="1095403" y="3422802"/>
                    </a:lnTo>
                    <a:lnTo>
                      <a:pt x="1147112" y="3418489"/>
                    </a:lnTo>
                    <a:lnTo>
                      <a:pt x="1200777" y="3418007"/>
                    </a:lnTo>
                    <a:lnTo>
                      <a:pt x="1224623" y="3421443"/>
                    </a:lnTo>
                    <a:lnTo>
                      <a:pt x="1251859" y="3457933"/>
                    </a:lnTo>
                    <a:lnTo>
                      <a:pt x="1262326" y="3523579"/>
                    </a:lnTo>
                    <a:lnTo>
                      <a:pt x="1266791" y="3584667"/>
                    </a:lnTo>
                    <a:lnTo>
                      <a:pt x="1271240" y="3645756"/>
                    </a:lnTo>
                    <a:lnTo>
                      <a:pt x="1270620" y="3702346"/>
                    </a:lnTo>
                    <a:lnTo>
                      <a:pt x="1240259" y="3715715"/>
                    </a:lnTo>
                    <a:lnTo>
                      <a:pt x="1126220" y="3754987"/>
                    </a:lnTo>
                    <a:lnTo>
                      <a:pt x="1121774" y="3789056"/>
                    </a:lnTo>
                    <a:lnTo>
                      <a:pt x="1149856" y="3872607"/>
                    </a:lnTo>
                    <a:lnTo>
                      <a:pt x="1151167" y="3908397"/>
                    </a:lnTo>
                    <a:lnTo>
                      <a:pt x="1061393" y="3958723"/>
                    </a:lnTo>
                    <a:lnTo>
                      <a:pt x="1061861" y="3993815"/>
                    </a:lnTo>
                    <a:lnTo>
                      <a:pt x="1065489" y="4025372"/>
                    </a:lnTo>
                    <a:lnTo>
                      <a:pt x="1069234" y="4056928"/>
                    </a:lnTo>
                    <a:lnTo>
                      <a:pt x="1070202" y="4095805"/>
                    </a:lnTo>
                    <a:lnTo>
                      <a:pt x="1051883" y="4138270"/>
                    </a:lnTo>
                    <a:lnTo>
                      <a:pt x="1072155" y="4163521"/>
                    </a:lnTo>
                    <a:lnTo>
                      <a:pt x="1102333" y="4175584"/>
                    </a:lnTo>
                    <a:lnTo>
                      <a:pt x="1126694" y="4192678"/>
                    </a:lnTo>
                    <a:lnTo>
                      <a:pt x="1104134" y="4223054"/>
                    </a:lnTo>
                    <a:lnTo>
                      <a:pt x="1073079" y="4243913"/>
                    </a:lnTo>
                    <a:lnTo>
                      <a:pt x="1039636" y="4257967"/>
                    </a:lnTo>
                    <a:lnTo>
                      <a:pt x="1006147" y="4270747"/>
                    </a:lnTo>
                    <a:lnTo>
                      <a:pt x="975559" y="4278431"/>
                    </a:lnTo>
                    <a:lnTo>
                      <a:pt x="967560" y="4305569"/>
                    </a:lnTo>
                    <a:lnTo>
                      <a:pt x="964341" y="4350882"/>
                    </a:lnTo>
                    <a:lnTo>
                      <a:pt x="987528" y="4389100"/>
                    </a:lnTo>
                    <a:lnTo>
                      <a:pt x="994764" y="4433431"/>
                    </a:lnTo>
                    <a:lnTo>
                      <a:pt x="1000659" y="4469603"/>
                    </a:lnTo>
                    <a:lnTo>
                      <a:pt x="1012438" y="4563246"/>
                    </a:lnTo>
                    <a:lnTo>
                      <a:pt x="1012438" y="4600737"/>
                    </a:lnTo>
                    <a:lnTo>
                      <a:pt x="1012438" y="4641224"/>
                    </a:lnTo>
                    <a:lnTo>
                      <a:pt x="1000026" y="4672754"/>
                    </a:lnTo>
                    <a:lnTo>
                      <a:pt x="992033" y="4704112"/>
                    </a:lnTo>
                    <a:lnTo>
                      <a:pt x="984052" y="4735465"/>
                    </a:lnTo>
                    <a:lnTo>
                      <a:pt x="980691" y="4766427"/>
                    </a:lnTo>
                    <a:lnTo>
                      <a:pt x="996129" y="4808846"/>
                    </a:lnTo>
                    <a:lnTo>
                      <a:pt x="1011086" y="4833325"/>
                    </a:lnTo>
                    <a:lnTo>
                      <a:pt x="1032849" y="4836043"/>
                    </a:lnTo>
                    <a:lnTo>
                      <a:pt x="1072155" y="4813034"/>
                    </a:lnTo>
                    <a:lnTo>
                      <a:pt x="1099505" y="4806122"/>
                    </a:lnTo>
                    <a:lnTo>
                      <a:pt x="1126846" y="4799211"/>
                    </a:lnTo>
                    <a:lnTo>
                      <a:pt x="1154934" y="4798703"/>
                    </a:lnTo>
                    <a:lnTo>
                      <a:pt x="1179184" y="4830946"/>
                    </a:lnTo>
                    <a:lnTo>
                      <a:pt x="1183602" y="4859125"/>
                    </a:lnTo>
                    <a:lnTo>
                      <a:pt x="1182468" y="4880935"/>
                    </a:lnTo>
                    <a:lnTo>
                      <a:pt x="1217712" y="4879873"/>
                    </a:lnTo>
                    <a:lnTo>
                      <a:pt x="1272124" y="4883270"/>
                    </a:lnTo>
                    <a:lnTo>
                      <a:pt x="1304888" y="4898616"/>
                    </a:lnTo>
                    <a:lnTo>
                      <a:pt x="1322577" y="5008791"/>
                    </a:lnTo>
                    <a:lnTo>
                      <a:pt x="1325274" y="5038124"/>
                    </a:lnTo>
                    <a:lnTo>
                      <a:pt x="1340517" y="5064603"/>
                    </a:lnTo>
                    <a:lnTo>
                      <a:pt x="1345701" y="5093125"/>
                    </a:lnTo>
                    <a:lnTo>
                      <a:pt x="1350203" y="5117480"/>
                    </a:lnTo>
                    <a:lnTo>
                      <a:pt x="1347915" y="5144600"/>
                    </a:lnTo>
                    <a:lnTo>
                      <a:pt x="1351133" y="5169297"/>
                    </a:lnTo>
                    <a:lnTo>
                      <a:pt x="1356572" y="5210014"/>
                    </a:lnTo>
                    <a:lnTo>
                      <a:pt x="1367635" y="5252010"/>
                    </a:lnTo>
                    <a:lnTo>
                      <a:pt x="1374264" y="5293070"/>
                    </a:lnTo>
                    <a:lnTo>
                      <a:pt x="1382759" y="5345948"/>
                    </a:lnTo>
                    <a:lnTo>
                      <a:pt x="1397642" y="5415788"/>
                    </a:lnTo>
                    <a:lnTo>
                      <a:pt x="1390585" y="5468541"/>
                    </a:lnTo>
                    <a:lnTo>
                      <a:pt x="1386319" y="5500513"/>
                    </a:lnTo>
                    <a:lnTo>
                      <a:pt x="1375529" y="5519671"/>
                    </a:lnTo>
                    <a:lnTo>
                      <a:pt x="1345788" y="5545267"/>
                    </a:lnTo>
                    <a:lnTo>
                      <a:pt x="1306255" y="5554229"/>
                    </a:lnTo>
                    <a:lnTo>
                      <a:pt x="1264751" y="5558726"/>
                    </a:lnTo>
                    <a:lnTo>
                      <a:pt x="1225327" y="5566059"/>
                    </a:lnTo>
                    <a:lnTo>
                      <a:pt x="1193357" y="5586879"/>
                    </a:lnTo>
                    <a:lnTo>
                      <a:pt x="1181035" y="5617057"/>
                    </a:lnTo>
                    <a:lnTo>
                      <a:pt x="1196628" y="5716734"/>
                    </a:lnTo>
                    <a:lnTo>
                      <a:pt x="1206196" y="5804043"/>
                    </a:lnTo>
                    <a:lnTo>
                      <a:pt x="1232799" y="5891565"/>
                    </a:lnTo>
                    <a:lnTo>
                      <a:pt x="1239007" y="5911962"/>
                    </a:lnTo>
                    <a:lnTo>
                      <a:pt x="1254643" y="5931945"/>
                    </a:lnTo>
                    <a:lnTo>
                      <a:pt x="1260004" y="5954130"/>
                    </a:lnTo>
                    <a:lnTo>
                      <a:pt x="1265762" y="5978102"/>
                    </a:lnTo>
                    <a:lnTo>
                      <a:pt x="1272937" y="6024214"/>
                    </a:lnTo>
                    <a:lnTo>
                      <a:pt x="1273603" y="6069745"/>
                    </a:lnTo>
                    <a:lnTo>
                      <a:pt x="1274065" y="6092511"/>
                    </a:lnTo>
                    <a:lnTo>
                      <a:pt x="1272602" y="6115666"/>
                    </a:lnTo>
                    <a:lnTo>
                      <a:pt x="1263737" y="6154405"/>
                    </a:lnTo>
                    <a:lnTo>
                      <a:pt x="1245047" y="6181285"/>
                    </a:lnTo>
                    <a:lnTo>
                      <a:pt x="1193382" y="6229712"/>
                    </a:lnTo>
                    <a:lnTo>
                      <a:pt x="1152547" y="6262897"/>
                    </a:lnTo>
                    <a:lnTo>
                      <a:pt x="1132130" y="6279490"/>
                    </a:lnTo>
                    <a:lnTo>
                      <a:pt x="1111139" y="6295053"/>
                    </a:lnTo>
                    <a:lnTo>
                      <a:pt x="1092706" y="6305057"/>
                    </a:lnTo>
                    <a:lnTo>
                      <a:pt x="1074251" y="6315069"/>
                    </a:lnTo>
                    <a:lnTo>
                      <a:pt x="1047812" y="6314581"/>
                    </a:lnTo>
                    <a:lnTo>
                      <a:pt x="1023122" y="6303529"/>
                    </a:lnTo>
                    <a:lnTo>
                      <a:pt x="997006" y="6294308"/>
                    </a:lnTo>
                    <a:lnTo>
                      <a:pt x="973008" y="6281936"/>
                    </a:lnTo>
                    <a:lnTo>
                      <a:pt x="951539" y="6270890"/>
                    </a:lnTo>
                    <a:lnTo>
                      <a:pt x="928545" y="6250782"/>
                    </a:lnTo>
                    <a:lnTo>
                      <a:pt x="906351" y="6242492"/>
                    </a:lnTo>
                    <a:lnTo>
                      <a:pt x="884886" y="6234479"/>
                    </a:lnTo>
                    <a:lnTo>
                      <a:pt x="846181" y="6228050"/>
                    </a:lnTo>
                    <a:lnTo>
                      <a:pt x="809777" y="6218005"/>
                    </a:lnTo>
                    <a:lnTo>
                      <a:pt x="773373" y="6207967"/>
                    </a:lnTo>
                    <a:lnTo>
                      <a:pt x="739766" y="6193630"/>
                    </a:lnTo>
                    <a:lnTo>
                      <a:pt x="726806" y="6171762"/>
                    </a:lnTo>
                    <a:lnTo>
                      <a:pt x="717290" y="6117354"/>
                    </a:lnTo>
                    <a:lnTo>
                      <a:pt x="698137" y="6088791"/>
                    </a:lnTo>
                    <a:lnTo>
                      <a:pt x="675556" y="6077843"/>
                    </a:lnTo>
                    <a:lnTo>
                      <a:pt x="650633" y="6071110"/>
                    </a:lnTo>
                    <a:lnTo>
                      <a:pt x="625714" y="6064370"/>
                    </a:lnTo>
                    <a:lnTo>
                      <a:pt x="598540" y="6062181"/>
                    </a:lnTo>
                    <a:lnTo>
                      <a:pt x="570381" y="6053423"/>
                    </a:lnTo>
                    <a:lnTo>
                      <a:pt x="546277" y="6045944"/>
                    </a:lnTo>
                    <a:lnTo>
                      <a:pt x="525252" y="6034621"/>
                    </a:lnTo>
                    <a:lnTo>
                      <a:pt x="503734" y="6026219"/>
                    </a:lnTo>
                    <a:lnTo>
                      <a:pt x="482213" y="6017818"/>
                    </a:lnTo>
                    <a:lnTo>
                      <a:pt x="460459" y="6012086"/>
                    </a:lnTo>
                    <a:lnTo>
                      <a:pt x="434361" y="6016697"/>
                    </a:lnTo>
                    <a:lnTo>
                      <a:pt x="394410" y="6023799"/>
                    </a:lnTo>
                    <a:lnTo>
                      <a:pt x="355380" y="6047264"/>
                    </a:lnTo>
                    <a:lnTo>
                      <a:pt x="317382" y="6053423"/>
                    </a:lnTo>
                    <a:lnTo>
                      <a:pt x="288820" y="6049347"/>
                    </a:lnTo>
                    <a:lnTo>
                      <a:pt x="264232" y="6046076"/>
                    </a:lnTo>
                    <a:lnTo>
                      <a:pt x="228969" y="6053423"/>
                    </a:lnTo>
                    <a:lnTo>
                      <a:pt x="196010" y="6069852"/>
                    </a:lnTo>
                    <a:lnTo>
                      <a:pt x="175921" y="6083350"/>
                    </a:lnTo>
                    <a:lnTo>
                      <a:pt x="159649" y="6109882"/>
                    </a:lnTo>
                    <a:lnTo>
                      <a:pt x="154710" y="6139454"/>
                    </a:lnTo>
                    <a:lnTo>
                      <a:pt x="154158" y="6171762"/>
                    </a:lnTo>
                    <a:lnTo>
                      <a:pt x="153563" y="6204070"/>
                    </a:lnTo>
                    <a:lnTo>
                      <a:pt x="158245" y="6239314"/>
                    </a:lnTo>
                    <a:lnTo>
                      <a:pt x="162322" y="6275137"/>
                    </a:lnTo>
                    <a:lnTo>
                      <a:pt x="166371" y="6310961"/>
                    </a:lnTo>
                    <a:lnTo>
                      <a:pt x="170164" y="6346877"/>
                    </a:lnTo>
                    <a:lnTo>
                      <a:pt x="167764" y="6383953"/>
                    </a:lnTo>
                    <a:lnTo>
                      <a:pt x="165370" y="6421030"/>
                    </a:lnTo>
                    <a:lnTo>
                      <a:pt x="156459" y="6458053"/>
                    </a:lnTo>
                    <a:lnTo>
                      <a:pt x="136476" y="6494128"/>
                    </a:lnTo>
                    <a:lnTo>
                      <a:pt x="162452" y="6541479"/>
                    </a:lnTo>
                    <a:lnTo>
                      <a:pt x="176647" y="6570041"/>
                    </a:lnTo>
                    <a:lnTo>
                      <a:pt x="154031" y="6639631"/>
                    </a:lnTo>
                    <a:lnTo>
                      <a:pt x="154158" y="6676397"/>
                    </a:lnTo>
                    <a:lnTo>
                      <a:pt x="211414" y="6681924"/>
                    </a:lnTo>
                    <a:lnTo>
                      <a:pt x="246348" y="6685921"/>
                    </a:lnTo>
                    <a:lnTo>
                      <a:pt x="268415" y="6692719"/>
                    </a:lnTo>
                    <a:lnTo>
                      <a:pt x="290494" y="6699519"/>
                    </a:lnTo>
                    <a:lnTo>
                      <a:pt x="305141" y="6722641"/>
                    </a:lnTo>
                    <a:lnTo>
                      <a:pt x="314235" y="6756400"/>
                    </a:lnTo>
                    <a:lnTo>
                      <a:pt x="322821" y="6783848"/>
                    </a:lnTo>
                    <a:lnTo>
                      <a:pt x="331428" y="6811302"/>
                    </a:lnTo>
                    <a:lnTo>
                      <a:pt x="345582" y="6845834"/>
                    </a:lnTo>
                    <a:lnTo>
                      <a:pt x="375872" y="6892663"/>
                    </a:lnTo>
                    <a:lnTo>
                      <a:pt x="356958" y="6903315"/>
                    </a:lnTo>
                    <a:lnTo>
                      <a:pt x="318620" y="6909224"/>
                    </a:lnTo>
                    <a:lnTo>
                      <a:pt x="294258" y="6910741"/>
                    </a:lnTo>
                    <a:lnTo>
                      <a:pt x="269779" y="6911710"/>
                    </a:lnTo>
                    <a:lnTo>
                      <a:pt x="245294" y="6912679"/>
                    </a:lnTo>
                    <a:lnTo>
                      <a:pt x="220114" y="6912995"/>
                    </a:lnTo>
                    <a:lnTo>
                      <a:pt x="199049" y="6913068"/>
                    </a:lnTo>
                    <a:lnTo>
                      <a:pt x="177983" y="6913135"/>
                    </a:lnTo>
                    <a:lnTo>
                      <a:pt x="151445" y="6913068"/>
                    </a:lnTo>
                    <a:lnTo>
                      <a:pt x="135124" y="6951154"/>
                    </a:lnTo>
                    <a:lnTo>
                      <a:pt x="106127" y="6956977"/>
                    </a:lnTo>
                    <a:lnTo>
                      <a:pt x="67026" y="6952810"/>
                    </a:lnTo>
                    <a:lnTo>
                      <a:pt x="38541" y="6947079"/>
                    </a:lnTo>
                    <a:lnTo>
                      <a:pt x="12697" y="6970200"/>
                    </a:lnTo>
                    <a:lnTo>
                      <a:pt x="726" y="7017684"/>
                    </a:lnTo>
                    <a:lnTo>
                      <a:pt x="456" y="7049096"/>
                    </a:lnTo>
                    <a:lnTo>
                      <a:pt x="0" y="7080500"/>
                    </a:lnTo>
                    <a:lnTo>
                      <a:pt x="5113" y="7111259"/>
                    </a:lnTo>
                    <a:lnTo>
                      <a:pt x="128318" y="7145665"/>
                    </a:lnTo>
                    <a:lnTo>
                      <a:pt x="144171" y="7177465"/>
                    </a:lnTo>
                    <a:lnTo>
                      <a:pt x="153532" y="7201899"/>
                    </a:lnTo>
                    <a:lnTo>
                      <a:pt x="159597" y="7227275"/>
                    </a:lnTo>
                    <a:lnTo>
                      <a:pt x="165680" y="7252660"/>
                    </a:lnTo>
                    <a:lnTo>
                      <a:pt x="168483" y="7279158"/>
                    </a:lnTo>
                    <a:lnTo>
                      <a:pt x="160949" y="7299372"/>
                    </a:lnTo>
                    <a:lnTo>
                      <a:pt x="175782" y="7330816"/>
                    </a:lnTo>
                    <a:lnTo>
                      <a:pt x="178749" y="7365861"/>
                    </a:lnTo>
                    <a:lnTo>
                      <a:pt x="173183" y="7402747"/>
                    </a:lnTo>
                    <a:lnTo>
                      <a:pt x="166080" y="7439289"/>
                    </a:lnTo>
                    <a:lnTo>
                      <a:pt x="151315" y="7475093"/>
                    </a:lnTo>
                    <a:lnTo>
                      <a:pt x="141899" y="7504764"/>
                    </a:lnTo>
                    <a:lnTo>
                      <a:pt x="143725" y="7527121"/>
                    </a:lnTo>
                    <a:lnTo>
                      <a:pt x="154878" y="7550532"/>
                    </a:lnTo>
                    <a:lnTo>
                      <a:pt x="178625" y="7572771"/>
                    </a:lnTo>
                    <a:lnTo>
                      <a:pt x="206078" y="7589567"/>
                    </a:lnTo>
                    <a:lnTo>
                      <a:pt x="254295" y="7604471"/>
                    </a:lnTo>
                    <a:lnTo>
                      <a:pt x="291251" y="7605559"/>
                    </a:lnTo>
                    <a:lnTo>
                      <a:pt x="322802" y="7601332"/>
                    </a:lnTo>
                    <a:lnTo>
                      <a:pt x="347970" y="7597969"/>
                    </a:lnTo>
                    <a:lnTo>
                      <a:pt x="405529" y="7573661"/>
                    </a:lnTo>
                    <a:lnTo>
                      <a:pt x="426176" y="7578211"/>
                    </a:lnTo>
                    <a:lnTo>
                      <a:pt x="444999" y="7652133"/>
                    </a:lnTo>
                    <a:lnTo>
                      <a:pt x="449306" y="7714230"/>
                    </a:lnTo>
                    <a:lnTo>
                      <a:pt x="453613" y="7776329"/>
                    </a:lnTo>
                    <a:lnTo>
                      <a:pt x="456400" y="7839244"/>
                    </a:lnTo>
                    <a:lnTo>
                      <a:pt x="486746" y="7870780"/>
                    </a:lnTo>
                    <a:lnTo>
                      <a:pt x="509833" y="7891100"/>
                    </a:lnTo>
                    <a:lnTo>
                      <a:pt x="528194" y="7912823"/>
                    </a:lnTo>
                    <a:lnTo>
                      <a:pt x="552872" y="7941979"/>
                    </a:lnTo>
                    <a:lnTo>
                      <a:pt x="562440" y="7984510"/>
                    </a:lnTo>
                    <a:lnTo>
                      <a:pt x="571720" y="8027073"/>
                    </a:lnTo>
                    <a:lnTo>
                      <a:pt x="581000" y="8069643"/>
                    </a:lnTo>
                    <a:lnTo>
                      <a:pt x="589242" y="8111725"/>
                    </a:lnTo>
                    <a:lnTo>
                      <a:pt x="611163" y="8138612"/>
                    </a:lnTo>
                    <a:lnTo>
                      <a:pt x="660323" y="8161484"/>
                    </a:lnTo>
                    <a:lnTo>
                      <a:pt x="695499" y="8167175"/>
                    </a:lnTo>
                    <a:lnTo>
                      <a:pt x="730672" y="8172866"/>
                    </a:lnTo>
                    <a:lnTo>
                      <a:pt x="764595" y="8176104"/>
                    </a:lnTo>
                    <a:lnTo>
                      <a:pt x="772502" y="8210615"/>
                    </a:lnTo>
                    <a:lnTo>
                      <a:pt x="736005" y="8241012"/>
                    </a:lnTo>
                    <a:lnTo>
                      <a:pt x="648748" y="8252698"/>
                    </a:lnTo>
                    <a:lnTo>
                      <a:pt x="643347" y="8277884"/>
                    </a:lnTo>
                    <a:lnTo>
                      <a:pt x="651610" y="8305590"/>
                    </a:lnTo>
                    <a:lnTo>
                      <a:pt x="662862" y="8330399"/>
                    </a:lnTo>
                    <a:lnTo>
                      <a:pt x="674099" y="8355216"/>
                    </a:lnTo>
                    <a:lnTo>
                      <a:pt x="688805" y="8377177"/>
                    </a:lnTo>
                    <a:lnTo>
                      <a:pt x="722229" y="8380560"/>
                    </a:lnTo>
                    <a:lnTo>
                      <a:pt x="763420" y="8377968"/>
                    </a:lnTo>
                    <a:lnTo>
                      <a:pt x="789220" y="8402850"/>
                    </a:lnTo>
                    <a:lnTo>
                      <a:pt x="781602" y="8432765"/>
                    </a:lnTo>
                    <a:lnTo>
                      <a:pt x="773029" y="8466418"/>
                    </a:lnTo>
                    <a:lnTo>
                      <a:pt x="764437" y="8500072"/>
                    </a:lnTo>
                    <a:lnTo>
                      <a:pt x="754267" y="8538402"/>
                    </a:lnTo>
                    <a:lnTo>
                      <a:pt x="759424" y="8571153"/>
                    </a:lnTo>
                    <a:lnTo>
                      <a:pt x="786172" y="8586723"/>
                    </a:lnTo>
                    <a:lnTo>
                      <a:pt x="821997" y="8577959"/>
                    </a:lnTo>
                    <a:lnTo>
                      <a:pt x="863321" y="8562645"/>
                    </a:lnTo>
                    <a:lnTo>
                      <a:pt x="884570" y="8552112"/>
                    </a:lnTo>
                    <a:lnTo>
                      <a:pt x="927060" y="8531049"/>
                    </a:lnTo>
                    <a:lnTo>
                      <a:pt x="967566" y="8508118"/>
                    </a:lnTo>
                    <a:lnTo>
                      <a:pt x="998609" y="8513560"/>
                    </a:lnTo>
                    <a:lnTo>
                      <a:pt x="1017451" y="8533239"/>
                    </a:lnTo>
                    <a:lnTo>
                      <a:pt x="1040145" y="8566820"/>
                    </a:lnTo>
                    <a:lnTo>
                      <a:pt x="1053325" y="8592705"/>
                    </a:lnTo>
                    <a:lnTo>
                      <a:pt x="1068192" y="8616043"/>
                    </a:lnTo>
                    <a:lnTo>
                      <a:pt x="1092848" y="8654723"/>
                    </a:lnTo>
                    <a:lnTo>
                      <a:pt x="1125777" y="8692367"/>
                    </a:lnTo>
                    <a:lnTo>
                      <a:pt x="1157973" y="8730300"/>
                    </a:lnTo>
                    <a:lnTo>
                      <a:pt x="1190151" y="8768234"/>
                    </a:lnTo>
                    <a:lnTo>
                      <a:pt x="1220667" y="8806940"/>
                    </a:lnTo>
                    <a:lnTo>
                      <a:pt x="1239580" y="8848640"/>
                    </a:lnTo>
                    <a:lnTo>
                      <a:pt x="1272053" y="8844617"/>
                    </a:lnTo>
                    <a:lnTo>
                      <a:pt x="1299598" y="8820019"/>
                    </a:lnTo>
                    <a:lnTo>
                      <a:pt x="1322549" y="8794231"/>
                    </a:lnTo>
                    <a:lnTo>
                      <a:pt x="1341348" y="8775021"/>
                    </a:lnTo>
                    <a:lnTo>
                      <a:pt x="1418962" y="8721972"/>
                    </a:lnTo>
                    <a:lnTo>
                      <a:pt x="1446334" y="8708537"/>
                    </a:lnTo>
                    <a:lnTo>
                      <a:pt x="1482642" y="8743016"/>
                    </a:lnTo>
                    <a:lnTo>
                      <a:pt x="1496607" y="8762425"/>
                    </a:lnTo>
                    <a:lnTo>
                      <a:pt x="1521194" y="8787940"/>
                    </a:lnTo>
                    <a:lnTo>
                      <a:pt x="1541540" y="8798307"/>
                    </a:lnTo>
                    <a:lnTo>
                      <a:pt x="1562785" y="8806947"/>
                    </a:lnTo>
                    <a:lnTo>
                      <a:pt x="1584775" y="8807613"/>
                    </a:lnTo>
                    <a:lnTo>
                      <a:pt x="1619074" y="8837751"/>
                    </a:lnTo>
                    <a:lnTo>
                      <a:pt x="1659803" y="8873542"/>
                    </a:lnTo>
                    <a:lnTo>
                      <a:pt x="1681854" y="8951711"/>
                    </a:lnTo>
                    <a:lnTo>
                      <a:pt x="1725169" y="8991453"/>
                    </a:lnTo>
                    <a:lnTo>
                      <a:pt x="1747828" y="9012201"/>
                    </a:lnTo>
                    <a:lnTo>
                      <a:pt x="1775845" y="9027922"/>
                    </a:lnTo>
                    <a:lnTo>
                      <a:pt x="1798622" y="9048584"/>
                    </a:lnTo>
                    <a:lnTo>
                      <a:pt x="1822596" y="9070261"/>
                    </a:lnTo>
                    <a:lnTo>
                      <a:pt x="1839339" y="9103071"/>
                    </a:lnTo>
                    <a:lnTo>
                      <a:pt x="1866631" y="9124755"/>
                    </a:lnTo>
                    <a:lnTo>
                      <a:pt x="1900259" y="9151366"/>
                    </a:lnTo>
                    <a:lnTo>
                      <a:pt x="1939445" y="9171216"/>
                    </a:lnTo>
                    <a:lnTo>
                      <a:pt x="1972726" y="9198202"/>
                    </a:lnTo>
                    <a:lnTo>
                      <a:pt x="1993085" y="9214762"/>
                    </a:lnTo>
                    <a:lnTo>
                      <a:pt x="2010523" y="9239111"/>
                    </a:lnTo>
                    <a:lnTo>
                      <a:pt x="2025771" y="9264852"/>
                    </a:lnTo>
                    <a:lnTo>
                      <a:pt x="2041032" y="9290596"/>
                    </a:lnTo>
                    <a:lnTo>
                      <a:pt x="2054917" y="9317602"/>
                    </a:lnTo>
                    <a:lnTo>
                      <a:pt x="2067939" y="9339663"/>
                    </a:lnTo>
                    <a:lnTo>
                      <a:pt x="2073719" y="9361044"/>
                    </a:lnTo>
                    <a:lnTo>
                      <a:pt x="2101940" y="9377747"/>
                    </a:lnTo>
                    <a:lnTo>
                      <a:pt x="2135104" y="9358242"/>
                    </a:lnTo>
                    <a:lnTo>
                      <a:pt x="2145448" y="9308378"/>
                    </a:lnTo>
                    <a:lnTo>
                      <a:pt x="2226937" y="9294094"/>
                    </a:lnTo>
                    <a:lnTo>
                      <a:pt x="2278841" y="9323301"/>
                    </a:lnTo>
                    <a:lnTo>
                      <a:pt x="2327719" y="9326064"/>
                    </a:lnTo>
                    <a:lnTo>
                      <a:pt x="2355593" y="9327636"/>
                    </a:lnTo>
                    <a:lnTo>
                      <a:pt x="2386419" y="9306167"/>
                    </a:lnTo>
                    <a:lnTo>
                      <a:pt x="2416129" y="9311100"/>
                    </a:lnTo>
                    <a:lnTo>
                      <a:pt x="2429703" y="9355947"/>
                    </a:lnTo>
                    <a:lnTo>
                      <a:pt x="2410083" y="9384435"/>
                    </a:lnTo>
                    <a:lnTo>
                      <a:pt x="2390282" y="9413119"/>
                    </a:lnTo>
                    <a:lnTo>
                      <a:pt x="2370501" y="9441793"/>
                    </a:lnTo>
                    <a:lnTo>
                      <a:pt x="2350117" y="9470644"/>
                    </a:lnTo>
                    <a:lnTo>
                      <a:pt x="2344040" y="9501529"/>
                    </a:lnTo>
                    <a:lnTo>
                      <a:pt x="2338478" y="9529834"/>
                    </a:lnTo>
                    <a:lnTo>
                      <a:pt x="2354160" y="9565243"/>
                    </a:lnTo>
                    <a:lnTo>
                      <a:pt x="2345392" y="9589939"/>
                    </a:lnTo>
                    <a:lnTo>
                      <a:pt x="2321617" y="9611959"/>
                    </a:lnTo>
                    <a:lnTo>
                      <a:pt x="2304055" y="9648695"/>
                    </a:lnTo>
                    <a:lnTo>
                      <a:pt x="2293711" y="9687874"/>
                    </a:lnTo>
                    <a:lnTo>
                      <a:pt x="2283362" y="9727053"/>
                    </a:lnTo>
                    <a:lnTo>
                      <a:pt x="2280751" y="9769274"/>
                    </a:lnTo>
                    <a:lnTo>
                      <a:pt x="2285551" y="9800773"/>
                    </a:lnTo>
                    <a:lnTo>
                      <a:pt x="2288980" y="9823348"/>
                    </a:lnTo>
                    <a:lnTo>
                      <a:pt x="2303745" y="9846593"/>
                    </a:lnTo>
                    <a:lnTo>
                      <a:pt x="2299150" y="9870145"/>
                    </a:lnTo>
                    <a:lnTo>
                      <a:pt x="2281173" y="9892243"/>
                    </a:lnTo>
                    <a:lnTo>
                      <a:pt x="2241088" y="9915070"/>
                    </a:lnTo>
                    <a:lnTo>
                      <a:pt x="2216172" y="9927270"/>
                    </a:lnTo>
                    <a:lnTo>
                      <a:pt x="2203770" y="9891161"/>
                    </a:lnTo>
                    <a:lnTo>
                      <a:pt x="2186493" y="9852732"/>
                    </a:lnTo>
                    <a:lnTo>
                      <a:pt x="2161763" y="9823894"/>
                    </a:lnTo>
                    <a:lnTo>
                      <a:pt x="2136065" y="9798252"/>
                    </a:lnTo>
                    <a:lnTo>
                      <a:pt x="2103149" y="9781527"/>
                    </a:lnTo>
                    <a:lnTo>
                      <a:pt x="2062476" y="9776284"/>
                    </a:lnTo>
                    <a:lnTo>
                      <a:pt x="2041516" y="9783071"/>
                    </a:lnTo>
                    <a:lnTo>
                      <a:pt x="2016228" y="9803495"/>
                    </a:lnTo>
                    <a:lnTo>
                      <a:pt x="1997277" y="9826387"/>
                    </a:lnTo>
                    <a:lnTo>
                      <a:pt x="1980682" y="9867876"/>
                    </a:lnTo>
                    <a:lnTo>
                      <a:pt x="1976838" y="9900453"/>
                    </a:lnTo>
                    <a:lnTo>
                      <a:pt x="1961818" y="9935434"/>
                    </a:lnTo>
                    <a:lnTo>
                      <a:pt x="1953286" y="9955303"/>
                    </a:lnTo>
                    <a:lnTo>
                      <a:pt x="1937733" y="9974799"/>
                    </a:lnTo>
                    <a:lnTo>
                      <a:pt x="1925095" y="9995282"/>
                    </a:lnTo>
                    <a:lnTo>
                      <a:pt x="1912451" y="10015758"/>
                    </a:lnTo>
                    <a:lnTo>
                      <a:pt x="1902610" y="10038209"/>
                    </a:lnTo>
                    <a:lnTo>
                      <a:pt x="1903335" y="10061932"/>
                    </a:lnTo>
                    <a:lnTo>
                      <a:pt x="1904123" y="10087137"/>
                    </a:lnTo>
                    <a:lnTo>
                      <a:pt x="1915397" y="10138867"/>
                    </a:lnTo>
                    <a:lnTo>
                      <a:pt x="1903335" y="10161222"/>
                    </a:lnTo>
                    <a:lnTo>
                      <a:pt x="1885389" y="10183159"/>
                    </a:lnTo>
                    <a:lnTo>
                      <a:pt x="1773935" y="10220394"/>
                    </a:lnTo>
                    <a:lnTo>
                      <a:pt x="1748269" y="10226514"/>
                    </a:lnTo>
                    <a:lnTo>
                      <a:pt x="1688527" y="10229652"/>
                    </a:lnTo>
                    <a:lnTo>
                      <a:pt x="1644895" y="10225153"/>
                    </a:lnTo>
                    <a:lnTo>
                      <a:pt x="1601258" y="10220657"/>
                    </a:lnTo>
                    <a:lnTo>
                      <a:pt x="1558283" y="10212704"/>
                    </a:lnTo>
                    <a:lnTo>
                      <a:pt x="1546799" y="10188216"/>
                    </a:lnTo>
                    <a:lnTo>
                      <a:pt x="1530632" y="10168028"/>
                    </a:lnTo>
                    <a:lnTo>
                      <a:pt x="1510069" y="10156252"/>
                    </a:lnTo>
                    <a:lnTo>
                      <a:pt x="1480316" y="10174868"/>
                    </a:lnTo>
                    <a:lnTo>
                      <a:pt x="1455828" y="10166670"/>
                    </a:lnTo>
                    <a:lnTo>
                      <a:pt x="1424549" y="10127221"/>
                    </a:lnTo>
                    <a:lnTo>
                      <a:pt x="1399298" y="10129903"/>
                    </a:lnTo>
                    <a:lnTo>
                      <a:pt x="1354147" y="10151409"/>
                    </a:lnTo>
                    <a:lnTo>
                      <a:pt x="1341571" y="10172111"/>
                    </a:lnTo>
                    <a:lnTo>
                      <a:pt x="1328815" y="10193130"/>
                    </a:lnTo>
                    <a:lnTo>
                      <a:pt x="1323888" y="10222437"/>
                    </a:lnTo>
                    <a:lnTo>
                      <a:pt x="1328381" y="10248482"/>
                    </a:lnTo>
                    <a:lnTo>
                      <a:pt x="1351611" y="10280526"/>
                    </a:lnTo>
                    <a:lnTo>
                      <a:pt x="1377463" y="10298587"/>
                    </a:lnTo>
                    <a:lnTo>
                      <a:pt x="1393252" y="10331252"/>
                    </a:lnTo>
                    <a:lnTo>
                      <a:pt x="1406287" y="10358159"/>
                    </a:lnTo>
                    <a:lnTo>
                      <a:pt x="1422081" y="10422614"/>
                    </a:lnTo>
                    <a:lnTo>
                      <a:pt x="1431345" y="10486312"/>
                    </a:lnTo>
                    <a:lnTo>
                      <a:pt x="1440610" y="10550020"/>
                    </a:lnTo>
                    <a:lnTo>
                      <a:pt x="1444244" y="10613542"/>
                    </a:lnTo>
                    <a:lnTo>
                      <a:pt x="1434043" y="10641379"/>
                    </a:lnTo>
                    <a:lnTo>
                      <a:pt x="1418484" y="10658730"/>
                    </a:lnTo>
                    <a:lnTo>
                      <a:pt x="1395193" y="10668614"/>
                    </a:lnTo>
                    <a:lnTo>
                      <a:pt x="1368751" y="10674022"/>
                    </a:lnTo>
                    <a:lnTo>
                      <a:pt x="1342309" y="10679432"/>
                    </a:lnTo>
                    <a:lnTo>
                      <a:pt x="1312677" y="10680446"/>
                    </a:lnTo>
                    <a:lnTo>
                      <a:pt x="1283060" y="10680821"/>
                    </a:lnTo>
                    <a:lnTo>
                      <a:pt x="1253434" y="10681218"/>
                    </a:lnTo>
                    <a:lnTo>
                      <a:pt x="1223829" y="10679925"/>
                    </a:lnTo>
                    <a:lnTo>
                      <a:pt x="1198724" y="10682182"/>
                    </a:lnTo>
                    <a:lnTo>
                      <a:pt x="1173625" y="10684437"/>
                    </a:lnTo>
                    <a:lnTo>
                      <a:pt x="1153114" y="10690173"/>
                    </a:lnTo>
                    <a:lnTo>
                      <a:pt x="1133435" y="10721631"/>
                    </a:lnTo>
                    <a:lnTo>
                      <a:pt x="1154603" y="10767151"/>
                    </a:lnTo>
                    <a:lnTo>
                      <a:pt x="1186278" y="10791168"/>
                    </a:lnTo>
                    <a:lnTo>
                      <a:pt x="1220487" y="10825002"/>
                    </a:lnTo>
                    <a:lnTo>
                      <a:pt x="1236762" y="10841112"/>
                    </a:lnTo>
                    <a:lnTo>
                      <a:pt x="1249319" y="10860581"/>
                    </a:lnTo>
                    <a:lnTo>
                      <a:pt x="1269455" y="10875333"/>
                    </a:lnTo>
                    <a:lnTo>
                      <a:pt x="1298743" y="10896669"/>
                    </a:lnTo>
                    <a:lnTo>
                      <a:pt x="1333299" y="10901639"/>
                    </a:lnTo>
                    <a:lnTo>
                      <a:pt x="1366029" y="10914776"/>
                    </a:lnTo>
                    <a:lnTo>
                      <a:pt x="1400885" y="10928719"/>
                    </a:lnTo>
                    <a:lnTo>
                      <a:pt x="1507322" y="10987506"/>
                    </a:lnTo>
                    <a:lnTo>
                      <a:pt x="1527898" y="11014069"/>
                    </a:lnTo>
                    <a:lnTo>
                      <a:pt x="1551940" y="11045100"/>
                    </a:lnTo>
                    <a:lnTo>
                      <a:pt x="1572540" y="11079439"/>
                    </a:lnTo>
                    <a:lnTo>
                      <a:pt x="1589103" y="11116085"/>
                    </a:lnTo>
                    <a:lnTo>
                      <a:pt x="1605660" y="11152734"/>
                    </a:lnTo>
                    <a:lnTo>
                      <a:pt x="1618026" y="11190641"/>
                    </a:lnTo>
                    <a:lnTo>
                      <a:pt x="1629907" y="11227619"/>
                    </a:lnTo>
                    <a:lnTo>
                      <a:pt x="1637268" y="11250616"/>
                    </a:lnTo>
                    <a:lnTo>
                      <a:pt x="1657118" y="11375542"/>
                    </a:lnTo>
                    <a:lnTo>
                      <a:pt x="1719508" y="11416522"/>
                    </a:lnTo>
                    <a:lnTo>
                      <a:pt x="1780335" y="11457794"/>
                    </a:lnTo>
                    <a:lnTo>
                      <a:pt x="1817616" y="11507822"/>
                    </a:lnTo>
                    <a:lnTo>
                      <a:pt x="1837256" y="11477855"/>
                    </a:lnTo>
                    <a:lnTo>
                      <a:pt x="1859908" y="11443978"/>
                    </a:lnTo>
                    <a:lnTo>
                      <a:pt x="1880186" y="11423495"/>
                    </a:lnTo>
                    <a:lnTo>
                      <a:pt x="1916184" y="11452821"/>
                    </a:lnTo>
                    <a:lnTo>
                      <a:pt x="1939438" y="11485975"/>
                    </a:lnTo>
                    <a:lnTo>
                      <a:pt x="1963158" y="11506464"/>
                    </a:lnTo>
                    <a:lnTo>
                      <a:pt x="1981476" y="11522320"/>
                    </a:lnTo>
                    <a:lnTo>
                      <a:pt x="2003986" y="11533253"/>
                    </a:lnTo>
                    <a:lnTo>
                      <a:pt x="2024364" y="11545910"/>
                    </a:lnTo>
                    <a:lnTo>
                      <a:pt x="2044747" y="11558566"/>
                    </a:lnTo>
                    <a:lnTo>
                      <a:pt x="2063003" y="11573542"/>
                    </a:lnTo>
                    <a:lnTo>
                      <a:pt x="2076050" y="11596235"/>
                    </a:lnTo>
                    <a:lnTo>
                      <a:pt x="2074531" y="11619316"/>
                    </a:lnTo>
                    <a:lnTo>
                      <a:pt x="2058520" y="11641166"/>
                    </a:lnTo>
                    <a:lnTo>
                      <a:pt x="2033889" y="11662888"/>
                    </a:lnTo>
                    <a:lnTo>
                      <a:pt x="2008364" y="11684527"/>
                    </a:lnTo>
                    <a:lnTo>
                      <a:pt x="1980459" y="11706858"/>
                    </a:lnTo>
                    <a:lnTo>
                      <a:pt x="1972677" y="11733619"/>
                    </a:lnTo>
                    <a:lnTo>
                      <a:pt x="1981817" y="11761245"/>
                    </a:lnTo>
                    <a:lnTo>
                      <a:pt x="2002356" y="11784242"/>
                    </a:lnTo>
                    <a:lnTo>
                      <a:pt x="2023005" y="11808427"/>
                    </a:lnTo>
                    <a:lnTo>
                      <a:pt x="2043655" y="11832615"/>
                    </a:lnTo>
                    <a:lnTo>
                      <a:pt x="2064088" y="11858117"/>
                    </a:lnTo>
                    <a:lnTo>
                      <a:pt x="2070618" y="11891402"/>
                    </a:lnTo>
                    <a:lnTo>
                      <a:pt x="2055481" y="11918904"/>
                    </a:lnTo>
                    <a:lnTo>
                      <a:pt x="1991553" y="11960985"/>
                    </a:lnTo>
                    <a:lnTo>
                      <a:pt x="1967238" y="11977089"/>
                    </a:lnTo>
                    <a:lnTo>
                      <a:pt x="1934043" y="11966678"/>
                    </a:lnTo>
                    <a:lnTo>
                      <a:pt x="1879721" y="11931440"/>
                    </a:lnTo>
                    <a:lnTo>
                      <a:pt x="1852343" y="11946022"/>
                    </a:lnTo>
                    <a:lnTo>
                      <a:pt x="1831389" y="11957630"/>
                    </a:lnTo>
                    <a:lnTo>
                      <a:pt x="1817499" y="11976457"/>
                    </a:lnTo>
                    <a:lnTo>
                      <a:pt x="1799937" y="11992053"/>
                    </a:lnTo>
                    <a:lnTo>
                      <a:pt x="1779064" y="12006188"/>
                    </a:lnTo>
                    <a:lnTo>
                      <a:pt x="1759933" y="12025167"/>
                    </a:lnTo>
                    <a:lnTo>
                      <a:pt x="1673390" y="12111283"/>
                    </a:lnTo>
                    <a:lnTo>
                      <a:pt x="1667988" y="12132156"/>
                    </a:lnTo>
                    <a:lnTo>
                      <a:pt x="1677687" y="12186987"/>
                    </a:lnTo>
                    <a:lnTo>
                      <a:pt x="1733281" y="12296738"/>
                    </a:lnTo>
                    <a:lnTo>
                      <a:pt x="1787690" y="12396031"/>
                    </a:lnTo>
                    <a:lnTo>
                      <a:pt x="1852510" y="12362542"/>
                    </a:lnTo>
                    <a:lnTo>
                      <a:pt x="1910789" y="12344261"/>
                    </a:lnTo>
                    <a:lnTo>
                      <a:pt x="1965874" y="12315785"/>
                    </a:lnTo>
                    <a:lnTo>
                      <a:pt x="2020544" y="12287474"/>
                    </a:lnTo>
                    <a:lnTo>
                      <a:pt x="2103987" y="12272343"/>
                    </a:lnTo>
                    <a:lnTo>
                      <a:pt x="2169911" y="12238249"/>
                    </a:lnTo>
                    <a:lnTo>
                      <a:pt x="2238515" y="12202762"/>
                    </a:lnTo>
                    <a:lnTo>
                      <a:pt x="2293184" y="12137129"/>
                    </a:lnTo>
                    <a:lnTo>
                      <a:pt x="2365775" y="12111751"/>
                    </a:lnTo>
                    <a:lnTo>
                      <a:pt x="2398300" y="12100363"/>
                    </a:lnTo>
                    <a:lnTo>
                      <a:pt x="2492106" y="12078045"/>
                    </a:lnTo>
                    <a:lnTo>
                      <a:pt x="2523564" y="12085914"/>
                    </a:lnTo>
                    <a:lnTo>
                      <a:pt x="2578519" y="12099637"/>
                    </a:lnTo>
                    <a:lnTo>
                      <a:pt x="2616439" y="12168963"/>
                    </a:lnTo>
                    <a:lnTo>
                      <a:pt x="2662297" y="12198803"/>
                    </a:lnTo>
                    <a:lnTo>
                      <a:pt x="2691244" y="12217633"/>
                    </a:lnTo>
                    <a:lnTo>
                      <a:pt x="2767115" y="12234423"/>
                    </a:lnTo>
                    <a:lnTo>
                      <a:pt x="2777918" y="12266817"/>
                    </a:lnTo>
                    <a:lnTo>
                      <a:pt x="2794878" y="12317738"/>
                    </a:lnTo>
                    <a:lnTo>
                      <a:pt x="2735781" y="12358204"/>
                    </a:lnTo>
                    <a:lnTo>
                      <a:pt x="2739830" y="12400115"/>
                    </a:lnTo>
                    <a:lnTo>
                      <a:pt x="2765670" y="12419152"/>
                    </a:lnTo>
                    <a:lnTo>
                      <a:pt x="2822206" y="12397985"/>
                    </a:lnTo>
                    <a:lnTo>
                      <a:pt x="2903522" y="12228172"/>
                    </a:lnTo>
                    <a:lnTo>
                      <a:pt x="2931620" y="12174318"/>
                    </a:lnTo>
                    <a:lnTo>
                      <a:pt x="2962055" y="12115912"/>
                    </a:lnTo>
                    <a:lnTo>
                      <a:pt x="2996614" y="12040810"/>
                    </a:lnTo>
                    <a:lnTo>
                      <a:pt x="3036351" y="11989331"/>
                    </a:lnTo>
                    <a:lnTo>
                      <a:pt x="3057355" y="11962126"/>
                    </a:lnTo>
                    <a:lnTo>
                      <a:pt x="3090209" y="11945336"/>
                    </a:lnTo>
                    <a:lnTo>
                      <a:pt x="3109804" y="11915884"/>
                    </a:lnTo>
                    <a:lnTo>
                      <a:pt x="3161454" y="11838394"/>
                    </a:lnTo>
                    <a:lnTo>
                      <a:pt x="3201191" y="11750958"/>
                    </a:lnTo>
                    <a:lnTo>
                      <a:pt x="3258068" y="11677846"/>
                    </a:lnTo>
                    <a:lnTo>
                      <a:pt x="3319702" y="11598616"/>
                    </a:lnTo>
                    <a:lnTo>
                      <a:pt x="3392646" y="11529501"/>
                    </a:lnTo>
                    <a:lnTo>
                      <a:pt x="3453938" y="11450691"/>
                    </a:lnTo>
                    <a:lnTo>
                      <a:pt x="3497291" y="11394880"/>
                    </a:lnTo>
                    <a:lnTo>
                      <a:pt x="3506729" y="11330909"/>
                    </a:lnTo>
                    <a:lnTo>
                      <a:pt x="3573633" y="11291550"/>
                    </a:lnTo>
                    <a:lnTo>
                      <a:pt x="3624340" y="11261623"/>
                    </a:lnTo>
                    <a:lnTo>
                      <a:pt x="3647979" y="11271489"/>
                    </a:lnTo>
                    <a:lnTo>
                      <a:pt x="3701489" y="11279309"/>
                    </a:lnTo>
                    <a:lnTo>
                      <a:pt x="3727205" y="11283088"/>
                    </a:lnTo>
                    <a:lnTo>
                      <a:pt x="3756493" y="11279507"/>
                    </a:lnTo>
                    <a:lnTo>
                      <a:pt x="3781745" y="11286108"/>
                    </a:lnTo>
                    <a:lnTo>
                      <a:pt x="3827863" y="11298225"/>
                    </a:lnTo>
                    <a:lnTo>
                      <a:pt x="3871432" y="11332781"/>
                    </a:lnTo>
                    <a:lnTo>
                      <a:pt x="3917761" y="11343234"/>
                    </a:lnTo>
                    <a:lnTo>
                      <a:pt x="3971197" y="11355224"/>
                    </a:lnTo>
                    <a:lnTo>
                      <a:pt x="4039887" y="11342173"/>
                    </a:lnTo>
                    <a:lnTo>
                      <a:pt x="4095952" y="11348675"/>
                    </a:lnTo>
                    <a:lnTo>
                      <a:pt x="4145896" y="11354420"/>
                    </a:lnTo>
                    <a:lnTo>
                      <a:pt x="4193037" y="11376689"/>
                    </a:lnTo>
                    <a:lnTo>
                      <a:pt x="4244209" y="11374522"/>
                    </a:lnTo>
                    <a:lnTo>
                      <a:pt x="4296870" y="11372311"/>
                    </a:lnTo>
                    <a:lnTo>
                      <a:pt x="4360339" y="11346979"/>
                    </a:lnTo>
                    <a:lnTo>
                      <a:pt x="4407437" y="11324196"/>
                    </a:lnTo>
                    <a:lnTo>
                      <a:pt x="4440080" y="11316965"/>
                    </a:lnTo>
                    <a:lnTo>
                      <a:pt x="4519988" y="11275650"/>
                    </a:lnTo>
                    <a:lnTo>
                      <a:pt x="4586812" y="11240375"/>
                    </a:lnTo>
                    <a:lnTo>
                      <a:pt x="4659068" y="11227619"/>
                    </a:lnTo>
                    <a:lnTo>
                      <a:pt x="4685975" y="11222856"/>
                    </a:lnTo>
                    <a:lnTo>
                      <a:pt x="4710457" y="11231188"/>
                    </a:lnTo>
                    <a:lnTo>
                      <a:pt x="4736607" y="11228977"/>
                    </a:lnTo>
                    <a:lnTo>
                      <a:pt x="4772314" y="11221585"/>
                    </a:lnTo>
                    <a:lnTo>
                      <a:pt x="4830326" y="11233575"/>
                    </a:lnTo>
                    <a:lnTo>
                      <a:pt x="4897832" y="11270857"/>
                    </a:lnTo>
                    <a:lnTo>
                      <a:pt x="4939274" y="11288834"/>
                    </a:lnTo>
                    <a:lnTo>
                      <a:pt x="5008386" y="11253214"/>
                    </a:lnTo>
                    <a:lnTo>
                      <a:pt x="5026326" y="11239866"/>
                    </a:lnTo>
                    <a:lnTo>
                      <a:pt x="5049066" y="11241271"/>
                    </a:lnTo>
                    <a:lnTo>
                      <a:pt x="5108101" y="11263800"/>
                    </a:lnTo>
                    <a:lnTo>
                      <a:pt x="5190992" y="11322453"/>
                    </a:lnTo>
                    <a:lnTo>
                      <a:pt x="5246678" y="11320119"/>
                    </a:lnTo>
                    <a:lnTo>
                      <a:pt x="5313539" y="11317356"/>
                    </a:lnTo>
                    <a:lnTo>
                      <a:pt x="5357022" y="11216314"/>
                    </a:lnTo>
                    <a:lnTo>
                      <a:pt x="5411258" y="11237141"/>
                    </a:lnTo>
                    <a:lnTo>
                      <a:pt x="5453308" y="11269278"/>
                    </a:lnTo>
                    <a:lnTo>
                      <a:pt x="5487179" y="11312891"/>
                    </a:lnTo>
                    <a:lnTo>
                      <a:pt x="5530965" y="11344601"/>
                    </a:lnTo>
                    <a:lnTo>
                      <a:pt x="5554852" y="11361859"/>
                    </a:lnTo>
                    <a:lnTo>
                      <a:pt x="5589572" y="11372739"/>
                    </a:lnTo>
                    <a:lnTo>
                      <a:pt x="5609850" y="11394927"/>
                    </a:lnTo>
                    <a:lnTo>
                      <a:pt x="5624355" y="11418516"/>
                    </a:lnTo>
                    <a:lnTo>
                      <a:pt x="5618860" y="11533498"/>
                    </a:lnTo>
                    <a:lnTo>
                      <a:pt x="5531653" y="11540170"/>
                    </a:lnTo>
                    <a:lnTo>
                      <a:pt x="5530965" y="11616640"/>
                    </a:lnTo>
                    <a:lnTo>
                      <a:pt x="5636931" y="11577446"/>
                    </a:lnTo>
                    <a:lnTo>
                      <a:pt x="5653252" y="11502250"/>
                    </a:lnTo>
                    <a:lnTo>
                      <a:pt x="5713224" y="11435727"/>
                    </a:lnTo>
                    <a:lnTo>
                      <a:pt x="5740726" y="11412178"/>
                    </a:lnTo>
                    <a:lnTo>
                      <a:pt x="5794068" y="11347357"/>
                    </a:lnTo>
                    <a:lnTo>
                      <a:pt x="5824677" y="11288149"/>
                    </a:lnTo>
                    <a:lnTo>
                      <a:pt x="5869648" y="11241224"/>
                    </a:lnTo>
                    <a:lnTo>
                      <a:pt x="5902211" y="11207214"/>
                    </a:lnTo>
                    <a:lnTo>
                      <a:pt x="5938041" y="11186090"/>
                    </a:lnTo>
                    <a:lnTo>
                      <a:pt x="5977108" y="11160972"/>
                    </a:lnTo>
                    <a:lnTo>
                      <a:pt x="5933892" y="11038167"/>
                    </a:lnTo>
                    <a:lnTo>
                      <a:pt x="5943058" y="11062482"/>
                    </a:lnTo>
                    <a:lnTo>
                      <a:pt x="5929496" y="10935175"/>
                    </a:lnTo>
                    <a:lnTo>
                      <a:pt x="5926885" y="10910311"/>
                    </a:lnTo>
                    <a:lnTo>
                      <a:pt x="5927152" y="10884809"/>
                    </a:lnTo>
                    <a:lnTo>
                      <a:pt x="5921335" y="10860361"/>
                    </a:lnTo>
                    <a:lnTo>
                      <a:pt x="5910998" y="10816711"/>
                    </a:lnTo>
                    <a:lnTo>
                      <a:pt x="5896003" y="10782365"/>
                    </a:lnTo>
                    <a:lnTo>
                      <a:pt x="5902297" y="10735224"/>
                    </a:lnTo>
                    <a:lnTo>
                      <a:pt x="5930302" y="10524859"/>
                    </a:lnTo>
                    <a:lnTo>
                      <a:pt x="6189164" y="10493961"/>
                    </a:lnTo>
                    <a:lnTo>
                      <a:pt x="6246425" y="10391096"/>
                    </a:lnTo>
                    <a:lnTo>
                      <a:pt x="6271844" y="10345446"/>
                    </a:lnTo>
                    <a:lnTo>
                      <a:pt x="6268185" y="10279562"/>
                    </a:lnTo>
                    <a:lnTo>
                      <a:pt x="6268185" y="10249080"/>
                    </a:lnTo>
                    <a:lnTo>
                      <a:pt x="6260831" y="10195226"/>
                    </a:lnTo>
                    <a:lnTo>
                      <a:pt x="6245067" y="10169389"/>
                    </a:lnTo>
                    <a:lnTo>
                      <a:pt x="6217739" y="10144900"/>
                    </a:lnTo>
                    <a:lnTo>
                      <a:pt x="6115624" y="10161396"/>
                    </a:lnTo>
                    <a:lnTo>
                      <a:pt x="6076401" y="10162583"/>
                    </a:lnTo>
                    <a:lnTo>
                      <a:pt x="6016628" y="10164456"/>
                    </a:lnTo>
                    <a:lnTo>
                      <a:pt x="5999339" y="10195056"/>
                    </a:lnTo>
                    <a:lnTo>
                      <a:pt x="5929496" y="10166657"/>
                    </a:lnTo>
                    <a:lnTo>
                      <a:pt x="5904077" y="10159266"/>
                    </a:lnTo>
                    <a:lnTo>
                      <a:pt x="5824671" y="10066093"/>
                    </a:lnTo>
                    <a:lnTo>
                      <a:pt x="5964985" y="9912899"/>
                    </a:lnTo>
                    <a:lnTo>
                      <a:pt x="6008387" y="9847009"/>
                    </a:lnTo>
                    <a:lnTo>
                      <a:pt x="6028491" y="9816409"/>
                    </a:lnTo>
                    <a:lnTo>
                      <a:pt x="6043758" y="9775177"/>
                    </a:lnTo>
                    <a:lnTo>
                      <a:pt x="6069593" y="9749083"/>
                    </a:lnTo>
                    <a:lnTo>
                      <a:pt x="6092810" y="9725658"/>
                    </a:lnTo>
                    <a:lnTo>
                      <a:pt x="6127406" y="9703932"/>
                    </a:lnTo>
                    <a:lnTo>
                      <a:pt x="6143045" y="9674269"/>
                    </a:lnTo>
                    <a:lnTo>
                      <a:pt x="6154648" y="9642897"/>
                    </a:lnTo>
                    <a:lnTo>
                      <a:pt x="6158474" y="9438575"/>
                    </a:lnTo>
                    <a:lnTo>
                      <a:pt x="6150016" y="9374854"/>
                    </a:lnTo>
                    <a:lnTo>
                      <a:pt x="6136826" y="9315342"/>
                    </a:lnTo>
                    <a:lnTo>
                      <a:pt x="6133514" y="9253963"/>
                    </a:lnTo>
                    <a:lnTo>
                      <a:pt x="6130947" y="9205680"/>
                    </a:lnTo>
                    <a:lnTo>
                      <a:pt x="6137433" y="9156074"/>
                    </a:lnTo>
                    <a:lnTo>
                      <a:pt x="6132162" y="9107062"/>
                    </a:lnTo>
                    <a:lnTo>
                      <a:pt x="6132752" y="9080029"/>
                    </a:lnTo>
                    <a:lnTo>
                      <a:pt x="6147982" y="9026214"/>
                    </a:lnTo>
                    <a:lnTo>
                      <a:pt x="6167956" y="8988940"/>
                    </a:lnTo>
                    <a:lnTo>
                      <a:pt x="6177053" y="8946561"/>
                    </a:lnTo>
                    <a:lnTo>
                      <a:pt x="6184829" y="8910770"/>
                    </a:lnTo>
                    <a:lnTo>
                      <a:pt x="6184277" y="8871451"/>
                    </a:lnTo>
                    <a:lnTo>
                      <a:pt x="6196096" y="8836387"/>
                    </a:lnTo>
                    <a:lnTo>
                      <a:pt x="6212077" y="8788738"/>
                    </a:lnTo>
                    <a:lnTo>
                      <a:pt x="6249402" y="8772798"/>
                    </a:lnTo>
                    <a:lnTo>
                      <a:pt x="6274988" y="8734370"/>
                    </a:lnTo>
                    <a:lnTo>
                      <a:pt x="6320728" y="8665763"/>
                    </a:lnTo>
                    <a:lnTo>
                      <a:pt x="6301473" y="8579601"/>
                    </a:lnTo>
                    <a:lnTo>
                      <a:pt x="6390609" y="8530337"/>
                    </a:lnTo>
                    <a:lnTo>
                      <a:pt x="6483657" y="8478909"/>
                    </a:lnTo>
                    <a:lnTo>
                      <a:pt x="6522966" y="8532506"/>
                    </a:lnTo>
                    <a:lnTo>
                      <a:pt x="6595991" y="8516738"/>
                    </a:lnTo>
                    <a:lnTo>
                      <a:pt x="6633397" y="8508659"/>
                    </a:lnTo>
                    <a:lnTo>
                      <a:pt x="6657761" y="8462284"/>
                    </a:lnTo>
                    <a:lnTo>
                      <a:pt x="6689852" y="8443283"/>
                    </a:lnTo>
                    <a:lnTo>
                      <a:pt x="6743666" y="8411405"/>
                    </a:lnTo>
                    <a:lnTo>
                      <a:pt x="6839642" y="8440059"/>
                    </a:lnTo>
                    <a:lnTo>
                      <a:pt x="6902044" y="8439208"/>
                    </a:lnTo>
                    <a:lnTo>
                      <a:pt x="6998441" y="8445626"/>
                    </a:lnTo>
                    <a:lnTo>
                      <a:pt x="7220375" y="8415065"/>
                    </a:lnTo>
                    <a:lnTo>
                      <a:pt x="7304661" y="8368479"/>
                    </a:lnTo>
                    <a:lnTo>
                      <a:pt x="7333819" y="8352328"/>
                    </a:lnTo>
                    <a:lnTo>
                      <a:pt x="7361104" y="8327628"/>
                    </a:lnTo>
                    <a:lnTo>
                      <a:pt x="7383553" y="8303188"/>
                    </a:lnTo>
                    <a:lnTo>
                      <a:pt x="7422657" y="8260560"/>
                    </a:lnTo>
                    <a:lnTo>
                      <a:pt x="7438049" y="8204620"/>
                    </a:lnTo>
                    <a:lnTo>
                      <a:pt x="7474691" y="8159011"/>
                    </a:lnTo>
                    <a:lnTo>
                      <a:pt x="7492538" y="8136780"/>
                    </a:lnTo>
                    <a:lnTo>
                      <a:pt x="7520121" y="8119099"/>
                    </a:lnTo>
                    <a:lnTo>
                      <a:pt x="7544058" y="8104603"/>
                    </a:lnTo>
                    <a:lnTo>
                      <a:pt x="7620909" y="8058056"/>
                    </a:lnTo>
                    <a:lnTo>
                      <a:pt x="7630725" y="8095040"/>
                    </a:lnTo>
                    <a:lnTo>
                      <a:pt x="7693673" y="8134524"/>
                    </a:lnTo>
                    <a:lnTo>
                      <a:pt x="7738012" y="8162321"/>
                    </a:lnTo>
                    <a:lnTo>
                      <a:pt x="7789736" y="8158628"/>
                    </a:lnTo>
                    <a:lnTo>
                      <a:pt x="7818813" y="8108685"/>
                    </a:lnTo>
                    <a:lnTo>
                      <a:pt x="7845205" y="8063372"/>
                    </a:lnTo>
                    <a:lnTo>
                      <a:pt x="7850098" y="7914643"/>
                    </a:lnTo>
                    <a:lnTo>
                      <a:pt x="7855542" y="7857049"/>
                    </a:lnTo>
                    <a:lnTo>
                      <a:pt x="7865446" y="7751374"/>
                    </a:lnTo>
                    <a:lnTo>
                      <a:pt x="7912203" y="7658582"/>
                    </a:lnTo>
                    <a:lnTo>
                      <a:pt x="7950749" y="7561881"/>
                    </a:lnTo>
                    <a:lnTo>
                      <a:pt x="8008563" y="7416807"/>
                    </a:lnTo>
                    <a:lnTo>
                      <a:pt x="8008780" y="7255159"/>
                    </a:lnTo>
                    <a:lnTo>
                      <a:pt x="8188787" y="7191907"/>
                    </a:lnTo>
                    <a:lnTo>
                      <a:pt x="8307335" y="7150207"/>
                    </a:lnTo>
                    <a:lnTo>
                      <a:pt x="8451568" y="7180004"/>
                    </a:lnTo>
                    <a:lnTo>
                      <a:pt x="8573725" y="7189191"/>
                    </a:lnTo>
                    <a:lnTo>
                      <a:pt x="8601444" y="7191315"/>
                    </a:lnTo>
                    <a:lnTo>
                      <a:pt x="8632177" y="7204154"/>
                    </a:lnTo>
                    <a:lnTo>
                      <a:pt x="8659419" y="7204154"/>
                    </a:lnTo>
                    <a:lnTo>
                      <a:pt x="8706939" y="7192251"/>
                    </a:lnTo>
                    <a:lnTo>
                      <a:pt x="8727427" y="7187831"/>
                    </a:lnTo>
                    <a:lnTo>
                      <a:pt x="8764789" y="7186315"/>
                    </a:lnTo>
                    <a:lnTo>
                      <a:pt x="8788633" y="7186473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82" name="Luhansk¬0" descr="Luhansk¬0">
                <a:extLst>
                  <a:ext uri="{FF2B5EF4-FFF2-40B4-BE49-F238E27FC236}">
                    <a16:creationId xmlns:a16="http://schemas.microsoft.com/office/drawing/2014/main" id="{DC55F16A-B09D-4F11-93A3-35729AA982CD}"/>
                  </a:ext>
                </a:extLst>
              </p:cNvPr>
              <p:cNvSpPr/>
              <p:nvPr/>
            </p:nvSpPr>
            <p:spPr>
              <a:xfrm>
                <a:off x="55014319" y="12099178"/>
                <a:ext cx="8169590" cy="11878962"/>
              </a:xfrm>
              <a:custGeom>
                <a:avLst/>
                <a:gdLst/>
                <a:ahLst/>
                <a:cxnLst/>
                <a:rect l="0" t="0" r="0" b="0"/>
                <a:pathLst>
                  <a:path w="8169587" h="11878959">
                    <a:moveTo>
                      <a:pt x="1518165" y="32025"/>
                    </a:moveTo>
                    <a:lnTo>
                      <a:pt x="1463849" y="92091"/>
                    </a:lnTo>
                    <a:lnTo>
                      <a:pt x="1394768" y="88201"/>
                    </a:lnTo>
                    <a:lnTo>
                      <a:pt x="1336917" y="84949"/>
                    </a:lnTo>
                    <a:lnTo>
                      <a:pt x="1222406" y="29051"/>
                    </a:lnTo>
                    <a:lnTo>
                      <a:pt x="1173051" y="65079"/>
                    </a:lnTo>
                    <a:lnTo>
                      <a:pt x="1158299" y="130830"/>
                    </a:lnTo>
                    <a:lnTo>
                      <a:pt x="1179178" y="179249"/>
                    </a:lnTo>
                    <a:lnTo>
                      <a:pt x="1186663" y="225579"/>
                    </a:lnTo>
                    <a:lnTo>
                      <a:pt x="1191388" y="255289"/>
                    </a:lnTo>
                    <a:lnTo>
                      <a:pt x="1192064" y="290552"/>
                    </a:lnTo>
                    <a:lnTo>
                      <a:pt x="1193466" y="320796"/>
                    </a:lnTo>
                    <a:lnTo>
                      <a:pt x="1194848" y="350783"/>
                    </a:lnTo>
                    <a:lnTo>
                      <a:pt x="1204764" y="378560"/>
                    </a:lnTo>
                    <a:lnTo>
                      <a:pt x="1209787" y="409207"/>
                    </a:lnTo>
                    <a:lnTo>
                      <a:pt x="1206600" y="467691"/>
                    </a:lnTo>
                    <a:lnTo>
                      <a:pt x="1219213" y="526313"/>
                    </a:lnTo>
                    <a:lnTo>
                      <a:pt x="1209787" y="586030"/>
                    </a:lnTo>
                    <a:lnTo>
                      <a:pt x="1198222" y="659227"/>
                    </a:lnTo>
                    <a:lnTo>
                      <a:pt x="1060754" y="841365"/>
                    </a:lnTo>
                    <a:lnTo>
                      <a:pt x="973107" y="787339"/>
                    </a:lnTo>
                    <a:lnTo>
                      <a:pt x="946585" y="745943"/>
                    </a:lnTo>
                    <a:lnTo>
                      <a:pt x="930945" y="731573"/>
                    </a:lnTo>
                    <a:lnTo>
                      <a:pt x="875811" y="716081"/>
                    </a:lnTo>
                    <a:lnTo>
                      <a:pt x="798110" y="784643"/>
                    </a:lnTo>
                    <a:lnTo>
                      <a:pt x="756835" y="814543"/>
                    </a:lnTo>
                    <a:lnTo>
                      <a:pt x="707616" y="850122"/>
                    </a:lnTo>
                    <a:lnTo>
                      <a:pt x="648655" y="866214"/>
                    </a:lnTo>
                    <a:lnTo>
                      <a:pt x="611293" y="919284"/>
                    </a:lnTo>
                    <a:lnTo>
                      <a:pt x="605005" y="947786"/>
                    </a:lnTo>
                    <a:lnTo>
                      <a:pt x="621581" y="986294"/>
                    </a:lnTo>
                    <a:lnTo>
                      <a:pt x="648017" y="1036257"/>
                    </a:lnTo>
                    <a:lnTo>
                      <a:pt x="680120" y="1096951"/>
                    </a:lnTo>
                    <a:lnTo>
                      <a:pt x="716416" y="1155677"/>
                    </a:lnTo>
                    <a:lnTo>
                      <a:pt x="808515" y="1200839"/>
                    </a:lnTo>
                    <a:lnTo>
                      <a:pt x="816682" y="1234849"/>
                    </a:lnTo>
                    <a:lnTo>
                      <a:pt x="784077" y="1261500"/>
                    </a:lnTo>
                    <a:lnTo>
                      <a:pt x="754416" y="1266663"/>
                    </a:lnTo>
                    <a:lnTo>
                      <a:pt x="732464" y="1263082"/>
                    </a:lnTo>
                    <a:lnTo>
                      <a:pt x="679593" y="1267739"/>
                    </a:lnTo>
                    <a:lnTo>
                      <a:pt x="636327" y="1277023"/>
                    </a:lnTo>
                    <a:lnTo>
                      <a:pt x="597694" y="1293333"/>
                    </a:lnTo>
                    <a:lnTo>
                      <a:pt x="578378" y="1301492"/>
                    </a:lnTo>
                    <a:lnTo>
                      <a:pt x="544643" y="1323261"/>
                    </a:lnTo>
                    <a:lnTo>
                      <a:pt x="517767" y="1349805"/>
                    </a:lnTo>
                    <a:lnTo>
                      <a:pt x="513340" y="1384468"/>
                    </a:lnTo>
                    <a:lnTo>
                      <a:pt x="531335" y="1396266"/>
                    </a:lnTo>
                    <a:lnTo>
                      <a:pt x="575854" y="1425535"/>
                    </a:lnTo>
                    <a:lnTo>
                      <a:pt x="616713" y="1456557"/>
                    </a:lnTo>
                    <a:lnTo>
                      <a:pt x="657560" y="1487580"/>
                    </a:lnTo>
                    <a:lnTo>
                      <a:pt x="695375" y="1520666"/>
                    </a:lnTo>
                    <a:lnTo>
                      <a:pt x="690972" y="1555256"/>
                    </a:lnTo>
                    <a:lnTo>
                      <a:pt x="625289" y="1590730"/>
                    </a:lnTo>
                    <a:lnTo>
                      <a:pt x="589918" y="1610983"/>
                    </a:lnTo>
                    <a:lnTo>
                      <a:pt x="577292" y="1632555"/>
                    </a:lnTo>
                    <a:lnTo>
                      <a:pt x="567743" y="1656507"/>
                    </a:lnTo>
                    <a:lnTo>
                      <a:pt x="558193" y="1680461"/>
                    </a:lnTo>
                    <a:lnTo>
                      <a:pt x="550826" y="1707019"/>
                    </a:lnTo>
                    <a:lnTo>
                      <a:pt x="545983" y="1729956"/>
                    </a:lnTo>
                    <a:lnTo>
                      <a:pt x="502742" y="1723895"/>
                    </a:lnTo>
                    <a:lnTo>
                      <a:pt x="476604" y="1714998"/>
                    </a:lnTo>
                    <a:lnTo>
                      <a:pt x="450485" y="1706101"/>
                    </a:lnTo>
                    <a:lnTo>
                      <a:pt x="425792" y="1697858"/>
                    </a:lnTo>
                    <a:lnTo>
                      <a:pt x="395896" y="1715572"/>
                    </a:lnTo>
                    <a:lnTo>
                      <a:pt x="310152" y="1836628"/>
                    </a:lnTo>
                    <a:lnTo>
                      <a:pt x="305228" y="1860535"/>
                    </a:lnTo>
                    <a:lnTo>
                      <a:pt x="309098" y="1882515"/>
                    </a:lnTo>
                    <a:lnTo>
                      <a:pt x="315721" y="1907444"/>
                    </a:lnTo>
                    <a:lnTo>
                      <a:pt x="336507" y="1919025"/>
                    </a:lnTo>
                    <a:lnTo>
                      <a:pt x="387096" y="1890205"/>
                    </a:lnTo>
                    <a:lnTo>
                      <a:pt x="419485" y="1878222"/>
                    </a:lnTo>
                    <a:lnTo>
                      <a:pt x="452277" y="1868052"/>
                    </a:lnTo>
                    <a:lnTo>
                      <a:pt x="481900" y="1866628"/>
                    </a:lnTo>
                    <a:lnTo>
                      <a:pt x="505173" y="1878222"/>
                    </a:lnTo>
                    <a:lnTo>
                      <a:pt x="518673" y="1895038"/>
                    </a:lnTo>
                    <a:lnTo>
                      <a:pt x="531019" y="1925824"/>
                    </a:lnTo>
                    <a:lnTo>
                      <a:pt x="534455" y="1953272"/>
                    </a:lnTo>
                    <a:lnTo>
                      <a:pt x="528179" y="1993363"/>
                    </a:lnTo>
                    <a:lnTo>
                      <a:pt x="515398" y="2018180"/>
                    </a:lnTo>
                    <a:lnTo>
                      <a:pt x="511963" y="2045528"/>
                    </a:lnTo>
                    <a:lnTo>
                      <a:pt x="508000" y="2077170"/>
                    </a:lnTo>
                    <a:lnTo>
                      <a:pt x="517984" y="2115481"/>
                    </a:lnTo>
                    <a:lnTo>
                      <a:pt x="525562" y="2152979"/>
                    </a:lnTo>
                    <a:lnTo>
                      <a:pt x="533152" y="2190478"/>
                    </a:lnTo>
                    <a:lnTo>
                      <a:pt x="538876" y="2227778"/>
                    </a:lnTo>
                    <a:lnTo>
                      <a:pt x="524210" y="2256354"/>
                    </a:lnTo>
                    <a:lnTo>
                      <a:pt x="488808" y="2282416"/>
                    </a:lnTo>
                    <a:lnTo>
                      <a:pt x="467408" y="2305294"/>
                    </a:lnTo>
                    <a:lnTo>
                      <a:pt x="454838" y="2325725"/>
                    </a:lnTo>
                    <a:lnTo>
                      <a:pt x="442274" y="2346157"/>
                    </a:lnTo>
                    <a:lnTo>
                      <a:pt x="437158" y="2380134"/>
                    </a:lnTo>
                    <a:lnTo>
                      <a:pt x="439856" y="2409066"/>
                    </a:lnTo>
                    <a:lnTo>
                      <a:pt x="439868" y="2432813"/>
                    </a:lnTo>
                    <a:lnTo>
                      <a:pt x="426257" y="2452223"/>
                    </a:lnTo>
                    <a:lnTo>
                      <a:pt x="395691" y="2478919"/>
                    </a:lnTo>
                    <a:lnTo>
                      <a:pt x="349312" y="2486187"/>
                    </a:lnTo>
                    <a:lnTo>
                      <a:pt x="324241" y="2517512"/>
                    </a:lnTo>
                    <a:lnTo>
                      <a:pt x="343843" y="2562100"/>
                    </a:lnTo>
                    <a:lnTo>
                      <a:pt x="347868" y="2602039"/>
                    </a:lnTo>
                    <a:lnTo>
                      <a:pt x="356884" y="2633134"/>
                    </a:lnTo>
                    <a:lnTo>
                      <a:pt x="376064" y="2661478"/>
                    </a:lnTo>
                    <a:lnTo>
                      <a:pt x="400286" y="2686395"/>
                    </a:lnTo>
                    <a:lnTo>
                      <a:pt x="405855" y="2724262"/>
                    </a:lnTo>
                    <a:lnTo>
                      <a:pt x="381931" y="2731852"/>
                    </a:lnTo>
                    <a:lnTo>
                      <a:pt x="350088" y="2731068"/>
                    </a:lnTo>
                    <a:lnTo>
                      <a:pt x="371215" y="2801778"/>
                    </a:lnTo>
                    <a:lnTo>
                      <a:pt x="389533" y="2850760"/>
                    </a:lnTo>
                    <a:lnTo>
                      <a:pt x="398705" y="2875253"/>
                    </a:lnTo>
                    <a:lnTo>
                      <a:pt x="405377" y="2898763"/>
                    </a:lnTo>
                    <a:lnTo>
                      <a:pt x="409042" y="2938781"/>
                    </a:lnTo>
                    <a:lnTo>
                      <a:pt x="392262" y="2963657"/>
                    </a:lnTo>
                    <a:lnTo>
                      <a:pt x="360506" y="2981385"/>
                    </a:lnTo>
                    <a:lnTo>
                      <a:pt x="313234" y="2999765"/>
                    </a:lnTo>
                    <a:lnTo>
                      <a:pt x="287518" y="3026230"/>
                    </a:lnTo>
                    <a:lnTo>
                      <a:pt x="268437" y="3045869"/>
                    </a:lnTo>
                    <a:lnTo>
                      <a:pt x="258205" y="3068365"/>
                    </a:lnTo>
                    <a:lnTo>
                      <a:pt x="252159" y="3092879"/>
                    </a:lnTo>
                    <a:lnTo>
                      <a:pt x="246113" y="3117392"/>
                    </a:lnTo>
                    <a:lnTo>
                      <a:pt x="244265" y="3143790"/>
                    </a:lnTo>
                    <a:lnTo>
                      <a:pt x="243992" y="3169049"/>
                    </a:lnTo>
                    <a:lnTo>
                      <a:pt x="243533" y="3194308"/>
                    </a:lnTo>
                    <a:lnTo>
                      <a:pt x="244457" y="3219255"/>
                    </a:lnTo>
                    <a:lnTo>
                      <a:pt x="242640" y="3241138"/>
                    </a:lnTo>
                    <a:lnTo>
                      <a:pt x="240904" y="3263020"/>
                    </a:lnTo>
                    <a:lnTo>
                      <a:pt x="226318" y="3295545"/>
                    </a:lnTo>
                    <a:lnTo>
                      <a:pt x="205929" y="3303816"/>
                    </a:lnTo>
                    <a:lnTo>
                      <a:pt x="180479" y="3307120"/>
                    </a:lnTo>
                    <a:lnTo>
                      <a:pt x="155588" y="3311868"/>
                    </a:lnTo>
                    <a:lnTo>
                      <a:pt x="130715" y="3316617"/>
                    </a:lnTo>
                    <a:lnTo>
                      <a:pt x="106623" y="3322730"/>
                    </a:lnTo>
                    <a:lnTo>
                      <a:pt x="90302" y="3336355"/>
                    </a:lnTo>
                    <a:lnTo>
                      <a:pt x="79084" y="3359371"/>
                    </a:lnTo>
                    <a:lnTo>
                      <a:pt x="21407" y="3438860"/>
                    </a:lnTo>
                    <a:lnTo>
                      <a:pt x="47880" y="3479873"/>
                    </a:lnTo>
                    <a:lnTo>
                      <a:pt x="77441" y="3506115"/>
                    </a:lnTo>
                    <a:lnTo>
                      <a:pt x="97105" y="3532224"/>
                    </a:lnTo>
                    <a:lnTo>
                      <a:pt x="117339" y="3569274"/>
                    </a:lnTo>
                    <a:lnTo>
                      <a:pt x="122945" y="3593431"/>
                    </a:lnTo>
                    <a:lnTo>
                      <a:pt x="128557" y="3617588"/>
                    </a:lnTo>
                    <a:lnTo>
                      <a:pt x="131465" y="3644956"/>
                    </a:lnTo>
                    <a:lnTo>
                      <a:pt x="132470" y="3672319"/>
                    </a:lnTo>
                    <a:lnTo>
                      <a:pt x="134473" y="3727057"/>
                    </a:lnTo>
                    <a:lnTo>
                      <a:pt x="128898" y="3781438"/>
                    </a:lnTo>
                    <a:lnTo>
                      <a:pt x="120229" y="3815145"/>
                    </a:lnTo>
                    <a:lnTo>
                      <a:pt x="112849" y="3843820"/>
                    </a:lnTo>
                    <a:lnTo>
                      <a:pt x="95734" y="3883838"/>
                    </a:lnTo>
                    <a:lnTo>
                      <a:pt x="88944" y="3922595"/>
                    </a:lnTo>
                    <a:lnTo>
                      <a:pt x="84541" y="3961196"/>
                    </a:lnTo>
                    <a:lnTo>
                      <a:pt x="93340" y="3995535"/>
                    </a:lnTo>
                    <a:lnTo>
                      <a:pt x="120229" y="4023254"/>
                    </a:lnTo>
                    <a:lnTo>
                      <a:pt x="156537" y="4034340"/>
                    </a:lnTo>
                    <a:lnTo>
                      <a:pt x="178718" y="4035494"/>
                    </a:lnTo>
                    <a:lnTo>
                      <a:pt x="200887" y="4036649"/>
                    </a:lnTo>
                    <a:lnTo>
                      <a:pt x="223267" y="4037644"/>
                    </a:lnTo>
                    <a:lnTo>
                      <a:pt x="244010" y="4050457"/>
                    </a:lnTo>
                    <a:lnTo>
                      <a:pt x="260332" y="4070862"/>
                    </a:lnTo>
                    <a:lnTo>
                      <a:pt x="276653" y="4091267"/>
                    </a:lnTo>
                    <a:lnTo>
                      <a:pt x="283450" y="4117106"/>
                    </a:lnTo>
                    <a:lnTo>
                      <a:pt x="290252" y="4142951"/>
                    </a:lnTo>
                    <a:lnTo>
                      <a:pt x="288994" y="4166311"/>
                    </a:lnTo>
                    <a:lnTo>
                      <a:pt x="272095" y="4182863"/>
                    </a:lnTo>
                    <a:lnTo>
                      <a:pt x="252165" y="4198718"/>
                    </a:lnTo>
                    <a:lnTo>
                      <a:pt x="232234" y="4214579"/>
                    </a:lnTo>
                    <a:lnTo>
                      <a:pt x="209867" y="4229338"/>
                    </a:lnTo>
                    <a:lnTo>
                      <a:pt x="196398" y="4247686"/>
                    </a:lnTo>
                    <a:lnTo>
                      <a:pt x="216806" y="4295293"/>
                    </a:lnTo>
                    <a:lnTo>
                      <a:pt x="158608" y="4331361"/>
                    </a:lnTo>
                    <a:lnTo>
                      <a:pt x="113116" y="4361071"/>
                    </a:lnTo>
                    <a:lnTo>
                      <a:pt x="65820" y="4380987"/>
                    </a:lnTo>
                    <a:lnTo>
                      <a:pt x="36035" y="4387834"/>
                    </a:lnTo>
                    <a:lnTo>
                      <a:pt x="0" y="4431380"/>
                    </a:lnTo>
                    <a:lnTo>
                      <a:pt x="33815" y="4441674"/>
                    </a:lnTo>
                    <a:lnTo>
                      <a:pt x="64952" y="4464196"/>
                    </a:lnTo>
                    <a:lnTo>
                      <a:pt x="93024" y="4492528"/>
                    </a:lnTo>
                    <a:lnTo>
                      <a:pt x="121097" y="4520860"/>
                    </a:lnTo>
                    <a:lnTo>
                      <a:pt x="146032" y="4555476"/>
                    </a:lnTo>
                    <a:lnTo>
                      <a:pt x="155588" y="4575498"/>
                    </a:lnTo>
                    <a:lnTo>
                      <a:pt x="279121" y="4598197"/>
                    </a:lnTo>
                    <a:lnTo>
                      <a:pt x="302494" y="4601343"/>
                    </a:lnTo>
                    <a:lnTo>
                      <a:pt x="317922" y="4654155"/>
                    </a:lnTo>
                    <a:lnTo>
                      <a:pt x="274799" y="4670649"/>
                    </a:lnTo>
                    <a:lnTo>
                      <a:pt x="162539" y="4667015"/>
                    </a:lnTo>
                    <a:lnTo>
                      <a:pt x="144940" y="4696830"/>
                    </a:lnTo>
                    <a:lnTo>
                      <a:pt x="102729" y="4807242"/>
                    </a:lnTo>
                    <a:lnTo>
                      <a:pt x="118257" y="4829388"/>
                    </a:lnTo>
                    <a:lnTo>
                      <a:pt x="142013" y="4844821"/>
                    </a:lnTo>
                    <a:lnTo>
                      <a:pt x="207634" y="4863457"/>
                    </a:lnTo>
                    <a:lnTo>
                      <a:pt x="245573" y="4874471"/>
                    </a:lnTo>
                    <a:lnTo>
                      <a:pt x="280746" y="4891063"/>
                    </a:lnTo>
                    <a:lnTo>
                      <a:pt x="315925" y="4907656"/>
                    </a:lnTo>
                    <a:lnTo>
                      <a:pt x="349418" y="4930765"/>
                    </a:lnTo>
                    <a:lnTo>
                      <a:pt x="405886" y="4971317"/>
                    </a:lnTo>
                    <a:lnTo>
                      <a:pt x="452475" y="4983577"/>
                    </a:lnTo>
                    <a:lnTo>
                      <a:pt x="579990" y="4866576"/>
                    </a:lnTo>
                    <a:lnTo>
                      <a:pt x="760351" y="4875526"/>
                    </a:lnTo>
                    <a:lnTo>
                      <a:pt x="784027" y="4874742"/>
                    </a:lnTo>
                    <a:lnTo>
                      <a:pt x="765070" y="4938349"/>
                    </a:lnTo>
                    <a:lnTo>
                      <a:pt x="753592" y="5007807"/>
                    </a:lnTo>
                    <a:lnTo>
                      <a:pt x="744575" y="5073327"/>
                    </a:lnTo>
                    <a:lnTo>
                      <a:pt x="741444" y="5096265"/>
                    </a:lnTo>
                    <a:lnTo>
                      <a:pt x="747149" y="5124834"/>
                    </a:lnTo>
                    <a:lnTo>
                      <a:pt x="748662" y="5153581"/>
                    </a:lnTo>
                    <a:lnTo>
                      <a:pt x="750193" y="5182328"/>
                    </a:lnTo>
                    <a:lnTo>
                      <a:pt x="748079" y="5211365"/>
                    </a:lnTo>
                    <a:lnTo>
                      <a:pt x="729630" y="5231111"/>
                    </a:lnTo>
                    <a:lnTo>
                      <a:pt x="698705" y="5259205"/>
                    </a:lnTo>
                    <a:lnTo>
                      <a:pt x="683382" y="5277361"/>
                    </a:lnTo>
                    <a:lnTo>
                      <a:pt x="668046" y="5295516"/>
                    </a:lnTo>
                    <a:lnTo>
                      <a:pt x="656301" y="5315881"/>
                    </a:lnTo>
                    <a:lnTo>
                      <a:pt x="668970" y="5351869"/>
                    </a:lnTo>
                    <a:lnTo>
                      <a:pt x="688430" y="5363028"/>
                    </a:lnTo>
                    <a:lnTo>
                      <a:pt x="718171" y="5413731"/>
                    </a:lnTo>
                    <a:lnTo>
                      <a:pt x="752761" y="5474231"/>
                    </a:lnTo>
                    <a:lnTo>
                      <a:pt x="775866" y="5537154"/>
                    </a:lnTo>
                    <a:lnTo>
                      <a:pt x="787425" y="5568617"/>
                    </a:lnTo>
                    <a:lnTo>
                      <a:pt x="795952" y="5601249"/>
                    </a:lnTo>
                    <a:lnTo>
                      <a:pt x="798997" y="5631012"/>
                    </a:lnTo>
                    <a:lnTo>
                      <a:pt x="802041" y="5660768"/>
                    </a:lnTo>
                    <a:lnTo>
                      <a:pt x="799456" y="5688421"/>
                    </a:lnTo>
                    <a:lnTo>
                      <a:pt x="788114" y="5711266"/>
                    </a:lnTo>
                    <a:lnTo>
                      <a:pt x="757108" y="5724620"/>
                    </a:lnTo>
                    <a:lnTo>
                      <a:pt x="735069" y="5726223"/>
                    </a:lnTo>
                    <a:lnTo>
                      <a:pt x="713024" y="5727825"/>
                    </a:lnTo>
                    <a:lnTo>
                      <a:pt x="689899" y="5726183"/>
                    </a:lnTo>
                    <a:lnTo>
                      <a:pt x="674012" y="5750260"/>
                    </a:lnTo>
                    <a:lnTo>
                      <a:pt x="681683" y="5778487"/>
                    </a:lnTo>
                    <a:lnTo>
                      <a:pt x="675234" y="5802394"/>
                    </a:lnTo>
                    <a:lnTo>
                      <a:pt x="647180" y="5805454"/>
                    </a:lnTo>
                    <a:lnTo>
                      <a:pt x="618958" y="5796617"/>
                    </a:lnTo>
                    <a:lnTo>
                      <a:pt x="592262" y="5798318"/>
                    </a:lnTo>
                    <a:lnTo>
                      <a:pt x="570614" y="5830324"/>
                    </a:lnTo>
                    <a:lnTo>
                      <a:pt x="560983" y="5854091"/>
                    </a:lnTo>
                    <a:lnTo>
                      <a:pt x="551340" y="5877859"/>
                    </a:lnTo>
                    <a:lnTo>
                      <a:pt x="545629" y="5902036"/>
                    </a:lnTo>
                    <a:lnTo>
                      <a:pt x="566428" y="5922098"/>
                    </a:lnTo>
                    <a:lnTo>
                      <a:pt x="622195" y="5918022"/>
                    </a:lnTo>
                    <a:lnTo>
                      <a:pt x="642591" y="5928904"/>
                    </a:lnTo>
                    <a:lnTo>
                      <a:pt x="660059" y="5953344"/>
                    </a:lnTo>
                    <a:lnTo>
                      <a:pt x="666949" y="5981973"/>
                    </a:lnTo>
                    <a:lnTo>
                      <a:pt x="682036" y="6007798"/>
                    </a:lnTo>
                    <a:lnTo>
                      <a:pt x="728409" y="5995539"/>
                    </a:lnTo>
                    <a:lnTo>
                      <a:pt x="761486" y="6006777"/>
                    </a:lnTo>
                    <a:lnTo>
                      <a:pt x="794935" y="6010516"/>
                    </a:lnTo>
                    <a:lnTo>
                      <a:pt x="850404" y="6016722"/>
                    </a:lnTo>
                    <a:lnTo>
                      <a:pt x="907027" y="6016788"/>
                    </a:lnTo>
                    <a:lnTo>
                      <a:pt x="962236" y="6024121"/>
                    </a:lnTo>
                    <a:lnTo>
                      <a:pt x="990551" y="6027861"/>
                    </a:lnTo>
                    <a:lnTo>
                      <a:pt x="1019709" y="6040635"/>
                    </a:lnTo>
                    <a:lnTo>
                      <a:pt x="1047924" y="6043160"/>
                    </a:lnTo>
                    <a:lnTo>
                      <a:pt x="1072413" y="6045370"/>
                    </a:lnTo>
                    <a:lnTo>
                      <a:pt x="1099282" y="6038189"/>
                    </a:lnTo>
                    <a:lnTo>
                      <a:pt x="1124105" y="6039085"/>
                    </a:lnTo>
                    <a:lnTo>
                      <a:pt x="1172090" y="6040787"/>
                    </a:lnTo>
                    <a:lnTo>
                      <a:pt x="1209750" y="6078701"/>
                    </a:lnTo>
                    <a:lnTo>
                      <a:pt x="1254677" y="6081253"/>
                    </a:lnTo>
                    <a:lnTo>
                      <a:pt x="1271960" y="6104941"/>
                    </a:lnTo>
                    <a:lnTo>
                      <a:pt x="1290384" y="6153447"/>
                    </a:lnTo>
                    <a:lnTo>
                      <a:pt x="1305006" y="6203675"/>
                    </a:lnTo>
                    <a:lnTo>
                      <a:pt x="1319635" y="6253895"/>
                    </a:lnTo>
                    <a:lnTo>
                      <a:pt x="1330214" y="6305216"/>
                    </a:lnTo>
                    <a:lnTo>
                      <a:pt x="1332211" y="6332888"/>
                    </a:lnTo>
                    <a:lnTo>
                      <a:pt x="1334524" y="6364536"/>
                    </a:lnTo>
                    <a:lnTo>
                      <a:pt x="1330084" y="6400261"/>
                    </a:lnTo>
                    <a:lnTo>
                      <a:pt x="1329513" y="6432188"/>
                    </a:lnTo>
                    <a:lnTo>
                      <a:pt x="1338592" y="6457512"/>
                    </a:lnTo>
                    <a:lnTo>
                      <a:pt x="1366683" y="6472139"/>
                    </a:lnTo>
                    <a:lnTo>
                      <a:pt x="1405688" y="6479790"/>
                    </a:lnTo>
                    <a:lnTo>
                      <a:pt x="1446492" y="6486800"/>
                    </a:lnTo>
                    <a:lnTo>
                      <a:pt x="1492021" y="6490639"/>
                    </a:lnTo>
                    <a:lnTo>
                      <a:pt x="1510420" y="6505635"/>
                    </a:lnTo>
                    <a:lnTo>
                      <a:pt x="1525383" y="6535563"/>
                    </a:lnTo>
                    <a:lnTo>
                      <a:pt x="1513421" y="6574756"/>
                    </a:lnTo>
                    <a:lnTo>
                      <a:pt x="1504981" y="6594046"/>
                    </a:lnTo>
                    <a:lnTo>
                      <a:pt x="1496821" y="6622615"/>
                    </a:lnTo>
                    <a:lnTo>
                      <a:pt x="1507704" y="6648454"/>
                    </a:lnTo>
                    <a:lnTo>
                      <a:pt x="1532186" y="6674300"/>
                    </a:lnTo>
                    <a:lnTo>
                      <a:pt x="1555310" y="6700145"/>
                    </a:lnTo>
                    <a:lnTo>
                      <a:pt x="1572692" y="6729664"/>
                    </a:lnTo>
                    <a:lnTo>
                      <a:pt x="1576003" y="6765837"/>
                    </a:lnTo>
                    <a:lnTo>
                      <a:pt x="1568909" y="6804878"/>
                    </a:lnTo>
                    <a:lnTo>
                      <a:pt x="1559105" y="6844310"/>
                    </a:lnTo>
                    <a:lnTo>
                      <a:pt x="1540651" y="6884038"/>
                    </a:lnTo>
                    <a:lnTo>
                      <a:pt x="1525383" y="6906895"/>
                    </a:lnTo>
                    <a:lnTo>
                      <a:pt x="1508404" y="6932325"/>
                    </a:lnTo>
                    <a:lnTo>
                      <a:pt x="1482025" y="6956054"/>
                    </a:lnTo>
                    <a:lnTo>
                      <a:pt x="1469616" y="6984425"/>
                    </a:lnTo>
                    <a:lnTo>
                      <a:pt x="1455924" y="7015856"/>
                    </a:lnTo>
                    <a:lnTo>
                      <a:pt x="1458392" y="7072797"/>
                    </a:lnTo>
                    <a:lnTo>
                      <a:pt x="1462813" y="7106846"/>
                    </a:lnTo>
                    <a:lnTo>
                      <a:pt x="1492685" y="7098253"/>
                    </a:lnTo>
                    <a:lnTo>
                      <a:pt x="1570652" y="7079834"/>
                    </a:lnTo>
                    <a:lnTo>
                      <a:pt x="1596114" y="7085077"/>
                    </a:lnTo>
                    <a:lnTo>
                      <a:pt x="1616522" y="7112287"/>
                    </a:lnTo>
                    <a:lnTo>
                      <a:pt x="1606228" y="7150946"/>
                    </a:lnTo>
                    <a:lnTo>
                      <a:pt x="1548421" y="7233962"/>
                    </a:lnTo>
                    <a:lnTo>
                      <a:pt x="1522661" y="7260547"/>
                    </a:lnTo>
                    <a:lnTo>
                      <a:pt x="1497311" y="7286709"/>
                    </a:lnTo>
                    <a:lnTo>
                      <a:pt x="1474044" y="7301093"/>
                    </a:lnTo>
                    <a:lnTo>
                      <a:pt x="1453295" y="7319038"/>
                    </a:lnTo>
                    <a:lnTo>
                      <a:pt x="1432539" y="7336974"/>
                    </a:lnTo>
                    <a:lnTo>
                      <a:pt x="1414922" y="7357479"/>
                    </a:lnTo>
                    <a:lnTo>
                      <a:pt x="1401602" y="7393842"/>
                    </a:lnTo>
                    <a:lnTo>
                      <a:pt x="1391866" y="7420453"/>
                    </a:lnTo>
                    <a:lnTo>
                      <a:pt x="1401143" y="7535159"/>
                    </a:lnTo>
                    <a:lnTo>
                      <a:pt x="1405694" y="7566590"/>
                    </a:lnTo>
                    <a:lnTo>
                      <a:pt x="1409607" y="7594836"/>
                    </a:lnTo>
                    <a:lnTo>
                      <a:pt x="1430431" y="7644033"/>
                    </a:lnTo>
                    <a:lnTo>
                      <a:pt x="1427454" y="7671323"/>
                    </a:lnTo>
                    <a:lnTo>
                      <a:pt x="1425061" y="7692875"/>
                    </a:lnTo>
                    <a:lnTo>
                      <a:pt x="1411852" y="7715173"/>
                    </a:lnTo>
                    <a:lnTo>
                      <a:pt x="1409775" y="7737972"/>
                    </a:lnTo>
                    <a:lnTo>
                      <a:pt x="1458566" y="7840951"/>
                    </a:lnTo>
                    <a:lnTo>
                      <a:pt x="1469622" y="7860392"/>
                    </a:lnTo>
                    <a:lnTo>
                      <a:pt x="1480109" y="7878819"/>
                    </a:lnTo>
                    <a:lnTo>
                      <a:pt x="1480735" y="7900193"/>
                    </a:lnTo>
                    <a:lnTo>
                      <a:pt x="1476425" y="7922965"/>
                    </a:lnTo>
                    <a:lnTo>
                      <a:pt x="1472115" y="7945731"/>
                    </a:lnTo>
                    <a:lnTo>
                      <a:pt x="1463124" y="7968931"/>
                    </a:lnTo>
                    <a:lnTo>
                      <a:pt x="1454659" y="7992330"/>
                    </a:lnTo>
                    <a:lnTo>
                      <a:pt x="1446194" y="8015730"/>
                    </a:lnTo>
                    <a:lnTo>
                      <a:pt x="1437606" y="8038660"/>
                    </a:lnTo>
                    <a:lnTo>
                      <a:pt x="1433612" y="8079304"/>
                    </a:lnTo>
                    <a:lnTo>
                      <a:pt x="1453301" y="8110670"/>
                    </a:lnTo>
                    <a:lnTo>
                      <a:pt x="1478614" y="8133303"/>
                    </a:lnTo>
                    <a:lnTo>
                      <a:pt x="1510612" y="8139198"/>
                    </a:lnTo>
                    <a:lnTo>
                      <a:pt x="1543069" y="8144672"/>
                    </a:lnTo>
                    <a:lnTo>
                      <a:pt x="1575538" y="8150153"/>
                    </a:lnTo>
                    <a:lnTo>
                      <a:pt x="1607964" y="8156154"/>
                    </a:lnTo>
                    <a:lnTo>
                      <a:pt x="1632850" y="8177317"/>
                    </a:lnTo>
                    <a:lnTo>
                      <a:pt x="1634201" y="8209282"/>
                    </a:lnTo>
                    <a:lnTo>
                      <a:pt x="1633439" y="8249598"/>
                    </a:lnTo>
                    <a:lnTo>
                      <a:pt x="1624683" y="8280692"/>
                    </a:lnTo>
                    <a:lnTo>
                      <a:pt x="1612863" y="8306987"/>
                    </a:lnTo>
                    <a:lnTo>
                      <a:pt x="1593739" y="8363346"/>
                    </a:lnTo>
                    <a:lnTo>
                      <a:pt x="1586384" y="8412188"/>
                    </a:lnTo>
                    <a:lnTo>
                      <a:pt x="1585237" y="8457522"/>
                    </a:lnTo>
                    <a:lnTo>
                      <a:pt x="1584580" y="8484047"/>
                    </a:lnTo>
                    <a:lnTo>
                      <a:pt x="1580816" y="8519797"/>
                    </a:lnTo>
                    <a:lnTo>
                      <a:pt x="1589330" y="8545933"/>
                    </a:lnTo>
                    <a:lnTo>
                      <a:pt x="1604113" y="8574423"/>
                    </a:lnTo>
                    <a:lnTo>
                      <a:pt x="1628943" y="8593614"/>
                    </a:lnTo>
                    <a:lnTo>
                      <a:pt x="1660060" y="8605782"/>
                    </a:lnTo>
                    <a:lnTo>
                      <a:pt x="1692437" y="8614751"/>
                    </a:lnTo>
                    <a:lnTo>
                      <a:pt x="1729253" y="8615134"/>
                    </a:lnTo>
                    <a:lnTo>
                      <a:pt x="1756625" y="8612582"/>
                    </a:lnTo>
                    <a:lnTo>
                      <a:pt x="1782093" y="8642549"/>
                    </a:lnTo>
                    <a:lnTo>
                      <a:pt x="1802042" y="8664259"/>
                    </a:lnTo>
                    <a:lnTo>
                      <a:pt x="1830084" y="8658824"/>
                    </a:lnTo>
                    <a:lnTo>
                      <a:pt x="1855968" y="8644461"/>
                    </a:lnTo>
                    <a:lnTo>
                      <a:pt x="1888487" y="8610016"/>
                    </a:lnTo>
                    <a:lnTo>
                      <a:pt x="1905596" y="8581650"/>
                    </a:lnTo>
                    <a:lnTo>
                      <a:pt x="1938840" y="8586729"/>
                    </a:lnTo>
                    <a:lnTo>
                      <a:pt x="1953289" y="8626469"/>
                    </a:lnTo>
                    <a:lnTo>
                      <a:pt x="1985380" y="8650277"/>
                    </a:lnTo>
                    <a:lnTo>
                      <a:pt x="2000046" y="8687387"/>
                    </a:lnTo>
                    <a:lnTo>
                      <a:pt x="2008988" y="8709974"/>
                    </a:lnTo>
                    <a:lnTo>
                      <a:pt x="2009961" y="8734739"/>
                    </a:lnTo>
                    <a:lnTo>
                      <a:pt x="2012287" y="8758117"/>
                    </a:lnTo>
                    <a:lnTo>
                      <a:pt x="2014594" y="8781489"/>
                    </a:lnTo>
                    <a:lnTo>
                      <a:pt x="2018643" y="8803597"/>
                    </a:lnTo>
                    <a:lnTo>
                      <a:pt x="2035411" y="8824766"/>
                    </a:lnTo>
                    <a:lnTo>
                      <a:pt x="2065462" y="8862595"/>
                    </a:lnTo>
                    <a:lnTo>
                      <a:pt x="2120783" y="8876226"/>
                    </a:lnTo>
                    <a:lnTo>
                      <a:pt x="2151026" y="8915900"/>
                    </a:lnTo>
                    <a:lnTo>
                      <a:pt x="2167403" y="8937393"/>
                    </a:lnTo>
                    <a:lnTo>
                      <a:pt x="2186217" y="8964788"/>
                    </a:lnTo>
                    <a:lnTo>
                      <a:pt x="2199990" y="8994788"/>
                    </a:lnTo>
                    <a:lnTo>
                      <a:pt x="2213769" y="9024796"/>
                    </a:lnTo>
                    <a:lnTo>
                      <a:pt x="2222321" y="9057083"/>
                    </a:lnTo>
                    <a:lnTo>
                      <a:pt x="2217670" y="9085924"/>
                    </a:lnTo>
                    <a:lnTo>
                      <a:pt x="2213254" y="9113385"/>
                    </a:lnTo>
                    <a:lnTo>
                      <a:pt x="2202043" y="9132629"/>
                    </a:lnTo>
                    <a:lnTo>
                      <a:pt x="2186391" y="9147131"/>
                    </a:lnTo>
                    <a:lnTo>
                      <a:pt x="2170739" y="9161634"/>
                    </a:lnTo>
                    <a:lnTo>
                      <a:pt x="2150207" y="9170939"/>
                    </a:lnTo>
                    <a:lnTo>
                      <a:pt x="2127902" y="9177059"/>
                    </a:lnTo>
                    <a:lnTo>
                      <a:pt x="2083284" y="9189292"/>
                    </a:lnTo>
                    <a:lnTo>
                      <a:pt x="2030438" y="9189992"/>
                    </a:lnTo>
                    <a:lnTo>
                      <a:pt x="1986447" y="9196098"/>
                    </a:lnTo>
                    <a:lnTo>
                      <a:pt x="1957878" y="9216503"/>
                    </a:lnTo>
                    <a:lnTo>
                      <a:pt x="1963446" y="9247275"/>
                    </a:lnTo>
                    <a:lnTo>
                      <a:pt x="1970373" y="9272401"/>
                    </a:lnTo>
                    <a:lnTo>
                      <a:pt x="1979644" y="9300831"/>
                    </a:lnTo>
                    <a:lnTo>
                      <a:pt x="1996431" y="9352351"/>
                    </a:lnTo>
                    <a:lnTo>
                      <a:pt x="2004424" y="9402934"/>
                    </a:lnTo>
                    <a:lnTo>
                      <a:pt x="2019090" y="9454540"/>
                    </a:lnTo>
                    <a:lnTo>
                      <a:pt x="2051478" y="9486755"/>
                    </a:lnTo>
                    <a:lnTo>
                      <a:pt x="2125861" y="9489855"/>
                    </a:lnTo>
                    <a:lnTo>
                      <a:pt x="2192809" y="9497847"/>
                    </a:lnTo>
                    <a:lnTo>
                      <a:pt x="2257122" y="9488542"/>
                    </a:lnTo>
                    <a:lnTo>
                      <a:pt x="2340732" y="9476382"/>
                    </a:lnTo>
                    <a:lnTo>
                      <a:pt x="2426724" y="9458358"/>
                    </a:lnTo>
                    <a:lnTo>
                      <a:pt x="2511481" y="9453174"/>
                    </a:lnTo>
                    <a:lnTo>
                      <a:pt x="2542655" y="9493958"/>
                    </a:lnTo>
                    <a:lnTo>
                      <a:pt x="2554728" y="9532907"/>
                    </a:lnTo>
                    <a:lnTo>
                      <a:pt x="2564526" y="9572872"/>
                    </a:lnTo>
                    <a:lnTo>
                      <a:pt x="2574324" y="9612837"/>
                    </a:lnTo>
                    <a:lnTo>
                      <a:pt x="2581933" y="9654166"/>
                    </a:lnTo>
                    <a:lnTo>
                      <a:pt x="2594453" y="9692569"/>
                    </a:lnTo>
                    <a:lnTo>
                      <a:pt x="2609962" y="9740091"/>
                    </a:lnTo>
                    <a:lnTo>
                      <a:pt x="2639039" y="9785960"/>
                    </a:lnTo>
                    <a:lnTo>
                      <a:pt x="2658375" y="9832672"/>
                    </a:lnTo>
                    <a:lnTo>
                      <a:pt x="2647008" y="9879224"/>
                    </a:lnTo>
                    <a:lnTo>
                      <a:pt x="2639337" y="9906118"/>
                    </a:lnTo>
                    <a:lnTo>
                      <a:pt x="2631672" y="9933019"/>
                    </a:lnTo>
                    <a:lnTo>
                      <a:pt x="2626253" y="9959340"/>
                    </a:lnTo>
                    <a:lnTo>
                      <a:pt x="2636584" y="9990349"/>
                    </a:lnTo>
                    <a:lnTo>
                      <a:pt x="2666548" y="10014935"/>
                    </a:lnTo>
                    <a:lnTo>
                      <a:pt x="2706186" y="10037450"/>
                    </a:lnTo>
                    <a:lnTo>
                      <a:pt x="2729111" y="10047580"/>
                    </a:lnTo>
                    <a:lnTo>
                      <a:pt x="2774950" y="10067853"/>
                    </a:lnTo>
                    <a:lnTo>
                      <a:pt x="2824033" y="10083977"/>
                    </a:lnTo>
                    <a:lnTo>
                      <a:pt x="2844726" y="10092471"/>
                    </a:lnTo>
                    <a:lnTo>
                      <a:pt x="2890174" y="10111115"/>
                    </a:lnTo>
                    <a:lnTo>
                      <a:pt x="2933607" y="10134678"/>
                    </a:lnTo>
                    <a:lnTo>
                      <a:pt x="2979384" y="10152319"/>
                    </a:lnTo>
                    <a:lnTo>
                      <a:pt x="3001194" y="10160734"/>
                    </a:lnTo>
                    <a:lnTo>
                      <a:pt x="3026482" y="10163966"/>
                    </a:lnTo>
                    <a:lnTo>
                      <a:pt x="3048763" y="10171360"/>
                    </a:lnTo>
                    <a:lnTo>
                      <a:pt x="3149371" y="10204768"/>
                    </a:lnTo>
                    <a:lnTo>
                      <a:pt x="3228262" y="10242558"/>
                    </a:lnTo>
                    <a:lnTo>
                      <a:pt x="3320802" y="10297856"/>
                    </a:lnTo>
                    <a:lnTo>
                      <a:pt x="3363342" y="10322079"/>
                    </a:lnTo>
                    <a:lnTo>
                      <a:pt x="3386088" y="10340024"/>
                    </a:lnTo>
                    <a:lnTo>
                      <a:pt x="3408828" y="10357975"/>
                    </a:lnTo>
                    <a:lnTo>
                      <a:pt x="3428275" y="10380279"/>
                    </a:lnTo>
                    <a:lnTo>
                      <a:pt x="3432330" y="10403955"/>
                    </a:lnTo>
                    <a:lnTo>
                      <a:pt x="3424808" y="10438215"/>
                    </a:lnTo>
                    <a:lnTo>
                      <a:pt x="3387930" y="10486286"/>
                    </a:lnTo>
                    <a:lnTo>
                      <a:pt x="3360242" y="10535892"/>
                    </a:lnTo>
                    <a:lnTo>
                      <a:pt x="3346401" y="10560696"/>
                    </a:lnTo>
                    <a:lnTo>
                      <a:pt x="3334476" y="10585598"/>
                    </a:lnTo>
                    <a:lnTo>
                      <a:pt x="3330321" y="10609347"/>
                    </a:lnTo>
                    <a:lnTo>
                      <a:pt x="3326142" y="10633088"/>
                    </a:lnTo>
                    <a:lnTo>
                      <a:pt x="3329862" y="10655220"/>
                    </a:lnTo>
                    <a:lnTo>
                      <a:pt x="3345278" y="10674636"/>
                    </a:lnTo>
                    <a:lnTo>
                      <a:pt x="3451380" y="10809291"/>
                    </a:lnTo>
                    <a:lnTo>
                      <a:pt x="3499830" y="10820957"/>
                    </a:lnTo>
                    <a:lnTo>
                      <a:pt x="3621634" y="10811434"/>
                    </a:lnTo>
                    <a:lnTo>
                      <a:pt x="3691874" y="10806422"/>
                    </a:lnTo>
                    <a:lnTo>
                      <a:pt x="3761507" y="10810655"/>
                    </a:lnTo>
                    <a:lnTo>
                      <a:pt x="3831128" y="10814883"/>
                    </a:lnTo>
                    <a:lnTo>
                      <a:pt x="3901027" y="10827783"/>
                    </a:lnTo>
                    <a:lnTo>
                      <a:pt x="4010422" y="10854175"/>
                    </a:lnTo>
                    <a:lnTo>
                      <a:pt x="4034638" y="10860025"/>
                    </a:lnTo>
                    <a:lnTo>
                      <a:pt x="4070270" y="10869139"/>
                    </a:lnTo>
                    <a:lnTo>
                      <a:pt x="4103936" y="10880166"/>
                    </a:lnTo>
                    <a:lnTo>
                      <a:pt x="4124679" y="10888186"/>
                    </a:lnTo>
                    <a:lnTo>
                      <a:pt x="4149397" y="10897742"/>
                    </a:lnTo>
                    <a:lnTo>
                      <a:pt x="4169563" y="10919472"/>
                    </a:lnTo>
                    <a:lnTo>
                      <a:pt x="4175801" y="10949287"/>
                    </a:lnTo>
                    <a:lnTo>
                      <a:pt x="4173650" y="10976597"/>
                    </a:lnTo>
                    <a:lnTo>
                      <a:pt x="4170952" y="11010494"/>
                    </a:lnTo>
                    <a:lnTo>
                      <a:pt x="4164001" y="11044313"/>
                    </a:lnTo>
                    <a:lnTo>
                      <a:pt x="4155964" y="11077255"/>
                    </a:lnTo>
                    <a:lnTo>
                      <a:pt x="4147933" y="11110189"/>
                    </a:lnTo>
                    <a:lnTo>
                      <a:pt x="4138452" y="11142248"/>
                    </a:lnTo>
                    <a:lnTo>
                      <a:pt x="4130130" y="11175190"/>
                    </a:lnTo>
                    <a:lnTo>
                      <a:pt x="4128765" y="11206937"/>
                    </a:lnTo>
                    <a:lnTo>
                      <a:pt x="4145062" y="11230487"/>
                    </a:lnTo>
                    <a:lnTo>
                      <a:pt x="4172285" y="11249995"/>
                    </a:lnTo>
                    <a:lnTo>
                      <a:pt x="4200079" y="11267860"/>
                    </a:lnTo>
                    <a:lnTo>
                      <a:pt x="4231990" y="11282515"/>
                    </a:lnTo>
                    <a:lnTo>
                      <a:pt x="4241652" y="11307126"/>
                    </a:lnTo>
                    <a:lnTo>
                      <a:pt x="4241199" y="11348100"/>
                    </a:lnTo>
                    <a:lnTo>
                      <a:pt x="4225460" y="11404216"/>
                    </a:lnTo>
                    <a:lnTo>
                      <a:pt x="4207651" y="11462186"/>
                    </a:lnTo>
                    <a:lnTo>
                      <a:pt x="4190138" y="11519172"/>
                    </a:lnTo>
                    <a:lnTo>
                      <a:pt x="4172490" y="11577663"/>
                    </a:lnTo>
                    <a:lnTo>
                      <a:pt x="4165483" y="11628134"/>
                    </a:lnTo>
                    <a:lnTo>
                      <a:pt x="4206324" y="11628398"/>
                    </a:lnTo>
                    <a:lnTo>
                      <a:pt x="4250339" y="11630765"/>
                    </a:lnTo>
                    <a:lnTo>
                      <a:pt x="4270220" y="11641732"/>
                    </a:lnTo>
                    <a:lnTo>
                      <a:pt x="4348008" y="11684790"/>
                    </a:lnTo>
                    <a:lnTo>
                      <a:pt x="4414832" y="11791701"/>
                    </a:lnTo>
                    <a:lnTo>
                      <a:pt x="4509617" y="11795440"/>
                    </a:lnTo>
                    <a:lnTo>
                      <a:pt x="4552337" y="11797141"/>
                    </a:lnTo>
                    <a:lnTo>
                      <a:pt x="4704761" y="11739501"/>
                    </a:lnTo>
                    <a:lnTo>
                      <a:pt x="4761260" y="11727426"/>
                    </a:lnTo>
                    <a:lnTo>
                      <a:pt x="4823309" y="11714124"/>
                    </a:lnTo>
                    <a:lnTo>
                      <a:pt x="4888310" y="11694656"/>
                    </a:lnTo>
                    <a:lnTo>
                      <a:pt x="4951686" y="11692065"/>
                    </a:lnTo>
                    <a:lnTo>
                      <a:pt x="5004352" y="11689941"/>
                    </a:lnTo>
                    <a:lnTo>
                      <a:pt x="5058073" y="11703243"/>
                    </a:lnTo>
                    <a:lnTo>
                      <a:pt x="5110826" y="11701581"/>
                    </a:lnTo>
                    <a:lnTo>
                      <a:pt x="5167139" y="11699840"/>
                    </a:lnTo>
                    <a:lnTo>
                      <a:pt x="5224103" y="11690237"/>
                    </a:lnTo>
                    <a:lnTo>
                      <a:pt x="5280844" y="11696147"/>
                    </a:lnTo>
                    <a:lnTo>
                      <a:pt x="5406194" y="11709153"/>
                    </a:lnTo>
                    <a:lnTo>
                      <a:pt x="5414107" y="11804534"/>
                    </a:lnTo>
                    <a:lnTo>
                      <a:pt x="5474004" y="11817203"/>
                    </a:lnTo>
                    <a:lnTo>
                      <a:pt x="5543451" y="11831909"/>
                    </a:lnTo>
                    <a:lnTo>
                      <a:pt x="5626894" y="11755950"/>
                    </a:lnTo>
                    <a:lnTo>
                      <a:pt x="5692986" y="11761430"/>
                    </a:lnTo>
                    <a:lnTo>
                      <a:pt x="5716538" y="11763428"/>
                    </a:lnTo>
                    <a:lnTo>
                      <a:pt x="5763766" y="11790631"/>
                    </a:lnTo>
                    <a:lnTo>
                      <a:pt x="5788205" y="11800880"/>
                    </a:lnTo>
                    <a:lnTo>
                      <a:pt x="5891064" y="11843853"/>
                    </a:lnTo>
                    <a:lnTo>
                      <a:pt x="6002133" y="11760415"/>
                    </a:lnTo>
                    <a:lnTo>
                      <a:pt x="6130975" y="11765512"/>
                    </a:lnTo>
                    <a:lnTo>
                      <a:pt x="6255935" y="11770445"/>
                    </a:lnTo>
                    <a:lnTo>
                      <a:pt x="6433493" y="11871862"/>
                    </a:lnTo>
                    <a:lnTo>
                      <a:pt x="6567606" y="11877052"/>
                    </a:lnTo>
                    <a:lnTo>
                      <a:pt x="6617209" y="11878958"/>
                    </a:lnTo>
                    <a:lnTo>
                      <a:pt x="6704850" y="11834072"/>
                    </a:lnTo>
                    <a:lnTo>
                      <a:pt x="6733537" y="11794075"/>
                    </a:lnTo>
                    <a:lnTo>
                      <a:pt x="6750286" y="11770781"/>
                    </a:lnTo>
                    <a:lnTo>
                      <a:pt x="6781614" y="11722539"/>
                    </a:lnTo>
                    <a:lnTo>
                      <a:pt x="6798829" y="11702947"/>
                    </a:lnTo>
                    <a:lnTo>
                      <a:pt x="6921203" y="11564248"/>
                    </a:lnTo>
                    <a:lnTo>
                      <a:pt x="6815070" y="11481404"/>
                    </a:lnTo>
                    <a:lnTo>
                      <a:pt x="6820595" y="11360175"/>
                    </a:lnTo>
                    <a:lnTo>
                      <a:pt x="6824973" y="11264747"/>
                    </a:lnTo>
                    <a:lnTo>
                      <a:pt x="6907325" y="11171278"/>
                    </a:lnTo>
                    <a:lnTo>
                      <a:pt x="6904931" y="11081330"/>
                    </a:lnTo>
                    <a:lnTo>
                      <a:pt x="6904329" y="11059995"/>
                    </a:lnTo>
                    <a:lnTo>
                      <a:pt x="6894643" y="11038911"/>
                    </a:lnTo>
                    <a:lnTo>
                      <a:pt x="6888609" y="11018765"/>
                    </a:lnTo>
                    <a:lnTo>
                      <a:pt x="6875897" y="10976642"/>
                    </a:lnTo>
                    <a:lnTo>
                      <a:pt x="6838281" y="10924912"/>
                    </a:lnTo>
                    <a:lnTo>
                      <a:pt x="6748711" y="10805129"/>
                    </a:lnTo>
                    <a:lnTo>
                      <a:pt x="6751241" y="10783452"/>
                    </a:lnTo>
                    <a:lnTo>
                      <a:pt x="6768449" y="10756710"/>
                    </a:lnTo>
                    <a:lnTo>
                      <a:pt x="6956785" y="10701583"/>
                    </a:lnTo>
                    <a:lnTo>
                      <a:pt x="6993347" y="10700481"/>
                    </a:lnTo>
                    <a:lnTo>
                      <a:pt x="7020763" y="10699585"/>
                    </a:lnTo>
                    <a:lnTo>
                      <a:pt x="7048011" y="10706818"/>
                    </a:lnTo>
                    <a:lnTo>
                      <a:pt x="7074961" y="10707280"/>
                    </a:lnTo>
                    <a:lnTo>
                      <a:pt x="7087710" y="10681521"/>
                    </a:lnTo>
                    <a:lnTo>
                      <a:pt x="7070539" y="10663240"/>
                    </a:lnTo>
                    <a:lnTo>
                      <a:pt x="7059997" y="10643349"/>
                    </a:lnTo>
                    <a:lnTo>
                      <a:pt x="7049710" y="10623796"/>
                    </a:lnTo>
                    <a:lnTo>
                      <a:pt x="7030114" y="10609426"/>
                    </a:lnTo>
                    <a:lnTo>
                      <a:pt x="7021910" y="10588942"/>
                    </a:lnTo>
                    <a:lnTo>
                      <a:pt x="7007567" y="10553105"/>
                    </a:lnTo>
                    <a:lnTo>
                      <a:pt x="7015076" y="10518383"/>
                    </a:lnTo>
                    <a:lnTo>
                      <a:pt x="7006953" y="10481485"/>
                    </a:lnTo>
                    <a:lnTo>
                      <a:pt x="6998290" y="10459933"/>
                    </a:lnTo>
                    <a:lnTo>
                      <a:pt x="6959724" y="10265132"/>
                    </a:lnTo>
                    <a:lnTo>
                      <a:pt x="7107610" y="10268146"/>
                    </a:lnTo>
                    <a:lnTo>
                      <a:pt x="7144333" y="10161836"/>
                    </a:lnTo>
                    <a:lnTo>
                      <a:pt x="7154230" y="10132977"/>
                    </a:lnTo>
                    <a:lnTo>
                      <a:pt x="7153772" y="10105007"/>
                    </a:lnTo>
                    <a:lnTo>
                      <a:pt x="7160655" y="10076148"/>
                    </a:lnTo>
                    <a:lnTo>
                      <a:pt x="7182799" y="9983483"/>
                    </a:lnTo>
                    <a:lnTo>
                      <a:pt x="7237890" y="9873091"/>
                    </a:lnTo>
                    <a:lnTo>
                      <a:pt x="7299394" y="9800026"/>
                    </a:lnTo>
                    <a:lnTo>
                      <a:pt x="7341648" y="9749912"/>
                    </a:lnTo>
                    <a:lnTo>
                      <a:pt x="7439280" y="9742981"/>
                    </a:lnTo>
                    <a:lnTo>
                      <a:pt x="7495264" y="9698010"/>
                    </a:lnTo>
                    <a:lnTo>
                      <a:pt x="7533854" y="9661282"/>
                    </a:lnTo>
                    <a:lnTo>
                      <a:pt x="7576233" y="9589325"/>
                    </a:lnTo>
                    <a:lnTo>
                      <a:pt x="7614072" y="9389415"/>
                    </a:lnTo>
                    <a:lnTo>
                      <a:pt x="7530629" y="9359322"/>
                    </a:lnTo>
                    <a:lnTo>
                      <a:pt x="7504615" y="9349588"/>
                    </a:lnTo>
                    <a:lnTo>
                      <a:pt x="7458199" y="9355075"/>
                    </a:lnTo>
                    <a:lnTo>
                      <a:pt x="7353288" y="9386018"/>
                    </a:lnTo>
                    <a:lnTo>
                      <a:pt x="7326598" y="9404206"/>
                    </a:lnTo>
                    <a:lnTo>
                      <a:pt x="7299518" y="9422698"/>
                    </a:lnTo>
                    <a:lnTo>
                      <a:pt x="7271594" y="9448030"/>
                    </a:lnTo>
                    <a:lnTo>
                      <a:pt x="7242268" y="9462697"/>
                    </a:lnTo>
                    <a:lnTo>
                      <a:pt x="7145772" y="9265134"/>
                    </a:lnTo>
                    <a:lnTo>
                      <a:pt x="6995902" y="9356262"/>
                    </a:lnTo>
                    <a:lnTo>
                      <a:pt x="6959346" y="9264111"/>
                    </a:lnTo>
                    <a:lnTo>
                      <a:pt x="6956084" y="9206558"/>
                    </a:lnTo>
                    <a:lnTo>
                      <a:pt x="7108075" y="9190954"/>
                    </a:lnTo>
                    <a:lnTo>
                      <a:pt x="7162013" y="9145773"/>
                    </a:lnTo>
                    <a:lnTo>
                      <a:pt x="7211957" y="9103862"/>
                    </a:lnTo>
                    <a:lnTo>
                      <a:pt x="7226970" y="9034193"/>
                    </a:lnTo>
                    <a:lnTo>
                      <a:pt x="7259948" y="8986630"/>
                    </a:lnTo>
                    <a:lnTo>
                      <a:pt x="7193726" y="8950287"/>
                    </a:lnTo>
                    <a:lnTo>
                      <a:pt x="7219957" y="8833351"/>
                    </a:lnTo>
                    <a:lnTo>
                      <a:pt x="7202817" y="8773074"/>
                    </a:lnTo>
                    <a:lnTo>
                      <a:pt x="7196361" y="8750335"/>
                    </a:lnTo>
                    <a:lnTo>
                      <a:pt x="7161374" y="8728104"/>
                    </a:lnTo>
                    <a:lnTo>
                      <a:pt x="7153852" y="8702352"/>
                    </a:lnTo>
                    <a:lnTo>
                      <a:pt x="7144513" y="8669831"/>
                    </a:lnTo>
                    <a:lnTo>
                      <a:pt x="7162528" y="8624135"/>
                    </a:lnTo>
                    <a:lnTo>
                      <a:pt x="7144333" y="8592169"/>
                    </a:lnTo>
                    <a:lnTo>
                      <a:pt x="7106760" y="8526181"/>
                    </a:lnTo>
                    <a:lnTo>
                      <a:pt x="6936867" y="8414944"/>
                    </a:lnTo>
                    <a:lnTo>
                      <a:pt x="6975668" y="8336453"/>
                    </a:lnTo>
                    <a:lnTo>
                      <a:pt x="7008273" y="8324015"/>
                    </a:lnTo>
                    <a:lnTo>
                      <a:pt x="7045040" y="8321488"/>
                    </a:lnTo>
                    <a:lnTo>
                      <a:pt x="7062931" y="8307890"/>
                    </a:lnTo>
                    <a:lnTo>
                      <a:pt x="7071308" y="8259134"/>
                    </a:lnTo>
                    <a:lnTo>
                      <a:pt x="7054937" y="8237833"/>
                    </a:lnTo>
                    <a:lnTo>
                      <a:pt x="7049114" y="8207231"/>
                    </a:lnTo>
                    <a:lnTo>
                      <a:pt x="7039720" y="8157672"/>
                    </a:lnTo>
                    <a:lnTo>
                      <a:pt x="7043719" y="8027256"/>
                    </a:lnTo>
                    <a:lnTo>
                      <a:pt x="7012397" y="7990959"/>
                    </a:lnTo>
                    <a:lnTo>
                      <a:pt x="6994370" y="7970046"/>
                    </a:lnTo>
                    <a:lnTo>
                      <a:pt x="6970316" y="7960352"/>
                    </a:lnTo>
                    <a:lnTo>
                      <a:pt x="6952544" y="7940634"/>
                    </a:lnTo>
                    <a:lnTo>
                      <a:pt x="6927764" y="7913172"/>
                    </a:lnTo>
                    <a:lnTo>
                      <a:pt x="6865107" y="7865972"/>
                    </a:lnTo>
                    <a:lnTo>
                      <a:pt x="6830126" y="7856298"/>
                    </a:lnTo>
                    <a:lnTo>
                      <a:pt x="6760289" y="7837020"/>
                    </a:lnTo>
                    <a:lnTo>
                      <a:pt x="6671792" y="7868096"/>
                    </a:lnTo>
                    <a:lnTo>
                      <a:pt x="6597533" y="7860374"/>
                    </a:lnTo>
                    <a:lnTo>
                      <a:pt x="6523534" y="7852703"/>
                    </a:lnTo>
                    <a:lnTo>
                      <a:pt x="6460028" y="7811215"/>
                    </a:lnTo>
                    <a:lnTo>
                      <a:pt x="6378538" y="7831811"/>
                    </a:lnTo>
                    <a:lnTo>
                      <a:pt x="6360561" y="7798441"/>
                    </a:lnTo>
                    <a:lnTo>
                      <a:pt x="6325152" y="7738400"/>
                    </a:lnTo>
                    <a:lnTo>
                      <a:pt x="6329574" y="7701231"/>
                    </a:lnTo>
                    <a:lnTo>
                      <a:pt x="6333102" y="7671990"/>
                    </a:lnTo>
                    <a:lnTo>
                      <a:pt x="6348103" y="7648993"/>
                    </a:lnTo>
                    <a:lnTo>
                      <a:pt x="6360859" y="7623701"/>
                    </a:lnTo>
                    <a:lnTo>
                      <a:pt x="6376963" y="7591776"/>
                    </a:lnTo>
                    <a:lnTo>
                      <a:pt x="6385849" y="7555392"/>
                    </a:lnTo>
                    <a:lnTo>
                      <a:pt x="6401662" y="7523044"/>
                    </a:lnTo>
                    <a:lnTo>
                      <a:pt x="6427800" y="7469619"/>
                    </a:lnTo>
                    <a:lnTo>
                      <a:pt x="6472095" y="7421008"/>
                    </a:lnTo>
                    <a:lnTo>
                      <a:pt x="6490073" y="7363902"/>
                    </a:lnTo>
                    <a:lnTo>
                      <a:pt x="6503052" y="7322605"/>
                    </a:lnTo>
                    <a:lnTo>
                      <a:pt x="6503889" y="7266483"/>
                    </a:lnTo>
                    <a:lnTo>
                      <a:pt x="6498239" y="7223800"/>
                    </a:lnTo>
                    <a:lnTo>
                      <a:pt x="6487437" y="7190094"/>
                    </a:lnTo>
                    <a:lnTo>
                      <a:pt x="6491437" y="7168033"/>
                    </a:lnTo>
                    <a:lnTo>
                      <a:pt x="6497892" y="7132137"/>
                    </a:lnTo>
                    <a:lnTo>
                      <a:pt x="6524043" y="7104677"/>
                    </a:lnTo>
                    <a:lnTo>
                      <a:pt x="6536321" y="7071457"/>
                    </a:lnTo>
                    <a:lnTo>
                      <a:pt x="6554980" y="7020921"/>
                    </a:lnTo>
                    <a:lnTo>
                      <a:pt x="6563612" y="6966382"/>
                    </a:lnTo>
                    <a:lnTo>
                      <a:pt x="6579847" y="6915033"/>
                    </a:lnTo>
                    <a:lnTo>
                      <a:pt x="6597068" y="6891154"/>
                    </a:lnTo>
                    <a:lnTo>
                      <a:pt x="6657331" y="6907469"/>
                    </a:lnTo>
                    <a:lnTo>
                      <a:pt x="6684585" y="6893276"/>
                    </a:lnTo>
                    <a:lnTo>
                      <a:pt x="6699288" y="6875530"/>
                    </a:lnTo>
                    <a:lnTo>
                      <a:pt x="6706227" y="6830810"/>
                    </a:lnTo>
                    <a:lnTo>
                      <a:pt x="6714512" y="6807582"/>
                    </a:lnTo>
                    <a:lnTo>
                      <a:pt x="6723013" y="6783715"/>
                    </a:lnTo>
                    <a:lnTo>
                      <a:pt x="6738014" y="6751579"/>
                    </a:lnTo>
                    <a:lnTo>
                      <a:pt x="6751241" y="6730053"/>
                    </a:lnTo>
                    <a:lnTo>
                      <a:pt x="6764760" y="6707966"/>
                    </a:lnTo>
                    <a:lnTo>
                      <a:pt x="6856227" y="6616515"/>
                    </a:lnTo>
                    <a:lnTo>
                      <a:pt x="6877733" y="6604914"/>
                    </a:lnTo>
                    <a:lnTo>
                      <a:pt x="7003257" y="6537304"/>
                    </a:lnTo>
                    <a:lnTo>
                      <a:pt x="7138300" y="6673964"/>
                    </a:lnTo>
                    <a:lnTo>
                      <a:pt x="7240904" y="6725970"/>
                    </a:lnTo>
                    <a:lnTo>
                      <a:pt x="7266410" y="6738890"/>
                    </a:lnTo>
                    <a:lnTo>
                      <a:pt x="7295059" y="6742378"/>
                    </a:lnTo>
                    <a:lnTo>
                      <a:pt x="7321154" y="6753174"/>
                    </a:lnTo>
                    <a:lnTo>
                      <a:pt x="7346275" y="6763523"/>
                    </a:lnTo>
                    <a:lnTo>
                      <a:pt x="7388194" y="6780102"/>
                    </a:lnTo>
                    <a:lnTo>
                      <a:pt x="7415015" y="6779013"/>
                    </a:lnTo>
                    <a:lnTo>
                      <a:pt x="7497980" y="6775637"/>
                    </a:lnTo>
                    <a:lnTo>
                      <a:pt x="7580617" y="6699637"/>
                    </a:lnTo>
                    <a:lnTo>
                      <a:pt x="7635367" y="6645717"/>
                    </a:lnTo>
                    <a:lnTo>
                      <a:pt x="7725476" y="6556983"/>
                    </a:lnTo>
                    <a:lnTo>
                      <a:pt x="7767216" y="6504066"/>
                    </a:lnTo>
                    <a:lnTo>
                      <a:pt x="7804026" y="6377760"/>
                    </a:lnTo>
                    <a:lnTo>
                      <a:pt x="7808448" y="6303376"/>
                    </a:lnTo>
                    <a:lnTo>
                      <a:pt x="7782608" y="6243968"/>
                    </a:lnTo>
                    <a:lnTo>
                      <a:pt x="7706098" y="6219976"/>
                    </a:lnTo>
                    <a:lnTo>
                      <a:pt x="7543038" y="6168886"/>
                    </a:lnTo>
                    <a:lnTo>
                      <a:pt x="7549239" y="6389722"/>
                    </a:lnTo>
                    <a:lnTo>
                      <a:pt x="7451738" y="6400881"/>
                    </a:lnTo>
                    <a:lnTo>
                      <a:pt x="7355074" y="6411974"/>
                    </a:lnTo>
                    <a:lnTo>
                      <a:pt x="7313632" y="6272089"/>
                    </a:lnTo>
                    <a:lnTo>
                      <a:pt x="7268109" y="6256704"/>
                    </a:lnTo>
                    <a:lnTo>
                      <a:pt x="7239633" y="6247095"/>
                    </a:lnTo>
                    <a:lnTo>
                      <a:pt x="7157635" y="6279318"/>
                    </a:lnTo>
                    <a:lnTo>
                      <a:pt x="7100807" y="6277101"/>
                    </a:lnTo>
                    <a:lnTo>
                      <a:pt x="7047552" y="6275058"/>
                    </a:lnTo>
                    <a:lnTo>
                      <a:pt x="7009204" y="6244647"/>
                    </a:lnTo>
                    <a:lnTo>
                      <a:pt x="6963420" y="6222694"/>
                    </a:lnTo>
                    <a:lnTo>
                      <a:pt x="6877143" y="6181357"/>
                    </a:lnTo>
                    <a:lnTo>
                      <a:pt x="6847595" y="6246522"/>
                    </a:lnTo>
                    <a:lnTo>
                      <a:pt x="6719950" y="6171010"/>
                    </a:lnTo>
                    <a:lnTo>
                      <a:pt x="6678297" y="6146377"/>
                    </a:lnTo>
                    <a:lnTo>
                      <a:pt x="6695424" y="6002259"/>
                    </a:lnTo>
                    <a:lnTo>
                      <a:pt x="6634256" y="5945213"/>
                    </a:lnTo>
                    <a:lnTo>
                      <a:pt x="6613308" y="5925706"/>
                    </a:lnTo>
                    <a:lnTo>
                      <a:pt x="6586904" y="5904496"/>
                    </a:lnTo>
                    <a:lnTo>
                      <a:pt x="6563525" y="5888088"/>
                    </a:lnTo>
                    <a:lnTo>
                      <a:pt x="6512818" y="5852555"/>
                    </a:lnTo>
                    <a:lnTo>
                      <a:pt x="6463550" y="5843117"/>
                    </a:lnTo>
                    <a:lnTo>
                      <a:pt x="6460152" y="5771107"/>
                    </a:lnTo>
                    <a:lnTo>
                      <a:pt x="6458583" y="5738357"/>
                    </a:lnTo>
                    <a:lnTo>
                      <a:pt x="6469206" y="5702316"/>
                    </a:lnTo>
                    <a:lnTo>
                      <a:pt x="6471035" y="5669098"/>
                    </a:lnTo>
                    <a:lnTo>
                      <a:pt x="6474384" y="5606545"/>
                    </a:lnTo>
                    <a:lnTo>
                      <a:pt x="6475215" y="5540134"/>
                    </a:lnTo>
                    <a:lnTo>
                      <a:pt x="6495523" y="5480029"/>
                    </a:lnTo>
                    <a:lnTo>
                      <a:pt x="6530634" y="5454249"/>
                    </a:lnTo>
                    <a:lnTo>
                      <a:pt x="6632557" y="5491886"/>
                    </a:lnTo>
                    <a:lnTo>
                      <a:pt x="6677782" y="5493627"/>
                    </a:lnTo>
                    <a:lnTo>
                      <a:pt x="6798841" y="5498302"/>
                    </a:lnTo>
                    <a:lnTo>
                      <a:pt x="6865963" y="5395310"/>
                    </a:lnTo>
                    <a:lnTo>
                      <a:pt x="6948463" y="5378012"/>
                    </a:lnTo>
                    <a:lnTo>
                      <a:pt x="7050187" y="5356677"/>
                    </a:lnTo>
                    <a:lnTo>
                      <a:pt x="7244346" y="5443005"/>
                    </a:lnTo>
                    <a:lnTo>
                      <a:pt x="7321154" y="5376654"/>
                    </a:lnTo>
                    <a:lnTo>
                      <a:pt x="7370378" y="5334170"/>
                    </a:lnTo>
                    <a:lnTo>
                      <a:pt x="7317154" y="5267033"/>
                    </a:lnTo>
                    <a:lnTo>
                      <a:pt x="7319802" y="5216154"/>
                    </a:lnTo>
                    <a:lnTo>
                      <a:pt x="7321978" y="5175199"/>
                    </a:lnTo>
                    <a:lnTo>
                      <a:pt x="7344253" y="5134621"/>
                    </a:lnTo>
                    <a:lnTo>
                      <a:pt x="7363334" y="5099173"/>
                    </a:lnTo>
                    <a:lnTo>
                      <a:pt x="7385522" y="5057921"/>
                    </a:lnTo>
                    <a:lnTo>
                      <a:pt x="7415653" y="5022877"/>
                    </a:lnTo>
                    <a:lnTo>
                      <a:pt x="7442225" y="4984917"/>
                    </a:lnTo>
                    <a:lnTo>
                      <a:pt x="7523368" y="4868958"/>
                    </a:lnTo>
                    <a:lnTo>
                      <a:pt x="7614116" y="4827027"/>
                    </a:lnTo>
                    <a:lnTo>
                      <a:pt x="7725141" y="4749604"/>
                    </a:lnTo>
                    <a:lnTo>
                      <a:pt x="7754305" y="4729284"/>
                    </a:lnTo>
                    <a:lnTo>
                      <a:pt x="7790775" y="4717296"/>
                    </a:lnTo>
                    <a:lnTo>
                      <a:pt x="7823076" y="4693830"/>
                    </a:lnTo>
                    <a:lnTo>
                      <a:pt x="7875185" y="4615688"/>
                    </a:lnTo>
                    <a:lnTo>
                      <a:pt x="7897763" y="4522937"/>
                    </a:lnTo>
                    <a:lnTo>
                      <a:pt x="7952296" y="4447636"/>
                    </a:lnTo>
                    <a:lnTo>
                      <a:pt x="8028379" y="4412888"/>
                    </a:lnTo>
                    <a:lnTo>
                      <a:pt x="8056693" y="4425490"/>
                    </a:lnTo>
                    <a:lnTo>
                      <a:pt x="8119604" y="4359224"/>
                    </a:lnTo>
                    <a:lnTo>
                      <a:pt x="8137370" y="4308411"/>
                    </a:lnTo>
                    <a:lnTo>
                      <a:pt x="8089938" y="4233934"/>
                    </a:lnTo>
                    <a:lnTo>
                      <a:pt x="8097838" y="4174237"/>
                    </a:lnTo>
                    <a:lnTo>
                      <a:pt x="8101707" y="4144890"/>
                    </a:lnTo>
                    <a:lnTo>
                      <a:pt x="8119393" y="4122230"/>
                    </a:lnTo>
                    <a:lnTo>
                      <a:pt x="8129123" y="4095343"/>
                    </a:lnTo>
                    <a:lnTo>
                      <a:pt x="8154411" y="4025338"/>
                    </a:lnTo>
                    <a:lnTo>
                      <a:pt x="8169586" y="3958010"/>
                    </a:lnTo>
                    <a:lnTo>
                      <a:pt x="8157685" y="3883151"/>
                    </a:lnTo>
                    <a:lnTo>
                      <a:pt x="8141401" y="3781057"/>
                    </a:lnTo>
                    <a:lnTo>
                      <a:pt x="8090446" y="3761714"/>
                    </a:lnTo>
                    <a:lnTo>
                      <a:pt x="8031188" y="3688648"/>
                    </a:lnTo>
                    <a:lnTo>
                      <a:pt x="8013762" y="3659235"/>
                    </a:lnTo>
                    <a:lnTo>
                      <a:pt x="7979755" y="3610241"/>
                    </a:lnTo>
                    <a:lnTo>
                      <a:pt x="7946852" y="3575644"/>
                    </a:lnTo>
                    <a:lnTo>
                      <a:pt x="7919653" y="3543105"/>
                    </a:lnTo>
                    <a:lnTo>
                      <a:pt x="7868178" y="3481535"/>
                    </a:lnTo>
                    <a:lnTo>
                      <a:pt x="7834177" y="3403624"/>
                    </a:lnTo>
                    <a:lnTo>
                      <a:pt x="7797236" y="3333637"/>
                    </a:lnTo>
                    <a:lnTo>
                      <a:pt x="7781467" y="3303796"/>
                    </a:lnTo>
                    <a:lnTo>
                      <a:pt x="7751453" y="3274145"/>
                    </a:lnTo>
                    <a:lnTo>
                      <a:pt x="7738747" y="3243862"/>
                    </a:lnTo>
                    <a:lnTo>
                      <a:pt x="7713527" y="3183631"/>
                    </a:lnTo>
                    <a:lnTo>
                      <a:pt x="7719108" y="3099407"/>
                    </a:lnTo>
                    <a:lnTo>
                      <a:pt x="7734654" y="3037111"/>
                    </a:lnTo>
                    <a:lnTo>
                      <a:pt x="7810110" y="2754171"/>
                    </a:lnTo>
                    <a:lnTo>
                      <a:pt x="7972742" y="2856352"/>
                    </a:lnTo>
                    <a:lnTo>
                      <a:pt x="8044781" y="2692982"/>
                    </a:lnTo>
                    <a:lnTo>
                      <a:pt x="8056985" y="2665311"/>
                    </a:lnTo>
                    <a:lnTo>
                      <a:pt x="8064370" y="2642208"/>
                    </a:lnTo>
                    <a:lnTo>
                      <a:pt x="8061102" y="2611371"/>
                    </a:lnTo>
                    <a:lnTo>
                      <a:pt x="8057276" y="2574960"/>
                    </a:lnTo>
                    <a:lnTo>
                      <a:pt x="8033389" y="2541999"/>
                    </a:lnTo>
                    <a:lnTo>
                      <a:pt x="8024385" y="2506631"/>
                    </a:lnTo>
                    <a:lnTo>
                      <a:pt x="7970950" y="2483127"/>
                    </a:lnTo>
                    <a:lnTo>
                      <a:pt x="7945401" y="2498730"/>
                    </a:lnTo>
                    <a:lnTo>
                      <a:pt x="7893807" y="2493031"/>
                    </a:lnTo>
                    <a:lnTo>
                      <a:pt x="7845512" y="2487697"/>
                    </a:lnTo>
                    <a:lnTo>
                      <a:pt x="7815722" y="2460367"/>
                    </a:lnTo>
                    <a:lnTo>
                      <a:pt x="7774106" y="2442706"/>
                    </a:lnTo>
                    <a:lnTo>
                      <a:pt x="7722890" y="2420963"/>
                    </a:lnTo>
                    <a:lnTo>
                      <a:pt x="7591066" y="2420685"/>
                    </a:lnTo>
                    <a:lnTo>
                      <a:pt x="7538790" y="2441348"/>
                    </a:lnTo>
                    <a:lnTo>
                      <a:pt x="7476301" y="2478966"/>
                    </a:lnTo>
                    <a:lnTo>
                      <a:pt x="7422195" y="2547994"/>
                    </a:lnTo>
                    <a:lnTo>
                      <a:pt x="7381776" y="2622148"/>
                    </a:lnTo>
                    <a:lnTo>
                      <a:pt x="7322518" y="2660337"/>
                    </a:lnTo>
                    <a:lnTo>
                      <a:pt x="7282092" y="2686395"/>
                    </a:lnTo>
                    <a:lnTo>
                      <a:pt x="7236700" y="2698403"/>
                    </a:lnTo>
                    <a:lnTo>
                      <a:pt x="7193304" y="2716105"/>
                    </a:lnTo>
                    <a:lnTo>
                      <a:pt x="7085720" y="2759993"/>
                    </a:lnTo>
                    <a:lnTo>
                      <a:pt x="6936011" y="2801819"/>
                    </a:lnTo>
                    <a:lnTo>
                      <a:pt x="6823330" y="2758273"/>
                    </a:lnTo>
                    <a:lnTo>
                      <a:pt x="6797527" y="2724842"/>
                    </a:lnTo>
                    <a:lnTo>
                      <a:pt x="6738225" y="2619766"/>
                    </a:lnTo>
                    <a:lnTo>
                      <a:pt x="6715870" y="2601848"/>
                    </a:lnTo>
                    <a:lnTo>
                      <a:pt x="6698612" y="2587971"/>
                    </a:lnTo>
                    <a:lnTo>
                      <a:pt x="6507504" y="2506229"/>
                    </a:lnTo>
                    <a:lnTo>
                      <a:pt x="6480560" y="2499831"/>
                    </a:lnTo>
                    <a:lnTo>
                      <a:pt x="6401625" y="2481128"/>
                    </a:lnTo>
                    <a:lnTo>
                      <a:pt x="6353461" y="2525426"/>
                    </a:lnTo>
                    <a:lnTo>
                      <a:pt x="6272442" y="2430466"/>
                    </a:lnTo>
                    <a:lnTo>
                      <a:pt x="6210046" y="2357269"/>
                    </a:lnTo>
                    <a:lnTo>
                      <a:pt x="6204347" y="2257232"/>
                    </a:lnTo>
                    <a:lnTo>
                      <a:pt x="6184032" y="2167943"/>
                    </a:lnTo>
                    <a:lnTo>
                      <a:pt x="6169025" y="2101466"/>
                    </a:lnTo>
                    <a:lnTo>
                      <a:pt x="6134690" y="2037008"/>
                    </a:lnTo>
                    <a:lnTo>
                      <a:pt x="6120104" y="1970716"/>
                    </a:lnTo>
                    <a:lnTo>
                      <a:pt x="6111770" y="1932735"/>
                    </a:lnTo>
                    <a:lnTo>
                      <a:pt x="6102754" y="1888088"/>
                    </a:lnTo>
                    <a:lnTo>
                      <a:pt x="6086097" y="1852384"/>
                    </a:lnTo>
                    <a:lnTo>
                      <a:pt x="6074575" y="1831721"/>
                    </a:lnTo>
                    <a:lnTo>
                      <a:pt x="5998413" y="1809002"/>
                    </a:lnTo>
                    <a:lnTo>
                      <a:pt x="5923428" y="1823353"/>
                    </a:lnTo>
                    <a:lnTo>
                      <a:pt x="5854868" y="1804774"/>
                    </a:lnTo>
                    <a:lnTo>
                      <a:pt x="5746298" y="1775336"/>
                    </a:lnTo>
                    <a:lnTo>
                      <a:pt x="5729338" y="1664606"/>
                    </a:lnTo>
                    <a:lnTo>
                      <a:pt x="5616830" y="1678278"/>
                    </a:lnTo>
                    <a:lnTo>
                      <a:pt x="5489656" y="1693750"/>
                    </a:lnTo>
                    <a:lnTo>
                      <a:pt x="5447990" y="1820945"/>
                    </a:lnTo>
                    <a:lnTo>
                      <a:pt x="5272702" y="1814298"/>
                    </a:lnTo>
                    <a:lnTo>
                      <a:pt x="5236996" y="1812952"/>
                    </a:lnTo>
                    <a:lnTo>
                      <a:pt x="5196024" y="1793952"/>
                    </a:lnTo>
                    <a:lnTo>
                      <a:pt x="5162519" y="1783011"/>
                    </a:lnTo>
                    <a:lnTo>
                      <a:pt x="5126478" y="1771173"/>
                    </a:lnTo>
                    <a:lnTo>
                      <a:pt x="5083163" y="1763926"/>
                    </a:lnTo>
                    <a:lnTo>
                      <a:pt x="5049627" y="1746285"/>
                    </a:lnTo>
                    <a:lnTo>
                      <a:pt x="4898052" y="1666566"/>
                    </a:lnTo>
                    <a:lnTo>
                      <a:pt x="4905872" y="1614367"/>
                    </a:lnTo>
                    <a:lnTo>
                      <a:pt x="4871443" y="1464722"/>
                    </a:lnTo>
                    <a:lnTo>
                      <a:pt x="4867474" y="1428489"/>
                    </a:lnTo>
                    <a:lnTo>
                      <a:pt x="4843767" y="1362731"/>
                    </a:lnTo>
                    <a:lnTo>
                      <a:pt x="4801431" y="1313547"/>
                    </a:lnTo>
                    <a:lnTo>
                      <a:pt x="4789829" y="1260696"/>
                    </a:lnTo>
                    <a:lnTo>
                      <a:pt x="4770103" y="1170965"/>
                    </a:lnTo>
                    <a:lnTo>
                      <a:pt x="4799987" y="1110496"/>
                    </a:lnTo>
                    <a:lnTo>
                      <a:pt x="4706857" y="1051222"/>
                    </a:lnTo>
                    <a:lnTo>
                      <a:pt x="4678258" y="1033052"/>
                    </a:lnTo>
                    <a:lnTo>
                      <a:pt x="4637485" y="1034899"/>
                    </a:lnTo>
                    <a:lnTo>
                      <a:pt x="4528890" y="1026636"/>
                    </a:lnTo>
                    <a:lnTo>
                      <a:pt x="4508779" y="1095321"/>
                    </a:lnTo>
                    <a:lnTo>
                      <a:pt x="4457942" y="1165478"/>
                    </a:lnTo>
                    <a:lnTo>
                      <a:pt x="4434093" y="1198360"/>
                    </a:lnTo>
                    <a:lnTo>
                      <a:pt x="4327147" y="1335825"/>
                    </a:lnTo>
                    <a:lnTo>
                      <a:pt x="4304240" y="1351824"/>
                    </a:lnTo>
                    <a:lnTo>
                      <a:pt x="4220754" y="1410017"/>
                    </a:lnTo>
                    <a:lnTo>
                      <a:pt x="4118273" y="1361558"/>
                    </a:lnTo>
                    <a:lnTo>
                      <a:pt x="4026756" y="1395350"/>
                    </a:lnTo>
                    <a:lnTo>
                      <a:pt x="3959176" y="1420305"/>
                    </a:lnTo>
                    <a:lnTo>
                      <a:pt x="3911948" y="1430547"/>
                    </a:lnTo>
                    <a:lnTo>
                      <a:pt x="3839047" y="1421195"/>
                    </a:lnTo>
                    <a:lnTo>
                      <a:pt x="3765172" y="1370038"/>
                    </a:lnTo>
                    <a:lnTo>
                      <a:pt x="3731506" y="1159127"/>
                    </a:lnTo>
                    <a:lnTo>
                      <a:pt x="3643177" y="1102912"/>
                    </a:lnTo>
                    <a:lnTo>
                      <a:pt x="3510217" y="1018326"/>
                    </a:lnTo>
                    <a:lnTo>
                      <a:pt x="3242816" y="1033646"/>
                    </a:lnTo>
                    <a:lnTo>
                      <a:pt x="3187508" y="1002254"/>
                    </a:lnTo>
                    <a:lnTo>
                      <a:pt x="3129918" y="969523"/>
                    </a:lnTo>
                    <a:lnTo>
                      <a:pt x="3107811" y="880578"/>
                    </a:lnTo>
                    <a:lnTo>
                      <a:pt x="3055572" y="840396"/>
                    </a:lnTo>
                    <a:lnTo>
                      <a:pt x="3030451" y="821053"/>
                    </a:lnTo>
                    <a:lnTo>
                      <a:pt x="2988668" y="811740"/>
                    </a:lnTo>
                    <a:lnTo>
                      <a:pt x="2965804" y="790062"/>
                    </a:lnTo>
                    <a:lnTo>
                      <a:pt x="2894180" y="722267"/>
                    </a:lnTo>
                    <a:lnTo>
                      <a:pt x="2985530" y="562150"/>
                    </a:lnTo>
                    <a:lnTo>
                      <a:pt x="2933161" y="520747"/>
                    </a:lnTo>
                    <a:lnTo>
                      <a:pt x="2890993" y="527718"/>
                    </a:lnTo>
                    <a:lnTo>
                      <a:pt x="2866294" y="609053"/>
                    </a:lnTo>
                    <a:lnTo>
                      <a:pt x="2794416" y="630921"/>
                    </a:lnTo>
                    <a:lnTo>
                      <a:pt x="2737328" y="648305"/>
                    </a:lnTo>
                    <a:lnTo>
                      <a:pt x="2681183" y="586010"/>
                    </a:lnTo>
                    <a:lnTo>
                      <a:pt x="2612151" y="588754"/>
                    </a:lnTo>
                    <a:lnTo>
                      <a:pt x="2570833" y="590389"/>
                    </a:lnTo>
                    <a:lnTo>
                      <a:pt x="2518935" y="622698"/>
                    </a:lnTo>
                    <a:lnTo>
                      <a:pt x="2478851" y="636362"/>
                    </a:lnTo>
                    <a:lnTo>
                      <a:pt x="2438345" y="650178"/>
                    </a:lnTo>
                    <a:lnTo>
                      <a:pt x="2399662" y="653872"/>
                    </a:lnTo>
                    <a:lnTo>
                      <a:pt x="2357791" y="660849"/>
                    </a:lnTo>
                    <a:lnTo>
                      <a:pt x="2290422" y="668710"/>
                    </a:lnTo>
                    <a:lnTo>
                      <a:pt x="2212039" y="636125"/>
                    </a:lnTo>
                    <a:lnTo>
                      <a:pt x="2183390" y="527289"/>
                    </a:lnTo>
                    <a:lnTo>
                      <a:pt x="2118395" y="492178"/>
                    </a:lnTo>
                    <a:lnTo>
                      <a:pt x="2008312" y="432653"/>
                    </a:lnTo>
                    <a:lnTo>
                      <a:pt x="1906079" y="596767"/>
                    </a:lnTo>
                    <a:lnTo>
                      <a:pt x="1791953" y="406484"/>
                    </a:lnTo>
                    <a:lnTo>
                      <a:pt x="1780090" y="374775"/>
                    </a:lnTo>
                    <a:lnTo>
                      <a:pt x="1767893" y="340073"/>
                    </a:lnTo>
                    <a:lnTo>
                      <a:pt x="1760662" y="307190"/>
                    </a:lnTo>
                    <a:lnTo>
                      <a:pt x="1741196" y="218331"/>
                    </a:lnTo>
                    <a:lnTo>
                      <a:pt x="1723219" y="0"/>
                    </a:lnTo>
                    <a:lnTo>
                      <a:pt x="1585200" y="21552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83" name="Mykolaiv¬0" descr="Mykolaiv¬0">
                <a:extLst>
                  <a:ext uri="{FF2B5EF4-FFF2-40B4-BE49-F238E27FC236}">
                    <a16:creationId xmlns:a16="http://schemas.microsoft.com/office/drawing/2014/main" id="{B9012087-F457-4A24-B512-AA6D1FDC9C1D}"/>
                  </a:ext>
                </a:extLst>
              </p:cNvPr>
              <p:cNvSpPr/>
              <p:nvPr/>
            </p:nvSpPr>
            <p:spPr>
              <a:xfrm>
                <a:off x="28231274" y="21837305"/>
                <a:ext cx="10273523" cy="8536778"/>
              </a:xfrm>
              <a:custGeom>
                <a:avLst/>
                <a:gdLst/>
                <a:ahLst/>
                <a:cxnLst/>
                <a:rect l="0" t="0" r="0" b="0"/>
                <a:pathLst>
                  <a:path w="10273523" h="8536773">
                    <a:moveTo>
                      <a:pt x="320942" y="502597"/>
                    </a:moveTo>
                    <a:lnTo>
                      <a:pt x="314142" y="525718"/>
                    </a:lnTo>
                    <a:lnTo>
                      <a:pt x="308701" y="554281"/>
                    </a:lnTo>
                    <a:lnTo>
                      <a:pt x="305405" y="575260"/>
                    </a:lnTo>
                    <a:lnTo>
                      <a:pt x="308766" y="601060"/>
                    </a:lnTo>
                    <a:lnTo>
                      <a:pt x="395753" y="633177"/>
                    </a:lnTo>
                    <a:lnTo>
                      <a:pt x="384873" y="701184"/>
                    </a:lnTo>
                    <a:lnTo>
                      <a:pt x="353591" y="718863"/>
                    </a:lnTo>
                    <a:lnTo>
                      <a:pt x="330470" y="702627"/>
                    </a:lnTo>
                    <a:lnTo>
                      <a:pt x="301520" y="691956"/>
                    </a:lnTo>
                    <a:lnTo>
                      <a:pt x="273338" y="699818"/>
                    </a:lnTo>
                    <a:lnTo>
                      <a:pt x="248686" y="735358"/>
                    </a:lnTo>
                    <a:lnTo>
                      <a:pt x="229812" y="754225"/>
                    </a:lnTo>
                    <a:lnTo>
                      <a:pt x="188733" y="736110"/>
                    </a:lnTo>
                    <a:lnTo>
                      <a:pt x="158338" y="746055"/>
                    </a:lnTo>
                    <a:lnTo>
                      <a:pt x="125078" y="762391"/>
                    </a:lnTo>
                    <a:lnTo>
                      <a:pt x="89551" y="777085"/>
                    </a:lnTo>
                    <a:lnTo>
                      <a:pt x="54505" y="793941"/>
                    </a:lnTo>
                    <a:lnTo>
                      <a:pt x="24420" y="815440"/>
                    </a:lnTo>
                    <a:lnTo>
                      <a:pt x="0" y="840229"/>
                    </a:lnTo>
                    <a:lnTo>
                      <a:pt x="2657" y="872566"/>
                    </a:lnTo>
                    <a:lnTo>
                      <a:pt x="50437" y="880980"/>
                    </a:lnTo>
                    <a:lnTo>
                      <a:pt x="74752" y="891611"/>
                    </a:lnTo>
                    <a:lnTo>
                      <a:pt x="71416" y="942873"/>
                    </a:lnTo>
                    <a:lnTo>
                      <a:pt x="64446" y="971733"/>
                    </a:lnTo>
                    <a:lnTo>
                      <a:pt x="66588" y="1003144"/>
                    </a:lnTo>
                    <a:lnTo>
                      <a:pt x="71369" y="1040596"/>
                    </a:lnTo>
                    <a:lnTo>
                      <a:pt x="69314" y="1061635"/>
                    </a:lnTo>
                    <a:lnTo>
                      <a:pt x="41238" y="1088323"/>
                    </a:lnTo>
                    <a:lnTo>
                      <a:pt x="34820" y="1109421"/>
                    </a:lnTo>
                    <a:lnTo>
                      <a:pt x="33945" y="1131006"/>
                    </a:lnTo>
                    <a:lnTo>
                      <a:pt x="32584" y="1162286"/>
                    </a:lnTo>
                    <a:lnTo>
                      <a:pt x="31933" y="1183283"/>
                    </a:lnTo>
                    <a:lnTo>
                      <a:pt x="34993" y="1213825"/>
                    </a:lnTo>
                    <a:lnTo>
                      <a:pt x="48372" y="1231288"/>
                    </a:lnTo>
                    <a:lnTo>
                      <a:pt x="70678" y="1238456"/>
                    </a:lnTo>
                    <a:lnTo>
                      <a:pt x="95343" y="1243561"/>
                    </a:lnTo>
                    <a:lnTo>
                      <a:pt x="119453" y="1246958"/>
                    </a:lnTo>
                    <a:lnTo>
                      <a:pt x="142767" y="1252062"/>
                    </a:lnTo>
                    <a:lnTo>
                      <a:pt x="164464" y="1260977"/>
                    </a:lnTo>
                    <a:lnTo>
                      <a:pt x="185362" y="1280089"/>
                    </a:lnTo>
                    <a:lnTo>
                      <a:pt x="203975" y="1303745"/>
                    </a:lnTo>
                    <a:lnTo>
                      <a:pt x="221543" y="1328919"/>
                    </a:lnTo>
                    <a:lnTo>
                      <a:pt x="238097" y="1354752"/>
                    </a:lnTo>
                    <a:lnTo>
                      <a:pt x="255665" y="1379917"/>
                    </a:lnTo>
                    <a:lnTo>
                      <a:pt x="275081" y="1403652"/>
                    </a:lnTo>
                    <a:lnTo>
                      <a:pt x="299684" y="1424947"/>
                    </a:lnTo>
                    <a:lnTo>
                      <a:pt x="315103" y="1439601"/>
                    </a:lnTo>
                    <a:lnTo>
                      <a:pt x="335279" y="1496469"/>
                    </a:lnTo>
                    <a:lnTo>
                      <a:pt x="336504" y="1586925"/>
                    </a:lnTo>
                    <a:lnTo>
                      <a:pt x="342717" y="1630194"/>
                    </a:lnTo>
                    <a:lnTo>
                      <a:pt x="348915" y="1673338"/>
                    </a:lnTo>
                    <a:lnTo>
                      <a:pt x="360080" y="1718097"/>
                    </a:lnTo>
                    <a:lnTo>
                      <a:pt x="367196" y="1760773"/>
                    </a:lnTo>
                    <a:lnTo>
                      <a:pt x="379865" y="1836865"/>
                    </a:lnTo>
                    <a:lnTo>
                      <a:pt x="383329" y="1913801"/>
                    </a:lnTo>
                    <a:lnTo>
                      <a:pt x="397120" y="1990651"/>
                    </a:lnTo>
                    <a:lnTo>
                      <a:pt x="403148" y="2024207"/>
                    </a:lnTo>
                    <a:lnTo>
                      <a:pt x="407082" y="2049306"/>
                    </a:lnTo>
                    <a:lnTo>
                      <a:pt x="414365" y="2089773"/>
                    </a:lnTo>
                    <a:lnTo>
                      <a:pt x="425689" y="2118507"/>
                    </a:lnTo>
                    <a:lnTo>
                      <a:pt x="443223" y="2143476"/>
                    </a:lnTo>
                    <a:lnTo>
                      <a:pt x="459690" y="2156593"/>
                    </a:lnTo>
                    <a:lnTo>
                      <a:pt x="476157" y="2169710"/>
                    </a:lnTo>
                    <a:lnTo>
                      <a:pt x="498760" y="2184845"/>
                    </a:lnTo>
                    <a:lnTo>
                      <a:pt x="530420" y="2204200"/>
                    </a:lnTo>
                    <a:lnTo>
                      <a:pt x="552183" y="2206918"/>
                    </a:lnTo>
                    <a:lnTo>
                      <a:pt x="589056" y="2221454"/>
                    </a:lnTo>
                    <a:lnTo>
                      <a:pt x="622006" y="2245341"/>
                    </a:lnTo>
                    <a:lnTo>
                      <a:pt x="662360" y="2250444"/>
                    </a:lnTo>
                    <a:lnTo>
                      <a:pt x="676287" y="2313684"/>
                    </a:lnTo>
                    <a:lnTo>
                      <a:pt x="679044" y="2354360"/>
                    </a:lnTo>
                    <a:lnTo>
                      <a:pt x="674607" y="2381024"/>
                    </a:lnTo>
                    <a:lnTo>
                      <a:pt x="670155" y="2407680"/>
                    </a:lnTo>
                    <a:lnTo>
                      <a:pt x="646038" y="2431349"/>
                    </a:lnTo>
                    <a:lnTo>
                      <a:pt x="620139" y="2447876"/>
                    </a:lnTo>
                    <a:lnTo>
                      <a:pt x="601210" y="2474671"/>
                    </a:lnTo>
                    <a:lnTo>
                      <a:pt x="599793" y="2530643"/>
                    </a:lnTo>
                    <a:lnTo>
                      <a:pt x="613268" y="2550243"/>
                    </a:lnTo>
                    <a:lnTo>
                      <a:pt x="630374" y="2569493"/>
                    </a:lnTo>
                    <a:lnTo>
                      <a:pt x="654202" y="2575527"/>
                    </a:lnTo>
                    <a:lnTo>
                      <a:pt x="681444" y="2590960"/>
                    </a:lnTo>
                    <a:lnTo>
                      <a:pt x="721147" y="2631933"/>
                    </a:lnTo>
                    <a:lnTo>
                      <a:pt x="739242" y="2663892"/>
                    </a:lnTo>
                    <a:lnTo>
                      <a:pt x="735806" y="2697949"/>
                    </a:lnTo>
                    <a:lnTo>
                      <a:pt x="725174" y="2727414"/>
                    </a:lnTo>
                    <a:lnTo>
                      <a:pt x="699936" y="2769595"/>
                    </a:lnTo>
                    <a:lnTo>
                      <a:pt x="679723" y="2797347"/>
                    </a:lnTo>
                    <a:lnTo>
                      <a:pt x="681397" y="2832610"/>
                    </a:lnTo>
                    <a:lnTo>
                      <a:pt x="689332" y="2872099"/>
                    </a:lnTo>
                    <a:lnTo>
                      <a:pt x="697722" y="2892458"/>
                    </a:lnTo>
                    <a:lnTo>
                      <a:pt x="706109" y="2912810"/>
                    </a:lnTo>
                    <a:lnTo>
                      <a:pt x="714822" y="2933413"/>
                    </a:lnTo>
                    <a:lnTo>
                      <a:pt x="732166" y="2974584"/>
                    </a:lnTo>
                    <a:lnTo>
                      <a:pt x="725243" y="3027198"/>
                    </a:lnTo>
                    <a:lnTo>
                      <a:pt x="739890" y="3047518"/>
                    </a:lnTo>
                    <a:lnTo>
                      <a:pt x="842249" y="3087542"/>
                    </a:lnTo>
                    <a:lnTo>
                      <a:pt x="869104" y="3101926"/>
                    </a:lnTo>
                    <a:lnTo>
                      <a:pt x="894829" y="3127553"/>
                    </a:lnTo>
                    <a:lnTo>
                      <a:pt x="919553" y="3160634"/>
                    </a:lnTo>
                    <a:lnTo>
                      <a:pt x="943915" y="3175380"/>
                    </a:lnTo>
                    <a:lnTo>
                      <a:pt x="1000665" y="3150346"/>
                    </a:lnTo>
                    <a:lnTo>
                      <a:pt x="1063296" y="3150814"/>
                    </a:lnTo>
                    <a:lnTo>
                      <a:pt x="1123460" y="3137294"/>
                    </a:lnTo>
                    <a:lnTo>
                      <a:pt x="1168347" y="3186261"/>
                    </a:lnTo>
                    <a:lnTo>
                      <a:pt x="1205074" y="3198501"/>
                    </a:lnTo>
                    <a:lnTo>
                      <a:pt x="1253000" y="3174865"/>
                    </a:lnTo>
                    <a:lnTo>
                      <a:pt x="1279885" y="3154975"/>
                    </a:lnTo>
                    <a:lnTo>
                      <a:pt x="1306773" y="3135091"/>
                    </a:lnTo>
                    <a:lnTo>
                      <a:pt x="1330192" y="3112556"/>
                    </a:lnTo>
                    <a:lnTo>
                      <a:pt x="1334294" y="3091044"/>
                    </a:lnTo>
                    <a:lnTo>
                      <a:pt x="1364664" y="3085517"/>
                    </a:lnTo>
                    <a:lnTo>
                      <a:pt x="1401772" y="3093425"/>
                    </a:lnTo>
                    <a:lnTo>
                      <a:pt x="1409173" y="3116163"/>
                    </a:lnTo>
                    <a:lnTo>
                      <a:pt x="1424065" y="3138652"/>
                    </a:lnTo>
                    <a:lnTo>
                      <a:pt x="1441270" y="3152667"/>
                    </a:lnTo>
                    <a:lnTo>
                      <a:pt x="1484089" y="3153161"/>
                    </a:lnTo>
                    <a:lnTo>
                      <a:pt x="1530164" y="3152257"/>
                    </a:lnTo>
                    <a:lnTo>
                      <a:pt x="1576236" y="3151355"/>
                    </a:lnTo>
                    <a:lnTo>
                      <a:pt x="1625333" y="3149316"/>
                    </a:lnTo>
                    <a:lnTo>
                      <a:pt x="1652578" y="3154975"/>
                    </a:lnTo>
                    <a:lnTo>
                      <a:pt x="1687947" y="3235221"/>
                    </a:lnTo>
                    <a:lnTo>
                      <a:pt x="1678896" y="3266850"/>
                    </a:lnTo>
                    <a:lnTo>
                      <a:pt x="1653778" y="3275517"/>
                    </a:lnTo>
                    <a:lnTo>
                      <a:pt x="1659152" y="3309375"/>
                    </a:lnTo>
                    <a:lnTo>
                      <a:pt x="1677070" y="3326357"/>
                    </a:lnTo>
                    <a:lnTo>
                      <a:pt x="1694988" y="3343339"/>
                    </a:lnTo>
                    <a:lnTo>
                      <a:pt x="1715750" y="3357339"/>
                    </a:lnTo>
                    <a:lnTo>
                      <a:pt x="1743652" y="3340767"/>
                    </a:lnTo>
                    <a:lnTo>
                      <a:pt x="1754172" y="3321298"/>
                    </a:lnTo>
                    <a:lnTo>
                      <a:pt x="1768627" y="3282448"/>
                    </a:lnTo>
                    <a:lnTo>
                      <a:pt x="1776363" y="3244745"/>
                    </a:lnTo>
                    <a:lnTo>
                      <a:pt x="1782629" y="3207457"/>
                    </a:lnTo>
                    <a:lnTo>
                      <a:pt x="1784080" y="3174569"/>
                    </a:lnTo>
                    <a:lnTo>
                      <a:pt x="1834642" y="3142557"/>
                    </a:lnTo>
                    <a:lnTo>
                      <a:pt x="1878630" y="3135930"/>
                    </a:lnTo>
                    <a:lnTo>
                      <a:pt x="1920540" y="3127770"/>
                    </a:lnTo>
                    <a:lnTo>
                      <a:pt x="1956014" y="3120839"/>
                    </a:lnTo>
                    <a:lnTo>
                      <a:pt x="1991528" y="3109193"/>
                    </a:lnTo>
                    <a:lnTo>
                      <a:pt x="2027997" y="3104643"/>
                    </a:lnTo>
                    <a:lnTo>
                      <a:pt x="2038862" y="3141244"/>
                    </a:lnTo>
                    <a:lnTo>
                      <a:pt x="2058454" y="3175248"/>
                    </a:lnTo>
                    <a:lnTo>
                      <a:pt x="2063366" y="3202577"/>
                    </a:lnTo>
                    <a:lnTo>
                      <a:pt x="2067672" y="3224340"/>
                    </a:lnTo>
                    <a:lnTo>
                      <a:pt x="2090886" y="3257961"/>
                    </a:lnTo>
                    <a:lnTo>
                      <a:pt x="2085150" y="3280516"/>
                    </a:lnTo>
                    <a:lnTo>
                      <a:pt x="2067145" y="3293990"/>
                    </a:lnTo>
                    <a:lnTo>
                      <a:pt x="2051121" y="3308676"/>
                    </a:lnTo>
                    <a:lnTo>
                      <a:pt x="2035094" y="3323363"/>
                    </a:lnTo>
                    <a:lnTo>
                      <a:pt x="2020791" y="3339427"/>
                    </a:lnTo>
                    <a:lnTo>
                      <a:pt x="2018475" y="3360359"/>
                    </a:lnTo>
                    <a:lnTo>
                      <a:pt x="2076642" y="3364996"/>
                    </a:lnTo>
                    <a:lnTo>
                      <a:pt x="2137956" y="3370517"/>
                    </a:lnTo>
                    <a:lnTo>
                      <a:pt x="2189857" y="3372613"/>
                    </a:lnTo>
                    <a:lnTo>
                      <a:pt x="2212259" y="3410831"/>
                    </a:lnTo>
                    <a:lnTo>
                      <a:pt x="2221142" y="3441979"/>
                    </a:lnTo>
                    <a:lnTo>
                      <a:pt x="2230028" y="3473126"/>
                    </a:lnTo>
                    <a:lnTo>
                      <a:pt x="2237913" y="3505316"/>
                    </a:lnTo>
                    <a:lnTo>
                      <a:pt x="2324519" y="3548078"/>
                    </a:lnTo>
                    <a:lnTo>
                      <a:pt x="2338843" y="3588840"/>
                    </a:lnTo>
                    <a:lnTo>
                      <a:pt x="2332236" y="3754484"/>
                    </a:lnTo>
                    <a:lnTo>
                      <a:pt x="2324519" y="3788831"/>
                    </a:lnTo>
                    <a:lnTo>
                      <a:pt x="2301398" y="3801070"/>
                    </a:lnTo>
                    <a:lnTo>
                      <a:pt x="2278267" y="3813312"/>
                    </a:lnTo>
                    <a:lnTo>
                      <a:pt x="2276909" y="3840522"/>
                    </a:lnTo>
                    <a:lnTo>
                      <a:pt x="2283715" y="3867719"/>
                    </a:lnTo>
                    <a:lnTo>
                      <a:pt x="2280518" y="3906115"/>
                    </a:lnTo>
                    <a:lnTo>
                      <a:pt x="2273303" y="3946305"/>
                    </a:lnTo>
                    <a:lnTo>
                      <a:pt x="2268990" y="3967144"/>
                    </a:lnTo>
                    <a:lnTo>
                      <a:pt x="2263800" y="4000317"/>
                    </a:lnTo>
                    <a:lnTo>
                      <a:pt x="2246443" y="4053644"/>
                    </a:lnTo>
                    <a:lnTo>
                      <a:pt x="2227942" y="4105756"/>
                    </a:lnTo>
                    <a:lnTo>
                      <a:pt x="2209450" y="4157867"/>
                    </a:lnTo>
                    <a:lnTo>
                      <a:pt x="2188809" y="4208004"/>
                    </a:lnTo>
                    <a:lnTo>
                      <a:pt x="2286434" y="4594070"/>
                    </a:lnTo>
                    <a:lnTo>
                      <a:pt x="2392533" y="4970841"/>
                    </a:lnTo>
                    <a:lnTo>
                      <a:pt x="2459199" y="4983767"/>
                    </a:lnTo>
                    <a:lnTo>
                      <a:pt x="2529356" y="4988524"/>
                    </a:lnTo>
                    <a:lnTo>
                      <a:pt x="2595200" y="5002129"/>
                    </a:lnTo>
                    <a:lnTo>
                      <a:pt x="2637455" y="5019300"/>
                    </a:lnTo>
                    <a:lnTo>
                      <a:pt x="2702657" y="5025759"/>
                    </a:lnTo>
                    <a:lnTo>
                      <a:pt x="2753835" y="5022060"/>
                    </a:lnTo>
                    <a:lnTo>
                      <a:pt x="2800592" y="5022528"/>
                    </a:lnTo>
                    <a:lnTo>
                      <a:pt x="2834041" y="5027585"/>
                    </a:lnTo>
                    <a:lnTo>
                      <a:pt x="2862346" y="5116215"/>
                    </a:lnTo>
                    <a:lnTo>
                      <a:pt x="2871322" y="5138149"/>
                    </a:lnTo>
                    <a:lnTo>
                      <a:pt x="2927629" y="5118264"/>
                    </a:lnTo>
                    <a:lnTo>
                      <a:pt x="2963050" y="5100833"/>
                    </a:lnTo>
                    <a:lnTo>
                      <a:pt x="2999178" y="5085098"/>
                    </a:lnTo>
                    <a:lnTo>
                      <a:pt x="3035303" y="5069371"/>
                    </a:lnTo>
                    <a:lnTo>
                      <a:pt x="3071729" y="5055862"/>
                    </a:lnTo>
                    <a:lnTo>
                      <a:pt x="3113435" y="5048377"/>
                    </a:lnTo>
                    <a:lnTo>
                      <a:pt x="3299827" y="5010925"/>
                    </a:lnTo>
                    <a:lnTo>
                      <a:pt x="3324265" y="5008929"/>
                    </a:lnTo>
                    <a:lnTo>
                      <a:pt x="3349625" y="5040933"/>
                    </a:lnTo>
                    <a:lnTo>
                      <a:pt x="3386305" y="5141888"/>
                    </a:lnTo>
                    <a:lnTo>
                      <a:pt x="3399079" y="5183033"/>
                    </a:lnTo>
                    <a:lnTo>
                      <a:pt x="3377930" y="5216277"/>
                    </a:lnTo>
                    <a:lnTo>
                      <a:pt x="3362973" y="5233457"/>
                    </a:lnTo>
                    <a:lnTo>
                      <a:pt x="3348748" y="5251047"/>
                    </a:lnTo>
                    <a:lnTo>
                      <a:pt x="3334522" y="5268634"/>
                    </a:lnTo>
                    <a:lnTo>
                      <a:pt x="3320647" y="5286791"/>
                    </a:lnTo>
                    <a:lnTo>
                      <a:pt x="3302496" y="5300015"/>
                    </a:lnTo>
                    <a:lnTo>
                      <a:pt x="3263212" y="5313031"/>
                    </a:lnTo>
                    <a:lnTo>
                      <a:pt x="3239929" y="5319052"/>
                    </a:lnTo>
                    <a:lnTo>
                      <a:pt x="3216650" y="5325080"/>
                    </a:lnTo>
                    <a:lnTo>
                      <a:pt x="3195765" y="5333002"/>
                    </a:lnTo>
                    <a:lnTo>
                      <a:pt x="3193852" y="5378481"/>
                    </a:lnTo>
                    <a:lnTo>
                      <a:pt x="3182435" y="5417976"/>
                    </a:lnTo>
                    <a:lnTo>
                      <a:pt x="3181440" y="5452356"/>
                    </a:lnTo>
                    <a:lnTo>
                      <a:pt x="3183102" y="5485727"/>
                    </a:lnTo>
                    <a:lnTo>
                      <a:pt x="3198825" y="5511478"/>
                    </a:lnTo>
                    <a:lnTo>
                      <a:pt x="3234491" y="5525802"/>
                    </a:lnTo>
                    <a:lnTo>
                      <a:pt x="3275140" y="5534614"/>
                    </a:lnTo>
                    <a:lnTo>
                      <a:pt x="3303802" y="5539467"/>
                    </a:lnTo>
                    <a:lnTo>
                      <a:pt x="3328343" y="5550291"/>
                    </a:lnTo>
                    <a:lnTo>
                      <a:pt x="3352887" y="5561112"/>
                    </a:lnTo>
                    <a:lnTo>
                      <a:pt x="3373782" y="5577554"/>
                    </a:lnTo>
                    <a:lnTo>
                      <a:pt x="3400431" y="5610138"/>
                    </a:lnTo>
                    <a:lnTo>
                      <a:pt x="3443812" y="5610430"/>
                    </a:lnTo>
                    <a:lnTo>
                      <a:pt x="3466551" y="5595749"/>
                    </a:lnTo>
                    <a:lnTo>
                      <a:pt x="3490209" y="5582928"/>
                    </a:lnTo>
                    <a:lnTo>
                      <a:pt x="3513863" y="5570107"/>
                    </a:lnTo>
                    <a:lnTo>
                      <a:pt x="3537803" y="5559865"/>
                    </a:lnTo>
                    <a:lnTo>
                      <a:pt x="3566378" y="5563890"/>
                    </a:lnTo>
                    <a:lnTo>
                      <a:pt x="3592798" y="5587346"/>
                    </a:lnTo>
                    <a:lnTo>
                      <a:pt x="3587824" y="5618460"/>
                    </a:lnTo>
                    <a:lnTo>
                      <a:pt x="3586804" y="5641417"/>
                    </a:lnTo>
                    <a:lnTo>
                      <a:pt x="3602927" y="5674875"/>
                    </a:lnTo>
                    <a:lnTo>
                      <a:pt x="3627335" y="5695023"/>
                    </a:lnTo>
                    <a:lnTo>
                      <a:pt x="3645440" y="5707683"/>
                    </a:lnTo>
                    <a:lnTo>
                      <a:pt x="3661591" y="5723031"/>
                    </a:lnTo>
                    <a:lnTo>
                      <a:pt x="3677748" y="5738375"/>
                    </a:lnTo>
                    <a:lnTo>
                      <a:pt x="3691390" y="5756433"/>
                    </a:lnTo>
                    <a:lnTo>
                      <a:pt x="3702397" y="5778798"/>
                    </a:lnTo>
                    <a:lnTo>
                      <a:pt x="3709166" y="5812957"/>
                    </a:lnTo>
                    <a:lnTo>
                      <a:pt x="3714673" y="5853457"/>
                    </a:lnTo>
                    <a:lnTo>
                      <a:pt x="3732318" y="5879455"/>
                    </a:lnTo>
                    <a:lnTo>
                      <a:pt x="3760943" y="5888081"/>
                    </a:lnTo>
                    <a:lnTo>
                      <a:pt x="3788178" y="5882153"/>
                    </a:lnTo>
                    <a:lnTo>
                      <a:pt x="3811206" y="5883529"/>
                    </a:lnTo>
                    <a:lnTo>
                      <a:pt x="3833828" y="5885880"/>
                    </a:lnTo>
                    <a:lnTo>
                      <a:pt x="3851160" y="5900223"/>
                    </a:lnTo>
                    <a:lnTo>
                      <a:pt x="3862899" y="5931139"/>
                    </a:lnTo>
                    <a:lnTo>
                      <a:pt x="3872337" y="5971428"/>
                    </a:lnTo>
                    <a:lnTo>
                      <a:pt x="3858685" y="6002462"/>
                    </a:lnTo>
                    <a:lnTo>
                      <a:pt x="3823640" y="6021847"/>
                    </a:lnTo>
                    <a:lnTo>
                      <a:pt x="3804686" y="6044161"/>
                    </a:lnTo>
                    <a:lnTo>
                      <a:pt x="3811011" y="6071493"/>
                    </a:lnTo>
                    <a:lnTo>
                      <a:pt x="3818520" y="6116442"/>
                    </a:lnTo>
                    <a:lnTo>
                      <a:pt x="3826725" y="6143172"/>
                    </a:lnTo>
                    <a:lnTo>
                      <a:pt x="3826173" y="6166452"/>
                    </a:lnTo>
                    <a:lnTo>
                      <a:pt x="3824061" y="6189244"/>
                    </a:lnTo>
                    <a:lnTo>
                      <a:pt x="3811966" y="6208948"/>
                    </a:lnTo>
                    <a:lnTo>
                      <a:pt x="3786727" y="6224935"/>
                    </a:lnTo>
                    <a:lnTo>
                      <a:pt x="3763606" y="6234460"/>
                    </a:lnTo>
                    <a:lnTo>
                      <a:pt x="3741837" y="6246698"/>
                    </a:lnTo>
                    <a:lnTo>
                      <a:pt x="3739930" y="6279198"/>
                    </a:lnTo>
                    <a:lnTo>
                      <a:pt x="3736494" y="6317673"/>
                    </a:lnTo>
                    <a:lnTo>
                      <a:pt x="3728238" y="6354155"/>
                    </a:lnTo>
                    <a:lnTo>
                      <a:pt x="3719987" y="6390646"/>
                    </a:lnTo>
                    <a:lnTo>
                      <a:pt x="3706251" y="6424761"/>
                    </a:lnTo>
                    <a:lnTo>
                      <a:pt x="3684712" y="6450732"/>
                    </a:lnTo>
                    <a:lnTo>
                      <a:pt x="3598615" y="6484736"/>
                    </a:lnTo>
                    <a:lnTo>
                      <a:pt x="3577655" y="6519509"/>
                    </a:lnTo>
                    <a:lnTo>
                      <a:pt x="3582780" y="6545691"/>
                    </a:lnTo>
                    <a:lnTo>
                      <a:pt x="3570455" y="6570430"/>
                    </a:lnTo>
                    <a:lnTo>
                      <a:pt x="3434032" y="6582293"/>
                    </a:lnTo>
                    <a:lnTo>
                      <a:pt x="3401644" y="6579859"/>
                    </a:lnTo>
                    <a:lnTo>
                      <a:pt x="3376082" y="6580216"/>
                    </a:lnTo>
                    <a:lnTo>
                      <a:pt x="3353470" y="6580414"/>
                    </a:lnTo>
                    <a:lnTo>
                      <a:pt x="3331059" y="6584029"/>
                    </a:lnTo>
                    <a:lnTo>
                      <a:pt x="3308651" y="6587641"/>
                    </a:lnTo>
                    <a:lnTo>
                      <a:pt x="3286082" y="6594295"/>
                    </a:lnTo>
                    <a:lnTo>
                      <a:pt x="3268492" y="6605792"/>
                    </a:lnTo>
                    <a:lnTo>
                      <a:pt x="3234485" y="6574517"/>
                    </a:lnTo>
                    <a:lnTo>
                      <a:pt x="3173258" y="6562105"/>
                    </a:lnTo>
                    <a:lnTo>
                      <a:pt x="3137731" y="6637936"/>
                    </a:lnTo>
                    <a:lnTo>
                      <a:pt x="3128299" y="6660074"/>
                    </a:lnTo>
                    <a:lnTo>
                      <a:pt x="3090404" y="6676672"/>
                    </a:lnTo>
                    <a:lnTo>
                      <a:pt x="3063069" y="6670244"/>
                    </a:lnTo>
                    <a:lnTo>
                      <a:pt x="3007336" y="6677893"/>
                    </a:lnTo>
                    <a:lnTo>
                      <a:pt x="2896198" y="6693920"/>
                    </a:lnTo>
                    <a:lnTo>
                      <a:pt x="2875397" y="6705098"/>
                    </a:lnTo>
                    <a:lnTo>
                      <a:pt x="2881260" y="6737570"/>
                    </a:lnTo>
                    <a:lnTo>
                      <a:pt x="2892499" y="6788218"/>
                    </a:lnTo>
                    <a:lnTo>
                      <a:pt x="2899938" y="6830427"/>
                    </a:lnTo>
                    <a:lnTo>
                      <a:pt x="2912117" y="6871038"/>
                    </a:lnTo>
                    <a:lnTo>
                      <a:pt x="2924299" y="6911656"/>
                    </a:lnTo>
                    <a:lnTo>
                      <a:pt x="2941135" y="6950624"/>
                    </a:lnTo>
                    <a:lnTo>
                      <a:pt x="2967890" y="6974415"/>
                    </a:lnTo>
                    <a:lnTo>
                      <a:pt x="2986996" y="6991409"/>
                    </a:lnTo>
                    <a:lnTo>
                      <a:pt x="3018045" y="7006590"/>
                    </a:lnTo>
                    <a:lnTo>
                      <a:pt x="3039979" y="7020663"/>
                    </a:lnTo>
                    <a:lnTo>
                      <a:pt x="3071391" y="7040476"/>
                    </a:lnTo>
                    <a:lnTo>
                      <a:pt x="3091263" y="7058103"/>
                    </a:lnTo>
                    <a:lnTo>
                      <a:pt x="3143387" y="7094026"/>
                    </a:lnTo>
                    <a:lnTo>
                      <a:pt x="3161537" y="7122344"/>
                    </a:lnTo>
                    <a:lnTo>
                      <a:pt x="3174640" y="7152602"/>
                    </a:lnTo>
                    <a:lnTo>
                      <a:pt x="3187737" y="7182852"/>
                    </a:lnTo>
                    <a:lnTo>
                      <a:pt x="3196478" y="7215891"/>
                    </a:lnTo>
                    <a:lnTo>
                      <a:pt x="3214080" y="7250534"/>
                    </a:lnTo>
                    <a:lnTo>
                      <a:pt x="3225654" y="7273302"/>
                    </a:lnTo>
                    <a:lnTo>
                      <a:pt x="3257876" y="7289524"/>
                    </a:lnTo>
                    <a:lnTo>
                      <a:pt x="3290255" y="7309027"/>
                    </a:lnTo>
                    <a:lnTo>
                      <a:pt x="3322703" y="7329206"/>
                    </a:lnTo>
                    <a:lnTo>
                      <a:pt x="3350298" y="7354128"/>
                    </a:lnTo>
                    <a:lnTo>
                      <a:pt x="3367785" y="7385196"/>
                    </a:lnTo>
                    <a:lnTo>
                      <a:pt x="3378324" y="7424899"/>
                    </a:lnTo>
                    <a:lnTo>
                      <a:pt x="3375952" y="7455843"/>
                    </a:lnTo>
                    <a:lnTo>
                      <a:pt x="3375952" y="7509359"/>
                    </a:lnTo>
                    <a:lnTo>
                      <a:pt x="3386686" y="7564230"/>
                    </a:lnTo>
                    <a:lnTo>
                      <a:pt x="3394996" y="7610987"/>
                    </a:lnTo>
                    <a:lnTo>
                      <a:pt x="3394996" y="7638191"/>
                    </a:lnTo>
                    <a:lnTo>
                      <a:pt x="3387347" y="7675479"/>
                    </a:lnTo>
                    <a:lnTo>
                      <a:pt x="3378160" y="7712441"/>
                    </a:lnTo>
                    <a:lnTo>
                      <a:pt x="3371869" y="7751090"/>
                    </a:lnTo>
                    <a:lnTo>
                      <a:pt x="3369230" y="7788111"/>
                    </a:lnTo>
                    <a:lnTo>
                      <a:pt x="3379276" y="7817545"/>
                    </a:lnTo>
                    <a:lnTo>
                      <a:pt x="3389548" y="7844941"/>
                    </a:lnTo>
                    <a:lnTo>
                      <a:pt x="3399830" y="7872335"/>
                    </a:lnTo>
                    <a:lnTo>
                      <a:pt x="3411259" y="7897865"/>
                    </a:lnTo>
                    <a:lnTo>
                      <a:pt x="3412679" y="7927910"/>
                    </a:lnTo>
                    <a:lnTo>
                      <a:pt x="3400788" y="7969585"/>
                    </a:lnTo>
                    <a:lnTo>
                      <a:pt x="3389548" y="7990483"/>
                    </a:lnTo>
                    <a:lnTo>
                      <a:pt x="3378324" y="8011384"/>
                    </a:lnTo>
                    <a:lnTo>
                      <a:pt x="3368774" y="8031522"/>
                    </a:lnTo>
                    <a:lnTo>
                      <a:pt x="3397715" y="8171390"/>
                    </a:lnTo>
                    <a:lnTo>
                      <a:pt x="3402515" y="8194424"/>
                    </a:lnTo>
                    <a:lnTo>
                      <a:pt x="3404264" y="8222611"/>
                    </a:lnTo>
                    <a:lnTo>
                      <a:pt x="3409953" y="8244843"/>
                    </a:lnTo>
                    <a:lnTo>
                      <a:pt x="3415447" y="8266302"/>
                    </a:lnTo>
                    <a:lnTo>
                      <a:pt x="3424938" y="8294461"/>
                    </a:lnTo>
                    <a:lnTo>
                      <a:pt x="3431722" y="8323731"/>
                    </a:lnTo>
                    <a:lnTo>
                      <a:pt x="3438773" y="8378943"/>
                    </a:lnTo>
                    <a:lnTo>
                      <a:pt x="3441241" y="8409425"/>
                    </a:lnTo>
                    <a:lnTo>
                      <a:pt x="3494968" y="8408612"/>
                    </a:lnTo>
                    <a:lnTo>
                      <a:pt x="3581047" y="8464175"/>
                    </a:lnTo>
                    <a:lnTo>
                      <a:pt x="3633028" y="8480155"/>
                    </a:lnTo>
                    <a:lnTo>
                      <a:pt x="3691325" y="8498092"/>
                    </a:lnTo>
                    <a:lnTo>
                      <a:pt x="3745713" y="8494861"/>
                    </a:lnTo>
                    <a:lnTo>
                      <a:pt x="3804416" y="8503276"/>
                    </a:lnTo>
                    <a:lnTo>
                      <a:pt x="3848450" y="8509521"/>
                    </a:lnTo>
                    <a:lnTo>
                      <a:pt x="3890082" y="8528357"/>
                    </a:lnTo>
                    <a:lnTo>
                      <a:pt x="3933630" y="8534564"/>
                    </a:lnTo>
                    <a:lnTo>
                      <a:pt x="3960152" y="8536772"/>
                    </a:lnTo>
                    <a:lnTo>
                      <a:pt x="3985530" y="8532441"/>
                    </a:lnTo>
                    <a:lnTo>
                      <a:pt x="4007083" y="8522323"/>
                    </a:lnTo>
                    <a:lnTo>
                      <a:pt x="4048717" y="8504173"/>
                    </a:lnTo>
                    <a:lnTo>
                      <a:pt x="4089527" y="8467617"/>
                    </a:lnTo>
                    <a:lnTo>
                      <a:pt x="4121339" y="8455667"/>
                    </a:lnTo>
                    <a:lnTo>
                      <a:pt x="4160679" y="8440921"/>
                    </a:lnTo>
                    <a:lnTo>
                      <a:pt x="4200293" y="8437947"/>
                    </a:lnTo>
                    <a:lnTo>
                      <a:pt x="4238312" y="8417589"/>
                    </a:lnTo>
                    <a:lnTo>
                      <a:pt x="4303418" y="8382688"/>
                    </a:lnTo>
                    <a:lnTo>
                      <a:pt x="4265516" y="8342393"/>
                    </a:lnTo>
                    <a:lnTo>
                      <a:pt x="4295446" y="8295168"/>
                    </a:lnTo>
                    <a:lnTo>
                      <a:pt x="4317802" y="8259846"/>
                    </a:lnTo>
                    <a:lnTo>
                      <a:pt x="4387766" y="8234725"/>
                    </a:lnTo>
                    <a:lnTo>
                      <a:pt x="4423299" y="8189075"/>
                    </a:lnTo>
                    <a:lnTo>
                      <a:pt x="4449211" y="8155791"/>
                    </a:lnTo>
                    <a:lnTo>
                      <a:pt x="4460686" y="8100151"/>
                    </a:lnTo>
                    <a:lnTo>
                      <a:pt x="4479072" y="8061214"/>
                    </a:lnTo>
                    <a:lnTo>
                      <a:pt x="4494929" y="8027631"/>
                    </a:lnTo>
                    <a:lnTo>
                      <a:pt x="4518729" y="8001155"/>
                    </a:lnTo>
                    <a:lnTo>
                      <a:pt x="4536198" y="7968720"/>
                    </a:lnTo>
                    <a:lnTo>
                      <a:pt x="4554646" y="7919793"/>
                    </a:lnTo>
                    <a:lnTo>
                      <a:pt x="4556069" y="7893267"/>
                    </a:lnTo>
                    <a:lnTo>
                      <a:pt x="4546191" y="7871551"/>
                    </a:lnTo>
                    <a:lnTo>
                      <a:pt x="4491611" y="7854082"/>
                    </a:lnTo>
                    <a:lnTo>
                      <a:pt x="4464407" y="7837547"/>
                    </a:lnTo>
                    <a:lnTo>
                      <a:pt x="4430108" y="7813660"/>
                    </a:lnTo>
                    <a:lnTo>
                      <a:pt x="4327919" y="7742501"/>
                    </a:lnTo>
                    <a:lnTo>
                      <a:pt x="4376121" y="7679851"/>
                    </a:lnTo>
                    <a:lnTo>
                      <a:pt x="4352572" y="7578341"/>
                    </a:lnTo>
                    <a:lnTo>
                      <a:pt x="4347341" y="7555728"/>
                    </a:lnTo>
                    <a:lnTo>
                      <a:pt x="4330805" y="7538303"/>
                    </a:lnTo>
                    <a:lnTo>
                      <a:pt x="4326731" y="7515777"/>
                    </a:lnTo>
                    <a:lnTo>
                      <a:pt x="4356652" y="7504888"/>
                    </a:lnTo>
                    <a:lnTo>
                      <a:pt x="4439859" y="7553260"/>
                    </a:lnTo>
                    <a:lnTo>
                      <a:pt x="4394736" y="7667517"/>
                    </a:lnTo>
                    <a:lnTo>
                      <a:pt x="4442346" y="7713002"/>
                    </a:lnTo>
                    <a:lnTo>
                      <a:pt x="4487335" y="7728638"/>
                    </a:lnTo>
                    <a:lnTo>
                      <a:pt x="4507635" y="7745642"/>
                    </a:lnTo>
                    <a:lnTo>
                      <a:pt x="4565334" y="7802132"/>
                    </a:lnTo>
                    <a:lnTo>
                      <a:pt x="4646017" y="7847534"/>
                    </a:lnTo>
                    <a:lnTo>
                      <a:pt x="4644678" y="7703012"/>
                    </a:lnTo>
                    <a:lnTo>
                      <a:pt x="4632775" y="7662670"/>
                    </a:lnTo>
                    <a:lnTo>
                      <a:pt x="4638216" y="7642272"/>
                    </a:lnTo>
                    <a:lnTo>
                      <a:pt x="4663889" y="7628114"/>
                    </a:lnTo>
                    <a:lnTo>
                      <a:pt x="4696045" y="7626372"/>
                    </a:lnTo>
                    <a:lnTo>
                      <a:pt x="4719827" y="7612345"/>
                    </a:lnTo>
                    <a:lnTo>
                      <a:pt x="4780545" y="7576555"/>
                    </a:lnTo>
                    <a:lnTo>
                      <a:pt x="4836189" y="7533581"/>
                    </a:lnTo>
                    <a:lnTo>
                      <a:pt x="4861288" y="7464084"/>
                    </a:lnTo>
                    <a:lnTo>
                      <a:pt x="4873020" y="7431565"/>
                    </a:lnTo>
                    <a:lnTo>
                      <a:pt x="4871405" y="7387273"/>
                    </a:lnTo>
                    <a:lnTo>
                      <a:pt x="4888492" y="7357985"/>
                    </a:lnTo>
                    <a:lnTo>
                      <a:pt x="4926471" y="7367212"/>
                    </a:lnTo>
                    <a:lnTo>
                      <a:pt x="4938989" y="7408701"/>
                    </a:lnTo>
                    <a:lnTo>
                      <a:pt x="4933376" y="7442321"/>
                    </a:lnTo>
                    <a:lnTo>
                      <a:pt x="4920028" y="7522319"/>
                    </a:lnTo>
                    <a:lnTo>
                      <a:pt x="4821526" y="7603204"/>
                    </a:lnTo>
                    <a:lnTo>
                      <a:pt x="4774236" y="7664035"/>
                    </a:lnTo>
                    <a:lnTo>
                      <a:pt x="4700253" y="7759207"/>
                    </a:lnTo>
                    <a:lnTo>
                      <a:pt x="4748138" y="7812423"/>
                    </a:lnTo>
                    <a:lnTo>
                      <a:pt x="4718469" y="7897983"/>
                    </a:lnTo>
                    <a:lnTo>
                      <a:pt x="4692365" y="7973265"/>
                    </a:lnTo>
                    <a:lnTo>
                      <a:pt x="4615430" y="8006253"/>
                    </a:lnTo>
                    <a:lnTo>
                      <a:pt x="4600129" y="8050334"/>
                    </a:lnTo>
                    <a:lnTo>
                      <a:pt x="4588501" y="8083907"/>
                    </a:lnTo>
                    <a:lnTo>
                      <a:pt x="4601192" y="8128540"/>
                    </a:lnTo>
                    <a:lnTo>
                      <a:pt x="4587884" y="8160507"/>
                    </a:lnTo>
                    <a:lnTo>
                      <a:pt x="4578663" y="8182651"/>
                    </a:lnTo>
                    <a:lnTo>
                      <a:pt x="4555198" y="8197782"/>
                    </a:lnTo>
                    <a:lnTo>
                      <a:pt x="4545723" y="8218996"/>
                    </a:lnTo>
                    <a:lnTo>
                      <a:pt x="4478347" y="8247646"/>
                    </a:lnTo>
                    <a:lnTo>
                      <a:pt x="4444219" y="8284881"/>
                    </a:lnTo>
                    <a:lnTo>
                      <a:pt x="4419054" y="8370699"/>
                    </a:lnTo>
                    <a:lnTo>
                      <a:pt x="4466834" y="8391742"/>
                    </a:lnTo>
                    <a:lnTo>
                      <a:pt x="4523219" y="8416646"/>
                    </a:lnTo>
                    <a:lnTo>
                      <a:pt x="4588318" y="8388465"/>
                    </a:lnTo>
                    <a:lnTo>
                      <a:pt x="4670865" y="8437987"/>
                    </a:lnTo>
                    <a:lnTo>
                      <a:pt x="4695500" y="8450266"/>
                    </a:lnTo>
                    <a:lnTo>
                      <a:pt x="4712224" y="8485761"/>
                    </a:lnTo>
                    <a:lnTo>
                      <a:pt x="4798002" y="8526484"/>
                    </a:lnTo>
                    <a:lnTo>
                      <a:pt x="4823210" y="8495113"/>
                    </a:lnTo>
                    <a:lnTo>
                      <a:pt x="4840145" y="8448229"/>
                    </a:lnTo>
                    <a:lnTo>
                      <a:pt x="4850051" y="8366959"/>
                    </a:lnTo>
                    <a:lnTo>
                      <a:pt x="4876257" y="8333253"/>
                    </a:lnTo>
                    <a:lnTo>
                      <a:pt x="4905710" y="8295419"/>
                    </a:lnTo>
                    <a:lnTo>
                      <a:pt x="4980881" y="8263669"/>
                    </a:lnTo>
                    <a:lnTo>
                      <a:pt x="5028602" y="8259800"/>
                    </a:lnTo>
                    <a:lnTo>
                      <a:pt x="5074797" y="8256061"/>
                    </a:lnTo>
                    <a:lnTo>
                      <a:pt x="5233076" y="8316376"/>
                    </a:lnTo>
                    <a:lnTo>
                      <a:pt x="5276152" y="8341410"/>
                    </a:lnTo>
                    <a:lnTo>
                      <a:pt x="5306885" y="8359264"/>
                    </a:lnTo>
                    <a:lnTo>
                      <a:pt x="5337169" y="8384853"/>
                    </a:lnTo>
                    <a:lnTo>
                      <a:pt x="5370004" y="8398542"/>
                    </a:lnTo>
                    <a:lnTo>
                      <a:pt x="5421161" y="8419837"/>
                    </a:lnTo>
                    <a:lnTo>
                      <a:pt x="5448796" y="8397884"/>
                    </a:lnTo>
                    <a:lnTo>
                      <a:pt x="5491070" y="8406703"/>
                    </a:lnTo>
                    <a:lnTo>
                      <a:pt x="5534490" y="8415756"/>
                    </a:lnTo>
                    <a:lnTo>
                      <a:pt x="5570426" y="8455543"/>
                    </a:lnTo>
                    <a:lnTo>
                      <a:pt x="5617564" y="8461109"/>
                    </a:lnTo>
                    <a:lnTo>
                      <a:pt x="5772032" y="8405084"/>
                    </a:lnTo>
                    <a:lnTo>
                      <a:pt x="5794387" y="8393103"/>
                    </a:lnTo>
                    <a:lnTo>
                      <a:pt x="5813605" y="8382853"/>
                    </a:lnTo>
                    <a:lnTo>
                      <a:pt x="5831709" y="8367086"/>
                    </a:lnTo>
                    <a:lnTo>
                      <a:pt x="5851513" y="8359093"/>
                    </a:lnTo>
                    <a:lnTo>
                      <a:pt x="5909627" y="8335885"/>
                    </a:lnTo>
                    <a:lnTo>
                      <a:pt x="5976228" y="8296650"/>
                    </a:lnTo>
                    <a:lnTo>
                      <a:pt x="5980739" y="8225796"/>
                    </a:lnTo>
                    <a:lnTo>
                      <a:pt x="5859168" y="7993286"/>
                    </a:lnTo>
                    <a:lnTo>
                      <a:pt x="5983793" y="7949930"/>
                    </a:lnTo>
                    <a:lnTo>
                      <a:pt x="5963053" y="7847664"/>
                    </a:lnTo>
                    <a:lnTo>
                      <a:pt x="5952083" y="7793593"/>
                    </a:lnTo>
                    <a:lnTo>
                      <a:pt x="5924203" y="7735361"/>
                    </a:lnTo>
                    <a:lnTo>
                      <a:pt x="5881440" y="7699397"/>
                    </a:lnTo>
                    <a:lnTo>
                      <a:pt x="5862526" y="7687243"/>
                    </a:lnTo>
                    <a:lnTo>
                      <a:pt x="5786143" y="7598699"/>
                    </a:lnTo>
                    <a:lnTo>
                      <a:pt x="5796090" y="7469228"/>
                    </a:lnTo>
                    <a:lnTo>
                      <a:pt x="5843355" y="7382474"/>
                    </a:lnTo>
                    <a:lnTo>
                      <a:pt x="5905419" y="7268769"/>
                    </a:lnTo>
                    <a:lnTo>
                      <a:pt x="6024687" y="7274586"/>
                    </a:lnTo>
                    <a:lnTo>
                      <a:pt x="6074591" y="7219249"/>
                    </a:lnTo>
                    <a:lnTo>
                      <a:pt x="6110086" y="7179884"/>
                    </a:lnTo>
                    <a:lnTo>
                      <a:pt x="6204998" y="6893607"/>
                    </a:lnTo>
                    <a:lnTo>
                      <a:pt x="6198366" y="6843834"/>
                    </a:lnTo>
                    <a:lnTo>
                      <a:pt x="6176897" y="6811870"/>
                    </a:lnTo>
                    <a:lnTo>
                      <a:pt x="6114715" y="6814803"/>
                    </a:lnTo>
                    <a:lnTo>
                      <a:pt x="6083685" y="6852506"/>
                    </a:lnTo>
                    <a:lnTo>
                      <a:pt x="6039222" y="6864239"/>
                    </a:lnTo>
                    <a:lnTo>
                      <a:pt x="6012489" y="6871336"/>
                    </a:lnTo>
                    <a:lnTo>
                      <a:pt x="5973893" y="6858713"/>
                    </a:lnTo>
                    <a:lnTo>
                      <a:pt x="5954896" y="6839753"/>
                    </a:lnTo>
                    <a:lnTo>
                      <a:pt x="5865205" y="6749976"/>
                    </a:lnTo>
                    <a:lnTo>
                      <a:pt x="6001051" y="6593300"/>
                    </a:lnTo>
                    <a:lnTo>
                      <a:pt x="6056905" y="6521463"/>
                    </a:lnTo>
                    <a:lnTo>
                      <a:pt x="6071447" y="6502766"/>
                    </a:lnTo>
                    <a:lnTo>
                      <a:pt x="6096989" y="6457404"/>
                    </a:lnTo>
                    <a:lnTo>
                      <a:pt x="6085474" y="6434417"/>
                    </a:lnTo>
                    <a:lnTo>
                      <a:pt x="6049215" y="6361897"/>
                    </a:lnTo>
                    <a:lnTo>
                      <a:pt x="5937973" y="6498425"/>
                    </a:lnTo>
                    <a:lnTo>
                      <a:pt x="5895045" y="6503789"/>
                    </a:lnTo>
                    <a:lnTo>
                      <a:pt x="5848756" y="6500127"/>
                    </a:lnTo>
                    <a:lnTo>
                      <a:pt x="5795284" y="6491244"/>
                    </a:lnTo>
                    <a:lnTo>
                      <a:pt x="5772671" y="6478919"/>
                    </a:lnTo>
                    <a:lnTo>
                      <a:pt x="5749503" y="6452096"/>
                    </a:lnTo>
                    <a:lnTo>
                      <a:pt x="5734072" y="6434200"/>
                    </a:lnTo>
                    <a:lnTo>
                      <a:pt x="5730714" y="6408142"/>
                    </a:lnTo>
                    <a:lnTo>
                      <a:pt x="5723657" y="6386807"/>
                    </a:lnTo>
                    <a:lnTo>
                      <a:pt x="5659648" y="6194803"/>
                    </a:lnTo>
                    <a:lnTo>
                      <a:pt x="5874891" y="6102654"/>
                    </a:lnTo>
                    <a:lnTo>
                      <a:pt x="5831114" y="5977384"/>
                    </a:lnTo>
                    <a:lnTo>
                      <a:pt x="5772842" y="5810504"/>
                    </a:lnTo>
                    <a:lnTo>
                      <a:pt x="5666743" y="5890844"/>
                    </a:lnTo>
                    <a:lnTo>
                      <a:pt x="5631163" y="5808725"/>
                    </a:lnTo>
                    <a:lnTo>
                      <a:pt x="5597035" y="5729954"/>
                    </a:lnTo>
                    <a:lnTo>
                      <a:pt x="5715797" y="5625012"/>
                    </a:lnTo>
                    <a:lnTo>
                      <a:pt x="5631163" y="5482276"/>
                    </a:lnTo>
                    <a:lnTo>
                      <a:pt x="5588918" y="5410994"/>
                    </a:lnTo>
                    <a:lnTo>
                      <a:pt x="5526872" y="5417111"/>
                    </a:lnTo>
                    <a:lnTo>
                      <a:pt x="5458423" y="5396582"/>
                    </a:lnTo>
                    <a:lnTo>
                      <a:pt x="5426373" y="5386933"/>
                    </a:lnTo>
                    <a:lnTo>
                      <a:pt x="5352259" y="5331247"/>
                    </a:lnTo>
                    <a:lnTo>
                      <a:pt x="5333284" y="5302731"/>
                    </a:lnTo>
                    <a:lnTo>
                      <a:pt x="5292074" y="5240924"/>
                    </a:lnTo>
                    <a:lnTo>
                      <a:pt x="5322081" y="5110984"/>
                    </a:lnTo>
                    <a:lnTo>
                      <a:pt x="5408092" y="5108222"/>
                    </a:lnTo>
                    <a:lnTo>
                      <a:pt x="5423331" y="5161223"/>
                    </a:lnTo>
                    <a:lnTo>
                      <a:pt x="5392855" y="5227833"/>
                    </a:lnTo>
                    <a:lnTo>
                      <a:pt x="5404014" y="5268720"/>
                    </a:lnTo>
                    <a:lnTo>
                      <a:pt x="5432856" y="5374475"/>
                    </a:lnTo>
                    <a:lnTo>
                      <a:pt x="5641070" y="5361682"/>
                    </a:lnTo>
                    <a:lnTo>
                      <a:pt x="5697810" y="5430587"/>
                    </a:lnTo>
                    <a:lnTo>
                      <a:pt x="5761788" y="5508287"/>
                    </a:lnTo>
                    <a:lnTo>
                      <a:pt x="5692760" y="5623356"/>
                    </a:lnTo>
                    <a:lnTo>
                      <a:pt x="5710058" y="5712148"/>
                    </a:lnTo>
                    <a:lnTo>
                      <a:pt x="5730801" y="5818842"/>
                    </a:lnTo>
                    <a:lnTo>
                      <a:pt x="5837110" y="5785898"/>
                    </a:lnTo>
                    <a:lnTo>
                      <a:pt x="5880081" y="5848167"/>
                    </a:lnTo>
                    <a:lnTo>
                      <a:pt x="5902266" y="5862281"/>
                    </a:lnTo>
                    <a:lnTo>
                      <a:pt x="5909925" y="5899643"/>
                    </a:lnTo>
                    <a:lnTo>
                      <a:pt x="5915450" y="5924339"/>
                    </a:lnTo>
                    <a:lnTo>
                      <a:pt x="5942865" y="6047736"/>
                    </a:lnTo>
                    <a:lnTo>
                      <a:pt x="5906005" y="6140996"/>
                    </a:lnTo>
                    <a:lnTo>
                      <a:pt x="5850161" y="6249423"/>
                    </a:lnTo>
                    <a:lnTo>
                      <a:pt x="5836602" y="6275735"/>
                    </a:lnTo>
                    <a:lnTo>
                      <a:pt x="5825204" y="6296648"/>
                    </a:lnTo>
                    <a:lnTo>
                      <a:pt x="5821592" y="6326960"/>
                    </a:lnTo>
                    <a:lnTo>
                      <a:pt x="5831709" y="6375115"/>
                    </a:lnTo>
                    <a:lnTo>
                      <a:pt x="5885607" y="6386807"/>
                    </a:lnTo>
                    <a:lnTo>
                      <a:pt x="5927691" y="6388165"/>
                    </a:lnTo>
                    <a:lnTo>
                      <a:pt x="5956424" y="6370656"/>
                    </a:lnTo>
                    <a:lnTo>
                      <a:pt x="6000967" y="6353141"/>
                    </a:lnTo>
                    <a:lnTo>
                      <a:pt x="6033784" y="6347365"/>
                    </a:lnTo>
                    <a:lnTo>
                      <a:pt x="6076380" y="6339877"/>
                    </a:lnTo>
                    <a:lnTo>
                      <a:pt x="6152294" y="6342726"/>
                    </a:lnTo>
                    <a:lnTo>
                      <a:pt x="6187489" y="6369128"/>
                    </a:lnTo>
                    <a:lnTo>
                      <a:pt x="6339957" y="6483421"/>
                    </a:lnTo>
                    <a:lnTo>
                      <a:pt x="5952514" y="6585440"/>
                    </a:lnTo>
                    <a:lnTo>
                      <a:pt x="6067791" y="6755423"/>
                    </a:lnTo>
                    <a:lnTo>
                      <a:pt x="6147274" y="6797288"/>
                    </a:lnTo>
                    <a:lnTo>
                      <a:pt x="6261407" y="6696081"/>
                    </a:lnTo>
                    <a:lnTo>
                      <a:pt x="6315345" y="6792144"/>
                    </a:lnTo>
                    <a:lnTo>
                      <a:pt x="6327586" y="6835459"/>
                    </a:lnTo>
                    <a:lnTo>
                      <a:pt x="6327586" y="6900661"/>
                    </a:lnTo>
                    <a:lnTo>
                      <a:pt x="6234327" y="7238123"/>
                    </a:lnTo>
                    <a:lnTo>
                      <a:pt x="6202446" y="7279097"/>
                    </a:lnTo>
                    <a:lnTo>
                      <a:pt x="6147188" y="7350165"/>
                    </a:lnTo>
                    <a:lnTo>
                      <a:pt x="6085644" y="7359898"/>
                    </a:lnTo>
                    <a:lnTo>
                      <a:pt x="6062346" y="7461362"/>
                    </a:lnTo>
                    <a:lnTo>
                      <a:pt x="6054570" y="7495152"/>
                    </a:lnTo>
                    <a:lnTo>
                      <a:pt x="6053463" y="7633305"/>
                    </a:lnTo>
                    <a:lnTo>
                      <a:pt x="6058275" y="7669470"/>
                    </a:lnTo>
                    <a:lnTo>
                      <a:pt x="6109109" y="7810336"/>
                    </a:lnTo>
                    <a:lnTo>
                      <a:pt x="6125301" y="7834638"/>
                    </a:lnTo>
                    <a:lnTo>
                      <a:pt x="6147749" y="7855704"/>
                    </a:lnTo>
                    <a:lnTo>
                      <a:pt x="6163010" y="7876226"/>
                    </a:lnTo>
                    <a:lnTo>
                      <a:pt x="6196862" y="7877467"/>
                    </a:lnTo>
                    <a:lnTo>
                      <a:pt x="6237901" y="7884623"/>
                    </a:lnTo>
                    <a:lnTo>
                      <a:pt x="6269103" y="7889826"/>
                    </a:lnTo>
                    <a:lnTo>
                      <a:pt x="6303891" y="7895630"/>
                    </a:lnTo>
                    <a:lnTo>
                      <a:pt x="6338460" y="7898743"/>
                    </a:lnTo>
                    <a:lnTo>
                      <a:pt x="6373844" y="7885748"/>
                    </a:lnTo>
                    <a:lnTo>
                      <a:pt x="6397631" y="7863223"/>
                    </a:lnTo>
                    <a:lnTo>
                      <a:pt x="6411928" y="7843583"/>
                    </a:lnTo>
                    <a:lnTo>
                      <a:pt x="6426225" y="7823950"/>
                    </a:lnTo>
                    <a:lnTo>
                      <a:pt x="6440674" y="7803031"/>
                    </a:lnTo>
                    <a:lnTo>
                      <a:pt x="6465057" y="7780759"/>
                    </a:lnTo>
                    <a:lnTo>
                      <a:pt x="6489722" y="7772732"/>
                    </a:lnTo>
                    <a:lnTo>
                      <a:pt x="6513937" y="7770134"/>
                    </a:lnTo>
                    <a:lnTo>
                      <a:pt x="6538153" y="7767535"/>
                    </a:lnTo>
                    <a:lnTo>
                      <a:pt x="6563215" y="7770069"/>
                    </a:lnTo>
                    <a:lnTo>
                      <a:pt x="6586798" y="7780192"/>
                    </a:lnTo>
                    <a:lnTo>
                      <a:pt x="6609153" y="7805496"/>
                    </a:lnTo>
                    <a:lnTo>
                      <a:pt x="6632113" y="7832700"/>
                    </a:lnTo>
                    <a:lnTo>
                      <a:pt x="6652214" y="7848271"/>
                    </a:lnTo>
                    <a:lnTo>
                      <a:pt x="6678935" y="7845568"/>
                    </a:lnTo>
                    <a:lnTo>
                      <a:pt x="6705724" y="7839506"/>
                    </a:lnTo>
                    <a:lnTo>
                      <a:pt x="6732519" y="7833438"/>
                    </a:lnTo>
                    <a:lnTo>
                      <a:pt x="6758477" y="7824425"/>
                    </a:lnTo>
                    <a:lnTo>
                      <a:pt x="6807774" y="7810376"/>
                    </a:lnTo>
                    <a:lnTo>
                      <a:pt x="6837589" y="7798585"/>
                    </a:lnTo>
                    <a:lnTo>
                      <a:pt x="6862149" y="7785097"/>
                    </a:lnTo>
                    <a:lnTo>
                      <a:pt x="6886708" y="7771606"/>
                    </a:lnTo>
                    <a:lnTo>
                      <a:pt x="6906512" y="7756172"/>
                    </a:lnTo>
                    <a:lnTo>
                      <a:pt x="6923364" y="7737491"/>
                    </a:lnTo>
                    <a:lnTo>
                      <a:pt x="6957054" y="7700122"/>
                    </a:lnTo>
                    <a:lnTo>
                      <a:pt x="6977987" y="7651294"/>
                    </a:lnTo>
                    <a:lnTo>
                      <a:pt x="6999526" y="7582424"/>
                    </a:lnTo>
                    <a:lnTo>
                      <a:pt x="7010791" y="7542650"/>
                    </a:lnTo>
                    <a:lnTo>
                      <a:pt x="7017215" y="7522574"/>
                    </a:lnTo>
                    <a:lnTo>
                      <a:pt x="7023636" y="7502507"/>
                    </a:lnTo>
                    <a:lnTo>
                      <a:pt x="7031540" y="7481838"/>
                    </a:lnTo>
                    <a:lnTo>
                      <a:pt x="7057892" y="7455334"/>
                    </a:lnTo>
                    <a:lnTo>
                      <a:pt x="7089949" y="7444932"/>
                    </a:lnTo>
                    <a:lnTo>
                      <a:pt x="7121947" y="7438247"/>
                    </a:lnTo>
                    <a:lnTo>
                      <a:pt x="7153948" y="7431553"/>
                    </a:lnTo>
                    <a:lnTo>
                      <a:pt x="7186222" y="7429072"/>
                    </a:lnTo>
                    <a:lnTo>
                      <a:pt x="7239016" y="7452860"/>
                    </a:lnTo>
                    <a:lnTo>
                      <a:pt x="7274970" y="7470040"/>
                    </a:lnTo>
                    <a:lnTo>
                      <a:pt x="7311017" y="7484489"/>
                    </a:lnTo>
                    <a:lnTo>
                      <a:pt x="7335248" y="7494185"/>
                    </a:lnTo>
                    <a:lnTo>
                      <a:pt x="7364747" y="7505027"/>
                    </a:lnTo>
                    <a:lnTo>
                      <a:pt x="7389906" y="7511700"/>
                    </a:lnTo>
                    <a:lnTo>
                      <a:pt x="7410645" y="7517228"/>
                    </a:lnTo>
                    <a:lnTo>
                      <a:pt x="7432839" y="7517827"/>
                    </a:lnTo>
                    <a:lnTo>
                      <a:pt x="7453837" y="7522583"/>
                    </a:lnTo>
                    <a:lnTo>
                      <a:pt x="7489602" y="7530682"/>
                    </a:lnTo>
                    <a:lnTo>
                      <a:pt x="7521842" y="7521222"/>
                    </a:lnTo>
                    <a:lnTo>
                      <a:pt x="7541819" y="7488241"/>
                    </a:lnTo>
                    <a:lnTo>
                      <a:pt x="7553130" y="7450494"/>
                    </a:lnTo>
                    <a:lnTo>
                      <a:pt x="7565830" y="7394659"/>
                    </a:lnTo>
                    <a:lnTo>
                      <a:pt x="7577615" y="7359359"/>
                    </a:lnTo>
                    <a:lnTo>
                      <a:pt x="7590858" y="7323646"/>
                    </a:lnTo>
                    <a:lnTo>
                      <a:pt x="7607902" y="7297127"/>
                    </a:lnTo>
                    <a:lnTo>
                      <a:pt x="7629302" y="7284545"/>
                    </a:lnTo>
                    <a:lnTo>
                      <a:pt x="7700163" y="7264227"/>
                    </a:lnTo>
                    <a:lnTo>
                      <a:pt x="7753080" y="7253260"/>
                    </a:lnTo>
                    <a:lnTo>
                      <a:pt x="7779538" y="7247778"/>
                    </a:lnTo>
                    <a:lnTo>
                      <a:pt x="7806770" y="7243394"/>
                    </a:lnTo>
                    <a:lnTo>
                      <a:pt x="7829252" y="7242377"/>
                    </a:lnTo>
                    <a:lnTo>
                      <a:pt x="7851735" y="7241369"/>
                    </a:lnTo>
                    <a:lnTo>
                      <a:pt x="7879578" y="7251902"/>
                    </a:lnTo>
                    <a:lnTo>
                      <a:pt x="7902513" y="7274744"/>
                    </a:lnTo>
                    <a:lnTo>
                      <a:pt x="7901822" y="7307858"/>
                    </a:lnTo>
                    <a:lnTo>
                      <a:pt x="7914946" y="7330796"/>
                    </a:lnTo>
                    <a:lnTo>
                      <a:pt x="7932421" y="7351787"/>
                    </a:lnTo>
                    <a:lnTo>
                      <a:pt x="7968199" y="7358763"/>
                    </a:lnTo>
                    <a:lnTo>
                      <a:pt x="7993518" y="7355604"/>
                    </a:lnTo>
                    <a:lnTo>
                      <a:pt x="8031919" y="7345753"/>
                    </a:lnTo>
                    <a:lnTo>
                      <a:pt x="8063061" y="7337779"/>
                    </a:lnTo>
                    <a:lnTo>
                      <a:pt x="8087506" y="7330433"/>
                    </a:lnTo>
                    <a:lnTo>
                      <a:pt x="8106733" y="7321271"/>
                    </a:lnTo>
                    <a:lnTo>
                      <a:pt x="8125957" y="7312112"/>
                    </a:lnTo>
                    <a:lnTo>
                      <a:pt x="8150259" y="7288628"/>
                    </a:lnTo>
                    <a:lnTo>
                      <a:pt x="8164246" y="7257402"/>
                    </a:lnTo>
                    <a:lnTo>
                      <a:pt x="8166581" y="7235577"/>
                    </a:lnTo>
                    <a:lnTo>
                      <a:pt x="8168915" y="7213755"/>
                    </a:lnTo>
                    <a:lnTo>
                      <a:pt x="8169238" y="7187270"/>
                    </a:lnTo>
                    <a:lnTo>
                      <a:pt x="8166581" y="7153967"/>
                    </a:lnTo>
                    <a:lnTo>
                      <a:pt x="8157400" y="7114180"/>
                    </a:lnTo>
                    <a:lnTo>
                      <a:pt x="8181631" y="7096076"/>
                    </a:lnTo>
                    <a:lnTo>
                      <a:pt x="8209639" y="7096513"/>
                    </a:lnTo>
                    <a:lnTo>
                      <a:pt x="8233228" y="7139003"/>
                    </a:lnTo>
                    <a:lnTo>
                      <a:pt x="8261245" y="7148314"/>
                    </a:lnTo>
                    <a:lnTo>
                      <a:pt x="8285262" y="7142662"/>
                    </a:lnTo>
                    <a:lnTo>
                      <a:pt x="8307704" y="7149337"/>
                    </a:lnTo>
                    <a:lnTo>
                      <a:pt x="8311570" y="7178619"/>
                    </a:lnTo>
                    <a:lnTo>
                      <a:pt x="8322655" y="7204205"/>
                    </a:lnTo>
                    <a:lnTo>
                      <a:pt x="8358374" y="7202934"/>
                    </a:lnTo>
                    <a:lnTo>
                      <a:pt x="8401081" y="7193000"/>
                    </a:lnTo>
                    <a:lnTo>
                      <a:pt x="8423663" y="7185252"/>
                    </a:lnTo>
                    <a:lnTo>
                      <a:pt x="8446238" y="7177503"/>
                    </a:lnTo>
                    <a:lnTo>
                      <a:pt x="8468370" y="7169491"/>
                    </a:lnTo>
                    <a:lnTo>
                      <a:pt x="8506811" y="7162927"/>
                    </a:lnTo>
                    <a:lnTo>
                      <a:pt x="8532472" y="7175730"/>
                    </a:lnTo>
                    <a:lnTo>
                      <a:pt x="8543804" y="7197731"/>
                    </a:lnTo>
                    <a:lnTo>
                      <a:pt x="8564668" y="7210853"/>
                    </a:lnTo>
                    <a:lnTo>
                      <a:pt x="8590964" y="7219256"/>
                    </a:lnTo>
                    <a:lnTo>
                      <a:pt x="8618739" y="7226102"/>
                    </a:lnTo>
                    <a:lnTo>
                      <a:pt x="8649776" y="7229069"/>
                    </a:lnTo>
                    <a:lnTo>
                      <a:pt x="8667139" y="7245102"/>
                    </a:lnTo>
                    <a:lnTo>
                      <a:pt x="8690744" y="7266890"/>
                    </a:lnTo>
                    <a:lnTo>
                      <a:pt x="8702998" y="7302181"/>
                    </a:lnTo>
                    <a:lnTo>
                      <a:pt x="8720184" y="7329429"/>
                    </a:lnTo>
                    <a:lnTo>
                      <a:pt x="8738261" y="7354478"/>
                    </a:lnTo>
                    <a:lnTo>
                      <a:pt x="8764671" y="7369671"/>
                    </a:lnTo>
                    <a:lnTo>
                      <a:pt x="8803159" y="7370239"/>
                    </a:lnTo>
                    <a:lnTo>
                      <a:pt x="9004455" y="7338948"/>
                    </a:lnTo>
                    <a:lnTo>
                      <a:pt x="9054189" y="7331342"/>
                    </a:lnTo>
                    <a:lnTo>
                      <a:pt x="9106263" y="7354134"/>
                    </a:lnTo>
                    <a:lnTo>
                      <a:pt x="9155441" y="7356633"/>
                    </a:lnTo>
                    <a:lnTo>
                      <a:pt x="9193454" y="7342423"/>
                    </a:lnTo>
                    <a:lnTo>
                      <a:pt x="9212573" y="7325348"/>
                    </a:lnTo>
                    <a:lnTo>
                      <a:pt x="9231685" y="7308273"/>
                    </a:lnTo>
                    <a:lnTo>
                      <a:pt x="9250229" y="7288938"/>
                    </a:lnTo>
                    <a:lnTo>
                      <a:pt x="9293439" y="7267070"/>
                    </a:lnTo>
                    <a:lnTo>
                      <a:pt x="9323009" y="7258602"/>
                    </a:lnTo>
                    <a:lnTo>
                      <a:pt x="9352673" y="7253260"/>
                    </a:lnTo>
                    <a:lnTo>
                      <a:pt x="9382324" y="7247911"/>
                    </a:lnTo>
                    <a:lnTo>
                      <a:pt x="9412464" y="7246380"/>
                    </a:lnTo>
                    <a:lnTo>
                      <a:pt x="9441080" y="7243735"/>
                    </a:lnTo>
                    <a:lnTo>
                      <a:pt x="9469701" y="7241090"/>
                    </a:lnTo>
                    <a:lnTo>
                      <a:pt x="9496627" y="7238138"/>
                    </a:lnTo>
                    <a:lnTo>
                      <a:pt x="9519974" y="7232855"/>
                    </a:lnTo>
                    <a:lnTo>
                      <a:pt x="9543318" y="7227565"/>
                    </a:lnTo>
                    <a:lnTo>
                      <a:pt x="9563271" y="7218921"/>
                    </a:lnTo>
                    <a:lnTo>
                      <a:pt x="9586621" y="7160766"/>
                    </a:lnTo>
                    <a:lnTo>
                      <a:pt x="9563184" y="7143084"/>
                    </a:lnTo>
                    <a:lnTo>
                      <a:pt x="9536296" y="7152602"/>
                    </a:lnTo>
                    <a:lnTo>
                      <a:pt x="9506797" y="7155833"/>
                    </a:lnTo>
                    <a:lnTo>
                      <a:pt x="9487328" y="7144442"/>
                    </a:lnTo>
                    <a:lnTo>
                      <a:pt x="9472755" y="7110692"/>
                    </a:lnTo>
                    <a:lnTo>
                      <a:pt x="9420470" y="7118235"/>
                    </a:lnTo>
                    <a:lnTo>
                      <a:pt x="9337399" y="7139509"/>
                    </a:lnTo>
                    <a:lnTo>
                      <a:pt x="9260173" y="7141719"/>
                    </a:lnTo>
                    <a:lnTo>
                      <a:pt x="9221567" y="7142826"/>
                    </a:lnTo>
                    <a:lnTo>
                      <a:pt x="9184221" y="7139986"/>
                    </a:lnTo>
                    <a:lnTo>
                      <a:pt x="9155441" y="7128120"/>
                    </a:lnTo>
                    <a:lnTo>
                      <a:pt x="9128156" y="7114047"/>
                    </a:lnTo>
                    <a:lnTo>
                      <a:pt x="9109277" y="7093226"/>
                    </a:lnTo>
                    <a:lnTo>
                      <a:pt x="9101032" y="7064189"/>
                    </a:lnTo>
                    <a:lnTo>
                      <a:pt x="9114638" y="7041068"/>
                    </a:lnTo>
                    <a:lnTo>
                      <a:pt x="9132320" y="7022021"/>
                    </a:lnTo>
                    <a:lnTo>
                      <a:pt x="9194099" y="7022061"/>
                    </a:lnTo>
                    <a:lnTo>
                      <a:pt x="9255525" y="7011873"/>
                    </a:lnTo>
                    <a:lnTo>
                      <a:pt x="9315946" y="7000258"/>
                    </a:lnTo>
                    <a:lnTo>
                      <a:pt x="9376370" y="6988646"/>
                    </a:lnTo>
                    <a:lnTo>
                      <a:pt x="9436640" y="6976393"/>
                    </a:lnTo>
                    <a:lnTo>
                      <a:pt x="9498211" y="6971696"/>
                    </a:lnTo>
                    <a:lnTo>
                      <a:pt x="9533400" y="6946153"/>
                    </a:lnTo>
                    <a:lnTo>
                      <a:pt x="9552617" y="6920006"/>
                    </a:lnTo>
                    <a:lnTo>
                      <a:pt x="9571834" y="6893865"/>
                    </a:lnTo>
                    <a:lnTo>
                      <a:pt x="9590382" y="6865770"/>
                    </a:lnTo>
                    <a:lnTo>
                      <a:pt x="9618777" y="6833850"/>
                    </a:lnTo>
                    <a:lnTo>
                      <a:pt x="9645126" y="6822824"/>
                    </a:lnTo>
                    <a:lnTo>
                      <a:pt x="9673673" y="6815271"/>
                    </a:lnTo>
                    <a:lnTo>
                      <a:pt x="9702223" y="6807721"/>
                    </a:lnTo>
                    <a:lnTo>
                      <a:pt x="9732125" y="6803479"/>
                    </a:lnTo>
                    <a:lnTo>
                      <a:pt x="9758009" y="6797591"/>
                    </a:lnTo>
                    <a:lnTo>
                      <a:pt x="9814666" y="6798481"/>
                    </a:lnTo>
                    <a:lnTo>
                      <a:pt x="9835539" y="6794872"/>
                    </a:lnTo>
                    <a:lnTo>
                      <a:pt x="9847390" y="6759433"/>
                    </a:lnTo>
                    <a:lnTo>
                      <a:pt x="9837288" y="6721500"/>
                    </a:lnTo>
                    <a:lnTo>
                      <a:pt x="9809696" y="6698298"/>
                    </a:lnTo>
                    <a:lnTo>
                      <a:pt x="9756815" y="6692816"/>
                    </a:lnTo>
                    <a:lnTo>
                      <a:pt x="9699730" y="6707057"/>
                    </a:lnTo>
                    <a:lnTo>
                      <a:pt x="9649194" y="6698298"/>
                    </a:lnTo>
                    <a:lnTo>
                      <a:pt x="9631046" y="6686631"/>
                    </a:lnTo>
                    <a:lnTo>
                      <a:pt x="9618219" y="6639629"/>
                    </a:lnTo>
                    <a:lnTo>
                      <a:pt x="9612468" y="6592206"/>
                    </a:lnTo>
                    <a:lnTo>
                      <a:pt x="9606716" y="6544776"/>
                    </a:lnTo>
                    <a:lnTo>
                      <a:pt x="9607752" y="6496797"/>
                    </a:lnTo>
                    <a:lnTo>
                      <a:pt x="9621475" y="6471466"/>
                    </a:lnTo>
                    <a:lnTo>
                      <a:pt x="9651910" y="6448022"/>
                    </a:lnTo>
                    <a:lnTo>
                      <a:pt x="9686172" y="6431573"/>
                    </a:lnTo>
                    <a:lnTo>
                      <a:pt x="9731056" y="6457882"/>
                    </a:lnTo>
                    <a:lnTo>
                      <a:pt x="9739604" y="6501197"/>
                    </a:lnTo>
                    <a:lnTo>
                      <a:pt x="9771608" y="6526916"/>
                    </a:lnTo>
                    <a:lnTo>
                      <a:pt x="9803448" y="6552506"/>
                    </a:lnTo>
                    <a:lnTo>
                      <a:pt x="9841278" y="6575627"/>
                    </a:lnTo>
                    <a:lnTo>
                      <a:pt x="9874985" y="6599005"/>
                    </a:lnTo>
                    <a:lnTo>
                      <a:pt x="9877701" y="6556837"/>
                    </a:lnTo>
                    <a:lnTo>
                      <a:pt x="9883505" y="6530423"/>
                    </a:lnTo>
                    <a:lnTo>
                      <a:pt x="9921596" y="6489108"/>
                    </a:lnTo>
                    <a:lnTo>
                      <a:pt x="9955237" y="6448022"/>
                    </a:lnTo>
                    <a:lnTo>
                      <a:pt x="9972055" y="6427478"/>
                    </a:lnTo>
                    <a:lnTo>
                      <a:pt x="9988383" y="6406685"/>
                    </a:lnTo>
                    <a:lnTo>
                      <a:pt x="9998763" y="6388171"/>
                    </a:lnTo>
                    <a:lnTo>
                      <a:pt x="10009144" y="6369667"/>
                    </a:lnTo>
                    <a:lnTo>
                      <a:pt x="10008285" y="6340565"/>
                    </a:lnTo>
                    <a:lnTo>
                      <a:pt x="9999489" y="6318886"/>
                    </a:lnTo>
                    <a:lnTo>
                      <a:pt x="9866226" y="6188395"/>
                    </a:lnTo>
                    <a:lnTo>
                      <a:pt x="9836897" y="6170541"/>
                    </a:lnTo>
                    <a:lnTo>
                      <a:pt x="9814285" y="6156725"/>
                    </a:lnTo>
                    <a:lnTo>
                      <a:pt x="9638140" y="6041616"/>
                    </a:lnTo>
                    <a:lnTo>
                      <a:pt x="9586792" y="6033926"/>
                    </a:lnTo>
                    <a:lnTo>
                      <a:pt x="9554484" y="6056626"/>
                    </a:lnTo>
                    <a:lnTo>
                      <a:pt x="9524048" y="6048127"/>
                    </a:lnTo>
                    <a:lnTo>
                      <a:pt x="9507048" y="6025375"/>
                    </a:lnTo>
                    <a:lnTo>
                      <a:pt x="9505696" y="5994707"/>
                    </a:lnTo>
                    <a:lnTo>
                      <a:pt x="9505011" y="5963791"/>
                    </a:lnTo>
                    <a:lnTo>
                      <a:pt x="9500459" y="5940965"/>
                    </a:lnTo>
                    <a:lnTo>
                      <a:pt x="9489796" y="5921074"/>
                    </a:lnTo>
                    <a:lnTo>
                      <a:pt x="9487328" y="5897141"/>
                    </a:lnTo>
                    <a:lnTo>
                      <a:pt x="9491089" y="5875273"/>
                    </a:lnTo>
                    <a:lnTo>
                      <a:pt x="9510458" y="5846229"/>
                    </a:lnTo>
                    <a:lnTo>
                      <a:pt x="9530854" y="5818253"/>
                    </a:lnTo>
                    <a:lnTo>
                      <a:pt x="9551253" y="5790273"/>
                    </a:lnTo>
                    <a:lnTo>
                      <a:pt x="9573273" y="5763100"/>
                    </a:lnTo>
                    <a:lnTo>
                      <a:pt x="9585263" y="5740716"/>
                    </a:lnTo>
                    <a:lnTo>
                      <a:pt x="9598056" y="5716786"/>
                    </a:lnTo>
                    <a:lnTo>
                      <a:pt x="9604012" y="5689628"/>
                    </a:lnTo>
                    <a:lnTo>
                      <a:pt x="9615184" y="5665905"/>
                    </a:lnTo>
                    <a:lnTo>
                      <a:pt x="9629000" y="5636453"/>
                    </a:lnTo>
                    <a:lnTo>
                      <a:pt x="9644816" y="5607463"/>
                    </a:lnTo>
                    <a:lnTo>
                      <a:pt x="9657352" y="5577495"/>
                    </a:lnTo>
                    <a:lnTo>
                      <a:pt x="9675329" y="5534562"/>
                    </a:lnTo>
                    <a:lnTo>
                      <a:pt x="9678349" y="5477390"/>
                    </a:lnTo>
                    <a:lnTo>
                      <a:pt x="9706319" y="5440115"/>
                    </a:lnTo>
                    <a:lnTo>
                      <a:pt x="9747808" y="5460724"/>
                    </a:lnTo>
                    <a:lnTo>
                      <a:pt x="9754608" y="5493032"/>
                    </a:lnTo>
                    <a:lnTo>
                      <a:pt x="9777050" y="5509481"/>
                    </a:lnTo>
                    <a:lnTo>
                      <a:pt x="9813138" y="5514572"/>
                    </a:lnTo>
                    <a:lnTo>
                      <a:pt x="9839623" y="5517645"/>
                    </a:lnTo>
                    <a:lnTo>
                      <a:pt x="9866108" y="5520711"/>
                    </a:lnTo>
                    <a:lnTo>
                      <a:pt x="9894537" y="5523679"/>
                    </a:lnTo>
                    <a:lnTo>
                      <a:pt x="9922591" y="5513571"/>
                    </a:lnTo>
                    <a:lnTo>
                      <a:pt x="9950118" y="5490515"/>
                    </a:lnTo>
                    <a:lnTo>
                      <a:pt x="10008648" y="5429539"/>
                    </a:lnTo>
                    <a:lnTo>
                      <a:pt x="10031357" y="5375750"/>
                    </a:lnTo>
                    <a:lnTo>
                      <a:pt x="10058611" y="5350346"/>
                    </a:lnTo>
                    <a:lnTo>
                      <a:pt x="10087431" y="5331154"/>
                    </a:lnTo>
                    <a:lnTo>
                      <a:pt x="10127726" y="5342341"/>
                    </a:lnTo>
                    <a:lnTo>
                      <a:pt x="10153123" y="5359400"/>
                    </a:lnTo>
                    <a:lnTo>
                      <a:pt x="10187834" y="5391156"/>
                    </a:lnTo>
                    <a:lnTo>
                      <a:pt x="10209597" y="5393872"/>
                    </a:lnTo>
                    <a:lnTo>
                      <a:pt x="10233561" y="5366767"/>
                    </a:lnTo>
                    <a:lnTo>
                      <a:pt x="10239518" y="5339463"/>
                    </a:lnTo>
                    <a:lnTo>
                      <a:pt x="10245471" y="5312153"/>
                    </a:lnTo>
                    <a:lnTo>
                      <a:pt x="10251678" y="5279780"/>
                    </a:lnTo>
                    <a:lnTo>
                      <a:pt x="10273522" y="5253769"/>
                    </a:lnTo>
                    <a:lnTo>
                      <a:pt x="10261281" y="5214001"/>
                    </a:lnTo>
                    <a:lnTo>
                      <a:pt x="10233410" y="5172798"/>
                    </a:lnTo>
                    <a:lnTo>
                      <a:pt x="10208230" y="5131349"/>
                    </a:lnTo>
                    <a:lnTo>
                      <a:pt x="10183059" y="5089907"/>
                    </a:lnTo>
                    <a:lnTo>
                      <a:pt x="10160459" y="5048235"/>
                    </a:lnTo>
                    <a:lnTo>
                      <a:pt x="10156546" y="5008935"/>
                    </a:lnTo>
                    <a:lnTo>
                      <a:pt x="10152041" y="4963536"/>
                    </a:lnTo>
                    <a:lnTo>
                      <a:pt x="10159560" y="4924729"/>
                    </a:lnTo>
                    <a:lnTo>
                      <a:pt x="10171509" y="4881079"/>
                    </a:lnTo>
                    <a:lnTo>
                      <a:pt x="10179028" y="4853487"/>
                    </a:lnTo>
                    <a:lnTo>
                      <a:pt x="10191645" y="4830186"/>
                    </a:lnTo>
                    <a:lnTo>
                      <a:pt x="10201430" y="4803543"/>
                    </a:lnTo>
                    <a:lnTo>
                      <a:pt x="10215538" y="4765160"/>
                    </a:lnTo>
                    <a:lnTo>
                      <a:pt x="10222706" y="4731057"/>
                    </a:lnTo>
                    <a:lnTo>
                      <a:pt x="10224554" y="4700166"/>
                    </a:lnTo>
                    <a:lnTo>
                      <a:pt x="10226405" y="4669278"/>
                    </a:lnTo>
                    <a:lnTo>
                      <a:pt x="10222313" y="4641162"/>
                    </a:lnTo>
                    <a:lnTo>
                      <a:pt x="10215035" y="4613114"/>
                    </a:lnTo>
                    <a:lnTo>
                      <a:pt x="10200475" y="4557018"/>
                    </a:lnTo>
                    <a:lnTo>
                      <a:pt x="10171193" y="4502122"/>
                    </a:lnTo>
                    <a:lnTo>
                      <a:pt x="10138866" y="4429485"/>
                    </a:lnTo>
                    <a:lnTo>
                      <a:pt x="10129252" y="4407889"/>
                    </a:lnTo>
                    <a:lnTo>
                      <a:pt x="10095340" y="4402283"/>
                    </a:lnTo>
                    <a:lnTo>
                      <a:pt x="10057188" y="4407902"/>
                    </a:lnTo>
                    <a:lnTo>
                      <a:pt x="10011690" y="4407464"/>
                    </a:lnTo>
                    <a:lnTo>
                      <a:pt x="9981763" y="4401899"/>
                    </a:lnTo>
                    <a:lnTo>
                      <a:pt x="9953879" y="4399564"/>
                    </a:lnTo>
                    <a:lnTo>
                      <a:pt x="9926179" y="4389540"/>
                    </a:lnTo>
                    <a:lnTo>
                      <a:pt x="9905405" y="4363340"/>
                    </a:lnTo>
                    <a:lnTo>
                      <a:pt x="9891306" y="4327476"/>
                    </a:lnTo>
                    <a:lnTo>
                      <a:pt x="9879791" y="4290210"/>
                    </a:lnTo>
                    <a:lnTo>
                      <a:pt x="9876455" y="4248838"/>
                    </a:lnTo>
                    <a:lnTo>
                      <a:pt x="9879065" y="4226818"/>
                    </a:lnTo>
                    <a:lnTo>
                      <a:pt x="9889031" y="4207951"/>
                    </a:lnTo>
                    <a:lnTo>
                      <a:pt x="9922591" y="4194172"/>
                    </a:lnTo>
                    <a:lnTo>
                      <a:pt x="9956403" y="4183081"/>
                    </a:lnTo>
                    <a:lnTo>
                      <a:pt x="9972898" y="4151539"/>
                    </a:lnTo>
                    <a:lnTo>
                      <a:pt x="9969199" y="4129181"/>
                    </a:lnTo>
                    <a:lnTo>
                      <a:pt x="9965770" y="4087785"/>
                    </a:lnTo>
                    <a:lnTo>
                      <a:pt x="9981084" y="4055436"/>
                    </a:lnTo>
                    <a:lnTo>
                      <a:pt x="10015507" y="4073631"/>
                    </a:lnTo>
                    <a:lnTo>
                      <a:pt x="10034963" y="4124756"/>
                    </a:lnTo>
                    <a:lnTo>
                      <a:pt x="10050453" y="4171051"/>
                    </a:lnTo>
                    <a:lnTo>
                      <a:pt x="10065947" y="4217355"/>
                    </a:lnTo>
                    <a:lnTo>
                      <a:pt x="10078501" y="4258066"/>
                    </a:lnTo>
                    <a:lnTo>
                      <a:pt x="10105669" y="4267470"/>
                    </a:lnTo>
                    <a:lnTo>
                      <a:pt x="10133127" y="4269367"/>
                    </a:lnTo>
                    <a:lnTo>
                      <a:pt x="10160629" y="4267628"/>
                    </a:lnTo>
                    <a:lnTo>
                      <a:pt x="10188129" y="4265886"/>
                    </a:lnTo>
                    <a:lnTo>
                      <a:pt x="10214654" y="4261039"/>
                    </a:lnTo>
                    <a:lnTo>
                      <a:pt x="10236802" y="4254029"/>
                    </a:lnTo>
                    <a:lnTo>
                      <a:pt x="10251092" y="4235050"/>
                    </a:lnTo>
                    <a:lnTo>
                      <a:pt x="10249719" y="4207719"/>
                    </a:lnTo>
                    <a:lnTo>
                      <a:pt x="10238160" y="4176493"/>
                    </a:lnTo>
                    <a:lnTo>
                      <a:pt x="10226353" y="4145350"/>
                    </a:lnTo>
                    <a:lnTo>
                      <a:pt x="10210270" y="4113907"/>
                    </a:lnTo>
                    <a:lnTo>
                      <a:pt x="10206701" y="4042175"/>
                    </a:lnTo>
                    <a:lnTo>
                      <a:pt x="10236036" y="3988281"/>
                    </a:lnTo>
                    <a:lnTo>
                      <a:pt x="10228635" y="3930300"/>
                    </a:lnTo>
                    <a:lnTo>
                      <a:pt x="10225317" y="3904221"/>
                    </a:lnTo>
                    <a:lnTo>
                      <a:pt x="10212279" y="3880394"/>
                    </a:lnTo>
                    <a:lnTo>
                      <a:pt x="10200072" y="3856852"/>
                    </a:lnTo>
                    <a:lnTo>
                      <a:pt x="10187865" y="3833307"/>
                    </a:lnTo>
                    <a:lnTo>
                      <a:pt x="10176904" y="3809289"/>
                    </a:lnTo>
                    <a:lnTo>
                      <a:pt x="10175587" y="3782038"/>
                    </a:lnTo>
                    <a:lnTo>
                      <a:pt x="10187260" y="3745034"/>
                    </a:lnTo>
                    <a:lnTo>
                      <a:pt x="10197356" y="3726272"/>
                    </a:lnTo>
                    <a:lnTo>
                      <a:pt x="10207445" y="3707503"/>
                    </a:lnTo>
                    <a:lnTo>
                      <a:pt x="10204156" y="3669141"/>
                    </a:lnTo>
                    <a:lnTo>
                      <a:pt x="10181112" y="3625145"/>
                    </a:lnTo>
                    <a:lnTo>
                      <a:pt x="10129171" y="3601977"/>
                    </a:lnTo>
                    <a:lnTo>
                      <a:pt x="10099421" y="3561690"/>
                    </a:lnTo>
                    <a:lnTo>
                      <a:pt x="10092872" y="3498312"/>
                    </a:lnTo>
                    <a:lnTo>
                      <a:pt x="10090407" y="3439610"/>
                    </a:lnTo>
                    <a:lnTo>
                      <a:pt x="10102140" y="3376703"/>
                    </a:lnTo>
                    <a:lnTo>
                      <a:pt x="10057036" y="3365649"/>
                    </a:lnTo>
                    <a:lnTo>
                      <a:pt x="10011352" y="3358118"/>
                    </a:lnTo>
                    <a:lnTo>
                      <a:pt x="9964753" y="3352216"/>
                    </a:lnTo>
                    <a:lnTo>
                      <a:pt x="9918161" y="3346314"/>
                    </a:lnTo>
                    <a:lnTo>
                      <a:pt x="9870644" y="3341683"/>
                    </a:lnTo>
                    <a:lnTo>
                      <a:pt x="9824659" y="3335893"/>
                    </a:lnTo>
                    <a:lnTo>
                      <a:pt x="9794494" y="3328256"/>
                    </a:lnTo>
                    <a:lnTo>
                      <a:pt x="9765047" y="3310885"/>
                    </a:lnTo>
                    <a:lnTo>
                      <a:pt x="9749845" y="3284203"/>
                    </a:lnTo>
                    <a:lnTo>
                      <a:pt x="9749021" y="3261285"/>
                    </a:lnTo>
                    <a:lnTo>
                      <a:pt x="9767528" y="3224354"/>
                    </a:lnTo>
                    <a:lnTo>
                      <a:pt x="9793167" y="3190627"/>
                    </a:lnTo>
                    <a:lnTo>
                      <a:pt x="9808335" y="3175386"/>
                    </a:lnTo>
                    <a:lnTo>
                      <a:pt x="9823503" y="3160151"/>
                    </a:lnTo>
                    <a:lnTo>
                      <a:pt x="9839021" y="3145940"/>
                    </a:lnTo>
                    <a:lnTo>
                      <a:pt x="9861978" y="3115063"/>
                    </a:lnTo>
                    <a:lnTo>
                      <a:pt x="9869543" y="3080175"/>
                    </a:lnTo>
                    <a:lnTo>
                      <a:pt x="9869543" y="3047129"/>
                    </a:lnTo>
                    <a:lnTo>
                      <a:pt x="9862514" y="3015117"/>
                    </a:lnTo>
                    <a:lnTo>
                      <a:pt x="9851861" y="2983599"/>
                    </a:lnTo>
                    <a:lnTo>
                      <a:pt x="9841204" y="2952090"/>
                    </a:lnTo>
                    <a:lnTo>
                      <a:pt x="9826920" y="2921640"/>
                    </a:lnTo>
                    <a:lnTo>
                      <a:pt x="9811054" y="2891106"/>
                    </a:lnTo>
                    <a:lnTo>
                      <a:pt x="9779319" y="2830038"/>
                    </a:lnTo>
                    <a:lnTo>
                      <a:pt x="9742643" y="2769324"/>
                    </a:lnTo>
                    <a:lnTo>
                      <a:pt x="9722641" y="2708843"/>
                    </a:lnTo>
                    <a:lnTo>
                      <a:pt x="9740308" y="2687475"/>
                    </a:lnTo>
                    <a:lnTo>
                      <a:pt x="9759367" y="2677556"/>
                    </a:lnTo>
                    <a:lnTo>
                      <a:pt x="9778420" y="2667637"/>
                    </a:lnTo>
                    <a:lnTo>
                      <a:pt x="9802375" y="2658458"/>
                    </a:lnTo>
                    <a:lnTo>
                      <a:pt x="9827375" y="2650353"/>
                    </a:lnTo>
                    <a:lnTo>
                      <a:pt x="9877379" y="2634135"/>
                    </a:lnTo>
                    <a:lnTo>
                      <a:pt x="9929028" y="2622925"/>
                    </a:lnTo>
                    <a:lnTo>
                      <a:pt x="9951833" y="2617662"/>
                    </a:lnTo>
                    <a:lnTo>
                      <a:pt x="9976697" y="2618177"/>
                    </a:lnTo>
                    <a:lnTo>
                      <a:pt x="10023568" y="2617115"/>
                    </a:lnTo>
                    <a:lnTo>
                      <a:pt x="10051814" y="2614991"/>
                    </a:lnTo>
                    <a:lnTo>
                      <a:pt x="10080051" y="2612855"/>
                    </a:lnTo>
                    <a:lnTo>
                      <a:pt x="10107600" y="2608422"/>
                    </a:lnTo>
                    <a:lnTo>
                      <a:pt x="10107489" y="2571425"/>
                    </a:lnTo>
                    <a:lnTo>
                      <a:pt x="10118843" y="2496527"/>
                    </a:lnTo>
                    <a:lnTo>
                      <a:pt x="10071109" y="2463585"/>
                    </a:lnTo>
                    <a:lnTo>
                      <a:pt x="10027748" y="2440715"/>
                    </a:lnTo>
                    <a:lnTo>
                      <a:pt x="9998763" y="2412323"/>
                    </a:lnTo>
                    <a:lnTo>
                      <a:pt x="9987710" y="2392854"/>
                    </a:lnTo>
                    <a:lnTo>
                      <a:pt x="10011005" y="2281698"/>
                    </a:lnTo>
                    <a:lnTo>
                      <a:pt x="10008279" y="2243659"/>
                    </a:lnTo>
                    <a:lnTo>
                      <a:pt x="10002847" y="2185168"/>
                    </a:lnTo>
                    <a:lnTo>
                      <a:pt x="9998763" y="2125320"/>
                    </a:lnTo>
                    <a:lnTo>
                      <a:pt x="9994345" y="2063519"/>
                    </a:lnTo>
                    <a:lnTo>
                      <a:pt x="10001058" y="2039395"/>
                    </a:lnTo>
                    <a:lnTo>
                      <a:pt x="10018220" y="2001777"/>
                    </a:lnTo>
                    <a:lnTo>
                      <a:pt x="10035484" y="1949855"/>
                    </a:lnTo>
                    <a:lnTo>
                      <a:pt x="10038842" y="1927565"/>
                    </a:lnTo>
                    <a:lnTo>
                      <a:pt x="10034442" y="1903678"/>
                    </a:lnTo>
                    <a:lnTo>
                      <a:pt x="10031409" y="1879126"/>
                    </a:lnTo>
                    <a:lnTo>
                      <a:pt x="10028374" y="1854572"/>
                    </a:lnTo>
                    <a:lnTo>
                      <a:pt x="10026297" y="1829518"/>
                    </a:lnTo>
                    <a:lnTo>
                      <a:pt x="10034126" y="1808395"/>
                    </a:lnTo>
                    <a:lnTo>
                      <a:pt x="10047929" y="1787950"/>
                    </a:lnTo>
                    <a:lnTo>
                      <a:pt x="10072015" y="1760826"/>
                    </a:lnTo>
                    <a:lnTo>
                      <a:pt x="10089899" y="1741747"/>
                    </a:lnTo>
                    <a:lnTo>
                      <a:pt x="10086020" y="1704967"/>
                    </a:lnTo>
                    <a:lnTo>
                      <a:pt x="10079010" y="1677816"/>
                    </a:lnTo>
                    <a:lnTo>
                      <a:pt x="10072005" y="1650664"/>
                    </a:lnTo>
                    <a:lnTo>
                      <a:pt x="10064034" y="1624727"/>
                    </a:lnTo>
                    <a:lnTo>
                      <a:pt x="10035893" y="1618771"/>
                    </a:lnTo>
                    <a:lnTo>
                      <a:pt x="10014704" y="1623797"/>
                    </a:lnTo>
                    <a:lnTo>
                      <a:pt x="9993316" y="1628848"/>
                    </a:lnTo>
                    <a:lnTo>
                      <a:pt x="9971943" y="1633907"/>
                    </a:lnTo>
                    <a:lnTo>
                      <a:pt x="9949387" y="1637903"/>
                    </a:lnTo>
                    <a:lnTo>
                      <a:pt x="9925311" y="1635648"/>
                    </a:lnTo>
                    <a:lnTo>
                      <a:pt x="9902186" y="1622048"/>
                    </a:lnTo>
                    <a:lnTo>
                      <a:pt x="9884507" y="1603003"/>
                    </a:lnTo>
                    <a:lnTo>
                      <a:pt x="9898019" y="1541083"/>
                    </a:lnTo>
                    <a:lnTo>
                      <a:pt x="9915792" y="1496910"/>
                    </a:lnTo>
                    <a:lnTo>
                      <a:pt x="9933561" y="1452732"/>
                    </a:lnTo>
                    <a:lnTo>
                      <a:pt x="9954025" y="1408071"/>
                    </a:lnTo>
                    <a:lnTo>
                      <a:pt x="9955876" y="1378189"/>
                    </a:lnTo>
                    <a:lnTo>
                      <a:pt x="9939889" y="1362929"/>
                    </a:lnTo>
                    <a:lnTo>
                      <a:pt x="9913069" y="1359526"/>
                    </a:lnTo>
                    <a:lnTo>
                      <a:pt x="9891220" y="1337934"/>
                    </a:lnTo>
                    <a:lnTo>
                      <a:pt x="9847951" y="1319106"/>
                    </a:lnTo>
                    <a:lnTo>
                      <a:pt x="9836404" y="1289521"/>
                    </a:lnTo>
                    <a:lnTo>
                      <a:pt x="9843691" y="1253434"/>
                    </a:lnTo>
                    <a:lnTo>
                      <a:pt x="9850379" y="1216436"/>
                    </a:lnTo>
                    <a:lnTo>
                      <a:pt x="9841216" y="1176240"/>
                    </a:lnTo>
                    <a:lnTo>
                      <a:pt x="9817906" y="1152241"/>
                    </a:lnTo>
                    <a:lnTo>
                      <a:pt x="9793365" y="1124214"/>
                    </a:lnTo>
                    <a:lnTo>
                      <a:pt x="9768818" y="1096191"/>
                    </a:lnTo>
                    <a:lnTo>
                      <a:pt x="9742816" y="1064833"/>
                    </a:lnTo>
                    <a:lnTo>
                      <a:pt x="9732160" y="1030361"/>
                    </a:lnTo>
                    <a:lnTo>
                      <a:pt x="9728141" y="1000710"/>
                    </a:lnTo>
                    <a:lnTo>
                      <a:pt x="9725279" y="970236"/>
                    </a:lnTo>
                    <a:lnTo>
                      <a:pt x="9710387" y="943308"/>
                    </a:lnTo>
                    <a:lnTo>
                      <a:pt x="9675515" y="947793"/>
                    </a:lnTo>
                    <a:lnTo>
                      <a:pt x="9658762" y="965071"/>
                    </a:lnTo>
                    <a:lnTo>
                      <a:pt x="9642382" y="980029"/>
                    </a:lnTo>
                    <a:lnTo>
                      <a:pt x="9625999" y="994992"/>
                    </a:lnTo>
                    <a:lnTo>
                      <a:pt x="9597498" y="1011315"/>
                    </a:lnTo>
                    <a:lnTo>
                      <a:pt x="9567742" y="1018569"/>
                    </a:lnTo>
                    <a:lnTo>
                      <a:pt x="9543867" y="1006105"/>
                    </a:lnTo>
                    <a:lnTo>
                      <a:pt x="9518600" y="993634"/>
                    </a:lnTo>
                    <a:lnTo>
                      <a:pt x="9492652" y="980754"/>
                    </a:lnTo>
                    <a:lnTo>
                      <a:pt x="9462948" y="973869"/>
                    </a:lnTo>
                    <a:lnTo>
                      <a:pt x="9427474" y="977311"/>
                    </a:lnTo>
                    <a:lnTo>
                      <a:pt x="9397045" y="1003678"/>
                    </a:lnTo>
                    <a:lnTo>
                      <a:pt x="9381480" y="1028547"/>
                    </a:lnTo>
                    <a:lnTo>
                      <a:pt x="9374423" y="1052124"/>
                    </a:lnTo>
                    <a:lnTo>
                      <a:pt x="9367360" y="1075700"/>
                    </a:lnTo>
                    <a:lnTo>
                      <a:pt x="9368824" y="1098408"/>
                    </a:lnTo>
                    <a:lnTo>
                      <a:pt x="9377307" y="1139137"/>
                    </a:lnTo>
                    <a:lnTo>
                      <a:pt x="9388022" y="1174539"/>
                    </a:lnTo>
                    <a:lnTo>
                      <a:pt x="9390602" y="1205396"/>
                    </a:lnTo>
                    <a:lnTo>
                      <a:pt x="9372492" y="1227437"/>
                    </a:lnTo>
                    <a:lnTo>
                      <a:pt x="9343303" y="1237467"/>
                    </a:lnTo>
                    <a:lnTo>
                      <a:pt x="9313218" y="1243910"/>
                    </a:lnTo>
                    <a:lnTo>
                      <a:pt x="9283123" y="1250361"/>
                    </a:lnTo>
                    <a:lnTo>
                      <a:pt x="9252220" y="1253645"/>
                    </a:lnTo>
                    <a:lnTo>
                      <a:pt x="9227524" y="1262957"/>
                    </a:lnTo>
                    <a:lnTo>
                      <a:pt x="9220637" y="1295681"/>
                    </a:lnTo>
                    <a:lnTo>
                      <a:pt x="9210474" y="1334320"/>
                    </a:lnTo>
                    <a:lnTo>
                      <a:pt x="9193520" y="1363608"/>
                    </a:lnTo>
                    <a:lnTo>
                      <a:pt x="9161013" y="1376436"/>
                    </a:lnTo>
                    <a:lnTo>
                      <a:pt x="9122643" y="1364380"/>
                    </a:lnTo>
                    <a:lnTo>
                      <a:pt x="9103928" y="1352311"/>
                    </a:lnTo>
                    <a:lnTo>
                      <a:pt x="9073493" y="1309187"/>
                    </a:lnTo>
                    <a:lnTo>
                      <a:pt x="9055243" y="1270264"/>
                    </a:lnTo>
                    <a:lnTo>
                      <a:pt x="9035737" y="1237111"/>
                    </a:lnTo>
                    <a:lnTo>
                      <a:pt x="8993014" y="1246409"/>
                    </a:lnTo>
                    <a:lnTo>
                      <a:pt x="8972485" y="1256506"/>
                    </a:lnTo>
                    <a:lnTo>
                      <a:pt x="8935759" y="1269406"/>
                    </a:lnTo>
                    <a:lnTo>
                      <a:pt x="8903798" y="1273839"/>
                    </a:lnTo>
                    <a:lnTo>
                      <a:pt x="8871260" y="1276608"/>
                    </a:lnTo>
                    <a:lnTo>
                      <a:pt x="8839761" y="1274702"/>
                    </a:lnTo>
                    <a:lnTo>
                      <a:pt x="8796341" y="1292878"/>
                    </a:lnTo>
                    <a:lnTo>
                      <a:pt x="8772091" y="1306193"/>
                    </a:lnTo>
                    <a:lnTo>
                      <a:pt x="8747137" y="1323088"/>
                    </a:lnTo>
                    <a:lnTo>
                      <a:pt x="8724246" y="1339128"/>
                    </a:lnTo>
                    <a:lnTo>
                      <a:pt x="8701757" y="1360674"/>
                    </a:lnTo>
                    <a:lnTo>
                      <a:pt x="8692967" y="1379930"/>
                    </a:lnTo>
                    <a:lnTo>
                      <a:pt x="8684174" y="1399188"/>
                    </a:lnTo>
                    <a:lnTo>
                      <a:pt x="8676736" y="1422817"/>
                    </a:lnTo>
                    <a:lnTo>
                      <a:pt x="8673920" y="1445220"/>
                    </a:lnTo>
                    <a:lnTo>
                      <a:pt x="8671105" y="1467622"/>
                    </a:lnTo>
                    <a:lnTo>
                      <a:pt x="8671710" y="1489669"/>
                    </a:lnTo>
                    <a:lnTo>
                      <a:pt x="8684279" y="1523191"/>
                    </a:lnTo>
                    <a:lnTo>
                      <a:pt x="8714724" y="1536354"/>
                    </a:lnTo>
                    <a:lnTo>
                      <a:pt x="8796334" y="1547236"/>
                    </a:lnTo>
                    <a:lnTo>
                      <a:pt x="8792260" y="1651971"/>
                    </a:lnTo>
                    <a:lnTo>
                      <a:pt x="8747289" y="1668912"/>
                    </a:lnTo>
                    <a:lnTo>
                      <a:pt x="8709289" y="1671016"/>
                    </a:lnTo>
                    <a:lnTo>
                      <a:pt x="8671282" y="1673114"/>
                    </a:lnTo>
                    <a:lnTo>
                      <a:pt x="8631290" y="1675264"/>
                    </a:lnTo>
                    <a:lnTo>
                      <a:pt x="8615437" y="1691415"/>
                    </a:lnTo>
                    <a:lnTo>
                      <a:pt x="8599491" y="1714384"/>
                    </a:lnTo>
                    <a:lnTo>
                      <a:pt x="8596009" y="1736457"/>
                    </a:lnTo>
                    <a:lnTo>
                      <a:pt x="8601825" y="1758070"/>
                    </a:lnTo>
                    <a:lnTo>
                      <a:pt x="8610008" y="1779575"/>
                    </a:lnTo>
                    <a:lnTo>
                      <a:pt x="8626475" y="1800679"/>
                    </a:lnTo>
                    <a:lnTo>
                      <a:pt x="8637194" y="1820635"/>
                    </a:lnTo>
                    <a:lnTo>
                      <a:pt x="8648412" y="1841547"/>
                    </a:lnTo>
                    <a:lnTo>
                      <a:pt x="8635625" y="1907602"/>
                    </a:lnTo>
                    <a:lnTo>
                      <a:pt x="8638552" y="1943057"/>
                    </a:lnTo>
                    <a:lnTo>
                      <a:pt x="8680720" y="1975701"/>
                    </a:lnTo>
                    <a:lnTo>
                      <a:pt x="8679988" y="2004053"/>
                    </a:lnTo>
                    <a:lnTo>
                      <a:pt x="8660182" y="2016102"/>
                    </a:lnTo>
                    <a:lnTo>
                      <a:pt x="8636639" y="2018080"/>
                    </a:lnTo>
                    <a:lnTo>
                      <a:pt x="8614073" y="2020585"/>
                    </a:lnTo>
                    <a:lnTo>
                      <a:pt x="8591497" y="2023086"/>
                    </a:lnTo>
                    <a:lnTo>
                      <a:pt x="8570500" y="2026066"/>
                    </a:lnTo>
                    <a:lnTo>
                      <a:pt x="8558107" y="2053461"/>
                    </a:lnTo>
                    <a:lnTo>
                      <a:pt x="8560395" y="2098109"/>
                    </a:lnTo>
                    <a:lnTo>
                      <a:pt x="8561022" y="2140283"/>
                    </a:lnTo>
                    <a:lnTo>
                      <a:pt x="8561617" y="2182451"/>
                    </a:lnTo>
                    <a:lnTo>
                      <a:pt x="8560829" y="2223128"/>
                    </a:lnTo>
                    <a:lnTo>
                      <a:pt x="8431808" y="2246375"/>
                    </a:lnTo>
                    <a:lnTo>
                      <a:pt x="8314829" y="2253174"/>
                    </a:lnTo>
                    <a:lnTo>
                      <a:pt x="8278403" y="2263766"/>
                    </a:lnTo>
                    <a:lnTo>
                      <a:pt x="8213155" y="2275578"/>
                    </a:lnTo>
                    <a:lnTo>
                      <a:pt x="8163719" y="2281573"/>
                    </a:lnTo>
                    <a:lnTo>
                      <a:pt x="8116243" y="2291267"/>
                    </a:lnTo>
                    <a:lnTo>
                      <a:pt x="7973417" y="2321189"/>
                    </a:lnTo>
                    <a:lnTo>
                      <a:pt x="7943494" y="2327308"/>
                    </a:lnTo>
                    <a:lnTo>
                      <a:pt x="7913489" y="2342397"/>
                    </a:lnTo>
                    <a:lnTo>
                      <a:pt x="7880924" y="2336152"/>
                    </a:lnTo>
                    <a:lnTo>
                      <a:pt x="7860268" y="2332155"/>
                    </a:lnTo>
                    <a:lnTo>
                      <a:pt x="7798811" y="2309811"/>
                    </a:lnTo>
                    <a:lnTo>
                      <a:pt x="7739463" y="2284461"/>
                    </a:lnTo>
                    <a:lnTo>
                      <a:pt x="7680120" y="2259110"/>
                    </a:lnTo>
                    <a:lnTo>
                      <a:pt x="7622806" y="2230884"/>
                    </a:lnTo>
                    <a:lnTo>
                      <a:pt x="7593924" y="2212378"/>
                    </a:lnTo>
                    <a:lnTo>
                      <a:pt x="7506023" y="2270486"/>
                    </a:lnTo>
                    <a:lnTo>
                      <a:pt x="7470462" y="2231656"/>
                    </a:lnTo>
                    <a:lnTo>
                      <a:pt x="7422471" y="2185795"/>
                    </a:lnTo>
                    <a:lnTo>
                      <a:pt x="7368130" y="2151165"/>
                    </a:lnTo>
                    <a:lnTo>
                      <a:pt x="7340960" y="2133853"/>
                    </a:lnTo>
                    <a:lnTo>
                      <a:pt x="7312468" y="2119688"/>
                    </a:lnTo>
                    <a:lnTo>
                      <a:pt x="7285159" y="2110363"/>
                    </a:lnTo>
                    <a:lnTo>
                      <a:pt x="7257849" y="2101030"/>
                    </a:lnTo>
                    <a:lnTo>
                      <a:pt x="7231952" y="2097396"/>
                    </a:lnTo>
                    <a:lnTo>
                      <a:pt x="7210348" y="2100839"/>
                    </a:lnTo>
                    <a:lnTo>
                      <a:pt x="7140975" y="2118520"/>
                    </a:lnTo>
                    <a:lnTo>
                      <a:pt x="7077385" y="2135442"/>
                    </a:lnTo>
                    <a:lnTo>
                      <a:pt x="7060729" y="2149807"/>
                    </a:lnTo>
                    <a:lnTo>
                      <a:pt x="7042876" y="2165192"/>
                    </a:lnTo>
                    <a:lnTo>
                      <a:pt x="7032414" y="2191888"/>
                    </a:lnTo>
                    <a:lnTo>
                      <a:pt x="7019919" y="2211014"/>
                    </a:lnTo>
                    <a:lnTo>
                      <a:pt x="7003808" y="2235665"/>
                    </a:lnTo>
                    <a:lnTo>
                      <a:pt x="6984960" y="2261457"/>
                    </a:lnTo>
                    <a:lnTo>
                      <a:pt x="6970951" y="2287185"/>
                    </a:lnTo>
                    <a:lnTo>
                      <a:pt x="6946357" y="2332360"/>
                    </a:lnTo>
                    <a:lnTo>
                      <a:pt x="6927168" y="2386233"/>
                    </a:lnTo>
                    <a:lnTo>
                      <a:pt x="6898863" y="2430004"/>
                    </a:lnTo>
                    <a:lnTo>
                      <a:pt x="6884709" y="2451892"/>
                    </a:lnTo>
                    <a:lnTo>
                      <a:pt x="6867643" y="2471335"/>
                    </a:lnTo>
                    <a:lnTo>
                      <a:pt x="6847179" y="2485777"/>
                    </a:lnTo>
                    <a:lnTo>
                      <a:pt x="6826715" y="2500220"/>
                    </a:lnTo>
                    <a:lnTo>
                      <a:pt x="6802723" y="2509340"/>
                    </a:lnTo>
                    <a:lnTo>
                      <a:pt x="6772365" y="2511622"/>
                    </a:lnTo>
                    <a:lnTo>
                      <a:pt x="6720663" y="2510515"/>
                    </a:lnTo>
                    <a:lnTo>
                      <a:pt x="6689387" y="2503458"/>
                    </a:lnTo>
                    <a:lnTo>
                      <a:pt x="6658115" y="2496401"/>
                    </a:lnTo>
                    <a:lnTo>
                      <a:pt x="6628727" y="2484841"/>
                    </a:lnTo>
                    <a:lnTo>
                      <a:pt x="6600087" y="2449689"/>
                    </a:lnTo>
                    <a:lnTo>
                      <a:pt x="6589917" y="2419307"/>
                    </a:lnTo>
                    <a:lnTo>
                      <a:pt x="6579214" y="2387842"/>
                    </a:lnTo>
                    <a:lnTo>
                      <a:pt x="6568511" y="2356379"/>
                    </a:lnTo>
                    <a:lnTo>
                      <a:pt x="6556738" y="2324598"/>
                    </a:lnTo>
                    <a:lnTo>
                      <a:pt x="6537046" y="2300790"/>
                    </a:lnTo>
                    <a:lnTo>
                      <a:pt x="6518384" y="2278222"/>
                    </a:lnTo>
                    <a:lnTo>
                      <a:pt x="6481279" y="2261346"/>
                    </a:lnTo>
                    <a:lnTo>
                      <a:pt x="6442984" y="2247978"/>
                    </a:lnTo>
                    <a:lnTo>
                      <a:pt x="6425512" y="2232777"/>
                    </a:lnTo>
                    <a:lnTo>
                      <a:pt x="6408635" y="2218116"/>
                    </a:lnTo>
                    <a:lnTo>
                      <a:pt x="6397755" y="2193669"/>
                    </a:lnTo>
                    <a:lnTo>
                      <a:pt x="6376547" y="2183809"/>
                    </a:lnTo>
                    <a:lnTo>
                      <a:pt x="6345359" y="2171985"/>
                    </a:lnTo>
                    <a:lnTo>
                      <a:pt x="6312517" y="2162989"/>
                    </a:lnTo>
                    <a:lnTo>
                      <a:pt x="6279970" y="2155247"/>
                    </a:lnTo>
                    <a:lnTo>
                      <a:pt x="6235554" y="2144134"/>
                    </a:lnTo>
                    <a:lnTo>
                      <a:pt x="6206496" y="2145243"/>
                    </a:lnTo>
                    <a:lnTo>
                      <a:pt x="6188835" y="2160688"/>
                    </a:lnTo>
                    <a:lnTo>
                      <a:pt x="6171180" y="2176132"/>
                    </a:lnTo>
                    <a:lnTo>
                      <a:pt x="6165121" y="2204940"/>
                    </a:lnTo>
                    <a:lnTo>
                      <a:pt x="6164356" y="2249099"/>
                    </a:lnTo>
                    <a:lnTo>
                      <a:pt x="6032286" y="2262110"/>
                    </a:lnTo>
                    <a:lnTo>
                      <a:pt x="5919096" y="2254118"/>
                    </a:lnTo>
                    <a:lnTo>
                      <a:pt x="5803903" y="2262704"/>
                    </a:lnTo>
                    <a:lnTo>
                      <a:pt x="5774358" y="2259644"/>
                    </a:lnTo>
                    <a:lnTo>
                      <a:pt x="5756660" y="2241555"/>
                    </a:lnTo>
                    <a:lnTo>
                      <a:pt x="5758570" y="2215544"/>
                    </a:lnTo>
                    <a:lnTo>
                      <a:pt x="5761735" y="2187891"/>
                    </a:lnTo>
                    <a:lnTo>
                      <a:pt x="5764895" y="2160239"/>
                    </a:lnTo>
                    <a:lnTo>
                      <a:pt x="5770290" y="2131084"/>
                    </a:lnTo>
                    <a:lnTo>
                      <a:pt x="5773080" y="2090848"/>
                    </a:lnTo>
                    <a:lnTo>
                      <a:pt x="5760991" y="2073661"/>
                    </a:lnTo>
                    <a:lnTo>
                      <a:pt x="5748130" y="2055954"/>
                    </a:lnTo>
                    <a:lnTo>
                      <a:pt x="5735272" y="2038240"/>
                    </a:lnTo>
                    <a:lnTo>
                      <a:pt x="5721170" y="2021035"/>
                    </a:lnTo>
                    <a:lnTo>
                      <a:pt x="5718203" y="1996106"/>
                    </a:lnTo>
                    <a:lnTo>
                      <a:pt x="5725080" y="1959550"/>
                    </a:lnTo>
                    <a:lnTo>
                      <a:pt x="5738608" y="1938973"/>
                    </a:lnTo>
                    <a:lnTo>
                      <a:pt x="5752133" y="1918398"/>
                    </a:lnTo>
                    <a:lnTo>
                      <a:pt x="5770460" y="1897123"/>
                    </a:lnTo>
                    <a:lnTo>
                      <a:pt x="5786217" y="1873684"/>
                    </a:lnTo>
                    <a:lnTo>
                      <a:pt x="5801965" y="1850253"/>
                    </a:lnTo>
                    <a:lnTo>
                      <a:pt x="5815518" y="1825521"/>
                    </a:lnTo>
                    <a:lnTo>
                      <a:pt x="5820218" y="1800238"/>
                    </a:lnTo>
                    <a:lnTo>
                      <a:pt x="5824922" y="1774952"/>
                    </a:lnTo>
                    <a:lnTo>
                      <a:pt x="5820814" y="1748803"/>
                    </a:lnTo>
                    <a:lnTo>
                      <a:pt x="5801175" y="1722701"/>
                    </a:lnTo>
                    <a:lnTo>
                      <a:pt x="5787758" y="1704881"/>
                    </a:lnTo>
                    <a:lnTo>
                      <a:pt x="5772817" y="1686863"/>
                    </a:lnTo>
                    <a:lnTo>
                      <a:pt x="5757655" y="1669658"/>
                    </a:lnTo>
                    <a:lnTo>
                      <a:pt x="5742487" y="1652451"/>
                    </a:lnTo>
                    <a:lnTo>
                      <a:pt x="5727291" y="1636320"/>
                    </a:lnTo>
                    <a:lnTo>
                      <a:pt x="5712768" y="1619332"/>
                    </a:lnTo>
                    <a:lnTo>
                      <a:pt x="5694989" y="1598512"/>
                    </a:lnTo>
                    <a:lnTo>
                      <a:pt x="5693426" y="1553271"/>
                    </a:lnTo>
                    <a:lnTo>
                      <a:pt x="5695082" y="1528197"/>
                    </a:lnTo>
                    <a:lnTo>
                      <a:pt x="5652108" y="1452105"/>
                    </a:lnTo>
                    <a:lnTo>
                      <a:pt x="5612408" y="1446751"/>
                    </a:lnTo>
                    <a:lnTo>
                      <a:pt x="5538577" y="1474383"/>
                    </a:lnTo>
                    <a:lnTo>
                      <a:pt x="5519617" y="1490111"/>
                    </a:lnTo>
                    <a:lnTo>
                      <a:pt x="5480549" y="1436250"/>
                    </a:lnTo>
                    <a:lnTo>
                      <a:pt x="5439336" y="1395065"/>
                    </a:lnTo>
                    <a:lnTo>
                      <a:pt x="5408079" y="1348645"/>
                    </a:lnTo>
                    <a:lnTo>
                      <a:pt x="5390766" y="1322930"/>
                    </a:lnTo>
                    <a:lnTo>
                      <a:pt x="5375790" y="1295107"/>
                    </a:lnTo>
                    <a:lnTo>
                      <a:pt x="5360470" y="1267033"/>
                    </a:lnTo>
                    <a:lnTo>
                      <a:pt x="5345162" y="1238965"/>
                    </a:lnTo>
                    <a:lnTo>
                      <a:pt x="5330602" y="1211154"/>
                    </a:lnTo>
                    <a:lnTo>
                      <a:pt x="5315586" y="1184061"/>
                    </a:lnTo>
                    <a:lnTo>
                      <a:pt x="5305317" y="1165523"/>
                    </a:lnTo>
                    <a:lnTo>
                      <a:pt x="5291600" y="1144605"/>
                    </a:lnTo>
                    <a:lnTo>
                      <a:pt x="5280224" y="1124214"/>
                    </a:lnTo>
                    <a:lnTo>
                      <a:pt x="5268847" y="1103821"/>
                    </a:lnTo>
                    <a:lnTo>
                      <a:pt x="5258823" y="1084044"/>
                    </a:lnTo>
                    <a:lnTo>
                      <a:pt x="5254377" y="1063005"/>
                    </a:lnTo>
                    <a:lnTo>
                      <a:pt x="5281879" y="1055652"/>
                    </a:lnTo>
                    <a:lnTo>
                      <a:pt x="5324822" y="1037332"/>
                    </a:lnTo>
                    <a:lnTo>
                      <a:pt x="5365918" y="1016755"/>
                    </a:lnTo>
                    <a:lnTo>
                      <a:pt x="5407010" y="996186"/>
                    </a:lnTo>
                    <a:lnTo>
                      <a:pt x="5447020" y="972643"/>
                    </a:lnTo>
                    <a:lnTo>
                      <a:pt x="5469291" y="954190"/>
                    </a:lnTo>
                    <a:lnTo>
                      <a:pt x="5481052" y="933633"/>
                    </a:lnTo>
                    <a:lnTo>
                      <a:pt x="5490177" y="898575"/>
                    </a:lnTo>
                    <a:lnTo>
                      <a:pt x="5493773" y="871220"/>
                    </a:lnTo>
                    <a:lnTo>
                      <a:pt x="5487566" y="831360"/>
                    </a:lnTo>
                    <a:lnTo>
                      <a:pt x="5472773" y="794099"/>
                    </a:lnTo>
                    <a:lnTo>
                      <a:pt x="5459769" y="756956"/>
                    </a:lnTo>
                    <a:lnTo>
                      <a:pt x="5453187" y="722175"/>
                    </a:lnTo>
                    <a:lnTo>
                      <a:pt x="5446164" y="701190"/>
                    </a:lnTo>
                    <a:lnTo>
                      <a:pt x="5439147" y="680211"/>
                    </a:lnTo>
                    <a:lnTo>
                      <a:pt x="5429932" y="661237"/>
                    </a:lnTo>
                    <a:lnTo>
                      <a:pt x="5398455" y="649249"/>
                    </a:lnTo>
                    <a:lnTo>
                      <a:pt x="5346957" y="666389"/>
                    </a:lnTo>
                    <a:lnTo>
                      <a:pt x="5295187" y="680785"/>
                    </a:lnTo>
                    <a:lnTo>
                      <a:pt x="5269294" y="687986"/>
                    </a:lnTo>
                    <a:lnTo>
                      <a:pt x="5243475" y="694990"/>
                    </a:lnTo>
                    <a:lnTo>
                      <a:pt x="5221731" y="697108"/>
                    </a:lnTo>
                    <a:lnTo>
                      <a:pt x="5199990" y="699224"/>
                    </a:lnTo>
                    <a:lnTo>
                      <a:pt x="5172767" y="687591"/>
                    </a:lnTo>
                    <a:lnTo>
                      <a:pt x="5164606" y="652222"/>
                    </a:lnTo>
                    <a:lnTo>
                      <a:pt x="5138347" y="633289"/>
                    </a:lnTo>
                    <a:lnTo>
                      <a:pt x="5110200" y="644059"/>
                    </a:lnTo>
                    <a:lnTo>
                      <a:pt x="5083463" y="661422"/>
                    </a:lnTo>
                    <a:lnTo>
                      <a:pt x="5053068" y="664462"/>
                    </a:lnTo>
                    <a:lnTo>
                      <a:pt x="4959874" y="549052"/>
                    </a:lnTo>
                    <a:lnTo>
                      <a:pt x="4936964" y="545866"/>
                    </a:lnTo>
                    <a:lnTo>
                      <a:pt x="4900724" y="567886"/>
                    </a:lnTo>
                    <a:lnTo>
                      <a:pt x="4882536" y="580576"/>
                    </a:lnTo>
                    <a:lnTo>
                      <a:pt x="4864968" y="596792"/>
                    </a:lnTo>
                    <a:lnTo>
                      <a:pt x="4840591" y="624333"/>
                    </a:lnTo>
                    <a:lnTo>
                      <a:pt x="4843599" y="664462"/>
                    </a:lnTo>
                    <a:lnTo>
                      <a:pt x="4850926" y="705859"/>
                    </a:lnTo>
                    <a:lnTo>
                      <a:pt x="4812900" y="744631"/>
                    </a:lnTo>
                    <a:lnTo>
                      <a:pt x="4762854" y="752663"/>
                    </a:lnTo>
                    <a:lnTo>
                      <a:pt x="4723895" y="754232"/>
                    </a:lnTo>
                    <a:lnTo>
                      <a:pt x="4706215" y="699824"/>
                    </a:lnTo>
                    <a:lnTo>
                      <a:pt x="4676992" y="688099"/>
                    </a:lnTo>
                    <a:lnTo>
                      <a:pt x="4651108" y="699528"/>
                    </a:lnTo>
                    <a:lnTo>
                      <a:pt x="4625436" y="763842"/>
                    </a:lnTo>
                    <a:lnTo>
                      <a:pt x="4637416" y="823472"/>
                    </a:lnTo>
                    <a:lnTo>
                      <a:pt x="4625963" y="880729"/>
                    </a:lnTo>
                    <a:lnTo>
                      <a:pt x="4538911" y="897052"/>
                    </a:lnTo>
                    <a:lnTo>
                      <a:pt x="4524428" y="857370"/>
                    </a:lnTo>
                    <a:lnTo>
                      <a:pt x="4534688" y="836286"/>
                    </a:lnTo>
                    <a:lnTo>
                      <a:pt x="4554010" y="802751"/>
                    </a:lnTo>
                    <a:lnTo>
                      <a:pt x="4564754" y="775996"/>
                    </a:lnTo>
                    <a:lnTo>
                      <a:pt x="4571231" y="712098"/>
                    </a:lnTo>
                    <a:lnTo>
                      <a:pt x="4575860" y="665372"/>
                    </a:lnTo>
                    <a:lnTo>
                      <a:pt x="4575637" y="631811"/>
                    </a:lnTo>
                    <a:lnTo>
                      <a:pt x="4575439" y="598250"/>
                    </a:lnTo>
                    <a:lnTo>
                      <a:pt x="4555232" y="566522"/>
                    </a:lnTo>
                    <a:lnTo>
                      <a:pt x="4515656" y="550621"/>
                    </a:lnTo>
                    <a:lnTo>
                      <a:pt x="4477702" y="551557"/>
                    </a:lnTo>
                    <a:lnTo>
                      <a:pt x="4439741" y="552494"/>
                    </a:lnTo>
                    <a:lnTo>
                      <a:pt x="4388914" y="557329"/>
                    </a:lnTo>
                    <a:lnTo>
                      <a:pt x="4319913" y="562439"/>
                    </a:lnTo>
                    <a:lnTo>
                      <a:pt x="4288368" y="575300"/>
                    </a:lnTo>
                    <a:lnTo>
                      <a:pt x="4264410" y="601277"/>
                    </a:lnTo>
                    <a:lnTo>
                      <a:pt x="4238306" y="625012"/>
                    </a:lnTo>
                    <a:lnTo>
                      <a:pt x="4206804" y="626219"/>
                    </a:lnTo>
                    <a:lnTo>
                      <a:pt x="4185475" y="612916"/>
                    </a:lnTo>
                    <a:lnTo>
                      <a:pt x="4171652" y="589649"/>
                    </a:lnTo>
                    <a:lnTo>
                      <a:pt x="4159644" y="564009"/>
                    </a:lnTo>
                    <a:lnTo>
                      <a:pt x="4153957" y="531371"/>
                    </a:lnTo>
                    <a:lnTo>
                      <a:pt x="4143090" y="512113"/>
                    </a:lnTo>
                    <a:lnTo>
                      <a:pt x="4097815" y="528106"/>
                    </a:lnTo>
                    <a:lnTo>
                      <a:pt x="4072359" y="548841"/>
                    </a:lnTo>
                    <a:lnTo>
                      <a:pt x="4046910" y="569575"/>
                    </a:lnTo>
                    <a:lnTo>
                      <a:pt x="4020397" y="592473"/>
                    </a:lnTo>
                    <a:lnTo>
                      <a:pt x="3998913" y="601891"/>
                    </a:lnTo>
                    <a:lnTo>
                      <a:pt x="3950407" y="599298"/>
                    </a:lnTo>
                    <a:lnTo>
                      <a:pt x="3913219" y="589649"/>
                    </a:lnTo>
                    <a:lnTo>
                      <a:pt x="3876030" y="579996"/>
                    </a:lnTo>
                    <a:lnTo>
                      <a:pt x="3838088" y="569627"/>
                    </a:lnTo>
                    <a:lnTo>
                      <a:pt x="3782771" y="562347"/>
                    </a:lnTo>
                    <a:lnTo>
                      <a:pt x="3740522" y="567017"/>
                    </a:lnTo>
                    <a:lnTo>
                      <a:pt x="3701027" y="562439"/>
                    </a:lnTo>
                    <a:lnTo>
                      <a:pt x="3661529" y="555252"/>
                    </a:lnTo>
                    <a:lnTo>
                      <a:pt x="3626266" y="536989"/>
                    </a:lnTo>
                    <a:lnTo>
                      <a:pt x="3596292" y="502591"/>
                    </a:lnTo>
                    <a:lnTo>
                      <a:pt x="3582470" y="481005"/>
                    </a:lnTo>
                    <a:lnTo>
                      <a:pt x="3588128" y="369294"/>
                    </a:lnTo>
                    <a:lnTo>
                      <a:pt x="3583797" y="343826"/>
                    </a:lnTo>
                    <a:lnTo>
                      <a:pt x="3565265" y="332192"/>
                    </a:lnTo>
                    <a:lnTo>
                      <a:pt x="3537803" y="328486"/>
                    </a:lnTo>
                    <a:lnTo>
                      <a:pt x="3509364" y="325979"/>
                    </a:lnTo>
                    <a:lnTo>
                      <a:pt x="3476284" y="328354"/>
                    </a:lnTo>
                    <a:lnTo>
                      <a:pt x="3458908" y="314886"/>
                    </a:lnTo>
                    <a:lnTo>
                      <a:pt x="3443303" y="262141"/>
                    </a:lnTo>
                    <a:lnTo>
                      <a:pt x="3439868" y="215593"/>
                    </a:lnTo>
                    <a:lnTo>
                      <a:pt x="3436432" y="169041"/>
                    </a:lnTo>
                    <a:lnTo>
                      <a:pt x="3434466" y="120252"/>
                    </a:lnTo>
                    <a:lnTo>
                      <a:pt x="3432535" y="97974"/>
                    </a:lnTo>
                    <a:lnTo>
                      <a:pt x="3413798" y="75254"/>
                    </a:lnTo>
                    <a:lnTo>
                      <a:pt x="3356648" y="75538"/>
                    </a:lnTo>
                    <a:lnTo>
                      <a:pt x="3327226" y="75141"/>
                    </a:lnTo>
                    <a:lnTo>
                      <a:pt x="3288633" y="70394"/>
                    </a:lnTo>
                    <a:lnTo>
                      <a:pt x="3259662" y="49785"/>
                    </a:lnTo>
                    <a:lnTo>
                      <a:pt x="3238559" y="34682"/>
                    </a:lnTo>
                    <a:lnTo>
                      <a:pt x="3213801" y="32842"/>
                    </a:lnTo>
                    <a:lnTo>
                      <a:pt x="3186981" y="39147"/>
                    </a:lnTo>
                    <a:lnTo>
                      <a:pt x="3161029" y="46929"/>
                    </a:lnTo>
                    <a:lnTo>
                      <a:pt x="3135071" y="54698"/>
                    </a:lnTo>
                    <a:lnTo>
                      <a:pt x="3109919" y="64260"/>
                    </a:lnTo>
                    <a:lnTo>
                      <a:pt x="3087576" y="70050"/>
                    </a:lnTo>
                    <a:lnTo>
                      <a:pt x="3065233" y="75834"/>
                    </a:lnTo>
                    <a:lnTo>
                      <a:pt x="3031809" y="70050"/>
                    </a:lnTo>
                    <a:lnTo>
                      <a:pt x="3009392" y="44556"/>
                    </a:lnTo>
                    <a:lnTo>
                      <a:pt x="3008682" y="11561"/>
                    </a:lnTo>
                    <a:lnTo>
                      <a:pt x="2990366" y="0"/>
                    </a:lnTo>
                    <a:lnTo>
                      <a:pt x="2931982" y="11824"/>
                    </a:lnTo>
                    <a:lnTo>
                      <a:pt x="2910753" y="14278"/>
                    </a:lnTo>
                    <a:lnTo>
                      <a:pt x="2806123" y="39905"/>
                    </a:lnTo>
                    <a:lnTo>
                      <a:pt x="2772011" y="45563"/>
                    </a:lnTo>
                    <a:lnTo>
                      <a:pt x="2740512" y="70559"/>
                    </a:lnTo>
                    <a:lnTo>
                      <a:pt x="2736094" y="100842"/>
                    </a:lnTo>
                    <a:lnTo>
                      <a:pt x="2733105" y="141539"/>
                    </a:lnTo>
                    <a:lnTo>
                      <a:pt x="2723043" y="178861"/>
                    </a:lnTo>
                    <a:lnTo>
                      <a:pt x="2711720" y="215265"/>
                    </a:lnTo>
                    <a:lnTo>
                      <a:pt x="2693563" y="240390"/>
                    </a:lnTo>
                    <a:lnTo>
                      <a:pt x="2667276" y="246873"/>
                    </a:lnTo>
                    <a:lnTo>
                      <a:pt x="2621995" y="237569"/>
                    </a:lnTo>
                    <a:lnTo>
                      <a:pt x="2595187" y="235992"/>
                    </a:lnTo>
                    <a:lnTo>
                      <a:pt x="2568370" y="234415"/>
                    </a:lnTo>
                    <a:lnTo>
                      <a:pt x="2542778" y="237944"/>
                    </a:lnTo>
                    <a:lnTo>
                      <a:pt x="2529898" y="256389"/>
                    </a:lnTo>
                    <a:lnTo>
                      <a:pt x="2526336" y="281733"/>
                    </a:lnTo>
                    <a:lnTo>
                      <a:pt x="2517130" y="315387"/>
                    </a:lnTo>
                    <a:lnTo>
                      <a:pt x="2504052" y="338001"/>
                    </a:lnTo>
                    <a:lnTo>
                      <a:pt x="2488428" y="352431"/>
                    </a:lnTo>
                    <a:lnTo>
                      <a:pt x="2457168" y="364150"/>
                    </a:lnTo>
                    <a:lnTo>
                      <a:pt x="2426522" y="366570"/>
                    </a:lnTo>
                    <a:lnTo>
                      <a:pt x="2395699" y="367032"/>
                    </a:lnTo>
                    <a:lnTo>
                      <a:pt x="2370286" y="357985"/>
                    </a:lnTo>
                    <a:lnTo>
                      <a:pt x="2354427" y="338009"/>
                    </a:lnTo>
                    <a:lnTo>
                      <a:pt x="2351711" y="297205"/>
                    </a:lnTo>
                    <a:lnTo>
                      <a:pt x="2350350" y="256397"/>
                    </a:lnTo>
                    <a:lnTo>
                      <a:pt x="2335520" y="227056"/>
                    </a:lnTo>
                    <a:lnTo>
                      <a:pt x="2317713" y="215593"/>
                    </a:lnTo>
                    <a:lnTo>
                      <a:pt x="2299900" y="204126"/>
                    </a:lnTo>
                    <a:lnTo>
                      <a:pt x="2278797" y="196291"/>
                    </a:lnTo>
                    <a:lnTo>
                      <a:pt x="2250077" y="200386"/>
                    </a:lnTo>
                    <a:lnTo>
                      <a:pt x="2225213" y="219669"/>
                    </a:lnTo>
                    <a:lnTo>
                      <a:pt x="2205217" y="245270"/>
                    </a:lnTo>
                    <a:lnTo>
                      <a:pt x="2183591" y="290894"/>
                    </a:lnTo>
                    <a:lnTo>
                      <a:pt x="2176239" y="326092"/>
                    </a:lnTo>
                    <a:lnTo>
                      <a:pt x="2169446" y="352972"/>
                    </a:lnTo>
                    <a:lnTo>
                      <a:pt x="2144821" y="361546"/>
                    </a:lnTo>
                    <a:lnTo>
                      <a:pt x="2117902" y="357997"/>
                    </a:lnTo>
                    <a:lnTo>
                      <a:pt x="2094635" y="348890"/>
                    </a:lnTo>
                    <a:lnTo>
                      <a:pt x="2080726" y="321382"/>
                    </a:lnTo>
                    <a:lnTo>
                      <a:pt x="2078620" y="289344"/>
                    </a:lnTo>
                    <a:lnTo>
                      <a:pt x="2074236" y="257761"/>
                    </a:lnTo>
                    <a:lnTo>
                      <a:pt x="2047032" y="235998"/>
                    </a:lnTo>
                    <a:lnTo>
                      <a:pt x="2023356" y="238531"/>
                    </a:lnTo>
                    <a:lnTo>
                      <a:pt x="1999977" y="247064"/>
                    </a:lnTo>
                    <a:lnTo>
                      <a:pt x="1976301" y="253679"/>
                    </a:lnTo>
                    <a:lnTo>
                      <a:pt x="1950179" y="256383"/>
                    </a:lnTo>
                    <a:lnTo>
                      <a:pt x="1927334" y="257755"/>
                    </a:lnTo>
                    <a:lnTo>
                      <a:pt x="1904482" y="259127"/>
                    </a:lnTo>
                    <a:lnTo>
                      <a:pt x="1881243" y="259332"/>
                    </a:lnTo>
                    <a:lnTo>
                      <a:pt x="1853267" y="258282"/>
                    </a:lnTo>
                    <a:lnTo>
                      <a:pt x="1826676" y="242792"/>
                    </a:lnTo>
                    <a:lnTo>
                      <a:pt x="1804616" y="224748"/>
                    </a:lnTo>
                    <a:lnTo>
                      <a:pt x="1746179" y="216801"/>
                    </a:lnTo>
                    <a:lnTo>
                      <a:pt x="1716503" y="229186"/>
                    </a:lnTo>
                    <a:lnTo>
                      <a:pt x="1698703" y="245897"/>
                    </a:lnTo>
                    <a:lnTo>
                      <a:pt x="1659924" y="247751"/>
                    </a:lnTo>
                    <a:lnTo>
                      <a:pt x="1629370" y="245132"/>
                    </a:lnTo>
                    <a:lnTo>
                      <a:pt x="1600885" y="248232"/>
                    </a:lnTo>
                    <a:lnTo>
                      <a:pt x="1572397" y="251324"/>
                    </a:lnTo>
                    <a:lnTo>
                      <a:pt x="1545853" y="259259"/>
                    </a:lnTo>
                    <a:lnTo>
                      <a:pt x="1534232" y="278152"/>
                    </a:lnTo>
                    <a:lnTo>
                      <a:pt x="1534034" y="304506"/>
                    </a:lnTo>
                    <a:lnTo>
                      <a:pt x="1507582" y="321850"/>
                    </a:lnTo>
                    <a:lnTo>
                      <a:pt x="1497512" y="343443"/>
                    </a:lnTo>
                    <a:lnTo>
                      <a:pt x="1486861" y="366268"/>
                    </a:lnTo>
                    <a:lnTo>
                      <a:pt x="1489776" y="392449"/>
                    </a:lnTo>
                    <a:lnTo>
                      <a:pt x="1474381" y="415531"/>
                    </a:lnTo>
                    <a:lnTo>
                      <a:pt x="1440690" y="432507"/>
                    </a:lnTo>
                    <a:lnTo>
                      <a:pt x="1409092" y="429137"/>
                    </a:lnTo>
                    <a:lnTo>
                      <a:pt x="1377504" y="425760"/>
                    </a:lnTo>
                    <a:lnTo>
                      <a:pt x="1338799" y="415987"/>
                    </a:lnTo>
                    <a:lnTo>
                      <a:pt x="1298919" y="403292"/>
                    </a:lnTo>
                    <a:lnTo>
                      <a:pt x="1219166" y="377907"/>
                    </a:lnTo>
                    <a:lnTo>
                      <a:pt x="1135729" y="342869"/>
                    </a:lnTo>
                    <a:lnTo>
                      <a:pt x="1105774" y="329837"/>
                    </a:lnTo>
                    <a:lnTo>
                      <a:pt x="1057936" y="337659"/>
                    </a:lnTo>
                    <a:lnTo>
                      <a:pt x="1034911" y="345506"/>
                    </a:lnTo>
                    <a:lnTo>
                      <a:pt x="978784" y="331195"/>
                    </a:lnTo>
                    <a:lnTo>
                      <a:pt x="955297" y="338595"/>
                    </a:lnTo>
                    <a:lnTo>
                      <a:pt x="920787" y="336643"/>
                    </a:lnTo>
                    <a:lnTo>
                      <a:pt x="870883" y="333755"/>
                    </a:lnTo>
                    <a:lnTo>
                      <a:pt x="821085" y="322061"/>
                    </a:lnTo>
                    <a:lnTo>
                      <a:pt x="771162" y="318962"/>
                    </a:lnTo>
                    <a:lnTo>
                      <a:pt x="736309" y="316793"/>
                    </a:lnTo>
                    <a:lnTo>
                      <a:pt x="715845" y="343402"/>
                    </a:lnTo>
                    <a:lnTo>
                      <a:pt x="680027" y="339361"/>
                    </a:lnTo>
                    <a:lnTo>
                      <a:pt x="645173" y="306247"/>
                    </a:lnTo>
                    <a:lnTo>
                      <a:pt x="628343" y="293117"/>
                    </a:lnTo>
                    <a:lnTo>
                      <a:pt x="593858" y="288237"/>
                    </a:lnTo>
                    <a:lnTo>
                      <a:pt x="559451" y="297997"/>
                    </a:lnTo>
                    <a:lnTo>
                      <a:pt x="526325" y="318962"/>
                    </a:lnTo>
                    <a:lnTo>
                      <a:pt x="495483" y="341919"/>
                    </a:lnTo>
                    <a:lnTo>
                      <a:pt x="469736" y="373475"/>
                    </a:lnTo>
                    <a:lnTo>
                      <a:pt x="455597" y="400568"/>
                    </a:lnTo>
                    <a:lnTo>
                      <a:pt x="434981" y="440077"/>
                    </a:lnTo>
                    <a:lnTo>
                      <a:pt x="427211" y="465693"/>
                    </a:lnTo>
                    <a:lnTo>
                      <a:pt x="410710" y="479462"/>
                    </a:lnTo>
                    <a:lnTo>
                      <a:pt x="392001" y="490350"/>
                    </a:lnTo>
                    <a:lnTo>
                      <a:pt x="361407" y="493054"/>
                    </a:lnTo>
                    <a:lnTo>
                      <a:pt x="314136" y="488986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84" name="Odessa¬0" descr="Odessa¬0">
                <a:extLst>
                  <a:ext uri="{FF2B5EF4-FFF2-40B4-BE49-F238E27FC236}">
                    <a16:creationId xmlns:a16="http://schemas.microsoft.com/office/drawing/2014/main" id="{030B269E-E988-43AE-840C-37EA71354161}"/>
                  </a:ext>
                </a:extLst>
              </p:cNvPr>
              <p:cNvSpPr/>
              <p:nvPr/>
            </p:nvSpPr>
            <p:spPr>
              <a:xfrm>
                <a:off x="21247523" y="21840630"/>
                <a:ext cx="10856095" cy="15845751"/>
              </a:xfrm>
              <a:custGeom>
                <a:avLst/>
                <a:gdLst/>
                <a:ahLst/>
                <a:cxnLst/>
                <a:rect l="0" t="0" r="0" b="0"/>
                <a:pathLst>
                  <a:path w="10856097" h="15845753">
                    <a:moveTo>
                      <a:pt x="6029786" y="0"/>
                    </a:moveTo>
                    <a:lnTo>
                      <a:pt x="6007068" y="5519"/>
                    </a:lnTo>
                    <a:lnTo>
                      <a:pt x="5979736" y="29189"/>
                    </a:lnTo>
                    <a:lnTo>
                      <a:pt x="5967616" y="49045"/>
                    </a:lnTo>
                    <a:lnTo>
                      <a:pt x="5955502" y="68903"/>
                    </a:lnTo>
                    <a:lnTo>
                      <a:pt x="5943946" y="92618"/>
                    </a:lnTo>
                    <a:lnTo>
                      <a:pt x="5932253" y="117052"/>
                    </a:lnTo>
                    <a:lnTo>
                      <a:pt x="5920567" y="141494"/>
                    </a:lnTo>
                    <a:lnTo>
                      <a:pt x="5907846" y="166850"/>
                    </a:lnTo>
                    <a:lnTo>
                      <a:pt x="5894169" y="189148"/>
                    </a:lnTo>
                    <a:lnTo>
                      <a:pt x="5880489" y="211438"/>
                    </a:lnTo>
                    <a:lnTo>
                      <a:pt x="5866009" y="231494"/>
                    </a:lnTo>
                    <a:lnTo>
                      <a:pt x="5847924" y="244914"/>
                    </a:lnTo>
                    <a:lnTo>
                      <a:pt x="5812794" y="230597"/>
                    </a:lnTo>
                    <a:lnTo>
                      <a:pt x="5796234" y="213629"/>
                    </a:lnTo>
                    <a:lnTo>
                      <a:pt x="5779674" y="196659"/>
                    </a:lnTo>
                    <a:lnTo>
                      <a:pt x="5762620" y="175529"/>
                    </a:lnTo>
                    <a:lnTo>
                      <a:pt x="5745908" y="153780"/>
                    </a:lnTo>
                    <a:lnTo>
                      <a:pt x="5729196" y="132029"/>
                    </a:lnTo>
                    <a:lnTo>
                      <a:pt x="5712782" y="109745"/>
                    </a:lnTo>
                    <a:lnTo>
                      <a:pt x="5694218" y="93931"/>
                    </a:lnTo>
                    <a:lnTo>
                      <a:pt x="5675652" y="78122"/>
                    </a:lnTo>
                    <a:lnTo>
                      <a:pt x="5655123" y="68580"/>
                    </a:lnTo>
                    <a:lnTo>
                      <a:pt x="5633010" y="69450"/>
                    </a:lnTo>
                    <a:lnTo>
                      <a:pt x="5609889" y="74885"/>
                    </a:lnTo>
                    <a:lnTo>
                      <a:pt x="5585400" y="88491"/>
                    </a:lnTo>
                    <a:lnTo>
                      <a:pt x="5562279" y="103454"/>
                    </a:lnTo>
                    <a:lnTo>
                      <a:pt x="5541874" y="115694"/>
                    </a:lnTo>
                    <a:lnTo>
                      <a:pt x="5518021" y="119176"/>
                    </a:lnTo>
                    <a:lnTo>
                      <a:pt x="5493145" y="110953"/>
                    </a:lnTo>
                    <a:lnTo>
                      <a:pt x="5469786" y="114329"/>
                    </a:lnTo>
                    <a:lnTo>
                      <a:pt x="5460071" y="136686"/>
                    </a:lnTo>
                    <a:lnTo>
                      <a:pt x="5425556" y="147382"/>
                    </a:lnTo>
                    <a:lnTo>
                      <a:pt x="5409938" y="170095"/>
                    </a:lnTo>
                    <a:lnTo>
                      <a:pt x="5380048" y="171421"/>
                    </a:lnTo>
                    <a:lnTo>
                      <a:pt x="5344615" y="187816"/>
                    </a:lnTo>
                    <a:lnTo>
                      <a:pt x="5324988" y="200597"/>
                    </a:lnTo>
                    <a:lnTo>
                      <a:pt x="5306561" y="212263"/>
                    </a:lnTo>
                    <a:lnTo>
                      <a:pt x="5269717" y="235596"/>
                    </a:lnTo>
                    <a:lnTo>
                      <a:pt x="5235831" y="258170"/>
                    </a:lnTo>
                    <a:lnTo>
                      <a:pt x="5198596" y="239593"/>
                    </a:lnTo>
                    <a:lnTo>
                      <a:pt x="5195154" y="209717"/>
                    </a:lnTo>
                    <a:lnTo>
                      <a:pt x="5174625" y="200023"/>
                    </a:lnTo>
                    <a:lnTo>
                      <a:pt x="5154010" y="193818"/>
                    </a:lnTo>
                    <a:lnTo>
                      <a:pt x="5124300" y="216345"/>
                    </a:lnTo>
                    <a:lnTo>
                      <a:pt x="5092717" y="239995"/>
                    </a:lnTo>
                    <a:lnTo>
                      <a:pt x="5082448" y="259370"/>
                    </a:lnTo>
                    <a:lnTo>
                      <a:pt x="5084848" y="280276"/>
                    </a:lnTo>
                    <a:lnTo>
                      <a:pt x="5087248" y="301175"/>
                    </a:lnTo>
                    <a:lnTo>
                      <a:pt x="5101935" y="323909"/>
                    </a:lnTo>
                    <a:lnTo>
                      <a:pt x="5122935" y="352365"/>
                    </a:lnTo>
                    <a:lnTo>
                      <a:pt x="5173267" y="420371"/>
                    </a:lnTo>
                    <a:lnTo>
                      <a:pt x="5198097" y="454039"/>
                    </a:lnTo>
                    <a:lnTo>
                      <a:pt x="5211848" y="479845"/>
                    </a:lnTo>
                    <a:lnTo>
                      <a:pt x="5212710" y="504707"/>
                    </a:lnTo>
                    <a:lnTo>
                      <a:pt x="5213575" y="529571"/>
                    </a:lnTo>
                    <a:lnTo>
                      <a:pt x="5201724" y="554248"/>
                    </a:lnTo>
                    <a:lnTo>
                      <a:pt x="5177341" y="589037"/>
                    </a:lnTo>
                    <a:lnTo>
                      <a:pt x="5161144" y="603954"/>
                    </a:lnTo>
                    <a:lnTo>
                      <a:pt x="5155479" y="633757"/>
                    </a:lnTo>
                    <a:lnTo>
                      <a:pt x="5163869" y="683061"/>
                    </a:lnTo>
                    <a:lnTo>
                      <a:pt x="5156943" y="714175"/>
                    </a:lnTo>
                    <a:lnTo>
                      <a:pt x="5109525" y="720427"/>
                    </a:lnTo>
                    <a:lnTo>
                      <a:pt x="5086721" y="682982"/>
                    </a:lnTo>
                    <a:lnTo>
                      <a:pt x="5054927" y="684254"/>
                    </a:lnTo>
                    <a:lnTo>
                      <a:pt x="4974780" y="712817"/>
                    </a:lnTo>
                    <a:lnTo>
                      <a:pt x="4931149" y="716899"/>
                    </a:lnTo>
                    <a:lnTo>
                      <a:pt x="4848493" y="724674"/>
                    </a:lnTo>
                    <a:lnTo>
                      <a:pt x="4762635" y="719702"/>
                    </a:lnTo>
                    <a:lnTo>
                      <a:pt x="4679511" y="718257"/>
                    </a:lnTo>
                    <a:lnTo>
                      <a:pt x="4655758" y="717862"/>
                    </a:lnTo>
                    <a:lnTo>
                      <a:pt x="4621571" y="717288"/>
                    </a:lnTo>
                    <a:lnTo>
                      <a:pt x="4588379" y="714181"/>
                    </a:lnTo>
                    <a:lnTo>
                      <a:pt x="4555184" y="711068"/>
                    </a:lnTo>
                    <a:lnTo>
                      <a:pt x="4522916" y="705681"/>
                    </a:lnTo>
                    <a:lnTo>
                      <a:pt x="4501324" y="695136"/>
                    </a:lnTo>
                    <a:lnTo>
                      <a:pt x="4475223" y="682427"/>
                    </a:lnTo>
                    <a:lnTo>
                      <a:pt x="4448684" y="662960"/>
                    </a:lnTo>
                    <a:lnTo>
                      <a:pt x="4423795" y="647533"/>
                    </a:lnTo>
                    <a:lnTo>
                      <a:pt x="4393530" y="628830"/>
                    </a:lnTo>
                    <a:lnTo>
                      <a:pt x="4363650" y="612462"/>
                    </a:lnTo>
                    <a:lnTo>
                      <a:pt x="4342183" y="583602"/>
                    </a:lnTo>
                    <a:lnTo>
                      <a:pt x="4328071" y="565328"/>
                    </a:lnTo>
                    <a:lnTo>
                      <a:pt x="4295933" y="561839"/>
                    </a:lnTo>
                    <a:lnTo>
                      <a:pt x="4278319" y="590000"/>
                    </a:lnTo>
                    <a:lnTo>
                      <a:pt x="4254742" y="610595"/>
                    </a:lnTo>
                    <a:lnTo>
                      <a:pt x="4227926" y="627129"/>
                    </a:lnTo>
                    <a:lnTo>
                      <a:pt x="4201111" y="643655"/>
                    </a:lnTo>
                    <a:lnTo>
                      <a:pt x="4171718" y="655816"/>
                    </a:lnTo>
                    <a:lnTo>
                      <a:pt x="4140874" y="665214"/>
                    </a:lnTo>
                    <a:lnTo>
                      <a:pt x="4099682" y="668485"/>
                    </a:lnTo>
                    <a:lnTo>
                      <a:pt x="4068666" y="679710"/>
                    </a:lnTo>
                    <a:lnTo>
                      <a:pt x="4052463" y="699218"/>
                    </a:lnTo>
                    <a:lnTo>
                      <a:pt x="4030917" y="718705"/>
                    </a:lnTo>
                    <a:lnTo>
                      <a:pt x="3989831" y="725908"/>
                    </a:lnTo>
                    <a:lnTo>
                      <a:pt x="3890570" y="732073"/>
                    </a:lnTo>
                    <a:lnTo>
                      <a:pt x="3826370" y="727108"/>
                    </a:lnTo>
                    <a:lnTo>
                      <a:pt x="3779737" y="716384"/>
                    </a:lnTo>
                    <a:lnTo>
                      <a:pt x="3735532" y="720981"/>
                    </a:lnTo>
                    <a:lnTo>
                      <a:pt x="3711908" y="723441"/>
                    </a:lnTo>
                    <a:lnTo>
                      <a:pt x="3689769" y="727596"/>
                    </a:lnTo>
                    <a:lnTo>
                      <a:pt x="3667525" y="731862"/>
                    </a:lnTo>
                    <a:lnTo>
                      <a:pt x="3645280" y="736136"/>
                    </a:lnTo>
                    <a:lnTo>
                      <a:pt x="3622805" y="739302"/>
                    </a:lnTo>
                    <a:lnTo>
                      <a:pt x="3598153" y="737304"/>
                    </a:lnTo>
                    <a:lnTo>
                      <a:pt x="3568792" y="709037"/>
                    </a:lnTo>
                    <a:lnTo>
                      <a:pt x="3528952" y="691145"/>
                    </a:lnTo>
                    <a:lnTo>
                      <a:pt x="3487978" y="676095"/>
                    </a:lnTo>
                    <a:lnTo>
                      <a:pt x="3447004" y="661040"/>
                    </a:lnTo>
                    <a:lnTo>
                      <a:pt x="3404718" y="649123"/>
                    </a:lnTo>
                    <a:lnTo>
                      <a:pt x="3368281" y="633929"/>
                    </a:lnTo>
                    <a:lnTo>
                      <a:pt x="3336269" y="620579"/>
                    </a:lnTo>
                    <a:lnTo>
                      <a:pt x="3317948" y="598567"/>
                    </a:lnTo>
                    <a:lnTo>
                      <a:pt x="3308590" y="576672"/>
                    </a:lnTo>
                    <a:lnTo>
                      <a:pt x="3267622" y="546875"/>
                    </a:lnTo>
                    <a:lnTo>
                      <a:pt x="3243143" y="530554"/>
                    </a:lnTo>
                    <a:lnTo>
                      <a:pt x="3217118" y="514020"/>
                    </a:lnTo>
                    <a:lnTo>
                      <a:pt x="3192889" y="494373"/>
                    </a:lnTo>
                    <a:lnTo>
                      <a:pt x="3171047" y="472063"/>
                    </a:lnTo>
                    <a:lnTo>
                      <a:pt x="3149211" y="449759"/>
                    </a:lnTo>
                    <a:lnTo>
                      <a:pt x="3129618" y="424309"/>
                    </a:lnTo>
                    <a:lnTo>
                      <a:pt x="3112564" y="398616"/>
                    </a:lnTo>
                    <a:lnTo>
                      <a:pt x="3058162" y="408699"/>
                    </a:lnTo>
                    <a:lnTo>
                      <a:pt x="3014628" y="425819"/>
                    </a:lnTo>
                    <a:lnTo>
                      <a:pt x="2971090" y="442939"/>
                    </a:lnTo>
                    <a:lnTo>
                      <a:pt x="2926297" y="463502"/>
                    </a:lnTo>
                    <a:lnTo>
                      <a:pt x="2900807" y="482905"/>
                    </a:lnTo>
                    <a:lnTo>
                      <a:pt x="2901731" y="523754"/>
                    </a:lnTo>
                    <a:lnTo>
                      <a:pt x="2903722" y="545933"/>
                    </a:lnTo>
                    <a:lnTo>
                      <a:pt x="2909948" y="571198"/>
                    </a:lnTo>
                    <a:lnTo>
                      <a:pt x="2916695" y="597201"/>
                    </a:lnTo>
                    <a:lnTo>
                      <a:pt x="2923442" y="623212"/>
                    </a:lnTo>
                    <a:lnTo>
                      <a:pt x="2930564" y="649697"/>
                    </a:lnTo>
                    <a:lnTo>
                      <a:pt x="2934376" y="673373"/>
                    </a:lnTo>
                    <a:lnTo>
                      <a:pt x="2938188" y="697055"/>
                    </a:lnTo>
                    <a:lnTo>
                      <a:pt x="2938464" y="718026"/>
                    </a:lnTo>
                    <a:lnTo>
                      <a:pt x="2892583" y="773858"/>
                    </a:lnTo>
                    <a:lnTo>
                      <a:pt x="2859253" y="787530"/>
                    </a:lnTo>
                    <a:lnTo>
                      <a:pt x="2825567" y="808033"/>
                    </a:lnTo>
                    <a:lnTo>
                      <a:pt x="2791992" y="830562"/>
                    </a:lnTo>
                    <a:lnTo>
                      <a:pt x="2773876" y="848843"/>
                    </a:lnTo>
                    <a:lnTo>
                      <a:pt x="2755759" y="867118"/>
                    </a:lnTo>
                    <a:lnTo>
                      <a:pt x="2736521" y="891353"/>
                    </a:lnTo>
                    <a:lnTo>
                      <a:pt x="2715385" y="926373"/>
                    </a:lnTo>
                    <a:lnTo>
                      <a:pt x="2697177" y="954368"/>
                    </a:lnTo>
                    <a:lnTo>
                      <a:pt x="2685464" y="973981"/>
                    </a:lnTo>
                    <a:lnTo>
                      <a:pt x="2673752" y="993587"/>
                    </a:lnTo>
                    <a:lnTo>
                      <a:pt x="2663668" y="1013873"/>
                    </a:lnTo>
                    <a:lnTo>
                      <a:pt x="2642848" y="1037140"/>
                    </a:lnTo>
                    <a:lnTo>
                      <a:pt x="2565397" y="1064774"/>
                    </a:lnTo>
                    <a:lnTo>
                      <a:pt x="2490955" y="1088231"/>
                    </a:lnTo>
                    <a:lnTo>
                      <a:pt x="2453732" y="1099964"/>
                    </a:lnTo>
                    <a:lnTo>
                      <a:pt x="2417969" y="1110574"/>
                    </a:lnTo>
                    <a:lnTo>
                      <a:pt x="2388938" y="1118158"/>
                    </a:lnTo>
                    <a:lnTo>
                      <a:pt x="2356385" y="1126040"/>
                    </a:lnTo>
                    <a:lnTo>
                      <a:pt x="2343947" y="1149538"/>
                    </a:lnTo>
                    <a:lnTo>
                      <a:pt x="2367175" y="1180725"/>
                    </a:lnTo>
                    <a:lnTo>
                      <a:pt x="2390065" y="1211035"/>
                    </a:lnTo>
                    <a:lnTo>
                      <a:pt x="2407134" y="1245084"/>
                    </a:lnTo>
                    <a:lnTo>
                      <a:pt x="2433830" y="1273225"/>
                    </a:lnTo>
                    <a:lnTo>
                      <a:pt x="2472824" y="1314371"/>
                    </a:lnTo>
                    <a:lnTo>
                      <a:pt x="2521944" y="1349053"/>
                    </a:lnTo>
                    <a:lnTo>
                      <a:pt x="2560326" y="1390199"/>
                    </a:lnTo>
                    <a:lnTo>
                      <a:pt x="2605765" y="1438909"/>
                    </a:lnTo>
                    <a:lnTo>
                      <a:pt x="2652161" y="1507350"/>
                    </a:lnTo>
                    <a:lnTo>
                      <a:pt x="2722192" y="1524860"/>
                    </a:lnTo>
                    <a:lnTo>
                      <a:pt x="2753919" y="1532807"/>
                    </a:lnTo>
                    <a:lnTo>
                      <a:pt x="2789176" y="1533533"/>
                    </a:lnTo>
                    <a:lnTo>
                      <a:pt x="2821484" y="1535742"/>
                    </a:lnTo>
                    <a:lnTo>
                      <a:pt x="2867985" y="1538973"/>
                    </a:lnTo>
                    <a:lnTo>
                      <a:pt x="2916762" y="1525118"/>
                    </a:lnTo>
                    <a:lnTo>
                      <a:pt x="2946622" y="1486774"/>
                    </a:lnTo>
                    <a:lnTo>
                      <a:pt x="2984412" y="1438190"/>
                    </a:lnTo>
                    <a:lnTo>
                      <a:pt x="2982644" y="1384672"/>
                    </a:lnTo>
                    <a:lnTo>
                      <a:pt x="2996949" y="1328992"/>
                    </a:lnTo>
                    <a:lnTo>
                      <a:pt x="3005001" y="1297659"/>
                    </a:lnTo>
                    <a:lnTo>
                      <a:pt x="3039115" y="1270501"/>
                    </a:lnTo>
                    <a:lnTo>
                      <a:pt x="3065087" y="1261447"/>
                    </a:lnTo>
                    <a:lnTo>
                      <a:pt x="3124829" y="1247208"/>
                    </a:lnTo>
                    <a:lnTo>
                      <a:pt x="3186460" y="1241002"/>
                    </a:lnTo>
                    <a:lnTo>
                      <a:pt x="3233626" y="1247380"/>
                    </a:lnTo>
                    <a:lnTo>
                      <a:pt x="3267906" y="1263022"/>
                    </a:lnTo>
                    <a:lnTo>
                      <a:pt x="3291074" y="1287845"/>
                    </a:lnTo>
                    <a:lnTo>
                      <a:pt x="3384096" y="1439759"/>
                    </a:lnTo>
                    <a:lnTo>
                      <a:pt x="3397866" y="1514743"/>
                    </a:lnTo>
                    <a:lnTo>
                      <a:pt x="3403650" y="1679880"/>
                    </a:lnTo>
                    <a:lnTo>
                      <a:pt x="3434928" y="1731611"/>
                    </a:lnTo>
                    <a:lnTo>
                      <a:pt x="3486660" y="1817219"/>
                    </a:lnTo>
                    <a:lnTo>
                      <a:pt x="3605064" y="1788189"/>
                    </a:lnTo>
                    <a:lnTo>
                      <a:pt x="3651202" y="1822745"/>
                    </a:lnTo>
                    <a:lnTo>
                      <a:pt x="3656650" y="1858107"/>
                    </a:lnTo>
                    <a:lnTo>
                      <a:pt x="3631338" y="1880042"/>
                    </a:lnTo>
                    <a:lnTo>
                      <a:pt x="3591803" y="1960545"/>
                    </a:lnTo>
                    <a:lnTo>
                      <a:pt x="3568238" y="1992768"/>
                    </a:lnTo>
                    <a:lnTo>
                      <a:pt x="3548236" y="2020097"/>
                    </a:lnTo>
                    <a:lnTo>
                      <a:pt x="3517609" y="2041393"/>
                    </a:lnTo>
                    <a:lnTo>
                      <a:pt x="3497501" y="2067581"/>
                    </a:lnTo>
                    <a:lnTo>
                      <a:pt x="3459778" y="2116674"/>
                    </a:lnTo>
                    <a:lnTo>
                      <a:pt x="3416252" y="2206020"/>
                    </a:lnTo>
                    <a:lnTo>
                      <a:pt x="3440376" y="2267525"/>
                    </a:lnTo>
                    <a:lnTo>
                      <a:pt x="3463564" y="2299833"/>
                    </a:lnTo>
                    <a:lnTo>
                      <a:pt x="3579944" y="2301917"/>
                    </a:lnTo>
                    <a:lnTo>
                      <a:pt x="3628087" y="2335538"/>
                    </a:lnTo>
                    <a:lnTo>
                      <a:pt x="3676817" y="2348801"/>
                    </a:lnTo>
                    <a:lnTo>
                      <a:pt x="3666680" y="2462036"/>
                    </a:lnTo>
                    <a:lnTo>
                      <a:pt x="3618564" y="2491963"/>
                    </a:lnTo>
                    <a:lnTo>
                      <a:pt x="3592210" y="2521283"/>
                    </a:lnTo>
                    <a:lnTo>
                      <a:pt x="3562758" y="2539519"/>
                    </a:lnTo>
                    <a:lnTo>
                      <a:pt x="3538317" y="2562687"/>
                    </a:lnTo>
                    <a:lnTo>
                      <a:pt x="3464117" y="2632949"/>
                    </a:lnTo>
                    <a:lnTo>
                      <a:pt x="3485564" y="2736746"/>
                    </a:lnTo>
                    <a:lnTo>
                      <a:pt x="3496149" y="2825203"/>
                    </a:lnTo>
                    <a:lnTo>
                      <a:pt x="3504459" y="2850962"/>
                    </a:lnTo>
                    <a:lnTo>
                      <a:pt x="3511668" y="2924457"/>
                    </a:lnTo>
                    <a:lnTo>
                      <a:pt x="3474346" y="3160575"/>
                    </a:lnTo>
                    <a:lnTo>
                      <a:pt x="3451264" y="3218306"/>
                    </a:lnTo>
                    <a:lnTo>
                      <a:pt x="3430161" y="3271092"/>
                    </a:lnTo>
                    <a:lnTo>
                      <a:pt x="3371413" y="3308372"/>
                    </a:lnTo>
                    <a:lnTo>
                      <a:pt x="3343807" y="3359759"/>
                    </a:lnTo>
                    <a:lnTo>
                      <a:pt x="3322934" y="3362773"/>
                    </a:lnTo>
                    <a:lnTo>
                      <a:pt x="3298349" y="3405119"/>
                    </a:lnTo>
                    <a:lnTo>
                      <a:pt x="3270188" y="3452082"/>
                    </a:lnTo>
                    <a:lnTo>
                      <a:pt x="3223048" y="3523881"/>
                    </a:lnTo>
                    <a:lnTo>
                      <a:pt x="3217311" y="3554270"/>
                    </a:lnTo>
                    <a:lnTo>
                      <a:pt x="3210254" y="3591630"/>
                    </a:lnTo>
                    <a:lnTo>
                      <a:pt x="3259155" y="3767734"/>
                    </a:lnTo>
                    <a:lnTo>
                      <a:pt x="3278518" y="3804546"/>
                    </a:lnTo>
                    <a:lnTo>
                      <a:pt x="3305952" y="3850619"/>
                    </a:lnTo>
                    <a:lnTo>
                      <a:pt x="3358573" y="3919013"/>
                    </a:lnTo>
                    <a:lnTo>
                      <a:pt x="3371011" y="3963687"/>
                    </a:lnTo>
                    <a:lnTo>
                      <a:pt x="3385995" y="4017457"/>
                    </a:lnTo>
                    <a:lnTo>
                      <a:pt x="3388119" y="4106125"/>
                    </a:lnTo>
                    <a:lnTo>
                      <a:pt x="3429495" y="4144594"/>
                    </a:lnTo>
                    <a:lnTo>
                      <a:pt x="3458742" y="4161938"/>
                    </a:lnTo>
                    <a:lnTo>
                      <a:pt x="3481865" y="4146801"/>
                    </a:lnTo>
                    <a:lnTo>
                      <a:pt x="3504307" y="4136430"/>
                    </a:lnTo>
                    <a:lnTo>
                      <a:pt x="3522734" y="4111864"/>
                    </a:lnTo>
                    <a:lnTo>
                      <a:pt x="3527284" y="4077562"/>
                    </a:lnTo>
                    <a:lnTo>
                      <a:pt x="3547833" y="4053458"/>
                    </a:lnTo>
                    <a:lnTo>
                      <a:pt x="3583307" y="4026381"/>
                    </a:lnTo>
                    <a:lnTo>
                      <a:pt x="3661662" y="4020688"/>
                    </a:lnTo>
                    <a:lnTo>
                      <a:pt x="3665876" y="4128483"/>
                    </a:lnTo>
                    <a:lnTo>
                      <a:pt x="3677055" y="4166357"/>
                    </a:lnTo>
                    <a:lnTo>
                      <a:pt x="3712673" y="4203421"/>
                    </a:lnTo>
                    <a:lnTo>
                      <a:pt x="3761832" y="4196411"/>
                    </a:lnTo>
                    <a:lnTo>
                      <a:pt x="3806275" y="4216682"/>
                    </a:lnTo>
                    <a:lnTo>
                      <a:pt x="3844124" y="4267476"/>
                    </a:lnTo>
                    <a:lnTo>
                      <a:pt x="3840766" y="4290519"/>
                    </a:lnTo>
                    <a:lnTo>
                      <a:pt x="3862042" y="4344538"/>
                    </a:lnTo>
                    <a:lnTo>
                      <a:pt x="3874281" y="4373107"/>
                    </a:lnTo>
                    <a:lnTo>
                      <a:pt x="3882313" y="4394355"/>
                    </a:lnTo>
                    <a:lnTo>
                      <a:pt x="3872072" y="4428536"/>
                    </a:lnTo>
                    <a:lnTo>
                      <a:pt x="3887881" y="4446560"/>
                    </a:lnTo>
                    <a:lnTo>
                      <a:pt x="3924587" y="4457520"/>
                    </a:lnTo>
                    <a:lnTo>
                      <a:pt x="3992172" y="4427382"/>
                    </a:lnTo>
                    <a:lnTo>
                      <a:pt x="4014383" y="4447918"/>
                    </a:lnTo>
                    <a:lnTo>
                      <a:pt x="4035250" y="4476989"/>
                    </a:lnTo>
                    <a:lnTo>
                      <a:pt x="4149916" y="4625039"/>
                    </a:lnTo>
                    <a:lnTo>
                      <a:pt x="4063093" y="4621002"/>
                    </a:lnTo>
                    <a:lnTo>
                      <a:pt x="4082390" y="4726756"/>
                    </a:lnTo>
                    <a:lnTo>
                      <a:pt x="4089578" y="4766078"/>
                    </a:lnTo>
                    <a:lnTo>
                      <a:pt x="4181004" y="4900178"/>
                    </a:lnTo>
                    <a:lnTo>
                      <a:pt x="4215693" y="4921262"/>
                    </a:lnTo>
                    <a:lnTo>
                      <a:pt x="4248634" y="4941243"/>
                    </a:lnTo>
                    <a:lnTo>
                      <a:pt x="4273609" y="4926747"/>
                    </a:lnTo>
                    <a:lnTo>
                      <a:pt x="4306829" y="4923979"/>
                    </a:lnTo>
                    <a:lnTo>
                      <a:pt x="4342850" y="4921005"/>
                    </a:lnTo>
                    <a:lnTo>
                      <a:pt x="4409134" y="4918590"/>
                    </a:lnTo>
                    <a:lnTo>
                      <a:pt x="4434683" y="4889974"/>
                    </a:lnTo>
                    <a:lnTo>
                      <a:pt x="4492810" y="4824812"/>
                    </a:lnTo>
                    <a:lnTo>
                      <a:pt x="4448262" y="4650113"/>
                    </a:lnTo>
                    <a:lnTo>
                      <a:pt x="4509497" y="4622019"/>
                    </a:lnTo>
                    <a:lnTo>
                      <a:pt x="4558226" y="4609309"/>
                    </a:lnTo>
                    <a:lnTo>
                      <a:pt x="4693994" y="4615898"/>
                    </a:lnTo>
                    <a:lnTo>
                      <a:pt x="4732569" y="4643782"/>
                    </a:lnTo>
                    <a:lnTo>
                      <a:pt x="4812948" y="4701890"/>
                    </a:lnTo>
                    <a:lnTo>
                      <a:pt x="4925778" y="5078617"/>
                    </a:lnTo>
                    <a:lnTo>
                      <a:pt x="4816898" y="5121213"/>
                    </a:lnTo>
                    <a:lnTo>
                      <a:pt x="4787399" y="5131414"/>
                    </a:lnTo>
                    <a:lnTo>
                      <a:pt x="4752419" y="5137364"/>
                    </a:lnTo>
                    <a:lnTo>
                      <a:pt x="4732569" y="5159297"/>
                    </a:lnTo>
                    <a:lnTo>
                      <a:pt x="4684069" y="5212810"/>
                    </a:lnTo>
                    <a:lnTo>
                      <a:pt x="4721258" y="5266203"/>
                    </a:lnTo>
                    <a:lnTo>
                      <a:pt x="4729852" y="5321157"/>
                    </a:lnTo>
                    <a:lnTo>
                      <a:pt x="4736209" y="5361753"/>
                    </a:lnTo>
                    <a:lnTo>
                      <a:pt x="4734652" y="5402774"/>
                    </a:lnTo>
                    <a:lnTo>
                      <a:pt x="4736652" y="5443578"/>
                    </a:lnTo>
                    <a:lnTo>
                      <a:pt x="4739585" y="5503512"/>
                    </a:lnTo>
                    <a:lnTo>
                      <a:pt x="4752505" y="5567483"/>
                    </a:lnTo>
                    <a:lnTo>
                      <a:pt x="4765215" y="5625843"/>
                    </a:lnTo>
                    <a:lnTo>
                      <a:pt x="4766842" y="5666144"/>
                    </a:lnTo>
                    <a:lnTo>
                      <a:pt x="4762706" y="5691473"/>
                    </a:lnTo>
                    <a:lnTo>
                      <a:pt x="4752149" y="5715533"/>
                    </a:lnTo>
                    <a:lnTo>
                      <a:pt x="4670148" y="5777037"/>
                    </a:lnTo>
                    <a:lnTo>
                      <a:pt x="4586813" y="5767896"/>
                    </a:lnTo>
                    <a:lnTo>
                      <a:pt x="4510861" y="5780906"/>
                    </a:lnTo>
                    <a:lnTo>
                      <a:pt x="4495904" y="5813599"/>
                    </a:lnTo>
                    <a:lnTo>
                      <a:pt x="4510861" y="5847556"/>
                    </a:lnTo>
                    <a:lnTo>
                      <a:pt x="4539675" y="5915695"/>
                    </a:lnTo>
                    <a:lnTo>
                      <a:pt x="4592745" y="5969977"/>
                    </a:lnTo>
                    <a:lnTo>
                      <a:pt x="4618312" y="6040707"/>
                    </a:lnTo>
                    <a:lnTo>
                      <a:pt x="4622290" y="6064765"/>
                    </a:lnTo>
                    <a:lnTo>
                      <a:pt x="4643585" y="6082109"/>
                    </a:lnTo>
                    <a:lnTo>
                      <a:pt x="4664560" y="6080156"/>
                    </a:lnTo>
                    <a:lnTo>
                      <a:pt x="4699349" y="6030339"/>
                    </a:lnTo>
                    <a:lnTo>
                      <a:pt x="4682367" y="5952381"/>
                    </a:lnTo>
                    <a:lnTo>
                      <a:pt x="4752974" y="5918293"/>
                    </a:lnTo>
                    <a:lnTo>
                      <a:pt x="4799244" y="5895975"/>
                    </a:lnTo>
                    <a:lnTo>
                      <a:pt x="4875177" y="5935973"/>
                    </a:lnTo>
                    <a:lnTo>
                      <a:pt x="4899873" y="5976782"/>
                    </a:lnTo>
                    <a:lnTo>
                      <a:pt x="4944633" y="6176984"/>
                    </a:lnTo>
                    <a:lnTo>
                      <a:pt x="4932097" y="6260892"/>
                    </a:lnTo>
                    <a:lnTo>
                      <a:pt x="4877412" y="6245169"/>
                    </a:lnTo>
                    <a:lnTo>
                      <a:pt x="4845467" y="6288267"/>
                    </a:lnTo>
                    <a:lnTo>
                      <a:pt x="4823980" y="6317258"/>
                    </a:lnTo>
                    <a:lnTo>
                      <a:pt x="4821838" y="6397380"/>
                    </a:lnTo>
                    <a:lnTo>
                      <a:pt x="4816904" y="6435167"/>
                    </a:lnTo>
                    <a:lnTo>
                      <a:pt x="4819469" y="6469897"/>
                    </a:lnTo>
                    <a:lnTo>
                      <a:pt x="4814074" y="6527109"/>
                    </a:lnTo>
                    <a:lnTo>
                      <a:pt x="4753739" y="6709628"/>
                    </a:lnTo>
                    <a:lnTo>
                      <a:pt x="4773378" y="6735769"/>
                    </a:lnTo>
                    <a:lnTo>
                      <a:pt x="4807144" y="6757321"/>
                    </a:lnTo>
                    <a:lnTo>
                      <a:pt x="4882702" y="6721490"/>
                    </a:lnTo>
                    <a:lnTo>
                      <a:pt x="4931155" y="6741210"/>
                    </a:lnTo>
                    <a:lnTo>
                      <a:pt x="4961063" y="6753371"/>
                    </a:lnTo>
                    <a:lnTo>
                      <a:pt x="5032088" y="6867965"/>
                    </a:lnTo>
                    <a:lnTo>
                      <a:pt x="5098459" y="6890835"/>
                    </a:lnTo>
                    <a:lnTo>
                      <a:pt x="5151383" y="6909110"/>
                    </a:lnTo>
                    <a:lnTo>
                      <a:pt x="5210040" y="6878120"/>
                    </a:lnTo>
                    <a:lnTo>
                      <a:pt x="5263042" y="6900351"/>
                    </a:lnTo>
                    <a:lnTo>
                      <a:pt x="5348928" y="6936315"/>
                    </a:lnTo>
                    <a:lnTo>
                      <a:pt x="5342193" y="7090786"/>
                    </a:lnTo>
                    <a:lnTo>
                      <a:pt x="5407228" y="7131589"/>
                    </a:lnTo>
                    <a:lnTo>
                      <a:pt x="5426886" y="7143961"/>
                    </a:lnTo>
                    <a:lnTo>
                      <a:pt x="5451774" y="7143831"/>
                    </a:lnTo>
                    <a:lnTo>
                      <a:pt x="5473875" y="7146553"/>
                    </a:lnTo>
                    <a:lnTo>
                      <a:pt x="5499126" y="7149567"/>
                    </a:lnTo>
                    <a:lnTo>
                      <a:pt x="5528942" y="7155734"/>
                    </a:lnTo>
                    <a:lnTo>
                      <a:pt x="5554128" y="7154711"/>
                    </a:lnTo>
                    <a:lnTo>
                      <a:pt x="5693744" y="7149396"/>
                    </a:lnTo>
                    <a:lnTo>
                      <a:pt x="5791850" y="7094693"/>
                    </a:lnTo>
                    <a:lnTo>
                      <a:pt x="5880576" y="7252646"/>
                    </a:lnTo>
                    <a:lnTo>
                      <a:pt x="5913452" y="7311222"/>
                    </a:lnTo>
                    <a:lnTo>
                      <a:pt x="5916326" y="7360484"/>
                    </a:lnTo>
                    <a:lnTo>
                      <a:pt x="5941785" y="7413154"/>
                    </a:lnTo>
                    <a:lnTo>
                      <a:pt x="5977107" y="7421184"/>
                    </a:lnTo>
                    <a:lnTo>
                      <a:pt x="5997043" y="7372812"/>
                    </a:lnTo>
                    <a:lnTo>
                      <a:pt x="6030195" y="7370986"/>
                    </a:lnTo>
                    <a:lnTo>
                      <a:pt x="6051555" y="7372555"/>
                    </a:lnTo>
                    <a:lnTo>
                      <a:pt x="6075107" y="7395552"/>
                    </a:lnTo>
                    <a:lnTo>
                      <a:pt x="6094681" y="7449279"/>
                    </a:lnTo>
                    <a:lnTo>
                      <a:pt x="6072468" y="7489106"/>
                    </a:lnTo>
                    <a:lnTo>
                      <a:pt x="6071005" y="7524685"/>
                    </a:lnTo>
                    <a:lnTo>
                      <a:pt x="6068899" y="7576589"/>
                    </a:lnTo>
                    <a:lnTo>
                      <a:pt x="6117017" y="7637965"/>
                    </a:lnTo>
                    <a:lnTo>
                      <a:pt x="6137652" y="7683826"/>
                    </a:lnTo>
                    <a:lnTo>
                      <a:pt x="6158209" y="7745589"/>
                    </a:lnTo>
                    <a:lnTo>
                      <a:pt x="6161672" y="7782440"/>
                    </a:lnTo>
                    <a:lnTo>
                      <a:pt x="6167303" y="7809948"/>
                    </a:lnTo>
                    <a:lnTo>
                      <a:pt x="6166214" y="7832092"/>
                    </a:lnTo>
                    <a:lnTo>
                      <a:pt x="6163734" y="7882973"/>
                    </a:lnTo>
                    <a:lnTo>
                      <a:pt x="6136064" y="7935937"/>
                    </a:lnTo>
                    <a:lnTo>
                      <a:pt x="6139010" y="7988511"/>
                    </a:lnTo>
                    <a:lnTo>
                      <a:pt x="6141199" y="8027705"/>
                    </a:lnTo>
                    <a:lnTo>
                      <a:pt x="6138886" y="8092824"/>
                    </a:lnTo>
                    <a:lnTo>
                      <a:pt x="6132210" y="8132694"/>
                    </a:lnTo>
                    <a:lnTo>
                      <a:pt x="6134709" y="8161806"/>
                    </a:lnTo>
                    <a:lnTo>
                      <a:pt x="6127745" y="8232880"/>
                    </a:lnTo>
                    <a:lnTo>
                      <a:pt x="6073318" y="8270537"/>
                    </a:lnTo>
                    <a:lnTo>
                      <a:pt x="6080527" y="8344880"/>
                    </a:lnTo>
                    <a:lnTo>
                      <a:pt x="6088408" y="8425945"/>
                    </a:lnTo>
                    <a:lnTo>
                      <a:pt x="6105626" y="8491829"/>
                    </a:lnTo>
                    <a:lnTo>
                      <a:pt x="6137652" y="8566593"/>
                    </a:lnTo>
                    <a:lnTo>
                      <a:pt x="6154910" y="8598133"/>
                    </a:lnTo>
                    <a:lnTo>
                      <a:pt x="6150110" y="8631290"/>
                    </a:lnTo>
                    <a:lnTo>
                      <a:pt x="6152615" y="8668612"/>
                    </a:lnTo>
                    <a:lnTo>
                      <a:pt x="6137891" y="8774280"/>
                    </a:lnTo>
                    <a:lnTo>
                      <a:pt x="6059951" y="8736874"/>
                    </a:lnTo>
                    <a:lnTo>
                      <a:pt x="5985311" y="8748858"/>
                    </a:lnTo>
                    <a:lnTo>
                      <a:pt x="5952051" y="8754259"/>
                    </a:lnTo>
                    <a:lnTo>
                      <a:pt x="5925739" y="8777762"/>
                    </a:lnTo>
                    <a:lnTo>
                      <a:pt x="5896897" y="8792384"/>
                    </a:lnTo>
                    <a:lnTo>
                      <a:pt x="5900110" y="8815552"/>
                    </a:lnTo>
                    <a:lnTo>
                      <a:pt x="5901970" y="8841820"/>
                    </a:lnTo>
                    <a:lnTo>
                      <a:pt x="5896897" y="8869921"/>
                    </a:lnTo>
                    <a:lnTo>
                      <a:pt x="5899300" y="8916039"/>
                    </a:lnTo>
                    <a:lnTo>
                      <a:pt x="5941574" y="8952461"/>
                    </a:lnTo>
                    <a:lnTo>
                      <a:pt x="5970347" y="8984177"/>
                    </a:lnTo>
                    <a:lnTo>
                      <a:pt x="5993983" y="9026212"/>
                    </a:lnTo>
                    <a:lnTo>
                      <a:pt x="6031255" y="9050099"/>
                    </a:lnTo>
                    <a:lnTo>
                      <a:pt x="6107368" y="9039904"/>
                    </a:lnTo>
                    <a:lnTo>
                      <a:pt x="6113173" y="9064423"/>
                    </a:lnTo>
                    <a:lnTo>
                      <a:pt x="6130279" y="9088955"/>
                    </a:lnTo>
                    <a:lnTo>
                      <a:pt x="6148581" y="9156536"/>
                    </a:lnTo>
                    <a:lnTo>
                      <a:pt x="6193419" y="9121555"/>
                    </a:lnTo>
                    <a:lnTo>
                      <a:pt x="6213929" y="9091674"/>
                    </a:lnTo>
                    <a:lnTo>
                      <a:pt x="6242386" y="9073961"/>
                    </a:lnTo>
                    <a:lnTo>
                      <a:pt x="6260224" y="9086419"/>
                    </a:lnTo>
                    <a:lnTo>
                      <a:pt x="6266214" y="9121992"/>
                    </a:lnTo>
                    <a:lnTo>
                      <a:pt x="6285041" y="9147243"/>
                    </a:lnTo>
                    <a:lnTo>
                      <a:pt x="6307682" y="9174618"/>
                    </a:lnTo>
                    <a:lnTo>
                      <a:pt x="6310847" y="9207007"/>
                    </a:lnTo>
                    <a:lnTo>
                      <a:pt x="6326722" y="9223586"/>
                    </a:lnTo>
                    <a:lnTo>
                      <a:pt x="6312733" y="9254951"/>
                    </a:lnTo>
                    <a:lnTo>
                      <a:pt x="6279113" y="9260312"/>
                    </a:lnTo>
                    <a:lnTo>
                      <a:pt x="6280130" y="9284965"/>
                    </a:lnTo>
                    <a:lnTo>
                      <a:pt x="6298811" y="9306554"/>
                    </a:lnTo>
                    <a:lnTo>
                      <a:pt x="6321644" y="9306049"/>
                    </a:lnTo>
                    <a:lnTo>
                      <a:pt x="6355111" y="9327046"/>
                    </a:lnTo>
                    <a:lnTo>
                      <a:pt x="6369845" y="9355351"/>
                    </a:lnTo>
                    <a:lnTo>
                      <a:pt x="6431476" y="9388636"/>
                    </a:lnTo>
                    <a:lnTo>
                      <a:pt x="6435767" y="9353485"/>
                    </a:lnTo>
                    <a:lnTo>
                      <a:pt x="6491305" y="9404490"/>
                    </a:lnTo>
                    <a:lnTo>
                      <a:pt x="6501208" y="9440788"/>
                    </a:lnTo>
                    <a:lnTo>
                      <a:pt x="6517148" y="9471137"/>
                    </a:lnTo>
                    <a:lnTo>
                      <a:pt x="6579591" y="9447166"/>
                    </a:lnTo>
                    <a:lnTo>
                      <a:pt x="6569455" y="9411336"/>
                    </a:lnTo>
                    <a:lnTo>
                      <a:pt x="6664051" y="9443935"/>
                    </a:lnTo>
                    <a:lnTo>
                      <a:pt x="6702665" y="9464464"/>
                    </a:lnTo>
                    <a:lnTo>
                      <a:pt x="6716652" y="9485468"/>
                    </a:lnTo>
                    <a:lnTo>
                      <a:pt x="6727975" y="9503783"/>
                    </a:lnTo>
                    <a:lnTo>
                      <a:pt x="6716804" y="9570393"/>
                    </a:lnTo>
                    <a:lnTo>
                      <a:pt x="6695252" y="9611069"/>
                    </a:lnTo>
                    <a:lnTo>
                      <a:pt x="6686090" y="9637210"/>
                    </a:lnTo>
                    <a:lnTo>
                      <a:pt x="6670850" y="9662923"/>
                    </a:lnTo>
                    <a:lnTo>
                      <a:pt x="6640651" y="9675766"/>
                    </a:lnTo>
                    <a:lnTo>
                      <a:pt x="6618652" y="9683713"/>
                    </a:lnTo>
                    <a:lnTo>
                      <a:pt x="6586521" y="9691492"/>
                    </a:lnTo>
                    <a:lnTo>
                      <a:pt x="6535919" y="9684141"/>
                    </a:lnTo>
                    <a:lnTo>
                      <a:pt x="6482000" y="9701017"/>
                    </a:lnTo>
                    <a:lnTo>
                      <a:pt x="6431454" y="9701017"/>
                    </a:lnTo>
                    <a:lnTo>
                      <a:pt x="6388120" y="9701017"/>
                    </a:lnTo>
                    <a:lnTo>
                      <a:pt x="6344061" y="9694810"/>
                    </a:lnTo>
                    <a:lnTo>
                      <a:pt x="6300876" y="9698292"/>
                    </a:lnTo>
                    <a:lnTo>
                      <a:pt x="6273969" y="9697107"/>
                    </a:lnTo>
                    <a:lnTo>
                      <a:pt x="6236858" y="9705091"/>
                    </a:lnTo>
                    <a:lnTo>
                      <a:pt x="6197692" y="9694335"/>
                    </a:lnTo>
                    <a:lnTo>
                      <a:pt x="6170298" y="9695576"/>
                    </a:lnTo>
                    <a:lnTo>
                      <a:pt x="6120611" y="9692642"/>
                    </a:lnTo>
                    <a:lnTo>
                      <a:pt x="6007734" y="9665475"/>
                    </a:lnTo>
                    <a:lnTo>
                      <a:pt x="5968986" y="9690134"/>
                    </a:lnTo>
                    <a:lnTo>
                      <a:pt x="5900131" y="9733998"/>
                    </a:lnTo>
                    <a:lnTo>
                      <a:pt x="5892501" y="9872399"/>
                    </a:lnTo>
                    <a:lnTo>
                      <a:pt x="5793524" y="9872399"/>
                    </a:lnTo>
                    <a:lnTo>
                      <a:pt x="5752398" y="9865599"/>
                    </a:lnTo>
                    <a:lnTo>
                      <a:pt x="5700925" y="9857646"/>
                    </a:lnTo>
                    <a:lnTo>
                      <a:pt x="5663749" y="9817950"/>
                    </a:lnTo>
                    <a:lnTo>
                      <a:pt x="5654779" y="9785347"/>
                    </a:lnTo>
                    <a:lnTo>
                      <a:pt x="5641459" y="9736972"/>
                    </a:lnTo>
                    <a:lnTo>
                      <a:pt x="5675699" y="9702158"/>
                    </a:lnTo>
                    <a:lnTo>
                      <a:pt x="5667026" y="9653408"/>
                    </a:lnTo>
                    <a:lnTo>
                      <a:pt x="5655994" y="9633517"/>
                    </a:lnTo>
                    <a:lnTo>
                      <a:pt x="5632039" y="9564015"/>
                    </a:lnTo>
                    <a:lnTo>
                      <a:pt x="5596680" y="9508629"/>
                    </a:lnTo>
                    <a:lnTo>
                      <a:pt x="5566369" y="9456179"/>
                    </a:lnTo>
                    <a:lnTo>
                      <a:pt x="5538953" y="9408744"/>
                    </a:lnTo>
                    <a:lnTo>
                      <a:pt x="5487797" y="9351699"/>
                    </a:lnTo>
                    <a:lnTo>
                      <a:pt x="5445313" y="9317437"/>
                    </a:lnTo>
                    <a:lnTo>
                      <a:pt x="5425884" y="9301755"/>
                    </a:lnTo>
                    <a:lnTo>
                      <a:pt x="5382932" y="9286112"/>
                    </a:lnTo>
                    <a:lnTo>
                      <a:pt x="5370499" y="9268470"/>
                    </a:lnTo>
                    <a:lnTo>
                      <a:pt x="5351077" y="9240844"/>
                    </a:lnTo>
                    <a:lnTo>
                      <a:pt x="5350140" y="9206412"/>
                    </a:lnTo>
                    <a:lnTo>
                      <a:pt x="5326973" y="9180060"/>
                    </a:lnTo>
                    <a:lnTo>
                      <a:pt x="5309439" y="9210064"/>
                    </a:lnTo>
                    <a:lnTo>
                      <a:pt x="5340578" y="9309063"/>
                    </a:lnTo>
                    <a:lnTo>
                      <a:pt x="5340578" y="9346000"/>
                    </a:lnTo>
                    <a:lnTo>
                      <a:pt x="5328991" y="9378559"/>
                    </a:lnTo>
                    <a:lnTo>
                      <a:pt x="5244578" y="9481130"/>
                    </a:lnTo>
                    <a:lnTo>
                      <a:pt x="5171934" y="9410440"/>
                    </a:lnTo>
                    <a:lnTo>
                      <a:pt x="5082138" y="9439858"/>
                    </a:lnTo>
                    <a:lnTo>
                      <a:pt x="5075245" y="9491073"/>
                    </a:lnTo>
                    <a:lnTo>
                      <a:pt x="5133400" y="9537536"/>
                    </a:lnTo>
                    <a:lnTo>
                      <a:pt x="5136547" y="9581313"/>
                    </a:lnTo>
                    <a:lnTo>
                      <a:pt x="5121286" y="9617360"/>
                    </a:lnTo>
                    <a:lnTo>
                      <a:pt x="5085180" y="9680653"/>
                    </a:lnTo>
                    <a:lnTo>
                      <a:pt x="5064753" y="9726222"/>
                    </a:lnTo>
                    <a:lnTo>
                      <a:pt x="5012765" y="9751343"/>
                    </a:lnTo>
                    <a:lnTo>
                      <a:pt x="4953023" y="9780246"/>
                    </a:lnTo>
                    <a:lnTo>
                      <a:pt x="4820253" y="9698419"/>
                    </a:lnTo>
                    <a:lnTo>
                      <a:pt x="4804657" y="9633003"/>
                    </a:lnTo>
                    <a:lnTo>
                      <a:pt x="4790484" y="9573623"/>
                    </a:lnTo>
                    <a:lnTo>
                      <a:pt x="4817115" y="9539151"/>
                    </a:lnTo>
                    <a:lnTo>
                      <a:pt x="4776095" y="9484742"/>
                    </a:lnTo>
                    <a:lnTo>
                      <a:pt x="4750505" y="9467273"/>
                    </a:lnTo>
                    <a:lnTo>
                      <a:pt x="4713522" y="9490441"/>
                    </a:lnTo>
                    <a:lnTo>
                      <a:pt x="4684959" y="9491542"/>
                    </a:lnTo>
                    <a:lnTo>
                      <a:pt x="4631338" y="9493619"/>
                    </a:lnTo>
                    <a:lnTo>
                      <a:pt x="4555680" y="9447594"/>
                    </a:lnTo>
                    <a:lnTo>
                      <a:pt x="4509497" y="9420811"/>
                    </a:lnTo>
                    <a:lnTo>
                      <a:pt x="4418130" y="9305792"/>
                    </a:lnTo>
                    <a:lnTo>
                      <a:pt x="4605882" y="9201907"/>
                    </a:lnTo>
                    <a:lnTo>
                      <a:pt x="4509497" y="9121567"/>
                    </a:lnTo>
                    <a:lnTo>
                      <a:pt x="4390650" y="9040168"/>
                    </a:lnTo>
                    <a:lnTo>
                      <a:pt x="4285210" y="9236590"/>
                    </a:lnTo>
                    <a:lnTo>
                      <a:pt x="4232015" y="9309274"/>
                    </a:lnTo>
                    <a:lnTo>
                      <a:pt x="4207528" y="9342775"/>
                    </a:lnTo>
                    <a:lnTo>
                      <a:pt x="4172141" y="9360619"/>
                    </a:lnTo>
                    <a:lnTo>
                      <a:pt x="4144963" y="9389526"/>
                    </a:lnTo>
                    <a:lnTo>
                      <a:pt x="4133613" y="9420306"/>
                    </a:lnTo>
                    <a:lnTo>
                      <a:pt x="4164028" y="9450778"/>
                    </a:lnTo>
                    <a:lnTo>
                      <a:pt x="4158562" y="9482020"/>
                    </a:lnTo>
                    <a:lnTo>
                      <a:pt x="4134081" y="9505147"/>
                    </a:lnTo>
                    <a:lnTo>
                      <a:pt x="4092685" y="9502384"/>
                    </a:lnTo>
                    <a:lnTo>
                      <a:pt x="4036272" y="9394499"/>
                    </a:lnTo>
                    <a:lnTo>
                      <a:pt x="4023906" y="9358247"/>
                    </a:lnTo>
                    <a:lnTo>
                      <a:pt x="4012346" y="9324284"/>
                    </a:lnTo>
                    <a:lnTo>
                      <a:pt x="4008540" y="9285939"/>
                    </a:lnTo>
                    <a:lnTo>
                      <a:pt x="3996702" y="9252148"/>
                    </a:lnTo>
                    <a:lnTo>
                      <a:pt x="3978534" y="9212408"/>
                    </a:lnTo>
                    <a:lnTo>
                      <a:pt x="3974939" y="9188217"/>
                    </a:lnTo>
                    <a:lnTo>
                      <a:pt x="3948461" y="9169856"/>
                    </a:lnTo>
                    <a:lnTo>
                      <a:pt x="3874241" y="9181588"/>
                    </a:lnTo>
                    <a:lnTo>
                      <a:pt x="3855031" y="9239439"/>
                    </a:lnTo>
                    <a:lnTo>
                      <a:pt x="3834844" y="9288875"/>
                    </a:lnTo>
                    <a:lnTo>
                      <a:pt x="3818646" y="9317267"/>
                    </a:lnTo>
                    <a:lnTo>
                      <a:pt x="3795420" y="9408105"/>
                    </a:lnTo>
                    <a:lnTo>
                      <a:pt x="3892629" y="9554499"/>
                    </a:lnTo>
                    <a:lnTo>
                      <a:pt x="3806275" y="9597634"/>
                    </a:lnTo>
                    <a:lnTo>
                      <a:pt x="3764918" y="9598447"/>
                    </a:lnTo>
                    <a:lnTo>
                      <a:pt x="3708854" y="9558706"/>
                    </a:lnTo>
                    <a:lnTo>
                      <a:pt x="3667537" y="9607159"/>
                    </a:lnTo>
                    <a:lnTo>
                      <a:pt x="3630065" y="9651113"/>
                    </a:lnTo>
                    <a:lnTo>
                      <a:pt x="3633553" y="9780287"/>
                    </a:lnTo>
                    <a:lnTo>
                      <a:pt x="3542399" y="9773106"/>
                    </a:lnTo>
                    <a:lnTo>
                      <a:pt x="3496129" y="9769490"/>
                    </a:lnTo>
                    <a:lnTo>
                      <a:pt x="3456046" y="9737697"/>
                    </a:lnTo>
                    <a:lnTo>
                      <a:pt x="3460787" y="9687412"/>
                    </a:lnTo>
                    <a:lnTo>
                      <a:pt x="3463675" y="9656812"/>
                    </a:lnTo>
                    <a:lnTo>
                      <a:pt x="3543481" y="9551733"/>
                    </a:lnTo>
                    <a:lnTo>
                      <a:pt x="3550557" y="9501067"/>
                    </a:lnTo>
                    <a:lnTo>
                      <a:pt x="3558167" y="9446440"/>
                    </a:lnTo>
                    <a:lnTo>
                      <a:pt x="3542083" y="9394630"/>
                    </a:lnTo>
                    <a:lnTo>
                      <a:pt x="3536959" y="9341917"/>
                    </a:lnTo>
                    <a:lnTo>
                      <a:pt x="3533899" y="9310467"/>
                    </a:lnTo>
                    <a:lnTo>
                      <a:pt x="3551751" y="9264262"/>
                    </a:lnTo>
                    <a:lnTo>
                      <a:pt x="3554639" y="9230385"/>
                    </a:lnTo>
                    <a:lnTo>
                      <a:pt x="3559467" y="9173939"/>
                    </a:lnTo>
                    <a:lnTo>
                      <a:pt x="3553789" y="9121741"/>
                    </a:lnTo>
                    <a:lnTo>
                      <a:pt x="3547841" y="9065803"/>
                    </a:lnTo>
                    <a:lnTo>
                      <a:pt x="3535897" y="8953881"/>
                    </a:lnTo>
                    <a:lnTo>
                      <a:pt x="3558319" y="8914349"/>
                    </a:lnTo>
                    <a:lnTo>
                      <a:pt x="3470311" y="8827765"/>
                    </a:lnTo>
                    <a:lnTo>
                      <a:pt x="3363447" y="8826026"/>
                    </a:lnTo>
                    <a:lnTo>
                      <a:pt x="3171977" y="8976494"/>
                    </a:lnTo>
                    <a:lnTo>
                      <a:pt x="3073132" y="9016836"/>
                    </a:lnTo>
                    <a:lnTo>
                      <a:pt x="3030773" y="9034134"/>
                    </a:lnTo>
                    <a:lnTo>
                      <a:pt x="2986100" y="9047097"/>
                    </a:lnTo>
                    <a:lnTo>
                      <a:pt x="2943912" y="9064442"/>
                    </a:lnTo>
                    <a:lnTo>
                      <a:pt x="2871823" y="9083101"/>
                    </a:lnTo>
                    <a:lnTo>
                      <a:pt x="2866000" y="9107416"/>
                    </a:lnTo>
                    <a:lnTo>
                      <a:pt x="2811974" y="9140614"/>
                    </a:lnTo>
                    <a:lnTo>
                      <a:pt x="2788635" y="9154933"/>
                    </a:lnTo>
                    <a:lnTo>
                      <a:pt x="2760329" y="9163565"/>
                    </a:lnTo>
                    <a:lnTo>
                      <a:pt x="2737162" y="9178702"/>
                    </a:lnTo>
                    <a:lnTo>
                      <a:pt x="2707156" y="9198208"/>
                    </a:lnTo>
                    <a:lnTo>
                      <a:pt x="2675993" y="9229964"/>
                    </a:lnTo>
                    <a:lnTo>
                      <a:pt x="2650110" y="9254865"/>
                    </a:lnTo>
                    <a:lnTo>
                      <a:pt x="2631235" y="9273059"/>
                    </a:lnTo>
                    <a:lnTo>
                      <a:pt x="2616403" y="9306133"/>
                    </a:lnTo>
                    <a:lnTo>
                      <a:pt x="2597060" y="9320160"/>
                    </a:lnTo>
                    <a:lnTo>
                      <a:pt x="2575573" y="9346381"/>
                    </a:lnTo>
                    <a:lnTo>
                      <a:pt x="2547671" y="9373719"/>
                    </a:lnTo>
                    <a:lnTo>
                      <a:pt x="2531770" y="9401767"/>
                    </a:lnTo>
                    <a:lnTo>
                      <a:pt x="2495959" y="9464979"/>
                    </a:lnTo>
                    <a:lnTo>
                      <a:pt x="2558486" y="9702118"/>
                    </a:lnTo>
                    <a:lnTo>
                      <a:pt x="2583455" y="9774464"/>
                    </a:lnTo>
                    <a:lnTo>
                      <a:pt x="2593301" y="9794401"/>
                    </a:lnTo>
                    <a:lnTo>
                      <a:pt x="2607942" y="9881921"/>
                    </a:lnTo>
                    <a:lnTo>
                      <a:pt x="2612176" y="9904239"/>
                    </a:lnTo>
                    <a:lnTo>
                      <a:pt x="2630106" y="9970077"/>
                    </a:lnTo>
                    <a:lnTo>
                      <a:pt x="2622838" y="9999793"/>
                    </a:lnTo>
                    <a:lnTo>
                      <a:pt x="2641687" y="10046841"/>
                    </a:lnTo>
                    <a:lnTo>
                      <a:pt x="2626987" y="10092754"/>
                    </a:lnTo>
                    <a:lnTo>
                      <a:pt x="2617293" y="10123010"/>
                    </a:lnTo>
                    <a:lnTo>
                      <a:pt x="2593063" y="10142736"/>
                    </a:lnTo>
                    <a:lnTo>
                      <a:pt x="2582095" y="10171643"/>
                    </a:lnTo>
                    <a:lnTo>
                      <a:pt x="2550071" y="10256189"/>
                    </a:lnTo>
                    <a:lnTo>
                      <a:pt x="2604452" y="10315482"/>
                    </a:lnTo>
                    <a:lnTo>
                      <a:pt x="2651468" y="10378393"/>
                    </a:lnTo>
                    <a:lnTo>
                      <a:pt x="2687813" y="10412909"/>
                    </a:lnTo>
                    <a:lnTo>
                      <a:pt x="2723919" y="10440200"/>
                    </a:lnTo>
                    <a:lnTo>
                      <a:pt x="2757560" y="10470886"/>
                    </a:lnTo>
                    <a:lnTo>
                      <a:pt x="2801218" y="10510797"/>
                    </a:lnTo>
                    <a:lnTo>
                      <a:pt x="2835433" y="10544677"/>
                    </a:lnTo>
                    <a:lnTo>
                      <a:pt x="2865017" y="10597384"/>
                    </a:lnTo>
                    <a:lnTo>
                      <a:pt x="2876578" y="10625733"/>
                    </a:lnTo>
                    <a:lnTo>
                      <a:pt x="2899028" y="10653148"/>
                    </a:lnTo>
                    <a:lnTo>
                      <a:pt x="2900769" y="10683366"/>
                    </a:lnTo>
                    <a:lnTo>
                      <a:pt x="2889847" y="10730381"/>
                    </a:lnTo>
                    <a:lnTo>
                      <a:pt x="2766746" y="10956007"/>
                    </a:lnTo>
                    <a:lnTo>
                      <a:pt x="2741244" y="10986396"/>
                    </a:lnTo>
                    <a:lnTo>
                      <a:pt x="2697440" y="11038470"/>
                    </a:lnTo>
                    <a:lnTo>
                      <a:pt x="2628880" y="11066267"/>
                    </a:lnTo>
                    <a:lnTo>
                      <a:pt x="2607948" y="11137379"/>
                    </a:lnTo>
                    <a:lnTo>
                      <a:pt x="2592938" y="11188430"/>
                    </a:lnTo>
                    <a:lnTo>
                      <a:pt x="2605627" y="11234759"/>
                    </a:lnTo>
                    <a:lnTo>
                      <a:pt x="2612024" y="11285640"/>
                    </a:lnTo>
                    <a:lnTo>
                      <a:pt x="2617287" y="11350290"/>
                    </a:lnTo>
                    <a:lnTo>
                      <a:pt x="2657120" y="11401682"/>
                    </a:lnTo>
                    <a:lnTo>
                      <a:pt x="2678672" y="11459744"/>
                    </a:lnTo>
                    <a:lnTo>
                      <a:pt x="2696228" y="11507056"/>
                    </a:lnTo>
                    <a:lnTo>
                      <a:pt x="2691340" y="11637721"/>
                    </a:lnTo>
                    <a:lnTo>
                      <a:pt x="2648744" y="11670578"/>
                    </a:lnTo>
                    <a:lnTo>
                      <a:pt x="2597845" y="11690601"/>
                    </a:lnTo>
                    <a:lnTo>
                      <a:pt x="2520104" y="11697869"/>
                    </a:lnTo>
                    <a:lnTo>
                      <a:pt x="2274246" y="11793547"/>
                    </a:lnTo>
                    <a:lnTo>
                      <a:pt x="2243407" y="11786192"/>
                    </a:lnTo>
                    <a:lnTo>
                      <a:pt x="2221237" y="11802430"/>
                    </a:lnTo>
                    <a:lnTo>
                      <a:pt x="2184067" y="11800687"/>
                    </a:lnTo>
                    <a:lnTo>
                      <a:pt x="2159073" y="11806597"/>
                    </a:lnTo>
                    <a:lnTo>
                      <a:pt x="2140310" y="11819136"/>
                    </a:lnTo>
                    <a:lnTo>
                      <a:pt x="2109321" y="11826825"/>
                    </a:lnTo>
                    <a:lnTo>
                      <a:pt x="2060037" y="11828230"/>
                    </a:lnTo>
                    <a:lnTo>
                      <a:pt x="2047539" y="11848765"/>
                    </a:lnTo>
                    <a:lnTo>
                      <a:pt x="2024035" y="11854324"/>
                    </a:lnTo>
                    <a:lnTo>
                      <a:pt x="1886973" y="11884595"/>
                    </a:lnTo>
                    <a:lnTo>
                      <a:pt x="1860614" y="11933135"/>
                    </a:lnTo>
                    <a:lnTo>
                      <a:pt x="1873435" y="12065031"/>
                    </a:lnTo>
                    <a:lnTo>
                      <a:pt x="1876051" y="12091901"/>
                    </a:lnTo>
                    <a:lnTo>
                      <a:pt x="1892968" y="12124841"/>
                    </a:lnTo>
                    <a:lnTo>
                      <a:pt x="1899279" y="12152092"/>
                    </a:lnTo>
                    <a:lnTo>
                      <a:pt x="1907905" y="12189364"/>
                    </a:lnTo>
                    <a:lnTo>
                      <a:pt x="1910049" y="12228857"/>
                    </a:lnTo>
                    <a:lnTo>
                      <a:pt x="1916961" y="12266343"/>
                    </a:lnTo>
                    <a:lnTo>
                      <a:pt x="1924697" y="12308300"/>
                    </a:lnTo>
                    <a:lnTo>
                      <a:pt x="1942714" y="12349017"/>
                    </a:lnTo>
                    <a:lnTo>
                      <a:pt x="1946881" y="12391485"/>
                    </a:lnTo>
                    <a:lnTo>
                      <a:pt x="1948965" y="12412861"/>
                    </a:lnTo>
                    <a:lnTo>
                      <a:pt x="1933560" y="12472671"/>
                    </a:lnTo>
                    <a:lnTo>
                      <a:pt x="1925118" y="12493498"/>
                    </a:lnTo>
                    <a:lnTo>
                      <a:pt x="1872689" y="12623223"/>
                    </a:lnTo>
                    <a:lnTo>
                      <a:pt x="1696757" y="12594022"/>
                    </a:lnTo>
                    <a:lnTo>
                      <a:pt x="1666684" y="12644481"/>
                    </a:lnTo>
                    <a:lnTo>
                      <a:pt x="1661158" y="12682355"/>
                    </a:lnTo>
                    <a:lnTo>
                      <a:pt x="1693802" y="12722011"/>
                    </a:lnTo>
                    <a:lnTo>
                      <a:pt x="1687088" y="12772337"/>
                    </a:lnTo>
                    <a:lnTo>
                      <a:pt x="1682011" y="12810341"/>
                    </a:lnTo>
                    <a:lnTo>
                      <a:pt x="1642263" y="12869084"/>
                    </a:lnTo>
                    <a:lnTo>
                      <a:pt x="1604111" y="12881152"/>
                    </a:lnTo>
                    <a:lnTo>
                      <a:pt x="1571954" y="12891353"/>
                    </a:lnTo>
                    <a:lnTo>
                      <a:pt x="1530215" y="12887871"/>
                    </a:lnTo>
                    <a:lnTo>
                      <a:pt x="1496654" y="12890674"/>
                    </a:lnTo>
                    <a:lnTo>
                      <a:pt x="1455786" y="12894072"/>
                    </a:lnTo>
                    <a:lnTo>
                      <a:pt x="1409627" y="12900199"/>
                    </a:lnTo>
                    <a:lnTo>
                      <a:pt x="1368799" y="12900199"/>
                    </a:lnTo>
                    <a:lnTo>
                      <a:pt x="1315881" y="12914905"/>
                    </a:lnTo>
                    <a:lnTo>
                      <a:pt x="1273139" y="12942022"/>
                    </a:lnTo>
                    <a:lnTo>
                      <a:pt x="1284463" y="13006288"/>
                    </a:lnTo>
                    <a:lnTo>
                      <a:pt x="1288064" y="13045272"/>
                    </a:lnTo>
                    <a:lnTo>
                      <a:pt x="1325397" y="13133896"/>
                    </a:lnTo>
                    <a:lnTo>
                      <a:pt x="1293986" y="13165438"/>
                    </a:lnTo>
                    <a:lnTo>
                      <a:pt x="1265424" y="13174954"/>
                    </a:lnTo>
                    <a:lnTo>
                      <a:pt x="1234816" y="13177131"/>
                    </a:lnTo>
                    <a:lnTo>
                      <a:pt x="1178799" y="13184854"/>
                    </a:lnTo>
                    <a:lnTo>
                      <a:pt x="1137904" y="13172917"/>
                    </a:lnTo>
                    <a:lnTo>
                      <a:pt x="1099482" y="13195353"/>
                    </a:lnTo>
                    <a:lnTo>
                      <a:pt x="1064245" y="13247808"/>
                    </a:lnTo>
                    <a:lnTo>
                      <a:pt x="1055698" y="13318158"/>
                    </a:lnTo>
                    <a:lnTo>
                      <a:pt x="1023311" y="13366741"/>
                    </a:lnTo>
                    <a:lnTo>
                      <a:pt x="1008387" y="13383149"/>
                    </a:lnTo>
                    <a:lnTo>
                      <a:pt x="992935" y="13413795"/>
                    </a:lnTo>
                    <a:lnTo>
                      <a:pt x="969346" y="13433685"/>
                    </a:lnTo>
                    <a:lnTo>
                      <a:pt x="978506" y="13482997"/>
                    </a:lnTo>
                    <a:lnTo>
                      <a:pt x="1077654" y="13511346"/>
                    </a:lnTo>
                    <a:lnTo>
                      <a:pt x="1104923" y="13559892"/>
                    </a:lnTo>
                    <a:lnTo>
                      <a:pt x="1124536" y="13594826"/>
                    </a:lnTo>
                    <a:lnTo>
                      <a:pt x="1082856" y="13715802"/>
                    </a:lnTo>
                    <a:lnTo>
                      <a:pt x="1147085" y="13802004"/>
                    </a:lnTo>
                    <a:lnTo>
                      <a:pt x="1183132" y="13833540"/>
                    </a:lnTo>
                    <a:lnTo>
                      <a:pt x="1201493" y="13864571"/>
                    </a:lnTo>
                    <a:lnTo>
                      <a:pt x="1174710" y="13906019"/>
                    </a:lnTo>
                    <a:lnTo>
                      <a:pt x="1085086" y="13918385"/>
                    </a:lnTo>
                    <a:lnTo>
                      <a:pt x="1045068" y="13957064"/>
                    </a:lnTo>
                    <a:lnTo>
                      <a:pt x="1039264" y="13985500"/>
                    </a:lnTo>
                    <a:lnTo>
                      <a:pt x="1053463" y="14036467"/>
                    </a:lnTo>
                    <a:lnTo>
                      <a:pt x="1091251" y="14030517"/>
                    </a:lnTo>
                    <a:lnTo>
                      <a:pt x="1106281" y="14074043"/>
                    </a:lnTo>
                    <a:lnTo>
                      <a:pt x="1109632" y="14097636"/>
                    </a:lnTo>
                    <a:lnTo>
                      <a:pt x="1117262" y="14249595"/>
                    </a:lnTo>
                    <a:lnTo>
                      <a:pt x="1018735" y="14298349"/>
                    </a:lnTo>
                    <a:lnTo>
                      <a:pt x="895443" y="14283513"/>
                    </a:lnTo>
                    <a:lnTo>
                      <a:pt x="846627" y="14277656"/>
                    </a:lnTo>
                    <a:lnTo>
                      <a:pt x="766710" y="14273777"/>
                    </a:lnTo>
                    <a:lnTo>
                      <a:pt x="721337" y="14257672"/>
                    </a:lnTo>
                    <a:lnTo>
                      <a:pt x="669291" y="14262466"/>
                    </a:lnTo>
                    <a:lnTo>
                      <a:pt x="591457" y="14254138"/>
                    </a:lnTo>
                    <a:lnTo>
                      <a:pt x="510102" y="14205257"/>
                    </a:lnTo>
                    <a:lnTo>
                      <a:pt x="443857" y="14195093"/>
                    </a:lnTo>
                    <a:lnTo>
                      <a:pt x="414978" y="14193782"/>
                    </a:lnTo>
                    <a:lnTo>
                      <a:pt x="390088" y="14180049"/>
                    </a:lnTo>
                    <a:lnTo>
                      <a:pt x="362245" y="14176056"/>
                    </a:lnTo>
                    <a:lnTo>
                      <a:pt x="282335" y="14164534"/>
                    </a:lnTo>
                    <a:lnTo>
                      <a:pt x="98667" y="14228759"/>
                    </a:lnTo>
                    <a:lnTo>
                      <a:pt x="82048" y="14318875"/>
                    </a:lnTo>
                    <a:lnTo>
                      <a:pt x="70078" y="14339357"/>
                    </a:lnTo>
                    <a:lnTo>
                      <a:pt x="53485" y="14375997"/>
                    </a:lnTo>
                    <a:lnTo>
                      <a:pt x="34333" y="14420586"/>
                    </a:lnTo>
                    <a:lnTo>
                      <a:pt x="29466" y="14458079"/>
                    </a:lnTo>
                    <a:lnTo>
                      <a:pt x="16757" y="14487537"/>
                    </a:lnTo>
                    <a:lnTo>
                      <a:pt x="7531" y="14506408"/>
                    </a:lnTo>
                    <a:lnTo>
                      <a:pt x="0" y="14571569"/>
                    </a:lnTo>
                    <a:lnTo>
                      <a:pt x="33640" y="14563709"/>
                    </a:lnTo>
                    <a:lnTo>
                      <a:pt x="93521" y="14606166"/>
                    </a:lnTo>
                    <a:lnTo>
                      <a:pt x="120132" y="14616757"/>
                    </a:lnTo>
                    <a:lnTo>
                      <a:pt x="152223" y="14629467"/>
                    </a:lnTo>
                    <a:lnTo>
                      <a:pt x="213365" y="14654330"/>
                    </a:lnTo>
                    <a:lnTo>
                      <a:pt x="231665" y="14683408"/>
                    </a:lnTo>
                    <a:lnTo>
                      <a:pt x="267759" y="14740744"/>
                    </a:lnTo>
                    <a:lnTo>
                      <a:pt x="239620" y="14834893"/>
                    </a:lnTo>
                    <a:lnTo>
                      <a:pt x="253430" y="14901038"/>
                    </a:lnTo>
                    <a:lnTo>
                      <a:pt x="269455" y="14977889"/>
                    </a:lnTo>
                    <a:lnTo>
                      <a:pt x="323011" y="15105617"/>
                    </a:lnTo>
                    <a:lnTo>
                      <a:pt x="362245" y="15174438"/>
                    </a:lnTo>
                    <a:lnTo>
                      <a:pt x="377419" y="15201001"/>
                    </a:lnTo>
                    <a:lnTo>
                      <a:pt x="433575" y="15269778"/>
                    </a:lnTo>
                    <a:lnTo>
                      <a:pt x="456096" y="15290053"/>
                    </a:lnTo>
                    <a:lnTo>
                      <a:pt x="477715" y="15309481"/>
                    </a:lnTo>
                    <a:lnTo>
                      <a:pt x="509555" y="15316575"/>
                    </a:lnTo>
                    <a:lnTo>
                      <a:pt x="532268" y="15333579"/>
                    </a:lnTo>
                    <a:lnTo>
                      <a:pt x="559947" y="15354365"/>
                    </a:lnTo>
                    <a:lnTo>
                      <a:pt x="605723" y="15383904"/>
                    </a:lnTo>
                    <a:lnTo>
                      <a:pt x="661211" y="15405329"/>
                    </a:lnTo>
                    <a:lnTo>
                      <a:pt x="719728" y="15413403"/>
                    </a:lnTo>
                    <a:lnTo>
                      <a:pt x="775745" y="15434230"/>
                    </a:lnTo>
                    <a:lnTo>
                      <a:pt x="823037" y="15451879"/>
                    </a:lnTo>
                    <a:lnTo>
                      <a:pt x="869307" y="15476826"/>
                    </a:lnTo>
                    <a:lnTo>
                      <a:pt x="917206" y="15491361"/>
                    </a:lnTo>
                    <a:lnTo>
                      <a:pt x="966259" y="15506285"/>
                    </a:lnTo>
                    <a:lnTo>
                      <a:pt x="1020608" y="15516997"/>
                    </a:lnTo>
                    <a:lnTo>
                      <a:pt x="1066831" y="15540329"/>
                    </a:lnTo>
                    <a:lnTo>
                      <a:pt x="1100195" y="15557119"/>
                    </a:lnTo>
                    <a:lnTo>
                      <a:pt x="1135985" y="15610427"/>
                    </a:lnTo>
                    <a:lnTo>
                      <a:pt x="1177006" y="15634187"/>
                    </a:lnTo>
                    <a:lnTo>
                      <a:pt x="1314661" y="15714269"/>
                    </a:lnTo>
                    <a:lnTo>
                      <a:pt x="1377042" y="15652586"/>
                    </a:lnTo>
                    <a:lnTo>
                      <a:pt x="1474891" y="15687229"/>
                    </a:lnTo>
                    <a:lnTo>
                      <a:pt x="1565346" y="15719282"/>
                    </a:lnTo>
                    <a:lnTo>
                      <a:pt x="1611610" y="15791963"/>
                    </a:lnTo>
                    <a:lnTo>
                      <a:pt x="1722444" y="15791963"/>
                    </a:lnTo>
                    <a:lnTo>
                      <a:pt x="1752964" y="15789247"/>
                    </a:lnTo>
                    <a:lnTo>
                      <a:pt x="1860508" y="15751373"/>
                    </a:lnTo>
                    <a:lnTo>
                      <a:pt x="1874786" y="15767484"/>
                    </a:lnTo>
                    <a:lnTo>
                      <a:pt x="1883009" y="15725400"/>
                    </a:lnTo>
                    <a:lnTo>
                      <a:pt x="2078734" y="15767444"/>
                    </a:lnTo>
                    <a:lnTo>
                      <a:pt x="2055698" y="15683148"/>
                    </a:lnTo>
                    <a:lnTo>
                      <a:pt x="2040265" y="15665208"/>
                    </a:lnTo>
                    <a:lnTo>
                      <a:pt x="2024537" y="15650338"/>
                    </a:lnTo>
                    <a:lnTo>
                      <a:pt x="1998565" y="15632823"/>
                    </a:lnTo>
                    <a:lnTo>
                      <a:pt x="1978101" y="15619223"/>
                    </a:lnTo>
                    <a:lnTo>
                      <a:pt x="1945878" y="15618842"/>
                    </a:lnTo>
                    <a:lnTo>
                      <a:pt x="1926476" y="15600176"/>
                    </a:lnTo>
                    <a:lnTo>
                      <a:pt x="1906223" y="15560734"/>
                    </a:lnTo>
                    <a:lnTo>
                      <a:pt x="1894129" y="15440357"/>
                    </a:lnTo>
                    <a:lnTo>
                      <a:pt x="2069362" y="15488769"/>
                    </a:lnTo>
                    <a:lnTo>
                      <a:pt x="2039375" y="15397510"/>
                    </a:lnTo>
                    <a:lnTo>
                      <a:pt x="2008088" y="15355472"/>
                    </a:lnTo>
                    <a:lnTo>
                      <a:pt x="1982691" y="15318405"/>
                    </a:lnTo>
                    <a:lnTo>
                      <a:pt x="2001289" y="15262848"/>
                    </a:lnTo>
                    <a:lnTo>
                      <a:pt x="2019795" y="15243256"/>
                    </a:lnTo>
                    <a:lnTo>
                      <a:pt x="2061138" y="15241085"/>
                    </a:lnTo>
                    <a:lnTo>
                      <a:pt x="2175797" y="15221961"/>
                    </a:lnTo>
                    <a:lnTo>
                      <a:pt x="2169229" y="15315639"/>
                    </a:lnTo>
                    <a:lnTo>
                      <a:pt x="2227080" y="15363506"/>
                    </a:lnTo>
                    <a:lnTo>
                      <a:pt x="2258662" y="15371328"/>
                    </a:lnTo>
                    <a:lnTo>
                      <a:pt x="2282912" y="15341526"/>
                    </a:lnTo>
                    <a:lnTo>
                      <a:pt x="2315490" y="15351258"/>
                    </a:lnTo>
                    <a:lnTo>
                      <a:pt x="2347542" y="15360783"/>
                    </a:lnTo>
                    <a:lnTo>
                      <a:pt x="2368176" y="15414597"/>
                    </a:lnTo>
                    <a:lnTo>
                      <a:pt x="2393026" y="15436952"/>
                    </a:lnTo>
                    <a:lnTo>
                      <a:pt x="2441183" y="15480308"/>
                    </a:lnTo>
                    <a:lnTo>
                      <a:pt x="2540178" y="15525623"/>
                    </a:lnTo>
                    <a:lnTo>
                      <a:pt x="2584813" y="15458715"/>
                    </a:lnTo>
                    <a:lnTo>
                      <a:pt x="2624362" y="15399336"/>
                    </a:lnTo>
                    <a:lnTo>
                      <a:pt x="2602751" y="15318451"/>
                    </a:lnTo>
                    <a:lnTo>
                      <a:pt x="2644662" y="15260132"/>
                    </a:lnTo>
                    <a:lnTo>
                      <a:pt x="2669676" y="15253838"/>
                    </a:lnTo>
                    <a:lnTo>
                      <a:pt x="2771713" y="15260349"/>
                    </a:lnTo>
                    <a:lnTo>
                      <a:pt x="2825144" y="15247423"/>
                    </a:lnTo>
                    <a:lnTo>
                      <a:pt x="2827584" y="15162284"/>
                    </a:lnTo>
                    <a:lnTo>
                      <a:pt x="2882699" y="15139076"/>
                    </a:lnTo>
                    <a:lnTo>
                      <a:pt x="2903669" y="15130230"/>
                    </a:lnTo>
                    <a:lnTo>
                      <a:pt x="2928367" y="15134695"/>
                    </a:lnTo>
                    <a:lnTo>
                      <a:pt x="2949346" y="15121393"/>
                    </a:lnTo>
                    <a:lnTo>
                      <a:pt x="2986007" y="15098185"/>
                    </a:lnTo>
                    <a:lnTo>
                      <a:pt x="3013382" y="15054442"/>
                    </a:lnTo>
                    <a:lnTo>
                      <a:pt x="3052721" y="15038425"/>
                    </a:lnTo>
                    <a:lnTo>
                      <a:pt x="3115229" y="15012876"/>
                    </a:lnTo>
                    <a:lnTo>
                      <a:pt x="3136647" y="15039572"/>
                    </a:lnTo>
                    <a:lnTo>
                      <a:pt x="3199623" y="14989451"/>
                    </a:lnTo>
                    <a:lnTo>
                      <a:pt x="3228608" y="14956383"/>
                    </a:lnTo>
                    <a:lnTo>
                      <a:pt x="3272371" y="14935088"/>
                    </a:lnTo>
                    <a:lnTo>
                      <a:pt x="3338511" y="14949717"/>
                    </a:lnTo>
                    <a:lnTo>
                      <a:pt x="3354682" y="14929600"/>
                    </a:lnTo>
                    <a:lnTo>
                      <a:pt x="3373727" y="14910563"/>
                    </a:lnTo>
                    <a:lnTo>
                      <a:pt x="3392412" y="14885870"/>
                    </a:lnTo>
                    <a:lnTo>
                      <a:pt x="3401763" y="14858839"/>
                    </a:lnTo>
                    <a:lnTo>
                      <a:pt x="3418613" y="14841196"/>
                    </a:lnTo>
                    <a:lnTo>
                      <a:pt x="3437297" y="14821681"/>
                    </a:lnTo>
                    <a:lnTo>
                      <a:pt x="3458994" y="14805958"/>
                    </a:lnTo>
                    <a:lnTo>
                      <a:pt x="3475744" y="14784071"/>
                    </a:lnTo>
                    <a:lnTo>
                      <a:pt x="3490175" y="14765322"/>
                    </a:lnTo>
                    <a:lnTo>
                      <a:pt x="3511490" y="14738843"/>
                    </a:lnTo>
                    <a:lnTo>
                      <a:pt x="3517912" y="14716057"/>
                    </a:lnTo>
                    <a:lnTo>
                      <a:pt x="3541396" y="14701016"/>
                    </a:lnTo>
                    <a:lnTo>
                      <a:pt x="3571556" y="14701562"/>
                    </a:lnTo>
                    <a:lnTo>
                      <a:pt x="3596801" y="14711983"/>
                    </a:lnTo>
                    <a:lnTo>
                      <a:pt x="3624512" y="14710110"/>
                    </a:lnTo>
                    <a:lnTo>
                      <a:pt x="3827504" y="14803499"/>
                    </a:lnTo>
                    <a:lnTo>
                      <a:pt x="3790987" y="14658721"/>
                    </a:lnTo>
                    <a:lnTo>
                      <a:pt x="3874281" y="14641252"/>
                    </a:lnTo>
                    <a:lnTo>
                      <a:pt x="3895643" y="14636787"/>
                    </a:lnTo>
                    <a:lnTo>
                      <a:pt x="3971155" y="14669182"/>
                    </a:lnTo>
                    <a:lnTo>
                      <a:pt x="4002143" y="14673898"/>
                    </a:lnTo>
                    <a:lnTo>
                      <a:pt x="4102756" y="14691841"/>
                    </a:lnTo>
                    <a:lnTo>
                      <a:pt x="4173783" y="14646356"/>
                    </a:lnTo>
                    <a:lnTo>
                      <a:pt x="4238814" y="14663015"/>
                    </a:lnTo>
                    <a:lnTo>
                      <a:pt x="4261007" y="14667861"/>
                    </a:lnTo>
                    <a:lnTo>
                      <a:pt x="4296243" y="14695962"/>
                    </a:lnTo>
                    <a:lnTo>
                      <a:pt x="4314986" y="14709266"/>
                    </a:lnTo>
                    <a:lnTo>
                      <a:pt x="4357298" y="14739317"/>
                    </a:lnTo>
                    <a:lnTo>
                      <a:pt x="4400528" y="14761887"/>
                    </a:lnTo>
                    <a:lnTo>
                      <a:pt x="4455088" y="14763672"/>
                    </a:lnTo>
                    <a:lnTo>
                      <a:pt x="4505776" y="14761418"/>
                    </a:lnTo>
                    <a:lnTo>
                      <a:pt x="4613081" y="14820884"/>
                    </a:lnTo>
                    <a:lnTo>
                      <a:pt x="4652316" y="14850725"/>
                    </a:lnTo>
                    <a:lnTo>
                      <a:pt x="4685685" y="14855316"/>
                    </a:lnTo>
                    <a:lnTo>
                      <a:pt x="4734587" y="14879842"/>
                    </a:lnTo>
                    <a:lnTo>
                      <a:pt x="4781555" y="14889110"/>
                    </a:lnTo>
                    <a:lnTo>
                      <a:pt x="4819621" y="14920097"/>
                    </a:lnTo>
                    <a:lnTo>
                      <a:pt x="5025310" y="15150393"/>
                    </a:lnTo>
                    <a:lnTo>
                      <a:pt x="5033170" y="15182614"/>
                    </a:lnTo>
                    <a:lnTo>
                      <a:pt x="5084454" y="15308089"/>
                    </a:lnTo>
                    <a:lnTo>
                      <a:pt x="5137673" y="15471868"/>
                    </a:lnTo>
                    <a:lnTo>
                      <a:pt x="5099817" y="15606998"/>
                    </a:lnTo>
                    <a:lnTo>
                      <a:pt x="5084860" y="15634199"/>
                    </a:lnTo>
                    <a:lnTo>
                      <a:pt x="5070867" y="15806651"/>
                    </a:lnTo>
                    <a:lnTo>
                      <a:pt x="5071255" y="15835511"/>
                    </a:lnTo>
                    <a:lnTo>
                      <a:pt x="5099712" y="15845752"/>
                    </a:lnTo>
                    <a:lnTo>
                      <a:pt x="5131509" y="15842605"/>
                    </a:lnTo>
                    <a:lnTo>
                      <a:pt x="5155507" y="15805122"/>
                    </a:lnTo>
                    <a:lnTo>
                      <a:pt x="5167832" y="15786543"/>
                    </a:lnTo>
                    <a:lnTo>
                      <a:pt x="5202562" y="15801888"/>
                    </a:lnTo>
                    <a:lnTo>
                      <a:pt x="5220201" y="15815698"/>
                    </a:lnTo>
                    <a:lnTo>
                      <a:pt x="5239921" y="15827353"/>
                    </a:lnTo>
                    <a:lnTo>
                      <a:pt x="5259560" y="15795042"/>
                    </a:lnTo>
                    <a:lnTo>
                      <a:pt x="5278582" y="15767372"/>
                    </a:lnTo>
                    <a:lnTo>
                      <a:pt x="5301452" y="15768861"/>
                    </a:lnTo>
                    <a:lnTo>
                      <a:pt x="5351759" y="15729840"/>
                    </a:lnTo>
                    <a:lnTo>
                      <a:pt x="5296348" y="15671738"/>
                    </a:lnTo>
                    <a:lnTo>
                      <a:pt x="5301129" y="15628761"/>
                    </a:lnTo>
                    <a:lnTo>
                      <a:pt x="5311395" y="15607081"/>
                    </a:lnTo>
                    <a:lnTo>
                      <a:pt x="5342082" y="15518538"/>
                    </a:lnTo>
                    <a:lnTo>
                      <a:pt x="5355920" y="15433529"/>
                    </a:lnTo>
                    <a:lnTo>
                      <a:pt x="5381382" y="15354002"/>
                    </a:lnTo>
                    <a:lnTo>
                      <a:pt x="5393325" y="15316684"/>
                    </a:lnTo>
                    <a:lnTo>
                      <a:pt x="5422595" y="15284583"/>
                    </a:lnTo>
                    <a:lnTo>
                      <a:pt x="5423550" y="15243823"/>
                    </a:lnTo>
                    <a:lnTo>
                      <a:pt x="5424545" y="15202207"/>
                    </a:lnTo>
                    <a:lnTo>
                      <a:pt x="5395747" y="15195283"/>
                    </a:lnTo>
                    <a:lnTo>
                      <a:pt x="5390904" y="15163574"/>
                    </a:lnTo>
                    <a:lnTo>
                      <a:pt x="5397790" y="15137473"/>
                    </a:lnTo>
                    <a:lnTo>
                      <a:pt x="5412046" y="15109379"/>
                    </a:lnTo>
                    <a:lnTo>
                      <a:pt x="5409944" y="15081963"/>
                    </a:lnTo>
                    <a:lnTo>
                      <a:pt x="5407265" y="15047361"/>
                    </a:lnTo>
                    <a:lnTo>
                      <a:pt x="5382827" y="15015059"/>
                    </a:lnTo>
                    <a:lnTo>
                      <a:pt x="5380024" y="14978586"/>
                    </a:lnTo>
                    <a:lnTo>
                      <a:pt x="5377959" y="14951760"/>
                    </a:lnTo>
                    <a:lnTo>
                      <a:pt x="5383868" y="14874487"/>
                    </a:lnTo>
                    <a:lnTo>
                      <a:pt x="5364195" y="14829089"/>
                    </a:lnTo>
                    <a:lnTo>
                      <a:pt x="5329552" y="14820757"/>
                    </a:lnTo>
                    <a:lnTo>
                      <a:pt x="5312015" y="14799035"/>
                    </a:lnTo>
                    <a:lnTo>
                      <a:pt x="5331952" y="14788753"/>
                    </a:lnTo>
                    <a:lnTo>
                      <a:pt x="5360437" y="14811790"/>
                    </a:lnTo>
                    <a:lnTo>
                      <a:pt x="5381388" y="14804482"/>
                    </a:lnTo>
                    <a:lnTo>
                      <a:pt x="5404174" y="14768863"/>
                    </a:lnTo>
                    <a:lnTo>
                      <a:pt x="5405808" y="14591776"/>
                    </a:lnTo>
                    <a:lnTo>
                      <a:pt x="5393635" y="14567805"/>
                    </a:lnTo>
                    <a:lnTo>
                      <a:pt x="5352081" y="14539032"/>
                    </a:lnTo>
                    <a:lnTo>
                      <a:pt x="5344668" y="14480753"/>
                    </a:lnTo>
                    <a:lnTo>
                      <a:pt x="5323348" y="14465154"/>
                    </a:lnTo>
                    <a:lnTo>
                      <a:pt x="5298847" y="14485600"/>
                    </a:lnTo>
                    <a:lnTo>
                      <a:pt x="5285412" y="14522577"/>
                    </a:lnTo>
                    <a:lnTo>
                      <a:pt x="5268449" y="14646272"/>
                    </a:lnTo>
                    <a:lnTo>
                      <a:pt x="5249452" y="14658941"/>
                    </a:lnTo>
                    <a:lnTo>
                      <a:pt x="5230920" y="14637004"/>
                    </a:lnTo>
                    <a:lnTo>
                      <a:pt x="5250639" y="14565086"/>
                    </a:lnTo>
                    <a:lnTo>
                      <a:pt x="5226328" y="14531079"/>
                    </a:lnTo>
                    <a:lnTo>
                      <a:pt x="5161786" y="14525473"/>
                    </a:lnTo>
                    <a:lnTo>
                      <a:pt x="5168604" y="14574518"/>
                    </a:lnTo>
                    <a:lnTo>
                      <a:pt x="5142001" y="14599090"/>
                    </a:lnTo>
                    <a:lnTo>
                      <a:pt x="5103771" y="14563892"/>
                    </a:lnTo>
                    <a:lnTo>
                      <a:pt x="5135722" y="14482704"/>
                    </a:lnTo>
                    <a:lnTo>
                      <a:pt x="5103907" y="14450823"/>
                    </a:lnTo>
                    <a:lnTo>
                      <a:pt x="5082144" y="14448101"/>
                    </a:lnTo>
                    <a:lnTo>
                      <a:pt x="5011903" y="14472884"/>
                    </a:lnTo>
                    <a:lnTo>
                      <a:pt x="5037874" y="14595298"/>
                    </a:lnTo>
                    <a:lnTo>
                      <a:pt x="5025013" y="14650774"/>
                    </a:lnTo>
                    <a:lnTo>
                      <a:pt x="4997176" y="14646818"/>
                    </a:lnTo>
                    <a:lnTo>
                      <a:pt x="4978771" y="14631730"/>
                    </a:lnTo>
                    <a:lnTo>
                      <a:pt x="4949997" y="14593308"/>
                    </a:lnTo>
                    <a:lnTo>
                      <a:pt x="4936990" y="14563545"/>
                    </a:lnTo>
                    <a:lnTo>
                      <a:pt x="4920287" y="14533795"/>
                    </a:lnTo>
                    <a:lnTo>
                      <a:pt x="4906384" y="14509012"/>
                    </a:lnTo>
                    <a:lnTo>
                      <a:pt x="4884212" y="14489333"/>
                    </a:lnTo>
                    <a:lnTo>
                      <a:pt x="4868594" y="14467139"/>
                    </a:lnTo>
                    <a:lnTo>
                      <a:pt x="4860213" y="14440622"/>
                    </a:lnTo>
                    <a:lnTo>
                      <a:pt x="4871314" y="14419538"/>
                    </a:lnTo>
                    <a:lnTo>
                      <a:pt x="4957324" y="14406659"/>
                    </a:lnTo>
                    <a:lnTo>
                      <a:pt x="4943638" y="14287640"/>
                    </a:lnTo>
                    <a:lnTo>
                      <a:pt x="5004614" y="14239993"/>
                    </a:lnTo>
                    <a:lnTo>
                      <a:pt x="5055429" y="14216357"/>
                    </a:lnTo>
                    <a:lnTo>
                      <a:pt x="5082057" y="14184027"/>
                    </a:lnTo>
                    <a:lnTo>
                      <a:pt x="5087697" y="14149338"/>
                    </a:lnTo>
                    <a:lnTo>
                      <a:pt x="5101191" y="14118937"/>
                    </a:lnTo>
                    <a:lnTo>
                      <a:pt x="5069838" y="14129131"/>
                    </a:lnTo>
                    <a:lnTo>
                      <a:pt x="5046776" y="14105331"/>
                    </a:lnTo>
                    <a:lnTo>
                      <a:pt x="5026991" y="14097936"/>
                    </a:lnTo>
                    <a:lnTo>
                      <a:pt x="5005209" y="14103973"/>
                    </a:lnTo>
                    <a:lnTo>
                      <a:pt x="4955305" y="14103973"/>
                    </a:lnTo>
                    <a:lnTo>
                      <a:pt x="4860496" y="14070778"/>
                    </a:lnTo>
                    <a:lnTo>
                      <a:pt x="4842751" y="14045487"/>
                    </a:lnTo>
                    <a:lnTo>
                      <a:pt x="4833952" y="14018239"/>
                    </a:lnTo>
                    <a:lnTo>
                      <a:pt x="4838897" y="13914521"/>
                    </a:lnTo>
                    <a:lnTo>
                      <a:pt x="4878712" y="13792786"/>
                    </a:lnTo>
                    <a:lnTo>
                      <a:pt x="4876758" y="13713594"/>
                    </a:lnTo>
                    <a:lnTo>
                      <a:pt x="4873884" y="13597003"/>
                    </a:lnTo>
                    <a:lnTo>
                      <a:pt x="4821177" y="13442153"/>
                    </a:lnTo>
                    <a:lnTo>
                      <a:pt x="4848189" y="13332743"/>
                    </a:lnTo>
                    <a:lnTo>
                      <a:pt x="4866061" y="13260267"/>
                    </a:lnTo>
                    <a:lnTo>
                      <a:pt x="4945932" y="13260992"/>
                    </a:lnTo>
                    <a:lnTo>
                      <a:pt x="4988292" y="13215764"/>
                    </a:lnTo>
                    <a:lnTo>
                      <a:pt x="4985576" y="13194001"/>
                    </a:lnTo>
                    <a:lnTo>
                      <a:pt x="4974820" y="13175937"/>
                    </a:lnTo>
                    <a:lnTo>
                      <a:pt x="4951296" y="13170067"/>
                    </a:lnTo>
                    <a:lnTo>
                      <a:pt x="4894354" y="13089688"/>
                    </a:lnTo>
                    <a:lnTo>
                      <a:pt x="4948341" y="12951802"/>
                    </a:lnTo>
                    <a:lnTo>
                      <a:pt x="4984209" y="12892032"/>
                    </a:lnTo>
                    <a:lnTo>
                      <a:pt x="5014350" y="12858288"/>
                    </a:lnTo>
                    <a:lnTo>
                      <a:pt x="5032268" y="12836010"/>
                    </a:lnTo>
                    <a:lnTo>
                      <a:pt x="5013116" y="12755848"/>
                    </a:lnTo>
                    <a:lnTo>
                      <a:pt x="4952270" y="12701315"/>
                    </a:lnTo>
                    <a:lnTo>
                      <a:pt x="4977409" y="12632240"/>
                    </a:lnTo>
                    <a:lnTo>
                      <a:pt x="5005981" y="12628156"/>
                    </a:lnTo>
                    <a:lnTo>
                      <a:pt x="5019664" y="12644996"/>
                    </a:lnTo>
                    <a:lnTo>
                      <a:pt x="5033862" y="12668920"/>
                    </a:lnTo>
                    <a:lnTo>
                      <a:pt x="5044060" y="12704328"/>
                    </a:lnTo>
                    <a:lnTo>
                      <a:pt x="5068650" y="12728854"/>
                    </a:lnTo>
                    <a:lnTo>
                      <a:pt x="5110285" y="12708706"/>
                    </a:lnTo>
                    <a:lnTo>
                      <a:pt x="5139276" y="12719292"/>
                    </a:lnTo>
                    <a:lnTo>
                      <a:pt x="5159206" y="12754958"/>
                    </a:lnTo>
                    <a:lnTo>
                      <a:pt x="5154623" y="12780290"/>
                    </a:lnTo>
                    <a:lnTo>
                      <a:pt x="5162397" y="12804986"/>
                    </a:lnTo>
                    <a:lnTo>
                      <a:pt x="5187201" y="12828615"/>
                    </a:lnTo>
                    <a:lnTo>
                      <a:pt x="5213593" y="12880386"/>
                    </a:lnTo>
                    <a:lnTo>
                      <a:pt x="5156595" y="12913888"/>
                    </a:lnTo>
                    <a:lnTo>
                      <a:pt x="5150159" y="12957330"/>
                    </a:lnTo>
                    <a:lnTo>
                      <a:pt x="5145719" y="12987297"/>
                    </a:lnTo>
                    <a:lnTo>
                      <a:pt x="5124464" y="13060152"/>
                    </a:lnTo>
                    <a:lnTo>
                      <a:pt x="5128396" y="13083825"/>
                    </a:lnTo>
                    <a:lnTo>
                      <a:pt x="5133136" y="13112176"/>
                    </a:lnTo>
                    <a:lnTo>
                      <a:pt x="5165293" y="13120632"/>
                    </a:lnTo>
                    <a:lnTo>
                      <a:pt x="5169196" y="13158639"/>
                    </a:lnTo>
                    <a:lnTo>
                      <a:pt x="5173490" y="13200425"/>
                    </a:lnTo>
                    <a:lnTo>
                      <a:pt x="5138894" y="13237270"/>
                    </a:lnTo>
                    <a:lnTo>
                      <a:pt x="5137911" y="13278337"/>
                    </a:lnTo>
                    <a:lnTo>
                      <a:pt x="5146946" y="13317351"/>
                    </a:lnTo>
                    <a:lnTo>
                      <a:pt x="5174597" y="13341542"/>
                    </a:lnTo>
                    <a:lnTo>
                      <a:pt x="5196084" y="13352549"/>
                    </a:lnTo>
                    <a:lnTo>
                      <a:pt x="5212722" y="13368105"/>
                    </a:lnTo>
                    <a:lnTo>
                      <a:pt x="5260208" y="13412608"/>
                    </a:lnTo>
                    <a:lnTo>
                      <a:pt x="5316865" y="13502977"/>
                    </a:lnTo>
                    <a:lnTo>
                      <a:pt x="5339226" y="13563975"/>
                    </a:lnTo>
                    <a:lnTo>
                      <a:pt x="5363622" y="13630535"/>
                    </a:lnTo>
                    <a:lnTo>
                      <a:pt x="5316396" y="13686476"/>
                    </a:lnTo>
                    <a:lnTo>
                      <a:pt x="5335152" y="13744885"/>
                    </a:lnTo>
                    <a:lnTo>
                      <a:pt x="5364862" y="13735230"/>
                    </a:lnTo>
                    <a:lnTo>
                      <a:pt x="5367156" y="13706918"/>
                    </a:lnTo>
                    <a:lnTo>
                      <a:pt x="5407154" y="13659107"/>
                    </a:lnTo>
                    <a:lnTo>
                      <a:pt x="5471230" y="13667436"/>
                    </a:lnTo>
                    <a:lnTo>
                      <a:pt x="5505176" y="13633348"/>
                    </a:lnTo>
                    <a:lnTo>
                      <a:pt x="5514019" y="13610943"/>
                    </a:lnTo>
                    <a:lnTo>
                      <a:pt x="5502286" y="13578424"/>
                    </a:lnTo>
                    <a:lnTo>
                      <a:pt x="5505176" y="13553092"/>
                    </a:lnTo>
                    <a:lnTo>
                      <a:pt x="5520942" y="13536730"/>
                    </a:lnTo>
                    <a:lnTo>
                      <a:pt x="5543852" y="13541704"/>
                    </a:lnTo>
                    <a:lnTo>
                      <a:pt x="5582619" y="13564654"/>
                    </a:lnTo>
                    <a:lnTo>
                      <a:pt x="5642256" y="13549440"/>
                    </a:lnTo>
                    <a:lnTo>
                      <a:pt x="5672480" y="13502766"/>
                    </a:lnTo>
                    <a:lnTo>
                      <a:pt x="5704695" y="13475689"/>
                    </a:lnTo>
                    <a:lnTo>
                      <a:pt x="5779977" y="13459451"/>
                    </a:lnTo>
                    <a:lnTo>
                      <a:pt x="5789456" y="13412992"/>
                    </a:lnTo>
                    <a:lnTo>
                      <a:pt x="5779193" y="13336054"/>
                    </a:lnTo>
                    <a:lnTo>
                      <a:pt x="5688374" y="13374821"/>
                    </a:lnTo>
                    <a:lnTo>
                      <a:pt x="5647995" y="13342262"/>
                    </a:lnTo>
                    <a:lnTo>
                      <a:pt x="5558264" y="13223373"/>
                    </a:lnTo>
                    <a:lnTo>
                      <a:pt x="5540181" y="13178148"/>
                    </a:lnTo>
                    <a:lnTo>
                      <a:pt x="5545489" y="13111029"/>
                    </a:lnTo>
                    <a:lnTo>
                      <a:pt x="5563665" y="13086544"/>
                    </a:lnTo>
                    <a:lnTo>
                      <a:pt x="5585422" y="13070219"/>
                    </a:lnTo>
                    <a:lnTo>
                      <a:pt x="5612118" y="13055944"/>
                    </a:lnTo>
                    <a:lnTo>
                      <a:pt x="5644445" y="13052158"/>
                    </a:lnTo>
                    <a:lnTo>
                      <a:pt x="5672480" y="13041660"/>
                    </a:lnTo>
                    <a:lnTo>
                      <a:pt x="5698404" y="13031924"/>
                    </a:lnTo>
                    <a:lnTo>
                      <a:pt x="5720062" y="13007907"/>
                    </a:lnTo>
                    <a:lnTo>
                      <a:pt x="5745927" y="13000850"/>
                    </a:lnTo>
                    <a:lnTo>
                      <a:pt x="5769051" y="12994525"/>
                    </a:lnTo>
                    <a:lnTo>
                      <a:pt x="5807880" y="13009054"/>
                    </a:lnTo>
                    <a:lnTo>
                      <a:pt x="5833556" y="12992224"/>
                    </a:lnTo>
                    <a:lnTo>
                      <a:pt x="5853173" y="12952223"/>
                    </a:lnTo>
                    <a:lnTo>
                      <a:pt x="5875150" y="12930125"/>
                    </a:lnTo>
                    <a:lnTo>
                      <a:pt x="5905071" y="12949172"/>
                    </a:lnTo>
                    <a:lnTo>
                      <a:pt x="5898442" y="13049737"/>
                    </a:lnTo>
                    <a:lnTo>
                      <a:pt x="5939416" y="13008632"/>
                    </a:lnTo>
                    <a:lnTo>
                      <a:pt x="5982601" y="13057987"/>
                    </a:lnTo>
                    <a:lnTo>
                      <a:pt x="6003365" y="13081704"/>
                    </a:lnTo>
                    <a:lnTo>
                      <a:pt x="5998711" y="13112772"/>
                    </a:lnTo>
                    <a:lnTo>
                      <a:pt x="6013886" y="13138234"/>
                    </a:lnTo>
                    <a:lnTo>
                      <a:pt x="6044045" y="13126377"/>
                    </a:lnTo>
                    <a:lnTo>
                      <a:pt x="6038055" y="13102701"/>
                    </a:lnTo>
                    <a:lnTo>
                      <a:pt x="6035649" y="13081109"/>
                    </a:lnTo>
                    <a:lnTo>
                      <a:pt x="6039342" y="13045700"/>
                    </a:lnTo>
                    <a:lnTo>
                      <a:pt x="6037773" y="13018030"/>
                    </a:lnTo>
                    <a:lnTo>
                      <a:pt x="6014115" y="12978578"/>
                    </a:lnTo>
                    <a:lnTo>
                      <a:pt x="5996727" y="12938500"/>
                    </a:lnTo>
                    <a:lnTo>
                      <a:pt x="5976217" y="12897098"/>
                    </a:lnTo>
                    <a:lnTo>
                      <a:pt x="5971712" y="12868917"/>
                    </a:lnTo>
                    <a:lnTo>
                      <a:pt x="5963297" y="12816250"/>
                    </a:lnTo>
                    <a:lnTo>
                      <a:pt x="5988653" y="12696679"/>
                    </a:lnTo>
                    <a:lnTo>
                      <a:pt x="6016596" y="12649929"/>
                    </a:lnTo>
                    <a:lnTo>
                      <a:pt x="6057681" y="12707863"/>
                    </a:lnTo>
                    <a:lnTo>
                      <a:pt x="6018937" y="12780039"/>
                    </a:lnTo>
                    <a:lnTo>
                      <a:pt x="6034284" y="12809069"/>
                    </a:lnTo>
                    <a:lnTo>
                      <a:pt x="6079063" y="12842652"/>
                    </a:lnTo>
                    <a:lnTo>
                      <a:pt x="6084610" y="12890680"/>
                    </a:lnTo>
                    <a:lnTo>
                      <a:pt x="6103189" y="12864071"/>
                    </a:lnTo>
                    <a:lnTo>
                      <a:pt x="6156640" y="12740376"/>
                    </a:lnTo>
                    <a:lnTo>
                      <a:pt x="6153790" y="12703181"/>
                    </a:lnTo>
                    <a:lnTo>
                      <a:pt x="6129513" y="12688184"/>
                    </a:lnTo>
                    <a:lnTo>
                      <a:pt x="6125411" y="12663525"/>
                    </a:lnTo>
                    <a:lnTo>
                      <a:pt x="6120862" y="12636236"/>
                    </a:lnTo>
                    <a:lnTo>
                      <a:pt x="6125380" y="12611326"/>
                    </a:lnTo>
                    <a:lnTo>
                      <a:pt x="6130858" y="12584630"/>
                    </a:lnTo>
                    <a:lnTo>
                      <a:pt x="6149812" y="12492270"/>
                    </a:lnTo>
                    <a:lnTo>
                      <a:pt x="6200225" y="12502511"/>
                    </a:lnTo>
                    <a:lnTo>
                      <a:pt x="6275039" y="12526147"/>
                    </a:lnTo>
                    <a:lnTo>
                      <a:pt x="6296591" y="12532947"/>
                    </a:lnTo>
                    <a:lnTo>
                      <a:pt x="6323709" y="12538050"/>
                    </a:lnTo>
                    <a:lnTo>
                      <a:pt x="6343050" y="12549268"/>
                    </a:lnTo>
                    <a:lnTo>
                      <a:pt x="6385593" y="12574008"/>
                    </a:lnTo>
                    <a:lnTo>
                      <a:pt x="6411954" y="12650053"/>
                    </a:lnTo>
                    <a:lnTo>
                      <a:pt x="6435544" y="12692087"/>
                    </a:lnTo>
                    <a:lnTo>
                      <a:pt x="6461830" y="12727459"/>
                    </a:lnTo>
                    <a:lnTo>
                      <a:pt x="6473622" y="12745138"/>
                    </a:lnTo>
                    <a:lnTo>
                      <a:pt x="6498129" y="12716873"/>
                    </a:lnTo>
                    <a:lnTo>
                      <a:pt x="6499620" y="12661404"/>
                    </a:lnTo>
                    <a:lnTo>
                      <a:pt x="6525315" y="12647203"/>
                    </a:lnTo>
                    <a:lnTo>
                      <a:pt x="6545506" y="12655454"/>
                    </a:lnTo>
                    <a:lnTo>
                      <a:pt x="6555025" y="12681127"/>
                    </a:lnTo>
                    <a:lnTo>
                      <a:pt x="6576999" y="12692087"/>
                    </a:lnTo>
                    <a:lnTo>
                      <a:pt x="6607375" y="12669177"/>
                    </a:lnTo>
                    <a:lnTo>
                      <a:pt x="6599084" y="12645588"/>
                    </a:lnTo>
                    <a:lnTo>
                      <a:pt x="6606370" y="12606527"/>
                    </a:lnTo>
                    <a:lnTo>
                      <a:pt x="6624205" y="12592797"/>
                    </a:lnTo>
                    <a:lnTo>
                      <a:pt x="6609986" y="12546890"/>
                    </a:lnTo>
                    <a:lnTo>
                      <a:pt x="6595940" y="12519521"/>
                    </a:lnTo>
                    <a:lnTo>
                      <a:pt x="6589246" y="12492146"/>
                    </a:lnTo>
                    <a:lnTo>
                      <a:pt x="6594895" y="12460982"/>
                    </a:lnTo>
                    <a:lnTo>
                      <a:pt x="6628564" y="12428550"/>
                    </a:lnTo>
                    <a:lnTo>
                      <a:pt x="6639572" y="12395569"/>
                    </a:lnTo>
                    <a:lnTo>
                      <a:pt x="6649075" y="12367047"/>
                    </a:lnTo>
                    <a:lnTo>
                      <a:pt x="6653003" y="12270392"/>
                    </a:lnTo>
                    <a:lnTo>
                      <a:pt x="6672215" y="12247308"/>
                    </a:lnTo>
                    <a:lnTo>
                      <a:pt x="6700483" y="12268473"/>
                    </a:lnTo>
                    <a:lnTo>
                      <a:pt x="6720332" y="12311233"/>
                    </a:lnTo>
                    <a:lnTo>
                      <a:pt x="6734102" y="12341194"/>
                    </a:lnTo>
                    <a:lnTo>
                      <a:pt x="6745661" y="12375164"/>
                    </a:lnTo>
                    <a:lnTo>
                      <a:pt x="6742247" y="12408443"/>
                    </a:lnTo>
                    <a:lnTo>
                      <a:pt x="6704820" y="12423366"/>
                    </a:lnTo>
                    <a:lnTo>
                      <a:pt x="6710302" y="12462216"/>
                    </a:lnTo>
                    <a:lnTo>
                      <a:pt x="6719548" y="12481812"/>
                    </a:lnTo>
                    <a:lnTo>
                      <a:pt x="6740586" y="12489033"/>
                    </a:lnTo>
                    <a:lnTo>
                      <a:pt x="6749745" y="12511184"/>
                    </a:lnTo>
                    <a:lnTo>
                      <a:pt x="6774463" y="12571071"/>
                    </a:lnTo>
                    <a:lnTo>
                      <a:pt x="6740248" y="12599126"/>
                    </a:lnTo>
                    <a:lnTo>
                      <a:pt x="6744303" y="12652645"/>
                    </a:lnTo>
                    <a:lnTo>
                      <a:pt x="6773613" y="12629688"/>
                    </a:lnTo>
                    <a:lnTo>
                      <a:pt x="6804517" y="12610009"/>
                    </a:lnTo>
                    <a:lnTo>
                      <a:pt x="6834081" y="12588714"/>
                    </a:lnTo>
                    <a:lnTo>
                      <a:pt x="6864708" y="12566693"/>
                    </a:lnTo>
                    <a:lnTo>
                      <a:pt x="6892629" y="12535281"/>
                    </a:lnTo>
                    <a:lnTo>
                      <a:pt x="6919768" y="12509819"/>
                    </a:lnTo>
                    <a:lnTo>
                      <a:pt x="6957239" y="12484019"/>
                    </a:lnTo>
                    <a:lnTo>
                      <a:pt x="6994437" y="12451460"/>
                    </a:lnTo>
                    <a:lnTo>
                      <a:pt x="7015452" y="12430206"/>
                    </a:lnTo>
                    <a:lnTo>
                      <a:pt x="7038108" y="12411884"/>
                    </a:lnTo>
                    <a:lnTo>
                      <a:pt x="7066566" y="12388934"/>
                    </a:lnTo>
                    <a:lnTo>
                      <a:pt x="7105568" y="12377880"/>
                    </a:lnTo>
                    <a:lnTo>
                      <a:pt x="7131960" y="12352037"/>
                    </a:lnTo>
                    <a:lnTo>
                      <a:pt x="7148282" y="12330274"/>
                    </a:lnTo>
                    <a:lnTo>
                      <a:pt x="7164222" y="12303708"/>
                    </a:lnTo>
                    <a:lnTo>
                      <a:pt x="7180292" y="12272039"/>
                    </a:lnTo>
                    <a:lnTo>
                      <a:pt x="7198613" y="12247302"/>
                    </a:lnTo>
                    <a:lnTo>
                      <a:pt x="7219077" y="12219670"/>
                    </a:lnTo>
                    <a:lnTo>
                      <a:pt x="7244245" y="12194682"/>
                    </a:lnTo>
                    <a:lnTo>
                      <a:pt x="7262544" y="12165692"/>
                    </a:lnTo>
                    <a:lnTo>
                      <a:pt x="7279607" y="12138658"/>
                    </a:lnTo>
                    <a:lnTo>
                      <a:pt x="7299820" y="12095125"/>
                    </a:lnTo>
                    <a:lnTo>
                      <a:pt x="7311512" y="12065031"/>
                    </a:lnTo>
                    <a:lnTo>
                      <a:pt x="7342667" y="11965958"/>
                    </a:lnTo>
                    <a:lnTo>
                      <a:pt x="7440918" y="11823092"/>
                    </a:lnTo>
                    <a:lnTo>
                      <a:pt x="7511456" y="11749472"/>
                    </a:lnTo>
                    <a:lnTo>
                      <a:pt x="7548099" y="11711254"/>
                    </a:lnTo>
                    <a:lnTo>
                      <a:pt x="7656598" y="11621101"/>
                    </a:lnTo>
                    <a:lnTo>
                      <a:pt x="7674680" y="11576726"/>
                    </a:lnTo>
                    <a:lnTo>
                      <a:pt x="7727961" y="11544253"/>
                    </a:lnTo>
                    <a:lnTo>
                      <a:pt x="7756675" y="11517347"/>
                    </a:lnTo>
                    <a:lnTo>
                      <a:pt x="7775338" y="11488307"/>
                    </a:lnTo>
                    <a:lnTo>
                      <a:pt x="7822392" y="11424766"/>
                    </a:lnTo>
                    <a:lnTo>
                      <a:pt x="7903854" y="11342641"/>
                    </a:lnTo>
                    <a:lnTo>
                      <a:pt x="7968483" y="11297881"/>
                    </a:lnTo>
                    <a:lnTo>
                      <a:pt x="8003910" y="11270636"/>
                    </a:lnTo>
                    <a:lnTo>
                      <a:pt x="8058406" y="11184561"/>
                    </a:lnTo>
                    <a:lnTo>
                      <a:pt x="8070625" y="11042678"/>
                    </a:lnTo>
                    <a:lnTo>
                      <a:pt x="8096345" y="11004076"/>
                    </a:lnTo>
                    <a:lnTo>
                      <a:pt x="8119698" y="10969011"/>
                    </a:lnTo>
                    <a:lnTo>
                      <a:pt x="8160766" y="10969479"/>
                    </a:lnTo>
                    <a:lnTo>
                      <a:pt x="8186116" y="10933348"/>
                    </a:lnTo>
                    <a:lnTo>
                      <a:pt x="8243564" y="10851524"/>
                    </a:lnTo>
                    <a:lnTo>
                      <a:pt x="8258229" y="10744792"/>
                    </a:lnTo>
                    <a:lnTo>
                      <a:pt x="8318058" y="10664031"/>
                    </a:lnTo>
                    <a:lnTo>
                      <a:pt x="8342692" y="10640653"/>
                    </a:lnTo>
                    <a:lnTo>
                      <a:pt x="8379543" y="10588157"/>
                    </a:lnTo>
                    <a:lnTo>
                      <a:pt x="8401135" y="10543273"/>
                    </a:lnTo>
                    <a:lnTo>
                      <a:pt x="8429593" y="10504891"/>
                    </a:lnTo>
                    <a:lnTo>
                      <a:pt x="8462363" y="10460599"/>
                    </a:lnTo>
                    <a:lnTo>
                      <a:pt x="8512313" y="10428291"/>
                    </a:lnTo>
                    <a:lnTo>
                      <a:pt x="8545207" y="10383834"/>
                    </a:lnTo>
                    <a:lnTo>
                      <a:pt x="8587335" y="10326957"/>
                    </a:lnTo>
                    <a:lnTo>
                      <a:pt x="8688408" y="10068564"/>
                    </a:lnTo>
                    <a:lnTo>
                      <a:pt x="8674427" y="10005693"/>
                    </a:lnTo>
                    <a:lnTo>
                      <a:pt x="8662437" y="9981338"/>
                    </a:lnTo>
                    <a:lnTo>
                      <a:pt x="8618403" y="9965103"/>
                    </a:lnTo>
                    <a:lnTo>
                      <a:pt x="8514666" y="9908183"/>
                    </a:lnTo>
                    <a:lnTo>
                      <a:pt x="8552007" y="9854710"/>
                    </a:lnTo>
                    <a:lnTo>
                      <a:pt x="8621637" y="9829552"/>
                    </a:lnTo>
                    <a:lnTo>
                      <a:pt x="8695576" y="9930203"/>
                    </a:lnTo>
                    <a:lnTo>
                      <a:pt x="8751957" y="9924083"/>
                    </a:lnTo>
                    <a:lnTo>
                      <a:pt x="8763309" y="9906146"/>
                    </a:lnTo>
                    <a:lnTo>
                      <a:pt x="8770028" y="9869205"/>
                    </a:lnTo>
                    <a:lnTo>
                      <a:pt x="8775085" y="9847911"/>
                    </a:lnTo>
                    <a:lnTo>
                      <a:pt x="8794659" y="9823385"/>
                    </a:lnTo>
                    <a:lnTo>
                      <a:pt x="8814701" y="9804769"/>
                    </a:lnTo>
                    <a:lnTo>
                      <a:pt x="8836293" y="9796221"/>
                    </a:lnTo>
                    <a:lnTo>
                      <a:pt x="8871166" y="9773825"/>
                    </a:lnTo>
                    <a:lnTo>
                      <a:pt x="8906022" y="9744794"/>
                    </a:lnTo>
                    <a:lnTo>
                      <a:pt x="8935586" y="9715974"/>
                    </a:lnTo>
                    <a:lnTo>
                      <a:pt x="8946811" y="9678950"/>
                    </a:lnTo>
                    <a:lnTo>
                      <a:pt x="8963768" y="9640311"/>
                    </a:lnTo>
                    <a:lnTo>
                      <a:pt x="8972313" y="9598992"/>
                    </a:lnTo>
                    <a:lnTo>
                      <a:pt x="8981367" y="9555172"/>
                    </a:lnTo>
                    <a:lnTo>
                      <a:pt x="8984514" y="9506415"/>
                    </a:lnTo>
                    <a:lnTo>
                      <a:pt x="9000875" y="9464331"/>
                    </a:lnTo>
                    <a:lnTo>
                      <a:pt x="9011737" y="9436450"/>
                    </a:lnTo>
                    <a:lnTo>
                      <a:pt x="9032439" y="9407971"/>
                    </a:lnTo>
                    <a:lnTo>
                      <a:pt x="9040321" y="9380004"/>
                    </a:lnTo>
                    <a:lnTo>
                      <a:pt x="9045034" y="9348974"/>
                    </a:lnTo>
                    <a:lnTo>
                      <a:pt x="9032241" y="9319304"/>
                    </a:lnTo>
                    <a:lnTo>
                      <a:pt x="9008314" y="9300180"/>
                    </a:lnTo>
                    <a:lnTo>
                      <a:pt x="8983912" y="9245256"/>
                    </a:lnTo>
                    <a:lnTo>
                      <a:pt x="9011157" y="9201817"/>
                    </a:lnTo>
                    <a:lnTo>
                      <a:pt x="8994070" y="9162371"/>
                    </a:lnTo>
                    <a:lnTo>
                      <a:pt x="8976027" y="9120718"/>
                    </a:lnTo>
                    <a:lnTo>
                      <a:pt x="8903384" y="9125049"/>
                    </a:lnTo>
                    <a:lnTo>
                      <a:pt x="8883897" y="9053556"/>
                    </a:lnTo>
                    <a:lnTo>
                      <a:pt x="8881580" y="9028773"/>
                    </a:lnTo>
                    <a:lnTo>
                      <a:pt x="8901635" y="8986651"/>
                    </a:lnTo>
                    <a:lnTo>
                      <a:pt x="8932731" y="8964464"/>
                    </a:lnTo>
                    <a:lnTo>
                      <a:pt x="8953260" y="8936574"/>
                    </a:lnTo>
                    <a:lnTo>
                      <a:pt x="8985159" y="8893265"/>
                    </a:lnTo>
                    <a:lnTo>
                      <a:pt x="9012363" y="8800554"/>
                    </a:lnTo>
                    <a:lnTo>
                      <a:pt x="9066158" y="8782875"/>
                    </a:lnTo>
                    <a:lnTo>
                      <a:pt x="9125138" y="8763536"/>
                    </a:lnTo>
                    <a:lnTo>
                      <a:pt x="9145543" y="8836775"/>
                    </a:lnTo>
                    <a:lnTo>
                      <a:pt x="9234824" y="8803280"/>
                    </a:lnTo>
                    <a:lnTo>
                      <a:pt x="9295199" y="8780624"/>
                    </a:lnTo>
                    <a:lnTo>
                      <a:pt x="9377392" y="8744319"/>
                    </a:lnTo>
                    <a:lnTo>
                      <a:pt x="9429333" y="8705345"/>
                    </a:lnTo>
                    <a:lnTo>
                      <a:pt x="9458832" y="8683200"/>
                    </a:lnTo>
                    <a:lnTo>
                      <a:pt x="9486592" y="8649196"/>
                    </a:lnTo>
                    <a:lnTo>
                      <a:pt x="9521827" y="8635972"/>
                    </a:lnTo>
                    <a:lnTo>
                      <a:pt x="9566922" y="8619055"/>
                    </a:lnTo>
                    <a:lnTo>
                      <a:pt x="9588133" y="8650256"/>
                    </a:lnTo>
                    <a:lnTo>
                      <a:pt x="9618397" y="8641414"/>
                    </a:lnTo>
                    <a:lnTo>
                      <a:pt x="9669281" y="8601797"/>
                    </a:lnTo>
                    <a:lnTo>
                      <a:pt x="9758268" y="8539358"/>
                    </a:lnTo>
                    <a:lnTo>
                      <a:pt x="9818348" y="8518999"/>
                    </a:lnTo>
                    <a:lnTo>
                      <a:pt x="9856222" y="8506160"/>
                    </a:lnTo>
                    <a:lnTo>
                      <a:pt x="9898151" y="8498039"/>
                    </a:lnTo>
                    <a:lnTo>
                      <a:pt x="9935327" y="8483631"/>
                    </a:lnTo>
                    <a:lnTo>
                      <a:pt x="9956709" y="8475340"/>
                    </a:lnTo>
                    <a:lnTo>
                      <a:pt x="9978769" y="8466122"/>
                    </a:lnTo>
                    <a:lnTo>
                      <a:pt x="10001974" y="8463232"/>
                    </a:lnTo>
                    <a:lnTo>
                      <a:pt x="10061825" y="8455747"/>
                    </a:lnTo>
                    <a:lnTo>
                      <a:pt x="10122609" y="8475169"/>
                    </a:lnTo>
                    <a:lnTo>
                      <a:pt x="10182887" y="8461874"/>
                    </a:lnTo>
                    <a:lnTo>
                      <a:pt x="10276850" y="8441193"/>
                    </a:lnTo>
                    <a:lnTo>
                      <a:pt x="10321586" y="8395590"/>
                    </a:lnTo>
                    <a:lnTo>
                      <a:pt x="10424999" y="8406101"/>
                    </a:lnTo>
                    <a:lnTo>
                      <a:pt x="10422531" y="8375619"/>
                    </a:lnTo>
                    <a:lnTo>
                      <a:pt x="10420172" y="8340672"/>
                    </a:lnTo>
                    <a:lnTo>
                      <a:pt x="10408697" y="8291137"/>
                    </a:lnTo>
                    <a:lnTo>
                      <a:pt x="10399212" y="8262984"/>
                    </a:lnTo>
                    <a:lnTo>
                      <a:pt x="10393711" y="8241519"/>
                    </a:lnTo>
                    <a:lnTo>
                      <a:pt x="10388022" y="8219287"/>
                    </a:lnTo>
                    <a:lnTo>
                      <a:pt x="10386273" y="8191106"/>
                    </a:lnTo>
                    <a:lnTo>
                      <a:pt x="10381473" y="8168066"/>
                    </a:lnTo>
                    <a:lnTo>
                      <a:pt x="10355627" y="8042926"/>
                    </a:lnTo>
                    <a:lnTo>
                      <a:pt x="10362076" y="8008060"/>
                    </a:lnTo>
                    <a:lnTo>
                      <a:pt x="10373310" y="7987159"/>
                    </a:lnTo>
                    <a:lnTo>
                      <a:pt x="10384546" y="7966261"/>
                    </a:lnTo>
                    <a:lnTo>
                      <a:pt x="10397373" y="7944523"/>
                    </a:lnTo>
                    <a:lnTo>
                      <a:pt x="10395020" y="7894541"/>
                    </a:lnTo>
                    <a:lnTo>
                      <a:pt x="10383588" y="7869011"/>
                    </a:lnTo>
                    <a:lnTo>
                      <a:pt x="10373310" y="7841624"/>
                    </a:lnTo>
                    <a:lnTo>
                      <a:pt x="10363034" y="7814227"/>
                    </a:lnTo>
                    <a:lnTo>
                      <a:pt x="10352988" y="7784787"/>
                    </a:lnTo>
                    <a:lnTo>
                      <a:pt x="10355627" y="7747766"/>
                    </a:lnTo>
                    <a:lnTo>
                      <a:pt x="10361912" y="7709126"/>
                    </a:lnTo>
                    <a:lnTo>
                      <a:pt x="10371105" y="7672155"/>
                    </a:lnTo>
                    <a:lnTo>
                      <a:pt x="10378748" y="7634867"/>
                    </a:lnTo>
                    <a:lnTo>
                      <a:pt x="10378748" y="7607663"/>
                    </a:lnTo>
                    <a:lnTo>
                      <a:pt x="10370438" y="7560912"/>
                    </a:lnTo>
                    <a:lnTo>
                      <a:pt x="10359710" y="7506035"/>
                    </a:lnTo>
                    <a:lnTo>
                      <a:pt x="10359710" y="7458044"/>
                    </a:lnTo>
                    <a:lnTo>
                      <a:pt x="10363785" y="7436281"/>
                    </a:lnTo>
                    <a:lnTo>
                      <a:pt x="10356591" y="7395775"/>
                    </a:lnTo>
                    <a:lnTo>
                      <a:pt x="10345187" y="7364350"/>
                    </a:lnTo>
                    <a:lnTo>
                      <a:pt x="10320258" y="7338346"/>
                    </a:lnTo>
                    <a:lnTo>
                      <a:pt x="10290198" y="7315448"/>
                    </a:lnTo>
                    <a:lnTo>
                      <a:pt x="10241634" y="7286200"/>
                    </a:lnTo>
                    <a:lnTo>
                      <a:pt x="10209413" y="7269978"/>
                    </a:lnTo>
                    <a:lnTo>
                      <a:pt x="10197838" y="7247210"/>
                    </a:lnTo>
                    <a:lnTo>
                      <a:pt x="10180230" y="7212567"/>
                    </a:lnTo>
                    <a:lnTo>
                      <a:pt x="10171499" y="7179534"/>
                    </a:lnTo>
                    <a:lnTo>
                      <a:pt x="10158392" y="7149278"/>
                    </a:lnTo>
                    <a:lnTo>
                      <a:pt x="10145296" y="7119026"/>
                    </a:lnTo>
                    <a:lnTo>
                      <a:pt x="10127139" y="7090702"/>
                    </a:lnTo>
                    <a:lnTo>
                      <a:pt x="10091745" y="7066307"/>
                    </a:lnTo>
                    <a:lnTo>
                      <a:pt x="10055149" y="7037152"/>
                    </a:lnTo>
                    <a:lnTo>
                      <a:pt x="10034614" y="7032303"/>
                    </a:lnTo>
                    <a:lnTo>
                      <a:pt x="10001804" y="7003272"/>
                    </a:lnTo>
                    <a:lnTo>
                      <a:pt x="9970754" y="6988091"/>
                    </a:lnTo>
                    <a:lnTo>
                      <a:pt x="9951642" y="6971091"/>
                    </a:lnTo>
                    <a:lnTo>
                      <a:pt x="9924893" y="6947300"/>
                    </a:lnTo>
                    <a:lnTo>
                      <a:pt x="9908051" y="6908332"/>
                    </a:lnTo>
                    <a:lnTo>
                      <a:pt x="9895875" y="6867714"/>
                    </a:lnTo>
                    <a:lnTo>
                      <a:pt x="9883696" y="6827103"/>
                    </a:lnTo>
                    <a:lnTo>
                      <a:pt x="9876258" y="6784894"/>
                    </a:lnTo>
                    <a:lnTo>
                      <a:pt x="9868674" y="6750741"/>
                    </a:lnTo>
                    <a:lnTo>
                      <a:pt x="9868212" y="6717119"/>
                    </a:lnTo>
                    <a:lnTo>
                      <a:pt x="9865948" y="6688175"/>
                    </a:lnTo>
                    <a:lnTo>
                      <a:pt x="9979039" y="6676185"/>
                    </a:lnTo>
                    <a:lnTo>
                      <a:pt x="10046821" y="6666920"/>
                    </a:lnTo>
                    <a:lnTo>
                      <a:pt x="10074156" y="6673348"/>
                    </a:lnTo>
                    <a:lnTo>
                      <a:pt x="10112051" y="6656750"/>
                    </a:lnTo>
                    <a:lnTo>
                      <a:pt x="10121489" y="6634612"/>
                    </a:lnTo>
                    <a:lnTo>
                      <a:pt x="10143435" y="6569835"/>
                    </a:lnTo>
                    <a:lnTo>
                      <a:pt x="10204340" y="6560992"/>
                    </a:lnTo>
                    <a:lnTo>
                      <a:pt x="10235923" y="6599755"/>
                    </a:lnTo>
                    <a:lnTo>
                      <a:pt x="10269834" y="6590978"/>
                    </a:lnTo>
                    <a:lnTo>
                      <a:pt x="10292409" y="6584330"/>
                    </a:lnTo>
                    <a:lnTo>
                      <a:pt x="10314817" y="6580718"/>
                    </a:lnTo>
                    <a:lnTo>
                      <a:pt x="10337228" y="6577102"/>
                    </a:lnTo>
                    <a:lnTo>
                      <a:pt x="10359841" y="6576913"/>
                    </a:lnTo>
                    <a:lnTo>
                      <a:pt x="10385396" y="6576575"/>
                    </a:lnTo>
                    <a:lnTo>
                      <a:pt x="10417784" y="6578975"/>
                    </a:lnTo>
                    <a:lnTo>
                      <a:pt x="10543693" y="6572092"/>
                    </a:lnTo>
                    <a:lnTo>
                      <a:pt x="10566538" y="6542376"/>
                    </a:lnTo>
                    <a:lnTo>
                      <a:pt x="10561416" y="6516191"/>
                    </a:lnTo>
                    <a:lnTo>
                      <a:pt x="10575976" y="6489582"/>
                    </a:lnTo>
                    <a:lnTo>
                      <a:pt x="10656250" y="6453922"/>
                    </a:lnTo>
                    <a:lnTo>
                      <a:pt x="10690010" y="6421444"/>
                    </a:lnTo>
                    <a:lnTo>
                      <a:pt x="10703739" y="6387328"/>
                    </a:lnTo>
                    <a:lnTo>
                      <a:pt x="10711996" y="6350846"/>
                    </a:lnTo>
                    <a:lnTo>
                      <a:pt x="10720253" y="6314356"/>
                    </a:lnTo>
                    <a:lnTo>
                      <a:pt x="10723682" y="6275880"/>
                    </a:lnTo>
                    <a:lnTo>
                      <a:pt x="10725595" y="6243386"/>
                    </a:lnTo>
                    <a:lnTo>
                      <a:pt x="10747358" y="6231148"/>
                    </a:lnTo>
                    <a:lnTo>
                      <a:pt x="10770485" y="6221623"/>
                    </a:lnTo>
                    <a:lnTo>
                      <a:pt x="10795718" y="6205634"/>
                    </a:lnTo>
                    <a:lnTo>
                      <a:pt x="10807813" y="6185926"/>
                    </a:lnTo>
                    <a:lnTo>
                      <a:pt x="10809931" y="6163134"/>
                    </a:lnTo>
                    <a:lnTo>
                      <a:pt x="10810452" y="6139861"/>
                    </a:lnTo>
                    <a:lnTo>
                      <a:pt x="10802272" y="6113125"/>
                    </a:lnTo>
                    <a:lnTo>
                      <a:pt x="10797684" y="6085604"/>
                    </a:lnTo>
                    <a:lnTo>
                      <a:pt x="10788444" y="6040844"/>
                    </a:lnTo>
                    <a:lnTo>
                      <a:pt x="10807404" y="6018535"/>
                    </a:lnTo>
                    <a:lnTo>
                      <a:pt x="10842450" y="5999147"/>
                    </a:lnTo>
                    <a:lnTo>
                      <a:pt x="10856096" y="5968116"/>
                    </a:lnTo>
                    <a:lnTo>
                      <a:pt x="10851228" y="5945932"/>
                    </a:lnTo>
                    <a:lnTo>
                      <a:pt x="10841830" y="5908644"/>
                    </a:lnTo>
                    <a:lnTo>
                      <a:pt x="10826259" y="5889737"/>
                    </a:lnTo>
                    <a:lnTo>
                      <a:pt x="10806486" y="5880906"/>
                    </a:lnTo>
                    <a:lnTo>
                      <a:pt x="10771936" y="5878823"/>
                    </a:lnTo>
                    <a:lnTo>
                      <a:pt x="10744701" y="5884763"/>
                    </a:lnTo>
                    <a:lnTo>
                      <a:pt x="10716086" y="5876137"/>
                    </a:lnTo>
                    <a:lnTo>
                      <a:pt x="10698437" y="5850139"/>
                    </a:lnTo>
                    <a:lnTo>
                      <a:pt x="10692924" y="5809642"/>
                    </a:lnTo>
                    <a:lnTo>
                      <a:pt x="10692509" y="5788385"/>
                    </a:lnTo>
                    <a:lnTo>
                      <a:pt x="10675158" y="5753122"/>
                    </a:lnTo>
                    <a:lnTo>
                      <a:pt x="10661506" y="5735061"/>
                    </a:lnTo>
                    <a:lnTo>
                      <a:pt x="10645355" y="5719719"/>
                    </a:lnTo>
                    <a:lnTo>
                      <a:pt x="10629198" y="5704374"/>
                    </a:lnTo>
                    <a:lnTo>
                      <a:pt x="10611100" y="5691705"/>
                    </a:lnTo>
                    <a:lnTo>
                      <a:pt x="10592304" y="5676193"/>
                    </a:lnTo>
                    <a:lnTo>
                      <a:pt x="10570563" y="5638102"/>
                    </a:lnTo>
                    <a:lnTo>
                      <a:pt x="10571576" y="5615152"/>
                    </a:lnTo>
                    <a:lnTo>
                      <a:pt x="10576556" y="5584037"/>
                    </a:lnTo>
                    <a:lnTo>
                      <a:pt x="10550136" y="5560572"/>
                    </a:lnTo>
                    <a:lnTo>
                      <a:pt x="10521567" y="5556554"/>
                    </a:lnTo>
                    <a:lnTo>
                      <a:pt x="10497628" y="5566789"/>
                    </a:lnTo>
                    <a:lnTo>
                      <a:pt x="10473973" y="5579616"/>
                    </a:lnTo>
                    <a:lnTo>
                      <a:pt x="10450309" y="5592437"/>
                    </a:lnTo>
                    <a:lnTo>
                      <a:pt x="10427570" y="5607118"/>
                    </a:lnTo>
                    <a:lnTo>
                      <a:pt x="10401878" y="5610904"/>
                    </a:lnTo>
                    <a:lnTo>
                      <a:pt x="10357546" y="5574243"/>
                    </a:lnTo>
                    <a:lnTo>
                      <a:pt x="10336648" y="5557794"/>
                    </a:lnTo>
                    <a:lnTo>
                      <a:pt x="10312107" y="5546973"/>
                    </a:lnTo>
                    <a:lnTo>
                      <a:pt x="10287560" y="5536158"/>
                    </a:lnTo>
                    <a:lnTo>
                      <a:pt x="10258907" y="5531296"/>
                    </a:lnTo>
                    <a:lnTo>
                      <a:pt x="10218255" y="5522494"/>
                    </a:lnTo>
                    <a:lnTo>
                      <a:pt x="10195820" y="5517632"/>
                    </a:lnTo>
                    <a:lnTo>
                      <a:pt x="10174723" y="5495289"/>
                    </a:lnTo>
                    <a:lnTo>
                      <a:pt x="10164705" y="5466231"/>
                    </a:lnTo>
                    <a:lnTo>
                      <a:pt x="10166197" y="5414665"/>
                    </a:lnTo>
                    <a:lnTo>
                      <a:pt x="10177616" y="5375170"/>
                    </a:lnTo>
                    <a:lnTo>
                      <a:pt x="10174723" y="5345664"/>
                    </a:lnTo>
                    <a:lnTo>
                      <a:pt x="10200408" y="5321771"/>
                    </a:lnTo>
                    <a:lnTo>
                      <a:pt x="10223691" y="5315744"/>
                    </a:lnTo>
                    <a:lnTo>
                      <a:pt x="10246976" y="5309713"/>
                    </a:lnTo>
                    <a:lnTo>
                      <a:pt x="10273257" y="5306178"/>
                    </a:lnTo>
                    <a:lnTo>
                      <a:pt x="10304411" y="5283479"/>
                    </a:lnTo>
                    <a:lnTo>
                      <a:pt x="10318287" y="5265319"/>
                    </a:lnTo>
                    <a:lnTo>
                      <a:pt x="10332512" y="5247735"/>
                    </a:lnTo>
                    <a:lnTo>
                      <a:pt x="10346738" y="5230146"/>
                    </a:lnTo>
                    <a:lnTo>
                      <a:pt x="10361689" y="5212959"/>
                    </a:lnTo>
                    <a:lnTo>
                      <a:pt x="10380115" y="5200126"/>
                    </a:lnTo>
                    <a:lnTo>
                      <a:pt x="10370069" y="5138576"/>
                    </a:lnTo>
                    <a:lnTo>
                      <a:pt x="10333383" y="5037621"/>
                    </a:lnTo>
                    <a:lnTo>
                      <a:pt x="10308024" y="5005617"/>
                    </a:lnTo>
                    <a:lnTo>
                      <a:pt x="10283585" y="5007623"/>
                    </a:lnTo>
                    <a:lnTo>
                      <a:pt x="10108761" y="5042991"/>
                    </a:lnTo>
                    <a:lnTo>
                      <a:pt x="10055493" y="5052554"/>
                    </a:lnTo>
                    <a:lnTo>
                      <a:pt x="10019071" y="5066060"/>
                    </a:lnTo>
                    <a:lnTo>
                      <a:pt x="9982943" y="5081795"/>
                    </a:lnTo>
                    <a:lnTo>
                      <a:pt x="9946815" y="5097524"/>
                    </a:lnTo>
                    <a:lnTo>
                      <a:pt x="9911394" y="5114953"/>
                    </a:lnTo>
                    <a:lnTo>
                      <a:pt x="9872770" y="5132121"/>
                    </a:lnTo>
                    <a:lnTo>
                      <a:pt x="9844198" y="5123963"/>
                    </a:lnTo>
                    <a:lnTo>
                      <a:pt x="9832406" y="5035550"/>
                    </a:lnTo>
                    <a:lnTo>
                      <a:pt x="9795639" y="5019353"/>
                    </a:lnTo>
                    <a:lnTo>
                      <a:pt x="9737593" y="5018767"/>
                    </a:lnTo>
                    <a:lnTo>
                      <a:pt x="9686415" y="5022459"/>
                    </a:lnTo>
                    <a:lnTo>
                      <a:pt x="9640173" y="5017870"/>
                    </a:lnTo>
                    <a:lnTo>
                      <a:pt x="9598092" y="5002780"/>
                    </a:lnTo>
                    <a:lnTo>
                      <a:pt x="9513120" y="4985224"/>
                    </a:lnTo>
                    <a:lnTo>
                      <a:pt x="9442966" y="4980465"/>
                    </a:lnTo>
                    <a:lnTo>
                      <a:pt x="9376291" y="4967545"/>
                    </a:lnTo>
                    <a:lnTo>
                      <a:pt x="9270199" y="4590759"/>
                    </a:lnTo>
                    <a:lnTo>
                      <a:pt x="9164106" y="4212620"/>
                    </a:lnTo>
                    <a:lnTo>
                      <a:pt x="9193208" y="4154559"/>
                    </a:lnTo>
                    <a:lnTo>
                      <a:pt x="9211715" y="4102444"/>
                    </a:lnTo>
                    <a:lnTo>
                      <a:pt x="9230207" y="4050333"/>
                    </a:lnTo>
                    <a:lnTo>
                      <a:pt x="9247564" y="3997006"/>
                    </a:lnTo>
                    <a:lnTo>
                      <a:pt x="9252748" y="3963832"/>
                    </a:lnTo>
                    <a:lnTo>
                      <a:pt x="9257068" y="3942993"/>
                    </a:lnTo>
                    <a:lnTo>
                      <a:pt x="9264283" y="3902804"/>
                    </a:lnTo>
                    <a:lnTo>
                      <a:pt x="9267482" y="3864409"/>
                    </a:lnTo>
                    <a:lnTo>
                      <a:pt x="9260677" y="3837205"/>
                    </a:lnTo>
                    <a:lnTo>
                      <a:pt x="9262035" y="3810000"/>
                    </a:lnTo>
                    <a:lnTo>
                      <a:pt x="9285162" y="3797760"/>
                    </a:lnTo>
                    <a:lnTo>
                      <a:pt x="9308283" y="3785521"/>
                    </a:lnTo>
                    <a:lnTo>
                      <a:pt x="9316000" y="3751174"/>
                    </a:lnTo>
                    <a:lnTo>
                      <a:pt x="9322608" y="3585530"/>
                    </a:lnTo>
                    <a:lnTo>
                      <a:pt x="9308283" y="3544760"/>
                    </a:lnTo>
                    <a:lnTo>
                      <a:pt x="9229395" y="3517556"/>
                    </a:lnTo>
                    <a:lnTo>
                      <a:pt x="9213793" y="3469816"/>
                    </a:lnTo>
                    <a:lnTo>
                      <a:pt x="9204910" y="3438668"/>
                    </a:lnTo>
                    <a:lnTo>
                      <a:pt x="9196026" y="3407521"/>
                    </a:lnTo>
                    <a:lnTo>
                      <a:pt x="9185863" y="3378140"/>
                    </a:lnTo>
                    <a:lnTo>
                      <a:pt x="9121727" y="3367212"/>
                    </a:lnTo>
                    <a:lnTo>
                      <a:pt x="9060407" y="3361686"/>
                    </a:lnTo>
                    <a:lnTo>
                      <a:pt x="9009039" y="3372013"/>
                    </a:lnTo>
                    <a:lnTo>
                      <a:pt x="9004556" y="3336117"/>
                    </a:lnTo>
                    <a:lnTo>
                      <a:pt x="9018859" y="3320052"/>
                    </a:lnTo>
                    <a:lnTo>
                      <a:pt x="9034886" y="3305366"/>
                    </a:lnTo>
                    <a:lnTo>
                      <a:pt x="9050910" y="3290678"/>
                    </a:lnTo>
                    <a:lnTo>
                      <a:pt x="9068909" y="3277205"/>
                    </a:lnTo>
                    <a:lnTo>
                      <a:pt x="9074654" y="3254657"/>
                    </a:lnTo>
                    <a:lnTo>
                      <a:pt x="9051440" y="3221030"/>
                    </a:lnTo>
                    <a:lnTo>
                      <a:pt x="9047133" y="3199267"/>
                    </a:lnTo>
                    <a:lnTo>
                      <a:pt x="9042225" y="3171937"/>
                    </a:lnTo>
                    <a:lnTo>
                      <a:pt x="9022626" y="3137934"/>
                    </a:lnTo>
                    <a:lnTo>
                      <a:pt x="9022645" y="3112213"/>
                    </a:lnTo>
                    <a:lnTo>
                      <a:pt x="8975293" y="3105882"/>
                    </a:lnTo>
                    <a:lnTo>
                      <a:pt x="8939782" y="3117529"/>
                    </a:lnTo>
                    <a:lnTo>
                      <a:pt x="8904314" y="3124460"/>
                    </a:lnTo>
                    <a:lnTo>
                      <a:pt x="8862397" y="3132618"/>
                    </a:lnTo>
                    <a:lnTo>
                      <a:pt x="8818400" y="3139253"/>
                    </a:lnTo>
                    <a:lnTo>
                      <a:pt x="8779168" y="3157105"/>
                    </a:lnTo>
                    <a:lnTo>
                      <a:pt x="8766394" y="3204147"/>
                    </a:lnTo>
                    <a:lnTo>
                      <a:pt x="8760127" y="3241435"/>
                    </a:lnTo>
                    <a:lnTo>
                      <a:pt x="8752391" y="3279138"/>
                    </a:lnTo>
                    <a:lnTo>
                      <a:pt x="8737943" y="3317994"/>
                    </a:lnTo>
                    <a:lnTo>
                      <a:pt x="8727410" y="3337455"/>
                    </a:lnTo>
                    <a:lnTo>
                      <a:pt x="8712521" y="3354332"/>
                    </a:lnTo>
                    <a:lnTo>
                      <a:pt x="8678756" y="3340027"/>
                    </a:lnTo>
                    <a:lnTo>
                      <a:pt x="8660837" y="3323047"/>
                    </a:lnTo>
                    <a:lnTo>
                      <a:pt x="8642919" y="3306065"/>
                    </a:lnTo>
                    <a:lnTo>
                      <a:pt x="8627794" y="3286193"/>
                    </a:lnTo>
                    <a:lnTo>
                      <a:pt x="8662664" y="3263540"/>
                    </a:lnTo>
                    <a:lnTo>
                      <a:pt x="8671711" y="3231911"/>
                    </a:lnTo>
                    <a:lnTo>
                      <a:pt x="8636349" y="3151665"/>
                    </a:lnTo>
                    <a:lnTo>
                      <a:pt x="8609098" y="3146013"/>
                    </a:lnTo>
                    <a:lnTo>
                      <a:pt x="8560000" y="3148037"/>
                    </a:lnTo>
                    <a:lnTo>
                      <a:pt x="8513928" y="3148947"/>
                    </a:lnTo>
                    <a:lnTo>
                      <a:pt x="8467857" y="3149857"/>
                    </a:lnTo>
                    <a:lnTo>
                      <a:pt x="8425035" y="3149409"/>
                    </a:lnTo>
                    <a:lnTo>
                      <a:pt x="8407836" y="3135342"/>
                    </a:lnTo>
                    <a:lnTo>
                      <a:pt x="8392978" y="3112853"/>
                    </a:lnTo>
                    <a:lnTo>
                      <a:pt x="8385539" y="3090114"/>
                    </a:lnTo>
                    <a:lnTo>
                      <a:pt x="8348428" y="3082213"/>
                    </a:lnTo>
                    <a:lnTo>
                      <a:pt x="8318058" y="3087740"/>
                    </a:lnTo>
                    <a:lnTo>
                      <a:pt x="8313956" y="3109246"/>
                    </a:lnTo>
                    <a:lnTo>
                      <a:pt x="8290537" y="3131781"/>
                    </a:lnTo>
                    <a:lnTo>
                      <a:pt x="8263652" y="3151665"/>
                    </a:lnTo>
                    <a:lnTo>
                      <a:pt x="8236764" y="3171555"/>
                    </a:lnTo>
                    <a:lnTo>
                      <a:pt x="8206670" y="3188201"/>
                    </a:lnTo>
                    <a:lnTo>
                      <a:pt x="8152118" y="3182950"/>
                    </a:lnTo>
                    <a:lnTo>
                      <a:pt x="8123549" y="3140782"/>
                    </a:lnTo>
                    <a:lnTo>
                      <a:pt x="8047061" y="3147496"/>
                    </a:lnTo>
                    <a:lnTo>
                      <a:pt x="7984429" y="3147034"/>
                    </a:lnTo>
                    <a:lnTo>
                      <a:pt x="7927679" y="3172068"/>
                    </a:lnTo>
                    <a:lnTo>
                      <a:pt x="7903311" y="3157322"/>
                    </a:lnTo>
                    <a:lnTo>
                      <a:pt x="7878600" y="3124243"/>
                    </a:lnTo>
                    <a:lnTo>
                      <a:pt x="7865782" y="3105533"/>
                    </a:lnTo>
                    <a:lnTo>
                      <a:pt x="7826014" y="3084238"/>
                    </a:lnTo>
                    <a:lnTo>
                      <a:pt x="7735849" y="3058023"/>
                    </a:lnTo>
                    <a:lnTo>
                      <a:pt x="7709007" y="3023888"/>
                    </a:lnTo>
                    <a:lnTo>
                      <a:pt x="7715924" y="2971274"/>
                    </a:lnTo>
                    <a:lnTo>
                      <a:pt x="7705965" y="2947637"/>
                    </a:lnTo>
                    <a:lnTo>
                      <a:pt x="7689873" y="2909506"/>
                    </a:lnTo>
                    <a:lnTo>
                      <a:pt x="7681486" y="2889148"/>
                    </a:lnTo>
                    <a:lnTo>
                      <a:pt x="7673096" y="2868789"/>
                    </a:lnTo>
                    <a:lnTo>
                      <a:pt x="7666079" y="2848595"/>
                    </a:lnTo>
                    <a:lnTo>
                      <a:pt x="7663487" y="2794042"/>
                    </a:lnTo>
                    <a:lnTo>
                      <a:pt x="7683703" y="2766284"/>
                    </a:lnTo>
                    <a:lnTo>
                      <a:pt x="7700533" y="2738163"/>
                    </a:lnTo>
                    <a:lnTo>
                      <a:pt x="7715971" y="2710610"/>
                    </a:lnTo>
                    <a:lnTo>
                      <a:pt x="7723167" y="2678664"/>
                    </a:lnTo>
                    <a:lnTo>
                      <a:pt x="7715497" y="2640230"/>
                    </a:lnTo>
                    <a:lnTo>
                      <a:pt x="7665211" y="2587648"/>
                    </a:lnTo>
                    <a:lnTo>
                      <a:pt x="7637966" y="2572223"/>
                    </a:lnTo>
                    <a:lnTo>
                      <a:pt x="7614138" y="2566189"/>
                    </a:lnTo>
                    <a:lnTo>
                      <a:pt x="7597032" y="2546931"/>
                    </a:lnTo>
                    <a:lnTo>
                      <a:pt x="7583557" y="2527337"/>
                    </a:lnTo>
                    <a:lnTo>
                      <a:pt x="7579666" y="2490617"/>
                    </a:lnTo>
                    <a:lnTo>
                      <a:pt x="7594440" y="2457966"/>
                    </a:lnTo>
                    <a:lnTo>
                      <a:pt x="7617561" y="2438088"/>
                    </a:lnTo>
                    <a:lnTo>
                      <a:pt x="7642041" y="2417995"/>
                    </a:lnTo>
                    <a:lnTo>
                      <a:pt x="7658365" y="2377712"/>
                    </a:lnTo>
                    <a:lnTo>
                      <a:pt x="7662815" y="2351050"/>
                    </a:lnTo>
                    <a:lnTo>
                      <a:pt x="7660052" y="2310372"/>
                    </a:lnTo>
                    <a:lnTo>
                      <a:pt x="7646124" y="2247134"/>
                    </a:lnTo>
                    <a:lnTo>
                      <a:pt x="7605764" y="2242035"/>
                    </a:lnTo>
                    <a:lnTo>
                      <a:pt x="7572823" y="2218142"/>
                    </a:lnTo>
                    <a:lnTo>
                      <a:pt x="7535951" y="2203607"/>
                    </a:lnTo>
                    <a:lnTo>
                      <a:pt x="7514188" y="2200884"/>
                    </a:lnTo>
                    <a:lnTo>
                      <a:pt x="7482525" y="2181527"/>
                    </a:lnTo>
                    <a:lnTo>
                      <a:pt x="7459925" y="2166400"/>
                    </a:lnTo>
                    <a:lnTo>
                      <a:pt x="7443457" y="2153275"/>
                    </a:lnTo>
                    <a:lnTo>
                      <a:pt x="7426990" y="2140158"/>
                    </a:lnTo>
                    <a:lnTo>
                      <a:pt x="7409453" y="2115189"/>
                    </a:lnTo>
                    <a:lnTo>
                      <a:pt x="7398136" y="2086456"/>
                    </a:lnTo>
                    <a:lnTo>
                      <a:pt x="7390850" y="2045990"/>
                    </a:lnTo>
                    <a:lnTo>
                      <a:pt x="7386912" y="2020889"/>
                    </a:lnTo>
                    <a:lnTo>
                      <a:pt x="7380891" y="1987334"/>
                    </a:lnTo>
                    <a:lnTo>
                      <a:pt x="7367093" y="1910483"/>
                    </a:lnTo>
                    <a:lnTo>
                      <a:pt x="7363633" y="1833541"/>
                    </a:lnTo>
                    <a:lnTo>
                      <a:pt x="7350964" y="1757456"/>
                    </a:lnTo>
                    <a:lnTo>
                      <a:pt x="7343842" y="1714781"/>
                    </a:lnTo>
                    <a:lnTo>
                      <a:pt x="7332689" y="1670021"/>
                    </a:lnTo>
                    <a:lnTo>
                      <a:pt x="7326475" y="1626884"/>
                    </a:lnTo>
                    <a:lnTo>
                      <a:pt x="7320277" y="1583607"/>
                    </a:lnTo>
                    <a:lnTo>
                      <a:pt x="7319037" y="1493152"/>
                    </a:lnTo>
                    <a:lnTo>
                      <a:pt x="7304719" y="1452770"/>
                    </a:lnTo>
                    <a:lnTo>
                      <a:pt x="7283452" y="1421629"/>
                    </a:lnTo>
                    <a:lnTo>
                      <a:pt x="7258839" y="1400341"/>
                    </a:lnTo>
                    <a:lnTo>
                      <a:pt x="7239429" y="1376600"/>
                    </a:lnTo>
                    <a:lnTo>
                      <a:pt x="7221855" y="1351434"/>
                    </a:lnTo>
                    <a:lnTo>
                      <a:pt x="7205308" y="1325601"/>
                    </a:lnTo>
                    <a:lnTo>
                      <a:pt x="7187740" y="1300429"/>
                    </a:lnTo>
                    <a:lnTo>
                      <a:pt x="7169127" y="1276773"/>
                    </a:lnTo>
                    <a:lnTo>
                      <a:pt x="7148229" y="1257661"/>
                    </a:lnTo>
                    <a:lnTo>
                      <a:pt x="7126531" y="1248744"/>
                    </a:lnTo>
                    <a:lnTo>
                      <a:pt x="7103218" y="1243640"/>
                    </a:lnTo>
                    <a:lnTo>
                      <a:pt x="7079107" y="1240250"/>
                    </a:lnTo>
                    <a:lnTo>
                      <a:pt x="7054436" y="1235139"/>
                    </a:lnTo>
                    <a:lnTo>
                      <a:pt x="7032140" y="1227970"/>
                    </a:lnTo>
                    <a:lnTo>
                      <a:pt x="7018758" y="1210507"/>
                    </a:lnTo>
                    <a:lnTo>
                      <a:pt x="7015691" y="1179967"/>
                    </a:lnTo>
                    <a:lnTo>
                      <a:pt x="7016358" y="1158968"/>
                    </a:lnTo>
                    <a:lnTo>
                      <a:pt x="7017294" y="1137989"/>
                    </a:lnTo>
                    <a:lnTo>
                      <a:pt x="7018593" y="1106103"/>
                    </a:lnTo>
                    <a:lnTo>
                      <a:pt x="7025002" y="1085013"/>
                    </a:lnTo>
                    <a:lnTo>
                      <a:pt x="7040369" y="1064561"/>
                    </a:lnTo>
                    <a:lnTo>
                      <a:pt x="7055143" y="1037272"/>
                    </a:lnTo>
                    <a:lnTo>
                      <a:pt x="7050362" y="999826"/>
                    </a:lnTo>
                    <a:lnTo>
                      <a:pt x="7048216" y="968415"/>
                    </a:lnTo>
                    <a:lnTo>
                      <a:pt x="7055186" y="939555"/>
                    </a:lnTo>
                    <a:lnTo>
                      <a:pt x="7058526" y="908692"/>
                    </a:lnTo>
                    <a:lnTo>
                      <a:pt x="7047643" y="876047"/>
                    </a:lnTo>
                    <a:lnTo>
                      <a:pt x="6998077" y="878514"/>
                    </a:lnTo>
                    <a:lnTo>
                      <a:pt x="6978270" y="854290"/>
                    </a:lnTo>
                    <a:lnTo>
                      <a:pt x="6994613" y="823768"/>
                    </a:lnTo>
                    <a:lnTo>
                      <a:pt x="7021778" y="800475"/>
                    </a:lnTo>
                    <a:lnTo>
                      <a:pt x="7055800" y="782194"/>
                    </a:lnTo>
                    <a:lnTo>
                      <a:pt x="7091525" y="766789"/>
                    </a:lnTo>
                    <a:lnTo>
                      <a:pt x="7126174" y="751357"/>
                    </a:lnTo>
                    <a:lnTo>
                      <a:pt x="7155094" y="733228"/>
                    </a:lnTo>
                    <a:lnTo>
                      <a:pt x="7198561" y="743258"/>
                    </a:lnTo>
                    <a:lnTo>
                      <a:pt x="7227188" y="744110"/>
                    </a:lnTo>
                    <a:lnTo>
                      <a:pt x="7246170" y="704751"/>
                    </a:lnTo>
                    <a:lnTo>
                      <a:pt x="7285296" y="688639"/>
                    </a:lnTo>
                    <a:lnTo>
                      <a:pt x="7314244" y="699309"/>
                    </a:lnTo>
                    <a:lnTo>
                      <a:pt x="7337365" y="715547"/>
                    </a:lnTo>
                    <a:lnTo>
                      <a:pt x="7368650" y="697866"/>
                    </a:lnTo>
                    <a:lnTo>
                      <a:pt x="7379533" y="629859"/>
                    </a:lnTo>
                    <a:lnTo>
                      <a:pt x="7296561" y="604014"/>
                    </a:lnTo>
                    <a:lnTo>
                      <a:pt x="7289755" y="580892"/>
                    </a:lnTo>
                    <a:lnTo>
                      <a:pt x="7292471" y="550971"/>
                    </a:lnTo>
                    <a:lnTo>
                      <a:pt x="7297913" y="522402"/>
                    </a:lnTo>
                    <a:lnTo>
                      <a:pt x="7304719" y="499280"/>
                    </a:lnTo>
                    <a:lnTo>
                      <a:pt x="7273679" y="474667"/>
                    </a:lnTo>
                    <a:lnTo>
                      <a:pt x="7242146" y="467993"/>
                    </a:lnTo>
                    <a:lnTo>
                      <a:pt x="7218206" y="468587"/>
                    </a:lnTo>
                    <a:lnTo>
                      <a:pt x="7192099" y="479020"/>
                    </a:lnTo>
                    <a:lnTo>
                      <a:pt x="7152377" y="487034"/>
                    </a:lnTo>
                    <a:lnTo>
                      <a:pt x="7080540" y="476323"/>
                    </a:lnTo>
                    <a:lnTo>
                      <a:pt x="7011465" y="439339"/>
                    </a:lnTo>
                    <a:lnTo>
                      <a:pt x="6940186" y="431267"/>
                    </a:lnTo>
                    <a:lnTo>
                      <a:pt x="6859273" y="478789"/>
                    </a:lnTo>
                    <a:lnTo>
                      <a:pt x="6810901" y="466372"/>
                    </a:lnTo>
                    <a:lnTo>
                      <a:pt x="6774707" y="454045"/>
                    </a:lnTo>
                    <a:lnTo>
                      <a:pt x="6741593" y="448948"/>
                    </a:lnTo>
                    <a:lnTo>
                      <a:pt x="6697763" y="456236"/>
                    </a:lnTo>
                    <a:lnTo>
                      <a:pt x="6674946" y="465269"/>
                    </a:lnTo>
                    <a:lnTo>
                      <a:pt x="6652120" y="474304"/>
                    </a:lnTo>
                    <a:lnTo>
                      <a:pt x="6629857" y="481612"/>
                    </a:lnTo>
                    <a:lnTo>
                      <a:pt x="6584207" y="463779"/>
                    </a:lnTo>
                    <a:lnTo>
                      <a:pt x="6545515" y="452726"/>
                    </a:lnTo>
                    <a:lnTo>
                      <a:pt x="6507639" y="439424"/>
                    </a:lnTo>
                    <a:lnTo>
                      <a:pt x="6469771" y="426123"/>
                    </a:lnTo>
                    <a:lnTo>
                      <a:pt x="6433466" y="410756"/>
                    </a:lnTo>
                    <a:lnTo>
                      <a:pt x="6409706" y="393181"/>
                    </a:lnTo>
                    <a:lnTo>
                      <a:pt x="6393661" y="355023"/>
                    </a:lnTo>
                    <a:lnTo>
                      <a:pt x="6387943" y="334691"/>
                    </a:lnTo>
                    <a:lnTo>
                      <a:pt x="6382223" y="314359"/>
                    </a:lnTo>
                    <a:lnTo>
                      <a:pt x="6364819" y="278924"/>
                    </a:lnTo>
                    <a:lnTo>
                      <a:pt x="6340517" y="255558"/>
                    </a:lnTo>
                    <a:lnTo>
                      <a:pt x="6315669" y="234277"/>
                    </a:lnTo>
                    <a:lnTo>
                      <a:pt x="6295450" y="204112"/>
                    </a:lnTo>
                    <a:lnTo>
                      <a:pt x="6295779" y="174296"/>
                    </a:lnTo>
                    <a:lnTo>
                      <a:pt x="6299226" y="149664"/>
                    </a:lnTo>
                    <a:lnTo>
                      <a:pt x="6296808" y="127941"/>
                    </a:lnTo>
                    <a:lnTo>
                      <a:pt x="6294393" y="106217"/>
                    </a:lnTo>
                    <a:lnTo>
                      <a:pt x="6261446" y="68092"/>
                    </a:lnTo>
                    <a:lnTo>
                      <a:pt x="6243382" y="40249"/>
                    </a:lnTo>
                    <a:lnTo>
                      <a:pt x="6227296" y="24730"/>
                    </a:lnTo>
                    <a:lnTo>
                      <a:pt x="6201589" y="39529"/>
                    </a:lnTo>
                    <a:lnTo>
                      <a:pt x="6176794" y="58088"/>
                    </a:lnTo>
                    <a:lnTo>
                      <a:pt x="6152938" y="75380"/>
                    </a:lnTo>
                    <a:lnTo>
                      <a:pt x="6129500" y="85773"/>
                    </a:lnTo>
                    <a:lnTo>
                      <a:pt x="6105291" y="88029"/>
                    </a:lnTo>
                    <a:lnTo>
                      <a:pt x="6087273" y="73882"/>
                    </a:lnTo>
                    <a:lnTo>
                      <a:pt x="6076452" y="55852"/>
                    </a:lnTo>
                    <a:lnTo>
                      <a:pt x="6066459" y="35058"/>
                    </a:lnTo>
                    <a:lnTo>
                      <a:pt x="6053812" y="1679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85" name="Dnipropetrovsk¬0" descr="Dnipropetrovsk¬0">
                <a:extLst>
                  <a:ext uri="{FF2B5EF4-FFF2-40B4-BE49-F238E27FC236}">
                    <a16:creationId xmlns:a16="http://schemas.microsoft.com/office/drawing/2014/main" id="{140A4A2F-DDD4-47E0-94B9-FEAF25FE4D4D}"/>
                  </a:ext>
                </a:extLst>
              </p:cNvPr>
              <p:cNvSpPr/>
              <p:nvPr/>
            </p:nvSpPr>
            <p:spPr>
              <a:xfrm>
                <a:off x="37953909" y="16800121"/>
                <a:ext cx="13834845" cy="8992795"/>
              </a:xfrm>
              <a:custGeom>
                <a:avLst/>
                <a:gdLst/>
                <a:ahLst/>
                <a:cxnLst/>
                <a:rect l="0" t="0" r="0" b="0"/>
                <a:pathLst>
                  <a:path w="13834844" h="8992798">
                    <a:moveTo>
                      <a:pt x="3283530" y="1665939"/>
                    </a:moveTo>
                    <a:lnTo>
                      <a:pt x="3237747" y="1725253"/>
                    </a:lnTo>
                    <a:lnTo>
                      <a:pt x="3214731" y="1749106"/>
                    </a:lnTo>
                    <a:lnTo>
                      <a:pt x="3200558" y="1777471"/>
                    </a:lnTo>
                    <a:lnTo>
                      <a:pt x="3186379" y="1805842"/>
                    </a:lnTo>
                    <a:lnTo>
                      <a:pt x="3180960" y="1837973"/>
                    </a:lnTo>
                    <a:lnTo>
                      <a:pt x="3176073" y="1893092"/>
                    </a:lnTo>
                    <a:lnTo>
                      <a:pt x="3173100" y="1923140"/>
                    </a:lnTo>
                    <a:lnTo>
                      <a:pt x="3157922" y="1945925"/>
                    </a:lnTo>
                    <a:lnTo>
                      <a:pt x="3123875" y="1947455"/>
                    </a:lnTo>
                    <a:lnTo>
                      <a:pt x="3098326" y="1952704"/>
                    </a:lnTo>
                    <a:lnTo>
                      <a:pt x="3091737" y="1988303"/>
                    </a:lnTo>
                    <a:lnTo>
                      <a:pt x="3089179" y="2028948"/>
                    </a:lnTo>
                    <a:lnTo>
                      <a:pt x="3071338" y="2045429"/>
                    </a:lnTo>
                    <a:lnTo>
                      <a:pt x="3033254" y="2037265"/>
                    </a:lnTo>
                    <a:lnTo>
                      <a:pt x="3020889" y="2100766"/>
                    </a:lnTo>
                    <a:lnTo>
                      <a:pt x="3004685" y="2147438"/>
                    </a:lnTo>
                    <a:lnTo>
                      <a:pt x="2988488" y="2194117"/>
                    </a:lnTo>
                    <a:lnTo>
                      <a:pt x="2968387" y="2239009"/>
                    </a:lnTo>
                    <a:lnTo>
                      <a:pt x="2940379" y="2243355"/>
                    </a:lnTo>
                    <a:lnTo>
                      <a:pt x="2912322" y="2232771"/>
                    </a:lnTo>
                    <a:lnTo>
                      <a:pt x="2908920" y="2198126"/>
                    </a:lnTo>
                    <a:lnTo>
                      <a:pt x="2909770" y="2164124"/>
                    </a:lnTo>
                    <a:lnTo>
                      <a:pt x="2899957" y="2140640"/>
                    </a:lnTo>
                    <a:lnTo>
                      <a:pt x="2879914" y="2116858"/>
                    </a:lnTo>
                    <a:lnTo>
                      <a:pt x="2884993" y="2078073"/>
                    </a:lnTo>
                    <a:lnTo>
                      <a:pt x="2889945" y="2040773"/>
                    </a:lnTo>
                    <a:lnTo>
                      <a:pt x="2863236" y="2023666"/>
                    </a:lnTo>
                    <a:lnTo>
                      <a:pt x="2833737" y="2060854"/>
                    </a:lnTo>
                    <a:lnTo>
                      <a:pt x="2824854" y="2132647"/>
                    </a:lnTo>
                    <a:lnTo>
                      <a:pt x="2804747" y="2150162"/>
                    </a:lnTo>
                    <a:lnTo>
                      <a:pt x="2782984" y="2148804"/>
                    </a:lnTo>
                    <a:lnTo>
                      <a:pt x="2760244" y="2115519"/>
                    </a:lnTo>
                    <a:lnTo>
                      <a:pt x="2768244" y="2087082"/>
                    </a:lnTo>
                    <a:lnTo>
                      <a:pt x="2774826" y="2059028"/>
                    </a:lnTo>
                    <a:lnTo>
                      <a:pt x="2781393" y="2030978"/>
                    </a:lnTo>
                    <a:lnTo>
                      <a:pt x="2787489" y="2003796"/>
                    </a:lnTo>
                    <a:lnTo>
                      <a:pt x="2767934" y="1987176"/>
                    </a:lnTo>
                    <a:lnTo>
                      <a:pt x="2731294" y="1978780"/>
                    </a:lnTo>
                    <a:lnTo>
                      <a:pt x="2696143" y="1972007"/>
                    </a:lnTo>
                    <a:lnTo>
                      <a:pt x="2666517" y="1989517"/>
                    </a:lnTo>
                    <a:lnTo>
                      <a:pt x="2653175" y="2007284"/>
                    </a:lnTo>
                    <a:lnTo>
                      <a:pt x="2632587" y="2042771"/>
                    </a:lnTo>
                    <a:lnTo>
                      <a:pt x="2615676" y="2075356"/>
                    </a:lnTo>
                    <a:lnTo>
                      <a:pt x="2596896" y="2101419"/>
                    </a:lnTo>
                    <a:lnTo>
                      <a:pt x="2563729" y="2111865"/>
                    </a:lnTo>
                    <a:lnTo>
                      <a:pt x="2540686" y="2111423"/>
                    </a:lnTo>
                    <a:lnTo>
                      <a:pt x="2506861" y="2101202"/>
                    </a:lnTo>
                    <a:lnTo>
                      <a:pt x="2492974" y="2070384"/>
                    </a:lnTo>
                    <a:lnTo>
                      <a:pt x="2489182" y="2046794"/>
                    </a:lnTo>
                    <a:lnTo>
                      <a:pt x="2485390" y="2023204"/>
                    </a:lnTo>
                    <a:lnTo>
                      <a:pt x="2481055" y="1998875"/>
                    </a:lnTo>
                    <a:lnTo>
                      <a:pt x="2464693" y="1985580"/>
                    </a:lnTo>
                    <a:lnTo>
                      <a:pt x="2437867" y="1980079"/>
                    </a:lnTo>
                    <a:lnTo>
                      <a:pt x="2401751" y="1974771"/>
                    </a:lnTo>
                    <a:lnTo>
                      <a:pt x="2374925" y="1974704"/>
                    </a:lnTo>
                    <a:lnTo>
                      <a:pt x="2343169" y="2033175"/>
                    </a:lnTo>
                    <a:lnTo>
                      <a:pt x="2324590" y="2054958"/>
                    </a:lnTo>
                    <a:lnTo>
                      <a:pt x="2289231" y="2053593"/>
                    </a:lnTo>
                    <a:lnTo>
                      <a:pt x="2272314" y="2068365"/>
                    </a:lnTo>
                    <a:lnTo>
                      <a:pt x="2269846" y="2105983"/>
                    </a:lnTo>
                    <a:lnTo>
                      <a:pt x="2256585" y="2127041"/>
                    </a:lnTo>
                    <a:lnTo>
                      <a:pt x="2233951" y="2119106"/>
                    </a:lnTo>
                    <a:lnTo>
                      <a:pt x="2210343" y="2105278"/>
                    </a:lnTo>
                    <a:lnTo>
                      <a:pt x="2186534" y="2094633"/>
                    </a:lnTo>
                    <a:lnTo>
                      <a:pt x="2168891" y="2082729"/>
                    </a:lnTo>
                    <a:lnTo>
                      <a:pt x="2166808" y="2054952"/>
                    </a:lnTo>
                    <a:lnTo>
                      <a:pt x="2131188" y="2040093"/>
                    </a:lnTo>
                    <a:lnTo>
                      <a:pt x="2105602" y="2045429"/>
                    </a:lnTo>
                    <a:lnTo>
                      <a:pt x="2085197" y="2067192"/>
                    </a:lnTo>
                    <a:lnTo>
                      <a:pt x="2077256" y="2087834"/>
                    </a:lnTo>
                    <a:lnTo>
                      <a:pt x="2075799" y="2118381"/>
                    </a:lnTo>
                    <a:lnTo>
                      <a:pt x="2057993" y="2147446"/>
                    </a:lnTo>
                    <a:lnTo>
                      <a:pt x="2022630" y="2154252"/>
                    </a:lnTo>
                    <a:lnTo>
                      <a:pt x="2009487" y="2180941"/>
                    </a:lnTo>
                    <a:lnTo>
                      <a:pt x="2016088" y="2206825"/>
                    </a:lnTo>
                    <a:lnTo>
                      <a:pt x="2025346" y="2231780"/>
                    </a:lnTo>
                    <a:lnTo>
                      <a:pt x="2034608" y="2256735"/>
                    </a:lnTo>
                    <a:lnTo>
                      <a:pt x="2047389" y="2280141"/>
                    </a:lnTo>
                    <a:lnTo>
                      <a:pt x="2092080" y="2298218"/>
                    </a:lnTo>
                    <a:lnTo>
                      <a:pt x="2108752" y="2312977"/>
                    </a:lnTo>
                    <a:lnTo>
                      <a:pt x="2119201" y="2332433"/>
                    </a:lnTo>
                    <a:lnTo>
                      <a:pt x="2129647" y="2351894"/>
                    </a:lnTo>
                    <a:lnTo>
                      <a:pt x="2132760" y="2376506"/>
                    </a:lnTo>
                    <a:lnTo>
                      <a:pt x="2136881" y="2404528"/>
                    </a:lnTo>
                    <a:lnTo>
                      <a:pt x="2157286" y="2423567"/>
                    </a:lnTo>
                    <a:lnTo>
                      <a:pt x="2173992" y="2436329"/>
                    </a:lnTo>
                    <a:lnTo>
                      <a:pt x="2268820" y="2449413"/>
                    </a:lnTo>
                    <a:lnTo>
                      <a:pt x="2358594" y="2461653"/>
                    </a:lnTo>
                    <a:lnTo>
                      <a:pt x="2385799" y="2465220"/>
                    </a:lnTo>
                    <a:lnTo>
                      <a:pt x="2410073" y="2486450"/>
                    </a:lnTo>
                    <a:lnTo>
                      <a:pt x="2434766" y="2506545"/>
                    </a:lnTo>
                    <a:lnTo>
                      <a:pt x="2459456" y="2526632"/>
                    </a:lnTo>
                    <a:lnTo>
                      <a:pt x="2484478" y="2545302"/>
                    </a:lnTo>
                    <a:lnTo>
                      <a:pt x="2512297" y="2544623"/>
                    </a:lnTo>
                    <a:lnTo>
                      <a:pt x="2548239" y="2543746"/>
                    </a:lnTo>
                    <a:lnTo>
                      <a:pt x="2582618" y="2543845"/>
                    </a:lnTo>
                    <a:lnTo>
                      <a:pt x="2617037" y="2544623"/>
                    </a:lnTo>
                    <a:lnTo>
                      <a:pt x="2651448" y="2545407"/>
                    </a:lnTo>
                    <a:lnTo>
                      <a:pt x="2686066" y="2546483"/>
                    </a:lnTo>
                    <a:lnTo>
                      <a:pt x="2721769" y="2550065"/>
                    </a:lnTo>
                    <a:lnTo>
                      <a:pt x="2747014" y="2587496"/>
                    </a:lnTo>
                    <a:lnTo>
                      <a:pt x="2742128" y="2626302"/>
                    </a:lnTo>
                    <a:lnTo>
                      <a:pt x="2757131" y="2648004"/>
                    </a:lnTo>
                    <a:lnTo>
                      <a:pt x="2786829" y="2653367"/>
                    </a:lnTo>
                    <a:lnTo>
                      <a:pt x="2819459" y="2657917"/>
                    </a:lnTo>
                    <a:lnTo>
                      <a:pt x="2850989" y="2664321"/>
                    </a:lnTo>
                    <a:lnTo>
                      <a:pt x="2882513" y="2670732"/>
                    </a:lnTo>
                    <a:lnTo>
                      <a:pt x="2912601" y="2678829"/>
                    </a:lnTo>
                    <a:lnTo>
                      <a:pt x="2940760" y="2690166"/>
                    </a:lnTo>
                    <a:lnTo>
                      <a:pt x="2946326" y="2725066"/>
                    </a:lnTo>
                    <a:lnTo>
                      <a:pt x="2935319" y="2754097"/>
                    </a:lnTo>
                    <a:lnTo>
                      <a:pt x="2925552" y="2776796"/>
                    </a:lnTo>
                    <a:lnTo>
                      <a:pt x="2909844" y="2795850"/>
                    </a:lnTo>
                    <a:lnTo>
                      <a:pt x="2884993" y="2804423"/>
                    </a:lnTo>
                    <a:lnTo>
                      <a:pt x="2861866" y="2803065"/>
                    </a:lnTo>
                    <a:lnTo>
                      <a:pt x="2834668" y="2801705"/>
                    </a:lnTo>
                    <a:lnTo>
                      <a:pt x="2812061" y="2802603"/>
                    </a:lnTo>
                    <a:lnTo>
                      <a:pt x="2786537" y="2806243"/>
                    </a:lnTo>
                    <a:lnTo>
                      <a:pt x="2757131" y="2813946"/>
                    </a:lnTo>
                    <a:lnTo>
                      <a:pt x="2737480" y="2838630"/>
                    </a:lnTo>
                    <a:lnTo>
                      <a:pt x="2727211" y="2857472"/>
                    </a:lnTo>
                    <a:lnTo>
                      <a:pt x="2716941" y="2876307"/>
                    </a:lnTo>
                    <a:lnTo>
                      <a:pt x="2706517" y="2896474"/>
                    </a:lnTo>
                    <a:lnTo>
                      <a:pt x="2690993" y="2911188"/>
                    </a:lnTo>
                    <a:lnTo>
                      <a:pt x="2672935" y="2924885"/>
                    </a:lnTo>
                    <a:lnTo>
                      <a:pt x="2655122" y="2939084"/>
                    </a:lnTo>
                    <a:lnTo>
                      <a:pt x="2637303" y="2953283"/>
                    </a:lnTo>
                    <a:lnTo>
                      <a:pt x="2618864" y="2967673"/>
                    </a:lnTo>
                    <a:lnTo>
                      <a:pt x="2575338" y="2997502"/>
                    </a:lnTo>
                    <a:lnTo>
                      <a:pt x="2534763" y="3019654"/>
                    </a:lnTo>
                    <a:lnTo>
                      <a:pt x="2493256" y="3039742"/>
                    </a:lnTo>
                    <a:lnTo>
                      <a:pt x="2451748" y="3059824"/>
                    </a:lnTo>
                    <a:lnTo>
                      <a:pt x="2409773" y="3078876"/>
                    </a:lnTo>
                    <a:lnTo>
                      <a:pt x="2368119" y="3096867"/>
                    </a:lnTo>
                    <a:lnTo>
                      <a:pt x="2337886" y="3109925"/>
                    </a:lnTo>
                    <a:lnTo>
                      <a:pt x="2243612" y="3141521"/>
                    </a:lnTo>
                    <a:lnTo>
                      <a:pt x="2221217" y="3162157"/>
                    </a:lnTo>
                    <a:lnTo>
                      <a:pt x="2175480" y="3194314"/>
                    </a:lnTo>
                    <a:lnTo>
                      <a:pt x="2156303" y="3229629"/>
                    </a:lnTo>
                    <a:lnTo>
                      <a:pt x="2142328" y="3258733"/>
                    </a:lnTo>
                    <a:lnTo>
                      <a:pt x="2128348" y="3287837"/>
                    </a:lnTo>
                    <a:lnTo>
                      <a:pt x="2119353" y="3311209"/>
                    </a:lnTo>
                    <a:lnTo>
                      <a:pt x="2097075" y="3317915"/>
                    </a:lnTo>
                    <a:lnTo>
                      <a:pt x="2075108" y="3312699"/>
                    </a:lnTo>
                    <a:lnTo>
                      <a:pt x="2055400" y="3297834"/>
                    </a:lnTo>
                    <a:lnTo>
                      <a:pt x="2053562" y="3269357"/>
                    </a:lnTo>
                    <a:lnTo>
                      <a:pt x="2026035" y="3265895"/>
                    </a:lnTo>
                    <a:lnTo>
                      <a:pt x="1999543" y="3279197"/>
                    </a:lnTo>
                    <a:lnTo>
                      <a:pt x="1968215" y="3291377"/>
                    </a:lnTo>
                    <a:lnTo>
                      <a:pt x="1936896" y="3303558"/>
                    </a:lnTo>
                    <a:lnTo>
                      <a:pt x="1901463" y="3314875"/>
                    </a:lnTo>
                    <a:lnTo>
                      <a:pt x="1863483" y="3328104"/>
                    </a:lnTo>
                    <a:lnTo>
                      <a:pt x="1825501" y="3341326"/>
                    </a:lnTo>
                    <a:lnTo>
                      <a:pt x="1786189" y="3355888"/>
                    </a:lnTo>
                    <a:lnTo>
                      <a:pt x="1747869" y="3374348"/>
                    </a:lnTo>
                    <a:lnTo>
                      <a:pt x="1709539" y="3392807"/>
                    </a:lnTo>
                    <a:lnTo>
                      <a:pt x="1671405" y="3415830"/>
                    </a:lnTo>
                    <a:lnTo>
                      <a:pt x="1639051" y="3443720"/>
                    </a:lnTo>
                    <a:lnTo>
                      <a:pt x="1609803" y="3465226"/>
                    </a:lnTo>
                    <a:lnTo>
                      <a:pt x="1601664" y="3497244"/>
                    </a:lnTo>
                    <a:lnTo>
                      <a:pt x="1604888" y="3519410"/>
                    </a:lnTo>
                    <a:lnTo>
                      <a:pt x="1610488" y="3541654"/>
                    </a:lnTo>
                    <a:lnTo>
                      <a:pt x="1616075" y="3563899"/>
                    </a:lnTo>
                    <a:lnTo>
                      <a:pt x="1623790" y="3586223"/>
                    </a:lnTo>
                    <a:lnTo>
                      <a:pt x="1663533" y="3598785"/>
                    </a:lnTo>
                    <a:lnTo>
                      <a:pt x="1693460" y="3597427"/>
                    </a:lnTo>
                    <a:lnTo>
                      <a:pt x="1678648" y="3626689"/>
                    </a:lnTo>
                    <a:lnTo>
                      <a:pt x="1676670" y="3658008"/>
                    </a:lnTo>
                    <a:lnTo>
                      <a:pt x="1682577" y="3689914"/>
                    </a:lnTo>
                    <a:lnTo>
                      <a:pt x="1688486" y="3721827"/>
                    </a:lnTo>
                    <a:lnTo>
                      <a:pt x="1701986" y="3753594"/>
                    </a:lnTo>
                    <a:lnTo>
                      <a:pt x="1716581" y="3783772"/>
                    </a:lnTo>
                    <a:lnTo>
                      <a:pt x="1731175" y="3813950"/>
                    </a:lnTo>
                    <a:lnTo>
                      <a:pt x="1747512" y="3842685"/>
                    </a:lnTo>
                    <a:lnTo>
                      <a:pt x="1758749" y="3866742"/>
                    </a:lnTo>
                    <a:lnTo>
                      <a:pt x="1769985" y="3890801"/>
                    </a:lnTo>
                    <a:lnTo>
                      <a:pt x="1772348" y="3923875"/>
                    </a:lnTo>
                    <a:lnTo>
                      <a:pt x="1712500" y="3956520"/>
                    </a:lnTo>
                    <a:lnTo>
                      <a:pt x="1709378" y="3985161"/>
                    </a:lnTo>
                    <a:lnTo>
                      <a:pt x="1720664" y="4016369"/>
                    </a:lnTo>
                    <a:lnTo>
                      <a:pt x="1726593" y="4048327"/>
                    </a:lnTo>
                    <a:lnTo>
                      <a:pt x="1740508" y="4069404"/>
                    </a:lnTo>
                    <a:lnTo>
                      <a:pt x="1772004" y="4073131"/>
                    </a:lnTo>
                    <a:lnTo>
                      <a:pt x="1777169" y="4111131"/>
                    </a:lnTo>
                    <a:lnTo>
                      <a:pt x="1781448" y="4142166"/>
                    </a:lnTo>
                    <a:lnTo>
                      <a:pt x="1787305" y="4172786"/>
                    </a:lnTo>
                    <a:lnTo>
                      <a:pt x="1793162" y="4203405"/>
                    </a:lnTo>
                    <a:lnTo>
                      <a:pt x="1800349" y="4232971"/>
                    </a:lnTo>
                    <a:lnTo>
                      <a:pt x="1803627" y="4265279"/>
                    </a:lnTo>
                    <a:lnTo>
                      <a:pt x="1807248" y="4300899"/>
                    </a:lnTo>
                    <a:lnTo>
                      <a:pt x="1809102" y="4337586"/>
                    </a:lnTo>
                    <a:lnTo>
                      <a:pt x="1810432" y="4374096"/>
                    </a:lnTo>
                    <a:lnTo>
                      <a:pt x="1811753" y="4410611"/>
                    </a:lnTo>
                    <a:lnTo>
                      <a:pt x="1812755" y="4447082"/>
                    </a:lnTo>
                    <a:lnTo>
                      <a:pt x="1814504" y="4482911"/>
                    </a:lnTo>
                    <a:lnTo>
                      <a:pt x="1815598" y="4505124"/>
                    </a:lnTo>
                    <a:lnTo>
                      <a:pt x="1815031" y="4526820"/>
                    </a:lnTo>
                    <a:lnTo>
                      <a:pt x="1815868" y="4548202"/>
                    </a:lnTo>
                    <a:lnTo>
                      <a:pt x="1816693" y="4569582"/>
                    </a:lnTo>
                    <a:lnTo>
                      <a:pt x="1818683" y="4591239"/>
                    </a:lnTo>
                    <a:lnTo>
                      <a:pt x="1824025" y="4613491"/>
                    </a:lnTo>
                    <a:lnTo>
                      <a:pt x="1856070" y="4619321"/>
                    </a:lnTo>
                    <a:lnTo>
                      <a:pt x="1892632" y="4632147"/>
                    </a:lnTo>
                    <a:lnTo>
                      <a:pt x="1913797" y="4655659"/>
                    </a:lnTo>
                    <a:lnTo>
                      <a:pt x="1905769" y="4760610"/>
                    </a:lnTo>
                    <a:lnTo>
                      <a:pt x="1893398" y="4842004"/>
                    </a:lnTo>
                    <a:lnTo>
                      <a:pt x="1881017" y="4923405"/>
                    </a:lnTo>
                    <a:lnTo>
                      <a:pt x="1865192" y="5002082"/>
                    </a:lnTo>
                    <a:lnTo>
                      <a:pt x="1843389" y="5007398"/>
                    </a:lnTo>
                    <a:lnTo>
                      <a:pt x="1813077" y="5004891"/>
                    </a:lnTo>
                    <a:lnTo>
                      <a:pt x="1783222" y="5003870"/>
                    </a:lnTo>
                    <a:lnTo>
                      <a:pt x="1753366" y="5002847"/>
                    </a:lnTo>
                    <a:lnTo>
                      <a:pt x="1724608" y="5003276"/>
                    </a:lnTo>
                    <a:lnTo>
                      <a:pt x="1691237" y="5032009"/>
                    </a:lnTo>
                    <a:lnTo>
                      <a:pt x="1695274" y="5079783"/>
                    </a:lnTo>
                    <a:lnTo>
                      <a:pt x="1666243" y="5114043"/>
                    </a:lnTo>
                    <a:lnTo>
                      <a:pt x="1647770" y="5135852"/>
                    </a:lnTo>
                    <a:lnTo>
                      <a:pt x="1620534" y="5150341"/>
                    </a:lnTo>
                    <a:lnTo>
                      <a:pt x="1595512" y="5163010"/>
                    </a:lnTo>
                    <a:lnTo>
                      <a:pt x="1570491" y="5175686"/>
                    </a:lnTo>
                    <a:lnTo>
                      <a:pt x="1548120" y="5185949"/>
                    </a:lnTo>
                    <a:lnTo>
                      <a:pt x="1535900" y="5212341"/>
                    </a:lnTo>
                    <a:lnTo>
                      <a:pt x="1524782" y="5237823"/>
                    </a:lnTo>
                    <a:lnTo>
                      <a:pt x="1513517" y="5262733"/>
                    </a:lnTo>
                    <a:lnTo>
                      <a:pt x="1486697" y="5306403"/>
                    </a:lnTo>
                    <a:lnTo>
                      <a:pt x="1462289" y="5324250"/>
                    </a:lnTo>
                    <a:lnTo>
                      <a:pt x="1435004" y="5327593"/>
                    </a:lnTo>
                    <a:lnTo>
                      <a:pt x="1407728" y="5330951"/>
                    </a:lnTo>
                    <a:lnTo>
                      <a:pt x="1378434" y="5319792"/>
                    </a:lnTo>
                    <a:lnTo>
                      <a:pt x="1349316" y="5293590"/>
                    </a:lnTo>
                    <a:lnTo>
                      <a:pt x="1331209" y="5265113"/>
                    </a:lnTo>
                    <a:lnTo>
                      <a:pt x="1313954" y="5242446"/>
                    </a:lnTo>
                    <a:lnTo>
                      <a:pt x="1284034" y="5233735"/>
                    </a:lnTo>
                    <a:lnTo>
                      <a:pt x="1250795" y="5260595"/>
                    </a:lnTo>
                    <a:lnTo>
                      <a:pt x="1267377" y="5295331"/>
                    </a:lnTo>
                    <a:lnTo>
                      <a:pt x="1254107" y="5319429"/>
                    </a:lnTo>
                    <a:lnTo>
                      <a:pt x="1222471" y="5346395"/>
                    </a:lnTo>
                    <a:lnTo>
                      <a:pt x="1190176" y="5375196"/>
                    </a:lnTo>
                    <a:lnTo>
                      <a:pt x="1157892" y="5403996"/>
                    </a:lnTo>
                    <a:lnTo>
                      <a:pt x="1121129" y="5440927"/>
                    </a:lnTo>
                    <a:lnTo>
                      <a:pt x="1099046" y="5479929"/>
                    </a:lnTo>
                    <a:lnTo>
                      <a:pt x="1081934" y="5510154"/>
                    </a:lnTo>
                    <a:lnTo>
                      <a:pt x="1068143" y="5553765"/>
                    </a:lnTo>
                    <a:lnTo>
                      <a:pt x="1055520" y="5594186"/>
                    </a:lnTo>
                    <a:lnTo>
                      <a:pt x="1042898" y="5634613"/>
                    </a:lnTo>
                    <a:lnTo>
                      <a:pt x="1031609" y="5672229"/>
                    </a:lnTo>
                    <a:lnTo>
                      <a:pt x="1017430" y="5693479"/>
                    </a:lnTo>
                    <a:lnTo>
                      <a:pt x="983959" y="5697336"/>
                    </a:lnTo>
                    <a:lnTo>
                      <a:pt x="969674" y="5660174"/>
                    </a:lnTo>
                    <a:lnTo>
                      <a:pt x="961669" y="5621383"/>
                    </a:lnTo>
                    <a:lnTo>
                      <a:pt x="953663" y="5582591"/>
                    </a:lnTo>
                    <a:lnTo>
                      <a:pt x="951626" y="5541742"/>
                    </a:lnTo>
                    <a:lnTo>
                      <a:pt x="966760" y="5515152"/>
                    </a:lnTo>
                    <a:lnTo>
                      <a:pt x="990231" y="5488081"/>
                    </a:lnTo>
                    <a:lnTo>
                      <a:pt x="952996" y="5310619"/>
                    </a:lnTo>
                    <a:lnTo>
                      <a:pt x="935143" y="5295530"/>
                    </a:lnTo>
                    <a:lnTo>
                      <a:pt x="906370" y="5298846"/>
                    </a:lnTo>
                    <a:lnTo>
                      <a:pt x="895530" y="5326196"/>
                    </a:lnTo>
                    <a:lnTo>
                      <a:pt x="892296" y="5362942"/>
                    </a:lnTo>
                    <a:lnTo>
                      <a:pt x="887531" y="5398581"/>
                    </a:lnTo>
                    <a:lnTo>
                      <a:pt x="880790" y="5433185"/>
                    </a:lnTo>
                    <a:lnTo>
                      <a:pt x="867817" y="5470399"/>
                    </a:lnTo>
                    <a:lnTo>
                      <a:pt x="855576" y="5506994"/>
                    </a:lnTo>
                    <a:lnTo>
                      <a:pt x="855576" y="5549281"/>
                    </a:lnTo>
                    <a:lnTo>
                      <a:pt x="859659" y="5586014"/>
                    </a:lnTo>
                    <a:lnTo>
                      <a:pt x="862732" y="5616958"/>
                    </a:lnTo>
                    <a:lnTo>
                      <a:pt x="864732" y="5647565"/>
                    </a:lnTo>
                    <a:lnTo>
                      <a:pt x="862376" y="5682590"/>
                    </a:lnTo>
                    <a:lnTo>
                      <a:pt x="854398" y="5723999"/>
                    </a:lnTo>
                    <a:lnTo>
                      <a:pt x="844690" y="5751962"/>
                    </a:lnTo>
                    <a:lnTo>
                      <a:pt x="835165" y="5772361"/>
                    </a:lnTo>
                    <a:lnTo>
                      <a:pt x="820201" y="5790040"/>
                    </a:lnTo>
                    <a:lnTo>
                      <a:pt x="801545" y="5801232"/>
                    </a:lnTo>
                    <a:lnTo>
                      <a:pt x="778114" y="5805723"/>
                    </a:lnTo>
                    <a:lnTo>
                      <a:pt x="752196" y="5806363"/>
                    </a:lnTo>
                    <a:lnTo>
                      <a:pt x="726285" y="5807030"/>
                    </a:lnTo>
                    <a:lnTo>
                      <a:pt x="698355" y="5804450"/>
                    </a:lnTo>
                    <a:lnTo>
                      <a:pt x="671941" y="5800930"/>
                    </a:lnTo>
                    <a:lnTo>
                      <a:pt x="645536" y="5797401"/>
                    </a:lnTo>
                    <a:lnTo>
                      <a:pt x="619993" y="5792712"/>
                    </a:lnTo>
                    <a:lnTo>
                      <a:pt x="579711" y="5790093"/>
                    </a:lnTo>
                    <a:lnTo>
                      <a:pt x="557690" y="5798206"/>
                    </a:lnTo>
                    <a:lnTo>
                      <a:pt x="548392" y="5820015"/>
                    </a:lnTo>
                    <a:lnTo>
                      <a:pt x="542491" y="5844409"/>
                    </a:lnTo>
                    <a:lnTo>
                      <a:pt x="525047" y="5866213"/>
                    </a:lnTo>
                    <a:lnTo>
                      <a:pt x="486789" y="5867901"/>
                    </a:lnTo>
                    <a:lnTo>
                      <a:pt x="461767" y="5873914"/>
                    </a:lnTo>
                    <a:lnTo>
                      <a:pt x="430535" y="5893878"/>
                    </a:lnTo>
                    <a:lnTo>
                      <a:pt x="418948" y="5923344"/>
                    </a:lnTo>
                    <a:lnTo>
                      <a:pt x="412025" y="5958013"/>
                    </a:lnTo>
                    <a:lnTo>
                      <a:pt x="401393" y="5997490"/>
                    </a:lnTo>
                    <a:lnTo>
                      <a:pt x="393071" y="6019121"/>
                    </a:lnTo>
                    <a:lnTo>
                      <a:pt x="375422" y="6040324"/>
                    </a:lnTo>
                    <a:lnTo>
                      <a:pt x="346860" y="6055282"/>
                    </a:lnTo>
                    <a:lnTo>
                      <a:pt x="281571" y="6049840"/>
                    </a:lnTo>
                    <a:lnTo>
                      <a:pt x="266877" y="6064844"/>
                    </a:lnTo>
                    <a:lnTo>
                      <a:pt x="255455" y="6086528"/>
                    </a:lnTo>
                    <a:lnTo>
                      <a:pt x="246202" y="6113771"/>
                    </a:lnTo>
                    <a:lnTo>
                      <a:pt x="238603" y="6143330"/>
                    </a:lnTo>
                    <a:lnTo>
                      <a:pt x="232036" y="6176707"/>
                    </a:lnTo>
                    <a:lnTo>
                      <a:pt x="225797" y="6213064"/>
                    </a:lnTo>
                    <a:lnTo>
                      <a:pt x="221491" y="6248526"/>
                    </a:lnTo>
                    <a:lnTo>
                      <a:pt x="216505" y="6283703"/>
                    </a:lnTo>
                    <a:lnTo>
                      <a:pt x="210840" y="6316439"/>
                    </a:lnTo>
                    <a:lnTo>
                      <a:pt x="206031" y="6347772"/>
                    </a:lnTo>
                    <a:lnTo>
                      <a:pt x="200137" y="6371586"/>
                    </a:lnTo>
                    <a:lnTo>
                      <a:pt x="190435" y="6395334"/>
                    </a:lnTo>
                    <a:lnTo>
                      <a:pt x="217255" y="6400096"/>
                    </a:lnTo>
                    <a:lnTo>
                      <a:pt x="233236" y="6415350"/>
                    </a:lnTo>
                    <a:lnTo>
                      <a:pt x="231388" y="6445231"/>
                    </a:lnTo>
                    <a:lnTo>
                      <a:pt x="210918" y="6489898"/>
                    </a:lnTo>
                    <a:lnTo>
                      <a:pt x="193151" y="6534071"/>
                    </a:lnTo>
                    <a:lnTo>
                      <a:pt x="175385" y="6578243"/>
                    </a:lnTo>
                    <a:lnTo>
                      <a:pt x="160527" y="6622483"/>
                    </a:lnTo>
                    <a:lnTo>
                      <a:pt x="163739" y="6646712"/>
                    </a:lnTo>
                    <a:lnTo>
                      <a:pt x="188119" y="6665403"/>
                    </a:lnTo>
                    <a:lnTo>
                      <a:pt x="226752" y="6675064"/>
                    </a:lnTo>
                    <a:lnTo>
                      <a:pt x="249306" y="6671073"/>
                    </a:lnTo>
                    <a:lnTo>
                      <a:pt x="270688" y="6666009"/>
                    </a:lnTo>
                    <a:lnTo>
                      <a:pt x="292063" y="6660950"/>
                    </a:lnTo>
                    <a:lnTo>
                      <a:pt x="313253" y="6655938"/>
                    </a:lnTo>
                    <a:lnTo>
                      <a:pt x="335977" y="6657851"/>
                    </a:lnTo>
                    <a:lnTo>
                      <a:pt x="349365" y="6687824"/>
                    </a:lnTo>
                    <a:lnTo>
                      <a:pt x="356382" y="6714976"/>
                    </a:lnTo>
                    <a:lnTo>
                      <a:pt x="363386" y="6742128"/>
                    </a:lnTo>
                    <a:lnTo>
                      <a:pt x="368623" y="6770320"/>
                    </a:lnTo>
                    <a:lnTo>
                      <a:pt x="349377" y="6797987"/>
                    </a:lnTo>
                    <a:lnTo>
                      <a:pt x="325295" y="6825118"/>
                    </a:lnTo>
                    <a:lnTo>
                      <a:pt x="311491" y="6845556"/>
                    </a:lnTo>
                    <a:lnTo>
                      <a:pt x="303662" y="6866679"/>
                    </a:lnTo>
                    <a:lnTo>
                      <a:pt x="305734" y="6891733"/>
                    </a:lnTo>
                    <a:lnTo>
                      <a:pt x="308775" y="6916286"/>
                    </a:lnTo>
                    <a:lnTo>
                      <a:pt x="311808" y="6940838"/>
                    </a:lnTo>
                    <a:lnTo>
                      <a:pt x="316214" y="6964725"/>
                    </a:lnTo>
                    <a:lnTo>
                      <a:pt x="312849" y="6987015"/>
                    </a:lnTo>
                    <a:lnTo>
                      <a:pt x="307033" y="7025655"/>
                    </a:lnTo>
                    <a:lnTo>
                      <a:pt x="287003" y="7057746"/>
                    </a:lnTo>
                    <a:lnTo>
                      <a:pt x="271705" y="7100680"/>
                    </a:lnTo>
                    <a:lnTo>
                      <a:pt x="276123" y="7162487"/>
                    </a:lnTo>
                    <a:lnTo>
                      <a:pt x="280197" y="7222336"/>
                    </a:lnTo>
                    <a:lnTo>
                      <a:pt x="285639" y="7280819"/>
                    </a:lnTo>
                    <a:lnTo>
                      <a:pt x="288370" y="7318865"/>
                    </a:lnTo>
                    <a:lnTo>
                      <a:pt x="265069" y="7430022"/>
                    </a:lnTo>
                    <a:lnTo>
                      <a:pt x="276123" y="7449483"/>
                    </a:lnTo>
                    <a:lnTo>
                      <a:pt x="305113" y="7477882"/>
                    </a:lnTo>
                    <a:lnTo>
                      <a:pt x="348469" y="7500745"/>
                    </a:lnTo>
                    <a:lnTo>
                      <a:pt x="383574" y="7520214"/>
                    </a:lnTo>
                    <a:lnTo>
                      <a:pt x="384851" y="7608585"/>
                    </a:lnTo>
                    <a:lnTo>
                      <a:pt x="391738" y="7637194"/>
                    </a:lnTo>
                    <a:lnTo>
                      <a:pt x="357417" y="7650021"/>
                    </a:lnTo>
                    <a:lnTo>
                      <a:pt x="329171" y="7652158"/>
                    </a:lnTo>
                    <a:lnTo>
                      <a:pt x="300918" y="7654296"/>
                    </a:lnTo>
                    <a:lnTo>
                      <a:pt x="272232" y="7654348"/>
                    </a:lnTo>
                    <a:lnTo>
                      <a:pt x="229193" y="7654829"/>
                    </a:lnTo>
                    <a:lnTo>
                      <a:pt x="206388" y="7660092"/>
                    </a:lnTo>
                    <a:lnTo>
                      <a:pt x="154738" y="7671304"/>
                    </a:lnTo>
                    <a:lnTo>
                      <a:pt x="104735" y="7687514"/>
                    </a:lnTo>
                    <a:lnTo>
                      <a:pt x="79732" y="7695625"/>
                    </a:lnTo>
                    <a:lnTo>
                      <a:pt x="55780" y="7704798"/>
                    </a:lnTo>
                    <a:lnTo>
                      <a:pt x="36727" y="7714717"/>
                    </a:lnTo>
                    <a:lnTo>
                      <a:pt x="17667" y="7724643"/>
                    </a:lnTo>
                    <a:lnTo>
                      <a:pt x="0" y="7746003"/>
                    </a:lnTo>
                    <a:lnTo>
                      <a:pt x="19996" y="7806493"/>
                    </a:lnTo>
                    <a:lnTo>
                      <a:pt x="56676" y="7867199"/>
                    </a:lnTo>
                    <a:lnTo>
                      <a:pt x="88410" y="7928274"/>
                    </a:lnTo>
                    <a:lnTo>
                      <a:pt x="104279" y="7958807"/>
                    </a:lnTo>
                    <a:lnTo>
                      <a:pt x="118564" y="7989250"/>
                    </a:lnTo>
                    <a:lnTo>
                      <a:pt x="129214" y="8020768"/>
                    </a:lnTo>
                    <a:lnTo>
                      <a:pt x="139865" y="8052278"/>
                    </a:lnTo>
                    <a:lnTo>
                      <a:pt x="146903" y="8084290"/>
                    </a:lnTo>
                    <a:lnTo>
                      <a:pt x="146903" y="8117336"/>
                    </a:lnTo>
                    <a:lnTo>
                      <a:pt x="139338" y="8152223"/>
                    </a:lnTo>
                    <a:lnTo>
                      <a:pt x="116375" y="8183107"/>
                    </a:lnTo>
                    <a:lnTo>
                      <a:pt x="100862" y="8197320"/>
                    </a:lnTo>
                    <a:lnTo>
                      <a:pt x="85694" y="8212553"/>
                    </a:lnTo>
                    <a:lnTo>
                      <a:pt x="70520" y="8227788"/>
                    </a:lnTo>
                    <a:lnTo>
                      <a:pt x="55950" y="8243787"/>
                    </a:lnTo>
                    <a:lnTo>
                      <a:pt x="33818" y="8279248"/>
                    </a:lnTo>
                    <a:lnTo>
                      <a:pt x="27205" y="8321370"/>
                    </a:lnTo>
                    <a:lnTo>
                      <a:pt x="42407" y="8348046"/>
                    </a:lnTo>
                    <a:lnTo>
                      <a:pt x="71853" y="8365417"/>
                    </a:lnTo>
                    <a:lnTo>
                      <a:pt x="102016" y="8373053"/>
                    </a:lnTo>
                    <a:lnTo>
                      <a:pt x="148010" y="8378837"/>
                    </a:lnTo>
                    <a:lnTo>
                      <a:pt x="195520" y="8383474"/>
                    </a:lnTo>
                    <a:lnTo>
                      <a:pt x="242119" y="8389376"/>
                    </a:lnTo>
                    <a:lnTo>
                      <a:pt x="288711" y="8395278"/>
                    </a:lnTo>
                    <a:lnTo>
                      <a:pt x="334402" y="8402810"/>
                    </a:lnTo>
                    <a:lnTo>
                      <a:pt x="379497" y="8413863"/>
                    </a:lnTo>
                    <a:lnTo>
                      <a:pt x="425274" y="8422918"/>
                    </a:lnTo>
                    <a:lnTo>
                      <a:pt x="470924" y="8432862"/>
                    </a:lnTo>
                    <a:lnTo>
                      <a:pt x="515516" y="8445150"/>
                    </a:lnTo>
                    <a:lnTo>
                      <a:pt x="560106" y="8457430"/>
                    </a:lnTo>
                    <a:lnTo>
                      <a:pt x="604013" y="8471971"/>
                    </a:lnTo>
                    <a:lnTo>
                      <a:pt x="647455" y="8488676"/>
                    </a:lnTo>
                    <a:lnTo>
                      <a:pt x="672483" y="8503698"/>
                    </a:lnTo>
                    <a:lnTo>
                      <a:pt x="693158" y="8525337"/>
                    </a:lnTo>
                    <a:lnTo>
                      <a:pt x="712744" y="8547159"/>
                    </a:lnTo>
                    <a:lnTo>
                      <a:pt x="728960" y="8561774"/>
                    </a:lnTo>
                    <a:lnTo>
                      <a:pt x="750038" y="8571078"/>
                    </a:lnTo>
                    <a:lnTo>
                      <a:pt x="772592" y="8577087"/>
                    </a:lnTo>
                    <a:lnTo>
                      <a:pt x="795142" y="8583089"/>
                    </a:lnTo>
                    <a:lnTo>
                      <a:pt x="819550" y="8584684"/>
                    </a:lnTo>
                    <a:lnTo>
                      <a:pt x="844684" y="8585245"/>
                    </a:lnTo>
                    <a:lnTo>
                      <a:pt x="894957" y="8586372"/>
                    </a:lnTo>
                    <a:lnTo>
                      <a:pt x="946718" y="8580081"/>
                    </a:lnTo>
                    <a:lnTo>
                      <a:pt x="984784" y="8578445"/>
                    </a:lnTo>
                    <a:lnTo>
                      <a:pt x="1012990" y="8577238"/>
                    </a:lnTo>
                    <a:lnTo>
                      <a:pt x="1033726" y="8584440"/>
                    </a:lnTo>
                    <a:lnTo>
                      <a:pt x="1066428" y="8610536"/>
                    </a:lnTo>
                    <a:lnTo>
                      <a:pt x="1079060" y="8629608"/>
                    </a:lnTo>
                    <a:lnTo>
                      <a:pt x="1088160" y="8650534"/>
                    </a:lnTo>
                    <a:lnTo>
                      <a:pt x="1106361" y="8692392"/>
                    </a:lnTo>
                    <a:lnTo>
                      <a:pt x="1113557" y="8743338"/>
                    </a:lnTo>
                    <a:lnTo>
                      <a:pt x="1130328" y="8778396"/>
                    </a:lnTo>
                    <a:lnTo>
                      <a:pt x="1139692" y="8797982"/>
                    </a:lnTo>
                    <a:lnTo>
                      <a:pt x="1186350" y="8839307"/>
                    </a:lnTo>
                    <a:lnTo>
                      <a:pt x="1203775" y="8851844"/>
                    </a:lnTo>
                    <a:lnTo>
                      <a:pt x="1231488" y="8871398"/>
                    </a:lnTo>
                    <a:lnTo>
                      <a:pt x="1263117" y="8883980"/>
                    </a:lnTo>
                    <a:lnTo>
                      <a:pt x="1296268" y="8884489"/>
                    </a:lnTo>
                    <a:lnTo>
                      <a:pt x="1310072" y="8848784"/>
                    </a:lnTo>
                    <a:lnTo>
                      <a:pt x="1317008" y="8800457"/>
                    </a:lnTo>
                    <a:lnTo>
                      <a:pt x="1332995" y="8779754"/>
                    </a:lnTo>
                    <a:lnTo>
                      <a:pt x="1527504" y="8738952"/>
                    </a:lnTo>
                    <a:lnTo>
                      <a:pt x="1548734" y="8735160"/>
                    </a:lnTo>
                    <a:lnTo>
                      <a:pt x="1615133" y="8727860"/>
                    </a:lnTo>
                    <a:lnTo>
                      <a:pt x="1677123" y="8711747"/>
                    </a:lnTo>
                    <a:lnTo>
                      <a:pt x="1708119" y="8703689"/>
                    </a:lnTo>
                    <a:lnTo>
                      <a:pt x="1737612" y="8693197"/>
                    </a:lnTo>
                    <a:lnTo>
                      <a:pt x="1760094" y="8680462"/>
                    </a:lnTo>
                    <a:lnTo>
                      <a:pt x="1782583" y="8667727"/>
                    </a:lnTo>
                    <a:lnTo>
                      <a:pt x="1798049" y="8652691"/>
                    </a:lnTo>
                    <a:lnTo>
                      <a:pt x="1801115" y="8614829"/>
                    </a:lnTo>
                    <a:lnTo>
                      <a:pt x="1792741" y="8577087"/>
                    </a:lnTo>
                    <a:lnTo>
                      <a:pt x="1784819" y="8538829"/>
                    </a:lnTo>
                    <a:lnTo>
                      <a:pt x="1792297" y="8505889"/>
                    </a:lnTo>
                    <a:lnTo>
                      <a:pt x="1868516" y="8480934"/>
                    </a:lnTo>
                    <a:lnTo>
                      <a:pt x="1945088" y="8465547"/>
                    </a:lnTo>
                    <a:lnTo>
                      <a:pt x="1983371" y="8457857"/>
                    </a:lnTo>
                    <a:lnTo>
                      <a:pt x="2021055" y="8452258"/>
                    </a:lnTo>
                    <a:lnTo>
                      <a:pt x="2051181" y="8451948"/>
                    </a:lnTo>
                    <a:lnTo>
                      <a:pt x="2081300" y="8451619"/>
                    </a:lnTo>
                    <a:lnTo>
                      <a:pt x="2103518" y="8457416"/>
                    </a:lnTo>
                    <a:lnTo>
                      <a:pt x="2113350" y="8482496"/>
                    </a:lnTo>
                    <a:lnTo>
                      <a:pt x="2140357" y="8539040"/>
                    </a:lnTo>
                    <a:lnTo>
                      <a:pt x="2125440" y="8563099"/>
                    </a:lnTo>
                    <a:lnTo>
                      <a:pt x="2110014" y="8584895"/>
                    </a:lnTo>
                    <a:lnTo>
                      <a:pt x="2097429" y="8608372"/>
                    </a:lnTo>
                    <a:lnTo>
                      <a:pt x="2084841" y="8631844"/>
                    </a:lnTo>
                    <a:lnTo>
                      <a:pt x="2074618" y="8656872"/>
                    </a:lnTo>
                    <a:lnTo>
                      <a:pt x="2083231" y="8682625"/>
                    </a:lnTo>
                    <a:lnTo>
                      <a:pt x="2096065" y="8700866"/>
                    </a:lnTo>
                    <a:lnTo>
                      <a:pt x="2105503" y="8729469"/>
                    </a:lnTo>
                    <a:lnTo>
                      <a:pt x="2111543" y="8761434"/>
                    </a:lnTo>
                    <a:lnTo>
                      <a:pt x="2119186" y="8790636"/>
                    </a:lnTo>
                    <a:lnTo>
                      <a:pt x="2144868" y="8807467"/>
                    </a:lnTo>
                    <a:lnTo>
                      <a:pt x="2231532" y="8781199"/>
                    </a:lnTo>
                    <a:lnTo>
                      <a:pt x="2252489" y="8775672"/>
                    </a:lnTo>
                    <a:lnTo>
                      <a:pt x="2278289" y="8797522"/>
                    </a:lnTo>
                    <a:lnTo>
                      <a:pt x="2288127" y="8835983"/>
                    </a:lnTo>
                    <a:lnTo>
                      <a:pt x="2300099" y="8869532"/>
                    </a:lnTo>
                    <a:lnTo>
                      <a:pt x="2313090" y="8901530"/>
                    </a:lnTo>
                    <a:lnTo>
                      <a:pt x="2327908" y="8924579"/>
                    </a:lnTo>
                    <a:lnTo>
                      <a:pt x="2392208" y="8931701"/>
                    </a:lnTo>
                    <a:lnTo>
                      <a:pt x="2447553" y="8934393"/>
                    </a:lnTo>
                    <a:lnTo>
                      <a:pt x="2501407" y="8933456"/>
                    </a:lnTo>
                    <a:lnTo>
                      <a:pt x="2555255" y="8932518"/>
                    </a:lnTo>
                    <a:lnTo>
                      <a:pt x="2607816" y="8927916"/>
                    </a:lnTo>
                    <a:lnTo>
                      <a:pt x="2653748" y="8913051"/>
                    </a:lnTo>
                    <a:lnTo>
                      <a:pt x="2699082" y="8898384"/>
                    </a:lnTo>
                    <a:lnTo>
                      <a:pt x="2798673" y="8866281"/>
                    </a:lnTo>
                    <a:lnTo>
                      <a:pt x="2898586" y="8836879"/>
                    </a:lnTo>
                    <a:lnTo>
                      <a:pt x="2998484" y="8807486"/>
                    </a:lnTo>
                    <a:lnTo>
                      <a:pt x="3099340" y="8780692"/>
                    </a:lnTo>
                    <a:lnTo>
                      <a:pt x="3148862" y="8775672"/>
                    </a:lnTo>
                    <a:lnTo>
                      <a:pt x="3186863" y="8771827"/>
                    </a:lnTo>
                    <a:lnTo>
                      <a:pt x="3227540" y="8773035"/>
                    </a:lnTo>
                    <a:lnTo>
                      <a:pt x="3265835" y="8771596"/>
                    </a:lnTo>
                    <a:lnTo>
                      <a:pt x="3291424" y="8770640"/>
                    </a:lnTo>
                    <a:lnTo>
                      <a:pt x="3327050" y="8790643"/>
                    </a:lnTo>
                    <a:lnTo>
                      <a:pt x="3360012" y="8815868"/>
                    </a:lnTo>
                    <a:lnTo>
                      <a:pt x="3380092" y="8826006"/>
                    </a:lnTo>
                    <a:lnTo>
                      <a:pt x="3533199" y="8885729"/>
                    </a:lnTo>
                    <a:lnTo>
                      <a:pt x="3672623" y="8931722"/>
                    </a:lnTo>
                    <a:lnTo>
                      <a:pt x="3792532" y="8958669"/>
                    </a:lnTo>
                    <a:lnTo>
                      <a:pt x="3920096" y="8974265"/>
                    </a:lnTo>
                    <a:lnTo>
                      <a:pt x="3940495" y="8981064"/>
                    </a:lnTo>
                    <a:lnTo>
                      <a:pt x="3994600" y="8984388"/>
                    </a:lnTo>
                    <a:lnTo>
                      <a:pt x="4052503" y="8992797"/>
                    </a:lnTo>
                    <a:lnTo>
                      <a:pt x="4106441" y="8991954"/>
                    </a:lnTo>
                    <a:lnTo>
                      <a:pt x="4141199" y="8991423"/>
                    </a:lnTo>
                    <a:lnTo>
                      <a:pt x="4268729" y="8959348"/>
                    </a:lnTo>
                    <a:lnTo>
                      <a:pt x="4293131" y="8957646"/>
                    </a:lnTo>
                    <a:lnTo>
                      <a:pt x="4413508" y="8912847"/>
                    </a:lnTo>
                    <a:lnTo>
                      <a:pt x="4534651" y="8857120"/>
                    </a:lnTo>
                    <a:lnTo>
                      <a:pt x="4635559" y="8831445"/>
                    </a:lnTo>
                    <a:lnTo>
                      <a:pt x="4659366" y="8825365"/>
                    </a:lnTo>
                    <a:lnTo>
                      <a:pt x="4686483" y="8825919"/>
                    </a:lnTo>
                    <a:lnTo>
                      <a:pt x="4709006" y="8820564"/>
                    </a:lnTo>
                    <a:lnTo>
                      <a:pt x="4743140" y="8812406"/>
                    </a:lnTo>
                    <a:lnTo>
                      <a:pt x="4779234" y="8802072"/>
                    </a:lnTo>
                    <a:lnTo>
                      <a:pt x="4813747" y="8796083"/>
                    </a:lnTo>
                    <a:lnTo>
                      <a:pt x="4861769" y="8787727"/>
                    </a:lnTo>
                    <a:lnTo>
                      <a:pt x="4908851" y="8782524"/>
                    </a:lnTo>
                    <a:lnTo>
                      <a:pt x="4956566" y="8775678"/>
                    </a:lnTo>
                    <a:lnTo>
                      <a:pt x="5004287" y="8768828"/>
                    </a:lnTo>
                    <a:lnTo>
                      <a:pt x="5051757" y="8761137"/>
                    </a:lnTo>
                    <a:lnTo>
                      <a:pt x="5098024" y="8744393"/>
                    </a:lnTo>
                    <a:lnTo>
                      <a:pt x="5161871" y="8721271"/>
                    </a:lnTo>
                    <a:lnTo>
                      <a:pt x="5216364" y="8677745"/>
                    </a:lnTo>
                    <a:lnTo>
                      <a:pt x="5280156" y="8640127"/>
                    </a:lnTo>
                    <a:lnTo>
                      <a:pt x="5352821" y="8620713"/>
                    </a:lnTo>
                    <a:lnTo>
                      <a:pt x="5417673" y="8586609"/>
                    </a:lnTo>
                    <a:lnTo>
                      <a:pt x="5439950" y="8574891"/>
                    </a:lnTo>
                    <a:lnTo>
                      <a:pt x="5474813" y="8550021"/>
                    </a:lnTo>
                    <a:lnTo>
                      <a:pt x="5511527" y="8528120"/>
                    </a:lnTo>
                    <a:lnTo>
                      <a:pt x="5548238" y="8506217"/>
                    </a:lnTo>
                    <a:lnTo>
                      <a:pt x="5587064" y="8487318"/>
                    </a:lnTo>
                    <a:lnTo>
                      <a:pt x="5613543" y="8487318"/>
                    </a:lnTo>
                    <a:lnTo>
                      <a:pt x="5665899" y="8487318"/>
                    </a:lnTo>
                    <a:lnTo>
                      <a:pt x="5721344" y="8491511"/>
                    </a:lnTo>
                    <a:lnTo>
                      <a:pt x="5775409" y="8502281"/>
                    </a:lnTo>
                    <a:lnTo>
                      <a:pt x="5829468" y="8513043"/>
                    </a:lnTo>
                    <a:lnTo>
                      <a:pt x="5881362" y="8530033"/>
                    </a:lnTo>
                    <a:lnTo>
                      <a:pt x="5929108" y="8551249"/>
                    </a:lnTo>
                    <a:lnTo>
                      <a:pt x="5994438" y="8580272"/>
                    </a:lnTo>
                    <a:lnTo>
                      <a:pt x="6058164" y="8625506"/>
                    </a:lnTo>
                    <a:lnTo>
                      <a:pt x="6127695" y="8645100"/>
                    </a:lnTo>
                    <a:lnTo>
                      <a:pt x="6203398" y="8666395"/>
                    </a:lnTo>
                    <a:lnTo>
                      <a:pt x="6306279" y="8688225"/>
                    </a:lnTo>
                    <a:lnTo>
                      <a:pt x="6410617" y="8704949"/>
                    </a:lnTo>
                    <a:lnTo>
                      <a:pt x="6514961" y="8721674"/>
                    </a:lnTo>
                    <a:lnTo>
                      <a:pt x="6619668" y="8732661"/>
                    </a:lnTo>
                    <a:lnTo>
                      <a:pt x="6698977" y="8733512"/>
                    </a:lnTo>
                    <a:lnTo>
                      <a:pt x="6747570" y="8727728"/>
                    </a:lnTo>
                    <a:lnTo>
                      <a:pt x="6786433" y="8684927"/>
                    </a:lnTo>
                    <a:lnTo>
                      <a:pt x="6797123" y="8665544"/>
                    </a:lnTo>
                    <a:lnTo>
                      <a:pt x="6811349" y="8618153"/>
                    </a:lnTo>
                    <a:lnTo>
                      <a:pt x="6820040" y="8570288"/>
                    </a:lnTo>
                    <a:lnTo>
                      <a:pt x="6828734" y="8522421"/>
                    </a:lnTo>
                    <a:lnTo>
                      <a:pt x="6832994" y="8474497"/>
                    </a:lnTo>
                    <a:lnTo>
                      <a:pt x="6817048" y="8441086"/>
                    </a:lnTo>
                    <a:lnTo>
                      <a:pt x="6795514" y="8421539"/>
                    </a:lnTo>
                    <a:lnTo>
                      <a:pt x="6772440" y="8402982"/>
                    </a:lnTo>
                    <a:lnTo>
                      <a:pt x="6749337" y="8384429"/>
                    </a:lnTo>
                    <a:lnTo>
                      <a:pt x="6723531" y="8367046"/>
                    </a:lnTo>
                    <a:lnTo>
                      <a:pt x="6703061" y="8340415"/>
                    </a:lnTo>
                    <a:lnTo>
                      <a:pt x="6713606" y="8280310"/>
                    </a:lnTo>
                    <a:lnTo>
                      <a:pt x="6747353" y="8221904"/>
                    </a:lnTo>
                    <a:lnTo>
                      <a:pt x="6768350" y="8164945"/>
                    </a:lnTo>
                    <a:lnTo>
                      <a:pt x="6797263" y="8086525"/>
                    </a:lnTo>
                    <a:lnTo>
                      <a:pt x="6796702" y="7999090"/>
                    </a:lnTo>
                    <a:lnTo>
                      <a:pt x="6814598" y="7918751"/>
                    </a:lnTo>
                    <a:lnTo>
                      <a:pt x="6820086" y="7893842"/>
                    </a:lnTo>
                    <a:lnTo>
                      <a:pt x="6837127" y="7865450"/>
                    </a:lnTo>
                    <a:lnTo>
                      <a:pt x="6844522" y="7839863"/>
                    </a:lnTo>
                    <a:lnTo>
                      <a:pt x="6868158" y="7757610"/>
                    </a:lnTo>
                    <a:lnTo>
                      <a:pt x="6887288" y="7637280"/>
                    </a:lnTo>
                    <a:lnTo>
                      <a:pt x="6886690" y="7551500"/>
                    </a:lnTo>
                    <a:lnTo>
                      <a:pt x="6870750" y="7536582"/>
                    </a:lnTo>
                    <a:lnTo>
                      <a:pt x="6849626" y="7531596"/>
                    </a:lnTo>
                    <a:lnTo>
                      <a:pt x="6828197" y="7529737"/>
                    </a:lnTo>
                    <a:lnTo>
                      <a:pt x="6806772" y="7527877"/>
                    </a:lnTo>
                    <a:lnTo>
                      <a:pt x="6784653" y="7528207"/>
                    </a:lnTo>
                    <a:lnTo>
                      <a:pt x="6737025" y="7518388"/>
                    </a:lnTo>
                    <a:lnTo>
                      <a:pt x="6706754" y="7507888"/>
                    </a:lnTo>
                    <a:lnTo>
                      <a:pt x="6678579" y="7499809"/>
                    </a:lnTo>
                    <a:lnTo>
                      <a:pt x="6675763" y="7471755"/>
                    </a:lnTo>
                    <a:lnTo>
                      <a:pt x="6682656" y="7441326"/>
                    </a:lnTo>
                    <a:lnTo>
                      <a:pt x="6696993" y="7383897"/>
                    </a:lnTo>
                    <a:lnTo>
                      <a:pt x="6686783" y="7332339"/>
                    </a:lnTo>
                    <a:lnTo>
                      <a:pt x="6670040" y="7308920"/>
                    </a:lnTo>
                    <a:lnTo>
                      <a:pt x="6677214" y="7263138"/>
                    </a:lnTo>
                    <a:lnTo>
                      <a:pt x="6690392" y="7245074"/>
                    </a:lnTo>
                    <a:lnTo>
                      <a:pt x="6707557" y="7222342"/>
                    </a:lnTo>
                    <a:lnTo>
                      <a:pt x="6720740" y="7197849"/>
                    </a:lnTo>
                    <a:lnTo>
                      <a:pt x="6733930" y="7173354"/>
                    </a:lnTo>
                    <a:lnTo>
                      <a:pt x="6742457" y="7147220"/>
                    </a:lnTo>
                    <a:lnTo>
                      <a:pt x="6739794" y="7123037"/>
                    </a:lnTo>
                    <a:lnTo>
                      <a:pt x="6725807" y="7103146"/>
                    </a:lnTo>
                    <a:lnTo>
                      <a:pt x="6703107" y="7078619"/>
                    </a:lnTo>
                    <a:lnTo>
                      <a:pt x="6681298" y="7067269"/>
                    </a:lnTo>
                    <a:lnTo>
                      <a:pt x="6622635" y="7036662"/>
                    </a:lnTo>
                    <a:lnTo>
                      <a:pt x="6563038" y="7009557"/>
                    </a:lnTo>
                    <a:lnTo>
                      <a:pt x="6508549" y="6972052"/>
                    </a:lnTo>
                    <a:lnTo>
                      <a:pt x="6467252" y="6943627"/>
                    </a:lnTo>
                    <a:lnTo>
                      <a:pt x="6437886" y="6928315"/>
                    </a:lnTo>
                    <a:lnTo>
                      <a:pt x="6420139" y="6906763"/>
                    </a:lnTo>
                    <a:lnTo>
                      <a:pt x="6405352" y="6883423"/>
                    </a:lnTo>
                    <a:lnTo>
                      <a:pt x="6399541" y="6851214"/>
                    </a:lnTo>
                    <a:lnTo>
                      <a:pt x="6402459" y="6804746"/>
                    </a:lnTo>
                    <a:lnTo>
                      <a:pt x="6405550" y="6778735"/>
                    </a:lnTo>
                    <a:lnTo>
                      <a:pt x="6411981" y="6744905"/>
                    </a:lnTo>
                    <a:lnTo>
                      <a:pt x="6428423" y="6717271"/>
                    </a:lnTo>
                    <a:lnTo>
                      <a:pt x="6451433" y="6702737"/>
                    </a:lnTo>
                    <a:lnTo>
                      <a:pt x="6489511" y="6698653"/>
                    </a:lnTo>
                    <a:lnTo>
                      <a:pt x="6504323" y="6673362"/>
                    </a:lnTo>
                    <a:lnTo>
                      <a:pt x="6520942" y="6642334"/>
                    </a:lnTo>
                    <a:lnTo>
                      <a:pt x="6541195" y="6623841"/>
                    </a:lnTo>
                    <a:lnTo>
                      <a:pt x="6576377" y="6612201"/>
                    </a:lnTo>
                    <a:lnTo>
                      <a:pt x="6611622" y="6603087"/>
                    </a:lnTo>
                    <a:lnTo>
                      <a:pt x="6647294" y="6596638"/>
                    </a:lnTo>
                    <a:lnTo>
                      <a:pt x="6682966" y="6590187"/>
                    </a:lnTo>
                    <a:lnTo>
                      <a:pt x="6720213" y="6586350"/>
                    </a:lnTo>
                    <a:lnTo>
                      <a:pt x="6757467" y="6584397"/>
                    </a:lnTo>
                    <a:lnTo>
                      <a:pt x="6769252" y="6561632"/>
                    </a:lnTo>
                    <a:lnTo>
                      <a:pt x="6778328" y="6525544"/>
                    </a:lnTo>
                    <a:lnTo>
                      <a:pt x="6783313" y="6498703"/>
                    </a:lnTo>
                    <a:lnTo>
                      <a:pt x="6786848" y="6476354"/>
                    </a:lnTo>
                    <a:lnTo>
                      <a:pt x="6783313" y="6442937"/>
                    </a:lnTo>
                    <a:lnTo>
                      <a:pt x="6774774" y="6416525"/>
                    </a:lnTo>
                    <a:lnTo>
                      <a:pt x="6751421" y="6389657"/>
                    </a:lnTo>
                    <a:lnTo>
                      <a:pt x="6727394" y="6382073"/>
                    </a:lnTo>
                    <a:lnTo>
                      <a:pt x="6700336" y="6376288"/>
                    </a:lnTo>
                    <a:lnTo>
                      <a:pt x="6673292" y="6370498"/>
                    </a:lnTo>
                    <a:lnTo>
                      <a:pt x="6643409" y="6366943"/>
                    </a:lnTo>
                    <a:lnTo>
                      <a:pt x="6616009" y="6358601"/>
                    </a:lnTo>
                    <a:lnTo>
                      <a:pt x="6588606" y="6350259"/>
                    </a:lnTo>
                    <a:lnTo>
                      <a:pt x="6564620" y="6336561"/>
                    </a:lnTo>
                    <a:lnTo>
                      <a:pt x="6548001" y="6310999"/>
                    </a:lnTo>
                    <a:lnTo>
                      <a:pt x="6529298" y="6282252"/>
                    </a:lnTo>
                    <a:lnTo>
                      <a:pt x="6532014" y="6219224"/>
                    </a:lnTo>
                    <a:lnTo>
                      <a:pt x="6527596" y="6183137"/>
                    </a:lnTo>
                    <a:lnTo>
                      <a:pt x="6432380" y="6172256"/>
                    </a:lnTo>
                    <a:lnTo>
                      <a:pt x="6416744" y="6155082"/>
                    </a:lnTo>
                    <a:lnTo>
                      <a:pt x="6413761" y="6106201"/>
                    </a:lnTo>
                    <a:lnTo>
                      <a:pt x="6416055" y="6085202"/>
                    </a:lnTo>
                    <a:lnTo>
                      <a:pt x="6496311" y="6053916"/>
                    </a:lnTo>
                    <a:lnTo>
                      <a:pt x="6518033" y="5999601"/>
                    </a:lnTo>
                    <a:lnTo>
                      <a:pt x="6520796" y="5957340"/>
                    </a:lnTo>
                    <a:lnTo>
                      <a:pt x="6523534" y="5915087"/>
                    </a:lnTo>
                    <a:lnTo>
                      <a:pt x="6523711" y="5870994"/>
                    </a:lnTo>
                    <a:lnTo>
                      <a:pt x="6525413" y="5842747"/>
                    </a:lnTo>
                    <a:lnTo>
                      <a:pt x="6537270" y="5823959"/>
                    </a:lnTo>
                    <a:lnTo>
                      <a:pt x="6529245" y="5774906"/>
                    </a:lnTo>
                    <a:lnTo>
                      <a:pt x="6511894" y="5739247"/>
                    </a:lnTo>
                    <a:lnTo>
                      <a:pt x="6499039" y="5702988"/>
                    </a:lnTo>
                    <a:lnTo>
                      <a:pt x="6486194" y="5666722"/>
                    </a:lnTo>
                    <a:lnTo>
                      <a:pt x="6476579" y="5629858"/>
                    </a:lnTo>
                    <a:lnTo>
                      <a:pt x="6482718" y="5591449"/>
                    </a:lnTo>
                    <a:lnTo>
                      <a:pt x="6520613" y="5576742"/>
                    </a:lnTo>
                    <a:lnTo>
                      <a:pt x="6546643" y="5575126"/>
                    </a:lnTo>
                    <a:lnTo>
                      <a:pt x="6572684" y="5573511"/>
                    </a:lnTo>
                    <a:lnTo>
                      <a:pt x="6599784" y="5574401"/>
                    </a:lnTo>
                    <a:lnTo>
                      <a:pt x="6624173" y="5590090"/>
                    </a:lnTo>
                    <a:lnTo>
                      <a:pt x="6618145" y="5620908"/>
                    </a:lnTo>
                    <a:lnTo>
                      <a:pt x="6617041" y="5653672"/>
                    </a:lnTo>
                    <a:lnTo>
                      <a:pt x="6620089" y="5686659"/>
                    </a:lnTo>
                    <a:lnTo>
                      <a:pt x="6623137" y="5719654"/>
                    </a:lnTo>
                    <a:lnTo>
                      <a:pt x="6630337" y="5753294"/>
                    </a:lnTo>
                    <a:lnTo>
                      <a:pt x="6637772" y="5783235"/>
                    </a:lnTo>
                    <a:lnTo>
                      <a:pt x="6666031" y="5798285"/>
                    </a:lnTo>
                    <a:lnTo>
                      <a:pt x="6779924" y="5797361"/>
                    </a:lnTo>
                    <a:lnTo>
                      <a:pt x="6846513" y="5798397"/>
                    </a:lnTo>
                    <a:lnTo>
                      <a:pt x="6890764" y="5795476"/>
                    </a:lnTo>
                    <a:lnTo>
                      <a:pt x="6935016" y="5792574"/>
                    </a:lnTo>
                    <a:lnTo>
                      <a:pt x="6957030" y="5786585"/>
                    </a:lnTo>
                    <a:lnTo>
                      <a:pt x="6973742" y="5773713"/>
                    </a:lnTo>
                    <a:lnTo>
                      <a:pt x="6990439" y="5760839"/>
                    </a:lnTo>
                    <a:lnTo>
                      <a:pt x="7001282" y="5740533"/>
                    </a:lnTo>
                    <a:lnTo>
                      <a:pt x="7022710" y="5709782"/>
                    </a:lnTo>
                    <a:lnTo>
                      <a:pt x="7044122" y="5679036"/>
                    </a:lnTo>
                    <a:lnTo>
                      <a:pt x="7075844" y="5637085"/>
                    </a:lnTo>
                    <a:lnTo>
                      <a:pt x="7134235" y="5580566"/>
                    </a:lnTo>
                    <a:lnTo>
                      <a:pt x="7182821" y="5600201"/>
                    </a:lnTo>
                    <a:lnTo>
                      <a:pt x="7220567" y="5602706"/>
                    </a:lnTo>
                    <a:lnTo>
                      <a:pt x="7258022" y="5598247"/>
                    </a:lnTo>
                    <a:lnTo>
                      <a:pt x="7295474" y="5593790"/>
                    </a:lnTo>
                    <a:lnTo>
                      <a:pt x="7333757" y="5582836"/>
                    </a:lnTo>
                    <a:lnTo>
                      <a:pt x="7384517" y="5575126"/>
                    </a:lnTo>
                    <a:lnTo>
                      <a:pt x="7424939" y="5569006"/>
                    </a:lnTo>
                    <a:lnTo>
                      <a:pt x="7469578" y="5578517"/>
                    </a:lnTo>
                    <a:lnTo>
                      <a:pt x="7509650" y="5583284"/>
                    </a:lnTo>
                    <a:lnTo>
                      <a:pt x="7541965" y="5588554"/>
                    </a:lnTo>
                    <a:lnTo>
                      <a:pt x="7606398" y="5589490"/>
                    </a:lnTo>
                    <a:lnTo>
                      <a:pt x="7656981" y="5590256"/>
                    </a:lnTo>
                    <a:lnTo>
                      <a:pt x="7709607" y="5581926"/>
                    </a:lnTo>
                    <a:lnTo>
                      <a:pt x="7731581" y="5571426"/>
                    </a:lnTo>
                    <a:lnTo>
                      <a:pt x="7938120" y="5532958"/>
                    </a:lnTo>
                    <a:lnTo>
                      <a:pt x="7962668" y="5537806"/>
                    </a:lnTo>
                    <a:lnTo>
                      <a:pt x="7987299" y="5540015"/>
                    </a:lnTo>
                    <a:lnTo>
                      <a:pt x="8018671" y="5548305"/>
                    </a:lnTo>
                    <a:lnTo>
                      <a:pt x="8038778" y="5558803"/>
                    </a:lnTo>
                    <a:lnTo>
                      <a:pt x="8113024" y="5597609"/>
                    </a:lnTo>
                    <a:lnTo>
                      <a:pt x="8188397" y="5642625"/>
                    </a:lnTo>
                    <a:lnTo>
                      <a:pt x="8264569" y="5677136"/>
                    </a:lnTo>
                    <a:lnTo>
                      <a:pt x="8305667" y="5695753"/>
                    </a:lnTo>
                    <a:lnTo>
                      <a:pt x="8534912" y="5713823"/>
                    </a:lnTo>
                    <a:lnTo>
                      <a:pt x="8595097" y="5724745"/>
                    </a:lnTo>
                    <a:lnTo>
                      <a:pt x="8663996" y="5737289"/>
                    </a:lnTo>
                    <a:lnTo>
                      <a:pt x="8732655" y="5754415"/>
                    </a:lnTo>
                    <a:lnTo>
                      <a:pt x="8801848" y="5766913"/>
                    </a:lnTo>
                    <a:lnTo>
                      <a:pt x="8824739" y="5778626"/>
                    </a:lnTo>
                    <a:lnTo>
                      <a:pt x="8870501" y="5805506"/>
                    </a:lnTo>
                    <a:lnTo>
                      <a:pt x="8893774" y="5810630"/>
                    </a:lnTo>
                    <a:lnTo>
                      <a:pt x="8917465" y="5807715"/>
                    </a:lnTo>
                    <a:lnTo>
                      <a:pt x="8941154" y="5804801"/>
                    </a:lnTo>
                    <a:lnTo>
                      <a:pt x="8964994" y="5794209"/>
                    </a:lnTo>
                    <a:lnTo>
                      <a:pt x="9000434" y="5781877"/>
                    </a:lnTo>
                    <a:lnTo>
                      <a:pt x="9030875" y="5755912"/>
                    </a:lnTo>
                    <a:lnTo>
                      <a:pt x="9041244" y="5735627"/>
                    </a:lnTo>
                    <a:lnTo>
                      <a:pt x="9051603" y="5715341"/>
                    </a:lnTo>
                    <a:lnTo>
                      <a:pt x="9061590" y="5694276"/>
                    </a:lnTo>
                    <a:lnTo>
                      <a:pt x="9122718" y="5645547"/>
                    </a:lnTo>
                    <a:lnTo>
                      <a:pt x="9161060" y="5623085"/>
                    </a:lnTo>
                    <a:lnTo>
                      <a:pt x="9203110" y="5606407"/>
                    </a:lnTo>
                    <a:lnTo>
                      <a:pt x="9245145" y="5589727"/>
                    </a:lnTo>
                    <a:lnTo>
                      <a:pt x="9289812" y="5578649"/>
                    </a:lnTo>
                    <a:lnTo>
                      <a:pt x="9344571" y="5565603"/>
                    </a:lnTo>
                    <a:lnTo>
                      <a:pt x="9396407" y="5553252"/>
                    </a:lnTo>
                    <a:lnTo>
                      <a:pt x="9432519" y="5549063"/>
                    </a:lnTo>
                    <a:lnTo>
                      <a:pt x="9458828" y="5551998"/>
                    </a:lnTo>
                    <a:lnTo>
                      <a:pt x="9485127" y="5554940"/>
                    </a:lnTo>
                    <a:lnTo>
                      <a:pt x="9515950" y="5579202"/>
                    </a:lnTo>
                    <a:lnTo>
                      <a:pt x="9541446" y="5612586"/>
                    </a:lnTo>
                    <a:lnTo>
                      <a:pt x="9556753" y="5634975"/>
                    </a:lnTo>
                    <a:lnTo>
                      <a:pt x="9572061" y="5657359"/>
                    </a:lnTo>
                    <a:lnTo>
                      <a:pt x="9592209" y="5683230"/>
                    </a:lnTo>
                    <a:lnTo>
                      <a:pt x="9622042" y="5709782"/>
                    </a:lnTo>
                    <a:lnTo>
                      <a:pt x="9673326" y="5727133"/>
                    </a:lnTo>
                    <a:lnTo>
                      <a:pt x="9715910" y="5734269"/>
                    </a:lnTo>
                    <a:lnTo>
                      <a:pt x="9758471" y="5741403"/>
                    </a:lnTo>
                    <a:lnTo>
                      <a:pt x="9801511" y="5747339"/>
                    </a:lnTo>
                    <a:lnTo>
                      <a:pt x="9829624" y="5751658"/>
                    </a:lnTo>
                    <a:lnTo>
                      <a:pt x="9853281" y="5776435"/>
                    </a:lnTo>
                    <a:lnTo>
                      <a:pt x="9872709" y="5808797"/>
                    </a:lnTo>
                    <a:lnTo>
                      <a:pt x="9890984" y="5844725"/>
                    </a:lnTo>
                    <a:lnTo>
                      <a:pt x="9911771" y="5875728"/>
                    </a:lnTo>
                    <a:lnTo>
                      <a:pt x="9937121" y="5899931"/>
                    </a:lnTo>
                    <a:lnTo>
                      <a:pt x="9980910" y="5896344"/>
                    </a:lnTo>
                    <a:lnTo>
                      <a:pt x="10015147" y="5868929"/>
                    </a:lnTo>
                    <a:lnTo>
                      <a:pt x="10044962" y="5851861"/>
                    </a:lnTo>
                    <a:lnTo>
                      <a:pt x="10075264" y="5834616"/>
                    </a:lnTo>
                    <a:lnTo>
                      <a:pt x="10107641" y="5818597"/>
                    </a:lnTo>
                    <a:lnTo>
                      <a:pt x="10140002" y="5802584"/>
                    </a:lnTo>
                    <a:lnTo>
                      <a:pt x="10174201" y="5787476"/>
                    </a:lnTo>
                    <a:lnTo>
                      <a:pt x="10208286" y="5775071"/>
                    </a:lnTo>
                    <a:lnTo>
                      <a:pt x="10242386" y="5762665"/>
                    </a:lnTo>
                    <a:lnTo>
                      <a:pt x="10276660" y="5752753"/>
                    </a:lnTo>
                    <a:lnTo>
                      <a:pt x="10311659" y="5746508"/>
                    </a:lnTo>
                    <a:lnTo>
                      <a:pt x="10346671" y="5740236"/>
                    </a:lnTo>
                    <a:lnTo>
                      <a:pt x="10382660" y="5738600"/>
                    </a:lnTo>
                    <a:lnTo>
                      <a:pt x="10417764" y="5741067"/>
                    </a:lnTo>
                    <a:lnTo>
                      <a:pt x="10446532" y="5747728"/>
                    </a:lnTo>
                    <a:lnTo>
                      <a:pt x="10473327" y="5767051"/>
                    </a:lnTo>
                    <a:lnTo>
                      <a:pt x="10480325" y="5795476"/>
                    </a:lnTo>
                    <a:lnTo>
                      <a:pt x="10471842" y="5835625"/>
                    </a:lnTo>
                    <a:lnTo>
                      <a:pt x="10461086" y="5867076"/>
                    </a:lnTo>
                    <a:lnTo>
                      <a:pt x="10458568" y="5897491"/>
                    </a:lnTo>
                    <a:lnTo>
                      <a:pt x="10456035" y="5927900"/>
                    </a:lnTo>
                    <a:lnTo>
                      <a:pt x="10461008" y="5957407"/>
                    </a:lnTo>
                    <a:lnTo>
                      <a:pt x="10484412" y="5992702"/>
                    </a:lnTo>
                    <a:lnTo>
                      <a:pt x="10480799" y="6024015"/>
                    </a:lnTo>
                    <a:lnTo>
                      <a:pt x="10479857" y="6059331"/>
                    </a:lnTo>
                    <a:lnTo>
                      <a:pt x="10485763" y="6090636"/>
                    </a:lnTo>
                    <a:lnTo>
                      <a:pt x="10519470" y="6099000"/>
                    </a:lnTo>
                    <a:lnTo>
                      <a:pt x="10558156" y="6087715"/>
                    </a:lnTo>
                    <a:lnTo>
                      <a:pt x="10579082" y="6076807"/>
                    </a:lnTo>
                    <a:lnTo>
                      <a:pt x="10598662" y="6063433"/>
                    </a:lnTo>
                    <a:lnTo>
                      <a:pt x="10637816" y="6036677"/>
                    </a:lnTo>
                    <a:lnTo>
                      <a:pt x="10673107" y="6001573"/>
                    </a:lnTo>
                    <a:lnTo>
                      <a:pt x="10692507" y="5983179"/>
                    </a:lnTo>
                    <a:lnTo>
                      <a:pt x="10719461" y="5975483"/>
                    </a:lnTo>
                    <a:lnTo>
                      <a:pt x="10747912" y="6012210"/>
                    </a:lnTo>
                    <a:lnTo>
                      <a:pt x="10749217" y="6042659"/>
                    </a:lnTo>
                    <a:lnTo>
                      <a:pt x="10730595" y="6072956"/>
                    </a:lnTo>
                    <a:lnTo>
                      <a:pt x="10706680" y="6100642"/>
                    </a:lnTo>
                    <a:lnTo>
                      <a:pt x="10681072" y="6126876"/>
                    </a:lnTo>
                    <a:lnTo>
                      <a:pt x="10659864" y="6154567"/>
                    </a:lnTo>
                    <a:lnTo>
                      <a:pt x="10645354" y="6184852"/>
                    </a:lnTo>
                    <a:lnTo>
                      <a:pt x="10656013" y="6217707"/>
                    </a:lnTo>
                    <a:lnTo>
                      <a:pt x="10680539" y="6219930"/>
                    </a:lnTo>
                    <a:lnTo>
                      <a:pt x="10704755" y="6222574"/>
                    </a:lnTo>
                    <a:lnTo>
                      <a:pt x="10728970" y="6225219"/>
                    </a:lnTo>
                    <a:lnTo>
                      <a:pt x="10753189" y="6228398"/>
                    </a:lnTo>
                    <a:lnTo>
                      <a:pt x="10770633" y="6259843"/>
                    </a:lnTo>
                    <a:lnTo>
                      <a:pt x="10777826" y="6298916"/>
                    </a:lnTo>
                    <a:lnTo>
                      <a:pt x="10782291" y="6339554"/>
                    </a:lnTo>
                    <a:lnTo>
                      <a:pt x="10786750" y="6380186"/>
                    </a:lnTo>
                    <a:lnTo>
                      <a:pt x="10787646" y="6422163"/>
                    </a:lnTo>
                    <a:lnTo>
                      <a:pt x="10784989" y="6444289"/>
                    </a:lnTo>
                    <a:lnTo>
                      <a:pt x="10774403" y="6465201"/>
                    </a:lnTo>
                    <a:lnTo>
                      <a:pt x="10804978" y="6482975"/>
                    </a:lnTo>
                    <a:lnTo>
                      <a:pt x="10833950" y="6494614"/>
                    </a:lnTo>
                    <a:lnTo>
                      <a:pt x="10852935" y="6512703"/>
                    </a:lnTo>
                    <a:lnTo>
                      <a:pt x="10865368" y="6548211"/>
                    </a:lnTo>
                    <a:lnTo>
                      <a:pt x="10864162" y="6575672"/>
                    </a:lnTo>
                    <a:lnTo>
                      <a:pt x="10904113" y="6575230"/>
                    </a:lnTo>
                    <a:lnTo>
                      <a:pt x="10916928" y="6551746"/>
                    </a:lnTo>
                    <a:lnTo>
                      <a:pt x="10942092" y="6533828"/>
                    </a:lnTo>
                    <a:lnTo>
                      <a:pt x="10991739" y="6536782"/>
                    </a:lnTo>
                    <a:lnTo>
                      <a:pt x="10982071" y="6577096"/>
                    </a:lnTo>
                    <a:lnTo>
                      <a:pt x="10975436" y="6611595"/>
                    </a:lnTo>
                    <a:lnTo>
                      <a:pt x="10976915" y="6639734"/>
                    </a:lnTo>
                    <a:lnTo>
                      <a:pt x="10988778" y="6669557"/>
                    </a:lnTo>
                    <a:lnTo>
                      <a:pt x="10994483" y="6697283"/>
                    </a:lnTo>
                    <a:lnTo>
                      <a:pt x="10962556" y="6770354"/>
                    </a:lnTo>
                    <a:lnTo>
                      <a:pt x="10944402" y="6827056"/>
                    </a:lnTo>
                    <a:lnTo>
                      <a:pt x="10927826" y="6905397"/>
                    </a:lnTo>
                    <a:lnTo>
                      <a:pt x="10904184" y="6933479"/>
                    </a:lnTo>
                    <a:lnTo>
                      <a:pt x="10882936" y="6928520"/>
                    </a:lnTo>
                    <a:lnTo>
                      <a:pt x="10864643" y="6911333"/>
                    </a:lnTo>
                    <a:lnTo>
                      <a:pt x="10846836" y="6888561"/>
                    </a:lnTo>
                    <a:lnTo>
                      <a:pt x="10827175" y="6870029"/>
                    </a:lnTo>
                    <a:lnTo>
                      <a:pt x="10804550" y="6858594"/>
                    </a:lnTo>
                    <a:lnTo>
                      <a:pt x="10789084" y="6880910"/>
                    </a:lnTo>
                    <a:lnTo>
                      <a:pt x="10783057" y="6945350"/>
                    </a:lnTo>
                    <a:lnTo>
                      <a:pt x="10836706" y="6969322"/>
                    </a:lnTo>
                    <a:lnTo>
                      <a:pt x="10844309" y="6994910"/>
                    </a:lnTo>
                    <a:lnTo>
                      <a:pt x="10840142" y="7029256"/>
                    </a:lnTo>
                    <a:lnTo>
                      <a:pt x="10862916" y="7040480"/>
                    </a:lnTo>
                    <a:lnTo>
                      <a:pt x="10895862" y="7046601"/>
                    </a:lnTo>
                    <a:lnTo>
                      <a:pt x="10908783" y="7076779"/>
                    </a:lnTo>
                    <a:lnTo>
                      <a:pt x="10940548" y="7092508"/>
                    </a:lnTo>
                    <a:lnTo>
                      <a:pt x="10985969" y="7092745"/>
                    </a:lnTo>
                    <a:lnTo>
                      <a:pt x="11031197" y="7089026"/>
                    </a:lnTo>
                    <a:lnTo>
                      <a:pt x="11076431" y="7085299"/>
                    </a:lnTo>
                    <a:lnTo>
                      <a:pt x="11120723" y="7077782"/>
                    </a:lnTo>
                    <a:lnTo>
                      <a:pt x="11141376" y="7067263"/>
                    </a:lnTo>
                    <a:lnTo>
                      <a:pt x="11160714" y="7035310"/>
                    </a:lnTo>
                    <a:lnTo>
                      <a:pt x="11168581" y="7011490"/>
                    </a:lnTo>
                    <a:lnTo>
                      <a:pt x="11176434" y="6987676"/>
                    </a:lnTo>
                    <a:lnTo>
                      <a:pt x="11182682" y="6962654"/>
                    </a:lnTo>
                    <a:lnTo>
                      <a:pt x="11211803" y="6936842"/>
                    </a:lnTo>
                    <a:lnTo>
                      <a:pt x="11266172" y="6936856"/>
                    </a:lnTo>
                    <a:lnTo>
                      <a:pt x="11295078" y="6938042"/>
                    </a:lnTo>
                    <a:lnTo>
                      <a:pt x="11312501" y="6986581"/>
                    </a:lnTo>
                    <a:lnTo>
                      <a:pt x="11318451" y="7024033"/>
                    </a:lnTo>
                    <a:lnTo>
                      <a:pt x="11322283" y="7060457"/>
                    </a:lnTo>
                    <a:lnTo>
                      <a:pt x="11320978" y="7098886"/>
                    </a:lnTo>
                    <a:lnTo>
                      <a:pt x="11363000" y="7135777"/>
                    </a:lnTo>
                    <a:lnTo>
                      <a:pt x="11406960" y="7127230"/>
                    </a:lnTo>
                    <a:lnTo>
                      <a:pt x="11446068" y="7131186"/>
                    </a:lnTo>
                    <a:lnTo>
                      <a:pt x="11469310" y="7133541"/>
                    </a:lnTo>
                    <a:lnTo>
                      <a:pt x="11481879" y="7156419"/>
                    </a:lnTo>
                    <a:lnTo>
                      <a:pt x="11503193" y="7177438"/>
                    </a:lnTo>
                    <a:lnTo>
                      <a:pt x="11527325" y="7198323"/>
                    </a:lnTo>
                    <a:lnTo>
                      <a:pt x="11560675" y="7213676"/>
                    </a:lnTo>
                    <a:lnTo>
                      <a:pt x="11607934" y="7218240"/>
                    </a:lnTo>
                    <a:lnTo>
                      <a:pt x="11640639" y="7212693"/>
                    </a:lnTo>
                    <a:lnTo>
                      <a:pt x="11675867" y="7204746"/>
                    </a:lnTo>
                    <a:lnTo>
                      <a:pt x="11709943" y="7196477"/>
                    </a:lnTo>
                    <a:lnTo>
                      <a:pt x="11726590" y="7167545"/>
                    </a:lnTo>
                    <a:lnTo>
                      <a:pt x="11739541" y="7130205"/>
                    </a:lnTo>
                    <a:lnTo>
                      <a:pt x="11746669" y="7097184"/>
                    </a:lnTo>
                    <a:lnTo>
                      <a:pt x="11769998" y="7078151"/>
                    </a:lnTo>
                    <a:lnTo>
                      <a:pt x="11796784" y="7067255"/>
                    </a:lnTo>
                    <a:lnTo>
                      <a:pt x="11825567" y="7063181"/>
                    </a:lnTo>
                    <a:lnTo>
                      <a:pt x="11852973" y="7061783"/>
                    </a:lnTo>
                    <a:lnTo>
                      <a:pt x="11882692" y="7068621"/>
                    </a:lnTo>
                    <a:lnTo>
                      <a:pt x="11901280" y="7078566"/>
                    </a:lnTo>
                    <a:lnTo>
                      <a:pt x="11914873" y="7101781"/>
                    </a:lnTo>
                    <a:lnTo>
                      <a:pt x="11917288" y="7122733"/>
                    </a:lnTo>
                    <a:lnTo>
                      <a:pt x="11945262" y="7143434"/>
                    </a:lnTo>
                    <a:lnTo>
                      <a:pt x="11973483" y="7135546"/>
                    </a:lnTo>
                    <a:lnTo>
                      <a:pt x="12000831" y="7134504"/>
                    </a:lnTo>
                    <a:lnTo>
                      <a:pt x="12028234" y="7133910"/>
                    </a:lnTo>
                    <a:lnTo>
                      <a:pt x="12055621" y="7133318"/>
                    </a:lnTo>
                    <a:lnTo>
                      <a:pt x="12082199" y="7132777"/>
                    </a:lnTo>
                    <a:lnTo>
                      <a:pt x="12109844" y="7128470"/>
                    </a:lnTo>
                    <a:lnTo>
                      <a:pt x="12141126" y="7123584"/>
                    </a:lnTo>
                    <a:lnTo>
                      <a:pt x="12172622" y="7116170"/>
                    </a:lnTo>
                    <a:lnTo>
                      <a:pt x="12203699" y="7108065"/>
                    </a:lnTo>
                    <a:lnTo>
                      <a:pt x="12234773" y="7099967"/>
                    </a:lnTo>
                    <a:lnTo>
                      <a:pt x="12266244" y="7091314"/>
                    </a:lnTo>
                    <a:lnTo>
                      <a:pt x="12297550" y="7086302"/>
                    </a:lnTo>
                    <a:lnTo>
                      <a:pt x="12348785" y="7078104"/>
                    </a:lnTo>
                    <a:lnTo>
                      <a:pt x="12398657" y="7075447"/>
                    </a:lnTo>
                    <a:lnTo>
                      <a:pt x="12448534" y="7069979"/>
                    </a:lnTo>
                    <a:lnTo>
                      <a:pt x="12473475" y="7067249"/>
                    </a:lnTo>
                    <a:lnTo>
                      <a:pt x="12498410" y="7063814"/>
                    </a:lnTo>
                    <a:lnTo>
                      <a:pt x="12523344" y="7059098"/>
                    </a:lnTo>
                    <a:lnTo>
                      <a:pt x="12573025" y="7047286"/>
                    </a:lnTo>
                    <a:lnTo>
                      <a:pt x="12598152" y="7040059"/>
                    </a:lnTo>
                    <a:lnTo>
                      <a:pt x="12605677" y="7019846"/>
                    </a:lnTo>
                    <a:lnTo>
                      <a:pt x="12602874" y="6993347"/>
                    </a:lnTo>
                    <a:lnTo>
                      <a:pt x="12596800" y="6967964"/>
                    </a:lnTo>
                    <a:lnTo>
                      <a:pt x="12590745" y="6942586"/>
                    </a:lnTo>
                    <a:lnTo>
                      <a:pt x="12581375" y="6918145"/>
                    </a:lnTo>
                    <a:lnTo>
                      <a:pt x="12565522" y="6886352"/>
                    </a:lnTo>
                    <a:lnTo>
                      <a:pt x="12453981" y="6865953"/>
                    </a:lnTo>
                    <a:lnTo>
                      <a:pt x="12437387" y="6821187"/>
                    </a:lnTo>
                    <a:lnTo>
                      <a:pt x="12437660" y="6789783"/>
                    </a:lnTo>
                    <a:lnTo>
                      <a:pt x="12438119" y="6758370"/>
                    </a:lnTo>
                    <a:lnTo>
                      <a:pt x="12443297" y="6725977"/>
                    </a:lnTo>
                    <a:lnTo>
                      <a:pt x="12475744" y="6687765"/>
                    </a:lnTo>
                    <a:lnTo>
                      <a:pt x="12504226" y="6693503"/>
                    </a:lnTo>
                    <a:lnTo>
                      <a:pt x="12543328" y="6697672"/>
                    </a:lnTo>
                    <a:lnTo>
                      <a:pt x="12572327" y="6691841"/>
                    </a:lnTo>
                    <a:lnTo>
                      <a:pt x="12588649" y="6653755"/>
                    </a:lnTo>
                    <a:lnTo>
                      <a:pt x="12615187" y="6653822"/>
                    </a:lnTo>
                    <a:lnTo>
                      <a:pt x="12636249" y="6653755"/>
                    </a:lnTo>
                    <a:lnTo>
                      <a:pt x="12657315" y="6653690"/>
                    </a:lnTo>
                    <a:lnTo>
                      <a:pt x="12682501" y="6653360"/>
                    </a:lnTo>
                    <a:lnTo>
                      <a:pt x="12706980" y="6652397"/>
                    </a:lnTo>
                    <a:lnTo>
                      <a:pt x="12731462" y="6651428"/>
                    </a:lnTo>
                    <a:lnTo>
                      <a:pt x="12755823" y="6649904"/>
                    </a:lnTo>
                    <a:lnTo>
                      <a:pt x="12794159" y="6644002"/>
                    </a:lnTo>
                    <a:lnTo>
                      <a:pt x="12813072" y="6633352"/>
                    </a:lnTo>
                    <a:lnTo>
                      <a:pt x="12782783" y="6586520"/>
                    </a:lnTo>
                    <a:lnTo>
                      <a:pt x="12768629" y="6551989"/>
                    </a:lnTo>
                    <a:lnTo>
                      <a:pt x="12760025" y="6524535"/>
                    </a:lnTo>
                    <a:lnTo>
                      <a:pt x="12751451" y="6497087"/>
                    </a:lnTo>
                    <a:lnTo>
                      <a:pt x="12742342" y="6463328"/>
                    </a:lnTo>
                    <a:lnTo>
                      <a:pt x="12727695" y="6440207"/>
                    </a:lnTo>
                    <a:lnTo>
                      <a:pt x="12705615" y="6433400"/>
                    </a:lnTo>
                    <a:lnTo>
                      <a:pt x="12683561" y="6426602"/>
                    </a:lnTo>
                    <a:lnTo>
                      <a:pt x="12648617" y="6422611"/>
                    </a:lnTo>
                    <a:lnTo>
                      <a:pt x="12591365" y="6417078"/>
                    </a:lnTo>
                    <a:lnTo>
                      <a:pt x="12591241" y="6380311"/>
                    </a:lnTo>
                    <a:lnTo>
                      <a:pt x="12613847" y="6310728"/>
                    </a:lnTo>
                    <a:lnTo>
                      <a:pt x="12599656" y="6282165"/>
                    </a:lnTo>
                    <a:lnTo>
                      <a:pt x="12575254" y="6250076"/>
                    </a:lnTo>
                    <a:lnTo>
                      <a:pt x="12593669" y="6198741"/>
                    </a:lnTo>
                    <a:lnTo>
                      <a:pt x="12602577" y="6161717"/>
                    </a:lnTo>
                    <a:lnTo>
                      <a:pt x="12604970" y="6124640"/>
                    </a:lnTo>
                    <a:lnTo>
                      <a:pt x="12607364" y="6087557"/>
                    </a:lnTo>
                    <a:lnTo>
                      <a:pt x="12603578" y="6051648"/>
                    </a:lnTo>
                    <a:lnTo>
                      <a:pt x="12599529" y="6015824"/>
                    </a:lnTo>
                    <a:lnTo>
                      <a:pt x="12595442" y="5980001"/>
                    </a:lnTo>
                    <a:lnTo>
                      <a:pt x="12590819" y="5944758"/>
                    </a:lnTo>
                    <a:lnTo>
                      <a:pt x="12591365" y="5912448"/>
                    </a:lnTo>
                    <a:lnTo>
                      <a:pt x="12591960" y="5880140"/>
                    </a:lnTo>
                    <a:lnTo>
                      <a:pt x="12596866" y="5850569"/>
                    </a:lnTo>
                    <a:lnTo>
                      <a:pt x="12613128" y="5824038"/>
                    </a:lnTo>
                    <a:lnTo>
                      <a:pt x="12633211" y="5810538"/>
                    </a:lnTo>
                    <a:lnTo>
                      <a:pt x="12666179" y="5794110"/>
                    </a:lnTo>
                    <a:lnTo>
                      <a:pt x="12701442" y="5786757"/>
                    </a:lnTo>
                    <a:lnTo>
                      <a:pt x="12726027" y="5790034"/>
                    </a:lnTo>
                    <a:lnTo>
                      <a:pt x="12754589" y="5794110"/>
                    </a:lnTo>
                    <a:lnTo>
                      <a:pt x="12792590" y="5787944"/>
                    </a:lnTo>
                    <a:lnTo>
                      <a:pt x="12831617" y="5764485"/>
                    </a:lnTo>
                    <a:lnTo>
                      <a:pt x="12871571" y="5757384"/>
                    </a:lnTo>
                    <a:lnTo>
                      <a:pt x="12897653" y="5752773"/>
                    </a:lnTo>
                    <a:lnTo>
                      <a:pt x="12919423" y="5758504"/>
                    </a:lnTo>
                    <a:lnTo>
                      <a:pt x="12940934" y="5766905"/>
                    </a:lnTo>
                    <a:lnTo>
                      <a:pt x="12962462" y="5775308"/>
                    </a:lnTo>
                    <a:lnTo>
                      <a:pt x="12983487" y="5786631"/>
                    </a:lnTo>
                    <a:lnTo>
                      <a:pt x="13007591" y="5794110"/>
                    </a:lnTo>
                    <a:lnTo>
                      <a:pt x="13035738" y="5802868"/>
                    </a:lnTo>
                    <a:lnTo>
                      <a:pt x="13062915" y="5805058"/>
                    </a:lnTo>
                    <a:lnTo>
                      <a:pt x="13087837" y="5811791"/>
                    </a:lnTo>
                    <a:lnTo>
                      <a:pt x="13112760" y="5818532"/>
                    </a:lnTo>
                    <a:lnTo>
                      <a:pt x="13135341" y="5829472"/>
                    </a:lnTo>
                    <a:lnTo>
                      <a:pt x="13154490" y="5858041"/>
                    </a:lnTo>
                    <a:lnTo>
                      <a:pt x="13164009" y="5912448"/>
                    </a:lnTo>
                    <a:lnTo>
                      <a:pt x="13176973" y="5934318"/>
                    </a:lnTo>
                    <a:lnTo>
                      <a:pt x="13210574" y="5948656"/>
                    </a:lnTo>
                    <a:lnTo>
                      <a:pt x="13246984" y="5958692"/>
                    </a:lnTo>
                    <a:lnTo>
                      <a:pt x="13283382" y="5968736"/>
                    </a:lnTo>
                    <a:lnTo>
                      <a:pt x="13322096" y="5975167"/>
                    </a:lnTo>
                    <a:lnTo>
                      <a:pt x="13343555" y="5983179"/>
                    </a:lnTo>
                    <a:lnTo>
                      <a:pt x="13365746" y="5991468"/>
                    </a:lnTo>
                    <a:lnTo>
                      <a:pt x="13388743" y="6011571"/>
                    </a:lnTo>
                    <a:lnTo>
                      <a:pt x="13410208" y="6022623"/>
                    </a:lnTo>
                    <a:lnTo>
                      <a:pt x="13434207" y="6034988"/>
                    </a:lnTo>
                    <a:lnTo>
                      <a:pt x="13460323" y="6044216"/>
                    </a:lnTo>
                    <a:lnTo>
                      <a:pt x="13485016" y="6055268"/>
                    </a:lnTo>
                    <a:lnTo>
                      <a:pt x="13511461" y="6055730"/>
                    </a:lnTo>
                    <a:lnTo>
                      <a:pt x="13529906" y="6045746"/>
                    </a:lnTo>
                    <a:lnTo>
                      <a:pt x="13548333" y="6035740"/>
                    </a:lnTo>
                    <a:lnTo>
                      <a:pt x="13569336" y="6020177"/>
                    </a:lnTo>
                    <a:lnTo>
                      <a:pt x="13589754" y="6003584"/>
                    </a:lnTo>
                    <a:lnTo>
                      <a:pt x="13630585" y="5970392"/>
                    </a:lnTo>
                    <a:lnTo>
                      <a:pt x="13669811" y="5932894"/>
                    </a:lnTo>
                    <a:lnTo>
                      <a:pt x="13693729" y="5911856"/>
                    </a:lnTo>
                    <a:lnTo>
                      <a:pt x="13705372" y="5875722"/>
                    </a:lnTo>
                    <a:lnTo>
                      <a:pt x="13711136" y="5833197"/>
                    </a:lnTo>
                    <a:lnTo>
                      <a:pt x="13710810" y="5810433"/>
                    </a:lnTo>
                    <a:lnTo>
                      <a:pt x="13710153" y="5764901"/>
                    </a:lnTo>
                    <a:lnTo>
                      <a:pt x="13702962" y="5718789"/>
                    </a:lnTo>
                    <a:lnTo>
                      <a:pt x="13697205" y="5694817"/>
                    </a:lnTo>
                    <a:lnTo>
                      <a:pt x="13691850" y="5672626"/>
                    </a:lnTo>
                    <a:lnTo>
                      <a:pt x="13676207" y="5652649"/>
                    </a:lnTo>
                    <a:lnTo>
                      <a:pt x="13670003" y="5632245"/>
                    </a:lnTo>
                    <a:lnTo>
                      <a:pt x="13643397" y="5544724"/>
                    </a:lnTo>
                    <a:lnTo>
                      <a:pt x="13633829" y="5457420"/>
                    </a:lnTo>
                    <a:lnTo>
                      <a:pt x="13619668" y="5367010"/>
                    </a:lnTo>
                    <a:lnTo>
                      <a:pt x="13624834" y="5335256"/>
                    </a:lnTo>
                    <a:lnTo>
                      <a:pt x="13644492" y="5313856"/>
                    </a:lnTo>
                    <a:lnTo>
                      <a:pt x="13682247" y="5303079"/>
                    </a:lnTo>
                    <a:lnTo>
                      <a:pt x="13723426" y="5298278"/>
                    </a:lnTo>
                    <a:lnTo>
                      <a:pt x="13763476" y="5291551"/>
                    </a:lnTo>
                    <a:lnTo>
                      <a:pt x="13797859" y="5273153"/>
                    </a:lnTo>
                    <a:lnTo>
                      <a:pt x="13823538" y="5241200"/>
                    </a:lnTo>
                    <a:lnTo>
                      <a:pt x="13827786" y="5209222"/>
                    </a:lnTo>
                    <a:lnTo>
                      <a:pt x="13834843" y="5156476"/>
                    </a:lnTo>
                    <a:lnTo>
                      <a:pt x="13819966" y="5086635"/>
                    </a:lnTo>
                    <a:lnTo>
                      <a:pt x="13811464" y="5033758"/>
                    </a:lnTo>
                    <a:lnTo>
                      <a:pt x="13804835" y="4992697"/>
                    </a:lnTo>
                    <a:lnTo>
                      <a:pt x="13793772" y="4950701"/>
                    </a:lnTo>
                    <a:lnTo>
                      <a:pt x="13788334" y="4909984"/>
                    </a:lnTo>
                    <a:lnTo>
                      <a:pt x="13785122" y="4885286"/>
                    </a:lnTo>
                    <a:lnTo>
                      <a:pt x="13787422" y="4858169"/>
                    </a:lnTo>
                    <a:lnTo>
                      <a:pt x="13782902" y="4833814"/>
                    </a:lnTo>
                    <a:lnTo>
                      <a:pt x="13777724" y="4805290"/>
                    </a:lnTo>
                    <a:lnTo>
                      <a:pt x="13762475" y="4778804"/>
                    </a:lnTo>
                    <a:lnTo>
                      <a:pt x="13759777" y="4749478"/>
                    </a:lnTo>
                    <a:lnTo>
                      <a:pt x="13750256" y="4654266"/>
                    </a:lnTo>
                    <a:lnTo>
                      <a:pt x="13709328" y="4623957"/>
                    </a:lnTo>
                    <a:lnTo>
                      <a:pt x="13654913" y="4620560"/>
                    </a:lnTo>
                    <a:lnTo>
                      <a:pt x="13619668" y="4621622"/>
                    </a:lnTo>
                    <a:lnTo>
                      <a:pt x="13620803" y="4599812"/>
                    </a:lnTo>
                    <a:lnTo>
                      <a:pt x="13616366" y="4571633"/>
                    </a:lnTo>
                    <a:lnTo>
                      <a:pt x="13606072" y="4552251"/>
                    </a:lnTo>
                    <a:lnTo>
                      <a:pt x="13564047" y="4539898"/>
                    </a:lnTo>
                    <a:lnTo>
                      <a:pt x="13536706" y="4546809"/>
                    </a:lnTo>
                    <a:lnTo>
                      <a:pt x="13509356" y="4553721"/>
                    </a:lnTo>
                    <a:lnTo>
                      <a:pt x="13482008" y="4566661"/>
                    </a:lnTo>
                    <a:lnTo>
                      <a:pt x="13448296" y="4574014"/>
                    </a:lnTo>
                    <a:lnTo>
                      <a:pt x="13433329" y="4549533"/>
                    </a:lnTo>
                    <a:lnTo>
                      <a:pt x="13417898" y="4507108"/>
                    </a:lnTo>
                    <a:lnTo>
                      <a:pt x="13421268" y="4476152"/>
                    </a:lnTo>
                    <a:lnTo>
                      <a:pt x="13429236" y="4444800"/>
                    </a:lnTo>
                    <a:lnTo>
                      <a:pt x="13437227" y="4413441"/>
                    </a:lnTo>
                    <a:lnTo>
                      <a:pt x="13449638" y="4381911"/>
                    </a:lnTo>
                    <a:lnTo>
                      <a:pt x="13449638" y="4341425"/>
                    </a:lnTo>
                    <a:lnTo>
                      <a:pt x="13449638" y="4303933"/>
                    </a:lnTo>
                    <a:lnTo>
                      <a:pt x="13437856" y="4210292"/>
                    </a:lnTo>
                    <a:lnTo>
                      <a:pt x="13431965" y="4174119"/>
                    </a:lnTo>
                    <a:lnTo>
                      <a:pt x="13424737" y="4129781"/>
                    </a:lnTo>
                    <a:lnTo>
                      <a:pt x="13401536" y="4091570"/>
                    </a:lnTo>
                    <a:lnTo>
                      <a:pt x="13404760" y="4046257"/>
                    </a:lnTo>
                    <a:lnTo>
                      <a:pt x="13412760" y="4019118"/>
                    </a:lnTo>
                    <a:lnTo>
                      <a:pt x="13443347" y="4011436"/>
                    </a:lnTo>
                    <a:lnTo>
                      <a:pt x="13476843" y="3998647"/>
                    </a:lnTo>
                    <a:lnTo>
                      <a:pt x="13510280" y="3984600"/>
                    </a:lnTo>
                    <a:lnTo>
                      <a:pt x="13541341" y="3963735"/>
                    </a:lnTo>
                    <a:lnTo>
                      <a:pt x="13563895" y="3933365"/>
                    </a:lnTo>
                    <a:lnTo>
                      <a:pt x="13539527" y="3916271"/>
                    </a:lnTo>
                    <a:lnTo>
                      <a:pt x="13509362" y="3904208"/>
                    </a:lnTo>
                    <a:lnTo>
                      <a:pt x="13489084" y="3878957"/>
                    </a:lnTo>
                    <a:lnTo>
                      <a:pt x="13507399" y="3836491"/>
                    </a:lnTo>
                    <a:lnTo>
                      <a:pt x="13506435" y="3797609"/>
                    </a:lnTo>
                    <a:lnTo>
                      <a:pt x="13502689" y="3766059"/>
                    </a:lnTo>
                    <a:lnTo>
                      <a:pt x="13498903" y="3734502"/>
                    </a:lnTo>
                    <a:lnTo>
                      <a:pt x="13491143" y="3710332"/>
                    </a:lnTo>
                    <a:lnTo>
                      <a:pt x="13588371" y="3649078"/>
                    </a:lnTo>
                    <a:lnTo>
                      <a:pt x="13587056" y="3613288"/>
                    </a:lnTo>
                    <a:lnTo>
                      <a:pt x="13558971" y="3529743"/>
                    </a:lnTo>
                    <a:lnTo>
                      <a:pt x="13563420" y="3495673"/>
                    </a:lnTo>
                    <a:lnTo>
                      <a:pt x="13677460" y="3456401"/>
                    </a:lnTo>
                    <a:lnTo>
                      <a:pt x="13707836" y="3443033"/>
                    </a:lnTo>
                    <a:lnTo>
                      <a:pt x="13708438" y="3386443"/>
                    </a:lnTo>
                    <a:lnTo>
                      <a:pt x="13703992" y="3325354"/>
                    </a:lnTo>
                    <a:lnTo>
                      <a:pt x="13699533" y="3264266"/>
                    </a:lnTo>
                    <a:lnTo>
                      <a:pt x="13689053" y="3198620"/>
                    </a:lnTo>
                    <a:lnTo>
                      <a:pt x="13676787" y="3173013"/>
                    </a:lnTo>
                    <a:lnTo>
                      <a:pt x="13637977" y="3158700"/>
                    </a:lnTo>
                    <a:lnTo>
                      <a:pt x="13584322" y="3159176"/>
                    </a:lnTo>
                    <a:lnTo>
                      <a:pt x="13532604" y="3163489"/>
                    </a:lnTo>
                    <a:lnTo>
                      <a:pt x="13480898" y="3167802"/>
                    </a:lnTo>
                    <a:lnTo>
                      <a:pt x="13430777" y="3175696"/>
                    </a:lnTo>
                    <a:lnTo>
                      <a:pt x="13407867" y="3192453"/>
                    </a:lnTo>
                    <a:lnTo>
                      <a:pt x="13406906" y="3252547"/>
                    </a:lnTo>
                    <a:lnTo>
                      <a:pt x="13397942" y="3311748"/>
                    </a:lnTo>
                    <a:lnTo>
                      <a:pt x="13393465" y="3341346"/>
                    </a:lnTo>
                    <a:lnTo>
                      <a:pt x="13386988" y="3371366"/>
                    </a:lnTo>
                    <a:lnTo>
                      <a:pt x="13377543" y="3393360"/>
                    </a:lnTo>
                    <a:lnTo>
                      <a:pt x="13368080" y="3415354"/>
                    </a:lnTo>
                    <a:lnTo>
                      <a:pt x="13338095" y="3430088"/>
                    </a:lnTo>
                    <a:lnTo>
                      <a:pt x="13294693" y="3431704"/>
                    </a:lnTo>
                    <a:lnTo>
                      <a:pt x="13249260" y="3430893"/>
                    </a:lnTo>
                    <a:lnTo>
                      <a:pt x="13207514" y="3445052"/>
                    </a:lnTo>
                    <a:lnTo>
                      <a:pt x="13196085" y="3421126"/>
                    </a:lnTo>
                    <a:lnTo>
                      <a:pt x="13191905" y="3376076"/>
                    </a:lnTo>
                    <a:lnTo>
                      <a:pt x="13191192" y="3333513"/>
                    </a:lnTo>
                    <a:lnTo>
                      <a:pt x="13190494" y="3290948"/>
                    </a:lnTo>
                    <a:lnTo>
                      <a:pt x="13193105" y="3250389"/>
                    </a:lnTo>
                    <a:lnTo>
                      <a:pt x="13267364" y="3223338"/>
                    </a:lnTo>
                    <a:lnTo>
                      <a:pt x="13267364" y="3191511"/>
                    </a:lnTo>
                    <a:lnTo>
                      <a:pt x="13271714" y="3169233"/>
                    </a:lnTo>
                    <a:lnTo>
                      <a:pt x="13284786" y="3138698"/>
                    </a:lnTo>
                    <a:lnTo>
                      <a:pt x="13304084" y="3124045"/>
                    </a:lnTo>
                    <a:lnTo>
                      <a:pt x="13323466" y="3112227"/>
                    </a:lnTo>
                    <a:lnTo>
                      <a:pt x="13345803" y="3113032"/>
                    </a:lnTo>
                    <a:lnTo>
                      <a:pt x="13358497" y="3095476"/>
                    </a:lnTo>
                    <a:lnTo>
                      <a:pt x="13353942" y="3071247"/>
                    </a:lnTo>
                    <a:lnTo>
                      <a:pt x="13344017" y="3048981"/>
                    </a:lnTo>
                    <a:lnTo>
                      <a:pt x="13324496" y="3035627"/>
                    </a:lnTo>
                    <a:lnTo>
                      <a:pt x="13298181" y="3036953"/>
                    </a:lnTo>
                    <a:lnTo>
                      <a:pt x="13271683" y="3045479"/>
                    </a:lnTo>
                    <a:lnTo>
                      <a:pt x="13244240" y="3053314"/>
                    </a:lnTo>
                    <a:lnTo>
                      <a:pt x="13216812" y="3061150"/>
                    </a:lnTo>
                    <a:lnTo>
                      <a:pt x="13189490" y="3067678"/>
                    </a:lnTo>
                    <a:lnTo>
                      <a:pt x="13163988" y="3064196"/>
                    </a:lnTo>
                    <a:lnTo>
                      <a:pt x="13131732" y="3020986"/>
                    </a:lnTo>
                    <a:lnTo>
                      <a:pt x="13135617" y="2943944"/>
                    </a:lnTo>
                    <a:lnTo>
                      <a:pt x="13119999" y="2929277"/>
                    </a:lnTo>
                    <a:lnTo>
                      <a:pt x="13095381" y="2934903"/>
                    </a:lnTo>
                    <a:lnTo>
                      <a:pt x="13053399" y="2946609"/>
                    </a:lnTo>
                    <a:lnTo>
                      <a:pt x="13008949" y="2948574"/>
                    </a:lnTo>
                    <a:lnTo>
                      <a:pt x="12954481" y="2950987"/>
                    </a:lnTo>
                    <a:lnTo>
                      <a:pt x="12897666" y="2950501"/>
                    </a:lnTo>
                    <a:lnTo>
                      <a:pt x="12847083" y="3031545"/>
                    </a:lnTo>
                    <a:lnTo>
                      <a:pt x="12819878" y="3051942"/>
                    </a:lnTo>
                    <a:lnTo>
                      <a:pt x="12626733" y="3065548"/>
                    </a:lnTo>
                    <a:lnTo>
                      <a:pt x="12596773" y="3047254"/>
                    </a:lnTo>
                    <a:lnTo>
                      <a:pt x="12583214" y="3026104"/>
                    </a:lnTo>
                    <a:lnTo>
                      <a:pt x="12569636" y="3004947"/>
                    </a:lnTo>
                    <a:lnTo>
                      <a:pt x="12558279" y="2981417"/>
                    </a:lnTo>
                    <a:lnTo>
                      <a:pt x="12515209" y="2946873"/>
                    </a:lnTo>
                    <a:lnTo>
                      <a:pt x="12481871" y="2916371"/>
                    </a:lnTo>
                    <a:lnTo>
                      <a:pt x="12444466" y="2896884"/>
                    </a:lnTo>
                    <a:lnTo>
                      <a:pt x="12417946" y="2887215"/>
                    </a:lnTo>
                    <a:lnTo>
                      <a:pt x="12362185" y="2855309"/>
                    </a:lnTo>
                    <a:lnTo>
                      <a:pt x="12321794" y="2821048"/>
                    </a:lnTo>
                    <a:lnTo>
                      <a:pt x="12274442" y="2801672"/>
                    </a:lnTo>
                    <a:lnTo>
                      <a:pt x="12221056" y="2843788"/>
                    </a:lnTo>
                    <a:lnTo>
                      <a:pt x="12170256" y="2861601"/>
                    </a:lnTo>
                    <a:lnTo>
                      <a:pt x="12135703" y="2903683"/>
                    </a:lnTo>
                    <a:lnTo>
                      <a:pt x="12093411" y="2955241"/>
                    </a:lnTo>
                    <a:lnTo>
                      <a:pt x="12054626" y="3010309"/>
                    </a:lnTo>
                    <a:lnTo>
                      <a:pt x="12011924" y="3061466"/>
                    </a:lnTo>
                    <a:lnTo>
                      <a:pt x="11997138" y="3079167"/>
                    </a:lnTo>
                    <a:lnTo>
                      <a:pt x="11978078" y="3092963"/>
                    </a:lnTo>
                    <a:lnTo>
                      <a:pt x="11962957" y="3110433"/>
                    </a:lnTo>
                    <a:lnTo>
                      <a:pt x="11921983" y="3157804"/>
                    </a:lnTo>
                    <a:lnTo>
                      <a:pt x="11891535" y="3214737"/>
                    </a:lnTo>
                    <a:lnTo>
                      <a:pt x="11859583" y="3268216"/>
                    </a:lnTo>
                    <a:lnTo>
                      <a:pt x="11852756" y="3304943"/>
                    </a:lnTo>
                    <a:lnTo>
                      <a:pt x="11882425" y="3321622"/>
                    </a:lnTo>
                    <a:lnTo>
                      <a:pt x="11917794" y="3340840"/>
                    </a:lnTo>
                    <a:lnTo>
                      <a:pt x="11942533" y="3364792"/>
                    </a:lnTo>
                    <a:lnTo>
                      <a:pt x="11877244" y="3389272"/>
                    </a:lnTo>
                    <a:lnTo>
                      <a:pt x="11851094" y="3408127"/>
                    </a:lnTo>
                    <a:lnTo>
                      <a:pt x="11821775" y="3432983"/>
                    </a:lnTo>
                    <a:lnTo>
                      <a:pt x="11791541" y="3440964"/>
                    </a:lnTo>
                    <a:lnTo>
                      <a:pt x="11760051" y="3413238"/>
                    </a:lnTo>
                    <a:lnTo>
                      <a:pt x="11743941" y="3397436"/>
                    </a:lnTo>
                    <a:lnTo>
                      <a:pt x="11727836" y="3381629"/>
                    </a:lnTo>
                    <a:lnTo>
                      <a:pt x="11711592" y="3367878"/>
                    </a:lnTo>
                    <a:lnTo>
                      <a:pt x="11679430" y="3376840"/>
                    </a:lnTo>
                    <a:lnTo>
                      <a:pt x="11664544" y="3400450"/>
                    </a:lnTo>
                    <a:lnTo>
                      <a:pt x="11648731" y="3421917"/>
                    </a:lnTo>
                    <a:lnTo>
                      <a:pt x="11632915" y="3443384"/>
                    </a:lnTo>
                    <a:lnTo>
                      <a:pt x="11616144" y="3462403"/>
                    </a:lnTo>
                    <a:lnTo>
                      <a:pt x="11591649" y="3457832"/>
                    </a:lnTo>
                    <a:lnTo>
                      <a:pt x="11531362" y="3406398"/>
                    </a:lnTo>
                    <a:lnTo>
                      <a:pt x="11541563" y="3361725"/>
                    </a:lnTo>
                    <a:lnTo>
                      <a:pt x="11565800" y="3334263"/>
                    </a:lnTo>
                    <a:lnTo>
                      <a:pt x="11591597" y="3307660"/>
                    </a:lnTo>
                    <a:lnTo>
                      <a:pt x="11617403" y="3281056"/>
                    </a:lnTo>
                    <a:lnTo>
                      <a:pt x="11644524" y="3254625"/>
                    </a:lnTo>
                    <a:lnTo>
                      <a:pt x="11663695" y="3224690"/>
                    </a:lnTo>
                    <a:lnTo>
                      <a:pt x="11643116" y="3188833"/>
                    </a:lnTo>
                    <a:lnTo>
                      <a:pt x="11541814" y="3102572"/>
                    </a:lnTo>
                    <a:lnTo>
                      <a:pt x="11511350" y="3081863"/>
                    </a:lnTo>
                    <a:lnTo>
                      <a:pt x="11528286" y="3005844"/>
                    </a:lnTo>
                    <a:lnTo>
                      <a:pt x="11570506" y="2959258"/>
                    </a:lnTo>
                    <a:lnTo>
                      <a:pt x="11590220" y="2902317"/>
                    </a:lnTo>
                    <a:lnTo>
                      <a:pt x="11571564" y="2867602"/>
                    </a:lnTo>
                    <a:lnTo>
                      <a:pt x="11547708" y="2837160"/>
                    </a:lnTo>
                    <a:lnTo>
                      <a:pt x="11520847" y="2809824"/>
                    </a:lnTo>
                    <a:lnTo>
                      <a:pt x="11493987" y="2782495"/>
                    </a:lnTo>
                    <a:lnTo>
                      <a:pt x="11464559" y="2758687"/>
                    </a:lnTo>
                    <a:lnTo>
                      <a:pt x="11433795" y="2735018"/>
                    </a:lnTo>
                    <a:lnTo>
                      <a:pt x="11372277" y="2687673"/>
                    </a:lnTo>
                    <a:lnTo>
                      <a:pt x="11306988" y="2643223"/>
                    </a:lnTo>
                    <a:lnTo>
                      <a:pt x="11255614" y="2588116"/>
                    </a:lnTo>
                    <a:lnTo>
                      <a:pt x="11214984" y="2544570"/>
                    </a:lnTo>
                    <a:lnTo>
                      <a:pt x="11173700" y="2501064"/>
                    </a:lnTo>
                    <a:lnTo>
                      <a:pt x="11122311" y="2469778"/>
                    </a:lnTo>
                    <a:lnTo>
                      <a:pt x="11094567" y="2452901"/>
                    </a:lnTo>
                    <a:lnTo>
                      <a:pt x="11063734" y="2443358"/>
                    </a:lnTo>
                    <a:lnTo>
                      <a:pt x="11039342" y="2420810"/>
                    </a:lnTo>
                    <a:lnTo>
                      <a:pt x="11031302" y="2400598"/>
                    </a:lnTo>
                    <a:lnTo>
                      <a:pt x="11053704" y="2335757"/>
                    </a:lnTo>
                    <a:lnTo>
                      <a:pt x="11092536" y="2313815"/>
                    </a:lnTo>
                    <a:lnTo>
                      <a:pt x="11127495" y="2295111"/>
                    </a:lnTo>
                    <a:lnTo>
                      <a:pt x="11153599" y="2271185"/>
                    </a:lnTo>
                    <a:lnTo>
                      <a:pt x="11177228" y="2246316"/>
                    </a:lnTo>
                    <a:lnTo>
                      <a:pt x="11189810" y="2217173"/>
                    </a:lnTo>
                    <a:lnTo>
                      <a:pt x="11186217" y="2184140"/>
                    </a:lnTo>
                    <a:lnTo>
                      <a:pt x="11172295" y="2165733"/>
                    </a:lnTo>
                    <a:lnTo>
                      <a:pt x="11142697" y="2147412"/>
                    </a:lnTo>
                    <a:lnTo>
                      <a:pt x="11111924" y="2136208"/>
                    </a:lnTo>
                    <a:lnTo>
                      <a:pt x="11083677" y="2131413"/>
                    </a:lnTo>
                    <a:lnTo>
                      <a:pt x="11059719" y="2125649"/>
                    </a:lnTo>
                    <a:lnTo>
                      <a:pt x="11036598" y="2103886"/>
                    </a:lnTo>
                    <a:lnTo>
                      <a:pt x="11029054" y="2083462"/>
                    </a:lnTo>
                    <a:lnTo>
                      <a:pt x="11022155" y="2058428"/>
                    </a:lnTo>
                    <a:lnTo>
                      <a:pt x="11010758" y="2037238"/>
                    </a:lnTo>
                    <a:lnTo>
                      <a:pt x="10999341" y="2016041"/>
                    </a:lnTo>
                    <a:lnTo>
                      <a:pt x="10983699" y="1998149"/>
                    </a:lnTo>
                    <a:lnTo>
                      <a:pt x="10959062" y="1990987"/>
                    </a:lnTo>
                    <a:lnTo>
                      <a:pt x="10944204" y="1962339"/>
                    </a:lnTo>
                    <a:lnTo>
                      <a:pt x="10921083" y="1960770"/>
                    </a:lnTo>
                    <a:lnTo>
                      <a:pt x="10897847" y="1958343"/>
                    </a:lnTo>
                    <a:lnTo>
                      <a:pt x="10874614" y="1955916"/>
                    </a:lnTo>
                    <a:lnTo>
                      <a:pt x="10850699" y="1952744"/>
                    </a:lnTo>
                    <a:lnTo>
                      <a:pt x="10836641" y="1936580"/>
                    </a:lnTo>
                    <a:lnTo>
                      <a:pt x="10835466" y="1910945"/>
                    </a:lnTo>
                    <a:lnTo>
                      <a:pt x="10860739" y="1874093"/>
                    </a:lnTo>
                    <a:lnTo>
                      <a:pt x="10850237" y="1853609"/>
                    </a:lnTo>
                    <a:lnTo>
                      <a:pt x="10801363" y="1842418"/>
                    </a:lnTo>
                    <a:lnTo>
                      <a:pt x="10769985" y="1838646"/>
                    </a:lnTo>
                    <a:lnTo>
                      <a:pt x="10738613" y="1834873"/>
                    </a:lnTo>
                    <a:lnTo>
                      <a:pt x="10708692" y="1829933"/>
                    </a:lnTo>
                    <a:lnTo>
                      <a:pt x="10690148" y="1809846"/>
                    </a:lnTo>
                    <a:lnTo>
                      <a:pt x="10670369" y="1786255"/>
                    </a:lnTo>
                    <a:lnTo>
                      <a:pt x="10648922" y="1765198"/>
                    </a:lnTo>
                    <a:lnTo>
                      <a:pt x="10627497" y="1744134"/>
                    </a:lnTo>
                    <a:lnTo>
                      <a:pt x="10604962" y="1726341"/>
                    </a:lnTo>
                    <a:lnTo>
                      <a:pt x="10569994" y="1731465"/>
                    </a:lnTo>
                    <a:lnTo>
                      <a:pt x="10459055" y="1752510"/>
                    </a:lnTo>
                    <a:lnTo>
                      <a:pt x="10434021" y="1731187"/>
                    </a:lnTo>
                    <a:lnTo>
                      <a:pt x="10442985" y="1700040"/>
                    </a:lnTo>
                    <a:lnTo>
                      <a:pt x="10468580" y="1675290"/>
                    </a:lnTo>
                    <a:lnTo>
                      <a:pt x="10503393" y="1655017"/>
                    </a:lnTo>
                    <a:lnTo>
                      <a:pt x="10539658" y="1635793"/>
                    </a:lnTo>
                    <a:lnTo>
                      <a:pt x="10579776" y="1621588"/>
                    </a:lnTo>
                    <a:lnTo>
                      <a:pt x="10593161" y="1604691"/>
                    </a:lnTo>
                    <a:lnTo>
                      <a:pt x="10618921" y="1572132"/>
                    </a:lnTo>
                    <a:lnTo>
                      <a:pt x="10645112" y="1527498"/>
                    </a:lnTo>
                    <a:lnTo>
                      <a:pt x="10662540" y="1489077"/>
                    </a:lnTo>
                    <a:lnTo>
                      <a:pt x="10646653" y="1465974"/>
                    </a:lnTo>
                    <a:lnTo>
                      <a:pt x="10544392" y="1360878"/>
                    </a:lnTo>
                    <a:lnTo>
                      <a:pt x="10553719" y="1295924"/>
                    </a:lnTo>
                    <a:lnTo>
                      <a:pt x="10558717" y="1264262"/>
                    </a:lnTo>
                    <a:lnTo>
                      <a:pt x="10584998" y="1229277"/>
                    </a:lnTo>
                    <a:lnTo>
                      <a:pt x="10564000" y="1207777"/>
                    </a:lnTo>
                    <a:lnTo>
                      <a:pt x="10516034" y="1171023"/>
                    </a:lnTo>
                    <a:lnTo>
                      <a:pt x="10468025" y="1139507"/>
                    </a:lnTo>
                    <a:lnTo>
                      <a:pt x="10420022" y="1107984"/>
                    </a:lnTo>
                    <a:lnTo>
                      <a:pt x="10371857" y="1081162"/>
                    </a:lnTo>
                    <a:lnTo>
                      <a:pt x="10348327" y="1076934"/>
                    </a:lnTo>
                    <a:lnTo>
                      <a:pt x="10310407" y="1110983"/>
                    </a:lnTo>
                    <a:lnTo>
                      <a:pt x="10261188" y="1135207"/>
                    </a:lnTo>
                    <a:lnTo>
                      <a:pt x="10224595" y="1138569"/>
                    </a:lnTo>
                    <a:lnTo>
                      <a:pt x="10190544" y="1149023"/>
                    </a:lnTo>
                    <a:lnTo>
                      <a:pt x="10139329" y="1164752"/>
                    </a:lnTo>
                    <a:lnTo>
                      <a:pt x="10097496" y="1189957"/>
                    </a:lnTo>
                    <a:lnTo>
                      <a:pt x="10051799" y="1217036"/>
                    </a:lnTo>
                    <a:lnTo>
                      <a:pt x="10020263" y="1243594"/>
                    </a:lnTo>
                    <a:lnTo>
                      <a:pt x="10001474" y="1256480"/>
                    </a:lnTo>
                    <a:lnTo>
                      <a:pt x="9982700" y="1269368"/>
                    </a:lnTo>
                    <a:lnTo>
                      <a:pt x="9961985" y="1277736"/>
                    </a:lnTo>
                    <a:lnTo>
                      <a:pt x="9941626" y="1268721"/>
                    </a:lnTo>
                    <a:lnTo>
                      <a:pt x="9858471" y="1321809"/>
                    </a:lnTo>
                    <a:lnTo>
                      <a:pt x="9840975" y="1334010"/>
                    </a:lnTo>
                    <a:lnTo>
                      <a:pt x="9809687" y="1297290"/>
                    </a:lnTo>
                    <a:lnTo>
                      <a:pt x="9790649" y="1282333"/>
                    </a:lnTo>
                    <a:lnTo>
                      <a:pt x="9757873" y="1267475"/>
                    </a:lnTo>
                    <a:lnTo>
                      <a:pt x="9720585" y="1252807"/>
                    </a:lnTo>
                    <a:lnTo>
                      <a:pt x="9699619" y="1254581"/>
                    </a:lnTo>
                    <a:lnTo>
                      <a:pt x="9658598" y="1255655"/>
                    </a:lnTo>
                    <a:lnTo>
                      <a:pt x="9620619" y="1241523"/>
                    </a:lnTo>
                    <a:lnTo>
                      <a:pt x="9591291" y="1218659"/>
                    </a:lnTo>
                    <a:lnTo>
                      <a:pt x="9566257" y="1202950"/>
                    </a:lnTo>
                    <a:lnTo>
                      <a:pt x="9536290" y="1203438"/>
                    </a:lnTo>
                    <a:lnTo>
                      <a:pt x="9483583" y="1258926"/>
                    </a:lnTo>
                    <a:lnTo>
                      <a:pt x="9445591" y="1254832"/>
                    </a:lnTo>
                    <a:lnTo>
                      <a:pt x="9427481" y="1221118"/>
                    </a:lnTo>
                    <a:lnTo>
                      <a:pt x="9412089" y="1186937"/>
                    </a:lnTo>
                    <a:lnTo>
                      <a:pt x="9357252" y="1175462"/>
                    </a:lnTo>
                    <a:lnTo>
                      <a:pt x="9330563" y="1179063"/>
                    </a:lnTo>
                    <a:lnTo>
                      <a:pt x="9306412" y="1183033"/>
                    </a:lnTo>
                    <a:lnTo>
                      <a:pt x="9282268" y="1187010"/>
                    </a:lnTo>
                    <a:lnTo>
                      <a:pt x="9260734" y="1192490"/>
                    </a:lnTo>
                    <a:lnTo>
                      <a:pt x="9232965" y="1187109"/>
                    </a:lnTo>
                    <a:lnTo>
                      <a:pt x="9202542" y="1162918"/>
                    </a:lnTo>
                    <a:lnTo>
                      <a:pt x="9182646" y="1139507"/>
                    </a:lnTo>
                    <a:lnTo>
                      <a:pt x="9162728" y="1116089"/>
                    </a:lnTo>
                    <a:lnTo>
                      <a:pt x="9139811" y="1090144"/>
                    </a:lnTo>
                    <a:lnTo>
                      <a:pt x="9114625" y="1078292"/>
                    </a:lnTo>
                    <a:lnTo>
                      <a:pt x="9092710" y="1085501"/>
                    </a:lnTo>
                    <a:lnTo>
                      <a:pt x="9055370" y="1121080"/>
                    </a:lnTo>
                    <a:lnTo>
                      <a:pt x="8875229" y="1086458"/>
                    </a:lnTo>
                    <a:lnTo>
                      <a:pt x="8847572" y="1080996"/>
                    </a:lnTo>
                    <a:lnTo>
                      <a:pt x="8817326" y="1091529"/>
                    </a:lnTo>
                    <a:lnTo>
                      <a:pt x="8788177" y="1101415"/>
                    </a:lnTo>
                    <a:lnTo>
                      <a:pt x="8759047" y="1111307"/>
                    </a:lnTo>
                    <a:lnTo>
                      <a:pt x="8730776" y="1120302"/>
                    </a:lnTo>
                    <a:lnTo>
                      <a:pt x="8706567" y="1109579"/>
                    </a:lnTo>
                    <a:lnTo>
                      <a:pt x="8681312" y="1098401"/>
                    </a:lnTo>
                    <a:lnTo>
                      <a:pt x="8662110" y="1079506"/>
                    </a:lnTo>
                    <a:lnTo>
                      <a:pt x="8644006" y="1059253"/>
                    </a:lnTo>
                    <a:lnTo>
                      <a:pt x="8625877" y="1038994"/>
                    </a:lnTo>
                    <a:lnTo>
                      <a:pt x="8608731" y="1016828"/>
                    </a:lnTo>
                    <a:lnTo>
                      <a:pt x="8589597" y="998040"/>
                    </a:lnTo>
                    <a:lnTo>
                      <a:pt x="8566172" y="975049"/>
                    </a:lnTo>
                    <a:lnTo>
                      <a:pt x="8485954" y="913968"/>
                    </a:lnTo>
                    <a:lnTo>
                      <a:pt x="8459019" y="900111"/>
                    </a:lnTo>
                    <a:lnTo>
                      <a:pt x="8421824" y="880960"/>
                    </a:lnTo>
                    <a:lnTo>
                      <a:pt x="8375269" y="879621"/>
                    </a:lnTo>
                    <a:lnTo>
                      <a:pt x="8342031" y="851137"/>
                    </a:lnTo>
                    <a:lnTo>
                      <a:pt x="8317229" y="829869"/>
                    </a:lnTo>
                    <a:lnTo>
                      <a:pt x="8293004" y="792952"/>
                    </a:lnTo>
                    <a:lnTo>
                      <a:pt x="8268590" y="758644"/>
                    </a:lnTo>
                    <a:lnTo>
                      <a:pt x="8244158" y="724343"/>
                    </a:lnTo>
                    <a:lnTo>
                      <a:pt x="8218785" y="692102"/>
                    </a:lnTo>
                    <a:lnTo>
                      <a:pt x="8195131" y="679755"/>
                    </a:lnTo>
                    <a:lnTo>
                      <a:pt x="8101391" y="636738"/>
                    </a:lnTo>
                    <a:lnTo>
                      <a:pt x="8107009" y="599225"/>
                    </a:lnTo>
                    <a:lnTo>
                      <a:pt x="8108091" y="574870"/>
                    </a:lnTo>
                    <a:lnTo>
                      <a:pt x="8109437" y="553259"/>
                    </a:lnTo>
                    <a:lnTo>
                      <a:pt x="8062851" y="526180"/>
                    </a:lnTo>
                    <a:lnTo>
                      <a:pt x="8011211" y="513491"/>
                    </a:lnTo>
                    <a:lnTo>
                      <a:pt x="7978856" y="494768"/>
                    </a:lnTo>
                    <a:lnTo>
                      <a:pt x="7957093" y="474365"/>
                    </a:lnTo>
                    <a:lnTo>
                      <a:pt x="7924878" y="443612"/>
                    </a:lnTo>
                    <a:lnTo>
                      <a:pt x="7842145" y="387226"/>
                    </a:lnTo>
                    <a:lnTo>
                      <a:pt x="7827885" y="365548"/>
                    </a:lnTo>
                    <a:lnTo>
                      <a:pt x="7815836" y="292886"/>
                    </a:lnTo>
                    <a:lnTo>
                      <a:pt x="7769523" y="257220"/>
                    </a:lnTo>
                    <a:lnTo>
                      <a:pt x="7736278" y="230043"/>
                    </a:lnTo>
                    <a:lnTo>
                      <a:pt x="7700017" y="206408"/>
                    </a:lnTo>
                    <a:lnTo>
                      <a:pt x="7663781" y="182770"/>
                    </a:lnTo>
                    <a:lnTo>
                      <a:pt x="7624400" y="163144"/>
                    </a:lnTo>
                    <a:lnTo>
                      <a:pt x="7584402" y="156080"/>
                    </a:lnTo>
                    <a:lnTo>
                      <a:pt x="7559750" y="151723"/>
                    </a:lnTo>
                    <a:lnTo>
                      <a:pt x="7529442" y="160156"/>
                    </a:lnTo>
                    <a:lnTo>
                      <a:pt x="7504156" y="157440"/>
                    </a:lnTo>
                    <a:lnTo>
                      <a:pt x="7481339" y="154994"/>
                    </a:lnTo>
                    <a:lnTo>
                      <a:pt x="7457610" y="142838"/>
                    </a:lnTo>
                    <a:lnTo>
                      <a:pt x="7434784" y="139753"/>
                    </a:lnTo>
                    <a:lnTo>
                      <a:pt x="7400311" y="135077"/>
                    </a:lnTo>
                    <a:lnTo>
                      <a:pt x="7343552" y="158330"/>
                    </a:lnTo>
                    <a:lnTo>
                      <a:pt x="7311011" y="168322"/>
                    </a:lnTo>
                    <a:lnTo>
                      <a:pt x="7281835" y="154921"/>
                    </a:lnTo>
                    <a:lnTo>
                      <a:pt x="7266199" y="126166"/>
                    </a:lnTo>
                    <a:lnTo>
                      <a:pt x="7248972" y="100447"/>
                    </a:lnTo>
                    <a:lnTo>
                      <a:pt x="7201418" y="98679"/>
                    </a:lnTo>
                    <a:lnTo>
                      <a:pt x="7184554" y="111249"/>
                    </a:lnTo>
                    <a:lnTo>
                      <a:pt x="7169622" y="126166"/>
                    </a:lnTo>
                    <a:lnTo>
                      <a:pt x="7154674" y="141084"/>
                    </a:lnTo>
                    <a:lnTo>
                      <a:pt x="7117932" y="166970"/>
                    </a:lnTo>
                    <a:lnTo>
                      <a:pt x="7078204" y="159576"/>
                    </a:lnTo>
                    <a:lnTo>
                      <a:pt x="7043391" y="136283"/>
                    </a:lnTo>
                    <a:lnTo>
                      <a:pt x="7028657" y="121154"/>
                    </a:lnTo>
                    <a:lnTo>
                      <a:pt x="6987183" y="82575"/>
                    </a:lnTo>
                    <a:lnTo>
                      <a:pt x="6940101" y="45735"/>
                    </a:lnTo>
                    <a:lnTo>
                      <a:pt x="6890777" y="22791"/>
                    </a:lnTo>
                    <a:lnTo>
                      <a:pt x="6866118" y="11323"/>
                    </a:lnTo>
                    <a:lnTo>
                      <a:pt x="6841719" y="2057"/>
                    </a:lnTo>
                    <a:lnTo>
                      <a:pt x="6817330" y="1028"/>
                    </a:lnTo>
                    <a:lnTo>
                      <a:pt x="6792941" y="0"/>
                    </a:lnTo>
                    <a:lnTo>
                      <a:pt x="6768911" y="6463"/>
                    </a:lnTo>
                    <a:lnTo>
                      <a:pt x="6747951" y="22791"/>
                    </a:lnTo>
                    <a:lnTo>
                      <a:pt x="6735474" y="47120"/>
                    </a:lnTo>
                    <a:lnTo>
                      <a:pt x="6724501" y="96438"/>
                    </a:lnTo>
                    <a:lnTo>
                      <a:pt x="6720753" y="136289"/>
                    </a:lnTo>
                    <a:lnTo>
                      <a:pt x="6707157" y="166970"/>
                    </a:lnTo>
                    <a:lnTo>
                      <a:pt x="6690358" y="196073"/>
                    </a:lnTo>
                    <a:lnTo>
                      <a:pt x="6664105" y="214044"/>
                    </a:lnTo>
                    <a:lnTo>
                      <a:pt x="6624179" y="217302"/>
                    </a:lnTo>
                    <a:lnTo>
                      <a:pt x="6601210" y="214010"/>
                    </a:lnTo>
                    <a:lnTo>
                      <a:pt x="6577757" y="192168"/>
                    </a:lnTo>
                    <a:lnTo>
                      <a:pt x="6568827" y="158330"/>
                    </a:lnTo>
                    <a:lnTo>
                      <a:pt x="6583375" y="130242"/>
                    </a:lnTo>
                    <a:lnTo>
                      <a:pt x="6608905" y="108736"/>
                    </a:lnTo>
                    <a:lnTo>
                      <a:pt x="6626901" y="97597"/>
                    </a:lnTo>
                    <a:lnTo>
                      <a:pt x="6630991" y="75840"/>
                    </a:lnTo>
                    <a:lnTo>
                      <a:pt x="6581642" y="43163"/>
                    </a:lnTo>
                    <a:lnTo>
                      <a:pt x="6545291" y="28232"/>
                    </a:lnTo>
                    <a:lnTo>
                      <a:pt x="6508946" y="13302"/>
                    </a:lnTo>
                    <a:lnTo>
                      <a:pt x="6472008" y="2525"/>
                    </a:lnTo>
                    <a:lnTo>
                      <a:pt x="6456161" y="18565"/>
                    </a:lnTo>
                    <a:lnTo>
                      <a:pt x="6432268" y="60772"/>
                    </a:lnTo>
                    <a:lnTo>
                      <a:pt x="6400751" y="68177"/>
                    </a:lnTo>
                    <a:lnTo>
                      <a:pt x="6368467" y="54071"/>
                    </a:lnTo>
                    <a:lnTo>
                      <a:pt x="6336714" y="38916"/>
                    </a:lnTo>
                    <a:lnTo>
                      <a:pt x="6274417" y="59320"/>
                    </a:lnTo>
                    <a:lnTo>
                      <a:pt x="6244642" y="74462"/>
                    </a:lnTo>
                    <a:lnTo>
                      <a:pt x="6225648" y="88081"/>
                    </a:lnTo>
                    <a:lnTo>
                      <a:pt x="6206660" y="101699"/>
                    </a:lnTo>
                    <a:lnTo>
                      <a:pt x="6191638" y="126166"/>
                    </a:lnTo>
                    <a:lnTo>
                      <a:pt x="6184234" y="150752"/>
                    </a:lnTo>
                    <a:lnTo>
                      <a:pt x="6174557" y="172310"/>
                    </a:lnTo>
                    <a:lnTo>
                      <a:pt x="6150837" y="191457"/>
                    </a:lnTo>
                    <a:lnTo>
                      <a:pt x="6118641" y="208919"/>
                    </a:lnTo>
                    <a:lnTo>
                      <a:pt x="6083338" y="216945"/>
                    </a:lnTo>
                    <a:lnTo>
                      <a:pt x="6047461" y="224101"/>
                    </a:lnTo>
                    <a:lnTo>
                      <a:pt x="6011584" y="231249"/>
                    </a:lnTo>
                    <a:lnTo>
                      <a:pt x="5974581" y="236427"/>
                    </a:lnTo>
                    <a:lnTo>
                      <a:pt x="5940010" y="245864"/>
                    </a:lnTo>
                    <a:lnTo>
                      <a:pt x="5887687" y="260122"/>
                    </a:lnTo>
                    <a:lnTo>
                      <a:pt x="5840540" y="289899"/>
                    </a:lnTo>
                    <a:lnTo>
                      <a:pt x="5786301" y="294832"/>
                    </a:lnTo>
                    <a:lnTo>
                      <a:pt x="5747240" y="298360"/>
                    </a:lnTo>
                    <a:lnTo>
                      <a:pt x="5710092" y="293109"/>
                    </a:lnTo>
                    <a:lnTo>
                      <a:pt x="5670681" y="305713"/>
                    </a:lnTo>
                    <a:lnTo>
                      <a:pt x="5642645" y="314682"/>
                    </a:lnTo>
                    <a:lnTo>
                      <a:pt x="5622866" y="340415"/>
                    </a:lnTo>
                    <a:lnTo>
                      <a:pt x="5598598" y="353321"/>
                    </a:lnTo>
                    <a:lnTo>
                      <a:pt x="5547804" y="380335"/>
                    </a:lnTo>
                    <a:lnTo>
                      <a:pt x="5490450" y="396294"/>
                    </a:lnTo>
                    <a:lnTo>
                      <a:pt x="5439457" y="425410"/>
                    </a:lnTo>
                    <a:lnTo>
                      <a:pt x="5395206" y="450683"/>
                    </a:lnTo>
                    <a:lnTo>
                      <a:pt x="5351891" y="482285"/>
                    </a:lnTo>
                    <a:lnTo>
                      <a:pt x="5308876" y="509739"/>
                    </a:lnTo>
                    <a:lnTo>
                      <a:pt x="5274664" y="531575"/>
                    </a:lnTo>
                    <a:lnTo>
                      <a:pt x="5243733" y="557902"/>
                    </a:lnTo>
                    <a:lnTo>
                      <a:pt x="5210938" y="575029"/>
                    </a:lnTo>
                    <a:lnTo>
                      <a:pt x="5178010" y="589552"/>
                    </a:lnTo>
                    <a:lnTo>
                      <a:pt x="5140511" y="593158"/>
                    </a:lnTo>
                    <a:lnTo>
                      <a:pt x="5119570" y="590514"/>
                    </a:lnTo>
                    <a:lnTo>
                      <a:pt x="5096688" y="581828"/>
                    </a:lnTo>
                    <a:lnTo>
                      <a:pt x="5062293" y="568796"/>
                    </a:lnTo>
                    <a:lnTo>
                      <a:pt x="5036409" y="547568"/>
                    </a:lnTo>
                    <a:lnTo>
                      <a:pt x="4997388" y="547826"/>
                    </a:lnTo>
                    <a:lnTo>
                      <a:pt x="4976614" y="566356"/>
                    </a:lnTo>
                    <a:lnTo>
                      <a:pt x="4998753" y="640319"/>
                    </a:lnTo>
                    <a:lnTo>
                      <a:pt x="4996663" y="678272"/>
                    </a:lnTo>
                    <a:lnTo>
                      <a:pt x="4982338" y="710369"/>
                    </a:lnTo>
                    <a:lnTo>
                      <a:pt x="4962026" y="738253"/>
                    </a:lnTo>
                    <a:lnTo>
                      <a:pt x="4941708" y="766142"/>
                    </a:lnTo>
                    <a:lnTo>
                      <a:pt x="4915564" y="789687"/>
                    </a:lnTo>
                    <a:lnTo>
                      <a:pt x="4888570" y="811707"/>
                    </a:lnTo>
                    <a:lnTo>
                      <a:pt x="4861586" y="833727"/>
                    </a:lnTo>
                    <a:lnTo>
                      <a:pt x="4834539" y="853922"/>
                    </a:lnTo>
                    <a:lnTo>
                      <a:pt x="4812401" y="874272"/>
                    </a:lnTo>
                    <a:lnTo>
                      <a:pt x="4790269" y="894631"/>
                    </a:lnTo>
                    <a:lnTo>
                      <a:pt x="4773259" y="915313"/>
                    </a:lnTo>
                    <a:lnTo>
                      <a:pt x="4767508" y="938203"/>
                    </a:lnTo>
                    <a:lnTo>
                      <a:pt x="4789066" y="970894"/>
                    </a:lnTo>
                    <a:lnTo>
                      <a:pt x="4843686" y="965408"/>
                    </a:lnTo>
                    <a:lnTo>
                      <a:pt x="4864085" y="973572"/>
                    </a:lnTo>
                    <a:lnTo>
                      <a:pt x="4867309" y="997993"/>
                    </a:lnTo>
                    <a:lnTo>
                      <a:pt x="4858135" y="1025322"/>
                    </a:lnTo>
                    <a:lnTo>
                      <a:pt x="4839612" y="1041578"/>
                    </a:lnTo>
                    <a:lnTo>
                      <a:pt x="4788012" y="1039561"/>
                    </a:lnTo>
                    <a:lnTo>
                      <a:pt x="4749062" y="1044659"/>
                    </a:lnTo>
                    <a:lnTo>
                      <a:pt x="4719914" y="1055184"/>
                    </a:lnTo>
                    <a:lnTo>
                      <a:pt x="4690765" y="1065702"/>
                    </a:lnTo>
                    <a:lnTo>
                      <a:pt x="4671690" y="1082005"/>
                    </a:lnTo>
                    <a:lnTo>
                      <a:pt x="4655989" y="1104151"/>
                    </a:lnTo>
                    <a:lnTo>
                      <a:pt x="4640266" y="1126291"/>
                    </a:lnTo>
                    <a:lnTo>
                      <a:pt x="4627848" y="1154266"/>
                    </a:lnTo>
                    <a:lnTo>
                      <a:pt x="4616537" y="1187121"/>
                    </a:lnTo>
                    <a:lnTo>
                      <a:pt x="4605229" y="1219971"/>
                    </a:lnTo>
                    <a:lnTo>
                      <a:pt x="4594380" y="1257378"/>
                    </a:lnTo>
                    <a:lnTo>
                      <a:pt x="4578453" y="1300020"/>
                    </a:lnTo>
                    <a:lnTo>
                      <a:pt x="4569331" y="1324422"/>
                    </a:lnTo>
                    <a:lnTo>
                      <a:pt x="4553108" y="1347919"/>
                    </a:lnTo>
                    <a:lnTo>
                      <a:pt x="4543090" y="1372109"/>
                    </a:lnTo>
                    <a:lnTo>
                      <a:pt x="4528313" y="1425837"/>
                    </a:lnTo>
                    <a:lnTo>
                      <a:pt x="4525405" y="1463244"/>
                    </a:lnTo>
                    <a:lnTo>
                      <a:pt x="4522496" y="1500643"/>
                    </a:lnTo>
                    <a:lnTo>
                      <a:pt x="4525436" y="1537832"/>
                    </a:lnTo>
                    <a:lnTo>
                      <a:pt x="4555152" y="1571064"/>
                    </a:lnTo>
                    <a:lnTo>
                      <a:pt x="4573988" y="1583297"/>
                    </a:lnTo>
                    <a:lnTo>
                      <a:pt x="4590694" y="1599264"/>
                    </a:lnTo>
                    <a:lnTo>
                      <a:pt x="4606091" y="1613970"/>
                    </a:lnTo>
                    <a:lnTo>
                      <a:pt x="4626192" y="1630155"/>
                    </a:lnTo>
                    <a:lnTo>
                      <a:pt x="4642377" y="1648231"/>
                    </a:lnTo>
                    <a:lnTo>
                      <a:pt x="4658581" y="1666294"/>
                    </a:lnTo>
                    <a:lnTo>
                      <a:pt x="4671743" y="1686824"/>
                    </a:lnTo>
                    <a:lnTo>
                      <a:pt x="4672310" y="1710796"/>
                    </a:lnTo>
                    <a:lnTo>
                      <a:pt x="4669566" y="1732559"/>
                    </a:lnTo>
                    <a:lnTo>
                      <a:pt x="4681808" y="1826413"/>
                    </a:lnTo>
                    <a:lnTo>
                      <a:pt x="4675008" y="1846816"/>
                    </a:lnTo>
                    <a:lnTo>
                      <a:pt x="4631305" y="1853577"/>
                    </a:lnTo>
                    <a:lnTo>
                      <a:pt x="4600197" y="1845458"/>
                    </a:lnTo>
                    <a:lnTo>
                      <a:pt x="4599735" y="1869272"/>
                    </a:lnTo>
                    <a:lnTo>
                      <a:pt x="4589314" y="1894425"/>
                    </a:lnTo>
                    <a:lnTo>
                      <a:pt x="4575519" y="1913082"/>
                    </a:lnTo>
                    <a:lnTo>
                      <a:pt x="4559592" y="1927459"/>
                    </a:lnTo>
                    <a:lnTo>
                      <a:pt x="4544424" y="1947475"/>
                    </a:lnTo>
                    <a:lnTo>
                      <a:pt x="4533435" y="1976486"/>
                    </a:lnTo>
                    <a:lnTo>
                      <a:pt x="4532189" y="2003241"/>
                    </a:lnTo>
                    <a:lnTo>
                      <a:pt x="4531094" y="2031890"/>
                    </a:lnTo>
                    <a:lnTo>
                      <a:pt x="4549633" y="2053230"/>
                    </a:lnTo>
                    <a:lnTo>
                      <a:pt x="4603105" y="2081944"/>
                    </a:lnTo>
                    <a:lnTo>
                      <a:pt x="4611058" y="2114781"/>
                    </a:lnTo>
                    <a:lnTo>
                      <a:pt x="4596095" y="2141542"/>
                    </a:lnTo>
                    <a:lnTo>
                      <a:pt x="4570769" y="2169446"/>
                    </a:lnTo>
                    <a:lnTo>
                      <a:pt x="4543044" y="2195027"/>
                    </a:lnTo>
                    <a:lnTo>
                      <a:pt x="4515319" y="2220609"/>
                    </a:lnTo>
                    <a:lnTo>
                      <a:pt x="4485094" y="2244759"/>
                    </a:lnTo>
                    <a:lnTo>
                      <a:pt x="4460075" y="2261676"/>
                    </a:lnTo>
                    <a:lnTo>
                      <a:pt x="4441503" y="2274240"/>
                    </a:lnTo>
                    <a:lnTo>
                      <a:pt x="4420038" y="2281593"/>
                    </a:lnTo>
                    <a:lnTo>
                      <a:pt x="4401583" y="2294320"/>
                    </a:lnTo>
                    <a:lnTo>
                      <a:pt x="4383137" y="2307016"/>
                    </a:lnTo>
                    <a:lnTo>
                      <a:pt x="4366816" y="2323503"/>
                    </a:lnTo>
                    <a:lnTo>
                      <a:pt x="4347177" y="2336488"/>
                    </a:lnTo>
                    <a:lnTo>
                      <a:pt x="4322400" y="2333065"/>
                    </a:lnTo>
                    <a:lnTo>
                      <a:pt x="4294086" y="2306270"/>
                    </a:lnTo>
                    <a:lnTo>
                      <a:pt x="4273894" y="2283208"/>
                    </a:lnTo>
                    <a:lnTo>
                      <a:pt x="4251958" y="2265758"/>
                    </a:lnTo>
                    <a:lnTo>
                      <a:pt x="4218813" y="2239366"/>
                    </a:lnTo>
                    <a:lnTo>
                      <a:pt x="4178728" y="2221275"/>
                    </a:lnTo>
                    <a:lnTo>
                      <a:pt x="4145865" y="2192310"/>
                    </a:lnTo>
                    <a:lnTo>
                      <a:pt x="4120583" y="2170040"/>
                    </a:lnTo>
                    <a:lnTo>
                      <a:pt x="4101272" y="2144108"/>
                    </a:lnTo>
                    <a:lnTo>
                      <a:pt x="4072418" y="2125656"/>
                    </a:lnTo>
                    <a:lnTo>
                      <a:pt x="4006912" y="2083811"/>
                    </a:lnTo>
                    <a:lnTo>
                      <a:pt x="3938188" y="2049914"/>
                    </a:lnTo>
                    <a:lnTo>
                      <a:pt x="3871110" y="2011406"/>
                    </a:lnTo>
                    <a:lnTo>
                      <a:pt x="3760124" y="1947771"/>
                    </a:lnTo>
                    <a:lnTo>
                      <a:pt x="3652416" y="1879296"/>
                    </a:lnTo>
                    <a:lnTo>
                      <a:pt x="3539214" y="1819613"/>
                    </a:lnTo>
                    <a:lnTo>
                      <a:pt x="3458248" y="1775915"/>
                    </a:lnTo>
                    <a:lnTo>
                      <a:pt x="3399120" y="1739365"/>
                    </a:lnTo>
                    <a:lnTo>
                      <a:pt x="3339976" y="1702811"/>
                    </a:lnTo>
                    <a:lnTo>
                      <a:pt x="3283881" y="1664157"/>
                    </a:lnTo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86" name="Kirovohrad¬0" descr="Kirovohrad¬0">
                <a:extLst>
                  <a:ext uri="{FF2B5EF4-FFF2-40B4-BE49-F238E27FC236}">
                    <a16:creationId xmlns:a16="http://schemas.microsoft.com/office/drawing/2014/main" id="{934DD2AA-FF15-49B9-B3BC-2F8F8E3620D6}"/>
                  </a:ext>
                </a:extLst>
              </p:cNvPr>
              <p:cNvSpPr/>
              <p:nvPr/>
            </p:nvSpPr>
            <p:spPr>
              <a:xfrm>
                <a:off x="26585398" y="16398548"/>
                <a:ext cx="14645251" cy="7951742"/>
              </a:xfrm>
              <a:custGeom>
                <a:avLst/>
                <a:gdLst/>
                <a:ahLst/>
                <a:cxnLst/>
                <a:rect l="0" t="0" r="0" b="0"/>
                <a:pathLst>
                  <a:path w="14645250" h="7951741">
                    <a:moveTo>
                      <a:pt x="10691704" y="10942"/>
                    </a:moveTo>
                    <a:lnTo>
                      <a:pt x="10686898" y="36986"/>
                    </a:lnTo>
                    <a:lnTo>
                      <a:pt x="10680257" y="63931"/>
                    </a:lnTo>
                    <a:lnTo>
                      <a:pt x="10673615" y="90879"/>
                    </a:lnTo>
                    <a:lnTo>
                      <a:pt x="10665687" y="118406"/>
                    </a:lnTo>
                    <a:lnTo>
                      <a:pt x="10657133" y="140103"/>
                    </a:lnTo>
                    <a:lnTo>
                      <a:pt x="10644888" y="157785"/>
                    </a:lnTo>
                    <a:lnTo>
                      <a:pt x="10618580" y="220455"/>
                    </a:lnTo>
                    <a:lnTo>
                      <a:pt x="10605489" y="298776"/>
                    </a:lnTo>
                    <a:lnTo>
                      <a:pt x="10579606" y="360451"/>
                    </a:lnTo>
                    <a:lnTo>
                      <a:pt x="10566000" y="378132"/>
                    </a:lnTo>
                    <a:lnTo>
                      <a:pt x="10563362" y="406062"/>
                    </a:lnTo>
                    <a:lnTo>
                      <a:pt x="10575522" y="426770"/>
                    </a:lnTo>
                    <a:lnTo>
                      <a:pt x="10605449" y="448863"/>
                    </a:lnTo>
                    <a:lnTo>
                      <a:pt x="10633016" y="472908"/>
                    </a:lnTo>
                    <a:lnTo>
                      <a:pt x="10666893" y="513750"/>
                    </a:lnTo>
                    <a:lnTo>
                      <a:pt x="10689937" y="567070"/>
                    </a:lnTo>
                    <a:lnTo>
                      <a:pt x="10706100" y="622969"/>
                    </a:lnTo>
                    <a:lnTo>
                      <a:pt x="10722273" y="678874"/>
                    </a:lnTo>
                    <a:lnTo>
                      <a:pt x="10732771" y="737872"/>
                    </a:lnTo>
                    <a:lnTo>
                      <a:pt x="10733305" y="776675"/>
                    </a:lnTo>
                    <a:lnTo>
                      <a:pt x="10732778" y="810745"/>
                    </a:lnTo>
                    <a:lnTo>
                      <a:pt x="10731088" y="845975"/>
                    </a:lnTo>
                    <a:lnTo>
                      <a:pt x="10729231" y="881410"/>
                    </a:lnTo>
                    <a:lnTo>
                      <a:pt x="10727101" y="911673"/>
                    </a:lnTo>
                    <a:lnTo>
                      <a:pt x="10730635" y="935092"/>
                    </a:lnTo>
                    <a:lnTo>
                      <a:pt x="10731181" y="957561"/>
                    </a:lnTo>
                    <a:lnTo>
                      <a:pt x="10738238" y="983288"/>
                    </a:lnTo>
                    <a:lnTo>
                      <a:pt x="10760438" y="1045478"/>
                    </a:lnTo>
                    <a:lnTo>
                      <a:pt x="10783643" y="1107199"/>
                    </a:lnTo>
                    <a:lnTo>
                      <a:pt x="10806844" y="1168921"/>
                    </a:lnTo>
                    <a:lnTo>
                      <a:pt x="10831820" y="1230088"/>
                    </a:lnTo>
                    <a:lnTo>
                      <a:pt x="10931904" y="1247301"/>
                    </a:lnTo>
                    <a:lnTo>
                      <a:pt x="10925957" y="1340198"/>
                    </a:lnTo>
                    <a:lnTo>
                      <a:pt x="10894241" y="1346766"/>
                    </a:lnTo>
                    <a:lnTo>
                      <a:pt x="10850761" y="1354119"/>
                    </a:lnTo>
                    <a:lnTo>
                      <a:pt x="10826787" y="1378732"/>
                    </a:lnTo>
                    <a:lnTo>
                      <a:pt x="10823299" y="1412886"/>
                    </a:lnTo>
                    <a:lnTo>
                      <a:pt x="10812205" y="1441812"/>
                    </a:lnTo>
                    <a:lnTo>
                      <a:pt x="10721923" y="1464314"/>
                    </a:lnTo>
                    <a:lnTo>
                      <a:pt x="10674828" y="1577831"/>
                    </a:lnTo>
                    <a:lnTo>
                      <a:pt x="10647834" y="1589584"/>
                    </a:lnTo>
                    <a:lnTo>
                      <a:pt x="10594786" y="1576941"/>
                    </a:lnTo>
                    <a:lnTo>
                      <a:pt x="10568729" y="1568308"/>
                    </a:lnTo>
                    <a:lnTo>
                      <a:pt x="10549301" y="1552732"/>
                    </a:lnTo>
                    <a:lnTo>
                      <a:pt x="10532173" y="1539153"/>
                    </a:lnTo>
                    <a:lnTo>
                      <a:pt x="10507523" y="1524782"/>
                    </a:lnTo>
                    <a:lnTo>
                      <a:pt x="10463870" y="1488483"/>
                    </a:lnTo>
                    <a:lnTo>
                      <a:pt x="10433816" y="1463522"/>
                    </a:lnTo>
                    <a:lnTo>
                      <a:pt x="10397341" y="1447253"/>
                    </a:lnTo>
                    <a:lnTo>
                      <a:pt x="10370434" y="1435249"/>
                    </a:lnTo>
                    <a:lnTo>
                      <a:pt x="10337499" y="1426848"/>
                    </a:lnTo>
                    <a:lnTo>
                      <a:pt x="10314158" y="1429011"/>
                    </a:lnTo>
                    <a:lnTo>
                      <a:pt x="10294401" y="1451090"/>
                    </a:lnTo>
                    <a:lnTo>
                      <a:pt x="10290597" y="1481791"/>
                    </a:lnTo>
                    <a:lnTo>
                      <a:pt x="10272210" y="1524782"/>
                    </a:lnTo>
                    <a:lnTo>
                      <a:pt x="10256928" y="1560501"/>
                    </a:lnTo>
                    <a:lnTo>
                      <a:pt x="10220223" y="1591793"/>
                    </a:lnTo>
                    <a:lnTo>
                      <a:pt x="10191955" y="1615917"/>
                    </a:lnTo>
                    <a:lnTo>
                      <a:pt x="10171761" y="1633110"/>
                    </a:lnTo>
                    <a:lnTo>
                      <a:pt x="10151576" y="1661916"/>
                    </a:lnTo>
                    <a:lnTo>
                      <a:pt x="10123944" y="1668967"/>
                    </a:lnTo>
                    <a:lnTo>
                      <a:pt x="10093983" y="1676610"/>
                    </a:lnTo>
                    <a:lnTo>
                      <a:pt x="10069680" y="1671835"/>
                    </a:lnTo>
                    <a:lnTo>
                      <a:pt x="10047771" y="1662161"/>
                    </a:lnTo>
                    <a:lnTo>
                      <a:pt x="10025869" y="1652486"/>
                    </a:lnTo>
                    <a:lnTo>
                      <a:pt x="10006791" y="1637535"/>
                    </a:lnTo>
                    <a:lnTo>
                      <a:pt x="9989282" y="1622717"/>
                    </a:lnTo>
                    <a:lnTo>
                      <a:pt x="9971779" y="1607904"/>
                    </a:lnTo>
                    <a:lnTo>
                      <a:pt x="9955734" y="1593765"/>
                    </a:lnTo>
                    <a:lnTo>
                      <a:pt x="9922185" y="1578220"/>
                    </a:lnTo>
                    <a:lnTo>
                      <a:pt x="9884547" y="1588707"/>
                    </a:lnTo>
                    <a:lnTo>
                      <a:pt x="9868998" y="1606850"/>
                    </a:lnTo>
                    <a:lnTo>
                      <a:pt x="9864738" y="1635860"/>
                    </a:lnTo>
                    <a:lnTo>
                      <a:pt x="9866868" y="1670319"/>
                    </a:lnTo>
                    <a:lnTo>
                      <a:pt x="9867875" y="1704513"/>
                    </a:lnTo>
                    <a:lnTo>
                      <a:pt x="9863135" y="1734059"/>
                    </a:lnTo>
                    <a:lnTo>
                      <a:pt x="9846469" y="1753295"/>
                    </a:lnTo>
                    <a:lnTo>
                      <a:pt x="9820716" y="1755822"/>
                    </a:lnTo>
                    <a:lnTo>
                      <a:pt x="9785170" y="1753479"/>
                    </a:lnTo>
                    <a:lnTo>
                      <a:pt x="9758050" y="1750579"/>
                    </a:lnTo>
                    <a:lnTo>
                      <a:pt x="9733564" y="1731532"/>
                    </a:lnTo>
                    <a:lnTo>
                      <a:pt x="9729165" y="1701723"/>
                    </a:lnTo>
                    <a:lnTo>
                      <a:pt x="9728017" y="1658006"/>
                    </a:lnTo>
                    <a:lnTo>
                      <a:pt x="9724042" y="1615917"/>
                    </a:lnTo>
                    <a:lnTo>
                      <a:pt x="9720064" y="1573822"/>
                    </a:lnTo>
                    <a:lnTo>
                      <a:pt x="9713463" y="1532353"/>
                    </a:lnTo>
                    <a:lnTo>
                      <a:pt x="9696838" y="1505736"/>
                    </a:lnTo>
                    <a:lnTo>
                      <a:pt x="9682268" y="1482423"/>
                    </a:lnTo>
                    <a:lnTo>
                      <a:pt x="9638538" y="1430033"/>
                    </a:lnTo>
                    <a:lnTo>
                      <a:pt x="9598897" y="1377881"/>
                    </a:lnTo>
                    <a:lnTo>
                      <a:pt x="9559268" y="1325729"/>
                    </a:lnTo>
                    <a:lnTo>
                      <a:pt x="9523509" y="1274684"/>
                    </a:lnTo>
                    <a:lnTo>
                      <a:pt x="9518570" y="1230406"/>
                    </a:lnTo>
                    <a:lnTo>
                      <a:pt x="9519466" y="1200445"/>
                    </a:lnTo>
                    <a:lnTo>
                      <a:pt x="9521373" y="1171130"/>
                    </a:lnTo>
                    <a:lnTo>
                      <a:pt x="9523292" y="1141816"/>
                    </a:lnTo>
                    <a:lnTo>
                      <a:pt x="9525918" y="1112410"/>
                    </a:lnTo>
                    <a:lnTo>
                      <a:pt x="9526814" y="1086795"/>
                    </a:lnTo>
                    <a:lnTo>
                      <a:pt x="9519317" y="1063548"/>
                    </a:lnTo>
                    <a:lnTo>
                      <a:pt x="9495337" y="1049870"/>
                    </a:lnTo>
                    <a:lnTo>
                      <a:pt x="9463714" y="1064425"/>
                    </a:lnTo>
                    <a:lnTo>
                      <a:pt x="9448143" y="1087309"/>
                    </a:lnTo>
                    <a:lnTo>
                      <a:pt x="9430243" y="1108558"/>
                    </a:lnTo>
                    <a:lnTo>
                      <a:pt x="9412340" y="1129814"/>
                    </a:lnTo>
                    <a:lnTo>
                      <a:pt x="9392580" y="1150026"/>
                    </a:lnTo>
                    <a:lnTo>
                      <a:pt x="9358148" y="1160249"/>
                    </a:lnTo>
                    <a:lnTo>
                      <a:pt x="9306148" y="1150930"/>
                    </a:lnTo>
                    <a:lnTo>
                      <a:pt x="9271096" y="1141202"/>
                    </a:lnTo>
                    <a:lnTo>
                      <a:pt x="9236044" y="1131482"/>
                    </a:lnTo>
                    <a:lnTo>
                      <a:pt x="9203110" y="1118979"/>
                    </a:lnTo>
                    <a:lnTo>
                      <a:pt x="9191607" y="1094024"/>
                    </a:lnTo>
                    <a:lnTo>
                      <a:pt x="9194772" y="1064411"/>
                    </a:lnTo>
                    <a:lnTo>
                      <a:pt x="9193566" y="1043269"/>
                    </a:lnTo>
                    <a:lnTo>
                      <a:pt x="9173394" y="1029367"/>
                    </a:lnTo>
                    <a:lnTo>
                      <a:pt x="9151175" y="1016374"/>
                    </a:lnTo>
                    <a:lnTo>
                      <a:pt x="9128277" y="1005182"/>
                    </a:lnTo>
                    <a:lnTo>
                      <a:pt x="9131865" y="972412"/>
                    </a:lnTo>
                    <a:lnTo>
                      <a:pt x="9138289" y="934584"/>
                    </a:lnTo>
                    <a:lnTo>
                      <a:pt x="9131009" y="904531"/>
                    </a:lnTo>
                    <a:lnTo>
                      <a:pt x="9111962" y="895008"/>
                    </a:lnTo>
                    <a:lnTo>
                      <a:pt x="9087473" y="886850"/>
                    </a:lnTo>
                    <a:lnTo>
                      <a:pt x="9058911" y="919488"/>
                    </a:lnTo>
                    <a:lnTo>
                      <a:pt x="9037148" y="949417"/>
                    </a:lnTo>
                    <a:lnTo>
                      <a:pt x="9000428" y="949409"/>
                    </a:lnTo>
                    <a:lnTo>
                      <a:pt x="8978665" y="943969"/>
                    </a:lnTo>
                    <a:lnTo>
                      <a:pt x="8966030" y="971859"/>
                    </a:lnTo>
                    <a:lnTo>
                      <a:pt x="8951454" y="987495"/>
                    </a:lnTo>
                    <a:lnTo>
                      <a:pt x="8936887" y="1003139"/>
                    </a:lnTo>
                    <a:lnTo>
                      <a:pt x="8922938" y="1019282"/>
                    </a:lnTo>
                    <a:lnTo>
                      <a:pt x="8928677" y="1039945"/>
                    </a:lnTo>
                    <a:lnTo>
                      <a:pt x="8939216" y="1069107"/>
                    </a:lnTo>
                    <a:lnTo>
                      <a:pt x="8947591" y="1097538"/>
                    </a:lnTo>
                    <a:lnTo>
                      <a:pt x="8933781" y="1118081"/>
                    </a:lnTo>
                    <a:lnTo>
                      <a:pt x="8894462" y="1125091"/>
                    </a:lnTo>
                    <a:lnTo>
                      <a:pt x="8869223" y="1113432"/>
                    </a:lnTo>
                    <a:lnTo>
                      <a:pt x="8845361" y="1101752"/>
                    </a:lnTo>
                    <a:lnTo>
                      <a:pt x="8821508" y="1090080"/>
                    </a:lnTo>
                    <a:lnTo>
                      <a:pt x="8798527" y="1078941"/>
                    </a:lnTo>
                    <a:lnTo>
                      <a:pt x="8771914" y="1084071"/>
                    </a:lnTo>
                    <a:lnTo>
                      <a:pt x="8758309" y="1104469"/>
                    </a:lnTo>
                    <a:lnTo>
                      <a:pt x="8734118" y="1134878"/>
                    </a:lnTo>
                    <a:lnTo>
                      <a:pt x="8724491" y="1155428"/>
                    </a:lnTo>
                    <a:lnTo>
                      <a:pt x="8714783" y="1176558"/>
                    </a:lnTo>
                    <a:lnTo>
                      <a:pt x="8705075" y="1197695"/>
                    </a:lnTo>
                    <a:lnTo>
                      <a:pt x="8695553" y="1219662"/>
                    </a:lnTo>
                    <a:lnTo>
                      <a:pt x="8683498" y="1239131"/>
                    </a:lnTo>
                    <a:lnTo>
                      <a:pt x="8665815" y="1262252"/>
                    </a:lnTo>
                    <a:lnTo>
                      <a:pt x="8648136" y="1284015"/>
                    </a:lnTo>
                    <a:lnTo>
                      <a:pt x="8634062" y="1315506"/>
                    </a:lnTo>
                    <a:lnTo>
                      <a:pt x="8623648" y="1337065"/>
                    </a:lnTo>
                    <a:lnTo>
                      <a:pt x="8613236" y="1358623"/>
                    </a:lnTo>
                    <a:lnTo>
                      <a:pt x="8601444" y="1378592"/>
                    </a:lnTo>
                    <a:lnTo>
                      <a:pt x="8565902" y="1400330"/>
                    </a:lnTo>
                    <a:lnTo>
                      <a:pt x="8546244" y="1415043"/>
                    </a:lnTo>
                    <a:lnTo>
                      <a:pt x="8524354" y="1425476"/>
                    </a:lnTo>
                    <a:lnTo>
                      <a:pt x="8502467" y="1435916"/>
                    </a:lnTo>
                    <a:lnTo>
                      <a:pt x="8479383" y="1441984"/>
                    </a:lnTo>
                    <a:lnTo>
                      <a:pt x="8446827" y="1444522"/>
                    </a:lnTo>
                    <a:lnTo>
                      <a:pt x="8418265" y="1509812"/>
                    </a:lnTo>
                    <a:lnTo>
                      <a:pt x="8391054" y="1573735"/>
                    </a:lnTo>
                    <a:lnTo>
                      <a:pt x="8402858" y="1592241"/>
                    </a:lnTo>
                    <a:lnTo>
                      <a:pt x="8428221" y="1615086"/>
                    </a:lnTo>
                    <a:lnTo>
                      <a:pt x="8448185" y="1636308"/>
                    </a:lnTo>
                    <a:lnTo>
                      <a:pt x="8435991" y="1699309"/>
                    </a:lnTo>
                    <a:lnTo>
                      <a:pt x="8423697" y="1743765"/>
                    </a:lnTo>
                    <a:lnTo>
                      <a:pt x="8411412" y="1788221"/>
                    </a:lnTo>
                    <a:lnTo>
                      <a:pt x="8396988" y="1830627"/>
                    </a:lnTo>
                    <a:lnTo>
                      <a:pt x="8368655" y="1851877"/>
                    </a:lnTo>
                    <a:lnTo>
                      <a:pt x="8337172" y="1859420"/>
                    </a:lnTo>
                    <a:lnTo>
                      <a:pt x="8308082" y="1858022"/>
                    </a:lnTo>
                    <a:lnTo>
                      <a:pt x="8279935" y="1853735"/>
                    </a:lnTo>
                    <a:lnTo>
                      <a:pt x="8257347" y="1843263"/>
                    </a:lnTo>
                    <a:lnTo>
                      <a:pt x="8245516" y="1824013"/>
                    </a:lnTo>
                    <a:lnTo>
                      <a:pt x="8244533" y="1797666"/>
                    </a:lnTo>
                    <a:lnTo>
                      <a:pt x="8227228" y="1777717"/>
                    </a:lnTo>
                    <a:lnTo>
                      <a:pt x="8201990" y="1787285"/>
                    </a:lnTo>
                    <a:lnTo>
                      <a:pt x="8173960" y="1804630"/>
                    </a:lnTo>
                    <a:lnTo>
                      <a:pt x="8145683" y="1824350"/>
                    </a:lnTo>
                    <a:lnTo>
                      <a:pt x="8117660" y="1836253"/>
                    </a:lnTo>
                    <a:lnTo>
                      <a:pt x="8090080" y="1836846"/>
                    </a:lnTo>
                    <a:lnTo>
                      <a:pt x="8074134" y="1815848"/>
                    </a:lnTo>
                    <a:lnTo>
                      <a:pt x="8083659" y="1792727"/>
                    </a:lnTo>
                    <a:lnTo>
                      <a:pt x="8079423" y="1766201"/>
                    </a:lnTo>
                    <a:lnTo>
                      <a:pt x="8051013" y="1750559"/>
                    </a:lnTo>
                    <a:lnTo>
                      <a:pt x="8023808" y="1736960"/>
                    </a:lnTo>
                    <a:lnTo>
                      <a:pt x="7987252" y="1781450"/>
                    </a:lnTo>
                    <a:lnTo>
                      <a:pt x="7959034" y="1808898"/>
                    </a:lnTo>
                    <a:lnTo>
                      <a:pt x="7928592" y="1826729"/>
                    </a:lnTo>
                    <a:lnTo>
                      <a:pt x="7898157" y="1844562"/>
                    </a:lnTo>
                    <a:lnTo>
                      <a:pt x="7864323" y="1853717"/>
                    </a:lnTo>
                    <a:lnTo>
                      <a:pt x="7833383" y="1859375"/>
                    </a:lnTo>
                    <a:lnTo>
                      <a:pt x="7802439" y="1865032"/>
                    </a:lnTo>
                    <a:lnTo>
                      <a:pt x="7773526" y="1866366"/>
                    </a:lnTo>
                    <a:lnTo>
                      <a:pt x="7750405" y="1871615"/>
                    </a:lnTo>
                    <a:lnTo>
                      <a:pt x="7727296" y="1876864"/>
                    </a:lnTo>
                    <a:lnTo>
                      <a:pt x="7704159" y="1901536"/>
                    </a:lnTo>
                    <a:lnTo>
                      <a:pt x="7694210" y="1925337"/>
                    </a:lnTo>
                    <a:lnTo>
                      <a:pt x="7686545" y="1944924"/>
                    </a:lnTo>
                    <a:lnTo>
                      <a:pt x="7667368" y="1980569"/>
                    </a:lnTo>
                    <a:lnTo>
                      <a:pt x="7636154" y="2014434"/>
                    </a:lnTo>
                    <a:lnTo>
                      <a:pt x="7615644" y="2027308"/>
                    </a:lnTo>
                    <a:lnTo>
                      <a:pt x="7591249" y="2053317"/>
                    </a:lnTo>
                    <a:lnTo>
                      <a:pt x="7584899" y="2073874"/>
                    </a:lnTo>
                    <a:lnTo>
                      <a:pt x="7564990" y="2107343"/>
                    </a:lnTo>
                    <a:lnTo>
                      <a:pt x="7519172" y="2127333"/>
                    </a:lnTo>
                    <a:lnTo>
                      <a:pt x="7494916" y="2117546"/>
                    </a:lnTo>
                    <a:lnTo>
                      <a:pt x="7472707" y="2099034"/>
                    </a:lnTo>
                    <a:lnTo>
                      <a:pt x="7460683" y="2075647"/>
                    </a:lnTo>
                    <a:lnTo>
                      <a:pt x="7453976" y="2039778"/>
                    </a:lnTo>
                    <a:lnTo>
                      <a:pt x="7448780" y="1994135"/>
                    </a:lnTo>
                    <a:lnTo>
                      <a:pt x="7437562" y="1950509"/>
                    </a:lnTo>
                    <a:lnTo>
                      <a:pt x="7431956" y="1928694"/>
                    </a:lnTo>
                    <a:lnTo>
                      <a:pt x="7425249" y="1906951"/>
                    </a:lnTo>
                    <a:lnTo>
                      <a:pt x="7415799" y="1887936"/>
                    </a:lnTo>
                    <a:lnTo>
                      <a:pt x="7406348" y="1868924"/>
                    </a:lnTo>
                    <a:lnTo>
                      <a:pt x="7379072" y="1838970"/>
                    </a:lnTo>
                    <a:lnTo>
                      <a:pt x="7323305" y="1802242"/>
                    </a:lnTo>
                    <a:lnTo>
                      <a:pt x="7267538" y="1764158"/>
                    </a:lnTo>
                    <a:lnTo>
                      <a:pt x="7237729" y="1750480"/>
                    </a:lnTo>
                    <a:lnTo>
                      <a:pt x="7205526" y="1740330"/>
                    </a:lnTo>
                    <a:lnTo>
                      <a:pt x="7172322" y="1730154"/>
                    </a:lnTo>
                    <a:lnTo>
                      <a:pt x="7139115" y="1719985"/>
                    </a:lnTo>
                    <a:lnTo>
                      <a:pt x="7105461" y="1710146"/>
                    </a:lnTo>
                    <a:lnTo>
                      <a:pt x="7074387" y="1698867"/>
                    </a:lnTo>
                    <a:lnTo>
                      <a:pt x="7046938" y="1687479"/>
                    </a:lnTo>
                    <a:lnTo>
                      <a:pt x="7020229" y="1674901"/>
                    </a:lnTo>
                    <a:lnTo>
                      <a:pt x="6994141" y="1664865"/>
                    </a:lnTo>
                    <a:lnTo>
                      <a:pt x="6969370" y="1661020"/>
                    </a:lnTo>
                    <a:lnTo>
                      <a:pt x="6929128" y="1655110"/>
                    </a:lnTo>
                    <a:lnTo>
                      <a:pt x="6903005" y="1652624"/>
                    </a:lnTo>
                    <a:lnTo>
                      <a:pt x="6874443" y="1656699"/>
                    </a:lnTo>
                    <a:lnTo>
                      <a:pt x="6845880" y="1660775"/>
                    </a:lnTo>
                    <a:lnTo>
                      <a:pt x="6822350" y="1659938"/>
                    </a:lnTo>
                    <a:lnTo>
                      <a:pt x="6795951" y="1661626"/>
                    </a:lnTo>
                    <a:lnTo>
                      <a:pt x="6773785" y="1671657"/>
                    </a:lnTo>
                    <a:lnTo>
                      <a:pt x="6767196" y="1713271"/>
                    </a:lnTo>
                    <a:lnTo>
                      <a:pt x="6766986" y="1735587"/>
                    </a:lnTo>
                    <a:lnTo>
                      <a:pt x="6766787" y="1757899"/>
                    </a:lnTo>
                    <a:lnTo>
                      <a:pt x="6765646" y="1779227"/>
                    </a:lnTo>
                    <a:lnTo>
                      <a:pt x="6730687" y="1812617"/>
                    </a:lnTo>
                    <a:lnTo>
                      <a:pt x="6705467" y="1815558"/>
                    </a:lnTo>
                    <a:lnTo>
                      <a:pt x="6679934" y="1813118"/>
                    </a:lnTo>
                    <a:lnTo>
                      <a:pt x="6654397" y="1810677"/>
                    </a:lnTo>
                    <a:lnTo>
                      <a:pt x="6627444" y="1802356"/>
                    </a:lnTo>
                    <a:lnTo>
                      <a:pt x="6602403" y="1800878"/>
                    </a:lnTo>
                    <a:lnTo>
                      <a:pt x="6568313" y="1801537"/>
                    </a:lnTo>
                    <a:lnTo>
                      <a:pt x="6533112" y="1802955"/>
                    </a:lnTo>
                    <a:lnTo>
                      <a:pt x="6499027" y="1798160"/>
                    </a:lnTo>
                    <a:lnTo>
                      <a:pt x="6477375" y="1791724"/>
                    </a:lnTo>
                    <a:lnTo>
                      <a:pt x="6454744" y="1784298"/>
                    </a:lnTo>
                    <a:lnTo>
                      <a:pt x="6432374" y="1775032"/>
                    </a:lnTo>
                    <a:lnTo>
                      <a:pt x="6410009" y="1765773"/>
                    </a:lnTo>
                    <a:lnTo>
                      <a:pt x="6389111" y="1754410"/>
                    </a:lnTo>
                    <a:lnTo>
                      <a:pt x="6369807" y="1742387"/>
                    </a:lnTo>
                    <a:lnTo>
                      <a:pt x="6335796" y="1745105"/>
                    </a:lnTo>
                    <a:lnTo>
                      <a:pt x="6310263" y="1757022"/>
                    </a:lnTo>
                    <a:lnTo>
                      <a:pt x="6296022" y="1782650"/>
                    </a:lnTo>
                    <a:lnTo>
                      <a:pt x="6288196" y="1814476"/>
                    </a:lnTo>
                    <a:lnTo>
                      <a:pt x="6280361" y="1846303"/>
                    </a:lnTo>
                    <a:lnTo>
                      <a:pt x="6279484" y="1885536"/>
                    </a:lnTo>
                    <a:lnTo>
                      <a:pt x="6281397" y="1926016"/>
                    </a:lnTo>
                    <a:lnTo>
                      <a:pt x="6285207" y="2006968"/>
                    </a:lnTo>
                    <a:lnTo>
                      <a:pt x="6300034" y="2092901"/>
                    </a:lnTo>
                    <a:lnTo>
                      <a:pt x="6294996" y="2140924"/>
                    </a:lnTo>
                    <a:lnTo>
                      <a:pt x="6292698" y="2162774"/>
                    </a:lnTo>
                    <a:lnTo>
                      <a:pt x="6289554" y="2190512"/>
                    </a:lnTo>
                    <a:lnTo>
                      <a:pt x="6282755" y="2215736"/>
                    </a:lnTo>
                    <a:lnTo>
                      <a:pt x="6275955" y="2240963"/>
                    </a:lnTo>
                    <a:lnTo>
                      <a:pt x="6265984" y="2263715"/>
                    </a:lnTo>
                    <a:lnTo>
                      <a:pt x="6248751" y="2279667"/>
                    </a:lnTo>
                    <a:lnTo>
                      <a:pt x="6224265" y="2294625"/>
                    </a:lnTo>
                    <a:lnTo>
                      <a:pt x="6199777" y="2308230"/>
                    </a:lnTo>
                    <a:lnTo>
                      <a:pt x="6171537" y="2331219"/>
                    </a:lnTo>
                    <a:lnTo>
                      <a:pt x="6153535" y="2349032"/>
                    </a:lnTo>
                    <a:lnTo>
                      <a:pt x="6135530" y="2366853"/>
                    </a:lnTo>
                    <a:lnTo>
                      <a:pt x="6117692" y="2385866"/>
                    </a:lnTo>
                    <a:lnTo>
                      <a:pt x="6105826" y="2407226"/>
                    </a:lnTo>
                    <a:lnTo>
                      <a:pt x="6097318" y="2428593"/>
                    </a:lnTo>
                    <a:lnTo>
                      <a:pt x="6091390" y="2450786"/>
                    </a:lnTo>
                    <a:lnTo>
                      <a:pt x="6086885" y="2487777"/>
                    </a:lnTo>
                    <a:lnTo>
                      <a:pt x="6080972" y="2525572"/>
                    </a:lnTo>
                    <a:lnTo>
                      <a:pt x="6067887" y="2565551"/>
                    </a:lnTo>
                    <a:lnTo>
                      <a:pt x="6060393" y="2585559"/>
                    </a:lnTo>
                    <a:lnTo>
                      <a:pt x="6052877" y="2606116"/>
                    </a:lnTo>
                    <a:lnTo>
                      <a:pt x="6045365" y="2626665"/>
                    </a:lnTo>
                    <a:lnTo>
                      <a:pt x="6038478" y="2647459"/>
                    </a:lnTo>
                    <a:lnTo>
                      <a:pt x="6032479" y="2668681"/>
                    </a:lnTo>
                    <a:lnTo>
                      <a:pt x="5987830" y="2689027"/>
                    </a:lnTo>
                    <a:lnTo>
                      <a:pt x="5961748" y="2701325"/>
                    </a:lnTo>
                    <a:lnTo>
                      <a:pt x="5935666" y="2713632"/>
                    </a:lnTo>
                    <a:lnTo>
                      <a:pt x="5910111" y="2724850"/>
                    </a:lnTo>
                    <a:lnTo>
                      <a:pt x="5877242" y="2710216"/>
                    </a:lnTo>
                    <a:lnTo>
                      <a:pt x="5847491" y="2704049"/>
                    </a:lnTo>
                    <a:lnTo>
                      <a:pt x="5818929" y="2708046"/>
                    </a:lnTo>
                    <a:lnTo>
                      <a:pt x="5778106" y="2728702"/>
                    </a:lnTo>
                    <a:lnTo>
                      <a:pt x="5752945" y="2752800"/>
                    </a:lnTo>
                    <a:lnTo>
                      <a:pt x="5730509" y="2774780"/>
                    </a:lnTo>
                    <a:lnTo>
                      <a:pt x="5703234" y="2779409"/>
                    </a:lnTo>
                    <a:lnTo>
                      <a:pt x="5676181" y="2775584"/>
                    </a:lnTo>
                    <a:lnTo>
                      <a:pt x="5654347" y="2758451"/>
                    </a:lnTo>
                    <a:lnTo>
                      <a:pt x="5632577" y="2758451"/>
                    </a:lnTo>
                    <a:lnTo>
                      <a:pt x="5620811" y="2779225"/>
                    </a:lnTo>
                    <a:lnTo>
                      <a:pt x="5614427" y="2805690"/>
                    </a:lnTo>
                    <a:lnTo>
                      <a:pt x="5598573" y="2830539"/>
                    </a:lnTo>
                    <a:lnTo>
                      <a:pt x="5576810" y="2823741"/>
                    </a:lnTo>
                    <a:lnTo>
                      <a:pt x="5565171" y="2803290"/>
                    </a:lnTo>
                    <a:lnTo>
                      <a:pt x="5550976" y="2767974"/>
                    </a:lnTo>
                    <a:lnTo>
                      <a:pt x="5535123" y="2733575"/>
                    </a:lnTo>
                    <a:lnTo>
                      <a:pt x="5511726" y="2717338"/>
                    </a:lnTo>
                    <a:lnTo>
                      <a:pt x="5486729" y="2705541"/>
                    </a:lnTo>
                    <a:lnTo>
                      <a:pt x="5461202" y="2697244"/>
                    </a:lnTo>
                    <a:lnTo>
                      <a:pt x="5435672" y="2688954"/>
                    </a:lnTo>
                    <a:lnTo>
                      <a:pt x="5409069" y="2684226"/>
                    </a:lnTo>
                    <a:lnTo>
                      <a:pt x="5379709" y="2689376"/>
                    </a:lnTo>
                    <a:lnTo>
                      <a:pt x="5350762" y="2698431"/>
                    </a:lnTo>
                    <a:lnTo>
                      <a:pt x="5308873" y="2689100"/>
                    </a:lnTo>
                    <a:lnTo>
                      <a:pt x="5287510" y="2679384"/>
                    </a:lnTo>
                    <a:lnTo>
                      <a:pt x="5265332" y="2671399"/>
                    </a:lnTo>
                    <a:lnTo>
                      <a:pt x="5243153" y="2663411"/>
                    </a:lnTo>
                    <a:lnTo>
                      <a:pt x="5220851" y="2657430"/>
                    </a:lnTo>
                    <a:lnTo>
                      <a:pt x="5197326" y="2659157"/>
                    </a:lnTo>
                    <a:lnTo>
                      <a:pt x="5172838" y="2664599"/>
                    </a:lnTo>
                    <a:lnTo>
                      <a:pt x="5151075" y="2668675"/>
                    </a:lnTo>
                    <a:lnTo>
                      <a:pt x="5117421" y="2666828"/>
                    </a:lnTo>
                    <a:lnTo>
                      <a:pt x="5084078" y="2665081"/>
                    </a:lnTo>
                    <a:lnTo>
                      <a:pt x="5049066" y="2671399"/>
                    </a:lnTo>
                    <a:lnTo>
                      <a:pt x="5010432" y="2684054"/>
                    </a:lnTo>
                    <a:lnTo>
                      <a:pt x="4979495" y="2708646"/>
                    </a:lnTo>
                    <a:lnTo>
                      <a:pt x="4948408" y="2733972"/>
                    </a:lnTo>
                    <a:lnTo>
                      <a:pt x="4917319" y="2759296"/>
                    </a:lnTo>
                    <a:lnTo>
                      <a:pt x="4887017" y="2785965"/>
                    </a:lnTo>
                    <a:lnTo>
                      <a:pt x="4850473" y="2801978"/>
                    </a:lnTo>
                    <a:lnTo>
                      <a:pt x="4810978" y="2804206"/>
                    </a:lnTo>
                    <a:lnTo>
                      <a:pt x="4782459" y="2800619"/>
                    </a:lnTo>
                    <a:lnTo>
                      <a:pt x="4753949" y="2797025"/>
                    </a:lnTo>
                    <a:lnTo>
                      <a:pt x="4723805" y="2791630"/>
                    </a:lnTo>
                    <a:lnTo>
                      <a:pt x="4690970" y="2790568"/>
                    </a:lnTo>
                    <a:lnTo>
                      <a:pt x="4664128" y="2799261"/>
                    </a:lnTo>
                    <a:lnTo>
                      <a:pt x="4635531" y="2803646"/>
                    </a:lnTo>
                    <a:lnTo>
                      <a:pt x="4610103" y="2793140"/>
                    </a:lnTo>
                    <a:lnTo>
                      <a:pt x="4589314" y="2773416"/>
                    </a:lnTo>
                    <a:lnTo>
                      <a:pt x="4571132" y="2752885"/>
                    </a:lnTo>
                    <a:lnTo>
                      <a:pt x="4538483" y="2735784"/>
                    </a:lnTo>
                    <a:lnTo>
                      <a:pt x="4511009" y="2721400"/>
                    </a:lnTo>
                    <a:lnTo>
                      <a:pt x="4483224" y="2709491"/>
                    </a:lnTo>
                    <a:lnTo>
                      <a:pt x="4455424" y="2697574"/>
                    </a:lnTo>
                    <a:lnTo>
                      <a:pt x="4426251" y="2688650"/>
                    </a:lnTo>
                    <a:lnTo>
                      <a:pt x="4394805" y="2683644"/>
                    </a:lnTo>
                    <a:lnTo>
                      <a:pt x="4366103" y="2680928"/>
                    </a:lnTo>
                    <a:lnTo>
                      <a:pt x="4336461" y="2680928"/>
                    </a:lnTo>
                    <a:lnTo>
                      <a:pt x="4307753" y="2678204"/>
                    </a:lnTo>
                    <a:lnTo>
                      <a:pt x="4276322" y="2667191"/>
                    </a:lnTo>
                    <a:lnTo>
                      <a:pt x="4246696" y="2651132"/>
                    </a:lnTo>
                    <a:lnTo>
                      <a:pt x="4209818" y="2645560"/>
                    </a:lnTo>
                    <a:lnTo>
                      <a:pt x="4188312" y="2646819"/>
                    </a:lnTo>
                    <a:lnTo>
                      <a:pt x="4147251" y="2655083"/>
                    </a:lnTo>
                    <a:lnTo>
                      <a:pt x="4126071" y="2659113"/>
                    </a:lnTo>
                    <a:lnTo>
                      <a:pt x="4102472" y="2663221"/>
                    </a:lnTo>
                    <a:lnTo>
                      <a:pt x="4072440" y="2661881"/>
                    </a:lnTo>
                    <a:lnTo>
                      <a:pt x="4050677" y="2672763"/>
                    </a:lnTo>
                    <a:lnTo>
                      <a:pt x="4019398" y="2653513"/>
                    </a:lnTo>
                    <a:lnTo>
                      <a:pt x="3989462" y="2640323"/>
                    </a:lnTo>
                    <a:lnTo>
                      <a:pt x="3956825" y="2642842"/>
                    </a:lnTo>
                    <a:lnTo>
                      <a:pt x="3940296" y="2658849"/>
                    </a:lnTo>
                    <a:lnTo>
                      <a:pt x="3903734" y="2674729"/>
                    </a:lnTo>
                    <a:lnTo>
                      <a:pt x="3867048" y="2685010"/>
                    </a:lnTo>
                    <a:lnTo>
                      <a:pt x="3830362" y="2695292"/>
                    </a:lnTo>
                    <a:lnTo>
                      <a:pt x="3794259" y="2699380"/>
                    </a:lnTo>
                    <a:lnTo>
                      <a:pt x="3771296" y="2684140"/>
                    </a:lnTo>
                    <a:lnTo>
                      <a:pt x="3752791" y="2657806"/>
                    </a:lnTo>
                    <a:lnTo>
                      <a:pt x="3736904" y="2629277"/>
                    </a:lnTo>
                    <a:lnTo>
                      <a:pt x="3711988" y="2618362"/>
                    </a:lnTo>
                    <a:lnTo>
                      <a:pt x="3694649" y="2635212"/>
                    </a:lnTo>
                    <a:lnTo>
                      <a:pt x="3669472" y="2645031"/>
                    </a:lnTo>
                    <a:lnTo>
                      <a:pt x="3645334" y="2646924"/>
                    </a:lnTo>
                    <a:lnTo>
                      <a:pt x="3624269" y="2637368"/>
                    </a:lnTo>
                    <a:lnTo>
                      <a:pt x="3603833" y="2621119"/>
                    </a:lnTo>
                    <a:lnTo>
                      <a:pt x="3584126" y="2606122"/>
                    </a:lnTo>
                    <a:lnTo>
                      <a:pt x="3563730" y="2592727"/>
                    </a:lnTo>
                    <a:lnTo>
                      <a:pt x="3529720" y="2597958"/>
                    </a:lnTo>
                    <a:lnTo>
                      <a:pt x="3497734" y="2609796"/>
                    </a:lnTo>
                    <a:lnTo>
                      <a:pt x="3473404" y="2602865"/>
                    </a:lnTo>
                    <a:lnTo>
                      <a:pt x="3452190" y="2592517"/>
                    </a:lnTo>
                    <a:lnTo>
                      <a:pt x="3431614" y="2583982"/>
                    </a:lnTo>
                    <a:lnTo>
                      <a:pt x="3399780" y="2595372"/>
                    </a:lnTo>
                    <a:lnTo>
                      <a:pt x="3380095" y="2606868"/>
                    </a:lnTo>
                    <a:lnTo>
                      <a:pt x="3361054" y="2616997"/>
                    </a:lnTo>
                    <a:lnTo>
                      <a:pt x="3342013" y="2627133"/>
                    </a:lnTo>
                    <a:lnTo>
                      <a:pt x="3302571" y="2640126"/>
                    </a:lnTo>
                    <a:lnTo>
                      <a:pt x="3265844" y="2649642"/>
                    </a:lnTo>
                    <a:lnTo>
                      <a:pt x="3238559" y="2663136"/>
                    </a:lnTo>
                    <a:lnTo>
                      <a:pt x="3228628" y="2682201"/>
                    </a:lnTo>
                    <a:lnTo>
                      <a:pt x="3213283" y="2720451"/>
                    </a:lnTo>
                    <a:lnTo>
                      <a:pt x="3192388" y="2754375"/>
                    </a:lnTo>
                    <a:lnTo>
                      <a:pt x="3140243" y="2777556"/>
                    </a:lnTo>
                    <a:lnTo>
                      <a:pt x="3105336" y="2796543"/>
                    </a:lnTo>
                    <a:lnTo>
                      <a:pt x="3070430" y="2815523"/>
                    </a:lnTo>
                    <a:lnTo>
                      <a:pt x="3037052" y="2836297"/>
                    </a:lnTo>
                    <a:lnTo>
                      <a:pt x="3029173" y="2865909"/>
                    </a:lnTo>
                    <a:lnTo>
                      <a:pt x="3030873" y="2890350"/>
                    </a:lnTo>
                    <a:lnTo>
                      <a:pt x="3050440" y="2907186"/>
                    </a:lnTo>
                    <a:lnTo>
                      <a:pt x="3060933" y="2929925"/>
                    </a:lnTo>
                    <a:lnTo>
                      <a:pt x="3066064" y="2960941"/>
                    </a:lnTo>
                    <a:lnTo>
                      <a:pt x="3063922" y="2992379"/>
                    </a:lnTo>
                    <a:lnTo>
                      <a:pt x="3054549" y="3032845"/>
                    </a:lnTo>
                    <a:lnTo>
                      <a:pt x="3045489" y="3072659"/>
                    </a:lnTo>
                    <a:lnTo>
                      <a:pt x="3036420" y="3112479"/>
                    </a:lnTo>
                    <a:lnTo>
                      <a:pt x="3027722" y="3150419"/>
                    </a:lnTo>
                    <a:lnTo>
                      <a:pt x="3014201" y="3170593"/>
                    </a:lnTo>
                    <a:lnTo>
                      <a:pt x="2992121" y="3197718"/>
                    </a:lnTo>
                    <a:lnTo>
                      <a:pt x="2969317" y="3200521"/>
                    </a:lnTo>
                    <a:lnTo>
                      <a:pt x="2946723" y="3202017"/>
                    </a:lnTo>
                    <a:lnTo>
                      <a:pt x="2898521" y="3237142"/>
                    </a:lnTo>
                    <a:lnTo>
                      <a:pt x="2871382" y="3267168"/>
                    </a:lnTo>
                    <a:lnTo>
                      <a:pt x="2844245" y="3297196"/>
                    </a:lnTo>
                    <a:lnTo>
                      <a:pt x="2818374" y="3327624"/>
                    </a:lnTo>
                    <a:lnTo>
                      <a:pt x="2809885" y="3346875"/>
                    </a:lnTo>
                    <a:lnTo>
                      <a:pt x="2817754" y="3376170"/>
                    </a:lnTo>
                    <a:lnTo>
                      <a:pt x="2840695" y="3392122"/>
                    </a:lnTo>
                    <a:lnTo>
                      <a:pt x="2871388" y="3404548"/>
                    </a:lnTo>
                    <a:lnTo>
                      <a:pt x="2902142" y="3415997"/>
                    </a:lnTo>
                    <a:lnTo>
                      <a:pt x="2934556" y="3425190"/>
                    </a:lnTo>
                    <a:lnTo>
                      <a:pt x="2946202" y="3443998"/>
                    </a:lnTo>
                    <a:lnTo>
                      <a:pt x="2950112" y="3473925"/>
                    </a:lnTo>
                    <a:lnTo>
                      <a:pt x="2947724" y="3514722"/>
                    </a:lnTo>
                    <a:lnTo>
                      <a:pt x="2944844" y="3535523"/>
                    </a:lnTo>
                    <a:lnTo>
                      <a:pt x="2944844" y="3580836"/>
                    </a:lnTo>
                    <a:lnTo>
                      <a:pt x="2944512" y="3607196"/>
                    </a:lnTo>
                    <a:lnTo>
                      <a:pt x="2939731" y="3648051"/>
                    </a:lnTo>
                    <a:lnTo>
                      <a:pt x="2925803" y="3673869"/>
                    </a:lnTo>
                    <a:lnTo>
                      <a:pt x="2903665" y="3690152"/>
                    </a:lnTo>
                    <a:lnTo>
                      <a:pt x="2863615" y="3698390"/>
                    </a:lnTo>
                    <a:lnTo>
                      <a:pt x="2837288" y="3700223"/>
                    </a:lnTo>
                    <a:lnTo>
                      <a:pt x="2802025" y="3701074"/>
                    </a:lnTo>
                    <a:lnTo>
                      <a:pt x="2768107" y="3701892"/>
                    </a:lnTo>
                    <a:lnTo>
                      <a:pt x="2734196" y="3704061"/>
                    </a:lnTo>
                    <a:lnTo>
                      <a:pt x="2700006" y="3706515"/>
                    </a:lnTo>
                    <a:lnTo>
                      <a:pt x="2665825" y="3708968"/>
                    </a:lnTo>
                    <a:lnTo>
                      <a:pt x="2631756" y="3712543"/>
                    </a:lnTo>
                    <a:lnTo>
                      <a:pt x="2597997" y="3716037"/>
                    </a:lnTo>
                    <a:lnTo>
                      <a:pt x="2575778" y="3681923"/>
                    </a:lnTo>
                    <a:lnTo>
                      <a:pt x="2565354" y="3661630"/>
                    </a:lnTo>
                    <a:lnTo>
                      <a:pt x="2554926" y="3641330"/>
                    </a:lnTo>
                    <a:lnTo>
                      <a:pt x="2543749" y="3623458"/>
                    </a:lnTo>
                    <a:lnTo>
                      <a:pt x="2503227" y="3617470"/>
                    </a:lnTo>
                    <a:lnTo>
                      <a:pt x="2456926" y="3611971"/>
                    </a:lnTo>
                    <a:lnTo>
                      <a:pt x="2413010" y="3612662"/>
                    </a:lnTo>
                    <a:lnTo>
                      <a:pt x="2391048" y="3612992"/>
                    </a:lnTo>
                    <a:lnTo>
                      <a:pt x="2369992" y="3615050"/>
                    </a:lnTo>
                    <a:lnTo>
                      <a:pt x="2333607" y="3623874"/>
                    </a:lnTo>
                    <a:lnTo>
                      <a:pt x="2310994" y="3641225"/>
                    </a:lnTo>
                    <a:lnTo>
                      <a:pt x="2301116" y="3665653"/>
                    </a:lnTo>
                    <a:lnTo>
                      <a:pt x="2297851" y="3691155"/>
                    </a:lnTo>
                    <a:lnTo>
                      <a:pt x="2296031" y="3717397"/>
                    </a:lnTo>
                    <a:lnTo>
                      <a:pt x="2294211" y="3743637"/>
                    </a:lnTo>
                    <a:lnTo>
                      <a:pt x="2293116" y="3770941"/>
                    </a:lnTo>
                    <a:lnTo>
                      <a:pt x="2287873" y="3796285"/>
                    </a:lnTo>
                    <a:lnTo>
                      <a:pt x="2281027" y="3819623"/>
                    </a:lnTo>
                    <a:lnTo>
                      <a:pt x="2267515" y="3846400"/>
                    </a:lnTo>
                    <a:lnTo>
                      <a:pt x="2251143" y="3864298"/>
                    </a:lnTo>
                    <a:lnTo>
                      <a:pt x="2231135" y="3878675"/>
                    </a:lnTo>
                    <a:lnTo>
                      <a:pt x="2191969" y="3890236"/>
                    </a:lnTo>
                    <a:lnTo>
                      <a:pt x="2151853" y="3899660"/>
                    </a:lnTo>
                    <a:lnTo>
                      <a:pt x="2111735" y="3909090"/>
                    </a:lnTo>
                    <a:lnTo>
                      <a:pt x="2070082" y="3916385"/>
                    </a:lnTo>
                    <a:lnTo>
                      <a:pt x="2047113" y="3924147"/>
                    </a:lnTo>
                    <a:lnTo>
                      <a:pt x="2021154" y="3933545"/>
                    </a:lnTo>
                    <a:lnTo>
                      <a:pt x="1994189" y="3944670"/>
                    </a:lnTo>
                    <a:lnTo>
                      <a:pt x="1966866" y="3956791"/>
                    </a:lnTo>
                    <a:lnTo>
                      <a:pt x="1929836" y="3974783"/>
                    </a:lnTo>
                    <a:lnTo>
                      <a:pt x="1904293" y="3989436"/>
                    </a:lnTo>
                    <a:lnTo>
                      <a:pt x="1878757" y="4004089"/>
                    </a:lnTo>
                    <a:lnTo>
                      <a:pt x="1854495" y="4018836"/>
                    </a:lnTo>
                    <a:lnTo>
                      <a:pt x="1832816" y="4036478"/>
                    </a:lnTo>
                    <a:lnTo>
                      <a:pt x="1817359" y="4074668"/>
                    </a:lnTo>
                    <a:lnTo>
                      <a:pt x="1794117" y="4103693"/>
                    </a:lnTo>
                    <a:lnTo>
                      <a:pt x="1768305" y="4130705"/>
                    </a:lnTo>
                    <a:lnTo>
                      <a:pt x="1735594" y="4141969"/>
                    </a:lnTo>
                    <a:lnTo>
                      <a:pt x="1694824" y="4128173"/>
                    </a:lnTo>
                    <a:lnTo>
                      <a:pt x="1669619" y="4102460"/>
                    </a:lnTo>
                    <a:lnTo>
                      <a:pt x="1659456" y="4083288"/>
                    </a:lnTo>
                    <a:lnTo>
                      <a:pt x="1649301" y="4064117"/>
                    </a:lnTo>
                    <a:lnTo>
                      <a:pt x="1639289" y="4043533"/>
                    </a:lnTo>
                    <a:lnTo>
                      <a:pt x="1592808" y="4027528"/>
                    </a:lnTo>
                    <a:lnTo>
                      <a:pt x="1560165" y="4023452"/>
                    </a:lnTo>
                    <a:lnTo>
                      <a:pt x="1531621" y="4030753"/>
                    </a:lnTo>
                    <a:lnTo>
                      <a:pt x="1500011" y="4059605"/>
                    </a:lnTo>
                    <a:lnTo>
                      <a:pt x="1473110" y="4087383"/>
                    </a:lnTo>
                    <a:lnTo>
                      <a:pt x="1446210" y="4115154"/>
                    </a:lnTo>
                    <a:lnTo>
                      <a:pt x="1423116" y="4141811"/>
                    </a:lnTo>
                    <a:lnTo>
                      <a:pt x="1391624" y="4173315"/>
                    </a:lnTo>
                    <a:lnTo>
                      <a:pt x="1371095" y="4196192"/>
                    </a:lnTo>
                    <a:lnTo>
                      <a:pt x="1350566" y="4219084"/>
                    </a:lnTo>
                    <a:lnTo>
                      <a:pt x="1328874" y="4241421"/>
                    </a:lnTo>
                    <a:lnTo>
                      <a:pt x="1254122" y="4243802"/>
                    </a:lnTo>
                    <a:lnTo>
                      <a:pt x="1187466" y="4239726"/>
                    </a:lnTo>
                    <a:lnTo>
                      <a:pt x="1180958" y="4261165"/>
                    </a:lnTo>
                    <a:lnTo>
                      <a:pt x="1172251" y="4280693"/>
                    </a:lnTo>
                    <a:lnTo>
                      <a:pt x="1158903" y="4298216"/>
                    </a:lnTo>
                    <a:lnTo>
                      <a:pt x="1143676" y="4318205"/>
                    </a:lnTo>
                    <a:lnTo>
                      <a:pt x="1124939" y="4337343"/>
                    </a:lnTo>
                    <a:lnTo>
                      <a:pt x="1108578" y="4355341"/>
                    </a:lnTo>
                    <a:lnTo>
                      <a:pt x="1092876" y="4372620"/>
                    </a:lnTo>
                    <a:lnTo>
                      <a:pt x="1059374" y="4377315"/>
                    </a:lnTo>
                    <a:lnTo>
                      <a:pt x="1022884" y="4379821"/>
                    </a:lnTo>
                    <a:lnTo>
                      <a:pt x="986402" y="4382327"/>
                    </a:lnTo>
                    <a:lnTo>
                      <a:pt x="947834" y="4382183"/>
                    </a:lnTo>
                    <a:lnTo>
                      <a:pt x="923590" y="4389345"/>
                    </a:lnTo>
                    <a:lnTo>
                      <a:pt x="899083" y="4417920"/>
                    </a:lnTo>
                    <a:lnTo>
                      <a:pt x="896578" y="4449154"/>
                    </a:lnTo>
                    <a:lnTo>
                      <a:pt x="893431" y="4481904"/>
                    </a:lnTo>
                    <a:lnTo>
                      <a:pt x="886852" y="4513137"/>
                    </a:lnTo>
                    <a:lnTo>
                      <a:pt x="858131" y="4555674"/>
                    </a:lnTo>
                    <a:lnTo>
                      <a:pt x="829726" y="4585226"/>
                    </a:lnTo>
                    <a:lnTo>
                      <a:pt x="801316" y="4614778"/>
                    </a:lnTo>
                    <a:lnTo>
                      <a:pt x="770741" y="4643756"/>
                    </a:lnTo>
                    <a:lnTo>
                      <a:pt x="748410" y="4659860"/>
                    </a:lnTo>
                    <a:lnTo>
                      <a:pt x="726582" y="4663151"/>
                    </a:lnTo>
                    <a:lnTo>
                      <a:pt x="701542" y="4642391"/>
                    </a:lnTo>
                    <a:lnTo>
                      <a:pt x="688588" y="4606950"/>
                    </a:lnTo>
                    <a:lnTo>
                      <a:pt x="684929" y="4585443"/>
                    </a:lnTo>
                    <a:lnTo>
                      <a:pt x="680101" y="4563463"/>
                    </a:lnTo>
                    <a:lnTo>
                      <a:pt x="675274" y="4541475"/>
                    </a:lnTo>
                    <a:lnTo>
                      <a:pt x="669913" y="4519897"/>
                    </a:lnTo>
                    <a:lnTo>
                      <a:pt x="654922" y="4481883"/>
                    </a:lnTo>
                    <a:lnTo>
                      <a:pt x="629776" y="4457364"/>
                    </a:lnTo>
                    <a:lnTo>
                      <a:pt x="624716" y="4435475"/>
                    </a:lnTo>
                    <a:lnTo>
                      <a:pt x="631720" y="4413619"/>
                    </a:lnTo>
                    <a:lnTo>
                      <a:pt x="637933" y="4392075"/>
                    </a:lnTo>
                    <a:lnTo>
                      <a:pt x="644153" y="4370529"/>
                    </a:lnTo>
                    <a:lnTo>
                      <a:pt x="649942" y="4348568"/>
                    </a:lnTo>
                    <a:lnTo>
                      <a:pt x="644733" y="4328144"/>
                    </a:lnTo>
                    <a:lnTo>
                      <a:pt x="616294" y="4306744"/>
                    </a:lnTo>
                    <a:lnTo>
                      <a:pt x="575243" y="4314182"/>
                    </a:lnTo>
                    <a:lnTo>
                      <a:pt x="552140" y="4326811"/>
                    </a:lnTo>
                    <a:lnTo>
                      <a:pt x="529115" y="4341749"/>
                    </a:lnTo>
                    <a:lnTo>
                      <a:pt x="483078" y="4371611"/>
                    </a:lnTo>
                    <a:lnTo>
                      <a:pt x="439446" y="4412922"/>
                    </a:lnTo>
                    <a:lnTo>
                      <a:pt x="417175" y="4441570"/>
                    </a:lnTo>
                    <a:lnTo>
                      <a:pt x="405250" y="4463049"/>
                    </a:lnTo>
                    <a:lnTo>
                      <a:pt x="394457" y="4481845"/>
                    </a:lnTo>
                    <a:lnTo>
                      <a:pt x="383667" y="4500647"/>
                    </a:lnTo>
                    <a:lnTo>
                      <a:pt x="369975" y="4522653"/>
                    </a:lnTo>
                    <a:lnTo>
                      <a:pt x="351768" y="4546396"/>
                    </a:lnTo>
                    <a:lnTo>
                      <a:pt x="333775" y="4569642"/>
                    </a:lnTo>
                    <a:lnTo>
                      <a:pt x="315569" y="4592026"/>
                    </a:lnTo>
                    <a:lnTo>
                      <a:pt x="289958" y="4621010"/>
                    </a:lnTo>
                    <a:lnTo>
                      <a:pt x="255653" y="4647238"/>
                    </a:lnTo>
                    <a:lnTo>
                      <a:pt x="224433" y="4674996"/>
                    </a:lnTo>
                    <a:lnTo>
                      <a:pt x="193219" y="4702760"/>
                    </a:lnTo>
                    <a:lnTo>
                      <a:pt x="163826" y="4730954"/>
                    </a:lnTo>
                    <a:lnTo>
                      <a:pt x="146903" y="4766131"/>
                    </a:lnTo>
                    <a:lnTo>
                      <a:pt x="142736" y="4815804"/>
                    </a:lnTo>
                    <a:lnTo>
                      <a:pt x="144187" y="4853183"/>
                    </a:lnTo>
                    <a:lnTo>
                      <a:pt x="145638" y="4890564"/>
                    </a:lnTo>
                    <a:lnTo>
                      <a:pt x="145768" y="4930924"/>
                    </a:lnTo>
                    <a:lnTo>
                      <a:pt x="137387" y="4959276"/>
                    </a:lnTo>
                    <a:lnTo>
                      <a:pt x="120405" y="5016724"/>
                    </a:lnTo>
                    <a:lnTo>
                      <a:pt x="97783" y="5054769"/>
                    </a:lnTo>
                    <a:lnTo>
                      <a:pt x="73456" y="5089856"/>
                    </a:lnTo>
                    <a:lnTo>
                      <a:pt x="49126" y="5124940"/>
                    </a:lnTo>
                    <a:lnTo>
                      <a:pt x="23946" y="5156675"/>
                    </a:lnTo>
                    <a:lnTo>
                      <a:pt x="0" y="5202753"/>
                    </a:lnTo>
                    <a:lnTo>
                      <a:pt x="10381" y="5232055"/>
                    </a:lnTo>
                    <a:lnTo>
                      <a:pt x="35871" y="5249616"/>
                    </a:lnTo>
                    <a:lnTo>
                      <a:pt x="70731" y="5259884"/>
                    </a:lnTo>
                    <a:lnTo>
                      <a:pt x="106726" y="5269025"/>
                    </a:lnTo>
                    <a:lnTo>
                      <a:pt x="146599" y="5273781"/>
                    </a:lnTo>
                    <a:lnTo>
                      <a:pt x="168666" y="5288447"/>
                    </a:lnTo>
                    <a:lnTo>
                      <a:pt x="175506" y="5311186"/>
                    </a:lnTo>
                    <a:lnTo>
                      <a:pt x="166759" y="5339789"/>
                    </a:lnTo>
                    <a:lnTo>
                      <a:pt x="160474" y="5360087"/>
                    </a:lnTo>
                    <a:lnTo>
                      <a:pt x="172997" y="5380176"/>
                    </a:lnTo>
                    <a:lnTo>
                      <a:pt x="179546" y="5402703"/>
                    </a:lnTo>
                    <a:lnTo>
                      <a:pt x="175137" y="5436154"/>
                    </a:lnTo>
                    <a:lnTo>
                      <a:pt x="149619" y="5467994"/>
                    </a:lnTo>
                    <a:lnTo>
                      <a:pt x="126200" y="5499597"/>
                    </a:lnTo>
                    <a:lnTo>
                      <a:pt x="129254" y="5524572"/>
                    </a:lnTo>
                    <a:lnTo>
                      <a:pt x="135499" y="5551049"/>
                    </a:lnTo>
                    <a:lnTo>
                      <a:pt x="161221" y="5554531"/>
                    </a:lnTo>
                    <a:lnTo>
                      <a:pt x="186339" y="5561845"/>
                    </a:lnTo>
                    <a:lnTo>
                      <a:pt x="209885" y="5554657"/>
                    </a:lnTo>
                    <a:lnTo>
                      <a:pt x="231912" y="5540650"/>
                    </a:lnTo>
                    <a:lnTo>
                      <a:pt x="255771" y="5525573"/>
                    </a:lnTo>
                    <a:lnTo>
                      <a:pt x="280107" y="5513504"/>
                    </a:lnTo>
                    <a:lnTo>
                      <a:pt x="317274" y="5510656"/>
                    </a:lnTo>
                    <a:lnTo>
                      <a:pt x="337806" y="5520192"/>
                    </a:lnTo>
                    <a:lnTo>
                      <a:pt x="356369" y="5536007"/>
                    </a:lnTo>
                    <a:lnTo>
                      <a:pt x="374929" y="5551815"/>
                    </a:lnTo>
                    <a:lnTo>
                      <a:pt x="391344" y="5574099"/>
                    </a:lnTo>
                    <a:lnTo>
                      <a:pt x="408053" y="5595856"/>
                    </a:lnTo>
                    <a:lnTo>
                      <a:pt x="424765" y="5617605"/>
                    </a:lnTo>
                    <a:lnTo>
                      <a:pt x="441828" y="5638735"/>
                    </a:lnTo>
                    <a:lnTo>
                      <a:pt x="458378" y="5655705"/>
                    </a:lnTo>
                    <a:lnTo>
                      <a:pt x="474939" y="5672673"/>
                    </a:lnTo>
                    <a:lnTo>
                      <a:pt x="491967" y="5685532"/>
                    </a:lnTo>
                    <a:lnTo>
                      <a:pt x="528154" y="5673570"/>
                    </a:lnTo>
                    <a:lnTo>
                      <a:pt x="542637" y="5653514"/>
                    </a:lnTo>
                    <a:lnTo>
                      <a:pt x="556314" y="5631218"/>
                    </a:lnTo>
                    <a:lnTo>
                      <a:pt x="569993" y="5608926"/>
                    </a:lnTo>
                    <a:lnTo>
                      <a:pt x="582715" y="5583570"/>
                    </a:lnTo>
                    <a:lnTo>
                      <a:pt x="594401" y="5559128"/>
                    </a:lnTo>
                    <a:lnTo>
                      <a:pt x="606093" y="5534687"/>
                    </a:lnTo>
                    <a:lnTo>
                      <a:pt x="617646" y="5510973"/>
                    </a:lnTo>
                    <a:lnTo>
                      <a:pt x="629770" y="5491115"/>
                    </a:lnTo>
                    <a:lnTo>
                      <a:pt x="641890" y="5471265"/>
                    </a:lnTo>
                    <a:lnTo>
                      <a:pt x="669212" y="5447589"/>
                    </a:lnTo>
                    <a:lnTo>
                      <a:pt x="691933" y="5442076"/>
                    </a:lnTo>
                    <a:lnTo>
                      <a:pt x="715938" y="5458859"/>
                    </a:lnTo>
                    <a:lnTo>
                      <a:pt x="728585" y="5477134"/>
                    </a:lnTo>
                    <a:lnTo>
                      <a:pt x="738585" y="5497921"/>
                    </a:lnTo>
                    <a:lnTo>
                      <a:pt x="749406" y="5515952"/>
                    </a:lnTo>
                    <a:lnTo>
                      <a:pt x="767417" y="5530097"/>
                    </a:lnTo>
                    <a:lnTo>
                      <a:pt x="791633" y="5527849"/>
                    </a:lnTo>
                    <a:lnTo>
                      <a:pt x="815064" y="5517448"/>
                    </a:lnTo>
                    <a:lnTo>
                      <a:pt x="838926" y="5500156"/>
                    </a:lnTo>
                    <a:lnTo>
                      <a:pt x="863721" y="5481599"/>
                    </a:lnTo>
                    <a:lnTo>
                      <a:pt x="889428" y="5466806"/>
                    </a:lnTo>
                    <a:lnTo>
                      <a:pt x="905508" y="5482325"/>
                    </a:lnTo>
                    <a:lnTo>
                      <a:pt x="917814" y="5507319"/>
                    </a:lnTo>
                    <a:lnTo>
                      <a:pt x="948302" y="5529122"/>
                    </a:lnTo>
                    <a:lnTo>
                      <a:pt x="958940" y="5570011"/>
                    </a:lnTo>
                    <a:lnTo>
                      <a:pt x="961352" y="5591740"/>
                    </a:lnTo>
                    <a:lnTo>
                      <a:pt x="957929" y="5616366"/>
                    </a:lnTo>
                    <a:lnTo>
                      <a:pt x="957582" y="5646181"/>
                    </a:lnTo>
                    <a:lnTo>
                      <a:pt x="977801" y="5676347"/>
                    </a:lnTo>
                    <a:lnTo>
                      <a:pt x="1002649" y="5697628"/>
                    </a:lnTo>
                    <a:lnTo>
                      <a:pt x="1026952" y="5720994"/>
                    </a:lnTo>
                    <a:lnTo>
                      <a:pt x="1044358" y="5756429"/>
                    </a:lnTo>
                    <a:lnTo>
                      <a:pt x="1050076" y="5776761"/>
                    </a:lnTo>
                    <a:lnTo>
                      <a:pt x="1055793" y="5797099"/>
                    </a:lnTo>
                    <a:lnTo>
                      <a:pt x="1062004" y="5818078"/>
                    </a:lnTo>
                    <a:lnTo>
                      <a:pt x="1095592" y="5852826"/>
                    </a:lnTo>
                    <a:lnTo>
                      <a:pt x="1131897" y="5868199"/>
                    </a:lnTo>
                    <a:lnTo>
                      <a:pt x="1169771" y="5881494"/>
                    </a:lnTo>
                    <a:lnTo>
                      <a:pt x="1207641" y="5894796"/>
                    </a:lnTo>
                    <a:lnTo>
                      <a:pt x="1246333" y="5905855"/>
                    </a:lnTo>
                    <a:lnTo>
                      <a:pt x="1274505" y="5916863"/>
                    </a:lnTo>
                    <a:lnTo>
                      <a:pt x="1314252" y="5916401"/>
                    </a:lnTo>
                    <a:lnTo>
                      <a:pt x="1337072" y="5907339"/>
                    </a:lnTo>
                    <a:lnTo>
                      <a:pt x="1359896" y="5898304"/>
                    </a:lnTo>
                    <a:lnTo>
                      <a:pt x="1383987" y="5887957"/>
                    </a:lnTo>
                    <a:lnTo>
                      <a:pt x="1436840" y="5896121"/>
                    </a:lnTo>
                    <a:lnTo>
                      <a:pt x="1473033" y="5908448"/>
                    </a:lnTo>
                    <a:lnTo>
                      <a:pt x="1505735" y="5916863"/>
                    </a:lnTo>
                    <a:lnTo>
                      <a:pt x="1587032" y="5881454"/>
                    </a:lnTo>
                    <a:lnTo>
                      <a:pt x="1673597" y="5881415"/>
                    </a:lnTo>
                    <a:lnTo>
                      <a:pt x="1742672" y="5918393"/>
                    </a:lnTo>
                    <a:lnTo>
                      <a:pt x="1814503" y="5929102"/>
                    </a:lnTo>
                    <a:lnTo>
                      <a:pt x="1842418" y="5933271"/>
                    </a:lnTo>
                    <a:lnTo>
                      <a:pt x="1871635" y="5914139"/>
                    </a:lnTo>
                    <a:lnTo>
                      <a:pt x="1904281" y="5910063"/>
                    </a:lnTo>
                    <a:lnTo>
                      <a:pt x="1935805" y="5916737"/>
                    </a:lnTo>
                    <a:lnTo>
                      <a:pt x="1960045" y="5927750"/>
                    </a:lnTo>
                    <a:lnTo>
                      <a:pt x="1987770" y="5931331"/>
                    </a:lnTo>
                    <a:lnTo>
                      <a:pt x="2022612" y="5930468"/>
                    </a:lnTo>
                    <a:lnTo>
                      <a:pt x="2048365" y="5925113"/>
                    </a:lnTo>
                    <a:lnTo>
                      <a:pt x="2073123" y="5904451"/>
                    </a:lnTo>
                    <a:lnTo>
                      <a:pt x="2080890" y="5878843"/>
                    </a:lnTo>
                    <a:lnTo>
                      <a:pt x="2101506" y="5839332"/>
                    </a:lnTo>
                    <a:lnTo>
                      <a:pt x="2115639" y="5812235"/>
                    </a:lnTo>
                    <a:lnTo>
                      <a:pt x="2141386" y="5780677"/>
                    </a:lnTo>
                    <a:lnTo>
                      <a:pt x="2172237" y="5757720"/>
                    </a:lnTo>
                    <a:lnTo>
                      <a:pt x="2205363" y="5736762"/>
                    </a:lnTo>
                    <a:lnTo>
                      <a:pt x="2239761" y="5726995"/>
                    </a:lnTo>
                    <a:lnTo>
                      <a:pt x="2274252" y="5731875"/>
                    </a:lnTo>
                    <a:lnTo>
                      <a:pt x="2291085" y="5745013"/>
                    </a:lnTo>
                    <a:lnTo>
                      <a:pt x="2306852" y="5769704"/>
                    </a:lnTo>
                    <a:lnTo>
                      <a:pt x="2361748" y="5782162"/>
                    </a:lnTo>
                    <a:lnTo>
                      <a:pt x="2382218" y="5755551"/>
                    </a:lnTo>
                    <a:lnTo>
                      <a:pt x="2417071" y="5757720"/>
                    </a:lnTo>
                    <a:lnTo>
                      <a:pt x="2466997" y="5760827"/>
                    </a:lnTo>
                    <a:lnTo>
                      <a:pt x="2516795" y="5772513"/>
                    </a:lnTo>
                    <a:lnTo>
                      <a:pt x="2566690" y="5775401"/>
                    </a:lnTo>
                    <a:lnTo>
                      <a:pt x="2601209" y="5777353"/>
                    </a:lnTo>
                    <a:lnTo>
                      <a:pt x="2624693" y="5769954"/>
                    </a:lnTo>
                    <a:lnTo>
                      <a:pt x="2663267" y="5775401"/>
                    </a:lnTo>
                    <a:lnTo>
                      <a:pt x="2691830" y="5784925"/>
                    </a:lnTo>
                    <a:lnTo>
                      <a:pt x="2736193" y="5761863"/>
                    </a:lnTo>
                    <a:lnTo>
                      <a:pt x="2781632" y="5781634"/>
                    </a:lnTo>
                    <a:lnTo>
                      <a:pt x="2865072" y="5816666"/>
                    </a:lnTo>
                    <a:lnTo>
                      <a:pt x="2944831" y="5842056"/>
                    </a:lnTo>
                    <a:lnTo>
                      <a:pt x="2984708" y="5854745"/>
                    </a:lnTo>
                    <a:lnTo>
                      <a:pt x="3023416" y="5864525"/>
                    </a:lnTo>
                    <a:lnTo>
                      <a:pt x="3055004" y="5867895"/>
                    </a:lnTo>
                    <a:lnTo>
                      <a:pt x="3086599" y="5871271"/>
                    </a:lnTo>
                    <a:lnTo>
                      <a:pt x="3110818" y="5868489"/>
                    </a:lnTo>
                    <a:lnTo>
                      <a:pt x="3135679" y="5831215"/>
                    </a:lnTo>
                    <a:lnTo>
                      <a:pt x="3132770" y="5805032"/>
                    </a:lnTo>
                    <a:lnTo>
                      <a:pt x="3143421" y="5782207"/>
                    </a:lnTo>
                    <a:lnTo>
                      <a:pt x="3153491" y="5760610"/>
                    </a:lnTo>
                    <a:lnTo>
                      <a:pt x="3179912" y="5743272"/>
                    </a:lnTo>
                    <a:lnTo>
                      <a:pt x="3180144" y="5716912"/>
                    </a:lnTo>
                    <a:lnTo>
                      <a:pt x="3191756" y="5698023"/>
                    </a:lnTo>
                    <a:lnTo>
                      <a:pt x="3218306" y="5690076"/>
                    </a:lnTo>
                    <a:lnTo>
                      <a:pt x="3246791" y="5686990"/>
                    </a:lnTo>
                    <a:lnTo>
                      <a:pt x="3275279" y="5683897"/>
                    </a:lnTo>
                    <a:lnTo>
                      <a:pt x="3305836" y="5686529"/>
                    </a:lnTo>
                    <a:lnTo>
                      <a:pt x="3344612" y="5684663"/>
                    </a:lnTo>
                    <a:lnTo>
                      <a:pt x="3362412" y="5667951"/>
                    </a:lnTo>
                    <a:lnTo>
                      <a:pt x="3392091" y="5655559"/>
                    </a:lnTo>
                    <a:lnTo>
                      <a:pt x="3433143" y="5661151"/>
                    </a:lnTo>
                    <a:lnTo>
                      <a:pt x="3460387" y="5673220"/>
                    </a:lnTo>
                    <a:lnTo>
                      <a:pt x="3484789" y="5689879"/>
                    </a:lnTo>
                    <a:lnTo>
                      <a:pt x="3521553" y="5697873"/>
                    </a:lnTo>
                    <a:lnTo>
                      <a:pt x="3550394" y="5697885"/>
                    </a:lnTo>
                    <a:lnTo>
                      <a:pt x="3573240" y="5696513"/>
                    </a:lnTo>
                    <a:lnTo>
                      <a:pt x="3596091" y="5695141"/>
                    </a:lnTo>
                    <a:lnTo>
                      <a:pt x="3617959" y="5693025"/>
                    </a:lnTo>
                    <a:lnTo>
                      <a:pt x="3645880" y="5685824"/>
                    </a:lnTo>
                    <a:lnTo>
                      <a:pt x="3669268" y="5677290"/>
                    </a:lnTo>
                    <a:lnTo>
                      <a:pt x="3692935" y="5674756"/>
                    </a:lnTo>
                    <a:lnTo>
                      <a:pt x="3720139" y="5696519"/>
                    </a:lnTo>
                    <a:lnTo>
                      <a:pt x="3724526" y="5728103"/>
                    </a:lnTo>
                    <a:lnTo>
                      <a:pt x="3726635" y="5760148"/>
                    </a:lnTo>
                    <a:lnTo>
                      <a:pt x="3740544" y="5787655"/>
                    </a:lnTo>
                    <a:lnTo>
                      <a:pt x="3763811" y="5796769"/>
                    </a:lnTo>
                    <a:lnTo>
                      <a:pt x="3790733" y="5800310"/>
                    </a:lnTo>
                    <a:lnTo>
                      <a:pt x="3815358" y="5791731"/>
                    </a:lnTo>
                    <a:lnTo>
                      <a:pt x="3822148" y="5764850"/>
                    </a:lnTo>
                    <a:lnTo>
                      <a:pt x="3829503" y="5729652"/>
                    </a:lnTo>
                    <a:lnTo>
                      <a:pt x="3843921" y="5699237"/>
                    </a:lnTo>
                    <a:lnTo>
                      <a:pt x="3860162" y="5669600"/>
                    </a:lnTo>
                    <a:lnTo>
                      <a:pt x="3882086" y="5647270"/>
                    </a:lnTo>
                    <a:lnTo>
                      <a:pt x="3911932" y="5635312"/>
                    </a:lnTo>
                    <a:lnTo>
                      <a:pt x="3945812" y="5642890"/>
                    </a:lnTo>
                    <a:lnTo>
                      <a:pt x="3963616" y="5654353"/>
                    </a:lnTo>
                    <a:lnTo>
                      <a:pt x="3981422" y="5665820"/>
                    </a:lnTo>
                    <a:lnTo>
                      <a:pt x="3996262" y="5695161"/>
                    </a:lnTo>
                    <a:lnTo>
                      <a:pt x="3997620" y="5735963"/>
                    </a:lnTo>
                    <a:lnTo>
                      <a:pt x="4000339" y="5776773"/>
                    </a:lnTo>
                    <a:lnTo>
                      <a:pt x="4016199" y="5796743"/>
                    </a:lnTo>
                    <a:lnTo>
                      <a:pt x="4041608" y="5805765"/>
                    </a:lnTo>
                    <a:lnTo>
                      <a:pt x="4072428" y="5805330"/>
                    </a:lnTo>
                    <a:lnTo>
                      <a:pt x="4103080" y="5802910"/>
                    </a:lnTo>
                    <a:lnTo>
                      <a:pt x="4134340" y="5791196"/>
                    </a:lnTo>
                    <a:lnTo>
                      <a:pt x="4149964" y="5776767"/>
                    </a:lnTo>
                    <a:lnTo>
                      <a:pt x="4163039" y="5754147"/>
                    </a:lnTo>
                    <a:lnTo>
                      <a:pt x="4172248" y="5720493"/>
                    </a:lnTo>
                    <a:lnTo>
                      <a:pt x="4175807" y="5695155"/>
                    </a:lnTo>
                    <a:lnTo>
                      <a:pt x="4188681" y="5676710"/>
                    </a:lnTo>
                    <a:lnTo>
                      <a:pt x="4214283" y="5673174"/>
                    </a:lnTo>
                    <a:lnTo>
                      <a:pt x="4241090" y="5674750"/>
                    </a:lnTo>
                    <a:lnTo>
                      <a:pt x="4267907" y="5676327"/>
                    </a:lnTo>
                    <a:lnTo>
                      <a:pt x="4296079" y="5683700"/>
                    </a:lnTo>
                    <a:lnTo>
                      <a:pt x="4327643" y="5687267"/>
                    </a:lnTo>
                    <a:lnTo>
                      <a:pt x="4348547" y="5666593"/>
                    </a:lnTo>
                    <a:lnTo>
                      <a:pt x="4363920" y="5636289"/>
                    </a:lnTo>
                    <a:lnTo>
                      <a:pt x="4379010" y="5580299"/>
                    </a:lnTo>
                    <a:lnTo>
                      <a:pt x="4381996" y="5539600"/>
                    </a:lnTo>
                    <a:lnTo>
                      <a:pt x="4386424" y="5509317"/>
                    </a:lnTo>
                    <a:lnTo>
                      <a:pt x="4398960" y="5487428"/>
                    </a:lnTo>
                    <a:lnTo>
                      <a:pt x="4452029" y="5478671"/>
                    </a:lnTo>
                    <a:lnTo>
                      <a:pt x="4539912" y="5454909"/>
                    </a:lnTo>
                    <a:lnTo>
                      <a:pt x="4577891" y="5450570"/>
                    </a:lnTo>
                    <a:lnTo>
                      <a:pt x="4636278" y="5438758"/>
                    </a:lnTo>
                    <a:lnTo>
                      <a:pt x="4654591" y="5450313"/>
                    </a:lnTo>
                    <a:lnTo>
                      <a:pt x="4655304" y="5483314"/>
                    </a:lnTo>
                    <a:lnTo>
                      <a:pt x="4677721" y="5508802"/>
                    </a:lnTo>
                    <a:lnTo>
                      <a:pt x="4711142" y="5514586"/>
                    </a:lnTo>
                    <a:lnTo>
                      <a:pt x="4733485" y="5508802"/>
                    </a:lnTo>
                    <a:lnTo>
                      <a:pt x="4755831" y="5503020"/>
                    </a:lnTo>
                    <a:lnTo>
                      <a:pt x="4780983" y="5493456"/>
                    </a:lnTo>
                    <a:lnTo>
                      <a:pt x="4806935" y="5485681"/>
                    </a:lnTo>
                    <a:lnTo>
                      <a:pt x="4832893" y="5477906"/>
                    </a:lnTo>
                    <a:lnTo>
                      <a:pt x="4859713" y="5471601"/>
                    </a:lnTo>
                    <a:lnTo>
                      <a:pt x="4884471" y="5473442"/>
                    </a:lnTo>
                    <a:lnTo>
                      <a:pt x="4907645" y="5475162"/>
                    </a:lnTo>
                    <a:lnTo>
                      <a:pt x="4918472" y="5499286"/>
                    </a:lnTo>
                    <a:lnTo>
                      <a:pt x="4953841" y="5511526"/>
                    </a:lnTo>
                    <a:lnTo>
                      <a:pt x="5002557" y="5514296"/>
                    </a:lnTo>
                    <a:lnTo>
                      <a:pt x="5044970" y="5510168"/>
                    </a:lnTo>
                    <a:lnTo>
                      <a:pt x="5066733" y="5521049"/>
                    </a:lnTo>
                    <a:lnTo>
                      <a:pt x="5078974" y="5542812"/>
                    </a:lnTo>
                    <a:lnTo>
                      <a:pt x="5082344" y="5607793"/>
                    </a:lnTo>
                    <a:lnTo>
                      <a:pt x="5085780" y="5654345"/>
                    </a:lnTo>
                    <a:lnTo>
                      <a:pt x="5089209" y="5700899"/>
                    </a:lnTo>
                    <a:lnTo>
                      <a:pt x="5094675" y="5745764"/>
                    </a:lnTo>
                    <a:lnTo>
                      <a:pt x="5122196" y="5767132"/>
                    </a:lnTo>
                    <a:lnTo>
                      <a:pt x="5155276" y="5764738"/>
                    </a:lnTo>
                    <a:lnTo>
                      <a:pt x="5183715" y="5767244"/>
                    </a:lnTo>
                    <a:lnTo>
                      <a:pt x="5211167" y="5770950"/>
                    </a:lnTo>
                    <a:lnTo>
                      <a:pt x="5229700" y="5782578"/>
                    </a:lnTo>
                    <a:lnTo>
                      <a:pt x="5234040" y="5808046"/>
                    </a:lnTo>
                    <a:lnTo>
                      <a:pt x="5228599" y="5915504"/>
                    </a:lnTo>
                    <a:lnTo>
                      <a:pt x="5240291" y="5938626"/>
                    </a:lnTo>
                    <a:lnTo>
                      <a:pt x="5256727" y="5962038"/>
                    </a:lnTo>
                    <a:lnTo>
                      <a:pt x="5289804" y="5984875"/>
                    </a:lnTo>
                    <a:lnTo>
                      <a:pt x="5327185" y="5998910"/>
                    </a:lnTo>
                    <a:lnTo>
                      <a:pt x="5386434" y="6005775"/>
                    </a:lnTo>
                    <a:lnTo>
                      <a:pt x="5428674" y="6001132"/>
                    </a:lnTo>
                    <a:lnTo>
                      <a:pt x="5470711" y="6006638"/>
                    </a:lnTo>
                    <a:lnTo>
                      <a:pt x="5521939" y="6018748"/>
                    </a:lnTo>
                    <a:lnTo>
                      <a:pt x="5559128" y="6028401"/>
                    </a:lnTo>
                    <a:lnTo>
                      <a:pt x="5596316" y="6038057"/>
                    </a:lnTo>
                    <a:lnTo>
                      <a:pt x="5632642" y="6045977"/>
                    </a:lnTo>
                    <a:lnTo>
                      <a:pt x="5666302" y="6031231"/>
                    </a:lnTo>
                    <a:lnTo>
                      <a:pt x="5692812" y="6008327"/>
                    </a:lnTo>
                    <a:lnTo>
                      <a:pt x="5718271" y="5987593"/>
                    </a:lnTo>
                    <a:lnTo>
                      <a:pt x="5743721" y="5966866"/>
                    </a:lnTo>
                    <a:lnTo>
                      <a:pt x="5768247" y="5949065"/>
                    </a:lnTo>
                    <a:lnTo>
                      <a:pt x="5799869" y="5970123"/>
                    </a:lnTo>
                    <a:lnTo>
                      <a:pt x="5805553" y="6002767"/>
                    </a:lnTo>
                    <a:lnTo>
                      <a:pt x="5817565" y="6028401"/>
                    </a:lnTo>
                    <a:lnTo>
                      <a:pt x="5831381" y="6051676"/>
                    </a:lnTo>
                    <a:lnTo>
                      <a:pt x="5852713" y="6064977"/>
                    </a:lnTo>
                    <a:lnTo>
                      <a:pt x="5884212" y="6063764"/>
                    </a:lnTo>
                    <a:lnTo>
                      <a:pt x="5910322" y="6040029"/>
                    </a:lnTo>
                    <a:lnTo>
                      <a:pt x="5934280" y="6014052"/>
                    </a:lnTo>
                    <a:lnTo>
                      <a:pt x="5965822" y="6001198"/>
                    </a:lnTo>
                    <a:lnTo>
                      <a:pt x="6034819" y="5996087"/>
                    </a:lnTo>
                    <a:lnTo>
                      <a:pt x="6085654" y="5991253"/>
                    </a:lnTo>
                    <a:lnTo>
                      <a:pt x="6123614" y="5990317"/>
                    </a:lnTo>
                    <a:lnTo>
                      <a:pt x="6161565" y="5989381"/>
                    </a:lnTo>
                    <a:lnTo>
                      <a:pt x="6186106" y="5993331"/>
                    </a:lnTo>
                    <a:lnTo>
                      <a:pt x="6216173" y="6017224"/>
                    </a:lnTo>
                    <a:lnTo>
                      <a:pt x="6221540" y="6070569"/>
                    </a:lnTo>
                    <a:lnTo>
                      <a:pt x="6221738" y="6104124"/>
                    </a:lnTo>
                    <a:lnTo>
                      <a:pt x="6217143" y="6150850"/>
                    </a:lnTo>
                    <a:lnTo>
                      <a:pt x="6210666" y="6214748"/>
                    </a:lnTo>
                    <a:lnTo>
                      <a:pt x="6199923" y="6241503"/>
                    </a:lnTo>
                    <a:lnTo>
                      <a:pt x="6180600" y="6275045"/>
                    </a:lnTo>
                    <a:lnTo>
                      <a:pt x="6170337" y="6296129"/>
                    </a:lnTo>
                    <a:lnTo>
                      <a:pt x="6168498" y="6326287"/>
                    </a:lnTo>
                    <a:lnTo>
                      <a:pt x="6259634" y="6333087"/>
                    </a:lnTo>
                    <a:lnTo>
                      <a:pt x="6283328" y="6262231"/>
                    </a:lnTo>
                    <a:lnTo>
                      <a:pt x="6271345" y="6202594"/>
                    </a:lnTo>
                    <a:lnTo>
                      <a:pt x="6285471" y="6145382"/>
                    </a:lnTo>
                    <a:lnTo>
                      <a:pt x="6322898" y="6126851"/>
                    </a:lnTo>
                    <a:lnTo>
                      <a:pt x="6352121" y="6138582"/>
                    </a:lnTo>
                    <a:lnTo>
                      <a:pt x="6369801" y="6192991"/>
                    </a:lnTo>
                    <a:lnTo>
                      <a:pt x="6408763" y="6191421"/>
                    </a:lnTo>
                    <a:lnTo>
                      <a:pt x="6458812" y="6183383"/>
                    </a:lnTo>
                    <a:lnTo>
                      <a:pt x="6493579" y="6164423"/>
                    </a:lnTo>
                    <a:lnTo>
                      <a:pt x="6492280" y="6123639"/>
                    </a:lnTo>
                    <a:lnTo>
                      <a:pt x="6486736" y="6082790"/>
                    </a:lnTo>
                    <a:lnTo>
                      <a:pt x="6496311" y="6043366"/>
                    </a:lnTo>
                    <a:lnTo>
                      <a:pt x="6528448" y="6019328"/>
                    </a:lnTo>
                    <a:lnTo>
                      <a:pt x="6546636" y="6006638"/>
                    </a:lnTo>
                    <a:lnTo>
                      <a:pt x="6564824" y="5993951"/>
                    </a:lnTo>
                    <a:lnTo>
                      <a:pt x="6599684" y="5986241"/>
                    </a:lnTo>
                    <a:lnTo>
                      <a:pt x="6697384" y="6089912"/>
                    </a:lnTo>
                    <a:lnTo>
                      <a:pt x="6719382" y="6108655"/>
                    </a:lnTo>
                    <a:lnTo>
                      <a:pt x="6742398" y="6089669"/>
                    </a:lnTo>
                    <a:lnTo>
                      <a:pt x="6769813" y="6075958"/>
                    </a:lnTo>
                    <a:lnTo>
                      <a:pt x="6798271" y="6078735"/>
                    </a:lnTo>
                    <a:lnTo>
                      <a:pt x="6818676" y="6126343"/>
                    </a:lnTo>
                    <a:lnTo>
                      <a:pt x="6845899" y="6137982"/>
                    </a:lnTo>
                    <a:lnTo>
                      <a:pt x="6867643" y="6135866"/>
                    </a:lnTo>
                    <a:lnTo>
                      <a:pt x="6889387" y="6133748"/>
                    </a:lnTo>
                    <a:lnTo>
                      <a:pt x="6915206" y="6126746"/>
                    </a:lnTo>
                    <a:lnTo>
                      <a:pt x="6941090" y="6119543"/>
                    </a:lnTo>
                    <a:lnTo>
                      <a:pt x="6992866" y="6105141"/>
                    </a:lnTo>
                    <a:lnTo>
                      <a:pt x="7044361" y="6088007"/>
                    </a:lnTo>
                    <a:lnTo>
                      <a:pt x="7075838" y="6099996"/>
                    </a:lnTo>
                    <a:lnTo>
                      <a:pt x="7085056" y="6118963"/>
                    </a:lnTo>
                    <a:lnTo>
                      <a:pt x="7092076" y="6139948"/>
                    </a:lnTo>
                    <a:lnTo>
                      <a:pt x="7099099" y="6160927"/>
                    </a:lnTo>
                    <a:lnTo>
                      <a:pt x="7103067" y="6184345"/>
                    </a:lnTo>
                    <a:lnTo>
                      <a:pt x="7110118" y="6215032"/>
                    </a:lnTo>
                    <a:lnTo>
                      <a:pt x="7126077" y="6251481"/>
                    </a:lnTo>
                    <a:lnTo>
                      <a:pt x="7140606" y="6289376"/>
                    </a:lnTo>
                    <a:lnTo>
                      <a:pt x="7139289" y="6318300"/>
                    </a:lnTo>
                    <a:lnTo>
                      <a:pt x="7131525" y="6354856"/>
                    </a:lnTo>
                    <a:lnTo>
                      <a:pt x="7120914" y="6388207"/>
                    </a:lnTo>
                    <a:lnTo>
                      <a:pt x="7092932" y="6411395"/>
                    </a:lnTo>
                    <a:lnTo>
                      <a:pt x="7052922" y="6434938"/>
                    </a:lnTo>
                    <a:lnTo>
                      <a:pt x="7011827" y="6455515"/>
                    </a:lnTo>
                    <a:lnTo>
                      <a:pt x="6970728" y="6476084"/>
                    </a:lnTo>
                    <a:lnTo>
                      <a:pt x="6927788" y="6494404"/>
                    </a:lnTo>
                    <a:lnTo>
                      <a:pt x="6900289" y="6501757"/>
                    </a:lnTo>
                    <a:lnTo>
                      <a:pt x="6904732" y="6522802"/>
                    </a:lnTo>
                    <a:lnTo>
                      <a:pt x="6914756" y="6542581"/>
                    </a:lnTo>
                    <a:lnTo>
                      <a:pt x="6926133" y="6562966"/>
                    </a:lnTo>
                    <a:lnTo>
                      <a:pt x="6937509" y="6583357"/>
                    </a:lnTo>
                    <a:lnTo>
                      <a:pt x="6951226" y="6604283"/>
                    </a:lnTo>
                    <a:lnTo>
                      <a:pt x="6961495" y="6622813"/>
                    </a:lnTo>
                    <a:lnTo>
                      <a:pt x="6976511" y="6649912"/>
                    </a:lnTo>
                    <a:lnTo>
                      <a:pt x="6991068" y="6677717"/>
                    </a:lnTo>
                    <a:lnTo>
                      <a:pt x="7006379" y="6705785"/>
                    </a:lnTo>
                    <a:lnTo>
                      <a:pt x="7021699" y="6733859"/>
                    </a:lnTo>
                    <a:lnTo>
                      <a:pt x="7036678" y="6761690"/>
                    </a:lnTo>
                    <a:lnTo>
                      <a:pt x="7053988" y="6787403"/>
                    </a:lnTo>
                    <a:lnTo>
                      <a:pt x="7085248" y="6833824"/>
                    </a:lnTo>
                    <a:lnTo>
                      <a:pt x="7126461" y="6875010"/>
                    </a:lnTo>
                    <a:lnTo>
                      <a:pt x="7150565" y="6926140"/>
                    </a:lnTo>
                    <a:lnTo>
                      <a:pt x="7184489" y="6913129"/>
                    </a:lnTo>
                    <a:lnTo>
                      <a:pt x="7258320" y="6885503"/>
                    </a:lnTo>
                    <a:lnTo>
                      <a:pt x="7281143" y="6888048"/>
                    </a:lnTo>
                    <a:lnTo>
                      <a:pt x="7331686" y="6952407"/>
                    </a:lnTo>
                    <a:lnTo>
                      <a:pt x="7339338" y="6992023"/>
                    </a:lnTo>
                    <a:lnTo>
                      <a:pt x="7340926" y="7037264"/>
                    </a:lnTo>
                    <a:lnTo>
                      <a:pt x="7358674" y="7058078"/>
                    </a:lnTo>
                    <a:lnTo>
                      <a:pt x="7373197" y="7075072"/>
                    </a:lnTo>
                    <a:lnTo>
                      <a:pt x="7388396" y="7091197"/>
                    </a:lnTo>
                    <a:lnTo>
                      <a:pt x="7403564" y="7108404"/>
                    </a:lnTo>
                    <a:lnTo>
                      <a:pt x="7418726" y="7125609"/>
                    </a:lnTo>
                    <a:lnTo>
                      <a:pt x="7433671" y="7143633"/>
                    </a:lnTo>
                    <a:lnTo>
                      <a:pt x="7447084" y="7161453"/>
                    </a:lnTo>
                    <a:lnTo>
                      <a:pt x="7466738" y="7187549"/>
                    </a:lnTo>
                    <a:lnTo>
                      <a:pt x="7470834" y="7213698"/>
                    </a:lnTo>
                    <a:lnTo>
                      <a:pt x="7466131" y="7238982"/>
                    </a:lnTo>
                    <a:lnTo>
                      <a:pt x="7461427" y="7264267"/>
                    </a:lnTo>
                    <a:lnTo>
                      <a:pt x="7447877" y="7288997"/>
                    </a:lnTo>
                    <a:lnTo>
                      <a:pt x="7432126" y="7312430"/>
                    </a:lnTo>
                    <a:lnTo>
                      <a:pt x="7416372" y="7335875"/>
                    </a:lnTo>
                    <a:lnTo>
                      <a:pt x="7398045" y="7357150"/>
                    </a:lnTo>
                    <a:lnTo>
                      <a:pt x="7384520" y="7377725"/>
                    </a:lnTo>
                    <a:lnTo>
                      <a:pt x="7370992" y="7398295"/>
                    </a:lnTo>
                    <a:lnTo>
                      <a:pt x="7362128" y="7418158"/>
                    </a:lnTo>
                    <a:lnTo>
                      <a:pt x="7367076" y="7459779"/>
                    </a:lnTo>
                    <a:lnTo>
                      <a:pt x="7381181" y="7476992"/>
                    </a:lnTo>
                    <a:lnTo>
                      <a:pt x="7394036" y="7494700"/>
                    </a:lnTo>
                    <a:lnTo>
                      <a:pt x="7406903" y="7512407"/>
                    </a:lnTo>
                    <a:lnTo>
                      <a:pt x="7418989" y="7529600"/>
                    </a:lnTo>
                    <a:lnTo>
                      <a:pt x="7417163" y="7555907"/>
                    </a:lnTo>
                    <a:lnTo>
                      <a:pt x="7410807" y="7598991"/>
                    </a:lnTo>
                    <a:lnTo>
                      <a:pt x="7407641" y="7626637"/>
                    </a:lnTo>
                    <a:lnTo>
                      <a:pt x="7404475" y="7654290"/>
                    </a:lnTo>
                    <a:lnTo>
                      <a:pt x="7402562" y="7680307"/>
                    </a:lnTo>
                    <a:lnTo>
                      <a:pt x="7420264" y="7698389"/>
                    </a:lnTo>
                    <a:lnTo>
                      <a:pt x="7449803" y="7701450"/>
                    </a:lnTo>
                    <a:lnTo>
                      <a:pt x="7564996" y="7692863"/>
                    </a:lnTo>
                    <a:lnTo>
                      <a:pt x="7678189" y="7700856"/>
                    </a:lnTo>
                    <a:lnTo>
                      <a:pt x="7793937" y="7696010"/>
                    </a:lnTo>
                    <a:lnTo>
                      <a:pt x="7811024" y="7643686"/>
                    </a:lnTo>
                    <a:lnTo>
                      <a:pt x="7817080" y="7614878"/>
                    </a:lnTo>
                    <a:lnTo>
                      <a:pt x="7834741" y="7599433"/>
                    </a:lnTo>
                    <a:lnTo>
                      <a:pt x="7852402" y="7583995"/>
                    </a:lnTo>
                    <a:lnTo>
                      <a:pt x="7881457" y="7582886"/>
                    </a:lnTo>
                    <a:lnTo>
                      <a:pt x="7925873" y="7593999"/>
                    </a:lnTo>
                    <a:lnTo>
                      <a:pt x="7958414" y="7601741"/>
                    </a:lnTo>
                    <a:lnTo>
                      <a:pt x="7991264" y="7610737"/>
                    </a:lnTo>
                    <a:lnTo>
                      <a:pt x="8022450" y="7622561"/>
                    </a:lnTo>
                    <a:lnTo>
                      <a:pt x="8043658" y="7632421"/>
                    </a:lnTo>
                    <a:lnTo>
                      <a:pt x="8054541" y="7656862"/>
                    </a:lnTo>
                    <a:lnTo>
                      <a:pt x="8071418" y="7671529"/>
                    </a:lnTo>
                    <a:lnTo>
                      <a:pt x="8088886" y="7686723"/>
                    </a:lnTo>
                    <a:lnTo>
                      <a:pt x="8127185" y="7700092"/>
                    </a:lnTo>
                    <a:lnTo>
                      <a:pt x="8164286" y="7716968"/>
                    </a:lnTo>
                    <a:lnTo>
                      <a:pt x="8182952" y="7739536"/>
                    </a:lnTo>
                    <a:lnTo>
                      <a:pt x="8202650" y="7763350"/>
                    </a:lnTo>
                    <a:lnTo>
                      <a:pt x="8214414" y="7795125"/>
                    </a:lnTo>
                    <a:lnTo>
                      <a:pt x="8225117" y="7826588"/>
                    </a:lnTo>
                    <a:lnTo>
                      <a:pt x="8235823" y="7858053"/>
                    </a:lnTo>
                    <a:lnTo>
                      <a:pt x="8245984" y="7888435"/>
                    </a:lnTo>
                    <a:lnTo>
                      <a:pt x="8263204" y="7909558"/>
                    </a:lnTo>
                    <a:lnTo>
                      <a:pt x="8304021" y="7935147"/>
                    </a:lnTo>
                    <a:lnTo>
                      <a:pt x="8335293" y="7942210"/>
                    </a:lnTo>
                    <a:lnTo>
                      <a:pt x="8366572" y="7949267"/>
                    </a:lnTo>
                    <a:lnTo>
                      <a:pt x="8399990" y="7951740"/>
                    </a:lnTo>
                    <a:lnTo>
                      <a:pt x="8448626" y="7948086"/>
                    </a:lnTo>
                    <a:lnTo>
                      <a:pt x="8472612" y="7938965"/>
                    </a:lnTo>
                    <a:lnTo>
                      <a:pt x="8493076" y="7924523"/>
                    </a:lnTo>
                    <a:lnTo>
                      <a:pt x="8513540" y="7910087"/>
                    </a:lnTo>
                    <a:lnTo>
                      <a:pt x="8530614" y="7890638"/>
                    </a:lnTo>
                    <a:lnTo>
                      <a:pt x="8544766" y="7868756"/>
                    </a:lnTo>
                    <a:lnTo>
                      <a:pt x="8573065" y="7824985"/>
                    </a:lnTo>
                    <a:lnTo>
                      <a:pt x="8592263" y="7771106"/>
                    </a:lnTo>
                    <a:lnTo>
                      <a:pt x="8616854" y="7725937"/>
                    </a:lnTo>
                    <a:lnTo>
                      <a:pt x="8630863" y="7700209"/>
                    </a:lnTo>
                    <a:lnTo>
                      <a:pt x="8649711" y="7674417"/>
                    </a:lnTo>
                    <a:lnTo>
                      <a:pt x="8665822" y="7649766"/>
                    </a:lnTo>
                    <a:lnTo>
                      <a:pt x="8678320" y="7630634"/>
                    </a:lnTo>
                    <a:lnTo>
                      <a:pt x="8688772" y="7603944"/>
                    </a:lnTo>
                    <a:lnTo>
                      <a:pt x="8706625" y="7588551"/>
                    </a:lnTo>
                    <a:lnTo>
                      <a:pt x="8723291" y="7574188"/>
                    </a:lnTo>
                    <a:lnTo>
                      <a:pt x="8767877" y="7562112"/>
                    </a:lnTo>
                    <a:lnTo>
                      <a:pt x="8856250" y="7539585"/>
                    </a:lnTo>
                    <a:lnTo>
                      <a:pt x="8877855" y="7536142"/>
                    </a:lnTo>
                    <a:lnTo>
                      <a:pt x="8903748" y="7539782"/>
                    </a:lnTo>
                    <a:lnTo>
                      <a:pt x="8931064" y="7549107"/>
                    </a:lnTo>
                    <a:lnTo>
                      <a:pt x="8958371" y="7558440"/>
                    </a:lnTo>
                    <a:lnTo>
                      <a:pt x="8986863" y="7572605"/>
                    </a:lnTo>
                    <a:lnTo>
                      <a:pt x="9014033" y="7589917"/>
                    </a:lnTo>
                    <a:lnTo>
                      <a:pt x="9068377" y="7624540"/>
                    </a:lnTo>
                    <a:lnTo>
                      <a:pt x="9116368" y="7670400"/>
                    </a:lnTo>
                    <a:lnTo>
                      <a:pt x="9135089" y="7708249"/>
                    </a:lnTo>
                    <a:lnTo>
                      <a:pt x="9222867" y="7661412"/>
                    </a:lnTo>
                    <a:lnTo>
                      <a:pt x="9256145" y="7653842"/>
                    </a:lnTo>
                    <a:lnTo>
                      <a:pt x="9326026" y="7697862"/>
                    </a:lnTo>
                    <a:lnTo>
                      <a:pt x="9385365" y="7723213"/>
                    </a:lnTo>
                    <a:lnTo>
                      <a:pt x="9444707" y="7748557"/>
                    </a:lnTo>
                    <a:lnTo>
                      <a:pt x="9506170" y="7770901"/>
                    </a:lnTo>
                    <a:lnTo>
                      <a:pt x="9526826" y="7774898"/>
                    </a:lnTo>
                    <a:lnTo>
                      <a:pt x="9559386" y="7781143"/>
                    </a:lnTo>
                    <a:lnTo>
                      <a:pt x="9589393" y="7766060"/>
                    </a:lnTo>
                    <a:lnTo>
                      <a:pt x="9619320" y="7759933"/>
                    </a:lnTo>
                    <a:lnTo>
                      <a:pt x="9762139" y="7730012"/>
                    </a:lnTo>
                    <a:lnTo>
                      <a:pt x="9809622" y="7720318"/>
                    </a:lnTo>
                    <a:lnTo>
                      <a:pt x="9859057" y="7714330"/>
                    </a:lnTo>
                    <a:lnTo>
                      <a:pt x="9907684" y="7705525"/>
                    </a:lnTo>
                    <a:lnTo>
                      <a:pt x="9944237" y="7693075"/>
                    </a:lnTo>
                    <a:lnTo>
                      <a:pt x="10077714" y="7685127"/>
                    </a:lnTo>
                    <a:lnTo>
                      <a:pt x="10194687" y="7676963"/>
                    </a:lnTo>
                    <a:lnTo>
                      <a:pt x="10207554" y="7621203"/>
                    </a:lnTo>
                    <a:lnTo>
                      <a:pt x="10206928" y="7579029"/>
                    </a:lnTo>
                    <a:lnTo>
                      <a:pt x="10206332" y="7536861"/>
                    </a:lnTo>
                    <a:lnTo>
                      <a:pt x="10204010" y="7492213"/>
                    </a:lnTo>
                    <a:lnTo>
                      <a:pt x="10211002" y="7471571"/>
                    </a:lnTo>
                    <a:lnTo>
                      <a:pt x="10237394" y="7461838"/>
                    </a:lnTo>
                    <a:lnTo>
                      <a:pt x="10259969" y="7459331"/>
                    </a:lnTo>
                    <a:lnTo>
                      <a:pt x="10282545" y="7456824"/>
                    </a:lnTo>
                    <a:lnTo>
                      <a:pt x="10306087" y="7454846"/>
                    </a:lnTo>
                    <a:lnTo>
                      <a:pt x="10325897" y="7442797"/>
                    </a:lnTo>
                    <a:lnTo>
                      <a:pt x="10326623" y="7414446"/>
                    </a:lnTo>
                    <a:lnTo>
                      <a:pt x="10284455" y="7381801"/>
                    </a:lnTo>
                    <a:lnTo>
                      <a:pt x="10281522" y="7346354"/>
                    </a:lnTo>
                    <a:lnTo>
                      <a:pt x="10294315" y="7280292"/>
                    </a:lnTo>
                    <a:lnTo>
                      <a:pt x="10283090" y="7259381"/>
                    </a:lnTo>
                    <a:lnTo>
                      <a:pt x="10272387" y="7239424"/>
                    </a:lnTo>
                    <a:lnTo>
                      <a:pt x="10255920" y="7218327"/>
                    </a:lnTo>
                    <a:lnTo>
                      <a:pt x="10247728" y="7196814"/>
                    </a:lnTo>
                    <a:lnTo>
                      <a:pt x="10241905" y="7175203"/>
                    </a:lnTo>
                    <a:lnTo>
                      <a:pt x="10245393" y="7153130"/>
                    </a:lnTo>
                    <a:lnTo>
                      <a:pt x="10261334" y="7130167"/>
                    </a:lnTo>
                    <a:lnTo>
                      <a:pt x="10277187" y="7114016"/>
                    </a:lnTo>
                    <a:lnTo>
                      <a:pt x="10317181" y="7111859"/>
                    </a:lnTo>
                    <a:lnTo>
                      <a:pt x="10355185" y="7109762"/>
                    </a:lnTo>
                    <a:lnTo>
                      <a:pt x="10393192" y="7107664"/>
                    </a:lnTo>
                    <a:lnTo>
                      <a:pt x="10428871" y="7105574"/>
                    </a:lnTo>
                    <a:lnTo>
                      <a:pt x="10442240" y="6985982"/>
                    </a:lnTo>
                    <a:lnTo>
                      <a:pt x="10360627" y="6975100"/>
                    </a:lnTo>
                    <a:lnTo>
                      <a:pt x="10330185" y="6961937"/>
                    </a:lnTo>
                    <a:lnTo>
                      <a:pt x="10317615" y="6928415"/>
                    </a:lnTo>
                    <a:lnTo>
                      <a:pt x="10317002" y="6906368"/>
                    </a:lnTo>
                    <a:lnTo>
                      <a:pt x="10319823" y="6883965"/>
                    </a:lnTo>
                    <a:lnTo>
                      <a:pt x="10322641" y="6861569"/>
                    </a:lnTo>
                    <a:lnTo>
                      <a:pt x="10330074" y="6837940"/>
                    </a:lnTo>
                    <a:lnTo>
                      <a:pt x="10338864" y="6818676"/>
                    </a:lnTo>
                    <a:lnTo>
                      <a:pt x="10347660" y="6799419"/>
                    </a:lnTo>
                    <a:lnTo>
                      <a:pt x="10370158" y="6777874"/>
                    </a:lnTo>
                    <a:lnTo>
                      <a:pt x="10393040" y="6761834"/>
                    </a:lnTo>
                    <a:lnTo>
                      <a:pt x="10417997" y="6744945"/>
                    </a:lnTo>
                    <a:lnTo>
                      <a:pt x="10442240" y="6731624"/>
                    </a:lnTo>
                    <a:lnTo>
                      <a:pt x="10485667" y="6713440"/>
                    </a:lnTo>
                    <a:lnTo>
                      <a:pt x="10517163" y="6715353"/>
                    </a:lnTo>
                    <a:lnTo>
                      <a:pt x="10549697" y="6712583"/>
                    </a:lnTo>
                    <a:lnTo>
                      <a:pt x="10581655" y="6708152"/>
                    </a:lnTo>
                    <a:lnTo>
                      <a:pt x="10618388" y="6695252"/>
                    </a:lnTo>
                    <a:lnTo>
                      <a:pt x="10638920" y="6685155"/>
                    </a:lnTo>
                    <a:lnTo>
                      <a:pt x="10662596" y="6667699"/>
                    </a:lnTo>
                    <a:lnTo>
                      <a:pt x="10701149" y="6709010"/>
                    </a:lnTo>
                    <a:lnTo>
                      <a:pt x="10719396" y="6747939"/>
                    </a:lnTo>
                    <a:lnTo>
                      <a:pt x="10741490" y="6779232"/>
                    </a:lnTo>
                    <a:lnTo>
                      <a:pt x="10768543" y="6803132"/>
                    </a:lnTo>
                    <a:lnTo>
                      <a:pt x="10806919" y="6815188"/>
                    </a:lnTo>
                    <a:lnTo>
                      <a:pt x="10839422" y="6802354"/>
                    </a:lnTo>
                    <a:lnTo>
                      <a:pt x="10856379" y="6773066"/>
                    </a:lnTo>
                    <a:lnTo>
                      <a:pt x="10866534" y="6734433"/>
                    </a:lnTo>
                    <a:lnTo>
                      <a:pt x="10873426" y="6701701"/>
                    </a:lnTo>
                    <a:lnTo>
                      <a:pt x="10898120" y="6692397"/>
                    </a:lnTo>
                    <a:lnTo>
                      <a:pt x="10929029" y="6689105"/>
                    </a:lnTo>
                    <a:lnTo>
                      <a:pt x="10959120" y="6682656"/>
                    </a:lnTo>
                    <a:lnTo>
                      <a:pt x="10989209" y="6676219"/>
                    </a:lnTo>
                    <a:lnTo>
                      <a:pt x="11018397" y="6666189"/>
                    </a:lnTo>
                    <a:lnTo>
                      <a:pt x="11036511" y="6644148"/>
                    </a:lnTo>
                    <a:lnTo>
                      <a:pt x="11033928" y="6613291"/>
                    </a:lnTo>
                    <a:lnTo>
                      <a:pt x="11023203" y="6577883"/>
                    </a:lnTo>
                    <a:lnTo>
                      <a:pt x="11014729" y="6537160"/>
                    </a:lnTo>
                    <a:lnTo>
                      <a:pt x="11013272" y="6514446"/>
                    </a:lnTo>
                    <a:lnTo>
                      <a:pt x="11020329" y="6490869"/>
                    </a:lnTo>
                    <a:lnTo>
                      <a:pt x="11027386" y="6467292"/>
                    </a:lnTo>
                    <a:lnTo>
                      <a:pt x="11042948" y="6442423"/>
                    </a:lnTo>
                    <a:lnTo>
                      <a:pt x="11073371" y="6416057"/>
                    </a:lnTo>
                    <a:lnTo>
                      <a:pt x="11108851" y="6412615"/>
                    </a:lnTo>
                    <a:lnTo>
                      <a:pt x="11138548" y="6419500"/>
                    </a:lnTo>
                    <a:lnTo>
                      <a:pt x="11164506" y="6432386"/>
                    </a:lnTo>
                    <a:lnTo>
                      <a:pt x="11189764" y="6444857"/>
                    </a:lnTo>
                    <a:lnTo>
                      <a:pt x="11213644" y="6457321"/>
                    </a:lnTo>
                    <a:lnTo>
                      <a:pt x="11243401" y="6450067"/>
                    </a:lnTo>
                    <a:lnTo>
                      <a:pt x="11271904" y="6433738"/>
                    </a:lnTo>
                    <a:lnTo>
                      <a:pt x="11288285" y="6418781"/>
                    </a:lnTo>
                    <a:lnTo>
                      <a:pt x="11304668" y="6403823"/>
                    </a:lnTo>
                    <a:lnTo>
                      <a:pt x="11321418" y="6386538"/>
                    </a:lnTo>
                    <a:lnTo>
                      <a:pt x="11346777" y="6379330"/>
                    </a:lnTo>
                    <a:lnTo>
                      <a:pt x="11368624" y="6394630"/>
                    </a:lnTo>
                    <a:lnTo>
                      <a:pt x="11372615" y="6424214"/>
                    </a:lnTo>
                    <a:lnTo>
                      <a:pt x="11373703" y="6455033"/>
                    </a:lnTo>
                    <a:lnTo>
                      <a:pt x="11388719" y="6503571"/>
                    </a:lnTo>
                    <a:lnTo>
                      <a:pt x="11414724" y="6534930"/>
                    </a:lnTo>
                    <a:lnTo>
                      <a:pt x="11439262" y="6562958"/>
                    </a:lnTo>
                    <a:lnTo>
                      <a:pt x="11463809" y="6590980"/>
                    </a:lnTo>
                    <a:lnTo>
                      <a:pt x="11487122" y="6614986"/>
                    </a:lnTo>
                    <a:lnTo>
                      <a:pt x="11492313" y="6637764"/>
                    </a:lnTo>
                    <a:lnTo>
                      <a:pt x="11493079" y="6674116"/>
                    </a:lnTo>
                    <a:lnTo>
                      <a:pt x="11486105" y="6710236"/>
                    </a:lnTo>
                    <a:lnTo>
                      <a:pt x="11485519" y="6745221"/>
                    </a:lnTo>
                    <a:lnTo>
                      <a:pt x="11537125" y="6776680"/>
                    </a:lnTo>
                    <a:lnTo>
                      <a:pt x="11558975" y="6796913"/>
                    </a:lnTo>
                    <a:lnTo>
                      <a:pt x="11568680" y="6773164"/>
                    </a:lnTo>
                    <a:lnTo>
                      <a:pt x="11574565" y="6749350"/>
                    </a:lnTo>
                    <a:lnTo>
                      <a:pt x="11579371" y="6718018"/>
                    </a:lnTo>
                    <a:lnTo>
                      <a:pt x="11585036" y="6685281"/>
                    </a:lnTo>
                    <a:lnTo>
                      <a:pt x="11590028" y="6650103"/>
                    </a:lnTo>
                    <a:lnTo>
                      <a:pt x="11594334" y="6614643"/>
                    </a:lnTo>
                    <a:lnTo>
                      <a:pt x="11600576" y="6578286"/>
                    </a:lnTo>
                    <a:lnTo>
                      <a:pt x="11607143" y="6544908"/>
                    </a:lnTo>
                    <a:lnTo>
                      <a:pt x="11614739" y="6515350"/>
                    </a:lnTo>
                    <a:lnTo>
                      <a:pt x="11623992" y="6488107"/>
                    </a:lnTo>
                    <a:lnTo>
                      <a:pt x="11635414" y="6466423"/>
                    </a:lnTo>
                    <a:lnTo>
                      <a:pt x="11650108" y="6451419"/>
                    </a:lnTo>
                    <a:lnTo>
                      <a:pt x="11715391" y="6456859"/>
                    </a:lnTo>
                    <a:lnTo>
                      <a:pt x="11743953" y="6441889"/>
                    </a:lnTo>
                    <a:lnTo>
                      <a:pt x="11761602" y="6420686"/>
                    </a:lnTo>
                    <a:lnTo>
                      <a:pt x="11769917" y="6399055"/>
                    </a:lnTo>
                    <a:lnTo>
                      <a:pt x="11780556" y="6359584"/>
                    </a:lnTo>
                    <a:lnTo>
                      <a:pt x="11787479" y="6324909"/>
                    </a:lnTo>
                    <a:lnTo>
                      <a:pt x="11799060" y="6295449"/>
                    </a:lnTo>
                    <a:lnTo>
                      <a:pt x="11830308" y="6275487"/>
                    </a:lnTo>
                    <a:lnTo>
                      <a:pt x="11855323" y="6269472"/>
                    </a:lnTo>
                    <a:lnTo>
                      <a:pt x="11893572" y="6267784"/>
                    </a:lnTo>
                    <a:lnTo>
                      <a:pt x="11911028" y="6245974"/>
                    </a:lnTo>
                    <a:lnTo>
                      <a:pt x="11916926" y="6221580"/>
                    </a:lnTo>
                    <a:lnTo>
                      <a:pt x="11926218" y="6199777"/>
                    </a:lnTo>
                    <a:lnTo>
                      <a:pt x="11948245" y="6191666"/>
                    </a:lnTo>
                    <a:lnTo>
                      <a:pt x="11988527" y="6194284"/>
                    </a:lnTo>
                    <a:lnTo>
                      <a:pt x="12014067" y="6198972"/>
                    </a:lnTo>
                    <a:lnTo>
                      <a:pt x="12040481" y="6202495"/>
                    </a:lnTo>
                    <a:lnTo>
                      <a:pt x="12066885" y="6206015"/>
                    </a:lnTo>
                    <a:lnTo>
                      <a:pt x="12094815" y="6208581"/>
                    </a:lnTo>
                    <a:lnTo>
                      <a:pt x="12120727" y="6207935"/>
                    </a:lnTo>
                    <a:lnTo>
                      <a:pt x="12146645" y="6207276"/>
                    </a:lnTo>
                    <a:lnTo>
                      <a:pt x="12170076" y="6202797"/>
                    </a:lnTo>
                    <a:lnTo>
                      <a:pt x="12188742" y="6191613"/>
                    </a:lnTo>
                    <a:lnTo>
                      <a:pt x="12203699" y="6173932"/>
                    </a:lnTo>
                    <a:lnTo>
                      <a:pt x="12213221" y="6153527"/>
                    </a:lnTo>
                    <a:lnTo>
                      <a:pt x="12222929" y="6125564"/>
                    </a:lnTo>
                    <a:lnTo>
                      <a:pt x="12228014" y="6103056"/>
                    </a:lnTo>
                    <a:lnTo>
                      <a:pt x="12233790" y="6065255"/>
                    </a:lnTo>
                    <a:lnTo>
                      <a:pt x="12232261" y="6033829"/>
                    </a:lnTo>
                    <a:lnTo>
                      <a:pt x="12230156" y="6004739"/>
                    </a:lnTo>
                    <a:lnTo>
                      <a:pt x="12226218" y="5970427"/>
                    </a:lnTo>
                    <a:lnTo>
                      <a:pt x="12224110" y="5926372"/>
                    </a:lnTo>
                    <a:lnTo>
                      <a:pt x="12229886" y="5890232"/>
                    </a:lnTo>
                    <a:lnTo>
                      <a:pt x="12242819" y="5853704"/>
                    </a:lnTo>
                    <a:lnTo>
                      <a:pt x="12252679" y="5817557"/>
                    </a:lnTo>
                    <a:lnTo>
                      <a:pt x="12258846" y="5782754"/>
                    </a:lnTo>
                    <a:lnTo>
                      <a:pt x="12262827" y="5746265"/>
                    </a:lnTo>
                    <a:lnTo>
                      <a:pt x="12266278" y="5710106"/>
                    </a:lnTo>
                    <a:lnTo>
                      <a:pt x="12303683" y="5697095"/>
                    </a:lnTo>
                    <a:lnTo>
                      <a:pt x="12321537" y="5712190"/>
                    </a:lnTo>
                    <a:lnTo>
                      <a:pt x="12358607" y="5871332"/>
                    </a:lnTo>
                    <a:lnTo>
                      <a:pt x="12349293" y="5902485"/>
                    </a:lnTo>
                    <a:lnTo>
                      <a:pt x="12327490" y="5930454"/>
                    </a:lnTo>
                    <a:lnTo>
                      <a:pt x="12322209" y="5984156"/>
                    </a:lnTo>
                    <a:lnTo>
                      <a:pt x="12330209" y="6022948"/>
                    </a:lnTo>
                    <a:lnTo>
                      <a:pt x="12338215" y="6061739"/>
                    </a:lnTo>
                    <a:lnTo>
                      <a:pt x="12352499" y="6098909"/>
                    </a:lnTo>
                    <a:lnTo>
                      <a:pt x="12377809" y="6099126"/>
                    </a:lnTo>
                    <a:lnTo>
                      <a:pt x="12400146" y="6073794"/>
                    </a:lnTo>
                    <a:lnTo>
                      <a:pt x="12411432" y="6036178"/>
                    </a:lnTo>
                    <a:lnTo>
                      <a:pt x="12424054" y="5995757"/>
                    </a:lnTo>
                    <a:lnTo>
                      <a:pt x="12436683" y="5955330"/>
                    </a:lnTo>
                    <a:lnTo>
                      <a:pt x="12450474" y="5911719"/>
                    </a:lnTo>
                    <a:lnTo>
                      <a:pt x="12467587" y="5881500"/>
                    </a:lnTo>
                    <a:lnTo>
                      <a:pt x="12489666" y="5842498"/>
                    </a:lnTo>
                    <a:lnTo>
                      <a:pt x="12526433" y="5805561"/>
                    </a:lnTo>
                    <a:lnTo>
                      <a:pt x="12558722" y="5776761"/>
                    </a:lnTo>
                    <a:lnTo>
                      <a:pt x="12591002" y="5747967"/>
                    </a:lnTo>
                    <a:lnTo>
                      <a:pt x="12619125" y="5727398"/>
                    </a:lnTo>
                    <a:lnTo>
                      <a:pt x="12635914" y="5696896"/>
                    </a:lnTo>
                    <a:lnTo>
                      <a:pt x="12619329" y="5662168"/>
                    </a:lnTo>
                    <a:lnTo>
                      <a:pt x="12637610" y="5640740"/>
                    </a:lnTo>
                    <a:lnTo>
                      <a:pt x="12663457" y="5636184"/>
                    </a:lnTo>
                    <a:lnTo>
                      <a:pt x="12689294" y="5652981"/>
                    </a:lnTo>
                    <a:lnTo>
                      <a:pt x="12704437" y="5683066"/>
                    </a:lnTo>
                    <a:lnTo>
                      <a:pt x="12746987" y="5721343"/>
                    </a:lnTo>
                    <a:lnTo>
                      <a:pt x="12776275" y="5732495"/>
                    </a:lnTo>
                    <a:lnTo>
                      <a:pt x="12803551" y="5729151"/>
                    </a:lnTo>
                    <a:lnTo>
                      <a:pt x="12830833" y="5725808"/>
                    </a:lnTo>
                    <a:lnTo>
                      <a:pt x="12855240" y="5707962"/>
                    </a:lnTo>
                    <a:lnTo>
                      <a:pt x="12875639" y="5674744"/>
                    </a:lnTo>
                    <a:lnTo>
                      <a:pt x="12887952" y="5651826"/>
                    </a:lnTo>
                    <a:lnTo>
                      <a:pt x="12898695" y="5626924"/>
                    </a:lnTo>
                    <a:lnTo>
                      <a:pt x="12909643" y="5602648"/>
                    </a:lnTo>
                    <a:lnTo>
                      <a:pt x="12939037" y="5577238"/>
                    </a:lnTo>
                    <a:lnTo>
                      <a:pt x="12964059" y="5564563"/>
                    </a:lnTo>
                    <a:lnTo>
                      <a:pt x="12989077" y="5551894"/>
                    </a:lnTo>
                    <a:lnTo>
                      <a:pt x="13016316" y="5537405"/>
                    </a:lnTo>
                    <a:lnTo>
                      <a:pt x="13034789" y="5515596"/>
                    </a:lnTo>
                    <a:lnTo>
                      <a:pt x="13063820" y="5481342"/>
                    </a:lnTo>
                    <a:lnTo>
                      <a:pt x="13059777" y="5433562"/>
                    </a:lnTo>
                    <a:lnTo>
                      <a:pt x="13083754" y="5408145"/>
                    </a:lnTo>
                    <a:lnTo>
                      <a:pt x="13121906" y="5404399"/>
                    </a:lnTo>
                    <a:lnTo>
                      <a:pt x="13151762" y="5405427"/>
                    </a:lnTo>
                    <a:lnTo>
                      <a:pt x="13181617" y="5406456"/>
                    </a:lnTo>
                    <a:lnTo>
                      <a:pt x="13211935" y="5408956"/>
                    </a:lnTo>
                    <a:lnTo>
                      <a:pt x="13233735" y="5403641"/>
                    </a:lnTo>
                    <a:lnTo>
                      <a:pt x="13249564" y="5324956"/>
                    </a:lnTo>
                    <a:lnTo>
                      <a:pt x="13261944" y="5243556"/>
                    </a:lnTo>
                    <a:lnTo>
                      <a:pt x="13274316" y="5162161"/>
                    </a:lnTo>
                    <a:lnTo>
                      <a:pt x="13283872" y="5077529"/>
                    </a:lnTo>
                    <a:lnTo>
                      <a:pt x="13277770" y="5042886"/>
                    </a:lnTo>
                    <a:lnTo>
                      <a:pt x="13242897" y="5027289"/>
                    </a:lnTo>
                    <a:lnTo>
                      <a:pt x="13204428" y="5017364"/>
                    </a:lnTo>
                    <a:lnTo>
                      <a:pt x="13187236" y="4992792"/>
                    </a:lnTo>
                    <a:lnTo>
                      <a:pt x="13185239" y="4971134"/>
                    </a:lnTo>
                    <a:lnTo>
                      <a:pt x="13184408" y="4949753"/>
                    </a:lnTo>
                    <a:lnTo>
                      <a:pt x="13183583" y="4928379"/>
                    </a:lnTo>
                    <a:lnTo>
                      <a:pt x="13184141" y="4906675"/>
                    </a:lnTo>
                    <a:lnTo>
                      <a:pt x="13183047" y="4884464"/>
                    </a:lnTo>
                    <a:lnTo>
                      <a:pt x="13181286" y="4848633"/>
                    </a:lnTo>
                    <a:lnTo>
                      <a:pt x="13180290" y="4812164"/>
                    </a:lnTo>
                    <a:lnTo>
                      <a:pt x="13178973" y="4775655"/>
                    </a:lnTo>
                    <a:lnTo>
                      <a:pt x="13177646" y="4739137"/>
                    </a:lnTo>
                    <a:lnTo>
                      <a:pt x="13175788" y="4702458"/>
                    </a:lnTo>
                    <a:lnTo>
                      <a:pt x="13172173" y="4666832"/>
                    </a:lnTo>
                    <a:lnTo>
                      <a:pt x="13168889" y="4634530"/>
                    </a:lnTo>
                    <a:lnTo>
                      <a:pt x="13161705" y="4604964"/>
                    </a:lnTo>
                    <a:lnTo>
                      <a:pt x="13155851" y="4574338"/>
                    </a:lnTo>
                    <a:lnTo>
                      <a:pt x="13149994" y="4543718"/>
                    </a:lnTo>
                    <a:lnTo>
                      <a:pt x="13145716" y="4512689"/>
                    </a:lnTo>
                    <a:lnTo>
                      <a:pt x="13149052" y="4479127"/>
                    </a:lnTo>
                    <a:lnTo>
                      <a:pt x="13119125" y="4472327"/>
                    </a:lnTo>
                    <a:lnTo>
                      <a:pt x="13093279" y="4462806"/>
                    </a:lnTo>
                    <a:lnTo>
                      <a:pt x="13093409" y="4433860"/>
                    </a:lnTo>
                    <a:lnTo>
                      <a:pt x="13084994" y="4401980"/>
                    </a:lnTo>
                    <a:lnTo>
                      <a:pt x="13071516" y="4375752"/>
                    </a:lnTo>
                    <a:lnTo>
                      <a:pt x="13130005" y="4340384"/>
                    </a:lnTo>
                    <a:lnTo>
                      <a:pt x="13145043" y="4311867"/>
                    </a:lnTo>
                    <a:lnTo>
                      <a:pt x="13127289" y="4268295"/>
                    </a:lnTo>
                    <a:lnTo>
                      <a:pt x="13116043" y="4244236"/>
                    </a:lnTo>
                    <a:lnTo>
                      <a:pt x="13099715" y="4215503"/>
                    </a:lnTo>
                    <a:lnTo>
                      <a:pt x="13085121" y="4185325"/>
                    </a:lnTo>
                    <a:lnTo>
                      <a:pt x="13070526" y="4155147"/>
                    </a:lnTo>
                    <a:lnTo>
                      <a:pt x="13057020" y="4123384"/>
                    </a:lnTo>
                    <a:lnTo>
                      <a:pt x="13051111" y="4091472"/>
                    </a:lnTo>
                    <a:lnTo>
                      <a:pt x="13045201" y="4059559"/>
                    </a:lnTo>
                    <a:lnTo>
                      <a:pt x="13047185" y="4028240"/>
                    </a:lnTo>
                    <a:lnTo>
                      <a:pt x="13062000" y="3998978"/>
                    </a:lnTo>
                    <a:lnTo>
                      <a:pt x="13032070" y="4000338"/>
                    </a:lnTo>
                    <a:lnTo>
                      <a:pt x="13002143" y="4001696"/>
                    </a:lnTo>
                    <a:lnTo>
                      <a:pt x="12984622" y="3965450"/>
                    </a:lnTo>
                    <a:lnTo>
                      <a:pt x="12979022" y="3943206"/>
                    </a:lnTo>
                    <a:lnTo>
                      <a:pt x="12973429" y="3920961"/>
                    </a:lnTo>
                    <a:lnTo>
                      <a:pt x="12970204" y="3898795"/>
                    </a:lnTo>
                    <a:lnTo>
                      <a:pt x="12978343" y="3866777"/>
                    </a:lnTo>
                    <a:lnTo>
                      <a:pt x="13007591" y="3845271"/>
                    </a:lnTo>
                    <a:lnTo>
                      <a:pt x="13039939" y="3817381"/>
                    </a:lnTo>
                    <a:lnTo>
                      <a:pt x="13078076" y="3794358"/>
                    </a:lnTo>
                    <a:lnTo>
                      <a:pt x="13116400" y="3775900"/>
                    </a:lnTo>
                    <a:lnTo>
                      <a:pt x="13154729" y="3757441"/>
                    </a:lnTo>
                    <a:lnTo>
                      <a:pt x="13194041" y="3742879"/>
                    </a:lnTo>
                    <a:lnTo>
                      <a:pt x="13232020" y="3729656"/>
                    </a:lnTo>
                    <a:lnTo>
                      <a:pt x="13270003" y="3716426"/>
                    </a:lnTo>
                    <a:lnTo>
                      <a:pt x="13305436" y="3705109"/>
                    </a:lnTo>
                    <a:lnTo>
                      <a:pt x="13336755" y="3692928"/>
                    </a:lnTo>
                    <a:lnTo>
                      <a:pt x="13368074" y="3680748"/>
                    </a:lnTo>
                    <a:lnTo>
                      <a:pt x="13394572" y="3667446"/>
                    </a:lnTo>
                    <a:lnTo>
                      <a:pt x="13412927" y="3652120"/>
                    </a:lnTo>
                    <a:lnTo>
                      <a:pt x="13423941" y="3699392"/>
                    </a:lnTo>
                    <a:lnTo>
                      <a:pt x="13443645" y="3714257"/>
                    </a:lnTo>
                    <a:lnTo>
                      <a:pt x="13465612" y="3719466"/>
                    </a:lnTo>
                    <a:lnTo>
                      <a:pt x="13487890" y="3712754"/>
                    </a:lnTo>
                    <a:lnTo>
                      <a:pt x="13496879" y="3689381"/>
                    </a:lnTo>
                    <a:lnTo>
                      <a:pt x="13510859" y="3660284"/>
                    </a:lnTo>
                    <a:lnTo>
                      <a:pt x="13524843" y="3631180"/>
                    </a:lnTo>
                    <a:lnTo>
                      <a:pt x="13544014" y="3595865"/>
                    </a:lnTo>
                    <a:lnTo>
                      <a:pt x="13581590" y="3566426"/>
                    </a:lnTo>
                    <a:lnTo>
                      <a:pt x="13612152" y="3543073"/>
                    </a:lnTo>
                    <a:lnTo>
                      <a:pt x="13706426" y="3511478"/>
                    </a:lnTo>
                    <a:lnTo>
                      <a:pt x="13736650" y="3498419"/>
                    </a:lnTo>
                    <a:lnTo>
                      <a:pt x="13778303" y="3480428"/>
                    </a:lnTo>
                    <a:lnTo>
                      <a:pt x="13820288" y="3461375"/>
                    </a:lnTo>
                    <a:lnTo>
                      <a:pt x="13861796" y="3441294"/>
                    </a:lnTo>
                    <a:lnTo>
                      <a:pt x="13903297" y="3421206"/>
                    </a:lnTo>
                    <a:lnTo>
                      <a:pt x="13943875" y="3399053"/>
                    </a:lnTo>
                    <a:lnTo>
                      <a:pt x="13981485" y="3373281"/>
                    </a:lnTo>
                    <a:lnTo>
                      <a:pt x="14005834" y="3354834"/>
                    </a:lnTo>
                    <a:lnTo>
                      <a:pt x="14023653" y="3340635"/>
                    </a:lnTo>
                    <a:lnTo>
                      <a:pt x="14041475" y="3326438"/>
                    </a:lnTo>
                    <a:lnTo>
                      <a:pt x="14059523" y="3312745"/>
                    </a:lnTo>
                    <a:lnTo>
                      <a:pt x="14075048" y="3298027"/>
                    </a:lnTo>
                    <a:lnTo>
                      <a:pt x="14085475" y="3277865"/>
                    </a:lnTo>
                    <a:lnTo>
                      <a:pt x="14095751" y="3259025"/>
                    </a:lnTo>
                    <a:lnTo>
                      <a:pt x="14106017" y="3240189"/>
                    </a:lnTo>
                    <a:lnTo>
                      <a:pt x="14125671" y="3215497"/>
                    </a:lnTo>
                    <a:lnTo>
                      <a:pt x="14155077" y="3207802"/>
                    </a:lnTo>
                    <a:lnTo>
                      <a:pt x="14180598" y="3204155"/>
                    </a:lnTo>
                    <a:lnTo>
                      <a:pt x="14203202" y="3203264"/>
                    </a:lnTo>
                    <a:lnTo>
                      <a:pt x="14230403" y="3204623"/>
                    </a:lnTo>
                    <a:lnTo>
                      <a:pt x="14253527" y="3205981"/>
                    </a:lnTo>
                    <a:lnTo>
                      <a:pt x="14278381" y="3197408"/>
                    </a:lnTo>
                    <a:lnTo>
                      <a:pt x="14294092" y="3178349"/>
                    </a:lnTo>
                    <a:lnTo>
                      <a:pt x="14303859" y="3155650"/>
                    </a:lnTo>
                    <a:lnTo>
                      <a:pt x="14314866" y="3126619"/>
                    </a:lnTo>
                    <a:lnTo>
                      <a:pt x="14314739" y="3099883"/>
                    </a:lnTo>
                    <a:lnTo>
                      <a:pt x="14281138" y="3080381"/>
                    </a:lnTo>
                    <a:lnTo>
                      <a:pt x="14251053" y="3072283"/>
                    </a:lnTo>
                    <a:lnTo>
                      <a:pt x="14219523" y="3065878"/>
                    </a:lnTo>
                    <a:lnTo>
                      <a:pt x="14187999" y="3059469"/>
                    </a:lnTo>
                    <a:lnTo>
                      <a:pt x="14155359" y="3054926"/>
                    </a:lnTo>
                    <a:lnTo>
                      <a:pt x="14125671" y="3049557"/>
                    </a:lnTo>
                    <a:lnTo>
                      <a:pt x="14110668" y="3027853"/>
                    </a:lnTo>
                    <a:lnTo>
                      <a:pt x="14115554" y="2989049"/>
                    </a:lnTo>
                    <a:lnTo>
                      <a:pt x="14103908" y="2962503"/>
                    </a:lnTo>
                    <a:lnTo>
                      <a:pt x="14054603" y="2948041"/>
                    </a:lnTo>
                    <a:lnTo>
                      <a:pt x="14019988" y="2946960"/>
                    </a:lnTo>
                    <a:lnTo>
                      <a:pt x="13985568" y="2946182"/>
                    </a:lnTo>
                    <a:lnTo>
                      <a:pt x="13951155" y="2945404"/>
                    </a:lnTo>
                    <a:lnTo>
                      <a:pt x="13916769" y="2945304"/>
                    </a:lnTo>
                    <a:lnTo>
                      <a:pt x="13880834" y="2946182"/>
                    </a:lnTo>
                    <a:lnTo>
                      <a:pt x="13853018" y="2946855"/>
                    </a:lnTo>
                    <a:lnTo>
                      <a:pt x="13827997" y="2928184"/>
                    </a:lnTo>
                    <a:lnTo>
                      <a:pt x="13803307" y="2908096"/>
                    </a:lnTo>
                    <a:lnTo>
                      <a:pt x="13778613" y="2888009"/>
                    </a:lnTo>
                    <a:lnTo>
                      <a:pt x="13754339" y="2866779"/>
                    </a:lnTo>
                    <a:lnTo>
                      <a:pt x="13727134" y="2863204"/>
                    </a:lnTo>
                    <a:lnTo>
                      <a:pt x="13637351" y="2850978"/>
                    </a:lnTo>
                    <a:lnTo>
                      <a:pt x="13548941" y="2838737"/>
                    </a:lnTo>
                    <a:lnTo>
                      <a:pt x="13525817" y="2825132"/>
                    </a:lnTo>
                    <a:lnTo>
                      <a:pt x="13508980" y="2810827"/>
                    </a:lnTo>
                    <a:lnTo>
                      <a:pt x="13501291" y="2778065"/>
                    </a:lnTo>
                    <a:lnTo>
                      <a:pt x="13498178" y="2753459"/>
                    </a:lnTo>
                    <a:lnTo>
                      <a:pt x="13487732" y="2733998"/>
                    </a:lnTo>
                    <a:lnTo>
                      <a:pt x="13477286" y="2714535"/>
                    </a:lnTo>
                    <a:lnTo>
                      <a:pt x="13460614" y="2699783"/>
                    </a:lnTo>
                    <a:lnTo>
                      <a:pt x="13430601" y="2693194"/>
                    </a:lnTo>
                    <a:lnTo>
                      <a:pt x="13403139" y="2658294"/>
                    </a:lnTo>
                    <a:lnTo>
                      <a:pt x="13393874" y="2633345"/>
                    </a:lnTo>
                    <a:lnTo>
                      <a:pt x="13384616" y="2608390"/>
                    </a:lnTo>
                    <a:lnTo>
                      <a:pt x="13378027" y="2582506"/>
                    </a:lnTo>
                    <a:lnTo>
                      <a:pt x="13391158" y="2555809"/>
                    </a:lnTo>
                    <a:lnTo>
                      <a:pt x="13412921" y="2557168"/>
                    </a:lnTo>
                    <a:lnTo>
                      <a:pt x="13444330" y="2519946"/>
                    </a:lnTo>
                    <a:lnTo>
                      <a:pt x="13445790" y="2489393"/>
                    </a:lnTo>
                    <a:lnTo>
                      <a:pt x="13453722" y="2468757"/>
                    </a:lnTo>
                    <a:lnTo>
                      <a:pt x="13474127" y="2446994"/>
                    </a:lnTo>
                    <a:lnTo>
                      <a:pt x="13499716" y="2441651"/>
                    </a:lnTo>
                    <a:lnTo>
                      <a:pt x="13523094" y="2445636"/>
                    </a:lnTo>
                    <a:lnTo>
                      <a:pt x="13534107" y="2467056"/>
                    </a:lnTo>
                    <a:lnTo>
                      <a:pt x="13543499" y="2493244"/>
                    </a:lnTo>
                    <a:lnTo>
                      <a:pt x="13566747" y="2500795"/>
                    </a:lnTo>
                    <a:lnTo>
                      <a:pt x="13590982" y="2512890"/>
                    </a:lnTo>
                    <a:lnTo>
                      <a:pt x="13611514" y="2528606"/>
                    </a:lnTo>
                    <a:lnTo>
                      <a:pt x="13638374" y="2507548"/>
                    </a:lnTo>
                    <a:lnTo>
                      <a:pt x="13640839" y="2469924"/>
                    </a:lnTo>
                    <a:lnTo>
                      <a:pt x="13657756" y="2455158"/>
                    </a:lnTo>
                    <a:lnTo>
                      <a:pt x="13693124" y="2456523"/>
                    </a:lnTo>
                    <a:lnTo>
                      <a:pt x="13711697" y="2434734"/>
                    </a:lnTo>
                    <a:lnTo>
                      <a:pt x="13729001" y="2381968"/>
                    </a:lnTo>
                    <a:lnTo>
                      <a:pt x="13752057" y="2373961"/>
                    </a:lnTo>
                    <a:lnTo>
                      <a:pt x="13788334" y="2378987"/>
                    </a:lnTo>
                    <a:lnTo>
                      <a:pt x="13824508" y="2385232"/>
                    </a:lnTo>
                    <a:lnTo>
                      <a:pt x="13849583" y="2400440"/>
                    </a:lnTo>
                    <a:lnTo>
                      <a:pt x="13853914" y="2424769"/>
                    </a:lnTo>
                    <a:lnTo>
                      <a:pt x="13857706" y="2448359"/>
                    </a:lnTo>
                    <a:lnTo>
                      <a:pt x="13861498" y="2471949"/>
                    </a:lnTo>
                    <a:lnTo>
                      <a:pt x="13864084" y="2495084"/>
                    </a:lnTo>
                    <a:lnTo>
                      <a:pt x="13909213" y="2512988"/>
                    </a:lnTo>
                    <a:lnTo>
                      <a:pt x="13932257" y="2513430"/>
                    </a:lnTo>
                    <a:lnTo>
                      <a:pt x="13965421" y="2502984"/>
                    </a:lnTo>
                    <a:lnTo>
                      <a:pt x="13984204" y="2476921"/>
                    </a:lnTo>
                    <a:lnTo>
                      <a:pt x="14001112" y="2444336"/>
                    </a:lnTo>
                    <a:lnTo>
                      <a:pt x="14021703" y="2408849"/>
                    </a:lnTo>
                    <a:lnTo>
                      <a:pt x="14035044" y="2391082"/>
                    </a:lnTo>
                    <a:lnTo>
                      <a:pt x="14056293" y="2376263"/>
                    </a:lnTo>
                    <a:lnTo>
                      <a:pt x="14081829" y="2376666"/>
                    </a:lnTo>
                    <a:lnTo>
                      <a:pt x="14117808" y="2384046"/>
                    </a:lnTo>
                    <a:lnTo>
                      <a:pt x="14144703" y="2391220"/>
                    </a:lnTo>
                    <a:lnTo>
                      <a:pt x="14149921" y="2432543"/>
                    </a:lnTo>
                    <a:lnTo>
                      <a:pt x="14143351" y="2460593"/>
                    </a:lnTo>
                    <a:lnTo>
                      <a:pt x="14136768" y="2488647"/>
                    </a:lnTo>
                    <a:lnTo>
                      <a:pt x="14128769" y="2517084"/>
                    </a:lnTo>
                    <a:lnTo>
                      <a:pt x="14137903" y="2536763"/>
                    </a:lnTo>
                    <a:lnTo>
                      <a:pt x="14173272" y="2551727"/>
                    </a:lnTo>
                    <a:lnTo>
                      <a:pt x="14193382" y="2534212"/>
                    </a:lnTo>
                    <a:lnTo>
                      <a:pt x="14202265" y="2462419"/>
                    </a:lnTo>
                    <a:lnTo>
                      <a:pt x="14216798" y="2433388"/>
                    </a:lnTo>
                    <a:lnTo>
                      <a:pt x="14249444" y="2433388"/>
                    </a:lnTo>
                    <a:lnTo>
                      <a:pt x="14256172" y="2460632"/>
                    </a:lnTo>
                    <a:lnTo>
                      <a:pt x="14250876" y="2498639"/>
                    </a:lnTo>
                    <a:lnTo>
                      <a:pt x="14254879" y="2531322"/>
                    </a:lnTo>
                    <a:lnTo>
                      <a:pt x="14278298" y="2565689"/>
                    </a:lnTo>
                    <a:lnTo>
                      <a:pt x="14277445" y="2599691"/>
                    </a:lnTo>
                    <a:lnTo>
                      <a:pt x="14269836" y="2623815"/>
                    </a:lnTo>
                    <a:lnTo>
                      <a:pt x="14308904" y="2644920"/>
                    </a:lnTo>
                    <a:lnTo>
                      <a:pt x="14336911" y="2640574"/>
                    </a:lnTo>
                    <a:lnTo>
                      <a:pt x="14357012" y="2595682"/>
                    </a:lnTo>
                    <a:lnTo>
                      <a:pt x="14373210" y="2549003"/>
                    </a:lnTo>
                    <a:lnTo>
                      <a:pt x="14389413" y="2502325"/>
                    </a:lnTo>
                    <a:lnTo>
                      <a:pt x="14401800" y="2453291"/>
                    </a:lnTo>
                    <a:lnTo>
                      <a:pt x="14422177" y="2437470"/>
                    </a:lnTo>
                    <a:lnTo>
                      <a:pt x="14453462" y="2442918"/>
                    </a:lnTo>
                    <a:lnTo>
                      <a:pt x="14457967" y="2408849"/>
                    </a:lnTo>
                    <a:lnTo>
                      <a:pt x="14462566" y="2370888"/>
                    </a:lnTo>
                    <a:lnTo>
                      <a:pt x="14480667" y="2347701"/>
                    </a:lnTo>
                    <a:lnTo>
                      <a:pt x="14526450" y="2347504"/>
                    </a:lnTo>
                    <a:lnTo>
                      <a:pt x="14541624" y="2324705"/>
                    </a:lnTo>
                    <a:lnTo>
                      <a:pt x="14544598" y="2294657"/>
                    </a:lnTo>
                    <a:lnTo>
                      <a:pt x="14549484" y="2239538"/>
                    </a:lnTo>
                    <a:lnTo>
                      <a:pt x="14554907" y="2207407"/>
                    </a:lnTo>
                    <a:lnTo>
                      <a:pt x="14569086" y="2179036"/>
                    </a:lnTo>
                    <a:lnTo>
                      <a:pt x="14583259" y="2150671"/>
                    </a:lnTo>
                    <a:lnTo>
                      <a:pt x="14606275" y="2126818"/>
                    </a:lnTo>
                    <a:lnTo>
                      <a:pt x="14643891" y="2085185"/>
                    </a:lnTo>
                    <a:lnTo>
                      <a:pt x="14645249" y="2048457"/>
                    </a:lnTo>
                    <a:lnTo>
                      <a:pt x="14566572" y="1999872"/>
                    </a:lnTo>
                    <a:lnTo>
                      <a:pt x="14548681" y="1984532"/>
                    </a:lnTo>
                    <a:lnTo>
                      <a:pt x="14531634" y="1969885"/>
                    </a:lnTo>
                    <a:lnTo>
                      <a:pt x="14512206" y="1959901"/>
                    </a:lnTo>
                    <a:lnTo>
                      <a:pt x="14494272" y="1946447"/>
                    </a:lnTo>
                    <a:lnTo>
                      <a:pt x="14423752" y="1893524"/>
                    </a:lnTo>
                    <a:lnTo>
                      <a:pt x="14385181" y="1864829"/>
                    </a:lnTo>
                    <a:lnTo>
                      <a:pt x="14343289" y="1843065"/>
                    </a:lnTo>
                    <a:lnTo>
                      <a:pt x="14301391" y="1821316"/>
                    </a:lnTo>
                    <a:lnTo>
                      <a:pt x="14255108" y="1805343"/>
                    </a:lnTo>
                    <a:lnTo>
                      <a:pt x="14167824" y="1776418"/>
                    </a:lnTo>
                    <a:lnTo>
                      <a:pt x="14142046" y="1768286"/>
                    </a:lnTo>
                    <a:lnTo>
                      <a:pt x="14103828" y="1760068"/>
                    </a:lnTo>
                    <a:lnTo>
                      <a:pt x="14076691" y="1764176"/>
                    </a:lnTo>
                    <a:lnTo>
                      <a:pt x="14047019" y="1791810"/>
                    </a:lnTo>
                    <a:lnTo>
                      <a:pt x="14017951" y="1855379"/>
                    </a:lnTo>
                    <a:lnTo>
                      <a:pt x="14004603" y="1893398"/>
                    </a:lnTo>
                    <a:lnTo>
                      <a:pt x="13976586" y="1872657"/>
                    </a:lnTo>
                    <a:lnTo>
                      <a:pt x="13931575" y="1843322"/>
                    </a:lnTo>
                    <a:lnTo>
                      <a:pt x="13895785" y="1838989"/>
                    </a:lnTo>
                    <a:lnTo>
                      <a:pt x="13865278" y="1862896"/>
                    </a:lnTo>
                    <a:lnTo>
                      <a:pt x="13856630" y="1886473"/>
                    </a:lnTo>
                    <a:lnTo>
                      <a:pt x="13850894" y="1911079"/>
                    </a:lnTo>
                    <a:lnTo>
                      <a:pt x="13845155" y="1935684"/>
                    </a:lnTo>
                    <a:lnTo>
                      <a:pt x="13842445" y="1962274"/>
                    </a:lnTo>
                    <a:lnTo>
                      <a:pt x="13838653" y="1985892"/>
                    </a:lnTo>
                    <a:lnTo>
                      <a:pt x="13834867" y="2009501"/>
                    </a:lnTo>
                    <a:lnTo>
                      <a:pt x="13830675" y="2030255"/>
                    </a:lnTo>
                    <a:lnTo>
                      <a:pt x="13816713" y="2061225"/>
                    </a:lnTo>
                    <a:lnTo>
                      <a:pt x="13791044" y="2071579"/>
                    </a:lnTo>
                    <a:lnTo>
                      <a:pt x="13770654" y="2062056"/>
                    </a:lnTo>
                    <a:lnTo>
                      <a:pt x="13772750" y="2026153"/>
                    </a:lnTo>
                    <a:lnTo>
                      <a:pt x="13764252" y="1987033"/>
                    </a:lnTo>
                    <a:lnTo>
                      <a:pt x="13748885" y="1950523"/>
                    </a:lnTo>
                    <a:lnTo>
                      <a:pt x="13733519" y="1914014"/>
                    </a:lnTo>
                    <a:lnTo>
                      <a:pt x="13710819" y="1880557"/>
                    </a:lnTo>
                    <a:lnTo>
                      <a:pt x="13683593" y="1856670"/>
                    </a:lnTo>
                    <a:lnTo>
                      <a:pt x="13643133" y="1832355"/>
                    </a:lnTo>
                    <a:lnTo>
                      <a:pt x="13620053" y="1807512"/>
                    </a:lnTo>
                    <a:lnTo>
                      <a:pt x="13591102" y="1795463"/>
                    </a:lnTo>
                    <a:lnTo>
                      <a:pt x="13556075" y="1780901"/>
                    </a:lnTo>
                    <a:lnTo>
                      <a:pt x="13528278" y="1778349"/>
                    </a:lnTo>
                    <a:lnTo>
                      <a:pt x="13497248" y="1753295"/>
                    </a:lnTo>
                    <a:lnTo>
                      <a:pt x="13475823" y="1768720"/>
                    </a:lnTo>
                    <a:lnTo>
                      <a:pt x="13460865" y="1799308"/>
                    </a:lnTo>
                    <a:lnTo>
                      <a:pt x="13450913" y="1830634"/>
                    </a:lnTo>
                    <a:lnTo>
                      <a:pt x="13437400" y="1849864"/>
                    </a:lnTo>
                    <a:lnTo>
                      <a:pt x="13406351" y="1882134"/>
                    </a:lnTo>
                    <a:lnTo>
                      <a:pt x="13385710" y="1890674"/>
                    </a:lnTo>
                    <a:lnTo>
                      <a:pt x="13365067" y="1899215"/>
                    </a:lnTo>
                    <a:lnTo>
                      <a:pt x="13343226" y="1898793"/>
                    </a:lnTo>
                    <a:lnTo>
                      <a:pt x="13325866" y="1882517"/>
                    </a:lnTo>
                    <a:lnTo>
                      <a:pt x="13331816" y="1832546"/>
                    </a:lnTo>
                    <a:lnTo>
                      <a:pt x="13329949" y="1802262"/>
                    </a:lnTo>
                    <a:lnTo>
                      <a:pt x="13297613" y="1783777"/>
                    </a:lnTo>
                    <a:lnTo>
                      <a:pt x="13275534" y="1779141"/>
                    </a:lnTo>
                    <a:lnTo>
                      <a:pt x="13253455" y="1774498"/>
                    </a:lnTo>
                    <a:lnTo>
                      <a:pt x="13228749" y="1772901"/>
                    </a:lnTo>
                    <a:lnTo>
                      <a:pt x="13204804" y="1770976"/>
                    </a:lnTo>
                    <a:lnTo>
                      <a:pt x="13156918" y="1767119"/>
                    </a:lnTo>
                    <a:lnTo>
                      <a:pt x="13110974" y="1765086"/>
                    </a:lnTo>
                    <a:lnTo>
                      <a:pt x="13097347" y="1747855"/>
                    </a:lnTo>
                    <a:lnTo>
                      <a:pt x="13094209" y="1687260"/>
                    </a:lnTo>
                    <a:lnTo>
                      <a:pt x="13082687" y="1661831"/>
                    </a:lnTo>
                    <a:lnTo>
                      <a:pt x="13047021" y="1652638"/>
                    </a:lnTo>
                    <a:lnTo>
                      <a:pt x="13009978" y="1645680"/>
                    </a:lnTo>
                    <a:lnTo>
                      <a:pt x="12952239" y="1628092"/>
                    </a:lnTo>
                    <a:lnTo>
                      <a:pt x="12911345" y="1611301"/>
                    </a:lnTo>
                    <a:lnTo>
                      <a:pt x="12871559" y="1596870"/>
                    </a:lnTo>
                    <a:lnTo>
                      <a:pt x="12848990" y="1595579"/>
                    </a:lnTo>
                    <a:lnTo>
                      <a:pt x="12834277" y="1611762"/>
                    </a:lnTo>
                    <a:lnTo>
                      <a:pt x="12825307" y="1639038"/>
                    </a:lnTo>
                    <a:lnTo>
                      <a:pt x="12817804" y="1667139"/>
                    </a:lnTo>
                    <a:lnTo>
                      <a:pt x="12815810" y="1699982"/>
                    </a:lnTo>
                    <a:lnTo>
                      <a:pt x="12789892" y="1711925"/>
                    </a:lnTo>
                    <a:lnTo>
                      <a:pt x="12766824" y="1698887"/>
                    </a:lnTo>
                    <a:lnTo>
                      <a:pt x="12752044" y="1678087"/>
                    </a:lnTo>
                    <a:lnTo>
                      <a:pt x="12740788" y="1651675"/>
                    </a:lnTo>
                    <a:lnTo>
                      <a:pt x="12728740" y="1625433"/>
                    </a:lnTo>
                    <a:lnTo>
                      <a:pt x="12714731" y="1603050"/>
                    </a:lnTo>
                    <a:lnTo>
                      <a:pt x="12663447" y="1599588"/>
                    </a:lnTo>
                    <a:lnTo>
                      <a:pt x="12630634" y="1547402"/>
                    </a:lnTo>
                    <a:lnTo>
                      <a:pt x="12604682" y="1511685"/>
                    </a:lnTo>
                    <a:lnTo>
                      <a:pt x="12575037" y="1479890"/>
                    </a:lnTo>
                    <a:lnTo>
                      <a:pt x="12545386" y="1448097"/>
                    </a:lnTo>
                    <a:lnTo>
                      <a:pt x="12511739" y="1420476"/>
                    </a:lnTo>
                    <a:lnTo>
                      <a:pt x="12474380" y="1390120"/>
                    </a:lnTo>
                    <a:lnTo>
                      <a:pt x="12502053" y="1375783"/>
                    </a:lnTo>
                    <a:lnTo>
                      <a:pt x="12524073" y="1365516"/>
                    </a:lnTo>
                    <a:lnTo>
                      <a:pt x="12552549" y="1335832"/>
                    </a:lnTo>
                    <a:lnTo>
                      <a:pt x="12558880" y="1315591"/>
                    </a:lnTo>
                    <a:lnTo>
                      <a:pt x="12555990" y="1282663"/>
                    </a:lnTo>
                    <a:lnTo>
                      <a:pt x="12545452" y="1246213"/>
                    </a:lnTo>
                    <a:lnTo>
                      <a:pt x="12557628" y="1217492"/>
                    </a:lnTo>
                    <a:lnTo>
                      <a:pt x="12596800" y="1217374"/>
                    </a:lnTo>
                    <a:lnTo>
                      <a:pt x="12636798" y="1212909"/>
                    </a:lnTo>
                    <a:lnTo>
                      <a:pt x="12652567" y="1198327"/>
                    </a:lnTo>
                    <a:lnTo>
                      <a:pt x="12648999" y="1138697"/>
                    </a:lnTo>
                    <a:lnTo>
                      <a:pt x="12627059" y="1127801"/>
                    </a:lnTo>
                    <a:lnTo>
                      <a:pt x="12599011" y="1128263"/>
                    </a:lnTo>
                    <a:lnTo>
                      <a:pt x="12572315" y="1124881"/>
                    </a:lnTo>
                    <a:lnTo>
                      <a:pt x="12545610" y="1121498"/>
                    </a:lnTo>
                    <a:lnTo>
                      <a:pt x="12520095" y="1114487"/>
                    </a:lnTo>
                    <a:lnTo>
                      <a:pt x="12499969" y="1078341"/>
                    </a:lnTo>
                    <a:lnTo>
                      <a:pt x="12494106" y="1014659"/>
                    </a:lnTo>
                    <a:lnTo>
                      <a:pt x="12494785" y="990219"/>
                    </a:lnTo>
                    <a:lnTo>
                      <a:pt x="12436255" y="986202"/>
                    </a:lnTo>
                    <a:lnTo>
                      <a:pt x="12381207" y="986922"/>
                    </a:lnTo>
                    <a:lnTo>
                      <a:pt x="12327477" y="984778"/>
                    </a:lnTo>
                    <a:lnTo>
                      <a:pt x="12299786" y="983671"/>
                    </a:lnTo>
                    <a:lnTo>
                      <a:pt x="12261463" y="976680"/>
                    </a:lnTo>
                    <a:lnTo>
                      <a:pt x="12224104" y="971180"/>
                    </a:lnTo>
                    <a:lnTo>
                      <a:pt x="12186748" y="965673"/>
                    </a:lnTo>
                    <a:lnTo>
                      <a:pt x="12150273" y="961847"/>
                    </a:lnTo>
                    <a:lnTo>
                      <a:pt x="12126169" y="967104"/>
                    </a:lnTo>
                    <a:lnTo>
                      <a:pt x="12100198" y="950228"/>
                    </a:lnTo>
                    <a:lnTo>
                      <a:pt x="12070401" y="899091"/>
                    </a:lnTo>
                    <a:lnTo>
                      <a:pt x="12060027" y="878857"/>
                    </a:lnTo>
                    <a:lnTo>
                      <a:pt x="12056288" y="854034"/>
                    </a:lnTo>
                    <a:lnTo>
                      <a:pt x="12045916" y="833801"/>
                    </a:lnTo>
                    <a:lnTo>
                      <a:pt x="12022324" y="787980"/>
                    </a:lnTo>
                    <a:lnTo>
                      <a:pt x="11999541" y="753443"/>
                    </a:lnTo>
                    <a:lnTo>
                      <a:pt x="11972466" y="723626"/>
                    </a:lnTo>
                    <a:lnTo>
                      <a:pt x="11945395" y="693811"/>
                    </a:lnTo>
                    <a:lnTo>
                      <a:pt x="11914597" y="668250"/>
                    </a:lnTo>
                    <a:lnTo>
                      <a:pt x="11873167" y="640656"/>
                    </a:lnTo>
                    <a:lnTo>
                      <a:pt x="11839975" y="616254"/>
                    </a:lnTo>
                    <a:lnTo>
                      <a:pt x="11787225" y="567143"/>
                    </a:lnTo>
                    <a:lnTo>
                      <a:pt x="11745953" y="524336"/>
                    </a:lnTo>
                    <a:lnTo>
                      <a:pt x="11701785" y="486949"/>
                    </a:lnTo>
                    <a:lnTo>
                      <a:pt x="11652464" y="445203"/>
                    </a:lnTo>
                    <a:lnTo>
                      <a:pt x="11591683" y="416166"/>
                    </a:lnTo>
                    <a:lnTo>
                      <a:pt x="11529045" y="390380"/>
                    </a:lnTo>
                    <a:lnTo>
                      <a:pt x="11466401" y="364587"/>
                    </a:lnTo>
                    <a:lnTo>
                      <a:pt x="11401376" y="341696"/>
                    </a:lnTo>
                    <a:lnTo>
                      <a:pt x="11344052" y="312850"/>
                    </a:lnTo>
                    <a:lnTo>
                      <a:pt x="11285950" y="283622"/>
                    </a:lnTo>
                    <a:lnTo>
                      <a:pt x="11234980" y="243689"/>
                    </a:lnTo>
                    <a:lnTo>
                      <a:pt x="11174028" y="220356"/>
                    </a:lnTo>
                    <a:lnTo>
                      <a:pt x="11139854" y="207259"/>
                    </a:lnTo>
                    <a:lnTo>
                      <a:pt x="11100963" y="200565"/>
                    </a:lnTo>
                    <a:lnTo>
                      <a:pt x="11067939" y="187705"/>
                    </a:lnTo>
                    <a:lnTo>
                      <a:pt x="11036480" y="175446"/>
                    </a:lnTo>
                    <a:lnTo>
                      <a:pt x="11001493" y="164438"/>
                    </a:lnTo>
                    <a:lnTo>
                      <a:pt x="10971362" y="149619"/>
                    </a:lnTo>
                    <a:lnTo>
                      <a:pt x="10950020" y="130580"/>
                    </a:lnTo>
                    <a:lnTo>
                      <a:pt x="10917585" y="107992"/>
                    </a:lnTo>
                    <a:lnTo>
                      <a:pt x="10873864" y="79099"/>
                    </a:lnTo>
                    <a:lnTo>
                      <a:pt x="10828542" y="53050"/>
                    </a:lnTo>
                    <a:lnTo>
                      <a:pt x="10783215" y="27000"/>
                    </a:lnTo>
                    <a:lnTo>
                      <a:pt x="10735962" y="4347"/>
                    </a:lnTo>
                    <a:lnTo>
                      <a:pt x="10703403" y="0"/>
                    </a:lnTo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87" name="Poltava¬0" descr="Poltava¬0">
                <a:extLst>
                  <a:ext uri="{FF2B5EF4-FFF2-40B4-BE49-F238E27FC236}">
                    <a16:creationId xmlns:a16="http://schemas.microsoft.com/office/drawing/2014/main" id="{014520AE-2A33-47F8-95C6-76D23C54405C}"/>
                  </a:ext>
                </a:extLst>
              </p:cNvPr>
              <p:cNvSpPr/>
              <p:nvPr/>
            </p:nvSpPr>
            <p:spPr>
              <a:xfrm>
                <a:off x="34762907" y="9622045"/>
                <a:ext cx="11943909" cy="9516530"/>
              </a:xfrm>
              <a:custGeom>
                <a:avLst/>
                <a:gdLst/>
                <a:ahLst/>
                <a:cxnLst/>
                <a:rect l="0" t="0" r="0" b="0"/>
                <a:pathLst>
                  <a:path w="11943911" h="9516532">
                    <a:moveTo>
                      <a:pt x="10216369" y="7272543"/>
                    </a:moveTo>
                    <a:lnTo>
                      <a:pt x="10227317" y="7249856"/>
                    </a:lnTo>
                    <a:lnTo>
                      <a:pt x="10231233" y="7214349"/>
                    </a:lnTo>
                    <a:lnTo>
                      <a:pt x="10227751" y="7153558"/>
                    </a:lnTo>
                    <a:lnTo>
                      <a:pt x="10219107" y="7111923"/>
                    </a:lnTo>
                    <a:lnTo>
                      <a:pt x="10205250" y="7066841"/>
                    </a:lnTo>
                    <a:lnTo>
                      <a:pt x="10189381" y="7033629"/>
                    </a:lnTo>
                    <a:lnTo>
                      <a:pt x="10177010" y="7002297"/>
                    </a:lnTo>
                    <a:lnTo>
                      <a:pt x="10165922" y="6978324"/>
                    </a:lnTo>
                    <a:lnTo>
                      <a:pt x="10144702" y="6945890"/>
                    </a:lnTo>
                    <a:lnTo>
                      <a:pt x="10119587" y="6913543"/>
                    </a:lnTo>
                    <a:lnTo>
                      <a:pt x="10106279" y="6885323"/>
                    </a:lnTo>
                    <a:lnTo>
                      <a:pt x="10094745" y="6851927"/>
                    </a:lnTo>
                    <a:lnTo>
                      <a:pt x="10096057" y="6815338"/>
                    </a:lnTo>
                    <a:lnTo>
                      <a:pt x="10107638" y="6776506"/>
                    </a:lnTo>
                    <a:lnTo>
                      <a:pt x="10122133" y="6737334"/>
                    </a:lnTo>
                    <a:lnTo>
                      <a:pt x="10147703" y="6696260"/>
                    </a:lnTo>
                    <a:lnTo>
                      <a:pt x="10178368" y="6656810"/>
                    </a:lnTo>
                    <a:lnTo>
                      <a:pt x="10239701" y="6577908"/>
                    </a:lnTo>
                    <a:lnTo>
                      <a:pt x="10320251" y="6504599"/>
                    </a:lnTo>
                    <a:lnTo>
                      <a:pt x="10364719" y="6463657"/>
                    </a:lnTo>
                    <a:lnTo>
                      <a:pt x="10385171" y="6457222"/>
                    </a:lnTo>
                    <a:lnTo>
                      <a:pt x="10427333" y="6456859"/>
                    </a:lnTo>
                    <a:lnTo>
                      <a:pt x="10449049" y="6477263"/>
                    </a:lnTo>
                    <a:lnTo>
                      <a:pt x="10464019" y="6506755"/>
                    </a:lnTo>
                    <a:lnTo>
                      <a:pt x="10481695" y="6524872"/>
                    </a:lnTo>
                    <a:lnTo>
                      <a:pt x="10502785" y="6546477"/>
                    </a:lnTo>
                    <a:lnTo>
                      <a:pt x="10529044" y="6566485"/>
                    </a:lnTo>
                    <a:lnTo>
                      <a:pt x="10557864" y="6576556"/>
                    </a:lnTo>
                    <a:lnTo>
                      <a:pt x="10592507" y="6588637"/>
                    </a:lnTo>
                    <a:lnTo>
                      <a:pt x="10663049" y="6596908"/>
                    </a:lnTo>
                    <a:lnTo>
                      <a:pt x="10733330" y="6602401"/>
                    </a:lnTo>
                    <a:lnTo>
                      <a:pt x="10803617" y="6607895"/>
                    </a:lnTo>
                    <a:lnTo>
                      <a:pt x="10872797" y="6610903"/>
                    </a:lnTo>
                    <a:lnTo>
                      <a:pt x="10907434" y="6610560"/>
                    </a:lnTo>
                    <a:lnTo>
                      <a:pt x="10965074" y="6610031"/>
                    </a:lnTo>
                    <a:lnTo>
                      <a:pt x="10999295" y="6592660"/>
                    </a:lnTo>
                    <a:lnTo>
                      <a:pt x="11048895" y="6575198"/>
                    </a:lnTo>
                    <a:lnTo>
                      <a:pt x="11108361" y="6554266"/>
                    </a:lnTo>
                    <a:lnTo>
                      <a:pt x="11167136" y="6522629"/>
                    </a:lnTo>
                    <a:lnTo>
                      <a:pt x="11218925" y="6482704"/>
                    </a:lnTo>
                    <a:lnTo>
                      <a:pt x="11270714" y="6442778"/>
                    </a:lnTo>
                    <a:lnTo>
                      <a:pt x="11315613" y="6395434"/>
                    </a:lnTo>
                    <a:lnTo>
                      <a:pt x="11350864" y="6342601"/>
                    </a:lnTo>
                    <a:lnTo>
                      <a:pt x="11375092" y="6306284"/>
                    </a:lnTo>
                    <a:lnTo>
                      <a:pt x="11390862" y="6263990"/>
                    </a:lnTo>
                    <a:lnTo>
                      <a:pt x="11417511" y="6228345"/>
                    </a:lnTo>
                    <a:lnTo>
                      <a:pt x="11454067" y="6179510"/>
                    </a:lnTo>
                    <a:lnTo>
                      <a:pt x="11492837" y="6132264"/>
                    </a:lnTo>
                    <a:lnTo>
                      <a:pt x="11530410" y="6084167"/>
                    </a:lnTo>
                    <a:lnTo>
                      <a:pt x="11541721" y="6056132"/>
                    </a:lnTo>
                    <a:lnTo>
                      <a:pt x="11540288" y="6034000"/>
                    </a:lnTo>
                    <a:lnTo>
                      <a:pt x="11514088" y="6010713"/>
                    </a:lnTo>
                    <a:lnTo>
                      <a:pt x="11483501" y="5990302"/>
                    </a:lnTo>
                    <a:lnTo>
                      <a:pt x="11475988" y="5968545"/>
                    </a:lnTo>
                    <a:lnTo>
                      <a:pt x="11497243" y="5949822"/>
                    </a:lnTo>
                    <a:lnTo>
                      <a:pt x="11509812" y="5928633"/>
                    </a:lnTo>
                    <a:lnTo>
                      <a:pt x="11514073" y="5900538"/>
                    </a:lnTo>
                    <a:lnTo>
                      <a:pt x="11490952" y="5875840"/>
                    </a:lnTo>
                    <a:lnTo>
                      <a:pt x="11435739" y="5867557"/>
                    </a:lnTo>
                    <a:lnTo>
                      <a:pt x="11407974" y="5850213"/>
                    </a:lnTo>
                    <a:lnTo>
                      <a:pt x="11413415" y="5806687"/>
                    </a:lnTo>
                    <a:lnTo>
                      <a:pt x="11402501" y="5770256"/>
                    </a:lnTo>
                    <a:lnTo>
                      <a:pt x="11369046" y="5751955"/>
                    </a:lnTo>
                    <a:lnTo>
                      <a:pt x="11353574" y="5720993"/>
                    </a:lnTo>
                    <a:lnTo>
                      <a:pt x="11383665" y="5609967"/>
                    </a:lnTo>
                    <a:lnTo>
                      <a:pt x="11405720" y="5584057"/>
                    </a:lnTo>
                    <a:lnTo>
                      <a:pt x="11449801" y="5583844"/>
                    </a:lnTo>
                    <a:lnTo>
                      <a:pt x="11485426" y="5577527"/>
                    </a:lnTo>
                    <a:lnTo>
                      <a:pt x="11514073" y="5559128"/>
                    </a:lnTo>
                    <a:lnTo>
                      <a:pt x="11557034" y="5560136"/>
                    </a:lnTo>
                    <a:lnTo>
                      <a:pt x="11597460" y="5573530"/>
                    </a:lnTo>
                    <a:lnTo>
                      <a:pt x="11637854" y="5587691"/>
                    </a:lnTo>
                    <a:lnTo>
                      <a:pt x="11678249" y="5601856"/>
                    </a:lnTo>
                    <a:lnTo>
                      <a:pt x="11718488" y="5617790"/>
                    </a:lnTo>
                    <a:lnTo>
                      <a:pt x="11760268" y="5623059"/>
                    </a:lnTo>
                    <a:lnTo>
                      <a:pt x="11773266" y="5598736"/>
                    </a:lnTo>
                    <a:lnTo>
                      <a:pt x="11782645" y="5571209"/>
                    </a:lnTo>
                    <a:lnTo>
                      <a:pt x="11798359" y="5555052"/>
                    </a:lnTo>
                    <a:lnTo>
                      <a:pt x="11822841" y="5549775"/>
                    </a:lnTo>
                    <a:lnTo>
                      <a:pt x="11881923" y="5558731"/>
                    </a:lnTo>
                    <a:lnTo>
                      <a:pt x="11908957" y="5539025"/>
                    </a:lnTo>
                    <a:lnTo>
                      <a:pt x="11914774" y="5502299"/>
                    </a:lnTo>
                    <a:lnTo>
                      <a:pt x="11906939" y="5461852"/>
                    </a:lnTo>
                    <a:lnTo>
                      <a:pt x="11886236" y="5444606"/>
                    </a:lnTo>
                    <a:lnTo>
                      <a:pt x="11860926" y="5432630"/>
                    </a:lnTo>
                    <a:lnTo>
                      <a:pt x="11835616" y="5420654"/>
                    </a:lnTo>
                    <a:lnTo>
                      <a:pt x="11805819" y="5414027"/>
                    </a:lnTo>
                    <a:lnTo>
                      <a:pt x="11782038" y="5408143"/>
                    </a:lnTo>
                    <a:lnTo>
                      <a:pt x="11763329" y="5390020"/>
                    </a:lnTo>
                    <a:lnTo>
                      <a:pt x="11773961" y="5352510"/>
                    </a:lnTo>
                    <a:lnTo>
                      <a:pt x="11754833" y="5326531"/>
                    </a:lnTo>
                    <a:lnTo>
                      <a:pt x="11723437" y="5315842"/>
                    </a:lnTo>
                    <a:lnTo>
                      <a:pt x="11700427" y="5314292"/>
                    </a:lnTo>
                    <a:lnTo>
                      <a:pt x="11677408" y="5312741"/>
                    </a:lnTo>
                    <a:lnTo>
                      <a:pt x="11652331" y="5310242"/>
                    </a:lnTo>
                    <a:lnTo>
                      <a:pt x="11633771" y="5297969"/>
                    </a:lnTo>
                    <a:lnTo>
                      <a:pt x="11623173" y="5277387"/>
                    </a:lnTo>
                    <a:lnTo>
                      <a:pt x="11617173" y="5253263"/>
                    </a:lnTo>
                    <a:lnTo>
                      <a:pt x="11624261" y="5232680"/>
                    </a:lnTo>
                    <a:lnTo>
                      <a:pt x="11706349" y="5230471"/>
                    </a:lnTo>
                    <a:lnTo>
                      <a:pt x="11782044" y="5228604"/>
                    </a:lnTo>
                    <a:lnTo>
                      <a:pt x="11819886" y="5227668"/>
                    </a:lnTo>
                    <a:lnTo>
                      <a:pt x="11858393" y="5225438"/>
                    </a:lnTo>
                    <a:lnTo>
                      <a:pt x="11888137" y="5219087"/>
                    </a:lnTo>
                    <a:lnTo>
                      <a:pt x="11917880" y="5212737"/>
                    </a:lnTo>
                    <a:lnTo>
                      <a:pt x="11938995" y="5202633"/>
                    </a:lnTo>
                    <a:lnTo>
                      <a:pt x="11943910" y="5166039"/>
                    </a:lnTo>
                    <a:lnTo>
                      <a:pt x="11910876" y="5115336"/>
                    </a:lnTo>
                    <a:lnTo>
                      <a:pt x="11852734" y="5023410"/>
                    </a:lnTo>
                    <a:lnTo>
                      <a:pt x="11802449" y="4930718"/>
                    </a:lnTo>
                    <a:lnTo>
                      <a:pt x="11777303" y="4884377"/>
                    </a:lnTo>
                    <a:lnTo>
                      <a:pt x="11754042" y="4838443"/>
                    </a:lnTo>
                    <a:lnTo>
                      <a:pt x="11737160" y="4796065"/>
                    </a:lnTo>
                    <a:lnTo>
                      <a:pt x="11720271" y="4753686"/>
                    </a:lnTo>
                    <a:lnTo>
                      <a:pt x="11710200" y="4714657"/>
                    </a:lnTo>
                    <a:lnTo>
                      <a:pt x="11709949" y="4685884"/>
                    </a:lnTo>
                    <a:lnTo>
                      <a:pt x="11722531" y="4665631"/>
                    </a:lnTo>
                    <a:lnTo>
                      <a:pt x="11755224" y="4673241"/>
                    </a:lnTo>
                    <a:lnTo>
                      <a:pt x="11772522" y="4657321"/>
                    </a:lnTo>
                    <a:lnTo>
                      <a:pt x="11759899" y="4542154"/>
                    </a:lnTo>
                    <a:lnTo>
                      <a:pt x="11729845" y="4518689"/>
                    </a:lnTo>
                    <a:lnTo>
                      <a:pt x="11608144" y="4526207"/>
                    </a:lnTo>
                    <a:lnTo>
                      <a:pt x="11582093" y="4526741"/>
                    </a:lnTo>
                    <a:lnTo>
                      <a:pt x="11558240" y="4560448"/>
                    </a:lnTo>
                    <a:lnTo>
                      <a:pt x="11553531" y="4582509"/>
                    </a:lnTo>
                    <a:lnTo>
                      <a:pt x="11548815" y="4604574"/>
                    </a:lnTo>
                    <a:lnTo>
                      <a:pt x="11545664" y="4626687"/>
                    </a:lnTo>
                    <a:lnTo>
                      <a:pt x="11437308" y="4625526"/>
                    </a:lnTo>
                    <a:lnTo>
                      <a:pt x="11354172" y="4579388"/>
                    </a:lnTo>
                    <a:lnTo>
                      <a:pt x="11262445" y="4568909"/>
                    </a:lnTo>
                    <a:lnTo>
                      <a:pt x="11257043" y="4539258"/>
                    </a:lnTo>
                    <a:lnTo>
                      <a:pt x="11258311" y="4493074"/>
                    </a:lnTo>
                    <a:lnTo>
                      <a:pt x="11209344" y="4478196"/>
                    </a:lnTo>
                    <a:lnTo>
                      <a:pt x="11131253" y="4473481"/>
                    </a:lnTo>
                    <a:lnTo>
                      <a:pt x="11096492" y="4454647"/>
                    </a:lnTo>
                    <a:lnTo>
                      <a:pt x="11087271" y="4403985"/>
                    </a:lnTo>
                    <a:lnTo>
                      <a:pt x="11101719" y="4348343"/>
                    </a:lnTo>
                    <a:lnTo>
                      <a:pt x="11085603" y="4299586"/>
                    </a:lnTo>
                    <a:lnTo>
                      <a:pt x="11070769" y="4276068"/>
                    </a:lnTo>
                    <a:lnTo>
                      <a:pt x="11043528" y="4273002"/>
                    </a:lnTo>
                    <a:lnTo>
                      <a:pt x="11016236" y="4260142"/>
                    </a:lnTo>
                    <a:lnTo>
                      <a:pt x="10989593" y="4243900"/>
                    </a:lnTo>
                    <a:lnTo>
                      <a:pt x="10966711" y="4213807"/>
                    </a:lnTo>
                    <a:lnTo>
                      <a:pt x="10956640" y="4193388"/>
                    </a:lnTo>
                    <a:lnTo>
                      <a:pt x="10950947" y="4162209"/>
                    </a:lnTo>
                    <a:lnTo>
                      <a:pt x="10938740" y="4095323"/>
                    </a:lnTo>
                    <a:lnTo>
                      <a:pt x="10931131" y="4038191"/>
                    </a:lnTo>
                    <a:lnTo>
                      <a:pt x="10933262" y="3970416"/>
                    </a:lnTo>
                    <a:lnTo>
                      <a:pt x="10935482" y="3900687"/>
                    </a:lnTo>
                    <a:lnTo>
                      <a:pt x="10948256" y="3849656"/>
                    </a:lnTo>
                    <a:lnTo>
                      <a:pt x="10944148" y="3804474"/>
                    </a:lnTo>
                    <a:lnTo>
                      <a:pt x="10942104" y="3781880"/>
                    </a:lnTo>
                    <a:lnTo>
                      <a:pt x="10935516" y="3761469"/>
                    </a:lnTo>
                    <a:lnTo>
                      <a:pt x="10922385" y="3740543"/>
                    </a:lnTo>
                    <a:lnTo>
                      <a:pt x="10909247" y="3719625"/>
                    </a:lnTo>
                    <a:lnTo>
                      <a:pt x="10888982" y="3697485"/>
                    </a:lnTo>
                    <a:lnTo>
                      <a:pt x="10858447" y="3675254"/>
                    </a:lnTo>
                    <a:lnTo>
                      <a:pt x="10809123" y="3642016"/>
                    </a:lnTo>
                    <a:lnTo>
                      <a:pt x="10788284" y="3639259"/>
                    </a:lnTo>
                    <a:lnTo>
                      <a:pt x="10754519" y="3651406"/>
                    </a:lnTo>
                    <a:lnTo>
                      <a:pt x="10725160" y="3676612"/>
                    </a:lnTo>
                    <a:lnTo>
                      <a:pt x="10686821" y="3696014"/>
                    </a:lnTo>
                    <a:lnTo>
                      <a:pt x="10650345" y="3690217"/>
                    </a:lnTo>
                    <a:lnTo>
                      <a:pt x="10613864" y="3684421"/>
                    </a:lnTo>
                    <a:lnTo>
                      <a:pt x="10563393" y="3665592"/>
                    </a:lnTo>
                    <a:lnTo>
                      <a:pt x="10487115" y="3620846"/>
                    </a:lnTo>
                    <a:lnTo>
                      <a:pt x="10450435" y="3604015"/>
                    </a:lnTo>
                    <a:lnTo>
                      <a:pt x="10429990" y="3593642"/>
                    </a:lnTo>
                    <a:lnTo>
                      <a:pt x="10409545" y="3583275"/>
                    </a:lnTo>
                    <a:lnTo>
                      <a:pt x="10389906" y="3570032"/>
                    </a:lnTo>
                    <a:lnTo>
                      <a:pt x="10384616" y="3542729"/>
                    </a:lnTo>
                    <a:lnTo>
                      <a:pt x="10383742" y="3517471"/>
                    </a:lnTo>
                    <a:lnTo>
                      <a:pt x="10375370" y="3493511"/>
                    </a:lnTo>
                    <a:lnTo>
                      <a:pt x="10320350" y="3471234"/>
                    </a:lnTo>
                    <a:lnTo>
                      <a:pt x="10278142" y="3471412"/>
                    </a:lnTo>
                    <a:lnTo>
                      <a:pt x="10235487" y="3472586"/>
                    </a:lnTo>
                    <a:lnTo>
                      <a:pt x="10192823" y="3473759"/>
                    </a:lnTo>
                    <a:lnTo>
                      <a:pt x="10149238" y="3475283"/>
                    </a:lnTo>
                    <a:lnTo>
                      <a:pt x="10104900" y="3465786"/>
                    </a:lnTo>
                    <a:lnTo>
                      <a:pt x="10071327" y="3458591"/>
                    </a:lnTo>
                    <a:lnTo>
                      <a:pt x="10049061" y="3435687"/>
                    </a:lnTo>
                    <a:lnTo>
                      <a:pt x="10030089" y="3412737"/>
                    </a:lnTo>
                    <a:lnTo>
                      <a:pt x="10011122" y="3389780"/>
                    </a:lnTo>
                    <a:lnTo>
                      <a:pt x="9995492" y="3367014"/>
                    </a:lnTo>
                    <a:lnTo>
                      <a:pt x="9961166" y="3357762"/>
                    </a:lnTo>
                    <a:lnTo>
                      <a:pt x="9923996" y="3352887"/>
                    </a:lnTo>
                    <a:lnTo>
                      <a:pt x="9887508" y="3341868"/>
                    </a:lnTo>
                    <a:lnTo>
                      <a:pt x="9871184" y="3317077"/>
                    </a:lnTo>
                    <a:lnTo>
                      <a:pt x="9849718" y="3276143"/>
                    </a:lnTo>
                    <a:lnTo>
                      <a:pt x="9836944" y="3249512"/>
                    </a:lnTo>
                    <a:lnTo>
                      <a:pt x="9812924" y="3232551"/>
                    </a:lnTo>
                    <a:lnTo>
                      <a:pt x="9782535" y="3227749"/>
                    </a:lnTo>
                    <a:lnTo>
                      <a:pt x="9794683" y="3190745"/>
                    </a:lnTo>
                    <a:lnTo>
                      <a:pt x="9801557" y="3159763"/>
                    </a:lnTo>
                    <a:lnTo>
                      <a:pt x="9769655" y="3040718"/>
                    </a:lnTo>
                    <a:lnTo>
                      <a:pt x="9745222" y="2981443"/>
                    </a:lnTo>
                    <a:lnTo>
                      <a:pt x="9730851" y="2929951"/>
                    </a:lnTo>
                    <a:lnTo>
                      <a:pt x="9709082" y="2883622"/>
                    </a:lnTo>
                    <a:lnTo>
                      <a:pt x="9711125" y="2857433"/>
                    </a:lnTo>
                    <a:lnTo>
                      <a:pt x="9728833" y="2830202"/>
                    </a:lnTo>
                    <a:lnTo>
                      <a:pt x="9753966" y="2802009"/>
                    </a:lnTo>
                    <a:lnTo>
                      <a:pt x="9779112" y="2773810"/>
                    </a:lnTo>
                    <a:lnTo>
                      <a:pt x="9811944" y="2744046"/>
                    </a:lnTo>
                    <a:lnTo>
                      <a:pt x="9845102" y="2714957"/>
                    </a:lnTo>
                    <a:lnTo>
                      <a:pt x="9878269" y="2685860"/>
                    </a:lnTo>
                    <a:lnTo>
                      <a:pt x="9911479" y="2656770"/>
                    </a:lnTo>
                    <a:lnTo>
                      <a:pt x="9937601" y="2627904"/>
                    </a:lnTo>
                    <a:lnTo>
                      <a:pt x="9963718" y="2599031"/>
                    </a:lnTo>
                    <a:lnTo>
                      <a:pt x="9982554" y="2571102"/>
                    </a:lnTo>
                    <a:lnTo>
                      <a:pt x="9986569" y="2543568"/>
                    </a:lnTo>
                    <a:lnTo>
                      <a:pt x="9974672" y="2524087"/>
                    </a:lnTo>
                    <a:lnTo>
                      <a:pt x="9972443" y="2496243"/>
                    </a:lnTo>
                    <a:lnTo>
                      <a:pt x="9972964" y="2468755"/>
                    </a:lnTo>
                    <a:lnTo>
                      <a:pt x="9973491" y="2441275"/>
                    </a:lnTo>
                    <a:lnTo>
                      <a:pt x="9977515" y="2413556"/>
                    </a:lnTo>
                    <a:lnTo>
                      <a:pt x="9975661" y="2392585"/>
                    </a:lnTo>
                    <a:lnTo>
                      <a:pt x="9973748" y="2370465"/>
                    </a:lnTo>
                    <a:lnTo>
                      <a:pt x="9963420" y="2338177"/>
                    </a:lnTo>
                    <a:lnTo>
                      <a:pt x="9957743" y="2305664"/>
                    </a:lnTo>
                    <a:lnTo>
                      <a:pt x="9963420" y="2281051"/>
                    </a:lnTo>
                    <a:lnTo>
                      <a:pt x="9969410" y="2254949"/>
                    </a:lnTo>
                    <a:lnTo>
                      <a:pt x="9987908" y="2223537"/>
                    </a:lnTo>
                    <a:lnTo>
                      <a:pt x="9982461" y="2195357"/>
                    </a:lnTo>
                    <a:lnTo>
                      <a:pt x="9971215" y="2171438"/>
                    </a:lnTo>
                    <a:lnTo>
                      <a:pt x="9952897" y="2145823"/>
                    </a:lnTo>
                    <a:lnTo>
                      <a:pt x="9944376" y="2123269"/>
                    </a:lnTo>
                    <a:lnTo>
                      <a:pt x="9915364" y="2100041"/>
                    </a:lnTo>
                    <a:lnTo>
                      <a:pt x="9888609" y="2087900"/>
                    </a:lnTo>
                    <a:lnTo>
                      <a:pt x="9861854" y="2075758"/>
                    </a:lnTo>
                    <a:lnTo>
                      <a:pt x="9828839" y="2063585"/>
                    </a:lnTo>
                    <a:lnTo>
                      <a:pt x="9794757" y="2052538"/>
                    </a:lnTo>
                    <a:lnTo>
                      <a:pt x="9760673" y="2041492"/>
                    </a:lnTo>
                    <a:lnTo>
                      <a:pt x="9726098" y="2030821"/>
                    </a:lnTo>
                    <a:lnTo>
                      <a:pt x="9695458" y="2022611"/>
                    </a:lnTo>
                    <a:lnTo>
                      <a:pt x="9664830" y="2014406"/>
                    </a:lnTo>
                    <a:lnTo>
                      <a:pt x="9638404" y="2008556"/>
                    </a:lnTo>
                    <a:lnTo>
                      <a:pt x="9601585" y="2000412"/>
                    </a:lnTo>
                    <a:lnTo>
                      <a:pt x="9580408" y="2010080"/>
                    </a:lnTo>
                    <a:lnTo>
                      <a:pt x="9562161" y="2023976"/>
                    </a:lnTo>
                    <a:lnTo>
                      <a:pt x="9543914" y="2037865"/>
                    </a:lnTo>
                    <a:lnTo>
                      <a:pt x="9528836" y="2055881"/>
                    </a:lnTo>
                    <a:lnTo>
                      <a:pt x="9506018" y="2070879"/>
                    </a:lnTo>
                    <a:lnTo>
                      <a:pt x="9480978" y="2092635"/>
                    </a:lnTo>
                    <a:lnTo>
                      <a:pt x="9459305" y="2112090"/>
                    </a:lnTo>
                    <a:lnTo>
                      <a:pt x="9435663" y="2128703"/>
                    </a:lnTo>
                    <a:lnTo>
                      <a:pt x="9412015" y="2145315"/>
                    </a:lnTo>
                    <a:lnTo>
                      <a:pt x="9386525" y="2159435"/>
                    </a:lnTo>
                    <a:lnTo>
                      <a:pt x="9356769" y="2168147"/>
                    </a:lnTo>
                    <a:lnTo>
                      <a:pt x="9310908" y="2132825"/>
                    </a:lnTo>
                    <a:lnTo>
                      <a:pt x="9271924" y="2106088"/>
                    </a:lnTo>
                    <a:lnTo>
                      <a:pt x="9239796" y="2082453"/>
                    </a:lnTo>
                    <a:lnTo>
                      <a:pt x="9218033" y="2079729"/>
                    </a:lnTo>
                    <a:lnTo>
                      <a:pt x="9192779" y="2102382"/>
                    </a:lnTo>
                    <a:lnTo>
                      <a:pt x="9180717" y="2138694"/>
                    </a:lnTo>
                    <a:lnTo>
                      <a:pt x="9178330" y="2160200"/>
                    </a:lnTo>
                    <a:lnTo>
                      <a:pt x="9174507" y="2181746"/>
                    </a:lnTo>
                    <a:lnTo>
                      <a:pt x="9170675" y="2203291"/>
                    </a:lnTo>
                    <a:lnTo>
                      <a:pt x="9164852" y="2224790"/>
                    </a:lnTo>
                    <a:lnTo>
                      <a:pt x="9146074" y="2261122"/>
                    </a:lnTo>
                    <a:lnTo>
                      <a:pt x="9109215" y="2283762"/>
                    </a:lnTo>
                    <a:lnTo>
                      <a:pt x="9071527" y="2278671"/>
                    </a:lnTo>
                    <a:lnTo>
                      <a:pt x="9032649" y="2277992"/>
                    </a:lnTo>
                    <a:lnTo>
                      <a:pt x="8993600" y="2279680"/>
                    </a:lnTo>
                    <a:lnTo>
                      <a:pt x="8953575" y="2281869"/>
                    </a:lnTo>
                    <a:lnTo>
                      <a:pt x="8913921" y="2282924"/>
                    </a:lnTo>
                    <a:lnTo>
                      <a:pt x="8875263" y="2281038"/>
                    </a:lnTo>
                    <a:lnTo>
                      <a:pt x="8850220" y="2273586"/>
                    </a:lnTo>
                    <a:lnTo>
                      <a:pt x="8829567" y="2258563"/>
                    </a:lnTo>
                    <a:lnTo>
                      <a:pt x="8809971" y="2240229"/>
                    </a:lnTo>
                    <a:lnTo>
                      <a:pt x="8789560" y="2223518"/>
                    </a:lnTo>
                    <a:lnTo>
                      <a:pt x="8765093" y="2213428"/>
                    </a:lnTo>
                    <a:lnTo>
                      <a:pt x="8733802" y="2214390"/>
                    </a:lnTo>
                    <a:lnTo>
                      <a:pt x="8701757" y="2220253"/>
                    </a:lnTo>
                    <a:lnTo>
                      <a:pt x="8680751" y="2223907"/>
                    </a:lnTo>
                    <a:lnTo>
                      <a:pt x="8659748" y="2227560"/>
                    </a:lnTo>
                    <a:lnTo>
                      <a:pt x="8637259" y="2232711"/>
                    </a:lnTo>
                    <a:lnTo>
                      <a:pt x="8614104" y="2237512"/>
                    </a:lnTo>
                    <a:lnTo>
                      <a:pt x="8590949" y="2242306"/>
                    </a:lnTo>
                    <a:lnTo>
                      <a:pt x="8567096" y="2247787"/>
                    </a:lnTo>
                    <a:lnTo>
                      <a:pt x="8527808" y="2259875"/>
                    </a:lnTo>
                    <a:lnTo>
                      <a:pt x="8501205" y="2272874"/>
                    </a:lnTo>
                    <a:lnTo>
                      <a:pt x="8473322" y="2292520"/>
                    </a:lnTo>
                    <a:lnTo>
                      <a:pt x="8455807" y="2326286"/>
                    </a:lnTo>
                    <a:lnTo>
                      <a:pt x="8420953" y="2336805"/>
                    </a:lnTo>
                    <a:lnTo>
                      <a:pt x="8397832" y="2309601"/>
                    </a:lnTo>
                    <a:lnTo>
                      <a:pt x="8405989" y="2285121"/>
                    </a:lnTo>
                    <a:lnTo>
                      <a:pt x="8415511" y="2260634"/>
                    </a:lnTo>
                    <a:lnTo>
                      <a:pt x="8419601" y="2234788"/>
                    </a:lnTo>
                    <a:lnTo>
                      <a:pt x="8412801" y="2211666"/>
                    </a:lnTo>
                    <a:lnTo>
                      <a:pt x="8387556" y="2204122"/>
                    </a:lnTo>
                    <a:lnTo>
                      <a:pt x="8363834" y="2203509"/>
                    </a:lnTo>
                    <a:lnTo>
                      <a:pt x="8368844" y="2045811"/>
                    </a:lnTo>
                    <a:lnTo>
                      <a:pt x="8376075" y="2023962"/>
                    </a:lnTo>
                    <a:lnTo>
                      <a:pt x="8433799" y="2024457"/>
                    </a:lnTo>
                    <a:lnTo>
                      <a:pt x="8466119" y="2019755"/>
                    </a:lnTo>
                    <a:lnTo>
                      <a:pt x="8490332" y="2004916"/>
                    </a:lnTo>
                    <a:lnTo>
                      <a:pt x="8514541" y="1990078"/>
                    </a:lnTo>
                    <a:lnTo>
                      <a:pt x="8530183" y="1965466"/>
                    </a:lnTo>
                    <a:lnTo>
                      <a:pt x="8537938" y="1938268"/>
                    </a:lnTo>
                    <a:lnTo>
                      <a:pt x="8545668" y="1911078"/>
                    </a:lnTo>
                    <a:lnTo>
                      <a:pt x="8545872" y="1880985"/>
                    </a:lnTo>
                    <a:lnTo>
                      <a:pt x="8539290" y="1853939"/>
                    </a:lnTo>
                    <a:lnTo>
                      <a:pt x="8532717" y="1826894"/>
                    </a:lnTo>
                    <a:lnTo>
                      <a:pt x="8518643" y="1803046"/>
                    </a:lnTo>
                    <a:lnTo>
                      <a:pt x="8499847" y="1788650"/>
                    </a:lnTo>
                    <a:lnTo>
                      <a:pt x="8477278" y="1773297"/>
                    </a:lnTo>
                    <a:lnTo>
                      <a:pt x="8451670" y="1760476"/>
                    </a:lnTo>
                    <a:lnTo>
                      <a:pt x="8425033" y="1749199"/>
                    </a:lnTo>
                    <a:lnTo>
                      <a:pt x="8396716" y="1739755"/>
                    </a:lnTo>
                    <a:lnTo>
                      <a:pt x="8369030" y="1731445"/>
                    </a:lnTo>
                    <a:lnTo>
                      <a:pt x="8342065" y="1724719"/>
                    </a:lnTo>
                    <a:lnTo>
                      <a:pt x="8335693" y="1690926"/>
                    </a:lnTo>
                    <a:lnTo>
                      <a:pt x="8337975" y="1666228"/>
                    </a:lnTo>
                    <a:lnTo>
                      <a:pt x="8340282" y="1641537"/>
                    </a:lnTo>
                    <a:lnTo>
                      <a:pt x="8341938" y="1617393"/>
                    </a:lnTo>
                    <a:lnTo>
                      <a:pt x="8319911" y="1606340"/>
                    </a:lnTo>
                    <a:lnTo>
                      <a:pt x="8287181" y="1595076"/>
                    </a:lnTo>
                    <a:lnTo>
                      <a:pt x="8278152" y="1503004"/>
                    </a:lnTo>
                    <a:lnTo>
                      <a:pt x="8263908" y="1464365"/>
                    </a:lnTo>
                    <a:lnTo>
                      <a:pt x="8249075" y="1442906"/>
                    </a:lnTo>
                    <a:lnTo>
                      <a:pt x="8227907" y="1434220"/>
                    </a:lnTo>
                    <a:lnTo>
                      <a:pt x="8197109" y="1423721"/>
                    </a:lnTo>
                    <a:lnTo>
                      <a:pt x="8176131" y="1429557"/>
                    </a:lnTo>
                    <a:lnTo>
                      <a:pt x="8159629" y="1444455"/>
                    </a:lnTo>
                    <a:lnTo>
                      <a:pt x="8143860" y="1477284"/>
                    </a:lnTo>
                    <a:lnTo>
                      <a:pt x="8138617" y="1504423"/>
                    </a:lnTo>
                    <a:lnTo>
                      <a:pt x="8112206" y="1516610"/>
                    </a:lnTo>
                    <a:lnTo>
                      <a:pt x="8085054" y="1505709"/>
                    </a:lnTo>
                    <a:lnTo>
                      <a:pt x="8063238" y="1477159"/>
                    </a:lnTo>
                    <a:lnTo>
                      <a:pt x="8047773" y="1445939"/>
                    </a:lnTo>
                    <a:lnTo>
                      <a:pt x="8037035" y="1392712"/>
                    </a:lnTo>
                    <a:lnTo>
                      <a:pt x="8038691" y="1352937"/>
                    </a:lnTo>
                    <a:lnTo>
                      <a:pt x="8037398" y="1316659"/>
                    </a:lnTo>
                    <a:lnTo>
                      <a:pt x="8034049" y="1292661"/>
                    </a:lnTo>
                    <a:lnTo>
                      <a:pt x="8029867" y="1267210"/>
                    </a:lnTo>
                    <a:lnTo>
                      <a:pt x="8027870" y="1240488"/>
                    </a:lnTo>
                    <a:lnTo>
                      <a:pt x="8027870" y="1210837"/>
                    </a:lnTo>
                    <a:lnTo>
                      <a:pt x="8043894" y="1187372"/>
                    </a:lnTo>
                    <a:lnTo>
                      <a:pt x="8059155" y="1162958"/>
                    </a:lnTo>
                    <a:lnTo>
                      <a:pt x="8074416" y="1138544"/>
                    </a:lnTo>
                    <a:lnTo>
                      <a:pt x="8089770" y="1114327"/>
                    </a:lnTo>
                    <a:lnTo>
                      <a:pt x="8089075" y="1085422"/>
                    </a:lnTo>
                    <a:lnTo>
                      <a:pt x="8077758" y="1042786"/>
                    </a:lnTo>
                    <a:lnTo>
                      <a:pt x="8064590" y="1020139"/>
                    </a:lnTo>
                    <a:lnTo>
                      <a:pt x="8051419" y="997486"/>
                    </a:lnTo>
                    <a:lnTo>
                      <a:pt x="8035857" y="976725"/>
                    </a:lnTo>
                    <a:lnTo>
                      <a:pt x="7978388" y="917885"/>
                    </a:lnTo>
                    <a:lnTo>
                      <a:pt x="7916159" y="881758"/>
                    </a:lnTo>
                    <a:lnTo>
                      <a:pt x="7867362" y="837869"/>
                    </a:lnTo>
                    <a:lnTo>
                      <a:pt x="7846709" y="819291"/>
                    </a:lnTo>
                    <a:lnTo>
                      <a:pt x="7831448" y="790115"/>
                    </a:lnTo>
                    <a:lnTo>
                      <a:pt x="7812956" y="769862"/>
                    </a:lnTo>
                    <a:lnTo>
                      <a:pt x="7781293" y="735219"/>
                    </a:lnTo>
                    <a:lnTo>
                      <a:pt x="7745496" y="705529"/>
                    </a:lnTo>
                    <a:lnTo>
                      <a:pt x="7717737" y="667846"/>
                    </a:lnTo>
                    <a:lnTo>
                      <a:pt x="7697701" y="640629"/>
                    </a:lnTo>
                    <a:lnTo>
                      <a:pt x="7679268" y="614183"/>
                    </a:lnTo>
                    <a:lnTo>
                      <a:pt x="7664695" y="586234"/>
                    </a:lnTo>
                    <a:lnTo>
                      <a:pt x="7650113" y="558284"/>
                    </a:lnTo>
                    <a:lnTo>
                      <a:pt x="7638923" y="528423"/>
                    </a:lnTo>
                    <a:lnTo>
                      <a:pt x="7637484" y="493740"/>
                    </a:lnTo>
                    <a:lnTo>
                      <a:pt x="7634880" y="429737"/>
                    </a:lnTo>
                    <a:lnTo>
                      <a:pt x="7632564" y="362937"/>
                    </a:lnTo>
                    <a:lnTo>
                      <a:pt x="7633401" y="296514"/>
                    </a:lnTo>
                    <a:lnTo>
                      <a:pt x="7634219" y="230083"/>
                    </a:lnTo>
                    <a:lnTo>
                      <a:pt x="7639180" y="163698"/>
                    </a:lnTo>
                    <a:lnTo>
                      <a:pt x="7651084" y="100638"/>
                    </a:lnTo>
                    <a:lnTo>
                      <a:pt x="7617244" y="66787"/>
                    </a:lnTo>
                    <a:lnTo>
                      <a:pt x="7531683" y="49594"/>
                    </a:lnTo>
                    <a:lnTo>
                      <a:pt x="7482418" y="21750"/>
                    </a:lnTo>
                    <a:lnTo>
                      <a:pt x="7464481" y="45722"/>
                    </a:lnTo>
                    <a:lnTo>
                      <a:pt x="7467665" y="88061"/>
                    </a:lnTo>
                    <a:lnTo>
                      <a:pt x="7451133" y="116960"/>
                    </a:lnTo>
                    <a:lnTo>
                      <a:pt x="7420623" y="111638"/>
                    </a:lnTo>
                    <a:lnTo>
                      <a:pt x="7380982" y="100533"/>
                    </a:lnTo>
                    <a:lnTo>
                      <a:pt x="7354702" y="97519"/>
                    </a:lnTo>
                    <a:lnTo>
                      <a:pt x="7313752" y="108803"/>
                    </a:lnTo>
                    <a:lnTo>
                      <a:pt x="7290631" y="168651"/>
                    </a:lnTo>
                    <a:lnTo>
                      <a:pt x="7269463" y="175431"/>
                    </a:lnTo>
                    <a:lnTo>
                      <a:pt x="7243279" y="169614"/>
                    </a:lnTo>
                    <a:lnTo>
                      <a:pt x="7219901" y="164576"/>
                    </a:lnTo>
                    <a:lnTo>
                      <a:pt x="7196516" y="159537"/>
                    </a:lnTo>
                    <a:lnTo>
                      <a:pt x="7175544" y="154387"/>
                    </a:lnTo>
                    <a:lnTo>
                      <a:pt x="7155963" y="181577"/>
                    </a:lnTo>
                    <a:lnTo>
                      <a:pt x="7165336" y="210027"/>
                    </a:lnTo>
                    <a:lnTo>
                      <a:pt x="7170933" y="238037"/>
                    </a:lnTo>
                    <a:lnTo>
                      <a:pt x="7175150" y="265596"/>
                    </a:lnTo>
                    <a:lnTo>
                      <a:pt x="7172155" y="292081"/>
                    </a:lnTo>
                    <a:lnTo>
                      <a:pt x="7157309" y="315566"/>
                    </a:lnTo>
                    <a:lnTo>
                      <a:pt x="7118242" y="303365"/>
                    </a:lnTo>
                    <a:lnTo>
                      <a:pt x="7084238" y="269850"/>
                    </a:lnTo>
                    <a:lnTo>
                      <a:pt x="7045769" y="262516"/>
                    </a:lnTo>
                    <a:lnTo>
                      <a:pt x="6983369" y="301730"/>
                    </a:lnTo>
                    <a:lnTo>
                      <a:pt x="6963305" y="328017"/>
                    </a:lnTo>
                    <a:lnTo>
                      <a:pt x="6975019" y="363175"/>
                    </a:lnTo>
                    <a:lnTo>
                      <a:pt x="6986423" y="397593"/>
                    </a:lnTo>
                    <a:lnTo>
                      <a:pt x="6966592" y="421124"/>
                    </a:lnTo>
                    <a:lnTo>
                      <a:pt x="6942361" y="421665"/>
                    </a:lnTo>
                    <a:lnTo>
                      <a:pt x="6917162" y="416185"/>
                    </a:lnTo>
                    <a:lnTo>
                      <a:pt x="6878495" y="395892"/>
                    </a:lnTo>
                    <a:lnTo>
                      <a:pt x="6854121" y="376259"/>
                    </a:lnTo>
                    <a:lnTo>
                      <a:pt x="6788026" y="345625"/>
                    </a:lnTo>
                    <a:lnTo>
                      <a:pt x="6742181" y="329237"/>
                    </a:lnTo>
                    <a:lnTo>
                      <a:pt x="6698891" y="310125"/>
                    </a:lnTo>
                    <a:lnTo>
                      <a:pt x="6655588" y="291013"/>
                    </a:lnTo>
                    <a:lnTo>
                      <a:pt x="6613600" y="268980"/>
                    </a:lnTo>
                    <a:lnTo>
                      <a:pt x="6569664" y="232596"/>
                    </a:lnTo>
                    <a:lnTo>
                      <a:pt x="6547201" y="213985"/>
                    </a:lnTo>
                    <a:lnTo>
                      <a:pt x="6524272" y="189023"/>
                    </a:lnTo>
                    <a:lnTo>
                      <a:pt x="6503023" y="163223"/>
                    </a:lnTo>
                    <a:lnTo>
                      <a:pt x="6481766" y="137424"/>
                    </a:lnTo>
                    <a:lnTo>
                      <a:pt x="6462787" y="109996"/>
                    </a:lnTo>
                    <a:lnTo>
                      <a:pt x="6448614" y="84329"/>
                    </a:lnTo>
                    <a:lnTo>
                      <a:pt x="6407826" y="75393"/>
                    </a:lnTo>
                    <a:lnTo>
                      <a:pt x="6338426" y="98673"/>
                    </a:lnTo>
                    <a:lnTo>
                      <a:pt x="6269063" y="125138"/>
                    </a:lnTo>
                    <a:lnTo>
                      <a:pt x="6199696" y="151603"/>
                    </a:lnTo>
                    <a:lnTo>
                      <a:pt x="6129387" y="181287"/>
                    </a:lnTo>
                    <a:lnTo>
                      <a:pt x="6104480" y="194510"/>
                    </a:lnTo>
                    <a:lnTo>
                      <a:pt x="6073660" y="224431"/>
                    </a:lnTo>
                    <a:lnTo>
                      <a:pt x="6077276" y="252994"/>
                    </a:lnTo>
                    <a:lnTo>
                      <a:pt x="6103628" y="272270"/>
                    </a:lnTo>
                    <a:lnTo>
                      <a:pt x="6200586" y="317861"/>
                    </a:lnTo>
                    <a:lnTo>
                      <a:pt x="6213547" y="347426"/>
                    </a:lnTo>
                    <a:lnTo>
                      <a:pt x="6202623" y="381832"/>
                    </a:lnTo>
                    <a:lnTo>
                      <a:pt x="6153829" y="382300"/>
                    </a:lnTo>
                    <a:lnTo>
                      <a:pt x="6105628" y="375158"/>
                    </a:lnTo>
                    <a:lnTo>
                      <a:pt x="6060951" y="371332"/>
                    </a:lnTo>
                    <a:lnTo>
                      <a:pt x="5971177" y="363175"/>
                    </a:lnTo>
                    <a:lnTo>
                      <a:pt x="5949749" y="362647"/>
                    </a:lnTo>
                    <a:lnTo>
                      <a:pt x="5916774" y="378138"/>
                    </a:lnTo>
                    <a:lnTo>
                      <a:pt x="5890903" y="401564"/>
                    </a:lnTo>
                    <a:lnTo>
                      <a:pt x="5858331" y="441450"/>
                    </a:lnTo>
                    <a:lnTo>
                      <a:pt x="5841197" y="469161"/>
                    </a:lnTo>
                    <a:lnTo>
                      <a:pt x="5816117" y="473349"/>
                    </a:lnTo>
                    <a:lnTo>
                      <a:pt x="5779303" y="469195"/>
                    </a:lnTo>
                    <a:lnTo>
                      <a:pt x="5747919" y="455892"/>
                    </a:lnTo>
                    <a:lnTo>
                      <a:pt x="5718181" y="439346"/>
                    </a:lnTo>
                    <a:lnTo>
                      <a:pt x="5688453" y="422799"/>
                    </a:lnTo>
                    <a:lnTo>
                      <a:pt x="5659528" y="403430"/>
                    </a:lnTo>
                    <a:lnTo>
                      <a:pt x="5628413" y="387655"/>
                    </a:lnTo>
                    <a:lnTo>
                      <a:pt x="5607289" y="376951"/>
                    </a:lnTo>
                    <a:lnTo>
                      <a:pt x="5586199" y="372374"/>
                    </a:lnTo>
                    <a:lnTo>
                      <a:pt x="5564482" y="360451"/>
                    </a:lnTo>
                    <a:lnTo>
                      <a:pt x="5541361" y="347742"/>
                    </a:lnTo>
                    <a:lnTo>
                      <a:pt x="5505351" y="323513"/>
                    </a:lnTo>
                    <a:lnTo>
                      <a:pt x="5478788" y="318290"/>
                    </a:lnTo>
                    <a:lnTo>
                      <a:pt x="5393389" y="301453"/>
                    </a:lnTo>
                    <a:lnTo>
                      <a:pt x="5306681" y="299560"/>
                    </a:lnTo>
                    <a:lnTo>
                      <a:pt x="5221706" y="285644"/>
                    </a:lnTo>
                    <a:lnTo>
                      <a:pt x="5147711" y="273550"/>
                    </a:lnTo>
                    <a:lnTo>
                      <a:pt x="5072298" y="256673"/>
                    </a:lnTo>
                    <a:lnTo>
                      <a:pt x="4998632" y="242118"/>
                    </a:lnTo>
                    <a:lnTo>
                      <a:pt x="4932797" y="229107"/>
                    </a:lnTo>
                    <a:lnTo>
                      <a:pt x="4865185" y="228810"/>
                    </a:lnTo>
                    <a:lnTo>
                      <a:pt x="4797329" y="228513"/>
                    </a:lnTo>
                    <a:lnTo>
                      <a:pt x="4729476" y="228184"/>
                    </a:lnTo>
                    <a:lnTo>
                      <a:pt x="4661328" y="228250"/>
                    </a:lnTo>
                    <a:lnTo>
                      <a:pt x="4594656" y="217632"/>
                    </a:lnTo>
                    <a:lnTo>
                      <a:pt x="4552361" y="210885"/>
                    </a:lnTo>
                    <a:lnTo>
                      <a:pt x="4529048" y="197563"/>
                    </a:lnTo>
                    <a:lnTo>
                      <a:pt x="4507601" y="179546"/>
                    </a:lnTo>
                    <a:lnTo>
                      <a:pt x="4486170" y="161529"/>
                    </a:lnTo>
                    <a:lnTo>
                      <a:pt x="4467883" y="139067"/>
                    </a:lnTo>
                    <a:lnTo>
                      <a:pt x="4438232" y="114256"/>
                    </a:lnTo>
                    <a:lnTo>
                      <a:pt x="4403747" y="107734"/>
                    </a:lnTo>
                    <a:lnTo>
                      <a:pt x="4381106" y="112898"/>
                    </a:lnTo>
                    <a:lnTo>
                      <a:pt x="4358466" y="118055"/>
                    </a:lnTo>
                    <a:lnTo>
                      <a:pt x="4335540" y="124320"/>
                    </a:lnTo>
                    <a:lnTo>
                      <a:pt x="4306655" y="95850"/>
                    </a:lnTo>
                    <a:lnTo>
                      <a:pt x="4297521" y="67057"/>
                    </a:lnTo>
                    <a:lnTo>
                      <a:pt x="4283171" y="43526"/>
                    </a:lnTo>
                    <a:lnTo>
                      <a:pt x="4267144" y="20992"/>
                    </a:lnTo>
                    <a:lnTo>
                      <a:pt x="4244795" y="6212"/>
                    </a:lnTo>
                    <a:lnTo>
                      <a:pt x="4213805" y="1358"/>
                    </a:lnTo>
                    <a:lnTo>
                      <a:pt x="4043775" y="0"/>
                    </a:lnTo>
                    <a:lnTo>
                      <a:pt x="4030005" y="31246"/>
                    </a:lnTo>
                    <a:lnTo>
                      <a:pt x="4024105" y="62889"/>
                    </a:lnTo>
                    <a:lnTo>
                      <a:pt x="4015212" y="93858"/>
                    </a:lnTo>
                    <a:lnTo>
                      <a:pt x="4006323" y="124822"/>
                    </a:lnTo>
                    <a:lnTo>
                      <a:pt x="3995133" y="154043"/>
                    </a:lnTo>
                    <a:lnTo>
                      <a:pt x="3956599" y="179335"/>
                    </a:lnTo>
                    <a:lnTo>
                      <a:pt x="3934538" y="173749"/>
                    </a:lnTo>
                    <a:lnTo>
                      <a:pt x="3907755" y="172747"/>
                    </a:lnTo>
                    <a:lnTo>
                      <a:pt x="3861386" y="179032"/>
                    </a:lnTo>
                    <a:lnTo>
                      <a:pt x="3835351" y="162373"/>
                    </a:lnTo>
                    <a:lnTo>
                      <a:pt x="3816620" y="145549"/>
                    </a:lnTo>
                    <a:lnTo>
                      <a:pt x="3798175" y="128007"/>
                    </a:lnTo>
                    <a:lnTo>
                      <a:pt x="3764000" y="109145"/>
                    </a:lnTo>
                    <a:lnTo>
                      <a:pt x="3736659" y="109244"/>
                    </a:lnTo>
                    <a:lnTo>
                      <a:pt x="3710530" y="115628"/>
                    </a:lnTo>
                    <a:lnTo>
                      <a:pt x="3684399" y="122012"/>
                    </a:lnTo>
                    <a:lnTo>
                      <a:pt x="3658754" y="135604"/>
                    </a:lnTo>
                    <a:lnTo>
                      <a:pt x="3638432" y="149632"/>
                    </a:lnTo>
                    <a:lnTo>
                      <a:pt x="3603988" y="135664"/>
                    </a:lnTo>
                    <a:lnTo>
                      <a:pt x="3584033" y="119704"/>
                    </a:lnTo>
                    <a:lnTo>
                      <a:pt x="3564077" y="103744"/>
                    </a:lnTo>
                    <a:lnTo>
                      <a:pt x="3544686" y="86215"/>
                    </a:lnTo>
                    <a:lnTo>
                      <a:pt x="3520740" y="74588"/>
                    </a:lnTo>
                    <a:lnTo>
                      <a:pt x="3501061" y="66655"/>
                    </a:lnTo>
                    <a:lnTo>
                      <a:pt x="3472492" y="55779"/>
                    </a:lnTo>
                    <a:lnTo>
                      <a:pt x="3472492" y="81618"/>
                    </a:lnTo>
                    <a:lnTo>
                      <a:pt x="3466458" y="108334"/>
                    </a:lnTo>
                    <a:lnTo>
                      <a:pt x="3449827" y="130625"/>
                    </a:lnTo>
                    <a:lnTo>
                      <a:pt x="3431692" y="152349"/>
                    </a:lnTo>
                    <a:lnTo>
                      <a:pt x="3413547" y="174072"/>
                    </a:lnTo>
                    <a:lnTo>
                      <a:pt x="3393902" y="195400"/>
                    </a:lnTo>
                    <a:lnTo>
                      <a:pt x="3379999" y="219004"/>
                    </a:lnTo>
                    <a:lnTo>
                      <a:pt x="3367416" y="240404"/>
                    </a:lnTo>
                    <a:lnTo>
                      <a:pt x="3361038" y="263169"/>
                    </a:lnTo>
                    <a:lnTo>
                      <a:pt x="3354155" y="285651"/>
                    </a:lnTo>
                    <a:lnTo>
                      <a:pt x="3347275" y="308127"/>
                    </a:lnTo>
                    <a:lnTo>
                      <a:pt x="3339809" y="330813"/>
                    </a:lnTo>
                    <a:lnTo>
                      <a:pt x="3321509" y="350941"/>
                    </a:lnTo>
                    <a:lnTo>
                      <a:pt x="3294819" y="369328"/>
                    </a:lnTo>
                    <a:lnTo>
                      <a:pt x="3269487" y="377908"/>
                    </a:lnTo>
                    <a:lnTo>
                      <a:pt x="3246704" y="383586"/>
                    </a:lnTo>
                    <a:lnTo>
                      <a:pt x="3223918" y="389264"/>
                    </a:lnTo>
                    <a:lnTo>
                      <a:pt x="3202682" y="391288"/>
                    </a:lnTo>
                    <a:lnTo>
                      <a:pt x="3165587" y="405811"/>
                    </a:lnTo>
                    <a:lnTo>
                      <a:pt x="3136522" y="440711"/>
                    </a:lnTo>
                    <a:lnTo>
                      <a:pt x="3122541" y="463859"/>
                    </a:lnTo>
                    <a:lnTo>
                      <a:pt x="3110254" y="498917"/>
                    </a:lnTo>
                    <a:lnTo>
                      <a:pt x="3101160" y="552251"/>
                    </a:lnTo>
                    <a:lnTo>
                      <a:pt x="3046282" y="579006"/>
                    </a:lnTo>
                    <a:lnTo>
                      <a:pt x="2983164" y="579982"/>
                    </a:lnTo>
                    <a:lnTo>
                      <a:pt x="2928414" y="610734"/>
                    </a:lnTo>
                    <a:lnTo>
                      <a:pt x="2905891" y="630532"/>
                    </a:lnTo>
                    <a:lnTo>
                      <a:pt x="2891086" y="661673"/>
                    </a:lnTo>
                    <a:lnTo>
                      <a:pt x="2880804" y="699152"/>
                    </a:lnTo>
                    <a:lnTo>
                      <a:pt x="2871571" y="736782"/>
                    </a:lnTo>
                    <a:lnTo>
                      <a:pt x="2865332" y="775904"/>
                    </a:lnTo>
                    <a:lnTo>
                      <a:pt x="2846800" y="798445"/>
                    </a:lnTo>
                    <a:lnTo>
                      <a:pt x="2818113" y="818038"/>
                    </a:lnTo>
                    <a:lnTo>
                      <a:pt x="2785554" y="823809"/>
                    </a:lnTo>
                    <a:lnTo>
                      <a:pt x="2752948" y="825649"/>
                    </a:lnTo>
                    <a:lnTo>
                      <a:pt x="2720343" y="827489"/>
                    </a:lnTo>
                    <a:lnTo>
                      <a:pt x="2686704" y="825912"/>
                    </a:lnTo>
                    <a:lnTo>
                      <a:pt x="2655013" y="831089"/>
                    </a:lnTo>
                    <a:lnTo>
                      <a:pt x="2621183" y="836616"/>
                    </a:lnTo>
                    <a:lnTo>
                      <a:pt x="2582162" y="852404"/>
                    </a:lnTo>
                    <a:lnTo>
                      <a:pt x="2548924" y="862376"/>
                    </a:lnTo>
                    <a:lnTo>
                      <a:pt x="2516699" y="885009"/>
                    </a:lnTo>
                    <a:lnTo>
                      <a:pt x="2479381" y="900777"/>
                    </a:lnTo>
                    <a:lnTo>
                      <a:pt x="2454325" y="907669"/>
                    </a:lnTo>
                    <a:lnTo>
                      <a:pt x="2431942" y="918142"/>
                    </a:lnTo>
                    <a:lnTo>
                      <a:pt x="2409559" y="928615"/>
                    </a:lnTo>
                    <a:lnTo>
                      <a:pt x="2389498" y="943005"/>
                    </a:lnTo>
                    <a:lnTo>
                      <a:pt x="2374816" y="965751"/>
                    </a:lnTo>
                    <a:lnTo>
                      <a:pt x="2366098" y="1001627"/>
                    </a:lnTo>
                    <a:lnTo>
                      <a:pt x="2317335" y="1006797"/>
                    </a:lnTo>
                    <a:lnTo>
                      <a:pt x="2267359" y="1007919"/>
                    </a:lnTo>
                    <a:lnTo>
                      <a:pt x="2217384" y="1009033"/>
                    </a:lnTo>
                    <a:lnTo>
                      <a:pt x="2165852" y="1004904"/>
                    </a:lnTo>
                    <a:lnTo>
                      <a:pt x="2150129" y="985602"/>
                    </a:lnTo>
                    <a:lnTo>
                      <a:pt x="2148514" y="960521"/>
                    </a:lnTo>
                    <a:lnTo>
                      <a:pt x="2113614" y="931365"/>
                    </a:lnTo>
                    <a:lnTo>
                      <a:pt x="2055255" y="932618"/>
                    </a:lnTo>
                    <a:lnTo>
                      <a:pt x="2027966" y="933106"/>
                    </a:lnTo>
                    <a:lnTo>
                      <a:pt x="2011642" y="972550"/>
                    </a:lnTo>
                    <a:lnTo>
                      <a:pt x="1978252" y="988088"/>
                    </a:lnTo>
                    <a:lnTo>
                      <a:pt x="1871905" y="988108"/>
                    </a:lnTo>
                    <a:lnTo>
                      <a:pt x="1764082" y="980708"/>
                    </a:lnTo>
                    <a:lnTo>
                      <a:pt x="1656262" y="973315"/>
                    </a:lnTo>
                    <a:lnTo>
                      <a:pt x="1546727" y="957863"/>
                    </a:lnTo>
                    <a:lnTo>
                      <a:pt x="1511089" y="941264"/>
                    </a:lnTo>
                    <a:lnTo>
                      <a:pt x="1488898" y="912022"/>
                    </a:lnTo>
                    <a:lnTo>
                      <a:pt x="1476592" y="884350"/>
                    </a:lnTo>
                    <a:lnTo>
                      <a:pt x="1471011" y="850307"/>
                    </a:lnTo>
                    <a:lnTo>
                      <a:pt x="1462116" y="817491"/>
                    </a:lnTo>
                    <a:lnTo>
                      <a:pt x="1453226" y="784668"/>
                    </a:lnTo>
                    <a:lnTo>
                      <a:pt x="1440505" y="753837"/>
                    </a:lnTo>
                    <a:lnTo>
                      <a:pt x="1376428" y="737237"/>
                    </a:lnTo>
                    <a:lnTo>
                      <a:pt x="1330093" y="729205"/>
                    </a:lnTo>
                    <a:lnTo>
                      <a:pt x="1309775" y="734514"/>
                    </a:lnTo>
                    <a:lnTo>
                      <a:pt x="1294520" y="751028"/>
                    </a:lnTo>
                    <a:lnTo>
                      <a:pt x="1275901" y="776319"/>
                    </a:lnTo>
                    <a:lnTo>
                      <a:pt x="1254944" y="779715"/>
                    </a:lnTo>
                    <a:lnTo>
                      <a:pt x="1224211" y="804373"/>
                    </a:lnTo>
                    <a:lnTo>
                      <a:pt x="1211799" y="828683"/>
                    </a:lnTo>
                    <a:lnTo>
                      <a:pt x="1190076" y="837889"/>
                    </a:lnTo>
                    <a:lnTo>
                      <a:pt x="1166788" y="818084"/>
                    </a:lnTo>
                    <a:lnTo>
                      <a:pt x="1138476" y="794343"/>
                    </a:lnTo>
                    <a:lnTo>
                      <a:pt x="1118502" y="769816"/>
                    </a:lnTo>
                    <a:lnTo>
                      <a:pt x="1093592" y="742658"/>
                    </a:lnTo>
                    <a:lnTo>
                      <a:pt x="1057827" y="730141"/>
                    </a:lnTo>
                    <a:lnTo>
                      <a:pt x="1017420" y="733135"/>
                    </a:lnTo>
                    <a:lnTo>
                      <a:pt x="952131" y="737211"/>
                    </a:lnTo>
                    <a:lnTo>
                      <a:pt x="938064" y="753237"/>
                    </a:lnTo>
                    <a:lnTo>
                      <a:pt x="922679" y="793743"/>
                    </a:lnTo>
                    <a:lnTo>
                      <a:pt x="913451" y="814167"/>
                    </a:lnTo>
                    <a:lnTo>
                      <a:pt x="879488" y="818493"/>
                    </a:lnTo>
                    <a:lnTo>
                      <a:pt x="858245" y="816930"/>
                    </a:lnTo>
                    <a:lnTo>
                      <a:pt x="817504" y="817992"/>
                    </a:lnTo>
                    <a:lnTo>
                      <a:pt x="779385" y="831069"/>
                    </a:lnTo>
                    <a:lnTo>
                      <a:pt x="754013" y="844141"/>
                    </a:lnTo>
                    <a:lnTo>
                      <a:pt x="731289" y="869742"/>
                    </a:lnTo>
                    <a:lnTo>
                      <a:pt x="710013" y="900435"/>
                    </a:lnTo>
                    <a:lnTo>
                      <a:pt x="688746" y="931128"/>
                    </a:lnTo>
                    <a:lnTo>
                      <a:pt x="668676" y="966635"/>
                    </a:lnTo>
                    <a:lnTo>
                      <a:pt x="647446" y="998369"/>
                    </a:lnTo>
                    <a:lnTo>
                      <a:pt x="626226" y="1030111"/>
                    </a:lnTo>
                    <a:lnTo>
                      <a:pt x="603315" y="1058337"/>
                    </a:lnTo>
                    <a:lnTo>
                      <a:pt x="578077" y="1074540"/>
                    </a:lnTo>
                    <a:lnTo>
                      <a:pt x="553015" y="1088396"/>
                    </a:lnTo>
                    <a:lnTo>
                      <a:pt x="524253" y="1090612"/>
                    </a:lnTo>
                    <a:lnTo>
                      <a:pt x="492389" y="1078622"/>
                    </a:lnTo>
                    <a:lnTo>
                      <a:pt x="459743" y="1037820"/>
                    </a:lnTo>
                    <a:lnTo>
                      <a:pt x="436615" y="1033745"/>
                    </a:lnTo>
                    <a:lnTo>
                      <a:pt x="385998" y="1049025"/>
                    </a:lnTo>
                    <a:lnTo>
                      <a:pt x="345486" y="1048702"/>
                    </a:lnTo>
                    <a:lnTo>
                      <a:pt x="304974" y="1048372"/>
                    </a:lnTo>
                    <a:lnTo>
                      <a:pt x="264105" y="1043683"/>
                    </a:lnTo>
                    <a:lnTo>
                      <a:pt x="240745" y="1047343"/>
                    </a:lnTo>
                    <a:lnTo>
                      <a:pt x="240686" y="1075675"/>
                    </a:lnTo>
                    <a:lnTo>
                      <a:pt x="229428" y="1099086"/>
                    </a:lnTo>
                    <a:lnTo>
                      <a:pt x="216266" y="1122155"/>
                    </a:lnTo>
                    <a:lnTo>
                      <a:pt x="203101" y="1145225"/>
                    </a:lnTo>
                    <a:lnTo>
                      <a:pt x="189127" y="1167786"/>
                    </a:lnTo>
                    <a:lnTo>
                      <a:pt x="183620" y="1194244"/>
                    </a:lnTo>
                    <a:lnTo>
                      <a:pt x="171763" y="1222345"/>
                    </a:lnTo>
                    <a:lnTo>
                      <a:pt x="161218" y="1300040"/>
                    </a:lnTo>
                    <a:lnTo>
                      <a:pt x="140649" y="1329051"/>
                    </a:lnTo>
                    <a:lnTo>
                      <a:pt x="119962" y="1340816"/>
                    </a:lnTo>
                    <a:lnTo>
                      <a:pt x="102009" y="1353386"/>
                    </a:lnTo>
                    <a:lnTo>
                      <a:pt x="84057" y="1365962"/>
                    </a:lnTo>
                    <a:lnTo>
                      <a:pt x="68238" y="1380069"/>
                    </a:lnTo>
                    <a:lnTo>
                      <a:pt x="68005" y="1402353"/>
                    </a:lnTo>
                    <a:lnTo>
                      <a:pt x="89914" y="1411982"/>
                    </a:lnTo>
                    <a:lnTo>
                      <a:pt x="107451" y="1434998"/>
                    </a:lnTo>
                    <a:lnTo>
                      <a:pt x="111209" y="1460659"/>
                    </a:lnTo>
                    <a:lnTo>
                      <a:pt x="95842" y="1502022"/>
                    </a:lnTo>
                    <a:lnTo>
                      <a:pt x="70895" y="1530934"/>
                    </a:lnTo>
                    <a:lnTo>
                      <a:pt x="54400" y="1554696"/>
                    </a:lnTo>
                    <a:lnTo>
                      <a:pt x="39582" y="1580238"/>
                    </a:lnTo>
                    <a:lnTo>
                      <a:pt x="22982" y="1605331"/>
                    </a:lnTo>
                    <a:lnTo>
                      <a:pt x="0" y="1622709"/>
                    </a:lnTo>
                    <a:lnTo>
                      <a:pt x="12238" y="1648554"/>
                    </a:lnTo>
                    <a:lnTo>
                      <a:pt x="41040" y="1636763"/>
                    </a:lnTo>
                    <a:lnTo>
                      <a:pt x="73208" y="1633142"/>
                    </a:lnTo>
                    <a:lnTo>
                      <a:pt x="102009" y="1647189"/>
                    </a:lnTo>
                    <a:lnTo>
                      <a:pt x="113984" y="1667191"/>
                    </a:lnTo>
                    <a:lnTo>
                      <a:pt x="126557" y="1688783"/>
                    </a:lnTo>
                    <a:lnTo>
                      <a:pt x="133294" y="1719284"/>
                    </a:lnTo>
                    <a:lnTo>
                      <a:pt x="137787" y="1750538"/>
                    </a:lnTo>
                    <a:lnTo>
                      <a:pt x="150363" y="1782827"/>
                    </a:lnTo>
                    <a:lnTo>
                      <a:pt x="169199" y="1795218"/>
                    </a:lnTo>
                    <a:lnTo>
                      <a:pt x="186345" y="1807696"/>
                    </a:lnTo>
                    <a:lnTo>
                      <a:pt x="203492" y="1820173"/>
                    </a:lnTo>
                    <a:lnTo>
                      <a:pt x="228513" y="1851222"/>
                    </a:lnTo>
                    <a:lnTo>
                      <a:pt x="232780" y="1883616"/>
                    </a:lnTo>
                    <a:lnTo>
                      <a:pt x="232389" y="1916762"/>
                    </a:lnTo>
                    <a:lnTo>
                      <a:pt x="246193" y="1943715"/>
                    </a:lnTo>
                    <a:lnTo>
                      <a:pt x="267100" y="1963329"/>
                    </a:lnTo>
                    <a:lnTo>
                      <a:pt x="288379" y="1970755"/>
                    </a:lnTo>
                    <a:lnTo>
                      <a:pt x="310118" y="1975002"/>
                    </a:lnTo>
                    <a:lnTo>
                      <a:pt x="331862" y="1979243"/>
                    </a:lnTo>
                    <a:lnTo>
                      <a:pt x="354072" y="1979512"/>
                    </a:lnTo>
                    <a:lnTo>
                      <a:pt x="394026" y="1986813"/>
                    </a:lnTo>
                    <a:lnTo>
                      <a:pt x="427100" y="2011722"/>
                    </a:lnTo>
                    <a:lnTo>
                      <a:pt x="442714" y="2029561"/>
                    </a:lnTo>
                    <a:lnTo>
                      <a:pt x="456499" y="2058777"/>
                    </a:lnTo>
                    <a:lnTo>
                      <a:pt x="465184" y="2105581"/>
                    </a:lnTo>
                    <a:lnTo>
                      <a:pt x="484647" y="2124179"/>
                    </a:lnTo>
                    <a:lnTo>
                      <a:pt x="520145" y="2128802"/>
                    </a:lnTo>
                    <a:lnTo>
                      <a:pt x="552928" y="2102442"/>
                    </a:lnTo>
                    <a:lnTo>
                      <a:pt x="583524" y="2077012"/>
                    </a:lnTo>
                    <a:lnTo>
                      <a:pt x="614108" y="2051582"/>
                    </a:lnTo>
                    <a:lnTo>
                      <a:pt x="643518" y="2026772"/>
                    </a:lnTo>
                    <a:lnTo>
                      <a:pt x="714096" y="2075653"/>
                    </a:lnTo>
                    <a:lnTo>
                      <a:pt x="729019" y="2107216"/>
                    </a:lnTo>
                    <a:lnTo>
                      <a:pt x="732969" y="2151679"/>
                    </a:lnTo>
                    <a:lnTo>
                      <a:pt x="735865" y="2185828"/>
                    </a:lnTo>
                    <a:lnTo>
                      <a:pt x="701347" y="2210189"/>
                    </a:lnTo>
                    <a:lnTo>
                      <a:pt x="571150" y="2258813"/>
                    </a:lnTo>
                    <a:lnTo>
                      <a:pt x="546776" y="2278876"/>
                    </a:lnTo>
                    <a:lnTo>
                      <a:pt x="569925" y="2323292"/>
                    </a:lnTo>
                    <a:lnTo>
                      <a:pt x="593040" y="2377621"/>
                    </a:lnTo>
                    <a:lnTo>
                      <a:pt x="604599" y="2404785"/>
                    </a:lnTo>
                    <a:lnTo>
                      <a:pt x="616524" y="2434231"/>
                    </a:lnTo>
                    <a:lnTo>
                      <a:pt x="624325" y="2464673"/>
                    </a:lnTo>
                    <a:lnTo>
                      <a:pt x="632126" y="2495109"/>
                    </a:lnTo>
                    <a:lnTo>
                      <a:pt x="636163" y="2526599"/>
                    </a:lnTo>
                    <a:lnTo>
                      <a:pt x="632483" y="2557167"/>
                    </a:lnTo>
                    <a:lnTo>
                      <a:pt x="658838" y="2578119"/>
                    </a:lnTo>
                    <a:lnTo>
                      <a:pt x="799790" y="2629256"/>
                    </a:lnTo>
                    <a:lnTo>
                      <a:pt x="822068" y="2637440"/>
                    </a:lnTo>
                    <a:lnTo>
                      <a:pt x="877795" y="2595338"/>
                    </a:lnTo>
                    <a:lnTo>
                      <a:pt x="908605" y="2600693"/>
                    </a:lnTo>
                    <a:lnTo>
                      <a:pt x="946699" y="2678223"/>
                    </a:lnTo>
                    <a:lnTo>
                      <a:pt x="969563" y="2724849"/>
                    </a:lnTo>
                    <a:lnTo>
                      <a:pt x="979764" y="2781578"/>
                    </a:lnTo>
                    <a:lnTo>
                      <a:pt x="995657" y="2830565"/>
                    </a:lnTo>
                    <a:lnTo>
                      <a:pt x="1003421" y="2854525"/>
                    </a:lnTo>
                    <a:lnTo>
                      <a:pt x="1014955" y="2876736"/>
                    </a:lnTo>
                    <a:lnTo>
                      <a:pt x="1029668" y="2895855"/>
                    </a:lnTo>
                    <a:lnTo>
                      <a:pt x="1044367" y="2914973"/>
                    </a:lnTo>
                    <a:lnTo>
                      <a:pt x="1062227" y="2932120"/>
                    </a:lnTo>
                    <a:lnTo>
                      <a:pt x="1081351" y="2947539"/>
                    </a:lnTo>
                    <a:lnTo>
                      <a:pt x="1119597" y="2978383"/>
                    </a:lnTo>
                    <a:lnTo>
                      <a:pt x="1163049" y="3002152"/>
                    </a:lnTo>
                    <a:lnTo>
                      <a:pt x="1203765" y="3025075"/>
                    </a:lnTo>
                    <a:lnTo>
                      <a:pt x="1216779" y="3044860"/>
                    </a:lnTo>
                    <a:lnTo>
                      <a:pt x="1225129" y="3064658"/>
                    </a:lnTo>
                    <a:lnTo>
                      <a:pt x="1220090" y="3109405"/>
                    </a:lnTo>
                    <a:lnTo>
                      <a:pt x="1216100" y="3133885"/>
                    </a:lnTo>
                    <a:lnTo>
                      <a:pt x="1208919" y="3161682"/>
                    </a:lnTo>
                    <a:lnTo>
                      <a:pt x="1201049" y="3189657"/>
                    </a:lnTo>
                    <a:lnTo>
                      <a:pt x="1185301" y="3245603"/>
                    </a:lnTo>
                    <a:lnTo>
                      <a:pt x="1168865" y="3303269"/>
                    </a:lnTo>
                    <a:lnTo>
                      <a:pt x="1176564" y="3337918"/>
                    </a:lnTo>
                    <a:lnTo>
                      <a:pt x="1182427" y="3364231"/>
                    </a:lnTo>
                    <a:lnTo>
                      <a:pt x="1209036" y="3385698"/>
                    </a:lnTo>
                    <a:lnTo>
                      <a:pt x="1217371" y="3414088"/>
                    </a:lnTo>
                    <a:lnTo>
                      <a:pt x="1203173" y="3444848"/>
                    </a:lnTo>
                    <a:lnTo>
                      <a:pt x="1171721" y="3470383"/>
                    </a:lnTo>
                    <a:lnTo>
                      <a:pt x="1142560" y="3487543"/>
                    </a:lnTo>
                    <a:lnTo>
                      <a:pt x="1106730" y="3469051"/>
                    </a:lnTo>
                    <a:lnTo>
                      <a:pt x="1085481" y="3456864"/>
                    </a:lnTo>
                    <a:lnTo>
                      <a:pt x="1063666" y="3463056"/>
                    </a:lnTo>
                    <a:lnTo>
                      <a:pt x="1044637" y="3475058"/>
                    </a:lnTo>
                    <a:lnTo>
                      <a:pt x="1024195" y="3504334"/>
                    </a:lnTo>
                    <a:lnTo>
                      <a:pt x="1017758" y="3531914"/>
                    </a:lnTo>
                    <a:lnTo>
                      <a:pt x="1025587" y="3552826"/>
                    </a:lnTo>
                    <a:lnTo>
                      <a:pt x="1036117" y="3580987"/>
                    </a:lnTo>
                    <a:lnTo>
                      <a:pt x="1052448" y="3605855"/>
                    </a:lnTo>
                    <a:lnTo>
                      <a:pt x="1066388" y="3631720"/>
                    </a:lnTo>
                    <a:lnTo>
                      <a:pt x="1084176" y="3664768"/>
                    </a:lnTo>
                    <a:lnTo>
                      <a:pt x="1126000" y="3737754"/>
                    </a:lnTo>
                    <a:lnTo>
                      <a:pt x="1171123" y="3803102"/>
                    </a:lnTo>
                    <a:lnTo>
                      <a:pt x="1193682" y="3835780"/>
                    </a:lnTo>
                    <a:lnTo>
                      <a:pt x="1217259" y="3865985"/>
                    </a:lnTo>
                    <a:lnTo>
                      <a:pt x="1239134" y="3888796"/>
                    </a:lnTo>
                    <a:lnTo>
                      <a:pt x="1261005" y="3911608"/>
                    </a:lnTo>
                    <a:lnTo>
                      <a:pt x="1281448" y="3927251"/>
                    </a:lnTo>
                    <a:lnTo>
                      <a:pt x="1307037" y="3921843"/>
                    </a:lnTo>
                    <a:lnTo>
                      <a:pt x="1326623" y="3907849"/>
                    </a:lnTo>
                    <a:lnTo>
                      <a:pt x="1346594" y="3899679"/>
                    </a:lnTo>
                    <a:lnTo>
                      <a:pt x="1366549" y="3891507"/>
                    </a:lnTo>
                    <a:lnTo>
                      <a:pt x="1398278" y="3901037"/>
                    </a:lnTo>
                    <a:lnTo>
                      <a:pt x="1425526" y="3930027"/>
                    </a:lnTo>
                    <a:lnTo>
                      <a:pt x="1457790" y="3959968"/>
                    </a:lnTo>
                    <a:lnTo>
                      <a:pt x="1482614" y="3990807"/>
                    </a:lnTo>
                    <a:lnTo>
                      <a:pt x="1498678" y="4030745"/>
                    </a:lnTo>
                    <a:lnTo>
                      <a:pt x="1513892" y="4047938"/>
                    </a:lnTo>
                    <a:lnTo>
                      <a:pt x="1545838" y="4042042"/>
                    </a:lnTo>
                    <a:lnTo>
                      <a:pt x="1569005" y="4023907"/>
                    </a:lnTo>
                    <a:lnTo>
                      <a:pt x="1594145" y="4015294"/>
                    </a:lnTo>
                    <a:lnTo>
                      <a:pt x="1719753" y="4111078"/>
                    </a:lnTo>
                    <a:lnTo>
                      <a:pt x="1738331" y="4124109"/>
                    </a:lnTo>
                    <a:lnTo>
                      <a:pt x="1753828" y="4153662"/>
                    </a:lnTo>
                    <a:lnTo>
                      <a:pt x="1754653" y="4182600"/>
                    </a:lnTo>
                    <a:lnTo>
                      <a:pt x="1755471" y="4211531"/>
                    </a:lnTo>
                    <a:lnTo>
                      <a:pt x="1752278" y="4248318"/>
                    </a:lnTo>
                    <a:lnTo>
                      <a:pt x="1749211" y="4284609"/>
                    </a:lnTo>
                    <a:lnTo>
                      <a:pt x="1743072" y="4357206"/>
                    </a:lnTo>
                    <a:lnTo>
                      <a:pt x="1735262" y="4430462"/>
                    </a:lnTo>
                    <a:lnTo>
                      <a:pt x="1749211" y="4447833"/>
                    </a:lnTo>
                    <a:lnTo>
                      <a:pt x="1802895" y="4478487"/>
                    </a:lnTo>
                    <a:lnTo>
                      <a:pt x="1868482" y="4503349"/>
                    </a:lnTo>
                    <a:lnTo>
                      <a:pt x="1934192" y="4526727"/>
                    </a:lnTo>
                    <a:lnTo>
                      <a:pt x="1999909" y="4550101"/>
                    </a:lnTo>
                    <a:lnTo>
                      <a:pt x="2065666" y="4571646"/>
                    </a:lnTo>
                    <a:lnTo>
                      <a:pt x="2121902" y="4592018"/>
                    </a:lnTo>
                    <a:lnTo>
                      <a:pt x="2155782" y="4604304"/>
                    </a:lnTo>
                    <a:lnTo>
                      <a:pt x="2184134" y="4609995"/>
                    </a:lnTo>
                    <a:lnTo>
                      <a:pt x="2214395" y="4632820"/>
                    </a:lnTo>
                    <a:lnTo>
                      <a:pt x="2225871" y="4658527"/>
                    </a:lnTo>
                    <a:lnTo>
                      <a:pt x="2222243" y="4698024"/>
                    </a:lnTo>
                    <a:lnTo>
                      <a:pt x="2218473" y="4738919"/>
                    </a:lnTo>
                    <a:lnTo>
                      <a:pt x="2214705" y="4779814"/>
                    </a:lnTo>
                    <a:lnTo>
                      <a:pt x="2210808" y="4821897"/>
                    </a:lnTo>
                    <a:lnTo>
                      <a:pt x="2221189" y="4854534"/>
                    </a:lnTo>
                    <a:lnTo>
                      <a:pt x="2227625" y="4874774"/>
                    </a:lnTo>
                    <a:lnTo>
                      <a:pt x="2252477" y="4904859"/>
                    </a:lnTo>
                    <a:lnTo>
                      <a:pt x="2282081" y="4928430"/>
                    </a:lnTo>
                    <a:lnTo>
                      <a:pt x="2332004" y="4959743"/>
                    </a:lnTo>
                    <a:lnTo>
                      <a:pt x="2367496" y="4978697"/>
                    </a:lnTo>
                    <a:lnTo>
                      <a:pt x="2389854" y="5010958"/>
                    </a:lnTo>
                    <a:lnTo>
                      <a:pt x="2392108" y="5059490"/>
                    </a:lnTo>
                    <a:lnTo>
                      <a:pt x="2412203" y="5111293"/>
                    </a:lnTo>
                    <a:lnTo>
                      <a:pt x="2419775" y="5161943"/>
                    </a:lnTo>
                    <a:lnTo>
                      <a:pt x="2423567" y="5187267"/>
                    </a:lnTo>
                    <a:lnTo>
                      <a:pt x="2424742" y="5212855"/>
                    </a:lnTo>
                    <a:lnTo>
                      <a:pt x="2418423" y="5236749"/>
                    </a:lnTo>
                    <a:lnTo>
                      <a:pt x="2412098" y="5260649"/>
                    </a:lnTo>
                    <a:lnTo>
                      <a:pt x="2398942" y="5283593"/>
                    </a:lnTo>
                    <a:lnTo>
                      <a:pt x="2374897" y="5304762"/>
                    </a:lnTo>
                    <a:lnTo>
                      <a:pt x="2335520" y="5320346"/>
                    </a:lnTo>
                    <a:lnTo>
                      <a:pt x="2312324" y="5336049"/>
                    </a:lnTo>
                    <a:lnTo>
                      <a:pt x="2289129" y="5351744"/>
                    </a:lnTo>
                    <a:lnTo>
                      <a:pt x="2267282" y="5370250"/>
                    </a:lnTo>
                    <a:lnTo>
                      <a:pt x="2255066" y="5396939"/>
                    </a:lnTo>
                    <a:lnTo>
                      <a:pt x="2207800" y="5476381"/>
                    </a:lnTo>
                    <a:lnTo>
                      <a:pt x="2146719" y="5547428"/>
                    </a:lnTo>
                    <a:lnTo>
                      <a:pt x="2112374" y="5627127"/>
                    </a:lnTo>
                    <a:lnTo>
                      <a:pt x="2111654" y="5655142"/>
                    </a:lnTo>
                    <a:lnTo>
                      <a:pt x="2133458" y="5704511"/>
                    </a:lnTo>
                    <a:lnTo>
                      <a:pt x="2151822" y="5725062"/>
                    </a:lnTo>
                    <a:lnTo>
                      <a:pt x="2225653" y="5807649"/>
                    </a:lnTo>
                    <a:lnTo>
                      <a:pt x="2291498" y="5888945"/>
                    </a:lnTo>
                    <a:lnTo>
                      <a:pt x="2357208" y="5978062"/>
                    </a:lnTo>
                    <a:lnTo>
                      <a:pt x="2390704" y="6023475"/>
                    </a:lnTo>
                    <a:lnTo>
                      <a:pt x="2404337" y="6088052"/>
                    </a:lnTo>
                    <a:lnTo>
                      <a:pt x="2425217" y="6139920"/>
                    </a:lnTo>
                    <a:lnTo>
                      <a:pt x="2466414" y="6242234"/>
                    </a:lnTo>
                    <a:lnTo>
                      <a:pt x="2501392" y="6323523"/>
                    </a:lnTo>
                    <a:lnTo>
                      <a:pt x="2521797" y="6409244"/>
                    </a:lnTo>
                    <a:lnTo>
                      <a:pt x="2531994" y="6452103"/>
                    </a:lnTo>
                    <a:lnTo>
                      <a:pt x="2538831" y="6496137"/>
                    </a:lnTo>
                    <a:lnTo>
                      <a:pt x="2540837" y="6543905"/>
                    </a:lnTo>
                    <a:lnTo>
                      <a:pt x="2542843" y="6591665"/>
                    </a:lnTo>
                    <a:lnTo>
                      <a:pt x="2540878" y="6642986"/>
                    </a:lnTo>
                    <a:lnTo>
                      <a:pt x="2532674" y="6701688"/>
                    </a:lnTo>
                    <a:lnTo>
                      <a:pt x="2526857" y="6756182"/>
                    </a:lnTo>
                    <a:lnTo>
                      <a:pt x="2558433" y="6780839"/>
                    </a:lnTo>
                    <a:lnTo>
                      <a:pt x="2605692" y="6803494"/>
                    </a:lnTo>
                    <a:lnTo>
                      <a:pt x="2651004" y="6829543"/>
                    </a:lnTo>
                    <a:lnTo>
                      <a:pt x="2696332" y="6855593"/>
                    </a:lnTo>
                    <a:lnTo>
                      <a:pt x="2740056" y="6884486"/>
                    </a:lnTo>
                    <a:lnTo>
                      <a:pt x="2766628" y="6902998"/>
                    </a:lnTo>
                    <a:lnTo>
                      <a:pt x="2789117" y="6923804"/>
                    </a:lnTo>
                    <a:lnTo>
                      <a:pt x="2823970" y="6940930"/>
                    </a:lnTo>
                    <a:lnTo>
                      <a:pt x="2858948" y="6951938"/>
                    </a:lnTo>
                    <a:lnTo>
                      <a:pt x="2890407" y="6964205"/>
                    </a:lnTo>
                    <a:lnTo>
                      <a:pt x="2923428" y="6977065"/>
                    </a:lnTo>
                    <a:lnTo>
                      <a:pt x="2962325" y="6983759"/>
                    </a:lnTo>
                    <a:lnTo>
                      <a:pt x="2996499" y="6996850"/>
                    </a:lnTo>
                    <a:lnTo>
                      <a:pt x="3057457" y="7020181"/>
                    </a:lnTo>
                    <a:lnTo>
                      <a:pt x="3108421" y="7060120"/>
                    </a:lnTo>
                    <a:lnTo>
                      <a:pt x="3166523" y="7089343"/>
                    </a:lnTo>
                    <a:lnTo>
                      <a:pt x="3223844" y="7118196"/>
                    </a:lnTo>
                    <a:lnTo>
                      <a:pt x="3288863" y="7141080"/>
                    </a:lnTo>
                    <a:lnTo>
                      <a:pt x="3351510" y="7166872"/>
                    </a:lnTo>
                    <a:lnTo>
                      <a:pt x="3414155" y="7192666"/>
                    </a:lnTo>
                    <a:lnTo>
                      <a:pt x="3474926" y="7221696"/>
                    </a:lnTo>
                    <a:lnTo>
                      <a:pt x="3524256" y="7263449"/>
                    </a:lnTo>
                    <a:lnTo>
                      <a:pt x="3568421" y="7300828"/>
                    </a:lnTo>
                    <a:lnTo>
                      <a:pt x="3609693" y="7343636"/>
                    </a:lnTo>
                    <a:lnTo>
                      <a:pt x="3652118" y="7383145"/>
                    </a:lnTo>
                    <a:lnTo>
                      <a:pt x="3683530" y="7409071"/>
                    </a:lnTo>
                    <a:lnTo>
                      <a:pt x="3737068" y="7444749"/>
                    </a:lnTo>
                    <a:lnTo>
                      <a:pt x="3767866" y="7470304"/>
                    </a:lnTo>
                    <a:lnTo>
                      <a:pt x="3794938" y="7500120"/>
                    </a:lnTo>
                    <a:lnTo>
                      <a:pt x="3822009" y="7529935"/>
                    </a:lnTo>
                    <a:lnTo>
                      <a:pt x="3844795" y="7564478"/>
                    </a:lnTo>
                    <a:lnTo>
                      <a:pt x="3868390" y="7610300"/>
                    </a:lnTo>
                    <a:lnTo>
                      <a:pt x="3878759" y="7630527"/>
                    </a:lnTo>
                    <a:lnTo>
                      <a:pt x="3882498" y="7655357"/>
                    </a:lnTo>
                    <a:lnTo>
                      <a:pt x="3892873" y="7675590"/>
                    </a:lnTo>
                    <a:lnTo>
                      <a:pt x="3911402" y="7711657"/>
                    </a:lnTo>
                    <a:lnTo>
                      <a:pt x="3948637" y="7743596"/>
                    </a:lnTo>
                    <a:lnTo>
                      <a:pt x="3972734" y="7738347"/>
                    </a:lnTo>
                    <a:lnTo>
                      <a:pt x="4009213" y="7742171"/>
                    </a:lnTo>
                    <a:lnTo>
                      <a:pt x="4046572" y="7747672"/>
                    </a:lnTo>
                    <a:lnTo>
                      <a:pt x="4083934" y="7753179"/>
                    </a:lnTo>
                    <a:lnTo>
                      <a:pt x="4122254" y="7760170"/>
                    </a:lnTo>
                    <a:lnTo>
                      <a:pt x="4149948" y="7761277"/>
                    </a:lnTo>
                    <a:lnTo>
                      <a:pt x="4203675" y="7763421"/>
                    </a:lnTo>
                    <a:lnTo>
                      <a:pt x="4258723" y="7762702"/>
                    </a:lnTo>
                    <a:lnTo>
                      <a:pt x="4317253" y="7766719"/>
                    </a:lnTo>
                    <a:lnTo>
                      <a:pt x="4316574" y="7791159"/>
                    </a:lnTo>
                    <a:lnTo>
                      <a:pt x="4322437" y="7854833"/>
                    </a:lnTo>
                    <a:lnTo>
                      <a:pt x="4329494" y="7878252"/>
                    </a:lnTo>
                    <a:lnTo>
                      <a:pt x="4368087" y="7897996"/>
                    </a:lnTo>
                    <a:lnTo>
                      <a:pt x="4394783" y="7901380"/>
                    </a:lnTo>
                    <a:lnTo>
                      <a:pt x="4421485" y="7904763"/>
                    </a:lnTo>
                    <a:lnTo>
                      <a:pt x="4449533" y="7904295"/>
                    </a:lnTo>
                    <a:lnTo>
                      <a:pt x="4471464" y="7915189"/>
                    </a:lnTo>
                    <a:lnTo>
                      <a:pt x="4482905" y="7960780"/>
                    </a:lnTo>
                    <a:lnTo>
                      <a:pt x="4459269" y="7989409"/>
                    </a:lnTo>
                    <a:lnTo>
                      <a:pt x="4419262" y="7993866"/>
                    </a:lnTo>
                    <a:lnTo>
                      <a:pt x="4380096" y="7993998"/>
                    </a:lnTo>
                    <a:lnTo>
                      <a:pt x="4367923" y="8022713"/>
                    </a:lnTo>
                    <a:lnTo>
                      <a:pt x="4378462" y="8059157"/>
                    </a:lnTo>
                    <a:lnTo>
                      <a:pt x="4381348" y="8092091"/>
                    </a:lnTo>
                    <a:lnTo>
                      <a:pt x="4375017" y="8112330"/>
                    </a:lnTo>
                    <a:lnTo>
                      <a:pt x="4346541" y="8142008"/>
                    </a:lnTo>
                    <a:lnTo>
                      <a:pt x="4324521" y="8152283"/>
                    </a:lnTo>
                    <a:lnTo>
                      <a:pt x="4296848" y="8166614"/>
                    </a:lnTo>
                    <a:lnTo>
                      <a:pt x="4334216" y="8196976"/>
                    </a:lnTo>
                    <a:lnTo>
                      <a:pt x="4367858" y="8224596"/>
                    </a:lnTo>
                    <a:lnTo>
                      <a:pt x="4397509" y="8256390"/>
                    </a:lnTo>
                    <a:lnTo>
                      <a:pt x="4427150" y="8288185"/>
                    </a:lnTo>
                    <a:lnTo>
                      <a:pt x="4453102" y="8323902"/>
                    </a:lnTo>
                    <a:lnTo>
                      <a:pt x="4472313" y="8369288"/>
                    </a:lnTo>
                    <a:lnTo>
                      <a:pt x="4525361" y="8374728"/>
                    </a:lnTo>
                    <a:lnTo>
                      <a:pt x="4544765" y="8389951"/>
                    </a:lnTo>
                    <a:lnTo>
                      <a:pt x="4557651" y="8413909"/>
                    </a:lnTo>
                    <a:lnTo>
                      <a:pt x="4568887" y="8441377"/>
                    </a:lnTo>
                    <a:lnTo>
                      <a:pt x="4579904" y="8466885"/>
                    </a:lnTo>
                    <a:lnTo>
                      <a:pt x="4598684" y="8483875"/>
                    </a:lnTo>
                    <a:lnTo>
                      <a:pt x="4630096" y="8486263"/>
                    </a:lnTo>
                    <a:lnTo>
                      <a:pt x="4640272" y="8443633"/>
                    </a:lnTo>
                    <a:lnTo>
                      <a:pt x="4647785" y="8415532"/>
                    </a:lnTo>
                    <a:lnTo>
                      <a:pt x="4656745" y="8388262"/>
                    </a:lnTo>
                    <a:lnTo>
                      <a:pt x="4671461" y="8372071"/>
                    </a:lnTo>
                    <a:lnTo>
                      <a:pt x="4694027" y="8373364"/>
                    </a:lnTo>
                    <a:lnTo>
                      <a:pt x="4733814" y="8387800"/>
                    </a:lnTo>
                    <a:lnTo>
                      <a:pt x="4774701" y="8404590"/>
                    </a:lnTo>
                    <a:lnTo>
                      <a:pt x="4815083" y="8416890"/>
                    </a:lnTo>
                    <a:lnTo>
                      <a:pt x="4851223" y="8425200"/>
                    </a:lnTo>
                    <a:lnTo>
                      <a:pt x="4887767" y="8433067"/>
                    </a:lnTo>
                    <a:lnTo>
                      <a:pt x="4919824" y="8450900"/>
                    </a:lnTo>
                    <a:lnTo>
                      <a:pt x="4908730" y="8513638"/>
                    </a:lnTo>
                    <a:lnTo>
                      <a:pt x="4933442" y="8541586"/>
                    </a:lnTo>
                    <a:lnTo>
                      <a:pt x="4979389" y="8543617"/>
                    </a:lnTo>
                    <a:lnTo>
                      <a:pt x="5027281" y="8547470"/>
                    </a:lnTo>
                    <a:lnTo>
                      <a:pt x="5051221" y="8549395"/>
                    </a:lnTo>
                    <a:lnTo>
                      <a:pt x="5075926" y="8550990"/>
                    </a:lnTo>
                    <a:lnTo>
                      <a:pt x="5098005" y="8555633"/>
                    </a:lnTo>
                    <a:lnTo>
                      <a:pt x="5120091" y="8560277"/>
                    </a:lnTo>
                    <a:lnTo>
                      <a:pt x="5152411" y="8578756"/>
                    </a:lnTo>
                    <a:lnTo>
                      <a:pt x="5154278" y="8609046"/>
                    </a:lnTo>
                    <a:lnTo>
                      <a:pt x="5144170" y="8643873"/>
                    </a:lnTo>
                    <a:lnTo>
                      <a:pt x="5165694" y="8675285"/>
                    </a:lnTo>
                    <a:lnTo>
                      <a:pt x="5187544" y="8675707"/>
                    </a:lnTo>
                    <a:lnTo>
                      <a:pt x="5208185" y="8667166"/>
                    </a:lnTo>
                    <a:lnTo>
                      <a:pt x="5228828" y="8658633"/>
                    </a:lnTo>
                    <a:lnTo>
                      <a:pt x="5248864" y="8642067"/>
                    </a:lnTo>
                    <a:lnTo>
                      <a:pt x="5273390" y="8607126"/>
                    </a:lnTo>
                    <a:lnTo>
                      <a:pt x="5283334" y="8575801"/>
                    </a:lnTo>
                    <a:lnTo>
                      <a:pt x="5293872" y="8554269"/>
                    </a:lnTo>
                    <a:lnTo>
                      <a:pt x="5310625" y="8534128"/>
                    </a:lnTo>
                    <a:lnTo>
                      <a:pt x="5350746" y="8554849"/>
                    </a:lnTo>
                    <a:lnTo>
                      <a:pt x="5378546" y="8557395"/>
                    </a:lnTo>
                    <a:lnTo>
                      <a:pt x="5413577" y="8571957"/>
                    </a:lnTo>
                    <a:lnTo>
                      <a:pt x="5442521" y="8584005"/>
                    </a:lnTo>
                    <a:lnTo>
                      <a:pt x="5465598" y="8608855"/>
                    </a:lnTo>
                    <a:lnTo>
                      <a:pt x="5489743" y="8626364"/>
                    </a:lnTo>
                    <a:lnTo>
                      <a:pt x="5533293" y="8657051"/>
                    </a:lnTo>
                    <a:lnTo>
                      <a:pt x="5555987" y="8690506"/>
                    </a:lnTo>
                    <a:lnTo>
                      <a:pt x="5571359" y="8727015"/>
                    </a:lnTo>
                    <a:lnTo>
                      <a:pt x="5586720" y="8763525"/>
                    </a:lnTo>
                    <a:lnTo>
                      <a:pt x="5595221" y="8802646"/>
                    </a:lnTo>
                    <a:lnTo>
                      <a:pt x="5593116" y="8838556"/>
                    </a:lnTo>
                    <a:lnTo>
                      <a:pt x="5613521" y="8848078"/>
                    </a:lnTo>
                    <a:lnTo>
                      <a:pt x="5639188" y="8837717"/>
                    </a:lnTo>
                    <a:lnTo>
                      <a:pt x="5653144" y="8806748"/>
                    </a:lnTo>
                    <a:lnTo>
                      <a:pt x="5657339" y="8785993"/>
                    </a:lnTo>
                    <a:lnTo>
                      <a:pt x="5661131" y="8762384"/>
                    </a:lnTo>
                    <a:lnTo>
                      <a:pt x="5664916" y="8738774"/>
                    </a:lnTo>
                    <a:lnTo>
                      <a:pt x="5667633" y="8712184"/>
                    </a:lnTo>
                    <a:lnTo>
                      <a:pt x="5673372" y="8687571"/>
                    </a:lnTo>
                    <a:lnTo>
                      <a:pt x="5679108" y="8662966"/>
                    </a:lnTo>
                    <a:lnTo>
                      <a:pt x="5687752" y="8639396"/>
                    </a:lnTo>
                    <a:lnTo>
                      <a:pt x="5700573" y="8620924"/>
                    </a:lnTo>
                    <a:lnTo>
                      <a:pt x="5754052" y="8619816"/>
                    </a:lnTo>
                    <a:lnTo>
                      <a:pt x="5799063" y="8649150"/>
                    </a:lnTo>
                    <a:lnTo>
                      <a:pt x="5827077" y="8669890"/>
                    </a:lnTo>
                    <a:lnTo>
                      <a:pt x="5840419" y="8631871"/>
                    </a:lnTo>
                    <a:lnTo>
                      <a:pt x="5869496" y="8568302"/>
                    </a:lnTo>
                    <a:lnTo>
                      <a:pt x="5899160" y="8540670"/>
                    </a:lnTo>
                    <a:lnTo>
                      <a:pt x="5926299" y="8536562"/>
                    </a:lnTo>
                    <a:lnTo>
                      <a:pt x="5964523" y="8544778"/>
                    </a:lnTo>
                    <a:lnTo>
                      <a:pt x="5990295" y="8552910"/>
                    </a:lnTo>
                    <a:lnTo>
                      <a:pt x="6077586" y="8581835"/>
                    </a:lnTo>
                    <a:lnTo>
                      <a:pt x="6123868" y="8597801"/>
                    </a:lnTo>
                    <a:lnTo>
                      <a:pt x="6165766" y="8619564"/>
                    </a:lnTo>
                    <a:lnTo>
                      <a:pt x="6207655" y="8641321"/>
                    </a:lnTo>
                    <a:lnTo>
                      <a:pt x="6246230" y="8670016"/>
                    </a:lnTo>
                    <a:lnTo>
                      <a:pt x="6316750" y="8722940"/>
                    </a:lnTo>
                    <a:lnTo>
                      <a:pt x="6334680" y="8736387"/>
                    </a:lnTo>
                    <a:lnTo>
                      <a:pt x="6354108" y="8746378"/>
                    </a:lnTo>
                    <a:lnTo>
                      <a:pt x="6371159" y="8761026"/>
                    </a:lnTo>
                    <a:lnTo>
                      <a:pt x="6389049" y="8776372"/>
                    </a:lnTo>
                    <a:lnTo>
                      <a:pt x="6447387" y="8822529"/>
                    </a:lnTo>
                    <a:lnTo>
                      <a:pt x="6474907" y="8842242"/>
                    </a:lnTo>
                    <a:lnTo>
                      <a:pt x="6531003" y="8880894"/>
                    </a:lnTo>
                    <a:lnTo>
                      <a:pt x="6590147" y="8917444"/>
                    </a:lnTo>
                    <a:lnTo>
                      <a:pt x="6649284" y="8953998"/>
                    </a:lnTo>
                    <a:lnTo>
                      <a:pt x="6711823" y="8987976"/>
                    </a:lnTo>
                    <a:lnTo>
                      <a:pt x="6843437" y="9057373"/>
                    </a:lnTo>
                    <a:lnTo>
                      <a:pt x="6951151" y="9125856"/>
                    </a:lnTo>
                    <a:lnTo>
                      <a:pt x="7062130" y="9189483"/>
                    </a:lnTo>
                    <a:lnTo>
                      <a:pt x="7129215" y="9227997"/>
                    </a:lnTo>
                    <a:lnTo>
                      <a:pt x="7197939" y="9261896"/>
                    </a:lnTo>
                    <a:lnTo>
                      <a:pt x="7263448" y="9303746"/>
                    </a:lnTo>
                    <a:lnTo>
                      <a:pt x="7292305" y="9322193"/>
                    </a:lnTo>
                    <a:lnTo>
                      <a:pt x="7311610" y="9348117"/>
                    </a:lnTo>
                    <a:lnTo>
                      <a:pt x="7336895" y="9370388"/>
                    </a:lnTo>
                    <a:lnTo>
                      <a:pt x="7369752" y="9399359"/>
                    </a:lnTo>
                    <a:lnTo>
                      <a:pt x="7409833" y="9417443"/>
                    </a:lnTo>
                    <a:lnTo>
                      <a:pt x="7442994" y="9443841"/>
                    </a:lnTo>
                    <a:lnTo>
                      <a:pt x="7464927" y="9461291"/>
                    </a:lnTo>
                    <a:lnTo>
                      <a:pt x="7485115" y="9484347"/>
                    </a:lnTo>
                    <a:lnTo>
                      <a:pt x="7505561" y="9503690"/>
                    </a:lnTo>
                    <a:lnTo>
                      <a:pt x="7527159" y="9516531"/>
                    </a:lnTo>
                    <a:lnTo>
                      <a:pt x="7557837" y="9501587"/>
                    </a:lnTo>
                    <a:lnTo>
                      <a:pt x="7574167" y="9485093"/>
                    </a:lnTo>
                    <a:lnTo>
                      <a:pt x="7592613" y="9472412"/>
                    </a:lnTo>
                    <a:lnTo>
                      <a:pt x="7611064" y="9459676"/>
                    </a:lnTo>
                    <a:lnTo>
                      <a:pt x="7632533" y="9452323"/>
                    </a:lnTo>
                    <a:lnTo>
                      <a:pt x="7651102" y="9439766"/>
                    </a:lnTo>
                    <a:lnTo>
                      <a:pt x="7676130" y="9422844"/>
                    </a:lnTo>
                    <a:lnTo>
                      <a:pt x="7706348" y="9398694"/>
                    </a:lnTo>
                    <a:lnTo>
                      <a:pt x="7734074" y="9373112"/>
                    </a:lnTo>
                    <a:lnTo>
                      <a:pt x="7761799" y="9347529"/>
                    </a:lnTo>
                    <a:lnTo>
                      <a:pt x="7787122" y="9319627"/>
                    </a:lnTo>
                    <a:lnTo>
                      <a:pt x="7802085" y="9292858"/>
                    </a:lnTo>
                    <a:lnTo>
                      <a:pt x="7794132" y="9260029"/>
                    </a:lnTo>
                    <a:lnTo>
                      <a:pt x="7740663" y="9231315"/>
                    </a:lnTo>
                    <a:lnTo>
                      <a:pt x="7722078" y="9209973"/>
                    </a:lnTo>
                    <a:lnTo>
                      <a:pt x="7723219" y="9181326"/>
                    </a:lnTo>
                    <a:lnTo>
                      <a:pt x="7724478" y="9154569"/>
                    </a:lnTo>
                    <a:lnTo>
                      <a:pt x="7735457" y="9125558"/>
                    </a:lnTo>
                    <a:lnTo>
                      <a:pt x="7750612" y="9105543"/>
                    </a:lnTo>
                    <a:lnTo>
                      <a:pt x="7766546" y="9091167"/>
                    </a:lnTo>
                    <a:lnTo>
                      <a:pt x="7780344" y="9072509"/>
                    </a:lnTo>
                    <a:lnTo>
                      <a:pt x="7790743" y="9047357"/>
                    </a:lnTo>
                    <a:lnTo>
                      <a:pt x="7791224" y="9023543"/>
                    </a:lnTo>
                    <a:lnTo>
                      <a:pt x="7822332" y="9031660"/>
                    </a:lnTo>
                    <a:lnTo>
                      <a:pt x="7851205" y="9034299"/>
                    </a:lnTo>
                    <a:lnTo>
                      <a:pt x="7872837" y="9005710"/>
                    </a:lnTo>
                    <a:lnTo>
                      <a:pt x="7860596" y="8910644"/>
                    </a:lnTo>
                    <a:lnTo>
                      <a:pt x="7863340" y="8888881"/>
                    </a:lnTo>
                    <a:lnTo>
                      <a:pt x="7862745" y="8864908"/>
                    </a:lnTo>
                    <a:lnTo>
                      <a:pt x="7849608" y="8844385"/>
                    </a:lnTo>
                    <a:lnTo>
                      <a:pt x="7833414" y="8826308"/>
                    </a:lnTo>
                    <a:lnTo>
                      <a:pt x="7817216" y="8808238"/>
                    </a:lnTo>
                    <a:lnTo>
                      <a:pt x="7797127" y="8792049"/>
                    </a:lnTo>
                    <a:lnTo>
                      <a:pt x="7781727" y="8777347"/>
                    </a:lnTo>
                    <a:lnTo>
                      <a:pt x="7765024" y="8761382"/>
                    </a:lnTo>
                    <a:lnTo>
                      <a:pt x="7746182" y="8749141"/>
                    </a:lnTo>
                    <a:lnTo>
                      <a:pt x="7730037" y="8731097"/>
                    </a:lnTo>
                    <a:lnTo>
                      <a:pt x="7713511" y="8678728"/>
                    </a:lnTo>
                    <a:lnTo>
                      <a:pt x="7716438" y="8641327"/>
                    </a:lnTo>
                    <a:lnTo>
                      <a:pt x="7719352" y="8603922"/>
                    </a:lnTo>
                    <a:lnTo>
                      <a:pt x="7727386" y="8566442"/>
                    </a:lnTo>
                    <a:lnTo>
                      <a:pt x="7744138" y="8525997"/>
                    </a:lnTo>
                    <a:lnTo>
                      <a:pt x="7760361" y="8502505"/>
                    </a:lnTo>
                    <a:lnTo>
                      <a:pt x="7769483" y="8478097"/>
                    </a:lnTo>
                    <a:lnTo>
                      <a:pt x="7785413" y="8435461"/>
                    </a:lnTo>
                    <a:lnTo>
                      <a:pt x="7796262" y="8398055"/>
                    </a:lnTo>
                    <a:lnTo>
                      <a:pt x="7807567" y="8365206"/>
                    </a:lnTo>
                    <a:lnTo>
                      <a:pt x="7818878" y="8332349"/>
                    </a:lnTo>
                    <a:lnTo>
                      <a:pt x="7831296" y="8304374"/>
                    </a:lnTo>
                    <a:lnTo>
                      <a:pt x="7847016" y="8282228"/>
                    </a:lnTo>
                    <a:lnTo>
                      <a:pt x="7862726" y="8260090"/>
                    </a:lnTo>
                    <a:lnTo>
                      <a:pt x="7881786" y="8243787"/>
                    </a:lnTo>
                    <a:lnTo>
                      <a:pt x="7910941" y="8233269"/>
                    </a:lnTo>
                    <a:lnTo>
                      <a:pt x="7940092" y="8222742"/>
                    </a:lnTo>
                    <a:lnTo>
                      <a:pt x="7979042" y="8217645"/>
                    </a:lnTo>
                    <a:lnTo>
                      <a:pt x="8030639" y="8219663"/>
                    </a:lnTo>
                    <a:lnTo>
                      <a:pt x="8049159" y="8203407"/>
                    </a:lnTo>
                    <a:lnTo>
                      <a:pt x="8058364" y="8176071"/>
                    </a:lnTo>
                    <a:lnTo>
                      <a:pt x="8055121" y="8151650"/>
                    </a:lnTo>
                    <a:lnTo>
                      <a:pt x="8034716" y="8143491"/>
                    </a:lnTo>
                    <a:lnTo>
                      <a:pt x="7997986" y="8151650"/>
                    </a:lnTo>
                    <a:lnTo>
                      <a:pt x="7960720" y="8135690"/>
                    </a:lnTo>
                    <a:lnTo>
                      <a:pt x="7964295" y="8093397"/>
                    </a:lnTo>
                    <a:lnTo>
                      <a:pt x="7981290" y="8072709"/>
                    </a:lnTo>
                    <a:lnTo>
                      <a:pt x="8003428" y="8052357"/>
                    </a:lnTo>
                    <a:lnTo>
                      <a:pt x="8025569" y="8032005"/>
                    </a:lnTo>
                    <a:lnTo>
                      <a:pt x="8052606" y="8011811"/>
                    </a:lnTo>
                    <a:lnTo>
                      <a:pt x="8079600" y="7989790"/>
                    </a:lnTo>
                    <a:lnTo>
                      <a:pt x="8106594" y="7967770"/>
                    </a:lnTo>
                    <a:lnTo>
                      <a:pt x="8132735" y="7944220"/>
                    </a:lnTo>
                    <a:lnTo>
                      <a:pt x="8153053" y="7916338"/>
                    </a:lnTo>
                    <a:lnTo>
                      <a:pt x="8173365" y="7888454"/>
                    </a:lnTo>
                    <a:lnTo>
                      <a:pt x="8187671" y="7856357"/>
                    </a:lnTo>
                    <a:lnTo>
                      <a:pt x="8189773" y="7818403"/>
                    </a:lnTo>
                    <a:lnTo>
                      <a:pt x="8165294" y="7754472"/>
                    </a:lnTo>
                    <a:lnTo>
                      <a:pt x="8178555" y="7729523"/>
                    </a:lnTo>
                    <a:lnTo>
                      <a:pt x="8227439" y="7725645"/>
                    </a:lnTo>
                    <a:lnTo>
                      <a:pt x="8253323" y="7746875"/>
                    </a:lnTo>
                    <a:lnTo>
                      <a:pt x="8287714" y="7759913"/>
                    </a:lnTo>
                    <a:lnTo>
                      <a:pt x="8310606" y="7768598"/>
                    </a:lnTo>
                    <a:lnTo>
                      <a:pt x="8331532" y="7771243"/>
                    </a:lnTo>
                    <a:lnTo>
                      <a:pt x="8369030" y="7767629"/>
                    </a:lnTo>
                    <a:lnTo>
                      <a:pt x="8401971" y="7753113"/>
                    </a:lnTo>
                    <a:lnTo>
                      <a:pt x="8434769" y="7735986"/>
                    </a:lnTo>
                    <a:lnTo>
                      <a:pt x="8465691" y="7709659"/>
                    </a:lnTo>
                    <a:lnTo>
                      <a:pt x="8499906" y="7687823"/>
                    </a:lnTo>
                    <a:lnTo>
                      <a:pt x="8542918" y="7660369"/>
                    </a:lnTo>
                    <a:lnTo>
                      <a:pt x="8586233" y="7628766"/>
                    </a:lnTo>
                    <a:lnTo>
                      <a:pt x="8630484" y="7603495"/>
                    </a:lnTo>
                    <a:lnTo>
                      <a:pt x="8681483" y="7574379"/>
                    </a:lnTo>
                    <a:lnTo>
                      <a:pt x="8738825" y="7558412"/>
                    </a:lnTo>
                    <a:lnTo>
                      <a:pt x="8789628" y="7531400"/>
                    </a:lnTo>
                    <a:lnTo>
                      <a:pt x="8813896" y="7518500"/>
                    </a:lnTo>
                    <a:lnTo>
                      <a:pt x="8833669" y="7492767"/>
                    </a:lnTo>
                    <a:lnTo>
                      <a:pt x="8861717" y="7483797"/>
                    </a:lnTo>
                    <a:lnTo>
                      <a:pt x="8901113" y="7471188"/>
                    </a:lnTo>
                    <a:lnTo>
                      <a:pt x="8938270" y="7476444"/>
                    </a:lnTo>
                    <a:lnTo>
                      <a:pt x="8977331" y="7472915"/>
                    </a:lnTo>
                    <a:lnTo>
                      <a:pt x="9031567" y="7467982"/>
                    </a:lnTo>
                    <a:lnTo>
                      <a:pt x="9078714" y="7438207"/>
                    </a:lnTo>
                    <a:lnTo>
                      <a:pt x="9131040" y="7423949"/>
                    </a:lnTo>
                    <a:lnTo>
                      <a:pt x="9165608" y="7414511"/>
                    </a:lnTo>
                    <a:lnTo>
                      <a:pt x="9202620" y="7409334"/>
                    </a:lnTo>
                    <a:lnTo>
                      <a:pt x="9238491" y="7402185"/>
                    </a:lnTo>
                    <a:lnTo>
                      <a:pt x="9274364" y="7395030"/>
                    </a:lnTo>
                    <a:lnTo>
                      <a:pt x="9309668" y="7387004"/>
                    </a:lnTo>
                    <a:lnTo>
                      <a:pt x="9341864" y="7369540"/>
                    </a:lnTo>
                    <a:lnTo>
                      <a:pt x="9365587" y="7350389"/>
                    </a:lnTo>
                    <a:lnTo>
                      <a:pt x="9375267" y="7328837"/>
                    </a:lnTo>
                    <a:lnTo>
                      <a:pt x="9382674" y="7304251"/>
                    </a:lnTo>
                    <a:lnTo>
                      <a:pt x="9397690" y="7279776"/>
                    </a:lnTo>
                    <a:lnTo>
                      <a:pt x="9416669" y="7266165"/>
                    </a:lnTo>
                    <a:lnTo>
                      <a:pt x="9435669" y="7252547"/>
                    </a:lnTo>
                    <a:lnTo>
                      <a:pt x="9465453" y="7237405"/>
                    </a:lnTo>
                    <a:lnTo>
                      <a:pt x="9510530" y="7222639"/>
                    </a:lnTo>
                    <a:lnTo>
                      <a:pt x="9543405" y="7224848"/>
                    </a:lnTo>
                    <a:lnTo>
                      <a:pt x="9575596" y="7239469"/>
                    </a:lnTo>
                    <a:lnTo>
                      <a:pt x="9608462" y="7241678"/>
                    </a:lnTo>
                    <a:lnTo>
                      <a:pt x="9647188" y="7196642"/>
                    </a:lnTo>
                    <a:lnTo>
                      <a:pt x="9663035" y="7180609"/>
                    </a:lnTo>
                    <a:lnTo>
                      <a:pt x="9699976" y="7191379"/>
                    </a:lnTo>
                    <a:lnTo>
                      <a:pt x="9736324" y="7206316"/>
                    </a:lnTo>
                    <a:lnTo>
                      <a:pt x="9772669" y="7221247"/>
                    </a:lnTo>
                    <a:lnTo>
                      <a:pt x="9809715" y="7241084"/>
                    </a:lnTo>
                    <a:lnTo>
                      <a:pt x="9817931" y="7275682"/>
                    </a:lnTo>
                    <a:lnTo>
                      <a:pt x="9799926" y="7286821"/>
                    </a:lnTo>
                    <a:lnTo>
                      <a:pt x="9774405" y="7308327"/>
                    </a:lnTo>
                    <a:lnTo>
                      <a:pt x="9759870" y="7336415"/>
                    </a:lnTo>
                    <a:lnTo>
                      <a:pt x="9762164" y="7358658"/>
                    </a:lnTo>
                    <a:lnTo>
                      <a:pt x="9775605" y="7379631"/>
                    </a:lnTo>
                    <a:lnTo>
                      <a:pt x="9801312" y="7394892"/>
                    </a:lnTo>
                    <a:lnTo>
                      <a:pt x="9837800" y="7396183"/>
                    </a:lnTo>
                    <a:lnTo>
                      <a:pt x="9868257" y="7383139"/>
                    </a:lnTo>
                    <a:lnTo>
                      <a:pt x="9891378" y="7360393"/>
                    </a:lnTo>
                    <a:lnTo>
                      <a:pt x="9911783" y="7314374"/>
                    </a:lnTo>
                    <a:lnTo>
                      <a:pt x="9915528" y="7274521"/>
                    </a:lnTo>
                    <a:lnTo>
                      <a:pt x="9922663" y="7238962"/>
                    </a:lnTo>
                    <a:lnTo>
                      <a:pt x="9929462" y="7218557"/>
                    </a:lnTo>
                    <a:lnTo>
                      <a:pt x="9959944" y="7184547"/>
                    </a:lnTo>
                    <a:lnTo>
                      <a:pt x="9983971" y="7178083"/>
                    </a:lnTo>
                    <a:lnTo>
                      <a:pt x="10008351" y="7179113"/>
                    </a:lnTo>
                    <a:lnTo>
                      <a:pt x="10032746" y="7180141"/>
                    </a:lnTo>
                    <a:lnTo>
                      <a:pt x="10057141" y="7189401"/>
                    </a:lnTo>
                    <a:lnTo>
                      <a:pt x="10081807" y="7200876"/>
                    </a:lnTo>
                    <a:lnTo>
                      <a:pt x="10130523" y="7223536"/>
                    </a:lnTo>
                    <a:lnTo>
                      <a:pt x="10176864" y="7259254"/>
                    </a:lnTo>
                    <a:lnTo>
                      <a:pt x="10208310" y="7282488"/>
                    </a:lnTo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88" name="Kharkiv¬0" descr="Kharkiv¬0">
                <a:extLst>
                  <a:ext uri="{FF2B5EF4-FFF2-40B4-BE49-F238E27FC236}">
                    <a16:creationId xmlns:a16="http://schemas.microsoft.com/office/drawing/2014/main" id="{CF3EFEE3-C3A4-4018-BD9E-FE5C5CA86672}"/>
                  </a:ext>
                </a:extLst>
              </p:cNvPr>
              <p:cNvSpPr/>
              <p:nvPr/>
            </p:nvSpPr>
            <p:spPr>
              <a:xfrm>
                <a:off x="44472062" y="10196760"/>
                <a:ext cx="11359154" cy="10065773"/>
              </a:xfrm>
              <a:custGeom>
                <a:avLst/>
                <a:gdLst/>
                <a:ahLst/>
                <a:cxnLst/>
                <a:rect l="0" t="0" r="0" b="0"/>
                <a:pathLst>
                  <a:path w="11359155" h="10065770">
                    <a:moveTo>
                      <a:pt x="2980546" y="499801"/>
                    </a:moveTo>
                    <a:lnTo>
                      <a:pt x="2980066" y="526108"/>
                    </a:lnTo>
                    <a:lnTo>
                      <a:pt x="2971446" y="560151"/>
                    </a:lnTo>
                    <a:lnTo>
                      <a:pt x="2958383" y="588246"/>
                    </a:lnTo>
                    <a:lnTo>
                      <a:pt x="2934692" y="619585"/>
                    </a:lnTo>
                    <a:lnTo>
                      <a:pt x="2908610" y="638518"/>
                    </a:lnTo>
                    <a:lnTo>
                      <a:pt x="2880847" y="646736"/>
                    </a:lnTo>
                    <a:lnTo>
                      <a:pt x="2850430" y="649822"/>
                    </a:lnTo>
                    <a:lnTo>
                      <a:pt x="2818773" y="646373"/>
                    </a:lnTo>
                    <a:lnTo>
                      <a:pt x="2785634" y="638571"/>
                    </a:lnTo>
                    <a:lnTo>
                      <a:pt x="2753075" y="627881"/>
                    </a:lnTo>
                    <a:lnTo>
                      <a:pt x="2720261" y="616617"/>
                    </a:lnTo>
                    <a:lnTo>
                      <a:pt x="2687702" y="607285"/>
                    </a:lnTo>
                    <a:lnTo>
                      <a:pt x="2656250" y="597314"/>
                    </a:lnTo>
                    <a:lnTo>
                      <a:pt x="2626664" y="592776"/>
                    </a:lnTo>
                    <a:lnTo>
                      <a:pt x="2600647" y="595045"/>
                    </a:lnTo>
                    <a:lnTo>
                      <a:pt x="2580065" y="610662"/>
                    </a:lnTo>
                    <a:lnTo>
                      <a:pt x="2564100" y="628396"/>
                    </a:lnTo>
                    <a:lnTo>
                      <a:pt x="2547599" y="642654"/>
                    </a:lnTo>
                    <a:lnTo>
                      <a:pt x="2515232" y="657835"/>
                    </a:lnTo>
                    <a:lnTo>
                      <a:pt x="2476593" y="660117"/>
                    </a:lnTo>
                    <a:lnTo>
                      <a:pt x="2455561" y="657644"/>
                    </a:lnTo>
                    <a:lnTo>
                      <a:pt x="2434701" y="653535"/>
                    </a:lnTo>
                    <a:lnTo>
                      <a:pt x="2392982" y="645318"/>
                    </a:lnTo>
                    <a:lnTo>
                      <a:pt x="2350727" y="629840"/>
                    </a:lnTo>
                    <a:lnTo>
                      <a:pt x="2320444" y="622249"/>
                    </a:lnTo>
                    <a:lnTo>
                      <a:pt x="2295965" y="623608"/>
                    </a:lnTo>
                    <a:lnTo>
                      <a:pt x="2274202" y="634489"/>
                    </a:lnTo>
                    <a:lnTo>
                      <a:pt x="2290576" y="661832"/>
                    </a:lnTo>
                    <a:lnTo>
                      <a:pt x="2308203" y="678015"/>
                    </a:lnTo>
                    <a:lnTo>
                      <a:pt x="2325833" y="694206"/>
                    </a:lnTo>
                    <a:lnTo>
                      <a:pt x="2343388" y="712593"/>
                    </a:lnTo>
                    <a:lnTo>
                      <a:pt x="2342207" y="733782"/>
                    </a:lnTo>
                    <a:lnTo>
                      <a:pt x="2314733" y="748099"/>
                    </a:lnTo>
                    <a:lnTo>
                      <a:pt x="2289072" y="735661"/>
                    </a:lnTo>
                    <a:lnTo>
                      <a:pt x="2257877" y="714742"/>
                    </a:lnTo>
                    <a:lnTo>
                      <a:pt x="2226685" y="693824"/>
                    </a:lnTo>
                    <a:lnTo>
                      <a:pt x="2189286" y="664304"/>
                    </a:lnTo>
                    <a:lnTo>
                      <a:pt x="2150420" y="637213"/>
                    </a:lnTo>
                    <a:lnTo>
                      <a:pt x="2111551" y="610115"/>
                    </a:lnTo>
                    <a:lnTo>
                      <a:pt x="2070344" y="585647"/>
                    </a:lnTo>
                    <a:lnTo>
                      <a:pt x="2032083" y="570558"/>
                    </a:lnTo>
                    <a:lnTo>
                      <a:pt x="1995096" y="558094"/>
                    </a:lnTo>
                    <a:lnTo>
                      <a:pt x="1960258" y="555825"/>
                    </a:lnTo>
                    <a:lnTo>
                      <a:pt x="1928707" y="565118"/>
                    </a:lnTo>
                    <a:lnTo>
                      <a:pt x="1917365" y="594999"/>
                    </a:lnTo>
                    <a:lnTo>
                      <a:pt x="1920543" y="631772"/>
                    </a:lnTo>
                    <a:lnTo>
                      <a:pt x="1927004" y="669726"/>
                    </a:lnTo>
                    <a:lnTo>
                      <a:pt x="1930403" y="708068"/>
                    </a:lnTo>
                    <a:lnTo>
                      <a:pt x="1926009" y="743305"/>
                    </a:lnTo>
                    <a:lnTo>
                      <a:pt x="1913129" y="773543"/>
                    </a:lnTo>
                    <a:lnTo>
                      <a:pt x="1880663" y="783521"/>
                    </a:lnTo>
                    <a:lnTo>
                      <a:pt x="1845750" y="769151"/>
                    </a:lnTo>
                    <a:lnTo>
                      <a:pt x="1811356" y="747572"/>
                    </a:lnTo>
                    <a:lnTo>
                      <a:pt x="1776775" y="725433"/>
                    </a:lnTo>
                    <a:lnTo>
                      <a:pt x="1742374" y="707943"/>
                    </a:lnTo>
                    <a:lnTo>
                      <a:pt x="1710962" y="697926"/>
                    </a:lnTo>
                    <a:lnTo>
                      <a:pt x="1686101" y="712362"/>
                    </a:lnTo>
                    <a:lnTo>
                      <a:pt x="1664831" y="726184"/>
                    </a:lnTo>
                    <a:lnTo>
                      <a:pt x="1645806" y="740588"/>
                    </a:lnTo>
                    <a:lnTo>
                      <a:pt x="1626778" y="754985"/>
                    </a:lnTo>
                    <a:lnTo>
                      <a:pt x="1608801" y="769903"/>
                    </a:lnTo>
                    <a:lnTo>
                      <a:pt x="1653970" y="835799"/>
                    </a:lnTo>
                    <a:lnTo>
                      <a:pt x="1613160" y="883407"/>
                    </a:lnTo>
                    <a:lnTo>
                      <a:pt x="1579413" y="872803"/>
                    </a:lnTo>
                    <a:lnTo>
                      <a:pt x="1545149" y="858921"/>
                    </a:lnTo>
                    <a:lnTo>
                      <a:pt x="1521193" y="851600"/>
                    </a:lnTo>
                    <a:lnTo>
                      <a:pt x="1489388" y="846680"/>
                    </a:lnTo>
                    <a:lnTo>
                      <a:pt x="1460258" y="857727"/>
                    </a:lnTo>
                    <a:lnTo>
                      <a:pt x="1444494" y="879325"/>
                    </a:lnTo>
                    <a:lnTo>
                      <a:pt x="1424527" y="910631"/>
                    </a:lnTo>
                    <a:lnTo>
                      <a:pt x="1423637" y="941172"/>
                    </a:lnTo>
                    <a:lnTo>
                      <a:pt x="1434479" y="963937"/>
                    </a:lnTo>
                    <a:lnTo>
                      <a:pt x="1443130" y="986782"/>
                    </a:lnTo>
                    <a:lnTo>
                      <a:pt x="1451771" y="1009627"/>
                    </a:lnTo>
                    <a:lnTo>
                      <a:pt x="1457653" y="1032307"/>
                    </a:lnTo>
                    <a:lnTo>
                      <a:pt x="1433549" y="1059735"/>
                    </a:lnTo>
                    <a:lnTo>
                      <a:pt x="1405064" y="1076552"/>
                    </a:lnTo>
                    <a:lnTo>
                      <a:pt x="1374272" y="1090830"/>
                    </a:lnTo>
                    <a:lnTo>
                      <a:pt x="1341924" y="1103658"/>
                    </a:lnTo>
                    <a:lnTo>
                      <a:pt x="1316654" y="1117361"/>
                    </a:lnTo>
                    <a:lnTo>
                      <a:pt x="1289918" y="1126937"/>
                    </a:lnTo>
                    <a:lnTo>
                      <a:pt x="1256803" y="1124530"/>
                    </a:lnTo>
                    <a:lnTo>
                      <a:pt x="1239124" y="1107839"/>
                    </a:lnTo>
                    <a:lnTo>
                      <a:pt x="1223271" y="1088575"/>
                    </a:lnTo>
                    <a:lnTo>
                      <a:pt x="1168393" y="1058871"/>
                    </a:lnTo>
                    <a:lnTo>
                      <a:pt x="1123503" y="1035749"/>
                    </a:lnTo>
                    <a:lnTo>
                      <a:pt x="1060936" y="1026227"/>
                    </a:lnTo>
                    <a:lnTo>
                      <a:pt x="1037347" y="1022863"/>
                    </a:lnTo>
                    <a:lnTo>
                      <a:pt x="1013671" y="1020469"/>
                    </a:lnTo>
                    <a:lnTo>
                      <a:pt x="990206" y="1027585"/>
                    </a:lnTo>
                    <a:lnTo>
                      <a:pt x="967156" y="1034576"/>
                    </a:lnTo>
                    <a:lnTo>
                      <a:pt x="941238" y="1064312"/>
                    </a:lnTo>
                    <a:lnTo>
                      <a:pt x="924600" y="1100834"/>
                    </a:lnTo>
                    <a:lnTo>
                      <a:pt x="919475" y="1121437"/>
                    </a:lnTo>
                    <a:lnTo>
                      <a:pt x="914350" y="1142040"/>
                    </a:lnTo>
                    <a:lnTo>
                      <a:pt x="910691" y="1162728"/>
                    </a:lnTo>
                    <a:lnTo>
                      <a:pt x="898338" y="1202568"/>
                    </a:lnTo>
                    <a:lnTo>
                      <a:pt x="875949" y="1235694"/>
                    </a:lnTo>
                    <a:lnTo>
                      <a:pt x="836795" y="1212625"/>
                    </a:lnTo>
                    <a:lnTo>
                      <a:pt x="819537" y="1195465"/>
                    </a:lnTo>
                    <a:lnTo>
                      <a:pt x="793625" y="1175265"/>
                    </a:lnTo>
                    <a:lnTo>
                      <a:pt x="767813" y="1176234"/>
                    </a:lnTo>
                    <a:lnTo>
                      <a:pt x="746729" y="1190803"/>
                    </a:lnTo>
                    <a:lnTo>
                      <a:pt x="719801" y="1209460"/>
                    </a:lnTo>
                    <a:lnTo>
                      <a:pt x="697762" y="1219371"/>
                    </a:lnTo>
                    <a:lnTo>
                      <a:pt x="676895" y="1227905"/>
                    </a:lnTo>
                    <a:lnTo>
                      <a:pt x="656068" y="1240752"/>
                    </a:lnTo>
                    <a:lnTo>
                      <a:pt x="646078" y="1261532"/>
                    </a:lnTo>
                    <a:lnTo>
                      <a:pt x="659010" y="1293010"/>
                    </a:lnTo>
                    <a:lnTo>
                      <a:pt x="676678" y="1322555"/>
                    </a:lnTo>
                    <a:lnTo>
                      <a:pt x="690962" y="1355391"/>
                    </a:lnTo>
                    <a:lnTo>
                      <a:pt x="683648" y="1377973"/>
                    </a:lnTo>
                    <a:lnTo>
                      <a:pt x="671072" y="1408982"/>
                    </a:lnTo>
                    <a:lnTo>
                      <a:pt x="656958" y="1426122"/>
                    </a:lnTo>
                    <a:lnTo>
                      <a:pt x="605209" y="1409799"/>
                    </a:lnTo>
                    <a:lnTo>
                      <a:pt x="572622" y="1386671"/>
                    </a:lnTo>
                    <a:lnTo>
                      <a:pt x="540038" y="1363549"/>
                    </a:lnTo>
                    <a:lnTo>
                      <a:pt x="509984" y="1337915"/>
                    </a:lnTo>
                    <a:lnTo>
                      <a:pt x="495185" y="1316508"/>
                    </a:lnTo>
                    <a:lnTo>
                      <a:pt x="488887" y="1295602"/>
                    </a:lnTo>
                    <a:lnTo>
                      <a:pt x="454291" y="1295536"/>
                    </a:lnTo>
                    <a:lnTo>
                      <a:pt x="435319" y="1335805"/>
                    </a:lnTo>
                    <a:lnTo>
                      <a:pt x="427087" y="1364907"/>
                    </a:lnTo>
                    <a:lnTo>
                      <a:pt x="419379" y="1394268"/>
                    </a:lnTo>
                    <a:lnTo>
                      <a:pt x="413025" y="1419870"/>
                    </a:lnTo>
                    <a:lnTo>
                      <a:pt x="403860" y="1453135"/>
                    </a:lnTo>
                    <a:lnTo>
                      <a:pt x="380835" y="1477799"/>
                    </a:lnTo>
                    <a:lnTo>
                      <a:pt x="350772" y="1496021"/>
                    </a:lnTo>
                    <a:lnTo>
                      <a:pt x="315686" y="1511268"/>
                    </a:lnTo>
                    <a:lnTo>
                      <a:pt x="280184" y="1525408"/>
                    </a:lnTo>
                    <a:lnTo>
                      <a:pt x="251404" y="1538308"/>
                    </a:lnTo>
                    <a:lnTo>
                      <a:pt x="234503" y="1557703"/>
                    </a:lnTo>
                    <a:lnTo>
                      <a:pt x="252973" y="1583898"/>
                    </a:lnTo>
                    <a:lnTo>
                      <a:pt x="271012" y="1608358"/>
                    </a:lnTo>
                    <a:lnTo>
                      <a:pt x="278820" y="1648799"/>
                    </a:lnTo>
                    <a:lnTo>
                      <a:pt x="260322" y="1680217"/>
                    </a:lnTo>
                    <a:lnTo>
                      <a:pt x="254341" y="1706313"/>
                    </a:lnTo>
                    <a:lnTo>
                      <a:pt x="248654" y="1730925"/>
                    </a:lnTo>
                    <a:lnTo>
                      <a:pt x="254341" y="1763444"/>
                    </a:lnTo>
                    <a:lnTo>
                      <a:pt x="264662" y="1795726"/>
                    </a:lnTo>
                    <a:lnTo>
                      <a:pt x="266572" y="1817853"/>
                    </a:lnTo>
                    <a:lnTo>
                      <a:pt x="268402" y="1838817"/>
                    </a:lnTo>
                    <a:lnTo>
                      <a:pt x="264352" y="1866536"/>
                    </a:lnTo>
                    <a:lnTo>
                      <a:pt x="263875" y="1894023"/>
                    </a:lnTo>
                    <a:lnTo>
                      <a:pt x="263348" y="1921504"/>
                    </a:lnTo>
                    <a:lnTo>
                      <a:pt x="265571" y="1949355"/>
                    </a:lnTo>
                    <a:lnTo>
                      <a:pt x="277480" y="1968830"/>
                    </a:lnTo>
                    <a:lnTo>
                      <a:pt x="273477" y="1996363"/>
                    </a:lnTo>
                    <a:lnTo>
                      <a:pt x="254629" y="2024293"/>
                    </a:lnTo>
                    <a:lnTo>
                      <a:pt x="228513" y="2053165"/>
                    </a:lnTo>
                    <a:lnTo>
                      <a:pt x="202393" y="2082037"/>
                    </a:lnTo>
                    <a:lnTo>
                      <a:pt x="169180" y="2111121"/>
                    </a:lnTo>
                    <a:lnTo>
                      <a:pt x="136022" y="2140217"/>
                    </a:lnTo>
                    <a:lnTo>
                      <a:pt x="102855" y="2169308"/>
                    </a:lnTo>
                    <a:lnTo>
                      <a:pt x="70026" y="2199070"/>
                    </a:lnTo>
                    <a:lnTo>
                      <a:pt x="44880" y="2227270"/>
                    </a:lnTo>
                    <a:lnTo>
                      <a:pt x="19753" y="2255470"/>
                    </a:lnTo>
                    <a:lnTo>
                      <a:pt x="2052" y="2282701"/>
                    </a:lnTo>
                    <a:lnTo>
                      <a:pt x="0" y="2308882"/>
                    </a:lnTo>
                    <a:lnTo>
                      <a:pt x="21763" y="2355211"/>
                    </a:lnTo>
                    <a:lnTo>
                      <a:pt x="36140" y="2406711"/>
                    </a:lnTo>
                    <a:lnTo>
                      <a:pt x="55767" y="2454425"/>
                    </a:lnTo>
                    <a:lnTo>
                      <a:pt x="92493" y="2585024"/>
                    </a:lnTo>
                    <a:lnTo>
                      <a:pt x="85597" y="2616008"/>
                    </a:lnTo>
                    <a:lnTo>
                      <a:pt x="72683" y="2633055"/>
                    </a:lnTo>
                    <a:lnTo>
                      <a:pt x="103838" y="2657811"/>
                    </a:lnTo>
                    <a:lnTo>
                      <a:pt x="127855" y="2674775"/>
                    </a:lnTo>
                    <a:lnTo>
                      <a:pt x="140630" y="2701404"/>
                    </a:lnTo>
                    <a:lnTo>
                      <a:pt x="150986" y="2727824"/>
                    </a:lnTo>
                    <a:lnTo>
                      <a:pt x="164576" y="2753669"/>
                    </a:lnTo>
                    <a:lnTo>
                      <a:pt x="196397" y="2774279"/>
                    </a:lnTo>
                    <a:lnTo>
                      <a:pt x="233421" y="2782021"/>
                    </a:lnTo>
                    <a:lnTo>
                      <a:pt x="269316" y="2787672"/>
                    </a:lnTo>
                    <a:lnTo>
                      <a:pt x="302034" y="2815048"/>
                    </a:lnTo>
                    <a:lnTo>
                      <a:pt x="321006" y="2837997"/>
                    </a:lnTo>
                    <a:lnTo>
                      <a:pt x="339976" y="2860956"/>
                    </a:lnTo>
                    <a:lnTo>
                      <a:pt x="362238" y="2883852"/>
                    </a:lnTo>
                    <a:lnTo>
                      <a:pt x="395820" y="2891047"/>
                    </a:lnTo>
                    <a:lnTo>
                      <a:pt x="440143" y="2900544"/>
                    </a:lnTo>
                    <a:lnTo>
                      <a:pt x="483737" y="2899020"/>
                    </a:lnTo>
                    <a:lnTo>
                      <a:pt x="526398" y="2897846"/>
                    </a:lnTo>
                    <a:lnTo>
                      <a:pt x="569050" y="2896673"/>
                    </a:lnTo>
                    <a:lnTo>
                      <a:pt x="611261" y="2896495"/>
                    </a:lnTo>
                    <a:lnTo>
                      <a:pt x="655612" y="2911452"/>
                    </a:lnTo>
                    <a:lnTo>
                      <a:pt x="672247" y="2930268"/>
                    </a:lnTo>
                    <a:lnTo>
                      <a:pt x="677053" y="2955203"/>
                    </a:lnTo>
                    <a:lnTo>
                      <a:pt x="674659" y="2979459"/>
                    </a:lnTo>
                    <a:lnTo>
                      <a:pt x="700459" y="3008536"/>
                    </a:lnTo>
                    <a:lnTo>
                      <a:pt x="720904" y="3018903"/>
                    </a:lnTo>
                    <a:lnTo>
                      <a:pt x="741347" y="3029277"/>
                    </a:lnTo>
                    <a:lnTo>
                      <a:pt x="763795" y="3037757"/>
                    </a:lnTo>
                    <a:lnTo>
                      <a:pt x="854304" y="3090859"/>
                    </a:lnTo>
                    <a:lnTo>
                      <a:pt x="904781" y="3109682"/>
                    </a:lnTo>
                    <a:lnTo>
                      <a:pt x="941260" y="3115478"/>
                    </a:lnTo>
                    <a:lnTo>
                      <a:pt x="977735" y="3121276"/>
                    </a:lnTo>
                    <a:lnTo>
                      <a:pt x="999387" y="3113019"/>
                    </a:lnTo>
                    <a:lnTo>
                      <a:pt x="1032743" y="3090734"/>
                    </a:lnTo>
                    <a:lnTo>
                      <a:pt x="1062313" y="3070594"/>
                    </a:lnTo>
                    <a:lnTo>
                      <a:pt x="1100038" y="3067283"/>
                    </a:lnTo>
                    <a:lnTo>
                      <a:pt x="1137127" y="3088275"/>
                    </a:lnTo>
                    <a:lnTo>
                      <a:pt x="1179896" y="3122746"/>
                    </a:lnTo>
                    <a:lnTo>
                      <a:pt x="1200168" y="3144886"/>
                    </a:lnTo>
                    <a:lnTo>
                      <a:pt x="1213299" y="3165804"/>
                    </a:lnTo>
                    <a:lnTo>
                      <a:pt x="1226430" y="3186730"/>
                    </a:lnTo>
                    <a:lnTo>
                      <a:pt x="1233003" y="3207141"/>
                    </a:lnTo>
                    <a:lnTo>
                      <a:pt x="1235062" y="3229735"/>
                    </a:lnTo>
                    <a:lnTo>
                      <a:pt x="1239149" y="3274924"/>
                    </a:lnTo>
                    <a:lnTo>
                      <a:pt x="1226408" y="3325949"/>
                    </a:lnTo>
                    <a:lnTo>
                      <a:pt x="1224179" y="3395683"/>
                    </a:lnTo>
                    <a:lnTo>
                      <a:pt x="1222049" y="3463458"/>
                    </a:lnTo>
                    <a:lnTo>
                      <a:pt x="1229661" y="3520584"/>
                    </a:lnTo>
                    <a:lnTo>
                      <a:pt x="1241862" y="3587469"/>
                    </a:lnTo>
                    <a:lnTo>
                      <a:pt x="1247551" y="3618651"/>
                    </a:lnTo>
                    <a:lnTo>
                      <a:pt x="1257628" y="3639074"/>
                    </a:lnTo>
                    <a:lnTo>
                      <a:pt x="1280507" y="3669167"/>
                    </a:lnTo>
                    <a:lnTo>
                      <a:pt x="1307151" y="3685403"/>
                    </a:lnTo>
                    <a:lnTo>
                      <a:pt x="1334439" y="3698264"/>
                    </a:lnTo>
                    <a:lnTo>
                      <a:pt x="1361684" y="3701331"/>
                    </a:lnTo>
                    <a:lnTo>
                      <a:pt x="1376523" y="3724847"/>
                    </a:lnTo>
                    <a:lnTo>
                      <a:pt x="1392634" y="3773604"/>
                    </a:lnTo>
                    <a:lnTo>
                      <a:pt x="1378176" y="3829245"/>
                    </a:lnTo>
                    <a:lnTo>
                      <a:pt x="1387403" y="3879914"/>
                    </a:lnTo>
                    <a:lnTo>
                      <a:pt x="1422173" y="3898742"/>
                    </a:lnTo>
                    <a:lnTo>
                      <a:pt x="1500255" y="3903458"/>
                    </a:lnTo>
                    <a:lnTo>
                      <a:pt x="1538386" y="3904394"/>
                    </a:lnTo>
                    <a:lnTo>
                      <a:pt x="1547942" y="3964519"/>
                    </a:lnTo>
                    <a:lnTo>
                      <a:pt x="1553343" y="3994170"/>
                    </a:lnTo>
                    <a:lnTo>
                      <a:pt x="1645080" y="4004642"/>
                    </a:lnTo>
                    <a:lnTo>
                      <a:pt x="1728216" y="4050787"/>
                    </a:lnTo>
                    <a:lnTo>
                      <a:pt x="1822660" y="4060819"/>
                    </a:lnTo>
                    <a:lnTo>
                      <a:pt x="1839714" y="4029829"/>
                    </a:lnTo>
                    <a:lnTo>
                      <a:pt x="1844430" y="4007769"/>
                    </a:lnTo>
                    <a:lnTo>
                      <a:pt x="1849146" y="3985709"/>
                    </a:lnTo>
                    <a:lnTo>
                      <a:pt x="1855167" y="3962871"/>
                    </a:lnTo>
                    <a:lnTo>
                      <a:pt x="1899049" y="3951475"/>
                    </a:lnTo>
                    <a:lnTo>
                      <a:pt x="2020744" y="3943944"/>
                    </a:lnTo>
                    <a:lnTo>
                      <a:pt x="2037574" y="3957444"/>
                    </a:lnTo>
                    <a:lnTo>
                      <a:pt x="2060320" y="4062923"/>
                    </a:lnTo>
                    <a:lnTo>
                      <a:pt x="2046129" y="4098502"/>
                    </a:lnTo>
                    <a:lnTo>
                      <a:pt x="2013430" y="4090891"/>
                    </a:lnTo>
                    <a:lnTo>
                      <a:pt x="2000854" y="4111144"/>
                    </a:lnTo>
                    <a:lnTo>
                      <a:pt x="2001316" y="4139918"/>
                    </a:lnTo>
                    <a:lnTo>
                      <a:pt x="2011170" y="4178940"/>
                    </a:lnTo>
                    <a:lnTo>
                      <a:pt x="2028059" y="4221319"/>
                    </a:lnTo>
                    <a:lnTo>
                      <a:pt x="2044935" y="4263698"/>
                    </a:lnTo>
                    <a:lnTo>
                      <a:pt x="2068202" y="4309638"/>
                    </a:lnTo>
                    <a:lnTo>
                      <a:pt x="2093348" y="4355981"/>
                    </a:lnTo>
                    <a:lnTo>
                      <a:pt x="2143627" y="4448671"/>
                    </a:lnTo>
                    <a:lnTo>
                      <a:pt x="2201781" y="4540597"/>
                    </a:lnTo>
                    <a:lnTo>
                      <a:pt x="2234809" y="4591293"/>
                    </a:lnTo>
                    <a:lnTo>
                      <a:pt x="2229904" y="4627894"/>
                    </a:lnTo>
                    <a:lnTo>
                      <a:pt x="2208779" y="4637991"/>
                    </a:lnTo>
                    <a:lnTo>
                      <a:pt x="2179042" y="4644341"/>
                    </a:lnTo>
                    <a:lnTo>
                      <a:pt x="2149301" y="4650693"/>
                    </a:lnTo>
                    <a:lnTo>
                      <a:pt x="2110785" y="4652928"/>
                    </a:lnTo>
                    <a:lnTo>
                      <a:pt x="2072943" y="4653865"/>
                    </a:lnTo>
                    <a:lnTo>
                      <a:pt x="1997248" y="4655731"/>
                    </a:lnTo>
                    <a:lnTo>
                      <a:pt x="1922896" y="4651220"/>
                    </a:lnTo>
                    <a:lnTo>
                      <a:pt x="1908829" y="4666943"/>
                    </a:lnTo>
                    <a:lnTo>
                      <a:pt x="1911070" y="4690585"/>
                    </a:lnTo>
                    <a:lnTo>
                      <a:pt x="1920614" y="4714782"/>
                    </a:lnTo>
                    <a:lnTo>
                      <a:pt x="1943224" y="4735503"/>
                    </a:lnTo>
                    <a:lnTo>
                      <a:pt x="1968310" y="4738002"/>
                    </a:lnTo>
                    <a:lnTo>
                      <a:pt x="1991326" y="4739553"/>
                    </a:lnTo>
                    <a:lnTo>
                      <a:pt x="2014335" y="4741103"/>
                    </a:lnTo>
                    <a:lnTo>
                      <a:pt x="2035618" y="4742475"/>
                    </a:lnTo>
                    <a:lnTo>
                      <a:pt x="2064860" y="4777764"/>
                    </a:lnTo>
                    <a:lnTo>
                      <a:pt x="2054234" y="4815275"/>
                    </a:lnTo>
                    <a:lnTo>
                      <a:pt x="2072937" y="4833404"/>
                    </a:lnTo>
                    <a:lnTo>
                      <a:pt x="2096718" y="4839281"/>
                    </a:lnTo>
                    <a:lnTo>
                      <a:pt x="2126521" y="4845915"/>
                    </a:lnTo>
                    <a:lnTo>
                      <a:pt x="2151831" y="4857891"/>
                    </a:lnTo>
                    <a:lnTo>
                      <a:pt x="2177144" y="4869861"/>
                    </a:lnTo>
                    <a:lnTo>
                      <a:pt x="2197844" y="4887114"/>
                    </a:lnTo>
                    <a:lnTo>
                      <a:pt x="2206234" y="4913658"/>
                    </a:lnTo>
                    <a:lnTo>
                      <a:pt x="2199856" y="4964280"/>
                    </a:lnTo>
                    <a:lnTo>
                      <a:pt x="2172825" y="4983986"/>
                    </a:lnTo>
                    <a:lnTo>
                      <a:pt x="2113740" y="4975037"/>
                    </a:lnTo>
                    <a:lnTo>
                      <a:pt x="2089261" y="4980307"/>
                    </a:lnTo>
                    <a:lnTo>
                      <a:pt x="2073544" y="4996464"/>
                    </a:lnTo>
                    <a:lnTo>
                      <a:pt x="2064171" y="5023997"/>
                    </a:lnTo>
                    <a:lnTo>
                      <a:pt x="2051174" y="5048320"/>
                    </a:lnTo>
                    <a:lnTo>
                      <a:pt x="2009396" y="5043050"/>
                    </a:lnTo>
                    <a:lnTo>
                      <a:pt x="1969154" y="5027116"/>
                    </a:lnTo>
                    <a:lnTo>
                      <a:pt x="1928759" y="5012951"/>
                    </a:lnTo>
                    <a:lnTo>
                      <a:pt x="1888359" y="4998791"/>
                    </a:lnTo>
                    <a:lnTo>
                      <a:pt x="1847927" y="4985398"/>
                    </a:lnTo>
                    <a:lnTo>
                      <a:pt x="1804981" y="4984389"/>
                    </a:lnTo>
                    <a:lnTo>
                      <a:pt x="1776325" y="5002795"/>
                    </a:lnTo>
                    <a:lnTo>
                      <a:pt x="1740706" y="5009107"/>
                    </a:lnTo>
                    <a:lnTo>
                      <a:pt x="1696625" y="5009318"/>
                    </a:lnTo>
                    <a:lnTo>
                      <a:pt x="1674564" y="5035229"/>
                    </a:lnTo>
                    <a:lnTo>
                      <a:pt x="1643629" y="5128718"/>
                    </a:lnTo>
                    <a:lnTo>
                      <a:pt x="1659945" y="5177217"/>
                    </a:lnTo>
                    <a:lnTo>
                      <a:pt x="1693400" y="5195517"/>
                    </a:lnTo>
                    <a:lnTo>
                      <a:pt x="1704320" y="5231941"/>
                    </a:lnTo>
                    <a:lnTo>
                      <a:pt x="1698882" y="5275467"/>
                    </a:lnTo>
                    <a:lnTo>
                      <a:pt x="1726644" y="5292812"/>
                    </a:lnTo>
                    <a:lnTo>
                      <a:pt x="1781857" y="5301103"/>
                    </a:lnTo>
                    <a:lnTo>
                      <a:pt x="1804981" y="5325801"/>
                    </a:lnTo>
                    <a:lnTo>
                      <a:pt x="1800711" y="5353895"/>
                    </a:lnTo>
                    <a:lnTo>
                      <a:pt x="1788142" y="5375084"/>
                    </a:lnTo>
                    <a:lnTo>
                      <a:pt x="1766893" y="5393807"/>
                    </a:lnTo>
                    <a:lnTo>
                      <a:pt x="1774406" y="5415556"/>
                    </a:lnTo>
                    <a:lnTo>
                      <a:pt x="1804987" y="5435975"/>
                    </a:lnTo>
                    <a:lnTo>
                      <a:pt x="1831215" y="5459254"/>
                    </a:lnTo>
                    <a:lnTo>
                      <a:pt x="1832650" y="5481394"/>
                    </a:lnTo>
                    <a:lnTo>
                      <a:pt x="1821308" y="5509422"/>
                    </a:lnTo>
                    <a:lnTo>
                      <a:pt x="1783739" y="5557518"/>
                    </a:lnTo>
                    <a:lnTo>
                      <a:pt x="1744972" y="5604765"/>
                    </a:lnTo>
                    <a:lnTo>
                      <a:pt x="1708410" y="5653607"/>
                    </a:lnTo>
                    <a:lnTo>
                      <a:pt x="1681760" y="5689245"/>
                    </a:lnTo>
                    <a:lnTo>
                      <a:pt x="1665991" y="5731545"/>
                    </a:lnTo>
                    <a:lnTo>
                      <a:pt x="1641769" y="5767864"/>
                    </a:lnTo>
                    <a:lnTo>
                      <a:pt x="1606512" y="5820694"/>
                    </a:lnTo>
                    <a:lnTo>
                      <a:pt x="1561616" y="5868040"/>
                    </a:lnTo>
                    <a:lnTo>
                      <a:pt x="1509824" y="5907965"/>
                    </a:lnTo>
                    <a:lnTo>
                      <a:pt x="1458035" y="5947884"/>
                    </a:lnTo>
                    <a:lnTo>
                      <a:pt x="1399260" y="5979527"/>
                    </a:lnTo>
                    <a:lnTo>
                      <a:pt x="1339794" y="6000459"/>
                    </a:lnTo>
                    <a:lnTo>
                      <a:pt x="1290200" y="6017915"/>
                    </a:lnTo>
                    <a:lnTo>
                      <a:pt x="1255972" y="6035267"/>
                    </a:lnTo>
                    <a:lnTo>
                      <a:pt x="1198342" y="6035821"/>
                    </a:lnTo>
                    <a:lnTo>
                      <a:pt x="1163705" y="6036151"/>
                    </a:lnTo>
                    <a:lnTo>
                      <a:pt x="1094519" y="6033150"/>
                    </a:lnTo>
                    <a:lnTo>
                      <a:pt x="1024228" y="6027663"/>
                    </a:lnTo>
                    <a:lnTo>
                      <a:pt x="953954" y="6022169"/>
                    </a:lnTo>
                    <a:lnTo>
                      <a:pt x="883409" y="6013900"/>
                    </a:lnTo>
                    <a:lnTo>
                      <a:pt x="848773" y="6001817"/>
                    </a:lnTo>
                    <a:lnTo>
                      <a:pt x="819946" y="5991740"/>
                    </a:lnTo>
                    <a:lnTo>
                      <a:pt x="793684" y="5971738"/>
                    </a:lnTo>
                    <a:lnTo>
                      <a:pt x="772594" y="5950127"/>
                    </a:lnTo>
                    <a:lnTo>
                      <a:pt x="754921" y="5932016"/>
                    </a:lnTo>
                    <a:lnTo>
                      <a:pt x="739948" y="5902525"/>
                    </a:lnTo>
                    <a:lnTo>
                      <a:pt x="718232" y="5882120"/>
                    </a:lnTo>
                    <a:lnTo>
                      <a:pt x="685548" y="5882120"/>
                    </a:lnTo>
                    <a:lnTo>
                      <a:pt x="659268" y="5885556"/>
                    </a:lnTo>
                    <a:lnTo>
                      <a:pt x="611150" y="5929854"/>
                    </a:lnTo>
                    <a:lnTo>
                      <a:pt x="530606" y="6003162"/>
                    </a:lnTo>
                    <a:lnTo>
                      <a:pt x="469273" y="6082064"/>
                    </a:lnTo>
                    <a:lnTo>
                      <a:pt x="438615" y="6121515"/>
                    </a:lnTo>
                    <a:lnTo>
                      <a:pt x="413032" y="6162594"/>
                    </a:lnTo>
                    <a:lnTo>
                      <a:pt x="398543" y="6201761"/>
                    </a:lnTo>
                    <a:lnTo>
                      <a:pt x="386956" y="6240599"/>
                    </a:lnTo>
                    <a:lnTo>
                      <a:pt x="385638" y="6277187"/>
                    </a:lnTo>
                    <a:lnTo>
                      <a:pt x="397178" y="6310578"/>
                    </a:lnTo>
                    <a:lnTo>
                      <a:pt x="410495" y="6338804"/>
                    </a:lnTo>
                    <a:lnTo>
                      <a:pt x="435613" y="6371152"/>
                    </a:lnTo>
                    <a:lnTo>
                      <a:pt x="452952" y="6397630"/>
                    </a:lnTo>
                    <a:lnTo>
                      <a:pt x="465277" y="6420884"/>
                    </a:lnTo>
                    <a:lnTo>
                      <a:pt x="480280" y="6458883"/>
                    </a:lnTo>
                    <a:lnTo>
                      <a:pt x="496155" y="6492095"/>
                    </a:lnTo>
                    <a:lnTo>
                      <a:pt x="505993" y="6524134"/>
                    </a:lnTo>
                    <a:lnTo>
                      <a:pt x="518644" y="6578812"/>
                    </a:lnTo>
                    <a:lnTo>
                      <a:pt x="520966" y="6619345"/>
                    </a:lnTo>
                    <a:lnTo>
                      <a:pt x="521419" y="6658980"/>
                    </a:lnTo>
                    <a:lnTo>
                      <a:pt x="516132" y="6686474"/>
                    </a:lnTo>
                    <a:lnTo>
                      <a:pt x="499181" y="6707755"/>
                    </a:lnTo>
                    <a:lnTo>
                      <a:pt x="525285" y="6739635"/>
                    </a:lnTo>
                    <a:lnTo>
                      <a:pt x="560105" y="6762928"/>
                    </a:lnTo>
                    <a:lnTo>
                      <a:pt x="580497" y="6770150"/>
                    </a:lnTo>
                    <a:lnTo>
                      <a:pt x="623952" y="6760977"/>
                    </a:lnTo>
                    <a:lnTo>
                      <a:pt x="651519" y="6729518"/>
                    </a:lnTo>
                    <a:lnTo>
                      <a:pt x="666449" y="6714601"/>
                    </a:lnTo>
                    <a:lnTo>
                      <a:pt x="683307" y="6702037"/>
                    </a:lnTo>
                    <a:lnTo>
                      <a:pt x="718160" y="6700955"/>
                    </a:lnTo>
                    <a:lnTo>
                      <a:pt x="739855" y="6715768"/>
                    </a:lnTo>
                    <a:lnTo>
                      <a:pt x="756325" y="6743269"/>
                    </a:lnTo>
                    <a:lnTo>
                      <a:pt x="772573" y="6767604"/>
                    </a:lnTo>
                    <a:lnTo>
                      <a:pt x="825524" y="6761688"/>
                    </a:lnTo>
                    <a:lnTo>
                      <a:pt x="882281" y="6738441"/>
                    </a:lnTo>
                    <a:lnTo>
                      <a:pt x="916753" y="6743117"/>
                    </a:lnTo>
                    <a:lnTo>
                      <a:pt x="939576" y="6746198"/>
                    </a:lnTo>
                    <a:lnTo>
                      <a:pt x="963311" y="6758352"/>
                    </a:lnTo>
                    <a:lnTo>
                      <a:pt x="986122" y="6760798"/>
                    </a:lnTo>
                    <a:lnTo>
                      <a:pt x="1011414" y="6763516"/>
                    </a:lnTo>
                    <a:lnTo>
                      <a:pt x="1041719" y="6755081"/>
                    </a:lnTo>
                    <a:lnTo>
                      <a:pt x="1066378" y="6759440"/>
                    </a:lnTo>
                    <a:lnTo>
                      <a:pt x="1106369" y="6766510"/>
                    </a:lnTo>
                    <a:lnTo>
                      <a:pt x="1145747" y="6786130"/>
                    </a:lnTo>
                    <a:lnTo>
                      <a:pt x="1181992" y="6809766"/>
                    </a:lnTo>
                    <a:lnTo>
                      <a:pt x="1218245" y="6833402"/>
                    </a:lnTo>
                    <a:lnTo>
                      <a:pt x="1251489" y="6860586"/>
                    </a:lnTo>
                    <a:lnTo>
                      <a:pt x="1282650" y="6884578"/>
                    </a:lnTo>
                    <a:lnTo>
                      <a:pt x="1307374" y="6953799"/>
                    </a:lnTo>
                    <a:lnTo>
                      <a:pt x="1324120" y="6990590"/>
                    </a:lnTo>
                    <a:lnTo>
                      <a:pt x="1406853" y="7046971"/>
                    </a:lnTo>
                    <a:lnTo>
                      <a:pt x="1439068" y="7077729"/>
                    </a:lnTo>
                    <a:lnTo>
                      <a:pt x="1460831" y="7098128"/>
                    </a:lnTo>
                    <a:lnTo>
                      <a:pt x="1493180" y="7116851"/>
                    </a:lnTo>
                    <a:lnTo>
                      <a:pt x="1544823" y="7129546"/>
                    </a:lnTo>
                    <a:lnTo>
                      <a:pt x="1580529" y="7143018"/>
                    </a:lnTo>
                    <a:lnTo>
                      <a:pt x="1590057" y="7178236"/>
                    </a:lnTo>
                    <a:lnTo>
                      <a:pt x="1588969" y="7202591"/>
                    </a:lnTo>
                    <a:lnTo>
                      <a:pt x="1581894" y="7223266"/>
                    </a:lnTo>
                    <a:lnTo>
                      <a:pt x="1661473" y="7274930"/>
                    </a:lnTo>
                    <a:lnTo>
                      <a:pt x="1700761" y="7295466"/>
                    </a:lnTo>
                    <a:lnTo>
                      <a:pt x="1726130" y="7327709"/>
                    </a:lnTo>
                    <a:lnTo>
                      <a:pt x="1750559" y="7362010"/>
                    </a:lnTo>
                    <a:lnTo>
                      <a:pt x="1774967" y="7396310"/>
                    </a:lnTo>
                    <a:lnTo>
                      <a:pt x="1799195" y="7433229"/>
                    </a:lnTo>
                    <a:lnTo>
                      <a:pt x="1824006" y="7454503"/>
                    </a:lnTo>
                    <a:lnTo>
                      <a:pt x="1857244" y="7482981"/>
                    </a:lnTo>
                    <a:lnTo>
                      <a:pt x="1903790" y="7484318"/>
                    </a:lnTo>
                    <a:lnTo>
                      <a:pt x="1940985" y="7503471"/>
                    </a:lnTo>
                    <a:lnTo>
                      <a:pt x="1967920" y="7517326"/>
                    </a:lnTo>
                    <a:lnTo>
                      <a:pt x="2048147" y="7578407"/>
                    </a:lnTo>
                    <a:lnTo>
                      <a:pt x="2071566" y="7601404"/>
                    </a:lnTo>
                    <a:lnTo>
                      <a:pt x="2090703" y="7620194"/>
                    </a:lnTo>
                    <a:lnTo>
                      <a:pt x="2107849" y="7642358"/>
                    </a:lnTo>
                    <a:lnTo>
                      <a:pt x="2125972" y="7662611"/>
                    </a:lnTo>
                    <a:lnTo>
                      <a:pt x="2144083" y="7682864"/>
                    </a:lnTo>
                    <a:lnTo>
                      <a:pt x="2163275" y="7701759"/>
                    </a:lnTo>
                    <a:lnTo>
                      <a:pt x="2188533" y="7712945"/>
                    </a:lnTo>
                    <a:lnTo>
                      <a:pt x="2212748" y="7723660"/>
                    </a:lnTo>
                    <a:lnTo>
                      <a:pt x="2241016" y="7714666"/>
                    </a:lnTo>
                    <a:lnTo>
                      <a:pt x="2270152" y="7704779"/>
                    </a:lnTo>
                    <a:lnTo>
                      <a:pt x="2299295" y="7694887"/>
                    </a:lnTo>
                    <a:lnTo>
                      <a:pt x="2329538" y="7684356"/>
                    </a:lnTo>
                    <a:lnTo>
                      <a:pt x="2357198" y="7689816"/>
                    </a:lnTo>
                    <a:lnTo>
                      <a:pt x="2520429" y="7721102"/>
                    </a:lnTo>
                    <a:lnTo>
                      <a:pt x="2574676" y="7688859"/>
                    </a:lnTo>
                    <a:lnTo>
                      <a:pt x="2596591" y="7681658"/>
                    </a:lnTo>
                    <a:lnTo>
                      <a:pt x="2621777" y="7693503"/>
                    </a:lnTo>
                    <a:lnTo>
                      <a:pt x="2644688" y="7719447"/>
                    </a:lnTo>
                    <a:lnTo>
                      <a:pt x="2664612" y="7742865"/>
                    </a:lnTo>
                    <a:lnTo>
                      <a:pt x="2684515" y="7766276"/>
                    </a:lnTo>
                    <a:lnTo>
                      <a:pt x="2701906" y="7787954"/>
                    </a:lnTo>
                    <a:lnTo>
                      <a:pt x="2742710" y="7795848"/>
                    </a:lnTo>
                    <a:lnTo>
                      <a:pt x="2764234" y="7790408"/>
                    </a:lnTo>
                    <a:lnTo>
                      <a:pt x="2788384" y="7786398"/>
                    </a:lnTo>
                    <a:lnTo>
                      <a:pt x="2812535" y="7782415"/>
                    </a:lnTo>
                    <a:lnTo>
                      <a:pt x="2839225" y="7778820"/>
                    </a:lnTo>
                    <a:lnTo>
                      <a:pt x="2875439" y="7786398"/>
                    </a:lnTo>
                    <a:lnTo>
                      <a:pt x="2901038" y="7807581"/>
                    </a:lnTo>
                    <a:lnTo>
                      <a:pt x="2917843" y="7841380"/>
                    </a:lnTo>
                    <a:lnTo>
                      <a:pt x="2950250" y="7861210"/>
                    </a:lnTo>
                    <a:lnTo>
                      <a:pt x="3007041" y="7817275"/>
                    </a:lnTo>
                    <a:lnTo>
                      <a:pt x="3028788" y="7802015"/>
                    </a:lnTo>
                    <a:lnTo>
                      <a:pt x="3057707" y="7812236"/>
                    </a:lnTo>
                    <a:lnTo>
                      <a:pt x="3087386" y="7834494"/>
                    </a:lnTo>
                    <a:lnTo>
                      <a:pt x="3120866" y="7857327"/>
                    </a:lnTo>
                    <a:lnTo>
                      <a:pt x="3161084" y="7858486"/>
                    </a:lnTo>
                    <a:lnTo>
                      <a:pt x="3202558" y="7856172"/>
                    </a:lnTo>
                    <a:lnTo>
                      <a:pt x="3222290" y="7863928"/>
                    </a:lnTo>
                    <a:lnTo>
                      <a:pt x="3257317" y="7874532"/>
                    </a:lnTo>
                    <a:lnTo>
                      <a:pt x="3282140" y="7893848"/>
                    </a:lnTo>
                    <a:lnTo>
                      <a:pt x="3303903" y="7933299"/>
                    </a:lnTo>
                    <a:lnTo>
                      <a:pt x="3340444" y="7925175"/>
                    </a:lnTo>
                    <a:lnTo>
                      <a:pt x="3406347" y="7875957"/>
                    </a:lnTo>
                    <a:lnTo>
                      <a:pt x="3443957" y="7881094"/>
                    </a:lnTo>
                    <a:lnTo>
                      <a:pt x="3464666" y="7872738"/>
                    </a:lnTo>
                    <a:lnTo>
                      <a:pt x="3483449" y="7859838"/>
                    </a:lnTo>
                    <a:lnTo>
                      <a:pt x="3502238" y="7846958"/>
                    </a:lnTo>
                    <a:lnTo>
                      <a:pt x="3519372" y="7828942"/>
                    </a:lnTo>
                    <a:lnTo>
                      <a:pt x="3579471" y="7793323"/>
                    </a:lnTo>
                    <a:lnTo>
                      <a:pt x="3621295" y="7768110"/>
                    </a:lnTo>
                    <a:lnTo>
                      <a:pt x="3672516" y="7752389"/>
                    </a:lnTo>
                    <a:lnTo>
                      <a:pt x="3706561" y="7741929"/>
                    </a:lnTo>
                    <a:lnTo>
                      <a:pt x="3743163" y="7738571"/>
                    </a:lnTo>
                    <a:lnTo>
                      <a:pt x="3775893" y="7722460"/>
                    </a:lnTo>
                    <a:lnTo>
                      <a:pt x="3812995" y="7691115"/>
                    </a:lnTo>
                    <a:lnTo>
                      <a:pt x="3853826" y="7684520"/>
                    </a:lnTo>
                    <a:lnTo>
                      <a:pt x="3901988" y="7711342"/>
                    </a:lnTo>
                    <a:lnTo>
                      <a:pt x="3949997" y="7742865"/>
                    </a:lnTo>
                    <a:lnTo>
                      <a:pt x="3998004" y="7774389"/>
                    </a:lnTo>
                    <a:lnTo>
                      <a:pt x="4045973" y="7811142"/>
                    </a:lnTo>
                    <a:lnTo>
                      <a:pt x="4066973" y="7832641"/>
                    </a:lnTo>
                    <a:lnTo>
                      <a:pt x="4045684" y="7857505"/>
                    </a:lnTo>
                    <a:lnTo>
                      <a:pt x="4035691" y="7899290"/>
                    </a:lnTo>
                    <a:lnTo>
                      <a:pt x="4027527" y="7944174"/>
                    </a:lnTo>
                    <a:lnTo>
                      <a:pt x="4128622" y="8069332"/>
                    </a:lnTo>
                    <a:lnTo>
                      <a:pt x="4142327" y="8088847"/>
                    </a:lnTo>
                    <a:lnTo>
                      <a:pt x="4127078" y="8130863"/>
                    </a:lnTo>
                    <a:lnTo>
                      <a:pt x="4100890" y="8175490"/>
                    </a:lnTo>
                    <a:lnTo>
                      <a:pt x="4075137" y="8208049"/>
                    </a:lnTo>
                    <a:lnTo>
                      <a:pt x="4061748" y="8224952"/>
                    </a:lnTo>
                    <a:lnTo>
                      <a:pt x="4021627" y="8239151"/>
                    </a:lnTo>
                    <a:lnTo>
                      <a:pt x="3985359" y="8258383"/>
                    </a:lnTo>
                    <a:lnTo>
                      <a:pt x="3950552" y="8278648"/>
                    </a:lnTo>
                    <a:lnTo>
                      <a:pt x="3924951" y="8303399"/>
                    </a:lnTo>
                    <a:lnTo>
                      <a:pt x="3915996" y="8334547"/>
                    </a:lnTo>
                    <a:lnTo>
                      <a:pt x="3941030" y="8355868"/>
                    </a:lnTo>
                    <a:lnTo>
                      <a:pt x="4051969" y="8334823"/>
                    </a:lnTo>
                    <a:lnTo>
                      <a:pt x="4086928" y="8329699"/>
                    </a:lnTo>
                    <a:lnTo>
                      <a:pt x="4109470" y="8347492"/>
                    </a:lnTo>
                    <a:lnTo>
                      <a:pt x="4130904" y="8368556"/>
                    </a:lnTo>
                    <a:lnTo>
                      <a:pt x="4152351" y="8389621"/>
                    </a:lnTo>
                    <a:lnTo>
                      <a:pt x="4172120" y="8413211"/>
                    </a:lnTo>
                    <a:lnTo>
                      <a:pt x="4190665" y="8433292"/>
                    </a:lnTo>
                    <a:lnTo>
                      <a:pt x="4220582" y="8438238"/>
                    </a:lnTo>
                    <a:lnTo>
                      <a:pt x="4251960" y="8442004"/>
                    </a:lnTo>
                    <a:lnTo>
                      <a:pt x="4283338" y="8445776"/>
                    </a:lnTo>
                    <a:lnTo>
                      <a:pt x="4316716" y="8448691"/>
                    </a:lnTo>
                    <a:lnTo>
                      <a:pt x="4342711" y="8477458"/>
                    </a:lnTo>
                    <a:lnTo>
                      <a:pt x="4317432" y="8514310"/>
                    </a:lnTo>
                    <a:lnTo>
                      <a:pt x="4318613" y="8539938"/>
                    </a:lnTo>
                    <a:lnTo>
                      <a:pt x="4332675" y="8556103"/>
                    </a:lnTo>
                    <a:lnTo>
                      <a:pt x="4356586" y="8559281"/>
                    </a:lnTo>
                    <a:lnTo>
                      <a:pt x="4379822" y="8561701"/>
                    </a:lnTo>
                    <a:lnTo>
                      <a:pt x="4403055" y="8564135"/>
                    </a:lnTo>
                    <a:lnTo>
                      <a:pt x="4426176" y="8565705"/>
                    </a:lnTo>
                    <a:lnTo>
                      <a:pt x="4441034" y="8594347"/>
                    </a:lnTo>
                    <a:lnTo>
                      <a:pt x="4465674" y="8601515"/>
                    </a:lnTo>
                    <a:lnTo>
                      <a:pt x="4481317" y="8619400"/>
                    </a:lnTo>
                    <a:lnTo>
                      <a:pt x="4492733" y="8640597"/>
                    </a:lnTo>
                    <a:lnTo>
                      <a:pt x="4504128" y="8661792"/>
                    </a:lnTo>
                    <a:lnTo>
                      <a:pt x="4511026" y="8686820"/>
                    </a:lnTo>
                    <a:lnTo>
                      <a:pt x="4518570" y="8707244"/>
                    </a:lnTo>
                    <a:lnTo>
                      <a:pt x="4531140" y="8724945"/>
                    </a:lnTo>
                    <a:lnTo>
                      <a:pt x="4552233" y="8733070"/>
                    </a:lnTo>
                    <a:lnTo>
                      <a:pt x="4579779" y="8737172"/>
                    </a:lnTo>
                    <a:lnTo>
                      <a:pt x="4609408" y="8743603"/>
                    </a:lnTo>
                    <a:lnTo>
                      <a:pt x="4639918" y="8757946"/>
                    </a:lnTo>
                    <a:lnTo>
                      <a:pt x="4668189" y="8787498"/>
                    </a:lnTo>
                    <a:lnTo>
                      <a:pt x="4671758" y="8820531"/>
                    </a:lnTo>
                    <a:lnTo>
                      <a:pt x="4659207" y="8849674"/>
                    </a:lnTo>
                    <a:lnTo>
                      <a:pt x="4635571" y="8874550"/>
                    </a:lnTo>
                    <a:lnTo>
                      <a:pt x="4609470" y="8898471"/>
                    </a:lnTo>
                    <a:lnTo>
                      <a:pt x="4574508" y="8917174"/>
                    </a:lnTo>
                    <a:lnTo>
                      <a:pt x="4551235" y="8930317"/>
                    </a:lnTo>
                    <a:lnTo>
                      <a:pt x="4513284" y="9003962"/>
                    </a:lnTo>
                    <a:lnTo>
                      <a:pt x="4521314" y="9024169"/>
                    </a:lnTo>
                    <a:lnTo>
                      <a:pt x="4545710" y="9046718"/>
                    </a:lnTo>
                    <a:lnTo>
                      <a:pt x="4576542" y="9056266"/>
                    </a:lnTo>
                    <a:lnTo>
                      <a:pt x="4604286" y="9073142"/>
                    </a:lnTo>
                    <a:lnTo>
                      <a:pt x="4655672" y="9104423"/>
                    </a:lnTo>
                    <a:lnTo>
                      <a:pt x="4696956" y="9147929"/>
                    </a:lnTo>
                    <a:lnTo>
                      <a:pt x="4737589" y="9191475"/>
                    </a:lnTo>
                    <a:lnTo>
                      <a:pt x="4788963" y="9246589"/>
                    </a:lnTo>
                    <a:lnTo>
                      <a:pt x="4854252" y="9291031"/>
                    </a:lnTo>
                    <a:lnTo>
                      <a:pt x="4915768" y="9338377"/>
                    </a:lnTo>
                    <a:lnTo>
                      <a:pt x="4946535" y="9362046"/>
                    </a:lnTo>
                    <a:lnTo>
                      <a:pt x="4975969" y="9385860"/>
                    </a:lnTo>
                    <a:lnTo>
                      <a:pt x="5002823" y="9413190"/>
                    </a:lnTo>
                    <a:lnTo>
                      <a:pt x="5029683" y="9440518"/>
                    </a:lnTo>
                    <a:lnTo>
                      <a:pt x="5053530" y="9470960"/>
                    </a:lnTo>
                    <a:lnTo>
                      <a:pt x="5072192" y="9505683"/>
                    </a:lnTo>
                    <a:lnTo>
                      <a:pt x="5052482" y="9562616"/>
                    </a:lnTo>
                    <a:lnTo>
                      <a:pt x="5010261" y="9609209"/>
                    </a:lnTo>
                    <a:lnTo>
                      <a:pt x="4990582" y="9666184"/>
                    </a:lnTo>
                    <a:lnTo>
                      <a:pt x="5023786" y="9705930"/>
                    </a:lnTo>
                    <a:lnTo>
                      <a:pt x="5125091" y="9792192"/>
                    </a:lnTo>
                    <a:lnTo>
                      <a:pt x="5145661" y="9828048"/>
                    </a:lnTo>
                    <a:lnTo>
                      <a:pt x="5126490" y="9857983"/>
                    </a:lnTo>
                    <a:lnTo>
                      <a:pt x="5099372" y="9884415"/>
                    </a:lnTo>
                    <a:lnTo>
                      <a:pt x="5073572" y="9911018"/>
                    </a:lnTo>
                    <a:lnTo>
                      <a:pt x="5047772" y="9937629"/>
                    </a:lnTo>
                    <a:lnTo>
                      <a:pt x="5023538" y="9965091"/>
                    </a:lnTo>
                    <a:lnTo>
                      <a:pt x="5009641" y="9998072"/>
                    </a:lnTo>
                    <a:lnTo>
                      <a:pt x="5073625" y="10061198"/>
                    </a:lnTo>
                    <a:lnTo>
                      <a:pt x="5098119" y="10065769"/>
                    </a:lnTo>
                    <a:lnTo>
                      <a:pt x="5114881" y="10046742"/>
                    </a:lnTo>
                    <a:lnTo>
                      <a:pt x="5130703" y="10025283"/>
                    </a:lnTo>
                    <a:lnTo>
                      <a:pt x="5146519" y="10003816"/>
                    </a:lnTo>
                    <a:lnTo>
                      <a:pt x="5161402" y="9980199"/>
                    </a:lnTo>
                    <a:lnTo>
                      <a:pt x="5193568" y="9971243"/>
                    </a:lnTo>
                    <a:lnTo>
                      <a:pt x="5209802" y="9984987"/>
                    </a:lnTo>
                    <a:lnTo>
                      <a:pt x="5225913" y="10000796"/>
                    </a:lnTo>
                    <a:lnTo>
                      <a:pt x="5242027" y="10016603"/>
                    </a:lnTo>
                    <a:lnTo>
                      <a:pt x="5257675" y="10034679"/>
                    </a:lnTo>
                    <a:lnTo>
                      <a:pt x="5287714" y="10047362"/>
                    </a:lnTo>
                    <a:lnTo>
                      <a:pt x="5318407" y="10023917"/>
                    </a:lnTo>
                    <a:lnTo>
                      <a:pt x="5347379" y="9997089"/>
                    </a:lnTo>
                    <a:lnTo>
                      <a:pt x="5424506" y="9968150"/>
                    </a:lnTo>
                    <a:lnTo>
                      <a:pt x="5399769" y="9944198"/>
                    </a:lnTo>
                    <a:lnTo>
                      <a:pt x="5364401" y="9924987"/>
                    </a:lnTo>
                    <a:lnTo>
                      <a:pt x="5334731" y="9908302"/>
                    </a:lnTo>
                    <a:lnTo>
                      <a:pt x="5334908" y="9883471"/>
                    </a:lnTo>
                    <a:lnTo>
                      <a:pt x="5373507" y="9818103"/>
                    </a:lnTo>
                    <a:lnTo>
                      <a:pt x="5403958" y="9761162"/>
                    </a:lnTo>
                    <a:lnTo>
                      <a:pt x="5444932" y="9713792"/>
                    </a:lnTo>
                    <a:lnTo>
                      <a:pt x="5460048" y="9696321"/>
                    </a:lnTo>
                    <a:lnTo>
                      <a:pt x="5479107" y="9682525"/>
                    </a:lnTo>
                    <a:lnTo>
                      <a:pt x="5493897" y="9664824"/>
                    </a:lnTo>
                    <a:lnTo>
                      <a:pt x="5536607" y="9613668"/>
                    </a:lnTo>
                    <a:lnTo>
                      <a:pt x="5575386" y="9558600"/>
                    </a:lnTo>
                    <a:lnTo>
                      <a:pt x="5617678" y="9507041"/>
                    </a:lnTo>
                    <a:lnTo>
                      <a:pt x="5652234" y="9464959"/>
                    </a:lnTo>
                    <a:lnTo>
                      <a:pt x="5703028" y="9447154"/>
                    </a:lnTo>
                    <a:lnTo>
                      <a:pt x="5737376" y="9407748"/>
                    </a:lnTo>
                    <a:lnTo>
                      <a:pt x="5803766" y="9424414"/>
                    </a:lnTo>
                    <a:lnTo>
                      <a:pt x="5844161" y="9458674"/>
                    </a:lnTo>
                    <a:lnTo>
                      <a:pt x="5888353" y="9483919"/>
                    </a:lnTo>
                    <a:lnTo>
                      <a:pt x="5914553" y="9494016"/>
                    </a:lnTo>
                    <a:lnTo>
                      <a:pt x="5963843" y="9519731"/>
                    </a:lnTo>
                    <a:lnTo>
                      <a:pt x="5997181" y="9550231"/>
                    </a:lnTo>
                    <a:lnTo>
                      <a:pt x="6029814" y="9576412"/>
                    </a:lnTo>
                    <a:lnTo>
                      <a:pt x="6051602" y="9608313"/>
                    </a:lnTo>
                    <a:lnTo>
                      <a:pt x="6065183" y="9629462"/>
                    </a:lnTo>
                    <a:lnTo>
                      <a:pt x="6078748" y="9650619"/>
                    </a:lnTo>
                    <a:lnTo>
                      <a:pt x="6093618" y="9669942"/>
                    </a:lnTo>
                    <a:lnTo>
                      <a:pt x="6301854" y="9655308"/>
                    </a:lnTo>
                    <a:lnTo>
                      <a:pt x="6329058" y="9634903"/>
                    </a:lnTo>
                    <a:lnTo>
                      <a:pt x="6361701" y="9556015"/>
                    </a:lnTo>
                    <a:lnTo>
                      <a:pt x="6436456" y="9554347"/>
                    </a:lnTo>
                    <a:lnTo>
                      <a:pt x="6490921" y="9551940"/>
                    </a:lnTo>
                    <a:lnTo>
                      <a:pt x="6535365" y="9549961"/>
                    </a:lnTo>
                    <a:lnTo>
                      <a:pt x="6577356" y="9538261"/>
                    </a:lnTo>
                    <a:lnTo>
                      <a:pt x="6599739" y="9528811"/>
                    </a:lnTo>
                    <a:lnTo>
                      <a:pt x="6582026" y="9485311"/>
                    </a:lnTo>
                    <a:lnTo>
                      <a:pt x="6568451" y="9462164"/>
                    </a:lnTo>
                    <a:lnTo>
                      <a:pt x="6553773" y="9437109"/>
                    </a:lnTo>
                    <a:lnTo>
                      <a:pt x="6539963" y="9412635"/>
                    </a:lnTo>
                    <a:lnTo>
                      <a:pt x="6546688" y="9311179"/>
                    </a:lnTo>
                    <a:lnTo>
                      <a:pt x="6551556" y="9241610"/>
                    </a:lnTo>
                    <a:lnTo>
                      <a:pt x="6560914" y="9200246"/>
                    </a:lnTo>
                    <a:lnTo>
                      <a:pt x="6561652" y="9158844"/>
                    </a:lnTo>
                    <a:lnTo>
                      <a:pt x="6562393" y="9117434"/>
                    </a:lnTo>
                    <a:lnTo>
                      <a:pt x="6554399" y="9076507"/>
                    </a:lnTo>
                    <a:lnTo>
                      <a:pt x="6529009" y="9005136"/>
                    </a:lnTo>
                    <a:lnTo>
                      <a:pt x="6508511" y="8947524"/>
                    </a:lnTo>
                    <a:lnTo>
                      <a:pt x="6497832" y="8892944"/>
                    </a:lnTo>
                    <a:lnTo>
                      <a:pt x="6485483" y="8832390"/>
                    </a:lnTo>
                    <a:lnTo>
                      <a:pt x="6477567" y="8796276"/>
                    </a:lnTo>
                    <a:lnTo>
                      <a:pt x="6474349" y="8759693"/>
                    </a:lnTo>
                    <a:lnTo>
                      <a:pt x="6478702" y="8726297"/>
                    </a:lnTo>
                    <a:lnTo>
                      <a:pt x="6489200" y="8697292"/>
                    </a:lnTo>
                    <a:lnTo>
                      <a:pt x="6514461" y="8679123"/>
                    </a:lnTo>
                    <a:lnTo>
                      <a:pt x="6557590" y="8675971"/>
                    </a:lnTo>
                    <a:lnTo>
                      <a:pt x="6607547" y="8674599"/>
                    </a:lnTo>
                    <a:lnTo>
                      <a:pt x="6665338" y="8705464"/>
                    </a:lnTo>
                    <a:lnTo>
                      <a:pt x="6699181" y="8732886"/>
                    </a:lnTo>
                    <a:lnTo>
                      <a:pt x="6746661" y="8749420"/>
                    </a:lnTo>
                    <a:lnTo>
                      <a:pt x="6802849" y="8768973"/>
                    </a:lnTo>
                    <a:lnTo>
                      <a:pt x="6878299" y="8763552"/>
                    </a:lnTo>
                    <a:lnTo>
                      <a:pt x="6937086" y="8767099"/>
                    </a:lnTo>
                    <a:lnTo>
                      <a:pt x="6983893" y="8742237"/>
                    </a:lnTo>
                    <a:lnTo>
                      <a:pt x="6998903" y="8708010"/>
                    </a:lnTo>
                    <a:lnTo>
                      <a:pt x="7022780" y="8682771"/>
                    </a:lnTo>
                    <a:lnTo>
                      <a:pt x="7053578" y="8650212"/>
                    </a:lnTo>
                    <a:lnTo>
                      <a:pt x="7083970" y="8632334"/>
                    </a:lnTo>
                    <a:lnTo>
                      <a:pt x="7113916" y="8622922"/>
                    </a:lnTo>
                    <a:lnTo>
                      <a:pt x="7143858" y="8613518"/>
                    </a:lnTo>
                    <a:lnTo>
                      <a:pt x="7173751" y="8613603"/>
                    </a:lnTo>
                    <a:lnTo>
                      <a:pt x="7203687" y="8620198"/>
                    </a:lnTo>
                    <a:lnTo>
                      <a:pt x="7233620" y="8626799"/>
                    </a:lnTo>
                    <a:lnTo>
                      <a:pt x="7264049" y="8638763"/>
                    </a:lnTo>
                    <a:lnTo>
                      <a:pt x="7294819" y="8654208"/>
                    </a:lnTo>
                    <a:lnTo>
                      <a:pt x="7325571" y="8669654"/>
                    </a:lnTo>
                    <a:lnTo>
                      <a:pt x="7356211" y="8688772"/>
                    </a:lnTo>
                    <a:lnTo>
                      <a:pt x="7388674" y="8705892"/>
                    </a:lnTo>
                    <a:lnTo>
                      <a:pt x="7423984" y="8724523"/>
                    </a:lnTo>
                    <a:lnTo>
                      <a:pt x="7491173" y="8762812"/>
                    </a:lnTo>
                    <a:lnTo>
                      <a:pt x="7526049" y="8775264"/>
                    </a:lnTo>
                    <a:lnTo>
                      <a:pt x="7553253" y="8786146"/>
                    </a:lnTo>
                    <a:lnTo>
                      <a:pt x="7579354" y="8806036"/>
                    </a:lnTo>
                    <a:lnTo>
                      <a:pt x="7605728" y="8836346"/>
                    </a:lnTo>
                    <a:lnTo>
                      <a:pt x="7629428" y="8859593"/>
                    </a:lnTo>
                    <a:lnTo>
                      <a:pt x="7663671" y="8844576"/>
                    </a:lnTo>
                    <a:lnTo>
                      <a:pt x="7678393" y="8816073"/>
                    </a:lnTo>
                    <a:lnTo>
                      <a:pt x="7686746" y="8784338"/>
                    </a:lnTo>
                    <a:lnTo>
                      <a:pt x="7677345" y="8745291"/>
                    </a:lnTo>
                    <a:lnTo>
                      <a:pt x="7648832" y="8736585"/>
                    </a:lnTo>
                    <a:lnTo>
                      <a:pt x="7621268" y="8727663"/>
                    </a:lnTo>
                    <a:lnTo>
                      <a:pt x="7593319" y="8719300"/>
                    </a:lnTo>
                    <a:lnTo>
                      <a:pt x="7570325" y="8706097"/>
                    </a:lnTo>
                    <a:lnTo>
                      <a:pt x="7555982" y="8685495"/>
                    </a:lnTo>
                    <a:lnTo>
                      <a:pt x="7555982" y="8646044"/>
                    </a:lnTo>
                    <a:lnTo>
                      <a:pt x="7578895" y="8601653"/>
                    </a:lnTo>
                    <a:lnTo>
                      <a:pt x="7594063" y="8578038"/>
                    </a:lnTo>
                    <a:lnTo>
                      <a:pt x="7609213" y="8554427"/>
                    </a:lnTo>
                    <a:lnTo>
                      <a:pt x="7627134" y="8534313"/>
                    </a:lnTo>
                    <a:lnTo>
                      <a:pt x="7649830" y="8534510"/>
                    </a:lnTo>
                    <a:lnTo>
                      <a:pt x="7689195" y="8556565"/>
                    </a:lnTo>
                    <a:lnTo>
                      <a:pt x="7713764" y="8568514"/>
                    </a:lnTo>
                    <a:lnTo>
                      <a:pt x="7738315" y="8580470"/>
                    </a:lnTo>
                    <a:lnTo>
                      <a:pt x="7762884" y="8587732"/>
                    </a:lnTo>
                    <a:lnTo>
                      <a:pt x="7799713" y="8557540"/>
                    </a:lnTo>
                    <a:lnTo>
                      <a:pt x="7803843" y="8529869"/>
                    </a:lnTo>
                    <a:lnTo>
                      <a:pt x="7806255" y="8500508"/>
                    </a:lnTo>
                    <a:lnTo>
                      <a:pt x="7808648" y="8471140"/>
                    </a:lnTo>
                    <a:lnTo>
                      <a:pt x="7810261" y="8440190"/>
                    </a:lnTo>
                    <a:lnTo>
                      <a:pt x="7826663" y="8416178"/>
                    </a:lnTo>
                    <a:lnTo>
                      <a:pt x="7842556" y="8402066"/>
                    </a:lnTo>
                    <a:lnTo>
                      <a:pt x="7882430" y="8394409"/>
                    </a:lnTo>
                    <a:lnTo>
                      <a:pt x="7903297" y="8391263"/>
                    </a:lnTo>
                    <a:lnTo>
                      <a:pt x="7930036" y="8401214"/>
                    </a:lnTo>
                    <a:lnTo>
                      <a:pt x="7949601" y="8418051"/>
                    </a:lnTo>
                    <a:lnTo>
                      <a:pt x="7964868" y="8441503"/>
                    </a:lnTo>
                    <a:lnTo>
                      <a:pt x="7980359" y="8466503"/>
                    </a:lnTo>
                    <a:lnTo>
                      <a:pt x="7999917" y="8489962"/>
                    </a:lnTo>
                    <a:lnTo>
                      <a:pt x="8025789" y="8503969"/>
                    </a:lnTo>
                    <a:lnTo>
                      <a:pt x="8053812" y="8507307"/>
                    </a:lnTo>
                    <a:lnTo>
                      <a:pt x="8083205" y="8507175"/>
                    </a:lnTo>
                    <a:lnTo>
                      <a:pt x="8114193" y="8501979"/>
                    </a:lnTo>
                    <a:lnTo>
                      <a:pt x="8144944" y="8493702"/>
                    </a:lnTo>
                    <a:lnTo>
                      <a:pt x="8171746" y="8485873"/>
                    </a:lnTo>
                    <a:lnTo>
                      <a:pt x="8196898" y="8479061"/>
                    </a:lnTo>
                    <a:lnTo>
                      <a:pt x="8200711" y="8442017"/>
                    </a:lnTo>
                    <a:lnTo>
                      <a:pt x="8200711" y="8420037"/>
                    </a:lnTo>
                    <a:lnTo>
                      <a:pt x="8197183" y="8391105"/>
                    </a:lnTo>
                    <a:lnTo>
                      <a:pt x="8193909" y="8363122"/>
                    </a:lnTo>
                    <a:lnTo>
                      <a:pt x="8190647" y="8335147"/>
                    </a:lnTo>
                    <a:lnTo>
                      <a:pt x="8187925" y="8307349"/>
                    </a:lnTo>
                    <a:lnTo>
                      <a:pt x="8192557" y="8285592"/>
                    </a:lnTo>
                    <a:lnTo>
                      <a:pt x="8198448" y="8265420"/>
                    </a:lnTo>
                    <a:lnTo>
                      <a:pt x="8220245" y="8246439"/>
                    </a:lnTo>
                    <a:lnTo>
                      <a:pt x="8275528" y="8255665"/>
                    </a:lnTo>
                    <a:lnTo>
                      <a:pt x="8298479" y="8212462"/>
                    </a:lnTo>
                    <a:lnTo>
                      <a:pt x="8311278" y="8159564"/>
                    </a:lnTo>
                    <a:lnTo>
                      <a:pt x="8324499" y="8112846"/>
                    </a:lnTo>
                    <a:lnTo>
                      <a:pt x="8403434" y="8076738"/>
                    </a:lnTo>
                    <a:lnTo>
                      <a:pt x="8454966" y="8014529"/>
                    </a:lnTo>
                    <a:lnTo>
                      <a:pt x="8494523" y="7997231"/>
                    </a:lnTo>
                    <a:lnTo>
                      <a:pt x="8537578" y="8004854"/>
                    </a:lnTo>
                    <a:lnTo>
                      <a:pt x="8566618" y="8006753"/>
                    </a:lnTo>
                    <a:lnTo>
                      <a:pt x="8595639" y="8008640"/>
                    </a:lnTo>
                    <a:lnTo>
                      <a:pt x="8624233" y="8007347"/>
                    </a:lnTo>
                    <a:lnTo>
                      <a:pt x="8655524" y="7986514"/>
                    </a:lnTo>
                    <a:lnTo>
                      <a:pt x="8668627" y="7960503"/>
                    </a:lnTo>
                    <a:lnTo>
                      <a:pt x="8671021" y="7935113"/>
                    </a:lnTo>
                    <a:lnTo>
                      <a:pt x="8660820" y="7909723"/>
                    </a:lnTo>
                    <a:lnTo>
                      <a:pt x="8644163" y="7884333"/>
                    </a:lnTo>
                    <a:lnTo>
                      <a:pt x="8628791" y="7857400"/>
                    </a:lnTo>
                    <a:lnTo>
                      <a:pt x="8624344" y="7813391"/>
                    </a:lnTo>
                    <a:lnTo>
                      <a:pt x="8641422" y="7786503"/>
                    </a:lnTo>
                    <a:lnTo>
                      <a:pt x="8644163" y="7756471"/>
                    </a:lnTo>
                    <a:lnTo>
                      <a:pt x="8621473" y="7736370"/>
                    </a:lnTo>
                    <a:lnTo>
                      <a:pt x="8593394" y="7722171"/>
                    </a:lnTo>
                    <a:lnTo>
                      <a:pt x="8578877" y="7695264"/>
                    </a:lnTo>
                    <a:lnTo>
                      <a:pt x="8635327" y="7587707"/>
                    </a:lnTo>
                    <a:lnTo>
                      <a:pt x="8652640" y="7555900"/>
                    </a:lnTo>
                    <a:lnTo>
                      <a:pt x="8675442" y="7540203"/>
                    </a:lnTo>
                    <a:lnTo>
                      <a:pt x="8702591" y="7531221"/>
                    </a:lnTo>
                    <a:lnTo>
                      <a:pt x="8729913" y="7527423"/>
                    </a:lnTo>
                    <a:lnTo>
                      <a:pt x="8755698" y="7522522"/>
                    </a:lnTo>
                    <a:lnTo>
                      <a:pt x="8776837" y="7514517"/>
                    </a:lnTo>
                    <a:lnTo>
                      <a:pt x="8800923" y="7483145"/>
                    </a:lnTo>
                    <a:lnTo>
                      <a:pt x="8804662" y="7447710"/>
                    </a:lnTo>
                    <a:lnTo>
                      <a:pt x="8799658" y="7413549"/>
                    </a:lnTo>
                    <a:lnTo>
                      <a:pt x="8798759" y="7378497"/>
                    </a:lnTo>
                    <a:lnTo>
                      <a:pt x="8819619" y="7337535"/>
                    </a:lnTo>
                    <a:lnTo>
                      <a:pt x="8836741" y="7315812"/>
                    </a:lnTo>
                    <a:lnTo>
                      <a:pt x="8867083" y="7291470"/>
                    </a:lnTo>
                    <a:lnTo>
                      <a:pt x="8918919" y="7261365"/>
                    </a:lnTo>
                    <a:lnTo>
                      <a:pt x="8954960" y="7240433"/>
                    </a:lnTo>
                    <a:lnTo>
                      <a:pt x="8991584" y="7225739"/>
                    </a:lnTo>
                    <a:lnTo>
                      <a:pt x="9027737" y="7206957"/>
                    </a:lnTo>
                    <a:lnTo>
                      <a:pt x="9057323" y="7191611"/>
                    </a:lnTo>
                    <a:lnTo>
                      <a:pt x="9079430" y="7161788"/>
                    </a:lnTo>
                    <a:lnTo>
                      <a:pt x="9105270" y="7141666"/>
                    </a:lnTo>
                    <a:lnTo>
                      <a:pt x="9132003" y="7120900"/>
                    </a:lnTo>
                    <a:lnTo>
                      <a:pt x="9172019" y="7118987"/>
                    </a:lnTo>
                    <a:lnTo>
                      <a:pt x="9201835" y="7102222"/>
                    </a:lnTo>
                    <a:lnTo>
                      <a:pt x="9261651" y="7068576"/>
                    </a:lnTo>
                    <a:lnTo>
                      <a:pt x="9319837" y="7031532"/>
                    </a:lnTo>
                    <a:lnTo>
                      <a:pt x="9378674" y="6996125"/>
                    </a:lnTo>
                    <a:lnTo>
                      <a:pt x="9420166" y="6975106"/>
                    </a:lnTo>
                    <a:lnTo>
                      <a:pt x="9501041" y="6927247"/>
                    </a:lnTo>
                    <a:lnTo>
                      <a:pt x="9575902" y="6879145"/>
                    </a:lnTo>
                    <a:lnTo>
                      <a:pt x="9650750" y="6831040"/>
                    </a:lnTo>
                    <a:lnTo>
                      <a:pt x="9719936" y="6782687"/>
                    </a:lnTo>
                    <a:lnTo>
                      <a:pt x="9697346" y="6726083"/>
                    </a:lnTo>
                    <a:lnTo>
                      <a:pt x="9669112" y="6681448"/>
                    </a:lnTo>
                    <a:lnTo>
                      <a:pt x="9637107" y="6642472"/>
                    </a:lnTo>
                    <a:lnTo>
                      <a:pt x="9614126" y="6634142"/>
                    </a:lnTo>
                    <a:lnTo>
                      <a:pt x="9582785" y="6645401"/>
                    </a:lnTo>
                    <a:lnTo>
                      <a:pt x="9559574" y="6647914"/>
                    </a:lnTo>
                    <a:lnTo>
                      <a:pt x="9525579" y="6648684"/>
                    </a:lnTo>
                    <a:lnTo>
                      <a:pt x="9502443" y="6646554"/>
                    </a:lnTo>
                    <a:lnTo>
                      <a:pt x="9479325" y="6644424"/>
                    </a:lnTo>
                    <a:lnTo>
                      <a:pt x="9454266" y="6640771"/>
                    </a:lnTo>
                    <a:lnTo>
                      <a:pt x="9428996" y="6635673"/>
                    </a:lnTo>
                    <a:lnTo>
                      <a:pt x="9403726" y="6630575"/>
                    </a:lnTo>
                    <a:lnTo>
                      <a:pt x="9378264" y="6624066"/>
                    </a:lnTo>
                    <a:lnTo>
                      <a:pt x="9358265" y="6616633"/>
                    </a:lnTo>
                    <a:lnTo>
                      <a:pt x="9338261" y="6609195"/>
                    </a:lnTo>
                    <a:lnTo>
                      <a:pt x="9316098" y="6592147"/>
                    </a:lnTo>
                    <a:lnTo>
                      <a:pt x="9347810" y="6567258"/>
                    </a:lnTo>
                    <a:lnTo>
                      <a:pt x="9439755" y="6413681"/>
                    </a:lnTo>
                    <a:lnTo>
                      <a:pt x="9449404" y="6381314"/>
                    </a:lnTo>
                    <a:lnTo>
                      <a:pt x="9492955" y="6366272"/>
                    </a:lnTo>
                    <a:lnTo>
                      <a:pt x="9535470" y="6374172"/>
                    </a:lnTo>
                    <a:lnTo>
                      <a:pt x="9579982" y="6371791"/>
                    </a:lnTo>
                    <a:lnTo>
                      <a:pt x="9617599" y="6364075"/>
                    </a:lnTo>
                    <a:lnTo>
                      <a:pt x="9688075" y="6362334"/>
                    </a:lnTo>
                    <a:lnTo>
                      <a:pt x="9767220" y="6357843"/>
                    </a:lnTo>
                    <a:lnTo>
                      <a:pt x="9818014" y="6366351"/>
                    </a:lnTo>
                    <a:lnTo>
                      <a:pt x="9855618" y="6372655"/>
                    </a:lnTo>
                    <a:lnTo>
                      <a:pt x="9897216" y="6384493"/>
                    </a:lnTo>
                    <a:lnTo>
                      <a:pt x="9940425" y="6398996"/>
                    </a:lnTo>
                    <a:lnTo>
                      <a:pt x="9983641" y="6413497"/>
                    </a:lnTo>
                    <a:lnTo>
                      <a:pt x="10028606" y="6430947"/>
                    </a:lnTo>
                    <a:lnTo>
                      <a:pt x="10073726" y="6446603"/>
                    </a:lnTo>
                    <a:lnTo>
                      <a:pt x="10118858" y="6462254"/>
                    </a:lnTo>
                    <a:lnTo>
                      <a:pt x="10163674" y="6476301"/>
                    </a:lnTo>
                    <a:lnTo>
                      <a:pt x="10207032" y="6486048"/>
                    </a:lnTo>
                    <a:lnTo>
                      <a:pt x="10250385" y="6495788"/>
                    </a:lnTo>
                    <a:lnTo>
                      <a:pt x="10291536" y="6501513"/>
                    </a:lnTo>
                    <a:lnTo>
                      <a:pt x="10329443" y="6498289"/>
                    </a:lnTo>
                    <a:lnTo>
                      <a:pt x="10500838" y="6483331"/>
                    </a:lnTo>
                    <a:lnTo>
                      <a:pt x="10517587" y="6442660"/>
                    </a:lnTo>
                    <a:lnTo>
                      <a:pt x="10521239" y="6418035"/>
                    </a:lnTo>
                    <a:lnTo>
                      <a:pt x="10524855" y="6393416"/>
                    </a:lnTo>
                    <a:lnTo>
                      <a:pt x="10528389" y="6369049"/>
                    </a:lnTo>
                    <a:lnTo>
                      <a:pt x="10540444" y="6335810"/>
                    </a:lnTo>
                    <a:lnTo>
                      <a:pt x="10561789" y="6300850"/>
                    </a:lnTo>
                    <a:lnTo>
                      <a:pt x="10601991" y="6286032"/>
                    </a:lnTo>
                    <a:lnTo>
                      <a:pt x="10655582" y="6263463"/>
                    </a:lnTo>
                    <a:lnTo>
                      <a:pt x="10701080" y="6233753"/>
                    </a:lnTo>
                    <a:lnTo>
                      <a:pt x="10745672" y="6208567"/>
                    </a:lnTo>
                    <a:lnTo>
                      <a:pt x="10738870" y="6150077"/>
                    </a:lnTo>
                    <a:lnTo>
                      <a:pt x="10752332" y="6131723"/>
                    </a:lnTo>
                    <a:lnTo>
                      <a:pt x="10774706" y="6116971"/>
                    </a:lnTo>
                    <a:lnTo>
                      <a:pt x="10794637" y="6101110"/>
                    </a:lnTo>
                    <a:lnTo>
                      <a:pt x="10814561" y="6085257"/>
                    </a:lnTo>
                    <a:lnTo>
                      <a:pt x="10831459" y="6068703"/>
                    </a:lnTo>
                    <a:lnTo>
                      <a:pt x="10832724" y="6045344"/>
                    </a:lnTo>
                    <a:lnTo>
                      <a:pt x="10825922" y="6019498"/>
                    </a:lnTo>
                    <a:lnTo>
                      <a:pt x="10819119" y="5993653"/>
                    </a:lnTo>
                    <a:lnTo>
                      <a:pt x="10802797" y="5973254"/>
                    </a:lnTo>
                    <a:lnTo>
                      <a:pt x="10786476" y="5952851"/>
                    </a:lnTo>
                    <a:lnTo>
                      <a:pt x="10765733" y="5940036"/>
                    </a:lnTo>
                    <a:lnTo>
                      <a:pt x="10743359" y="5939041"/>
                    </a:lnTo>
                    <a:lnTo>
                      <a:pt x="10721184" y="5937886"/>
                    </a:lnTo>
                    <a:lnTo>
                      <a:pt x="10699002" y="5936732"/>
                    </a:lnTo>
                    <a:lnTo>
                      <a:pt x="10677813" y="5935974"/>
                    </a:lnTo>
                    <a:lnTo>
                      <a:pt x="10645412" y="5913841"/>
                    </a:lnTo>
                    <a:lnTo>
                      <a:pt x="10631416" y="5880760"/>
                    </a:lnTo>
                    <a:lnTo>
                      <a:pt x="10628017" y="5844370"/>
                    </a:lnTo>
                    <a:lnTo>
                      <a:pt x="10638206" y="5786230"/>
                    </a:lnTo>
                    <a:lnTo>
                      <a:pt x="10655321" y="5746206"/>
                    </a:lnTo>
                    <a:lnTo>
                      <a:pt x="10662701" y="5717538"/>
                    </a:lnTo>
                    <a:lnTo>
                      <a:pt x="10671376" y="5683831"/>
                    </a:lnTo>
                    <a:lnTo>
                      <a:pt x="10676938" y="5629449"/>
                    </a:lnTo>
                    <a:lnTo>
                      <a:pt x="10674942" y="5574711"/>
                    </a:lnTo>
                    <a:lnTo>
                      <a:pt x="10673937" y="5547350"/>
                    </a:lnTo>
                    <a:lnTo>
                      <a:pt x="10671023" y="5519981"/>
                    </a:lnTo>
                    <a:lnTo>
                      <a:pt x="10665411" y="5495823"/>
                    </a:lnTo>
                    <a:lnTo>
                      <a:pt x="10659811" y="5471666"/>
                    </a:lnTo>
                    <a:lnTo>
                      <a:pt x="10651092" y="5449903"/>
                    </a:lnTo>
                    <a:lnTo>
                      <a:pt x="10619906" y="5408499"/>
                    </a:lnTo>
                    <a:lnTo>
                      <a:pt x="10590345" y="5382265"/>
                    </a:lnTo>
                    <a:lnTo>
                      <a:pt x="10567482" y="5358445"/>
                    </a:lnTo>
                    <a:lnTo>
                      <a:pt x="10621562" y="5261764"/>
                    </a:lnTo>
                    <a:lnTo>
                      <a:pt x="10632768" y="5238747"/>
                    </a:lnTo>
                    <a:lnTo>
                      <a:pt x="10649089" y="5225123"/>
                    </a:lnTo>
                    <a:lnTo>
                      <a:pt x="10673193" y="5219009"/>
                    </a:lnTo>
                    <a:lnTo>
                      <a:pt x="10698053" y="5214260"/>
                    </a:lnTo>
                    <a:lnTo>
                      <a:pt x="10722945" y="5209512"/>
                    </a:lnTo>
                    <a:lnTo>
                      <a:pt x="10748407" y="5206208"/>
                    </a:lnTo>
                    <a:lnTo>
                      <a:pt x="10768784" y="5197939"/>
                    </a:lnTo>
                    <a:lnTo>
                      <a:pt x="10783382" y="5165412"/>
                    </a:lnTo>
                    <a:lnTo>
                      <a:pt x="10785106" y="5143530"/>
                    </a:lnTo>
                    <a:lnTo>
                      <a:pt x="10786854" y="5121649"/>
                    </a:lnTo>
                    <a:lnTo>
                      <a:pt x="10786203" y="5096700"/>
                    </a:lnTo>
                    <a:lnTo>
                      <a:pt x="10786464" y="5071441"/>
                    </a:lnTo>
                    <a:lnTo>
                      <a:pt x="10786929" y="5046184"/>
                    </a:lnTo>
                    <a:lnTo>
                      <a:pt x="10788591" y="5019784"/>
                    </a:lnTo>
                    <a:lnTo>
                      <a:pt x="10794624" y="4995270"/>
                    </a:lnTo>
                    <a:lnTo>
                      <a:pt x="10800670" y="4970757"/>
                    </a:lnTo>
                    <a:lnTo>
                      <a:pt x="10810909" y="4948262"/>
                    </a:lnTo>
                    <a:lnTo>
                      <a:pt x="10829996" y="4928622"/>
                    </a:lnTo>
                    <a:lnTo>
                      <a:pt x="10855706" y="4902157"/>
                    </a:lnTo>
                    <a:lnTo>
                      <a:pt x="10902977" y="4883776"/>
                    </a:lnTo>
                    <a:lnTo>
                      <a:pt x="10934727" y="4866050"/>
                    </a:lnTo>
                    <a:lnTo>
                      <a:pt x="10951533" y="4841174"/>
                    </a:lnTo>
                    <a:lnTo>
                      <a:pt x="10947861" y="4801155"/>
                    </a:lnTo>
                    <a:lnTo>
                      <a:pt x="10941170" y="4777645"/>
                    </a:lnTo>
                    <a:lnTo>
                      <a:pt x="10932005" y="4753152"/>
                    </a:lnTo>
                    <a:lnTo>
                      <a:pt x="10913693" y="4704172"/>
                    </a:lnTo>
                    <a:lnTo>
                      <a:pt x="10889118" y="4654049"/>
                    </a:lnTo>
                    <a:lnTo>
                      <a:pt x="10906462" y="4631648"/>
                    </a:lnTo>
                    <a:lnTo>
                      <a:pt x="10937444" y="4638895"/>
                    </a:lnTo>
                    <a:lnTo>
                      <a:pt x="10952109" y="4603012"/>
                    </a:lnTo>
                    <a:lnTo>
                      <a:pt x="10930647" y="4576328"/>
                    </a:lnTo>
                    <a:lnTo>
                      <a:pt x="10904317" y="4552594"/>
                    </a:lnTo>
                    <a:lnTo>
                      <a:pt x="10890352" y="4504431"/>
                    </a:lnTo>
                    <a:lnTo>
                      <a:pt x="10886309" y="4464492"/>
                    </a:lnTo>
                    <a:lnTo>
                      <a:pt x="10865355" y="4437585"/>
                    </a:lnTo>
                    <a:lnTo>
                      <a:pt x="10891784" y="4388579"/>
                    </a:lnTo>
                    <a:lnTo>
                      <a:pt x="10938163" y="4381311"/>
                    </a:lnTo>
                    <a:lnTo>
                      <a:pt x="10968722" y="4354615"/>
                    </a:lnTo>
                    <a:lnTo>
                      <a:pt x="10982334" y="4335207"/>
                    </a:lnTo>
                    <a:lnTo>
                      <a:pt x="10982315" y="4311458"/>
                    </a:lnTo>
                    <a:lnTo>
                      <a:pt x="10979630" y="4282526"/>
                    </a:lnTo>
                    <a:lnTo>
                      <a:pt x="10984765" y="4248548"/>
                    </a:lnTo>
                    <a:lnTo>
                      <a:pt x="10997303" y="4228119"/>
                    </a:lnTo>
                    <a:lnTo>
                      <a:pt x="11009879" y="4207687"/>
                    </a:lnTo>
                    <a:lnTo>
                      <a:pt x="11031273" y="4184810"/>
                    </a:lnTo>
                    <a:lnTo>
                      <a:pt x="11066682" y="4158746"/>
                    </a:lnTo>
                    <a:lnTo>
                      <a:pt x="11081360" y="4130171"/>
                    </a:lnTo>
                    <a:lnTo>
                      <a:pt x="11075624" y="4092870"/>
                    </a:lnTo>
                    <a:lnTo>
                      <a:pt x="11068034" y="4055371"/>
                    </a:lnTo>
                    <a:lnTo>
                      <a:pt x="11060462" y="4017873"/>
                    </a:lnTo>
                    <a:lnTo>
                      <a:pt x="11050478" y="3979563"/>
                    </a:lnTo>
                    <a:lnTo>
                      <a:pt x="11054435" y="3947914"/>
                    </a:lnTo>
                    <a:lnTo>
                      <a:pt x="11057870" y="3920572"/>
                    </a:lnTo>
                    <a:lnTo>
                      <a:pt x="11070663" y="3895755"/>
                    </a:lnTo>
                    <a:lnTo>
                      <a:pt x="11074837" y="3869026"/>
                    </a:lnTo>
                    <a:lnTo>
                      <a:pt x="11077181" y="3842843"/>
                    </a:lnTo>
                    <a:lnTo>
                      <a:pt x="11069783" y="3813595"/>
                    </a:lnTo>
                    <a:lnTo>
                      <a:pt x="11047645" y="3780614"/>
                    </a:lnTo>
                    <a:lnTo>
                      <a:pt x="11024372" y="3769021"/>
                    </a:lnTo>
                    <a:lnTo>
                      <a:pt x="10994749" y="3770444"/>
                    </a:lnTo>
                    <a:lnTo>
                      <a:pt x="10961957" y="3780614"/>
                    </a:lnTo>
                    <a:lnTo>
                      <a:pt x="10929562" y="3792596"/>
                    </a:lnTo>
                    <a:lnTo>
                      <a:pt x="10897471" y="3811611"/>
                    </a:lnTo>
                    <a:lnTo>
                      <a:pt x="10858186" y="3809836"/>
                    </a:lnTo>
                    <a:lnTo>
                      <a:pt x="10851551" y="3784907"/>
                    </a:lnTo>
                    <a:lnTo>
                      <a:pt x="10847694" y="3762927"/>
                    </a:lnTo>
                    <a:lnTo>
                      <a:pt x="10852605" y="3739020"/>
                    </a:lnTo>
                    <a:lnTo>
                      <a:pt x="10938361" y="3617964"/>
                    </a:lnTo>
                    <a:lnTo>
                      <a:pt x="10968251" y="3600250"/>
                    </a:lnTo>
                    <a:lnTo>
                      <a:pt x="10992969" y="3608460"/>
                    </a:lnTo>
                    <a:lnTo>
                      <a:pt x="11019076" y="3617390"/>
                    </a:lnTo>
                    <a:lnTo>
                      <a:pt x="11045214" y="3626287"/>
                    </a:lnTo>
                    <a:lnTo>
                      <a:pt x="11072300" y="3636944"/>
                    </a:lnTo>
                    <a:lnTo>
                      <a:pt x="11093291" y="3609411"/>
                    </a:lnTo>
                    <a:lnTo>
                      <a:pt x="11100658" y="3582846"/>
                    </a:lnTo>
                    <a:lnTo>
                      <a:pt x="11110208" y="3558901"/>
                    </a:lnTo>
                    <a:lnTo>
                      <a:pt x="11119758" y="3534947"/>
                    </a:lnTo>
                    <a:lnTo>
                      <a:pt x="11132396" y="3513376"/>
                    </a:lnTo>
                    <a:lnTo>
                      <a:pt x="11149660" y="3496328"/>
                    </a:lnTo>
                    <a:lnTo>
                      <a:pt x="11233438" y="3457648"/>
                    </a:lnTo>
                    <a:lnTo>
                      <a:pt x="11237828" y="3423058"/>
                    </a:lnTo>
                    <a:lnTo>
                      <a:pt x="11200032" y="3389971"/>
                    </a:lnTo>
                    <a:lnTo>
                      <a:pt x="11159185" y="3358950"/>
                    </a:lnTo>
                    <a:lnTo>
                      <a:pt x="11118326" y="3327927"/>
                    </a:lnTo>
                    <a:lnTo>
                      <a:pt x="11073807" y="3298659"/>
                    </a:lnTo>
                    <a:lnTo>
                      <a:pt x="11055811" y="3286860"/>
                    </a:lnTo>
                    <a:lnTo>
                      <a:pt x="11060239" y="3252197"/>
                    </a:lnTo>
                    <a:lnTo>
                      <a:pt x="11087115" y="3225653"/>
                    </a:lnTo>
                    <a:lnTo>
                      <a:pt x="11120843" y="3203884"/>
                    </a:lnTo>
                    <a:lnTo>
                      <a:pt x="11140160" y="3195726"/>
                    </a:lnTo>
                    <a:lnTo>
                      <a:pt x="11178793" y="3179417"/>
                    </a:lnTo>
                    <a:lnTo>
                      <a:pt x="11222065" y="3170131"/>
                    </a:lnTo>
                    <a:lnTo>
                      <a:pt x="11255781" y="3167163"/>
                    </a:lnTo>
                    <a:lnTo>
                      <a:pt x="11296876" y="3169056"/>
                    </a:lnTo>
                    <a:lnTo>
                      <a:pt x="11326536" y="3163892"/>
                    </a:lnTo>
                    <a:lnTo>
                      <a:pt x="11354516" y="3149205"/>
                    </a:lnTo>
                    <a:lnTo>
                      <a:pt x="11359154" y="3118196"/>
                    </a:lnTo>
                    <a:lnTo>
                      <a:pt x="11276176" y="3066512"/>
                    </a:lnTo>
                    <a:lnTo>
                      <a:pt x="11222586" y="2999343"/>
                    </a:lnTo>
                    <a:lnTo>
                      <a:pt x="11190489" y="2938650"/>
                    </a:lnTo>
                    <a:lnTo>
                      <a:pt x="11164053" y="2888687"/>
                    </a:lnTo>
                    <a:lnTo>
                      <a:pt x="11147477" y="2850180"/>
                    </a:lnTo>
                    <a:lnTo>
                      <a:pt x="11137438" y="2825752"/>
                    </a:lnTo>
                    <a:lnTo>
                      <a:pt x="11115678" y="2829827"/>
                    </a:lnTo>
                    <a:lnTo>
                      <a:pt x="11097229" y="2768257"/>
                    </a:lnTo>
                    <a:lnTo>
                      <a:pt x="11134083" y="2705500"/>
                    </a:lnTo>
                    <a:lnTo>
                      <a:pt x="11117036" y="2657087"/>
                    </a:lnTo>
                    <a:lnTo>
                      <a:pt x="11085118" y="2614879"/>
                    </a:lnTo>
                    <a:lnTo>
                      <a:pt x="11056890" y="2577492"/>
                    </a:lnTo>
                    <a:lnTo>
                      <a:pt x="11041084" y="2536348"/>
                    </a:lnTo>
                    <a:lnTo>
                      <a:pt x="11028626" y="2508820"/>
                    </a:lnTo>
                    <a:lnTo>
                      <a:pt x="11008900" y="2465149"/>
                    </a:lnTo>
                    <a:lnTo>
                      <a:pt x="10958403" y="2412060"/>
                    </a:lnTo>
                    <a:lnTo>
                      <a:pt x="10932049" y="2368724"/>
                    </a:lnTo>
                    <a:lnTo>
                      <a:pt x="10919987" y="2348788"/>
                    </a:lnTo>
                    <a:lnTo>
                      <a:pt x="10898420" y="2331826"/>
                    </a:lnTo>
                    <a:lnTo>
                      <a:pt x="10885806" y="2311593"/>
                    </a:lnTo>
                    <a:lnTo>
                      <a:pt x="10863278" y="2275526"/>
                    </a:lnTo>
                    <a:lnTo>
                      <a:pt x="10835137" y="2238080"/>
                    </a:lnTo>
                    <a:lnTo>
                      <a:pt x="10819150" y="2194619"/>
                    </a:lnTo>
                    <a:lnTo>
                      <a:pt x="10792752" y="2167626"/>
                    </a:lnTo>
                    <a:lnTo>
                      <a:pt x="10735719" y="2132429"/>
                    </a:lnTo>
                    <a:lnTo>
                      <a:pt x="10686067" y="2116661"/>
                    </a:lnTo>
                    <a:lnTo>
                      <a:pt x="10642330" y="2096684"/>
                    </a:lnTo>
                    <a:lnTo>
                      <a:pt x="10561187" y="2059615"/>
                    </a:lnTo>
                    <a:lnTo>
                      <a:pt x="10493173" y="2004508"/>
                    </a:lnTo>
                    <a:lnTo>
                      <a:pt x="10408372" y="1971546"/>
                    </a:lnTo>
                    <a:lnTo>
                      <a:pt x="10346825" y="1947594"/>
                    </a:lnTo>
                    <a:lnTo>
                      <a:pt x="10259934" y="1933606"/>
                    </a:lnTo>
                    <a:lnTo>
                      <a:pt x="10205705" y="1908974"/>
                    </a:lnTo>
                    <a:lnTo>
                      <a:pt x="10161665" y="1878453"/>
                    </a:lnTo>
                    <a:lnTo>
                      <a:pt x="10145858" y="1864089"/>
                    </a:lnTo>
                    <a:lnTo>
                      <a:pt x="10108874" y="1830613"/>
                    </a:lnTo>
                    <a:lnTo>
                      <a:pt x="10091269" y="1751745"/>
                    </a:lnTo>
                    <a:lnTo>
                      <a:pt x="10079208" y="1704948"/>
                    </a:lnTo>
                    <a:lnTo>
                      <a:pt x="10055662" y="1613536"/>
                    </a:lnTo>
                    <a:lnTo>
                      <a:pt x="9963878" y="1519024"/>
                    </a:lnTo>
                    <a:lnTo>
                      <a:pt x="9906461" y="1445148"/>
                    </a:lnTo>
                    <a:lnTo>
                      <a:pt x="9882271" y="1414080"/>
                    </a:lnTo>
                    <a:lnTo>
                      <a:pt x="9864535" y="1376119"/>
                    </a:lnTo>
                    <a:lnTo>
                      <a:pt x="9841176" y="1344490"/>
                    </a:lnTo>
                    <a:lnTo>
                      <a:pt x="9818634" y="1318968"/>
                    </a:lnTo>
                    <a:lnTo>
                      <a:pt x="9782891" y="1265285"/>
                    </a:lnTo>
                    <a:lnTo>
                      <a:pt x="9677775" y="1198763"/>
                    </a:lnTo>
                    <a:lnTo>
                      <a:pt x="9683387" y="1155427"/>
                    </a:lnTo>
                    <a:lnTo>
                      <a:pt x="9686171" y="1133532"/>
                    </a:lnTo>
                    <a:lnTo>
                      <a:pt x="9709953" y="1100274"/>
                    </a:lnTo>
                    <a:lnTo>
                      <a:pt x="9717394" y="1076533"/>
                    </a:lnTo>
                    <a:lnTo>
                      <a:pt x="9745839" y="985444"/>
                    </a:lnTo>
                    <a:lnTo>
                      <a:pt x="9735167" y="950292"/>
                    </a:lnTo>
                    <a:lnTo>
                      <a:pt x="9743240" y="864341"/>
                    </a:lnTo>
                    <a:lnTo>
                      <a:pt x="9746068" y="834203"/>
                    </a:lnTo>
                    <a:lnTo>
                      <a:pt x="9761038" y="806854"/>
                    </a:lnTo>
                    <a:lnTo>
                      <a:pt x="9765000" y="777289"/>
                    </a:lnTo>
                    <a:lnTo>
                      <a:pt x="9767828" y="755420"/>
                    </a:lnTo>
                    <a:lnTo>
                      <a:pt x="9759388" y="726304"/>
                    </a:lnTo>
                    <a:lnTo>
                      <a:pt x="9750037" y="706558"/>
                    </a:lnTo>
                    <a:lnTo>
                      <a:pt x="9716414" y="635848"/>
                    </a:lnTo>
                    <a:lnTo>
                      <a:pt x="9627620" y="643036"/>
                    </a:lnTo>
                    <a:lnTo>
                      <a:pt x="9562327" y="629028"/>
                    </a:lnTo>
                    <a:lnTo>
                      <a:pt x="9524631" y="620950"/>
                    </a:lnTo>
                    <a:lnTo>
                      <a:pt x="9485427" y="604904"/>
                    </a:lnTo>
                    <a:lnTo>
                      <a:pt x="9449435" y="592302"/>
                    </a:lnTo>
                    <a:lnTo>
                      <a:pt x="9405184" y="576830"/>
                    </a:lnTo>
                    <a:lnTo>
                      <a:pt x="9398127" y="541383"/>
                    </a:lnTo>
                    <a:lnTo>
                      <a:pt x="9369180" y="520213"/>
                    </a:lnTo>
                    <a:lnTo>
                      <a:pt x="9327185" y="499894"/>
                    </a:lnTo>
                    <a:lnTo>
                      <a:pt x="9311242" y="480426"/>
                    </a:lnTo>
                    <a:lnTo>
                      <a:pt x="9287950" y="447082"/>
                    </a:lnTo>
                    <a:lnTo>
                      <a:pt x="9194263" y="231765"/>
                    </a:lnTo>
                    <a:lnTo>
                      <a:pt x="9188279" y="210087"/>
                    </a:lnTo>
                    <a:lnTo>
                      <a:pt x="9175021" y="162393"/>
                    </a:lnTo>
                    <a:lnTo>
                      <a:pt x="9216792" y="34069"/>
                    </a:lnTo>
                    <a:lnTo>
                      <a:pt x="9171957" y="613"/>
                    </a:lnTo>
                    <a:lnTo>
                      <a:pt x="9113896" y="613"/>
                    </a:lnTo>
                    <a:lnTo>
                      <a:pt x="9053013" y="5414"/>
                    </a:lnTo>
                    <a:lnTo>
                      <a:pt x="8996489" y="16936"/>
                    </a:lnTo>
                    <a:lnTo>
                      <a:pt x="8973365" y="21631"/>
                    </a:lnTo>
                    <a:lnTo>
                      <a:pt x="8949261" y="33772"/>
                    </a:lnTo>
                    <a:lnTo>
                      <a:pt x="8925759" y="37340"/>
                    </a:lnTo>
                    <a:lnTo>
                      <a:pt x="8864417" y="46672"/>
                    </a:lnTo>
                    <a:lnTo>
                      <a:pt x="8719985" y="40935"/>
                    </a:lnTo>
                    <a:lnTo>
                      <a:pt x="8672763" y="61827"/>
                    </a:lnTo>
                    <a:lnTo>
                      <a:pt x="8632592" y="79574"/>
                    </a:lnTo>
                    <a:lnTo>
                      <a:pt x="8551828" y="203050"/>
                    </a:lnTo>
                    <a:lnTo>
                      <a:pt x="8514974" y="241374"/>
                    </a:lnTo>
                    <a:lnTo>
                      <a:pt x="8403180" y="357688"/>
                    </a:lnTo>
                    <a:lnTo>
                      <a:pt x="8250166" y="392845"/>
                    </a:lnTo>
                    <a:lnTo>
                      <a:pt x="8102838" y="442683"/>
                    </a:lnTo>
                    <a:lnTo>
                      <a:pt x="8062128" y="456473"/>
                    </a:lnTo>
                    <a:lnTo>
                      <a:pt x="8032573" y="479258"/>
                    </a:lnTo>
                    <a:lnTo>
                      <a:pt x="7984495" y="486209"/>
                    </a:lnTo>
                    <a:lnTo>
                      <a:pt x="7954450" y="491221"/>
                    </a:lnTo>
                    <a:lnTo>
                      <a:pt x="7919550" y="492883"/>
                    </a:lnTo>
                    <a:lnTo>
                      <a:pt x="7890647" y="501166"/>
                    </a:lnTo>
                    <a:lnTo>
                      <a:pt x="7844113" y="514514"/>
                    </a:lnTo>
                    <a:lnTo>
                      <a:pt x="7777785" y="552178"/>
                    </a:lnTo>
                    <a:lnTo>
                      <a:pt x="7727419" y="537894"/>
                    </a:lnTo>
                    <a:lnTo>
                      <a:pt x="7705945" y="524401"/>
                    </a:lnTo>
                    <a:lnTo>
                      <a:pt x="7657334" y="494387"/>
                    </a:lnTo>
                    <a:lnTo>
                      <a:pt x="7611885" y="481296"/>
                    </a:lnTo>
                    <a:lnTo>
                      <a:pt x="7565563" y="475328"/>
                    </a:lnTo>
                    <a:lnTo>
                      <a:pt x="7541198" y="475328"/>
                    </a:lnTo>
                    <a:lnTo>
                      <a:pt x="7514794" y="473139"/>
                    </a:lnTo>
                    <a:lnTo>
                      <a:pt x="7490752" y="475328"/>
                    </a:lnTo>
                    <a:lnTo>
                      <a:pt x="7445396" y="479450"/>
                    </a:lnTo>
                    <a:lnTo>
                      <a:pt x="7392519" y="502974"/>
                    </a:lnTo>
                    <a:lnTo>
                      <a:pt x="7346562" y="513414"/>
                    </a:lnTo>
                    <a:lnTo>
                      <a:pt x="7298881" y="524229"/>
                    </a:lnTo>
                    <a:lnTo>
                      <a:pt x="7249359" y="522079"/>
                    </a:lnTo>
                    <a:lnTo>
                      <a:pt x="7201020" y="533812"/>
                    </a:lnTo>
                    <a:lnTo>
                      <a:pt x="7172036" y="542016"/>
                    </a:lnTo>
                    <a:lnTo>
                      <a:pt x="7128808" y="561741"/>
                    </a:lnTo>
                    <a:lnTo>
                      <a:pt x="7099396" y="582337"/>
                    </a:lnTo>
                    <a:lnTo>
                      <a:pt x="7067726" y="596384"/>
                    </a:lnTo>
                    <a:lnTo>
                      <a:pt x="7013661" y="620403"/>
                    </a:lnTo>
                    <a:lnTo>
                      <a:pt x="6957379" y="641440"/>
                    </a:lnTo>
                    <a:lnTo>
                      <a:pt x="6899061" y="661674"/>
                    </a:lnTo>
                    <a:lnTo>
                      <a:pt x="6870882" y="687855"/>
                    </a:lnTo>
                    <a:lnTo>
                      <a:pt x="6781235" y="761560"/>
                    </a:lnTo>
                    <a:lnTo>
                      <a:pt x="6746719" y="777289"/>
                    </a:lnTo>
                    <a:lnTo>
                      <a:pt x="6662126" y="815862"/>
                    </a:lnTo>
                    <a:lnTo>
                      <a:pt x="6526534" y="887404"/>
                    </a:lnTo>
                    <a:lnTo>
                      <a:pt x="6463797" y="955477"/>
                    </a:lnTo>
                    <a:lnTo>
                      <a:pt x="6402973" y="1021465"/>
                    </a:lnTo>
                    <a:lnTo>
                      <a:pt x="6353156" y="1169349"/>
                    </a:lnTo>
                    <a:lnTo>
                      <a:pt x="6269288" y="1207178"/>
                    </a:lnTo>
                    <a:lnTo>
                      <a:pt x="6190214" y="1194087"/>
                    </a:lnTo>
                    <a:lnTo>
                      <a:pt x="6119669" y="1177190"/>
                    </a:lnTo>
                    <a:lnTo>
                      <a:pt x="6097649" y="1171894"/>
                    </a:lnTo>
                    <a:lnTo>
                      <a:pt x="6066665" y="1165841"/>
                    </a:lnTo>
                    <a:lnTo>
                      <a:pt x="6047575" y="1154062"/>
                    </a:lnTo>
                    <a:lnTo>
                      <a:pt x="6005881" y="1128388"/>
                    </a:lnTo>
                    <a:lnTo>
                      <a:pt x="5967493" y="1064885"/>
                    </a:lnTo>
                    <a:lnTo>
                      <a:pt x="5976844" y="1015325"/>
                    </a:lnTo>
                    <a:lnTo>
                      <a:pt x="5986031" y="966589"/>
                    </a:lnTo>
                    <a:lnTo>
                      <a:pt x="6053311" y="925549"/>
                    </a:lnTo>
                    <a:lnTo>
                      <a:pt x="6044855" y="873865"/>
                    </a:lnTo>
                    <a:lnTo>
                      <a:pt x="6025684" y="829277"/>
                    </a:lnTo>
                    <a:lnTo>
                      <a:pt x="5915558" y="822220"/>
                    </a:lnTo>
                    <a:lnTo>
                      <a:pt x="5878909" y="841220"/>
                    </a:lnTo>
                    <a:lnTo>
                      <a:pt x="5826373" y="810468"/>
                    </a:lnTo>
                    <a:lnTo>
                      <a:pt x="5699838" y="670537"/>
                    </a:lnTo>
                    <a:lnTo>
                      <a:pt x="5678028" y="757121"/>
                    </a:lnTo>
                    <a:lnTo>
                      <a:pt x="5560624" y="684795"/>
                    </a:lnTo>
                    <a:lnTo>
                      <a:pt x="5534186" y="668472"/>
                    </a:lnTo>
                    <a:lnTo>
                      <a:pt x="5517647" y="625435"/>
                    </a:lnTo>
                    <a:lnTo>
                      <a:pt x="5439748" y="635465"/>
                    </a:lnTo>
                    <a:lnTo>
                      <a:pt x="5434499" y="700267"/>
                    </a:lnTo>
                    <a:lnTo>
                      <a:pt x="5396042" y="740562"/>
                    </a:lnTo>
                    <a:lnTo>
                      <a:pt x="5363015" y="775040"/>
                    </a:lnTo>
                    <a:lnTo>
                      <a:pt x="5235627" y="839901"/>
                    </a:lnTo>
                    <a:lnTo>
                      <a:pt x="5187934" y="838496"/>
                    </a:lnTo>
                    <a:lnTo>
                      <a:pt x="5161706" y="837711"/>
                    </a:lnTo>
                    <a:lnTo>
                      <a:pt x="5127392" y="828129"/>
                    </a:lnTo>
                    <a:lnTo>
                      <a:pt x="5102240" y="815374"/>
                    </a:lnTo>
                    <a:lnTo>
                      <a:pt x="5046169" y="774103"/>
                    </a:lnTo>
                    <a:lnTo>
                      <a:pt x="5001455" y="739012"/>
                    </a:lnTo>
                    <a:lnTo>
                      <a:pt x="4983900" y="668472"/>
                    </a:lnTo>
                    <a:lnTo>
                      <a:pt x="4978117" y="645371"/>
                    </a:lnTo>
                    <a:lnTo>
                      <a:pt x="4984942" y="616129"/>
                    </a:lnTo>
                    <a:lnTo>
                      <a:pt x="4971662" y="595025"/>
                    </a:lnTo>
                    <a:lnTo>
                      <a:pt x="4957719" y="572959"/>
                    </a:lnTo>
                    <a:lnTo>
                      <a:pt x="4911641" y="562974"/>
                    </a:lnTo>
                    <a:lnTo>
                      <a:pt x="4891406" y="541976"/>
                    </a:lnTo>
                    <a:lnTo>
                      <a:pt x="4848482" y="497513"/>
                    </a:lnTo>
                    <a:lnTo>
                      <a:pt x="4760869" y="368023"/>
                    </a:lnTo>
                    <a:lnTo>
                      <a:pt x="4740423" y="312104"/>
                    </a:lnTo>
                    <a:lnTo>
                      <a:pt x="4727981" y="277863"/>
                    </a:lnTo>
                    <a:lnTo>
                      <a:pt x="4735028" y="208241"/>
                    </a:lnTo>
                    <a:lnTo>
                      <a:pt x="4709145" y="189683"/>
                    </a:lnTo>
                    <a:lnTo>
                      <a:pt x="4685041" y="186431"/>
                    </a:lnTo>
                    <a:lnTo>
                      <a:pt x="4646941" y="200373"/>
                    </a:lnTo>
                    <a:lnTo>
                      <a:pt x="4623451" y="207363"/>
                    </a:lnTo>
                    <a:lnTo>
                      <a:pt x="4647152" y="160672"/>
                    </a:lnTo>
                    <a:lnTo>
                      <a:pt x="4632889" y="121267"/>
                    </a:lnTo>
                    <a:lnTo>
                      <a:pt x="4589447" y="94472"/>
                    </a:lnTo>
                    <a:lnTo>
                      <a:pt x="4549526" y="69860"/>
                    </a:lnTo>
                    <a:lnTo>
                      <a:pt x="4127310" y="0"/>
                    </a:lnTo>
                    <a:lnTo>
                      <a:pt x="4068489" y="3337"/>
                    </a:lnTo>
                    <a:lnTo>
                      <a:pt x="4015354" y="6351"/>
                    </a:lnTo>
                    <a:lnTo>
                      <a:pt x="3963544" y="11113"/>
                    </a:lnTo>
                    <a:lnTo>
                      <a:pt x="3912065" y="21018"/>
                    </a:lnTo>
                    <a:lnTo>
                      <a:pt x="3877381" y="27712"/>
                    </a:lnTo>
                    <a:lnTo>
                      <a:pt x="3841030" y="17365"/>
                    </a:lnTo>
                    <a:lnTo>
                      <a:pt x="3807330" y="21018"/>
                    </a:lnTo>
                    <a:lnTo>
                      <a:pt x="3717134" y="30818"/>
                    </a:lnTo>
                    <a:lnTo>
                      <a:pt x="3628293" y="45294"/>
                    </a:lnTo>
                    <a:lnTo>
                      <a:pt x="3536649" y="59103"/>
                    </a:lnTo>
                    <a:lnTo>
                      <a:pt x="3327517" y="126075"/>
                    </a:lnTo>
                    <a:lnTo>
                      <a:pt x="3398158" y="197122"/>
                    </a:lnTo>
                    <a:lnTo>
                      <a:pt x="3339424" y="240009"/>
                    </a:lnTo>
                    <a:lnTo>
                      <a:pt x="3288332" y="277270"/>
                    </a:lnTo>
                    <a:lnTo>
                      <a:pt x="3199655" y="245469"/>
                    </a:lnTo>
                    <a:lnTo>
                      <a:pt x="3147637" y="297140"/>
                    </a:lnTo>
                    <a:lnTo>
                      <a:pt x="3103212" y="389442"/>
                    </a:lnTo>
                    <a:lnTo>
                      <a:pt x="3192732" y="456368"/>
                    </a:lnTo>
                    <a:lnTo>
                      <a:pt x="3036096" y="478045"/>
                    </a:lnTo>
                    <a:lnTo>
                      <a:pt x="2998412" y="482187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89" name="Sumy¬0" descr="Sumy¬0">
                <a:extLst>
                  <a:ext uri="{FF2B5EF4-FFF2-40B4-BE49-F238E27FC236}">
                    <a16:creationId xmlns:a16="http://schemas.microsoft.com/office/drawing/2014/main" id="{FB934A2A-E04E-4D59-98A2-3F4C84976CAE}"/>
                  </a:ext>
                </a:extLst>
              </p:cNvPr>
              <p:cNvSpPr/>
              <p:nvPr/>
            </p:nvSpPr>
            <p:spPr>
              <a:xfrm>
                <a:off x="37794761" y="53828"/>
                <a:ext cx="9657837" cy="11894507"/>
              </a:xfrm>
              <a:custGeom>
                <a:avLst/>
                <a:gdLst/>
                <a:ahLst/>
                <a:cxnLst/>
                <a:rect l="0" t="0" r="0" b="0"/>
                <a:pathLst>
                  <a:path w="9657839" h="11894505">
                    <a:moveTo>
                      <a:pt x="2838530" y="7354"/>
                    </a:moveTo>
                    <a:lnTo>
                      <a:pt x="2811999" y="18257"/>
                    </a:lnTo>
                    <a:lnTo>
                      <a:pt x="2785693" y="20978"/>
                    </a:lnTo>
                    <a:lnTo>
                      <a:pt x="2667781" y="33220"/>
                    </a:lnTo>
                    <a:lnTo>
                      <a:pt x="2602235" y="69137"/>
                    </a:lnTo>
                    <a:lnTo>
                      <a:pt x="2498697" y="118912"/>
                    </a:lnTo>
                    <a:lnTo>
                      <a:pt x="2445515" y="144479"/>
                    </a:lnTo>
                    <a:lnTo>
                      <a:pt x="2381457" y="160653"/>
                    </a:lnTo>
                    <a:lnTo>
                      <a:pt x="2334105" y="197804"/>
                    </a:lnTo>
                    <a:lnTo>
                      <a:pt x="2261759" y="254549"/>
                    </a:lnTo>
                    <a:lnTo>
                      <a:pt x="2218233" y="345236"/>
                    </a:lnTo>
                    <a:lnTo>
                      <a:pt x="2140960" y="396392"/>
                    </a:lnTo>
                    <a:lnTo>
                      <a:pt x="2096585" y="403236"/>
                    </a:lnTo>
                    <a:lnTo>
                      <a:pt x="2056625" y="366469"/>
                    </a:lnTo>
                    <a:lnTo>
                      <a:pt x="2002476" y="305748"/>
                    </a:lnTo>
                    <a:lnTo>
                      <a:pt x="2020453" y="257057"/>
                    </a:lnTo>
                    <a:lnTo>
                      <a:pt x="2036223" y="180121"/>
                    </a:lnTo>
                    <a:lnTo>
                      <a:pt x="2074484" y="136361"/>
                    </a:lnTo>
                    <a:lnTo>
                      <a:pt x="2068906" y="104949"/>
                    </a:lnTo>
                    <a:lnTo>
                      <a:pt x="1988238" y="32008"/>
                    </a:lnTo>
                    <a:lnTo>
                      <a:pt x="1970940" y="15537"/>
                    </a:lnTo>
                    <a:lnTo>
                      <a:pt x="1901270" y="16281"/>
                    </a:lnTo>
                    <a:lnTo>
                      <a:pt x="1867603" y="249109"/>
                    </a:lnTo>
                    <a:lnTo>
                      <a:pt x="1692092" y="72665"/>
                    </a:lnTo>
                    <a:lnTo>
                      <a:pt x="1667005" y="88070"/>
                    </a:lnTo>
                    <a:lnTo>
                      <a:pt x="1647973" y="109570"/>
                    </a:lnTo>
                    <a:lnTo>
                      <a:pt x="1632684" y="147606"/>
                    </a:lnTo>
                    <a:lnTo>
                      <a:pt x="1624859" y="177640"/>
                    </a:lnTo>
                    <a:lnTo>
                      <a:pt x="1617281" y="208685"/>
                    </a:lnTo>
                    <a:lnTo>
                      <a:pt x="1609703" y="239731"/>
                    </a:lnTo>
                    <a:lnTo>
                      <a:pt x="1602448" y="272362"/>
                    </a:lnTo>
                    <a:lnTo>
                      <a:pt x="1595518" y="301179"/>
                    </a:lnTo>
                    <a:lnTo>
                      <a:pt x="1588585" y="329995"/>
                    </a:lnTo>
                    <a:lnTo>
                      <a:pt x="1582253" y="355342"/>
                    </a:lnTo>
                    <a:lnTo>
                      <a:pt x="1573755" y="374629"/>
                    </a:lnTo>
                    <a:lnTo>
                      <a:pt x="1561771" y="401832"/>
                    </a:lnTo>
                    <a:lnTo>
                      <a:pt x="1535583" y="428528"/>
                    </a:lnTo>
                    <a:lnTo>
                      <a:pt x="1520704" y="454881"/>
                    </a:lnTo>
                    <a:lnTo>
                      <a:pt x="1504218" y="484040"/>
                    </a:lnTo>
                    <a:lnTo>
                      <a:pt x="1490532" y="517195"/>
                    </a:lnTo>
                    <a:lnTo>
                      <a:pt x="1475820" y="547375"/>
                    </a:lnTo>
                    <a:lnTo>
                      <a:pt x="1465836" y="567884"/>
                    </a:lnTo>
                    <a:lnTo>
                      <a:pt x="1471073" y="590383"/>
                    </a:lnTo>
                    <a:lnTo>
                      <a:pt x="1477178" y="614024"/>
                    </a:lnTo>
                    <a:lnTo>
                      <a:pt x="1483292" y="637666"/>
                    </a:lnTo>
                    <a:lnTo>
                      <a:pt x="1490439" y="661195"/>
                    </a:lnTo>
                    <a:lnTo>
                      <a:pt x="1486700" y="683395"/>
                    </a:lnTo>
                    <a:lnTo>
                      <a:pt x="1465321" y="722670"/>
                    </a:lnTo>
                    <a:lnTo>
                      <a:pt x="1402860" y="757228"/>
                    </a:lnTo>
                    <a:lnTo>
                      <a:pt x="1371060" y="774932"/>
                    </a:lnTo>
                    <a:lnTo>
                      <a:pt x="1352047" y="800372"/>
                    </a:lnTo>
                    <a:lnTo>
                      <a:pt x="1333025" y="825811"/>
                    </a:lnTo>
                    <a:lnTo>
                      <a:pt x="1326756" y="858477"/>
                    </a:lnTo>
                    <a:lnTo>
                      <a:pt x="1330275" y="915988"/>
                    </a:lnTo>
                    <a:lnTo>
                      <a:pt x="1331683" y="938453"/>
                    </a:lnTo>
                    <a:lnTo>
                      <a:pt x="1326201" y="963489"/>
                    </a:lnTo>
                    <a:lnTo>
                      <a:pt x="1330275" y="985359"/>
                    </a:lnTo>
                    <a:lnTo>
                      <a:pt x="1336079" y="1016473"/>
                    </a:lnTo>
                    <a:lnTo>
                      <a:pt x="1346488" y="1040601"/>
                    </a:lnTo>
                    <a:lnTo>
                      <a:pt x="1352047" y="1065611"/>
                    </a:lnTo>
                    <a:lnTo>
                      <a:pt x="1357601" y="1090620"/>
                    </a:lnTo>
                    <a:lnTo>
                      <a:pt x="1359163" y="1116384"/>
                    </a:lnTo>
                    <a:lnTo>
                      <a:pt x="1350680" y="1149943"/>
                    </a:lnTo>
                    <a:lnTo>
                      <a:pt x="1389552" y="1155118"/>
                    </a:lnTo>
                    <a:lnTo>
                      <a:pt x="1421575" y="1162583"/>
                    </a:lnTo>
                    <a:lnTo>
                      <a:pt x="1452699" y="1168985"/>
                    </a:lnTo>
                    <a:lnTo>
                      <a:pt x="1483819" y="1175388"/>
                    </a:lnTo>
                    <a:lnTo>
                      <a:pt x="1513693" y="1181047"/>
                    </a:lnTo>
                    <a:lnTo>
                      <a:pt x="1539751" y="1194829"/>
                    </a:lnTo>
                    <a:lnTo>
                      <a:pt x="1558875" y="1212384"/>
                    </a:lnTo>
                    <a:lnTo>
                      <a:pt x="1633602" y="1279162"/>
                    </a:lnTo>
                    <a:lnTo>
                      <a:pt x="1656686" y="1304622"/>
                    </a:lnTo>
                    <a:lnTo>
                      <a:pt x="1672329" y="1340052"/>
                    </a:lnTo>
                    <a:lnTo>
                      <a:pt x="1694817" y="1366214"/>
                    </a:lnTo>
                    <a:lnTo>
                      <a:pt x="1708757" y="1382431"/>
                    </a:lnTo>
                    <a:lnTo>
                      <a:pt x="1738852" y="1393567"/>
                    </a:lnTo>
                    <a:lnTo>
                      <a:pt x="1747859" y="1413821"/>
                    </a:lnTo>
                    <a:lnTo>
                      <a:pt x="1757852" y="1436350"/>
                    </a:lnTo>
                    <a:lnTo>
                      <a:pt x="1776421" y="1477751"/>
                    </a:lnTo>
                    <a:lnTo>
                      <a:pt x="1794445" y="1490014"/>
                    </a:lnTo>
                    <a:lnTo>
                      <a:pt x="1905558" y="1489121"/>
                    </a:lnTo>
                    <a:lnTo>
                      <a:pt x="1931488" y="1489993"/>
                    </a:lnTo>
                    <a:lnTo>
                      <a:pt x="1935398" y="1521776"/>
                    </a:lnTo>
                    <a:lnTo>
                      <a:pt x="1931950" y="1550219"/>
                    </a:lnTo>
                    <a:lnTo>
                      <a:pt x="1926046" y="1578405"/>
                    </a:lnTo>
                    <a:lnTo>
                      <a:pt x="1920146" y="1606592"/>
                    </a:lnTo>
                    <a:lnTo>
                      <a:pt x="1911235" y="1634800"/>
                    </a:lnTo>
                    <a:lnTo>
                      <a:pt x="1905641" y="1665458"/>
                    </a:lnTo>
                    <a:lnTo>
                      <a:pt x="1878694" y="1685255"/>
                    </a:lnTo>
                    <a:lnTo>
                      <a:pt x="1827643" y="1698807"/>
                    </a:lnTo>
                    <a:lnTo>
                      <a:pt x="1773705" y="1706264"/>
                    </a:lnTo>
                    <a:lnTo>
                      <a:pt x="1719771" y="1713722"/>
                    </a:lnTo>
                    <a:lnTo>
                      <a:pt x="1662872" y="1714829"/>
                    </a:lnTo>
                    <a:lnTo>
                      <a:pt x="1628161" y="1708984"/>
                    </a:lnTo>
                    <a:lnTo>
                      <a:pt x="1613073" y="1674108"/>
                    </a:lnTo>
                    <a:lnTo>
                      <a:pt x="1603337" y="1646820"/>
                    </a:lnTo>
                    <a:lnTo>
                      <a:pt x="1590076" y="1630093"/>
                    </a:lnTo>
                    <a:lnTo>
                      <a:pt x="1550336" y="1642632"/>
                    </a:lnTo>
                    <a:lnTo>
                      <a:pt x="1521963" y="1670750"/>
                    </a:lnTo>
                    <a:lnTo>
                      <a:pt x="1524871" y="1721492"/>
                    </a:lnTo>
                    <a:lnTo>
                      <a:pt x="1528868" y="1776994"/>
                    </a:lnTo>
                    <a:lnTo>
                      <a:pt x="1532864" y="1832497"/>
                    </a:lnTo>
                    <a:lnTo>
                      <a:pt x="1537608" y="1892463"/>
                    </a:lnTo>
                    <a:lnTo>
                      <a:pt x="1528868" y="1933418"/>
                    </a:lnTo>
                    <a:lnTo>
                      <a:pt x="1512633" y="1955967"/>
                    </a:lnTo>
                    <a:lnTo>
                      <a:pt x="1482415" y="1976773"/>
                    </a:lnTo>
                    <a:lnTo>
                      <a:pt x="1458137" y="1989185"/>
                    </a:lnTo>
                    <a:lnTo>
                      <a:pt x="1470635" y="2015837"/>
                    </a:lnTo>
                    <a:lnTo>
                      <a:pt x="1503787" y="2071945"/>
                    </a:lnTo>
                    <a:lnTo>
                      <a:pt x="1526520" y="2100039"/>
                    </a:lnTo>
                    <a:lnTo>
                      <a:pt x="1541109" y="2129286"/>
                    </a:lnTo>
                    <a:lnTo>
                      <a:pt x="1555703" y="2158533"/>
                    </a:lnTo>
                    <a:lnTo>
                      <a:pt x="1561638" y="2188869"/>
                    </a:lnTo>
                    <a:lnTo>
                      <a:pt x="1551992" y="2234021"/>
                    </a:lnTo>
                    <a:lnTo>
                      <a:pt x="1527215" y="2253278"/>
                    </a:lnTo>
                    <a:lnTo>
                      <a:pt x="1440346" y="2250471"/>
                    </a:lnTo>
                    <a:lnTo>
                      <a:pt x="1419057" y="2252296"/>
                    </a:lnTo>
                    <a:lnTo>
                      <a:pt x="1385686" y="2267434"/>
                    </a:lnTo>
                    <a:lnTo>
                      <a:pt x="1313954" y="2303392"/>
                    </a:lnTo>
                    <a:lnTo>
                      <a:pt x="1272855" y="2318353"/>
                    </a:lnTo>
                    <a:lnTo>
                      <a:pt x="1229118" y="2330659"/>
                    </a:lnTo>
                    <a:lnTo>
                      <a:pt x="1187456" y="2344197"/>
                    </a:lnTo>
                    <a:lnTo>
                      <a:pt x="1165693" y="2372762"/>
                    </a:lnTo>
                    <a:lnTo>
                      <a:pt x="1141301" y="2385088"/>
                    </a:lnTo>
                    <a:lnTo>
                      <a:pt x="1092584" y="2370253"/>
                    </a:lnTo>
                    <a:lnTo>
                      <a:pt x="1059603" y="2379563"/>
                    </a:lnTo>
                    <a:lnTo>
                      <a:pt x="1040767" y="2424917"/>
                    </a:lnTo>
                    <a:lnTo>
                      <a:pt x="1031289" y="2449167"/>
                    </a:lnTo>
                    <a:lnTo>
                      <a:pt x="992339" y="2443986"/>
                    </a:lnTo>
                    <a:lnTo>
                      <a:pt x="946705" y="2439412"/>
                    </a:lnTo>
                    <a:lnTo>
                      <a:pt x="901067" y="2434837"/>
                    </a:lnTo>
                    <a:lnTo>
                      <a:pt x="849390" y="2430783"/>
                    </a:lnTo>
                    <a:lnTo>
                      <a:pt x="817485" y="2442132"/>
                    </a:lnTo>
                    <a:lnTo>
                      <a:pt x="793511" y="2486423"/>
                    </a:lnTo>
                    <a:lnTo>
                      <a:pt x="793167" y="2513861"/>
                    </a:lnTo>
                    <a:lnTo>
                      <a:pt x="805368" y="2535199"/>
                    </a:lnTo>
                    <a:lnTo>
                      <a:pt x="809324" y="2565910"/>
                    </a:lnTo>
                    <a:lnTo>
                      <a:pt x="774511" y="2585229"/>
                    </a:lnTo>
                    <a:lnTo>
                      <a:pt x="736432" y="2577876"/>
                    </a:lnTo>
                    <a:lnTo>
                      <a:pt x="701873" y="2599915"/>
                    </a:lnTo>
                    <a:lnTo>
                      <a:pt x="683422" y="2611690"/>
                    </a:lnTo>
                    <a:lnTo>
                      <a:pt x="678371" y="2635347"/>
                    </a:lnTo>
                    <a:lnTo>
                      <a:pt x="674672" y="2661124"/>
                    </a:lnTo>
                    <a:lnTo>
                      <a:pt x="670963" y="2686901"/>
                    </a:lnTo>
                    <a:lnTo>
                      <a:pt x="668486" y="2715117"/>
                    </a:lnTo>
                    <a:lnTo>
                      <a:pt x="656983" y="2734574"/>
                    </a:lnTo>
                    <a:lnTo>
                      <a:pt x="639303" y="2764521"/>
                    </a:lnTo>
                    <a:lnTo>
                      <a:pt x="615922" y="2768431"/>
                    </a:lnTo>
                    <a:lnTo>
                      <a:pt x="590336" y="2787622"/>
                    </a:lnTo>
                    <a:lnTo>
                      <a:pt x="555950" y="2813402"/>
                    </a:lnTo>
                    <a:lnTo>
                      <a:pt x="530829" y="2849405"/>
                    </a:lnTo>
                    <a:lnTo>
                      <a:pt x="504642" y="2882836"/>
                    </a:lnTo>
                    <a:lnTo>
                      <a:pt x="481446" y="2912436"/>
                    </a:lnTo>
                    <a:lnTo>
                      <a:pt x="467063" y="2941317"/>
                    </a:lnTo>
                    <a:lnTo>
                      <a:pt x="458396" y="2969889"/>
                    </a:lnTo>
                    <a:lnTo>
                      <a:pt x="449730" y="2998461"/>
                    </a:lnTo>
                    <a:lnTo>
                      <a:pt x="446189" y="3026752"/>
                    </a:lnTo>
                    <a:lnTo>
                      <a:pt x="447517" y="3055582"/>
                    </a:lnTo>
                    <a:lnTo>
                      <a:pt x="450168" y="3113241"/>
                    </a:lnTo>
                    <a:lnTo>
                      <a:pt x="468895" y="3172803"/>
                    </a:lnTo>
                    <a:lnTo>
                      <a:pt x="484243" y="3239208"/>
                    </a:lnTo>
                    <a:lnTo>
                      <a:pt x="493331" y="3278489"/>
                    </a:lnTo>
                    <a:lnTo>
                      <a:pt x="502753" y="3308756"/>
                    </a:lnTo>
                    <a:lnTo>
                      <a:pt x="514170" y="3333062"/>
                    </a:lnTo>
                    <a:lnTo>
                      <a:pt x="525574" y="3357369"/>
                    </a:lnTo>
                    <a:lnTo>
                      <a:pt x="539192" y="3375092"/>
                    </a:lnTo>
                    <a:lnTo>
                      <a:pt x="554974" y="3391551"/>
                    </a:lnTo>
                    <a:lnTo>
                      <a:pt x="586528" y="3424469"/>
                    </a:lnTo>
                    <a:lnTo>
                      <a:pt x="628343" y="3449274"/>
                    </a:lnTo>
                    <a:lnTo>
                      <a:pt x="689629" y="3493566"/>
                    </a:lnTo>
                    <a:lnTo>
                      <a:pt x="721084" y="3516285"/>
                    </a:lnTo>
                    <a:lnTo>
                      <a:pt x="752707" y="3538835"/>
                    </a:lnTo>
                    <a:lnTo>
                      <a:pt x="776681" y="3569736"/>
                    </a:lnTo>
                    <a:lnTo>
                      <a:pt x="781177" y="3594589"/>
                    </a:lnTo>
                    <a:lnTo>
                      <a:pt x="774907" y="3618336"/>
                    </a:lnTo>
                    <a:lnTo>
                      <a:pt x="760366" y="3640467"/>
                    </a:lnTo>
                    <a:lnTo>
                      <a:pt x="744708" y="3661938"/>
                    </a:lnTo>
                    <a:lnTo>
                      <a:pt x="723335" y="3680540"/>
                    </a:lnTo>
                    <a:lnTo>
                      <a:pt x="708673" y="3697596"/>
                    </a:lnTo>
                    <a:lnTo>
                      <a:pt x="691502" y="3710369"/>
                    </a:lnTo>
                    <a:lnTo>
                      <a:pt x="688051" y="3732046"/>
                    </a:lnTo>
                    <a:lnTo>
                      <a:pt x="688271" y="3769686"/>
                    </a:lnTo>
                    <a:lnTo>
                      <a:pt x="694686" y="3807070"/>
                    </a:lnTo>
                    <a:lnTo>
                      <a:pt x="719900" y="3819232"/>
                    </a:lnTo>
                    <a:lnTo>
                      <a:pt x="753854" y="3819102"/>
                    </a:lnTo>
                    <a:lnTo>
                      <a:pt x="783657" y="3848833"/>
                    </a:lnTo>
                    <a:lnTo>
                      <a:pt x="786435" y="3901304"/>
                    </a:lnTo>
                    <a:lnTo>
                      <a:pt x="786209" y="3954673"/>
                    </a:lnTo>
                    <a:lnTo>
                      <a:pt x="786004" y="4008042"/>
                    </a:lnTo>
                    <a:lnTo>
                      <a:pt x="783288" y="4062246"/>
                    </a:lnTo>
                    <a:lnTo>
                      <a:pt x="788928" y="4097494"/>
                    </a:lnTo>
                    <a:lnTo>
                      <a:pt x="812424" y="4106081"/>
                    </a:lnTo>
                    <a:lnTo>
                      <a:pt x="837207" y="4120256"/>
                    </a:lnTo>
                    <a:lnTo>
                      <a:pt x="856933" y="4135579"/>
                    </a:lnTo>
                    <a:lnTo>
                      <a:pt x="869432" y="4170052"/>
                    </a:lnTo>
                    <a:lnTo>
                      <a:pt x="832361" y="4199870"/>
                    </a:lnTo>
                    <a:lnTo>
                      <a:pt x="777062" y="4200933"/>
                    </a:lnTo>
                    <a:lnTo>
                      <a:pt x="745393" y="4226713"/>
                    </a:lnTo>
                    <a:lnTo>
                      <a:pt x="737573" y="4265075"/>
                    </a:lnTo>
                    <a:lnTo>
                      <a:pt x="752623" y="4320523"/>
                    </a:lnTo>
                    <a:lnTo>
                      <a:pt x="758998" y="4358652"/>
                    </a:lnTo>
                    <a:lnTo>
                      <a:pt x="840308" y="4426917"/>
                    </a:lnTo>
                    <a:lnTo>
                      <a:pt x="855575" y="4441624"/>
                    </a:lnTo>
                    <a:lnTo>
                      <a:pt x="874061" y="4475077"/>
                    </a:lnTo>
                    <a:lnTo>
                      <a:pt x="888510" y="4494906"/>
                    </a:lnTo>
                    <a:lnTo>
                      <a:pt x="821143" y="4571629"/>
                    </a:lnTo>
                    <a:lnTo>
                      <a:pt x="753513" y="4564063"/>
                    </a:lnTo>
                    <a:lnTo>
                      <a:pt x="704676" y="4527062"/>
                    </a:lnTo>
                    <a:lnTo>
                      <a:pt x="647461" y="4506914"/>
                    </a:lnTo>
                    <a:lnTo>
                      <a:pt x="650354" y="4531311"/>
                    </a:lnTo>
                    <a:lnTo>
                      <a:pt x="664403" y="4566271"/>
                    </a:lnTo>
                    <a:lnTo>
                      <a:pt x="676030" y="4602128"/>
                    </a:lnTo>
                    <a:lnTo>
                      <a:pt x="687663" y="4637984"/>
                    </a:lnTo>
                    <a:lnTo>
                      <a:pt x="696580" y="4675079"/>
                    </a:lnTo>
                    <a:lnTo>
                      <a:pt x="680836" y="4714238"/>
                    </a:lnTo>
                    <a:lnTo>
                      <a:pt x="625577" y="4739380"/>
                    </a:lnTo>
                    <a:lnTo>
                      <a:pt x="602583" y="4747669"/>
                    </a:lnTo>
                    <a:lnTo>
                      <a:pt x="590336" y="4765351"/>
                    </a:lnTo>
                    <a:lnTo>
                      <a:pt x="593601" y="4792784"/>
                    </a:lnTo>
                    <a:lnTo>
                      <a:pt x="597141" y="4817039"/>
                    </a:lnTo>
                    <a:lnTo>
                      <a:pt x="600676" y="4841294"/>
                    </a:lnTo>
                    <a:lnTo>
                      <a:pt x="602158" y="4872043"/>
                    </a:lnTo>
                    <a:lnTo>
                      <a:pt x="595783" y="4905452"/>
                    </a:lnTo>
                    <a:lnTo>
                      <a:pt x="631356" y="4926705"/>
                    </a:lnTo>
                    <a:lnTo>
                      <a:pt x="664040" y="4949489"/>
                    </a:lnTo>
                    <a:lnTo>
                      <a:pt x="685552" y="4969381"/>
                    </a:lnTo>
                    <a:lnTo>
                      <a:pt x="685750" y="5003790"/>
                    </a:lnTo>
                    <a:lnTo>
                      <a:pt x="661060" y="5026510"/>
                    </a:lnTo>
                    <a:lnTo>
                      <a:pt x="638531" y="5049612"/>
                    </a:lnTo>
                    <a:lnTo>
                      <a:pt x="637099" y="5095125"/>
                    </a:lnTo>
                    <a:lnTo>
                      <a:pt x="647169" y="5116070"/>
                    </a:lnTo>
                    <a:lnTo>
                      <a:pt x="655619" y="5138046"/>
                    </a:lnTo>
                    <a:lnTo>
                      <a:pt x="664065" y="5160021"/>
                    </a:lnTo>
                    <a:lnTo>
                      <a:pt x="669686" y="5182369"/>
                    </a:lnTo>
                    <a:lnTo>
                      <a:pt x="659693" y="5214217"/>
                    </a:lnTo>
                    <a:lnTo>
                      <a:pt x="638209" y="5233738"/>
                    </a:lnTo>
                    <a:lnTo>
                      <a:pt x="615237" y="5246549"/>
                    </a:lnTo>
                    <a:lnTo>
                      <a:pt x="590323" y="5255023"/>
                    </a:lnTo>
                    <a:lnTo>
                      <a:pt x="565407" y="5263498"/>
                    </a:lnTo>
                    <a:lnTo>
                      <a:pt x="539192" y="5267382"/>
                    </a:lnTo>
                    <a:lnTo>
                      <a:pt x="511435" y="5271345"/>
                    </a:lnTo>
                    <a:lnTo>
                      <a:pt x="472774" y="5276866"/>
                    </a:lnTo>
                    <a:lnTo>
                      <a:pt x="446791" y="5275333"/>
                    </a:lnTo>
                    <a:lnTo>
                      <a:pt x="410130" y="5259200"/>
                    </a:lnTo>
                    <a:lnTo>
                      <a:pt x="391737" y="5229182"/>
                    </a:lnTo>
                    <a:lnTo>
                      <a:pt x="376600" y="5196917"/>
                    </a:lnTo>
                    <a:lnTo>
                      <a:pt x="373645" y="5154477"/>
                    </a:lnTo>
                    <a:lnTo>
                      <a:pt x="344127" y="5123086"/>
                    </a:lnTo>
                    <a:lnTo>
                      <a:pt x="294013" y="5110655"/>
                    </a:lnTo>
                    <a:lnTo>
                      <a:pt x="262858" y="5128473"/>
                    </a:lnTo>
                    <a:lnTo>
                      <a:pt x="249339" y="5149729"/>
                    </a:lnTo>
                    <a:lnTo>
                      <a:pt x="239393" y="5172053"/>
                    </a:lnTo>
                    <a:lnTo>
                      <a:pt x="229443" y="5194377"/>
                    </a:lnTo>
                    <a:lnTo>
                      <a:pt x="222984" y="5218300"/>
                    </a:lnTo>
                    <a:lnTo>
                      <a:pt x="223071" y="5241424"/>
                    </a:lnTo>
                    <a:lnTo>
                      <a:pt x="234401" y="5268138"/>
                    </a:lnTo>
                    <a:lnTo>
                      <a:pt x="253131" y="5287242"/>
                    </a:lnTo>
                    <a:lnTo>
                      <a:pt x="267955" y="5308073"/>
                    </a:lnTo>
                    <a:lnTo>
                      <a:pt x="282789" y="5328904"/>
                    </a:lnTo>
                    <a:lnTo>
                      <a:pt x="293631" y="5351185"/>
                    </a:lnTo>
                    <a:lnTo>
                      <a:pt x="291080" y="5384244"/>
                    </a:lnTo>
                    <a:lnTo>
                      <a:pt x="310672" y="5405157"/>
                    </a:lnTo>
                    <a:lnTo>
                      <a:pt x="336134" y="5403903"/>
                    </a:lnTo>
                    <a:lnTo>
                      <a:pt x="386888" y="5395083"/>
                    </a:lnTo>
                    <a:lnTo>
                      <a:pt x="416895" y="5418996"/>
                    </a:lnTo>
                    <a:lnTo>
                      <a:pt x="428457" y="5448176"/>
                    </a:lnTo>
                    <a:lnTo>
                      <a:pt x="430026" y="5477490"/>
                    </a:lnTo>
                    <a:lnTo>
                      <a:pt x="417180" y="5520126"/>
                    </a:lnTo>
                    <a:lnTo>
                      <a:pt x="397941" y="5547311"/>
                    </a:lnTo>
                    <a:lnTo>
                      <a:pt x="386302" y="5577394"/>
                    </a:lnTo>
                    <a:lnTo>
                      <a:pt x="389018" y="5600518"/>
                    </a:lnTo>
                    <a:lnTo>
                      <a:pt x="400878" y="5619412"/>
                    </a:lnTo>
                    <a:lnTo>
                      <a:pt x="424690" y="5631511"/>
                    </a:lnTo>
                    <a:lnTo>
                      <a:pt x="446143" y="5645404"/>
                    </a:lnTo>
                    <a:lnTo>
                      <a:pt x="467590" y="5659299"/>
                    </a:lnTo>
                    <a:lnTo>
                      <a:pt x="487269" y="5675095"/>
                    </a:lnTo>
                    <a:lnTo>
                      <a:pt x="493746" y="5698453"/>
                    </a:lnTo>
                    <a:lnTo>
                      <a:pt x="446143" y="5754518"/>
                    </a:lnTo>
                    <a:lnTo>
                      <a:pt x="439191" y="5790277"/>
                    </a:lnTo>
                    <a:lnTo>
                      <a:pt x="450022" y="5810390"/>
                    </a:lnTo>
                    <a:lnTo>
                      <a:pt x="461100" y="5830391"/>
                    </a:lnTo>
                    <a:lnTo>
                      <a:pt x="472188" y="5850394"/>
                    </a:lnTo>
                    <a:lnTo>
                      <a:pt x="483483" y="5870475"/>
                    </a:lnTo>
                    <a:lnTo>
                      <a:pt x="475980" y="5903433"/>
                    </a:lnTo>
                    <a:lnTo>
                      <a:pt x="447504" y="5922886"/>
                    </a:lnTo>
                    <a:lnTo>
                      <a:pt x="413903" y="5937889"/>
                    </a:lnTo>
                    <a:lnTo>
                      <a:pt x="377722" y="5951408"/>
                    </a:lnTo>
                    <a:lnTo>
                      <a:pt x="346844" y="5967772"/>
                    </a:lnTo>
                    <a:lnTo>
                      <a:pt x="322535" y="5987154"/>
                    </a:lnTo>
                    <a:lnTo>
                      <a:pt x="334863" y="6028407"/>
                    </a:lnTo>
                    <a:lnTo>
                      <a:pt x="346251" y="6127171"/>
                    </a:lnTo>
                    <a:lnTo>
                      <a:pt x="335970" y="6158200"/>
                    </a:lnTo>
                    <a:lnTo>
                      <a:pt x="306716" y="6185827"/>
                    </a:lnTo>
                    <a:lnTo>
                      <a:pt x="282919" y="6194925"/>
                    </a:lnTo>
                    <a:lnTo>
                      <a:pt x="259125" y="6204023"/>
                    </a:lnTo>
                    <a:lnTo>
                      <a:pt x="230063" y="6210758"/>
                    </a:lnTo>
                    <a:lnTo>
                      <a:pt x="202666" y="6216688"/>
                    </a:lnTo>
                    <a:lnTo>
                      <a:pt x="175273" y="6222618"/>
                    </a:lnTo>
                    <a:lnTo>
                      <a:pt x="149029" y="6227733"/>
                    </a:lnTo>
                    <a:lnTo>
                      <a:pt x="127855" y="6234371"/>
                    </a:lnTo>
                    <a:lnTo>
                      <a:pt x="106685" y="6241009"/>
                    </a:lnTo>
                    <a:lnTo>
                      <a:pt x="85687" y="6260215"/>
                    </a:lnTo>
                    <a:lnTo>
                      <a:pt x="104942" y="6277163"/>
                    </a:lnTo>
                    <a:lnTo>
                      <a:pt x="109553" y="6300311"/>
                    </a:lnTo>
                    <a:lnTo>
                      <a:pt x="106092" y="6324145"/>
                    </a:lnTo>
                    <a:lnTo>
                      <a:pt x="102629" y="6347973"/>
                    </a:lnTo>
                    <a:lnTo>
                      <a:pt x="91873" y="6371741"/>
                    </a:lnTo>
                    <a:lnTo>
                      <a:pt x="125136" y="6438402"/>
                    </a:lnTo>
                    <a:lnTo>
                      <a:pt x="133678" y="6467519"/>
                    </a:lnTo>
                    <a:lnTo>
                      <a:pt x="113999" y="6515701"/>
                    </a:lnTo>
                    <a:lnTo>
                      <a:pt x="79737" y="6549513"/>
                    </a:lnTo>
                    <a:lnTo>
                      <a:pt x="57125" y="6586662"/>
                    </a:lnTo>
                    <a:lnTo>
                      <a:pt x="36897" y="6619841"/>
                    </a:lnTo>
                    <a:lnTo>
                      <a:pt x="19037" y="6654781"/>
                    </a:lnTo>
                    <a:lnTo>
                      <a:pt x="0" y="6688679"/>
                    </a:lnTo>
                    <a:lnTo>
                      <a:pt x="59723" y="6707844"/>
                    </a:lnTo>
                    <a:lnTo>
                      <a:pt x="117363" y="6719596"/>
                    </a:lnTo>
                    <a:lnTo>
                      <a:pt x="167304" y="6738998"/>
                    </a:lnTo>
                    <a:lnTo>
                      <a:pt x="190559" y="6748033"/>
                    </a:lnTo>
                    <a:lnTo>
                      <a:pt x="222070" y="6765720"/>
                    </a:lnTo>
                    <a:lnTo>
                      <a:pt x="254356" y="6781166"/>
                    </a:lnTo>
                    <a:lnTo>
                      <a:pt x="286652" y="6796617"/>
                    </a:lnTo>
                    <a:lnTo>
                      <a:pt x="319391" y="6809016"/>
                    </a:lnTo>
                    <a:lnTo>
                      <a:pt x="344127" y="6809728"/>
                    </a:lnTo>
                    <a:lnTo>
                      <a:pt x="417152" y="6778105"/>
                    </a:lnTo>
                    <a:lnTo>
                      <a:pt x="447510" y="6796129"/>
                    </a:lnTo>
                    <a:lnTo>
                      <a:pt x="470715" y="6843395"/>
                    </a:lnTo>
                    <a:lnTo>
                      <a:pt x="459748" y="6864136"/>
                    </a:lnTo>
                    <a:lnTo>
                      <a:pt x="431834" y="6883439"/>
                    </a:lnTo>
                    <a:lnTo>
                      <a:pt x="412142" y="6891340"/>
                    </a:lnTo>
                    <a:lnTo>
                      <a:pt x="392447" y="6899247"/>
                    </a:lnTo>
                    <a:lnTo>
                      <a:pt x="369980" y="6918544"/>
                    </a:lnTo>
                    <a:lnTo>
                      <a:pt x="368613" y="6940307"/>
                    </a:lnTo>
                    <a:lnTo>
                      <a:pt x="400757" y="6972741"/>
                    </a:lnTo>
                    <a:lnTo>
                      <a:pt x="432544" y="6989275"/>
                    </a:lnTo>
                    <a:lnTo>
                      <a:pt x="464334" y="7005815"/>
                    </a:lnTo>
                    <a:lnTo>
                      <a:pt x="504034" y="7021945"/>
                    </a:lnTo>
                    <a:lnTo>
                      <a:pt x="544084" y="7035524"/>
                    </a:lnTo>
                    <a:lnTo>
                      <a:pt x="624172" y="7062682"/>
                    </a:lnTo>
                    <a:lnTo>
                      <a:pt x="706353" y="7078668"/>
                    </a:lnTo>
                    <a:lnTo>
                      <a:pt x="727707" y="7068169"/>
                    </a:lnTo>
                    <a:lnTo>
                      <a:pt x="762338" y="7020303"/>
                    </a:lnTo>
                    <a:lnTo>
                      <a:pt x="782116" y="6978393"/>
                    </a:lnTo>
                    <a:lnTo>
                      <a:pt x="801898" y="6936489"/>
                    </a:lnTo>
                    <a:lnTo>
                      <a:pt x="821224" y="6892679"/>
                    </a:lnTo>
                    <a:lnTo>
                      <a:pt x="863516" y="6881032"/>
                    </a:lnTo>
                    <a:lnTo>
                      <a:pt x="935605" y="6915609"/>
                    </a:lnTo>
                    <a:lnTo>
                      <a:pt x="967100" y="6929425"/>
                    </a:lnTo>
                    <a:lnTo>
                      <a:pt x="871680" y="7102278"/>
                    </a:lnTo>
                    <a:lnTo>
                      <a:pt x="852211" y="7123692"/>
                    </a:lnTo>
                    <a:lnTo>
                      <a:pt x="823180" y="7145606"/>
                    </a:lnTo>
                    <a:lnTo>
                      <a:pt x="799802" y="7170186"/>
                    </a:lnTo>
                    <a:lnTo>
                      <a:pt x="778330" y="7195688"/>
                    </a:lnTo>
                    <a:lnTo>
                      <a:pt x="764151" y="7223571"/>
                    </a:lnTo>
                    <a:lnTo>
                      <a:pt x="761717" y="7254515"/>
                    </a:lnTo>
                    <a:lnTo>
                      <a:pt x="789474" y="7294743"/>
                    </a:lnTo>
                    <a:lnTo>
                      <a:pt x="820207" y="7319804"/>
                    </a:lnTo>
                    <a:lnTo>
                      <a:pt x="850924" y="7344864"/>
                    </a:lnTo>
                    <a:lnTo>
                      <a:pt x="884110" y="7368548"/>
                    </a:lnTo>
                    <a:lnTo>
                      <a:pt x="883750" y="7398079"/>
                    </a:lnTo>
                    <a:lnTo>
                      <a:pt x="865172" y="7429814"/>
                    </a:lnTo>
                    <a:lnTo>
                      <a:pt x="859643" y="7453107"/>
                    </a:lnTo>
                    <a:lnTo>
                      <a:pt x="853321" y="7479671"/>
                    </a:lnTo>
                    <a:lnTo>
                      <a:pt x="863550" y="7549531"/>
                    </a:lnTo>
                    <a:lnTo>
                      <a:pt x="867810" y="7617690"/>
                    </a:lnTo>
                    <a:lnTo>
                      <a:pt x="869940" y="7651765"/>
                    </a:lnTo>
                    <a:lnTo>
                      <a:pt x="870480" y="7685689"/>
                    </a:lnTo>
                    <a:lnTo>
                      <a:pt x="866449" y="7712900"/>
                    </a:lnTo>
                    <a:lnTo>
                      <a:pt x="862415" y="7740117"/>
                    </a:lnTo>
                    <a:lnTo>
                      <a:pt x="853966" y="7761195"/>
                    </a:lnTo>
                    <a:lnTo>
                      <a:pt x="823391" y="7775901"/>
                    </a:lnTo>
                    <a:lnTo>
                      <a:pt x="787859" y="7767460"/>
                    </a:lnTo>
                    <a:lnTo>
                      <a:pt x="731242" y="7842589"/>
                    </a:lnTo>
                    <a:lnTo>
                      <a:pt x="723630" y="7876123"/>
                    </a:lnTo>
                    <a:lnTo>
                      <a:pt x="716613" y="7906922"/>
                    </a:lnTo>
                    <a:lnTo>
                      <a:pt x="722436" y="7948707"/>
                    </a:lnTo>
                    <a:lnTo>
                      <a:pt x="711392" y="7976782"/>
                    </a:lnTo>
                    <a:lnTo>
                      <a:pt x="659693" y="8108719"/>
                    </a:lnTo>
                    <a:lnTo>
                      <a:pt x="649259" y="8135284"/>
                    </a:lnTo>
                    <a:lnTo>
                      <a:pt x="647566" y="8187601"/>
                    </a:lnTo>
                    <a:lnTo>
                      <a:pt x="648813" y="8240657"/>
                    </a:lnTo>
                    <a:lnTo>
                      <a:pt x="650065" y="8293714"/>
                    </a:lnTo>
                    <a:lnTo>
                      <a:pt x="654260" y="8346895"/>
                    </a:lnTo>
                    <a:lnTo>
                      <a:pt x="659693" y="8375319"/>
                    </a:lnTo>
                    <a:lnTo>
                      <a:pt x="676148" y="8390949"/>
                    </a:lnTo>
                    <a:lnTo>
                      <a:pt x="688395" y="8408880"/>
                    </a:lnTo>
                    <a:lnTo>
                      <a:pt x="701861" y="8425644"/>
                    </a:lnTo>
                    <a:lnTo>
                      <a:pt x="715330" y="8442408"/>
                    </a:lnTo>
                    <a:lnTo>
                      <a:pt x="731003" y="8458454"/>
                    </a:lnTo>
                    <a:lnTo>
                      <a:pt x="752186" y="8469170"/>
                    </a:lnTo>
                    <a:lnTo>
                      <a:pt x="784916" y="8468089"/>
                    </a:lnTo>
                    <a:lnTo>
                      <a:pt x="807960" y="8489575"/>
                    </a:lnTo>
                    <a:lnTo>
                      <a:pt x="815649" y="8511002"/>
                    </a:lnTo>
                    <a:lnTo>
                      <a:pt x="815823" y="8535291"/>
                    </a:lnTo>
                    <a:lnTo>
                      <a:pt x="817475" y="8557588"/>
                    </a:lnTo>
                    <a:lnTo>
                      <a:pt x="819041" y="8578738"/>
                    </a:lnTo>
                    <a:lnTo>
                      <a:pt x="805237" y="8606556"/>
                    </a:lnTo>
                    <a:lnTo>
                      <a:pt x="782076" y="8629117"/>
                    </a:lnTo>
                    <a:lnTo>
                      <a:pt x="737310" y="8655285"/>
                    </a:lnTo>
                    <a:lnTo>
                      <a:pt x="701610" y="8670592"/>
                    </a:lnTo>
                    <a:lnTo>
                      <a:pt x="677375" y="8704490"/>
                    </a:lnTo>
                    <a:lnTo>
                      <a:pt x="677375" y="8734200"/>
                    </a:lnTo>
                    <a:lnTo>
                      <a:pt x="676275" y="8910640"/>
                    </a:lnTo>
                    <a:lnTo>
                      <a:pt x="652645" y="8931058"/>
                    </a:lnTo>
                    <a:lnTo>
                      <a:pt x="632141" y="8935575"/>
                    </a:lnTo>
                    <a:lnTo>
                      <a:pt x="594766" y="8949464"/>
                    </a:lnTo>
                    <a:lnTo>
                      <a:pt x="573999" y="8973806"/>
                    </a:lnTo>
                    <a:lnTo>
                      <a:pt x="577661" y="9010085"/>
                    </a:lnTo>
                    <a:lnTo>
                      <a:pt x="588714" y="9044259"/>
                    </a:lnTo>
                    <a:lnTo>
                      <a:pt x="601209" y="9078539"/>
                    </a:lnTo>
                    <a:lnTo>
                      <a:pt x="602977" y="9133739"/>
                    </a:lnTo>
                    <a:lnTo>
                      <a:pt x="592249" y="9201620"/>
                    </a:lnTo>
                    <a:lnTo>
                      <a:pt x="575366" y="9266250"/>
                    </a:lnTo>
                    <a:lnTo>
                      <a:pt x="558474" y="9330880"/>
                    </a:lnTo>
                    <a:lnTo>
                      <a:pt x="534451" y="9393426"/>
                    </a:lnTo>
                    <a:lnTo>
                      <a:pt x="508716" y="9440356"/>
                    </a:lnTo>
                    <a:lnTo>
                      <a:pt x="479468" y="9493702"/>
                    </a:lnTo>
                    <a:lnTo>
                      <a:pt x="444785" y="9564135"/>
                    </a:lnTo>
                    <a:lnTo>
                      <a:pt x="437433" y="9586063"/>
                    </a:lnTo>
                    <a:lnTo>
                      <a:pt x="440711" y="9623984"/>
                    </a:lnTo>
                    <a:lnTo>
                      <a:pt x="463364" y="9632617"/>
                    </a:lnTo>
                    <a:lnTo>
                      <a:pt x="488953" y="9642793"/>
                    </a:lnTo>
                    <a:lnTo>
                      <a:pt x="512905" y="9654420"/>
                    </a:lnTo>
                    <a:lnTo>
                      <a:pt x="532287" y="9671949"/>
                    </a:lnTo>
                    <a:lnTo>
                      <a:pt x="552242" y="9687909"/>
                    </a:lnTo>
                    <a:lnTo>
                      <a:pt x="572207" y="9703875"/>
                    </a:lnTo>
                    <a:lnTo>
                      <a:pt x="592525" y="9718898"/>
                    </a:lnTo>
                    <a:lnTo>
                      <a:pt x="626969" y="9703809"/>
                    </a:lnTo>
                    <a:lnTo>
                      <a:pt x="652617" y="9690210"/>
                    </a:lnTo>
                    <a:lnTo>
                      <a:pt x="678740" y="9683833"/>
                    </a:lnTo>
                    <a:lnTo>
                      <a:pt x="704874" y="9677455"/>
                    </a:lnTo>
                    <a:lnTo>
                      <a:pt x="732212" y="9677357"/>
                    </a:lnTo>
                    <a:lnTo>
                      <a:pt x="756276" y="9690632"/>
                    </a:lnTo>
                    <a:lnTo>
                      <a:pt x="775469" y="9705405"/>
                    </a:lnTo>
                    <a:lnTo>
                      <a:pt x="794218" y="9722110"/>
                    </a:lnTo>
                    <a:lnTo>
                      <a:pt x="813407" y="9736876"/>
                    </a:lnTo>
                    <a:lnTo>
                      <a:pt x="858208" y="9740299"/>
                    </a:lnTo>
                    <a:lnTo>
                      <a:pt x="902754" y="9741954"/>
                    </a:lnTo>
                    <a:lnTo>
                      <a:pt x="924808" y="9747539"/>
                    </a:lnTo>
                    <a:lnTo>
                      <a:pt x="950779" y="9734152"/>
                    </a:lnTo>
                    <a:lnTo>
                      <a:pt x="974542" y="9693027"/>
                    </a:lnTo>
                    <a:lnTo>
                      <a:pt x="983431" y="9662063"/>
                    </a:lnTo>
                    <a:lnTo>
                      <a:pt x="992320" y="9631094"/>
                    </a:lnTo>
                    <a:lnTo>
                      <a:pt x="998218" y="9599451"/>
                    </a:lnTo>
                    <a:lnTo>
                      <a:pt x="1011994" y="9568211"/>
                    </a:lnTo>
                    <a:lnTo>
                      <a:pt x="1182017" y="9569570"/>
                    </a:lnTo>
                    <a:lnTo>
                      <a:pt x="1213005" y="9574417"/>
                    </a:lnTo>
                    <a:lnTo>
                      <a:pt x="1235363" y="9589203"/>
                    </a:lnTo>
                    <a:lnTo>
                      <a:pt x="1251387" y="9611731"/>
                    </a:lnTo>
                    <a:lnTo>
                      <a:pt x="1265733" y="9635262"/>
                    </a:lnTo>
                    <a:lnTo>
                      <a:pt x="1274874" y="9664062"/>
                    </a:lnTo>
                    <a:lnTo>
                      <a:pt x="1286758" y="9687902"/>
                    </a:lnTo>
                    <a:lnTo>
                      <a:pt x="1326681" y="9686260"/>
                    </a:lnTo>
                    <a:lnTo>
                      <a:pt x="1349322" y="9681102"/>
                    </a:lnTo>
                    <a:lnTo>
                      <a:pt x="1371962" y="9675945"/>
                    </a:lnTo>
                    <a:lnTo>
                      <a:pt x="1394274" y="9672272"/>
                    </a:lnTo>
                    <a:lnTo>
                      <a:pt x="1436098" y="9707278"/>
                    </a:lnTo>
                    <a:lnTo>
                      <a:pt x="1454379" y="9729740"/>
                    </a:lnTo>
                    <a:lnTo>
                      <a:pt x="1475820" y="9747751"/>
                    </a:lnTo>
                    <a:lnTo>
                      <a:pt x="1497260" y="9765768"/>
                    </a:lnTo>
                    <a:lnTo>
                      <a:pt x="1520586" y="9779090"/>
                    </a:lnTo>
                    <a:lnTo>
                      <a:pt x="1562872" y="9785836"/>
                    </a:lnTo>
                    <a:lnTo>
                      <a:pt x="1629547" y="9796468"/>
                    </a:lnTo>
                    <a:lnTo>
                      <a:pt x="1697685" y="9796421"/>
                    </a:lnTo>
                    <a:lnTo>
                      <a:pt x="1765548" y="9796718"/>
                    </a:lnTo>
                    <a:lnTo>
                      <a:pt x="1833395" y="9797047"/>
                    </a:lnTo>
                    <a:lnTo>
                      <a:pt x="1901006" y="9797312"/>
                    </a:lnTo>
                    <a:lnTo>
                      <a:pt x="1966856" y="9810323"/>
                    </a:lnTo>
                    <a:lnTo>
                      <a:pt x="2040514" y="9824878"/>
                    </a:lnTo>
                    <a:lnTo>
                      <a:pt x="2115920" y="9841755"/>
                    </a:lnTo>
                    <a:lnTo>
                      <a:pt x="2189928" y="9853849"/>
                    </a:lnTo>
                    <a:lnTo>
                      <a:pt x="2274896" y="9867765"/>
                    </a:lnTo>
                    <a:lnTo>
                      <a:pt x="2361607" y="9869658"/>
                    </a:lnTo>
                    <a:lnTo>
                      <a:pt x="2446998" y="9886495"/>
                    </a:lnTo>
                    <a:lnTo>
                      <a:pt x="2473570" y="9891724"/>
                    </a:lnTo>
                    <a:lnTo>
                      <a:pt x="2509571" y="9915947"/>
                    </a:lnTo>
                    <a:lnTo>
                      <a:pt x="2532698" y="9928663"/>
                    </a:lnTo>
                    <a:lnTo>
                      <a:pt x="2554417" y="9940579"/>
                    </a:lnTo>
                    <a:lnTo>
                      <a:pt x="2575508" y="9945156"/>
                    </a:lnTo>
                    <a:lnTo>
                      <a:pt x="2596623" y="9955859"/>
                    </a:lnTo>
                    <a:lnTo>
                      <a:pt x="2627752" y="9971641"/>
                    </a:lnTo>
                    <a:lnTo>
                      <a:pt x="2656662" y="9991004"/>
                    </a:lnTo>
                    <a:lnTo>
                      <a:pt x="2686394" y="10007551"/>
                    </a:lnTo>
                    <a:lnTo>
                      <a:pt x="2716128" y="10024097"/>
                    </a:lnTo>
                    <a:lnTo>
                      <a:pt x="2747522" y="10037399"/>
                    </a:lnTo>
                    <a:lnTo>
                      <a:pt x="2784335" y="10041554"/>
                    </a:lnTo>
                    <a:lnTo>
                      <a:pt x="2809406" y="10037366"/>
                    </a:lnTo>
                    <a:lnTo>
                      <a:pt x="2826547" y="10009655"/>
                    </a:lnTo>
                    <a:lnTo>
                      <a:pt x="2848266" y="9983070"/>
                    </a:lnTo>
                    <a:lnTo>
                      <a:pt x="2870370" y="9955846"/>
                    </a:lnTo>
                    <a:lnTo>
                      <a:pt x="2899599" y="9936833"/>
                    </a:lnTo>
                    <a:lnTo>
                      <a:pt x="2939392" y="9931379"/>
                    </a:lnTo>
                    <a:lnTo>
                      <a:pt x="3029170" y="9939537"/>
                    </a:lnTo>
                    <a:lnTo>
                      <a:pt x="3073843" y="9943362"/>
                    </a:lnTo>
                    <a:lnTo>
                      <a:pt x="3122045" y="9950505"/>
                    </a:lnTo>
                    <a:lnTo>
                      <a:pt x="3165189" y="9964024"/>
                    </a:lnTo>
                    <a:lnTo>
                      <a:pt x="3181768" y="9915631"/>
                    </a:lnTo>
                    <a:lnTo>
                      <a:pt x="3168805" y="9886066"/>
                    </a:lnTo>
                    <a:lnTo>
                      <a:pt x="3071840" y="9840482"/>
                    </a:lnTo>
                    <a:lnTo>
                      <a:pt x="3045491" y="9821205"/>
                    </a:lnTo>
                    <a:lnTo>
                      <a:pt x="3041873" y="9792642"/>
                    </a:lnTo>
                    <a:lnTo>
                      <a:pt x="3062619" y="9768050"/>
                    </a:lnTo>
                    <a:lnTo>
                      <a:pt x="3097606" y="9749498"/>
                    </a:lnTo>
                    <a:lnTo>
                      <a:pt x="3167915" y="9719808"/>
                    </a:lnTo>
                    <a:lnTo>
                      <a:pt x="3237278" y="9693343"/>
                    </a:lnTo>
                    <a:lnTo>
                      <a:pt x="3306644" y="9666884"/>
                    </a:lnTo>
                    <a:lnTo>
                      <a:pt x="3376042" y="9643604"/>
                    </a:lnTo>
                    <a:lnTo>
                      <a:pt x="3397786" y="9644376"/>
                    </a:lnTo>
                    <a:lnTo>
                      <a:pt x="3430990" y="9678201"/>
                    </a:lnTo>
                    <a:lnTo>
                      <a:pt x="3449978" y="9705636"/>
                    </a:lnTo>
                    <a:lnTo>
                      <a:pt x="3471233" y="9731428"/>
                    </a:lnTo>
                    <a:lnTo>
                      <a:pt x="3492475" y="9757228"/>
                    </a:lnTo>
                    <a:lnTo>
                      <a:pt x="3515419" y="9782196"/>
                    </a:lnTo>
                    <a:lnTo>
                      <a:pt x="3537880" y="9800801"/>
                    </a:lnTo>
                    <a:lnTo>
                      <a:pt x="3581815" y="9837184"/>
                    </a:lnTo>
                    <a:lnTo>
                      <a:pt x="3623806" y="9859218"/>
                    </a:lnTo>
                    <a:lnTo>
                      <a:pt x="3667100" y="9878330"/>
                    </a:lnTo>
                    <a:lnTo>
                      <a:pt x="3710390" y="9897442"/>
                    </a:lnTo>
                    <a:lnTo>
                      <a:pt x="3756245" y="9913830"/>
                    </a:lnTo>
                    <a:lnTo>
                      <a:pt x="3805839" y="9936820"/>
                    </a:lnTo>
                    <a:lnTo>
                      <a:pt x="3846707" y="9964103"/>
                    </a:lnTo>
                    <a:lnTo>
                      <a:pt x="3872486" y="9977623"/>
                    </a:lnTo>
                    <a:lnTo>
                      <a:pt x="3898273" y="9988643"/>
                    </a:lnTo>
                    <a:lnTo>
                      <a:pt x="3922880" y="9991096"/>
                    </a:lnTo>
                    <a:lnTo>
                      <a:pt x="3944581" y="9980346"/>
                    </a:lnTo>
                    <a:lnTo>
                      <a:pt x="3948956" y="9948770"/>
                    </a:lnTo>
                    <a:lnTo>
                      <a:pt x="3937474" y="9913988"/>
                    </a:lnTo>
                    <a:lnTo>
                      <a:pt x="3940531" y="9881054"/>
                    </a:lnTo>
                    <a:lnTo>
                      <a:pt x="3996940" y="9828473"/>
                    </a:lnTo>
                    <a:lnTo>
                      <a:pt x="4052447" y="9838055"/>
                    </a:lnTo>
                    <a:lnTo>
                      <a:pt x="4086451" y="9871570"/>
                    </a:lnTo>
                    <a:lnTo>
                      <a:pt x="4125518" y="9883771"/>
                    </a:lnTo>
                    <a:lnTo>
                      <a:pt x="4140358" y="9860293"/>
                    </a:lnTo>
                    <a:lnTo>
                      <a:pt x="4143319" y="9833801"/>
                    </a:lnTo>
                    <a:lnTo>
                      <a:pt x="4139145" y="9806241"/>
                    </a:lnTo>
                    <a:lnTo>
                      <a:pt x="4133564" y="9778232"/>
                    </a:lnTo>
                    <a:lnTo>
                      <a:pt x="4124188" y="9749782"/>
                    </a:lnTo>
                    <a:lnTo>
                      <a:pt x="4130982" y="9728711"/>
                    </a:lnTo>
                    <a:lnTo>
                      <a:pt x="4164731" y="9727748"/>
                    </a:lnTo>
                    <a:lnTo>
                      <a:pt x="4188113" y="9732787"/>
                    </a:lnTo>
                    <a:lnTo>
                      <a:pt x="4211498" y="9737832"/>
                    </a:lnTo>
                    <a:lnTo>
                      <a:pt x="4237673" y="9743649"/>
                    </a:lnTo>
                    <a:lnTo>
                      <a:pt x="4258844" y="9736863"/>
                    </a:lnTo>
                    <a:lnTo>
                      <a:pt x="4269724" y="9687895"/>
                    </a:lnTo>
                    <a:lnTo>
                      <a:pt x="4322911" y="9665724"/>
                    </a:lnTo>
                    <a:lnTo>
                      <a:pt x="4349198" y="9668744"/>
                    </a:lnTo>
                    <a:lnTo>
                      <a:pt x="4388836" y="9679843"/>
                    </a:lnTo>
                    <a:lnTo>
                      <a:pt x="4419342" y="9685178"/>
                    </a:lnTo>
                    <a:lnTo>
                      <a:pt x="4435884" y="9656273"/>
                    </a:lnTo>
                    <a:lnTo>
                      <a:pt x="4432697" y="9613934"/>
                    </a:lnTo>
                    <a:lnTo>
                      <a:pt x="4450637" y="9589962"/>
                    </a:lnTo>
                    <a:lnTo>
                      <a:pt x="4499892" y="9617805"/>
                    </a:lnTo>
                    <a:lnTo>
                      <a:pt x="4585469" y="9634998"/>
                    </a:lnTo>
                    <a:lnTo>
                      <a:pt x="4612500" y="9652534"/>
                    </a:lnTo>
                    <a:lnTo>
                      <a:pt x="4607396" y="9731910"/>
                    </a:lnTo>
                    <a:lnTo>
                      <a:pt x="4602463" y="9798301"/>
                    </a:lnTo>
                    <a:lnTo>
                      <a:pt x="4601613" y="9864725"/>
                    </a:lnTo>
                    <a:lnTo>
                      <a:pt x="4600795" y="9931148"/>
                    </a:lnTo>
                    <a:lnTo>
                      <a:pt x="4603089" y="9997948"/>
                    </a:lnTo>
                    <a:lnTo>
                      <a:pt x="4605709" y="10061952"/>
                    </a:lnTo>
                    <a:lnTo>
                      <a:pt x="4607139" y="10096634"/>
                    </a:lnTo>
                    <a:lnTo>
                      <a:pt x="4618338" y="10126496"/>
                    </a:lnTo>
                    <a:lnTo>
                      <a:pt x="4632911" y="10154446"/>
                    </a:lnTo>
                    <a:lnTo>
                      <a:pt x="4647493" y="10182394"/>
                    </a:lnTo>
                    <a:lnTo>
                      <a:pt x="4665913" y="10208840"/>
                    </a:lnTo>
                    <a:lnTo>
                      <a:pt x="4685962" y="10236057"/>
                    </a:lnTo>
                    <a:lnTo>
                      <a:pt x="4713718" y="10273741"/>
                    </a:lnTo>
                    <a:lnTo>
                      <a:pt x="4749508" y="10303431"/>
                    </a:lnTo>
                    <a:lnTo>
                      <a:pt x="4781171" y="10338074"/>
                    </a:lnTo>
                    <a:lnTo>
                      <a:pt x="4799663" y="10358327"/>
                    </a:lnTo>
                    <a:lnTo>
                      <a:pt x="4814924" y="10387509"/>
                    </a:lnTo>
                    <a:lnTo>
                      <a:pt x="4835580" y="10406081"/>
                    </a:lnTo>
                    <a:lnTo>
                      <a:pt x="4884374" y="10449969"/>
                    </a:lnTo>
                    <a:lnTo>
                      <a:pt x="4946612" y="10486097"/>
                    </a:lnTo>
                    <a:lnTo>
                      <a:pt x="4991999" y="10532578"/>
                    </a:lnTo>
                    <a:lnTo>
                      <a:pt x="5019644" y="10565697"/>
                    </a:lnTo>
                    <a:lnTo>
                      <a:pt x="5032815" y="10588350"/>
                    </a:lnTo>
                    <a:lnTo>
                      <a:pt x="5045977" y="10611004"/>
                    </a:lnTo>
                    <a:lnTo>
                      <a:pt x="5056851" y="10635405"/>
                    </a:lnTo>
                    <a:lnTo>
                      <a:pt x="5057985" y="10682539"/>
                    </a:lnTo>
                    <a:lnTo>
                      <a:pt x="5042628" y="10706755"/>
                    </a:lnTo>
                    <a:lnTo>
                      <a:pt x="5027373" y="10731169"/>
                    </a:lnTo>
                    <a:lnTo>
                      <a:pt x="5012112" y="10755584"/>
                    </a:lnTo>
                    <a:lnTo>
                      <a:pt x="4996085" y="10779055"/>
                    </a:lnTo>
                    <a:lnTo>
                      <a:pt x="4996085" y="10808700"/>
                    </a:lnTo>
                    <a:lnTo>
                      <a:pt x="4998091" y="10835422"/>
                    </a:lnTo>
                    <a:lnTo>
                      <a:pt x="5002265" y="10860872"/>
                    </a:lnTo>
                    <a:lnTo>
                      <a:pt x="5005617" y="10884870"/>
                    </a:lnTo>
                    <a:lnTo>
                      <a:pt x="5006922" y="10921149"/>
                    </a:lnTo>
                    <a:lnTo>
                      <a:pt x="5005155" y="10960923"/>
                    </a:lnTo>
                    <a:lnTo>
                      <a:pt x="5012410" y="10996410"/>
                    </a:lnTo>
                    <a:lnTo>
                      <a:pt x="5022236" y="11030249"/>
                    </a:lnTo>
                    <a:lnTo>
                      <a:pt x="5040675" y="11060500"/>
                    </a:lnTo>
                    <a:lnTo>
                      <a:pt x="5070899" y="11084821"/>
                    </a:lnTo>
                    <a:lnTo>
                      <a:pt x="5106835" y="11072634"/>
                    </a:lnTo>
                    <a:lnTo>
                      <a:pt x="5112078" y="11045496"/>
                    </a:lnTo>
                    <a:lnTo>
                      <a:pt x="5122583" y="11023614"/>
                    </a:lnTo>
                    <a:lnTo>
                      <a:pt x="5134970" y="11003031"/>
                    </a:lnTo>
                    <a:lnTo>
                      <a:pt x="5153732" y="10992506"/>
                    </a:lnTo>
                    <a:lnTo>
                      <a:pt x="5182431" y="10997769"/>
                    </a:lnTo>
                    <a:lnTo>
                      <a:pt x="5217294" y="11011117"/>
                    </a:lnTo>
                    <a:lnTo>
                      <a:pt x="5232124" y="11032583"/>
                    </a:lnTo>
                    <a:lnTo>
                      <a:pt x="5245940" y="11059569"/>
                    </a:lnTo>
                    <a:lnTo>
                      <a:pt x="5249059" y="11150110"/>
                    </a:lnTo>
                    <a:lnTo>
                      <a:pt x="5288130" y="11174552"/>
                    </a:lnTo>
                    <a:lnTo>
                      <a:pt x="5310162" y="11185604"/>
                    </a:lnTo>
                    <a:lnTo>
                      <a:pt x="5308473" y="11209749"/>
                    </a:lnTo>
                    <a:lnTo>
                      <a:pt x="5306184" y="11234440"/>
                    </a:lnTo>
                    <a:lnTo>
                      <a:pt x="5303884" y="11259138"/>
                    </a:lnTo>
                    <a:lnTo>
                      <a:pt x="5300857" y="11284634"/>
                    </a:lnTo>
                    <a:lnTo>
                      <a:pt x="5322962" y="11296571"/>
                    </a:lnTo>
                    <a:lnTo>
                      <a:pt x="5351084" y="11303812"/>
                    </a:lnTo>
                    <a:lnTo>
                      <a:pt x="5379371" y="11312339"/>
                    </a:lnTo>
                    <a:lnTo>
                      <a:pt x="5407133" y="11322495"/>
                    </a:lnTo>
                    <a:lnTo>
                      <a:pt x="5432688" y="11335098"/>
                    </a:lnTo>
                    <a:lnTo>
                      <a:pt x="5457434" y="11348716"/>
                    </a:lnTo>
                    <a:lnTo>
                      <a:pt x="5486852" y="11371257"/>
                    </a:lnTo>
                    <a:lnTo>
                      <a:pt x="5500932" y="11395105"/>
                    </a:lnTo>
                    <a:lnTo>
                      <a:pt x="5507502" y="11422150"/>
                    </a:lnTo>
                    <a:lnTo>
                      <a:pt x="5514075" y="11449196"/>
                    </a:lnTo>
                    <a:lnTo>
                      <a:pt x="5513880" y="11479289"/>
                    </a:lnTo>
                    <a:lnTo>
                      <a:pt x="5506150" y="11506479"/>
                    </a:lnTo>
                    <a:lnTo>
                      <a:pt x="5498393" y="11533677"/>
                    </a:lnTo>
                    <a:lnTo>
                      <a:pt x="5482750" y="11558289"/>
                    </a:lnTo>
                    <a:lnTo>
                      <a:pt x="5458541" y="11573134"/>
                    </a:lnTo>
                    <a:lnTo>
                      <a:pt x="5434338" y="11587973"/>
                    </a:lnTo>
                    <a:lnTo>
                      <a:pt x="5402008" y="11592669"/>
                    </a:lnTo>
                    <a:lnTo>
                      <a:pt x="5359254" y="11582651"/>
                    </a:lnTo>
                    <a:lnTo>
                      <a:pt x="5337063" y="11614022"/>
                    </a:lnTo>
                    <a:lnTo>
                      <a:pt x="5315002" y="11763220"/>
                    </a:lnTo>
                    <a:lnTo>
                      <a:pt x="5337661" y="11771786"/>
                    </a:lnTo>
                    <a:lnTo>
                      <a:pt x="5361986" y="11773124"/>
                    </a:lnTo>
                    <a:lnTo>
                      <a:pt x="5386108" y="11787205"/>
                    </a:lnTo>
                    <a:lnTo>
                      <a:pt x="5387792" y="11811138"/>
                    </a:lnTo>
                    <a:lnTo>
                      <a:pt x="5380939" y="11837320"/>
                    </a:lnTo>
                    <a:lnTo>
                      <a:pt x="5371027" y="11861662"/>
                    </a:lnTo>
                    <a:lnTo>
                      <a:pt x="5372841" y="11894141"/>
                    </a:lnTo>
                    <a:lnTo>
                      <a:pt x="5424022" y="11894504"/>
                    </a:lnTo>
                    <a:lnTo>
                      <a:pt x="5441534" y="11860738"/>
                    </a:lnTo>
                    <a:lnTo>
                      <a:pt x="5469415" y="11841092"/>
                    </a:lnTo>
                    <a:lnTo>
                      <a:pt x="5496021" y="11828093"/>
                    </a:lnTo>
                    <a:lnTo>
                      <a:pt x="5535311" y="11816012"/>
                    </a:lnTo>
                    <a:lnTo>
                      <a:pt x="5559158" y="11810524"/>
                    </a:lnTo>
                    <a:lnTo>
                      <a:pt x="5582313" y="11805730"/>
                    </a:lnTo>
                    <a:lnTo>
                      <a:pt x="5605468" y="11800929"/>
                    </a:lnTo>
                    <a:lnTo>
                      <a:pt x="5627957" y="11795778"/>
                    </a:lnTo>
                    <a:lnTo>
                      <a:pt x="5648970" y="11792125"/>
                    </a:lnTo>
                    <a:lnTo>
                      <a:pt x="5669967" y="11788471"/>
                    </a:lnTo>
                    <a:lnTo>
                      <a:pt x="5702011" y="11782608"/>
                    </a:lnTo>
                    <a:lnTo>
                      <a:pt x="5733306" y="11781639"/>
                    </a:lnTo>
                    <a:lnTo>
                      <a:pt x="5757772" y="11791729"/>
                    </a:lnTo>
                    <a:lnTo>
                      <a:pt x="5778190" y="11808447"/>
                    </a:lnTo>
                    <a:lnTo>
                      <a:pt x="5797788" y="11826775"/>
                    </a:lnTo>
                    <a:lnTo>
                      <a:pt x="5818438" y="11841804"/>
                    </a:lnTo>
                    <a:lnTo>
                      <a:pt x="5843479" y="11849250"/>
                    </a:lnTo>
                    <a:lnTo>
                      <a:pt x="5882131" y="11851142"/>
                    </a:lnTo>
                    <a:lnTo>
                      <a:pt x="5921787" y="11850081"/>
                    </a:lnTo>
                    <a:lnTo>
                      <a:pt x="5961812" y="11847891"/>
                    </a:lnTo>
                    <a:lnTo>
                      <a:pt x="6000867" y="11846183"/>
                    </a:lnTo>
                    <a:lnTo>
                      <a:pt x="6039736" y="11846863"/>
                    </a:lnTo>
                    <a:lnTo>
                      <a:pt x="6077433" y="11851973"/>
                    </a:lnTo>
                    <a:lnTo>
                      <a:pt x="6100139" y="11843960"/>
                    </a:lnTo>
                    <a:lnTo>
                      <a:pt x="6123669" y="11811171"/>
                    </a:lnTo>
                    <a:lnTo>
                      <a:pt x="6138896" y="11771503"/>
                    </a:lnTo>
                    <a:lnTo>
                      <a:pt x="6142716" y="11749957"/>
                    </a:lnTo>
                    <a:lnTo>
                      <a:pt x="6146549" y="11728418"/>
                    </a:lnTo>
                    <a:lnTo>
                      <a:pt x="6148936" y="11706905"/>
                    </a:lnTo>
                    <a:lnTo>
                      <a:pt x="6160991" y="11670593"/>
                    </a:lnTo>
                    <a:lnTo>
                      <a:pt x="6186248" y="11647947"/>
                    </a:lnTo>
                    <a:lnTo>
                      <a:pt x="6208005" y="11650664"/>
                    </a:lnTo>
                    <a:lnTo>
                      <a:pt x="6240137" y="11674293"/>
                    </a:lnTo>
                    <a:lnTo>
                      <a:pt x="6279117" y="11701030"/>
                    </a:lnTo>
                    <a:lnTo>
                      <a:pt x="6304582" y="11732276"/>
                    </a:lnTo>
                    <a:lnTo>
                      <a:pt x="6354734" y="11727633"/>
                    </a:lnTo>
                    <a:lnTo>
                      <a:pt x="6380230" y="11713520"/>
                    </a:lnTo>
                    <a:lnTo>
                      <a:pt x="6403882" y="11696901"/>
                    </a:lnTo>
                    <a:lnTo>
                      <a:pt x="6427517" y="11680288"/>
                    </a:lnTo>
                    <a:lnTo>
                      <a:pt x="6449194" y="11660840"/>
                    </a:lnTo>
                    <a:lnTo>
                      <a:pt x="6471887" y="11641134"/>
                    </a:lnTo>
                    <a:lnTo>
                      <a:pt x="6497048" y="11624086"/>
                    </a:lnTo>
                    <a:lnTo>
                      <a:pt x="6512123" y="11606069"/>
                    </a:lnTo>
                    <a:lnTo>
                      <a:pt x="6530376" y="11592173"/>
                    </a:lnTo>
                    <a:lnTo>
                      <a:pt x="6548626" y="11578278"/>
                    </a:lnTo>
                    <a:lnTo>
                      <a:pt x="6569803" y="11568617"/>
                    </a:lnTo>
                    <a:lnTo>
                      <a:pt x="6606623" y="11576755"/>
                    </a:lnTo>
                    <a:lnTo>
                      <a:pt x="6633040" y="11582604"/>
                    </a:lnTo>
                    <a:lnTo>
                      <a:pt x="6663674" y="11590815"/>
                    </a:lnTo>
                    <a:lnTo>
                      <a:pt x="6694307" y="11599026"/>
                    </a:lnTo>
                    <a:lnTo>
                      <a:pt x="6728885" y="11609690"/>
                    </a:lnTo>
                    <a:lnTo>
                      <a:pt x="6762973" y="11620736"/>
                    </a:lnTo>
                    <a:lnTo>
                      <a:pt x="6797042" y="11631783"/>
                    </a:lnTo>
                    <a:lnTo>
                      <a:pt x="6830070" y="11643963"/>
                    </a:lnTo>
                    <a:lnTo>
                      <a:pt x="6856825" y="11656104"/>
                    </a:lnTo>
                    <a:lnTo>
                      <a:pt x="6882817" y="11667897"/>
                    </a:lnTo>
                    <a:lnTo>
                      <a:pt x="6902192" y="11678936"/>
                    </a:lnTo>
                    <a:lnTo>
                      <a:pt x="6928696" y="11681245"/>
                    </a:lnTo>
                    <a:lnTo>
                      <a:pt x="6957476" y="11668345"/>
                    </a:lnTo>
                    <a:lnTo>
                      <a:pt x="6992977" y="11654205"/>
                    </a:lnTo>
                    <a:lnTo>
                      <a:pt x="7028061" y="11638958"/>
                    </a:lnTo>
                    <a:lnTo>
                      <a:pt x="7058133" y="11620736"/>
                    </a:lnTo>
                    <a:lnTo>
                      <a:pt x="7081146" y="11596072"/>
                    </a:lnTo>
                    <a:lnTo>
                      <a:pt x="7087121" y="11573002"/>
                    </a:lnTo>
                    <a:lnTo>
                      <a:pt x="7093495" y="11550006"/>
                    </a:lnTo>
                    <a:lnTo>
                      <a:pt x="7100264" y="11522386"/>
                    </a:lnTo>
                    <a:lnTo>
                      <a:pt x="7112607" y="11478742"/>
                    </a:lnTo>
                    <a:lnTo>
                      <a:pt x="7122384" y="11449809"/>
                    </a:lnTo>
                    <a:lnTo>
                      <a:pt x="7150621" y="11434397"/>
                    </a:lnTo>
                    <a:lnTo>
                      <a:pt x="7172477" y="11459445"/>
                    </a:lnTo>
                    <a:lnTo>
                      <a:pt x="7187269" y="11480845"/>
                    </a:lnTo>
                    <a:lnTo>
                      <a:pt x="7217336" y="11506486"/>
                    </a:lnTo>
                    <a:lnTo>
                      <a:pt x="7249914" y="11529608"/>
                    </a:lnTo>
                    <a:lnTo>
                      <a:pt x="7282507" y="11552729"/>
                    </a:lnTo>
                    <a:lnTo>
                      <a:pt x="7318127" y="11572606"/>
                    </a:lnTo>
                    <a:lnTo>
                      <a:pt x="7341517" y="11566308"/>
                    </a:lnTo>
                    <a:lnTo>
                      <a:pt x="7354655" y="11536407"/>
                    </a:lnTo>
                    <a:lnTo>
                      <a:pt x="7366598" y="11505101"/>
                    </a:lnTo>
                    <a:lnTo>
                      <a:pt x="7363538" y="11481162"/>
                    </a:lnTo>
                    <a:lnTo>
                      <a:pt x="7345133" y="11450720"/>
                    </a:lnTo>
                    <a:lnTo>
                      <a:pt x="7328064" y="11421643"/>
                    </a:lnTo>
                    <a:lnTo>
                      <a:pt x="7324418" y="11391972"/>
                    </a:lnTo>
                    <a:lnTo>
                      <a:pt x="7343775" y="11377266"/>
                    </a:lnTo>
                    <a:lnTo>
                      <a:pt x="7365854" y="11366444"/>
                    </a:lnTo>
                    <a:lnTo>
                      <a:pt x="7397099" y="11352397"/>
                    </a:lnTo>
                    <a:lnTo>
                      <a:pt x="7424027" y="11333740"/>
                    </a:lnTo>
                    <a:lnTo>
                      <a:pt x="7445111" y="11319171"/>
                    </a:lnTo>
                    <a:lnTo>
                      <a:pt x="7470923" y="11318195"/>
                    </a:lnTo>
                    <a:lnTo>
                      <a:pt x="7496820" y="11338402"/>
                    </a:lnTo>
                    <a:lnTo>
                      <a:pt x="7514087" y="11355562"/>
                    </a:lnTo>
                    <a:lnTo>
                      <a:pt x="7538278" y="11382706"/>
                    </a:lnTo>
                    <a:lnTo>
                      <a:pt x="7567156" y="11364380"/>
                    </a:lnTo>
                    <a:lnTo>
                      <a:pt x="7581804" y="11325588"/>
                    </a:lnTo>
                    <a:lnTo>
                      <a:pt x="7591642" y="11284977"/>
                    </a:lnTo>
                    <a:lnTo>
                      <a:pt x="7596767" y="11264374"/>
                    </a:lnTo>
                    <a:lnTo>
                      <a:pt x="7601892" y="11243771"/>
                    </a:lnTo>
                    <a:lnTo>
                      <a:pt x="7607786" y="11223539"/>
                    </a:lnTo>
                    <a:lnTo>
                      <a:pt x="7629280" y="11190953"/>
                    </a:lnTo>
                    <a:lnTo>
                      <a:pt x="7667498" y="11170522"/>
                    </a:lnTo>
                    <a:lnTo>
                      <a:pt x="7690963" y="11163406"/>
                    </a:lnTo>
                    <a:lnTo>
                      <a:pt x="7714639" y="11165800"/>
                    </a:lnTo>
                    <a:lnTo>
                      <a:pt x="7738234" y="11169164"/>
                    </a:lnTo>
                    <a:lnTo>
                      <a:pt x="7800801" y="11178686"/>
                    </a:lnTo>
                    <a:lnTo>
                      <a:pt x="7845691" y="11201808"/>
                    </a:lnTo>
                    <a:lnTo>
                      <a:pt x="7890575" y="11224930"/>
                    </a:lnTo>
                    <a:lnTo>
                      <a:pt x="7907715" y="11241707"/>
                    </a:lnTo>
                    <a:lnTo>
                      <a:pt x="7925119" y="11259843"/>
                    </a:lnTo>
                    <a:lnTo>
                      <a:pt x="7947701" y="11268457"/>
                    </a:lnTo>
                    <a:lnTo>
                      <a:pt x="7980973" y="11266267"/>
                    </a:lnTo>
                    <a:lnTo>
                      <a:pt x="8006916" y="11254330"/>
                    </a:lnTo>
                    <a:lnTo>
                      <a:pt x="8036120" y="11239894"/>
                    </a:lnTo>
                    <a:lnTo>
                      <a:pt x="8067551" y="11227073"/>
                    </a:lnTo>
                    <a:lnTo>
                      <a:pt x="8097167" y="11211905"/>
                    </a:lnTo>
                    <a:lnTo>
                      <a:pt x="8123172" y="11190927"/>
                    </a:lnTo>
                    <a:lnTo>
                      <a:pt x="8129082" y="11152564"/>
                    </a:lnTo>
                    <a:lnTo>
                      <a:pt x="8120422" y="11129719"/>
                    </a:lnTo>
                    <a:lnTo>
                      <a:pt x="8111768" y="11106868"/>
                    </a:lnTo>
                    <a:lnTo>
                      <a:pt x="8100947" y="11084109"/>
                    </a:lnTo>
                    <a:lnTo>
                      <a:pt x="8101849" y="11053568"/>
                    </a:lnTo>
                    <a:lnTo>
                      <a:pt x="8113365" y="11033797"/>
                    </a:lnTo>
                    <a:lnTo>
                      <a:pt x="8137549" y="11000664"/>
                    </a:lnTo>
                    <a:lnTo>
                      <a:pt x="8166673" y="10989617"/>
                    </a:lnTo>
                    <a:lnTo>
                      <a:pt x="8198485" y="10994537"/>
                    </a:lnTo>
                    <a:lnTo>
                      <a:pt x="8222447" y="11001858"/>
                    </a:lnTo>
                    <a:lnTo>
                      <a:pt x="8256705" y="11015740"/>
                    </a:lnTo>
                    <a:lnTo>
                      <a:pt x="8290452" y="11026344"/>
                    </a:lnTo>
                    <a:lnTo>
                      <a:pt x="8331255" y="10989617"/>
                    </a:lnTo>
                    <a:lnTo>
                      <a:pt x="8283599" y="10925693"/>
                    </a:lnTo>
                    <a:lnTo>
                      <a:pt x="8304023" y="10897928"/>
                    </a:lnTo>
                    <a:lnTo>
                      <a:pt x="8323051" y="10883531"/>
                    </a:lnTo>
                    <a:lnTo>
                      <a:pt x="8342070" y="10869128"/>
                    </a:lnTo>
                    <a:lnTo>
                      <a:pt x="8363347" y="10855305"/>
                    </a:lnTo>
                    <a:lnTo>
                      <a:pt x="8388207" y="10840869"/>
                    </a:lnTo>
                    <a:lnTo>
                      <a:pt x="8419619" y="10850880"/>
                    </a:lnTo>
                    <a:lnTo>
                      <a:pt x="8454020" y="10868377"/>
                    </a:lnTo>
                    <a:lnTo>
                      <a:pt x="8488601" y="10890515"/>
                    </a:lnTo>
                    <a:lnTo>
                      <a:pt x="8505592" y="10903177"/>
                    </a:lnTo>
                    <a:lnTo>
                      <a:pt x="8540405" y="10921004"/>
                    </a:lnTo>
                    <a:lnTo>
                      <a:pt x="8574692" y="10927058"/>
                    </a:lnTo>
                    <a:lnTo>
                      <a:pt x="8598876" y="10902722"/>
                    </a:lnTo>
                    <a:lnTo>
                      <a:pt x="8607626" y="10869775"/>
                    </a:lnTo>
                    <a:lnTo>
                      <a:pt x="8605946" y="10831841"/>
                    </a:lnTo>
                    <a:lnTo>
                      <a:pt x="8600334" y="10793366"/>
                    </a:lnTo>
                    <a:lnTo>
                      <a:pt x="8595221" y="10756059"/>
                    </a:lnTo>
                    <a:lnTo>
                      <a:pt x="8596436" y="10723025"/>
                    </a:lnTo>
                    <a:lnTo>
                      <a:pt x="8620652" y="10700516"/>
                    </a:lnTo>
                    <a:lnTo>
                      <a:pt x="8654932" y="10699903"/>
                    </a:lnTo>
                    <a:lnTo>
                      <a:pt x="8690216" y="10705964"/>
                    </a:lnTo>
                    <a:lnTo>
                      <a:pt x="8747605" y="10728591"/>
                    </a:lnTo>
                    <a:lnTo>
                      <a:pt x="8788809" y="10753058"/>
                    </a:lnTo>
                    <a:lnTo>
                      <a:pt x="8827678" y="10780150"/>
                    </a:lnTo>
                    <a:lnTo>
                      <a:pt x="8866544" y="10807248"/>
                    </a:lnTo>
                    <a:lnTo>
                      <a:pt x="8903943" y="10836761"/>
                    </a:lnTo>
                    <a:lnTo>
                      <a:pt x="8935138" y="10857686"/>
                    </a:lnTo>
                    <a:lnTo>
                      <a:pt x="8966330" y="10878605"/>
                    </a:lnTo>
                    <a:lnTo>
                      <a:pt x="8991984" y="10891043"/>
                    </a:lnTo>
                    <a:lnTo>
                      <a:pt x="9019465" y="10876726"/>
                    </a:lnTo>
                    <a:lnTo>
                      <a:pt x="9020640" y="10855536"/>
                    </a:lnTo>
                    <a:lnTo>
                      <a:pt x="9003090" y="10837143"/>
                    </a:lnTo>
                    <a:lnTo>
                      <a:pt x="8985454" y="10820959"/>
                    </a:lnTo>
                    <a:lnTo>
                      <a:pt x="8967834" y="10804775"/>
                    </a:lnTo>
                    <a:lnTo>
                      <a:pt x="8950291" y="10790834"/>
                    </a:lnTo>
                    <a:lnTo>
                      <a:pt x="8964984" y="10768675"/>
                    </a:lnTo>
                    <a:lnTo>
                      <a:pt x="8990006" y="10763260"/>
                    </a:lnTo>
                    <a:lnTo>
                      <a:pt x="9027985" y="10772783"/>
                    </a:lnTo>
                    <a:lnTo>
                      <a:pt x="9070240" y="10788262"/>
                    </a:lnTo>
                    <a:lnTo>
                      <a:pt x="9111958" y="10796479"/>
                    </a:lnTo>
                    <a:lnTo>
                      <a:pt x="9132819" y="10800588"/>
                    </a:lnTo>
                    <a:lnTo>
                      <a:pt x="9153850" y="10803060"/>
                    </a:lnTo>
                    <a:lnTo>
                      <a:pt x="9192490" y="10800779"/>
                    </a:lnTo>
                    <a:lnTo>
                      <a:pt x="9224851" y="10785597"/>
                    </a:lnTo>
                    <a:lnTo>
                      <a:pt x="9241358" y="10771339"/>
                    </a:lnTo>
                    <a:lnTo>
                      <a:pt x="9257323" y="10753605"/>
                    </a:lnTo>
                    <a:lnTo>
                      <a:pt x="9277908" y="10737988"/>
                    </a:lnTo>
                    <a:lnTo>
                      <a:pt x="9303925" y="10735720"/>
                    </a:lnTo>
                    <a:lnTo>
                      <a:pt x="9333507" y="10740257"/>
                    </a:lnTo>
                    <a:lnTo>
                      <a:pt x="9364960" y="10750229"/>
                    </a:lnTo>
                    <a:lnTo>
                      <a:pt x="9397519" y="10759561"/>
                    </a:lnTo>
                    <a:lnTo>
                      <a:pt x="9430336" y="10770825"/>
                    </a:lnTo>
                    <a:lnTo>
                      <a:pt x="9462895" y="10781515"/>
                    </a:lnTo>
                    <a:lnTo>
                      <a:pt x="9496034" y="10789310"/>
                    </a:lnTo>
                    <a:lnTo>
                      <a:pt x="9527688" y="10792759"/>
                    </a:lnTo>
                    <a:lnTo>
                      <a:pt x="9558105" y="10789680"/>
                    </a:lnTo>
                    <a:lnTo>
                      <a:pt x="9585870" y="10781462"/>
                    </a:lnTo>
                    <a:lnTo>
                      <a:pt x="9611952" y="10762529"/>
                    </a:lnTo>
                    <a:lnTo>
                      <a:pt x="9635641" y="10731190"/>
                    </a:lnTo>
                    <a:lnTo>
                      <a:pt x="9648704" y="10703095"/>
                    </a:lnTo>
                    <a:lnTo>
                      <a:pt x="9657370" y="10669052"/>
                    </a:lnTo>
                    <a:lnTo>
                      <a:pt x="9657838" y="10642745"/>
                    </a:lnTo>
                    <a:lnTo>
                      <a:pt x="9628162" y="10633690"/>
                    </a:lnTo>
                    <a:lnTo>
                      <a:pt x="9535384" y="10620883"/>
                    </a:lnTo>
                    <a:lnTo>
                      <a:pt x="9458191" y="10576948"/>
                    </a:lnTo>
                    <a:lnTo>
                      <a:pt x="9393495" y="10531232"/>
                    </a:lnTo>
                    <a:lnTo>
                      <a:pt x="9363239" y="10509812"/>
                    </a:lnTo>
                    <a:lnTo>
                      <a:pt x="9308402" y="10485456"/>
                    </a:lnTo>
                    <a:lnTo>
                      <a:pt x="9286037" y="10456426"/>
                    </a:lnTo>
                    <a:lnTo>
                      <a:pt x="9238350" y="10394368"/>
                    </a:lnTo>
                    <a:lnTo>
                      <a:pt x="9288484" y="10230907"/>
                    </a:lnTo>
                    <a:lnTo>
                      <a:pt x="9231638" y="10101409"/>
                    </a:lnTo>
                    <a:lnTo>
                      <a:pt x="9223471" y="10073400"/>
                    </a:lnTo>
                    <a:lnTo>
                      <a:pt x="9105562" y="9935151"/>
                    </a:lnTo>
                    <a:lnTo>
                      <a:pt x="8957130" y="9990767"/>
                    </a:lnTo>
                    <a:lnTo>
                      <a:pt x="8871179" y="9930028"/>
                    </a:lnTo>
                    <a:lnTo>
                      <a:pt x="8850272" y="9915215"/>
                    </a:lnTo>
                    <a:lnTo>
                      <a:pt x="8822596" y="9851753"/>
                    </a:lnTo>
                    <a:lnTo>
                      <a:pt x="8811332" y="9825294"/>
                    </a:lnTo>
                    <a:lnTo>
                      <a:pt x="8762113" y="9742659"/>
                    </a:lnTo>
                    <a:lnTo>
                      <a:pt x="8754845" y="9657480"/>
                    </a:lnTo>
                    <a:lnTo>
                      <a:pt x="8744681" y="9564135"/>
                    </a:lnTo>
                    <a:lnTo>
                      <a:pt x="8738945" y="9511469"/>
                    </a:lnTo>
                    <a:lnTo>
                      <a:pt x="8717182" y="9459336"/>
                    </a:lnTo>
                    <a:lnTo>
                      <a:pt x="8702513" y="9409069"/>
                    </a:lnTo>
                    <a:lnTo>
                      <a:pt x="8681014" y="9334943"/>
                    </a:lnTo>
                    <a:lnTo>
                      <a:pt x="8683085" y="9253139"/>
                    </a:lnTo>
                    <a:lnTo>
                      <a:pt x="8645398" y="9183280"/>
                    </a:lnTo>
                    <a:lnTo>
                      <a:pt x="8631612" y="9163706"/>
                    </a:lnTo>
                    <a:lnTo>
                      <a:pt x="8620869" y="9142517"/>
                    </a:lnTo>
                    <a:lnTo>
                      <a:pt x="8610020" y="9123431"/>
                    </a:lnTo>
                    <a:lnTo>
                      <a:pt x="8613892" y="9004663"/>
                    </a:lnTo>
                    <a:lnTo>
                      <a:pt x="8912457" y="8967580"/>
                    </a:lnTo>
                    <a:lnTo>
                      <a:pt x="8945993" y="8903076"/>
                    </a:lnTo>
                    <a:lnTo>
                      <a:pt x="8929926" y="8865076"/>
                    </a:lnTo>
                    <a:lnTo>
                      <a:pt x="8856222" y="8849921"/>
                    </a:lnTo>
                    <a:lnTo>
                      <a:pt x="8839900" y="8806506"/>
                    </a:lnTo>
                    <a:lnTo>
                      <a:pt x="8826044" y="8769588"/>
                    </a:lnTo>
                    <a:lnTo>
                      <a:pt x="8877213" y="8647424"/>
                    </a:lnTo>
                    <a:lnTo>
                      <a:pt x="8865738" y="8573911"/>
                    </a:lnTo>
                    <a:lnTo>
                      <a:pt x="8862256" y="8488388"/>
                    </a:lnTo>
                    <a:lnTo>
                      <a:pt x="8855965" y="8379611"/>
                    </a:lnTo>
                    <a:lnTo>
                      <a:pt x="8778686" y="8324993"/>
                    </a:lnTo>
                    <a:lnTo>
                      <a:pt x="8748647" y="8303738"/>
                    </a:lnTo>
                    <a:lnTo>
                      <a:pt x="8710718" y="8288266"/>
                    </a:lnTo>
                    <a:lnTo>
                      <a:pt x="8678034" y="8270585"/>
                    </a:lnTo>
                    <a:lnTo>
                      <a:pt x="8639730" y="8251882"/>
                    </a:lnTo>
                    <a:lnTo>
                      <a:pt x="8627709" y="8233857"/>
                    </a:lnTo>
                    <a:lnTo>
                      <a:pt x="8598439" y="8189976"/>
                    </a:lnTo>
                    <a:lnTo>
                      <a:pt x="8638629" y="8070977"/>
                    </a:lnTo>
                    <a:lnTo>
                      <a:pt x="8627709" y="8013509"/>
                    </a:lnTo>
                    <a:lnTo>
                      <a:pt x="8617505" y="7959569"/>
                    </a:lnTo>
                    <a:lnTo>
                      <a:pt x="8509800" y="7916063"/>
                    </a:lnTo>
                    <a:lnTo>
                      <a:pt x="8497131" y="7870690"/>
                    </a:lnTo>
                    <a:lnTo>
                      <a:pt x="8476230" y="7795706"/>
                    </a:lnTo>
                    <a:lnTo>
                      <a:pt x="8554380" y="7685868"/>
                    </a:lnTo>
                    <a:lnTo>
                      <a:pt x="8501217" y="7587768"/>
                    </a:lnTo>
                    <a:lnTo>
                      <a:pt x="8447958" y="7489260"/>
                    </a:lnTo>
                    <a:lnTo>
                      <a:pt x="8389506" y="7518350"/>
                    </a:lnTo>
                    <a:lnTo>
                      <a:pt x="8305350" y="7491193"/>
                    </a:lnTo>
                    <a:lnTo>
                      <a:pt x="8286269" y="7434846"/>
                    </a:lnTo>
                    <a:lnTo>
                      <a:pt x="8335909" y="7330818"/>
                    </a:lnTo>
                    <a:lnTo>
                      <a:pt x="8320313" y="7291241"/>
                    </a:lnTo>
                    <a:lnTo>
                      <a:pt x="8311688" y="7269333"/>
                    </a:lnTo>
                    <a:lnTo>
                      <a:pt x="8286483" y="7255899"/>
                    </a:lnTo>
                    <a:lnTo>
                      <a:pt x="8271346" y="7239558"/>
                    </a:lnTo>
                    <a:lnTo>
                      <a:pt x="8280890" y="7197390"/>
                    </a:lnTo>
                    <a:lnTo>
                      <a:pt x="8342300" y="7161407"/>
                    </a:lnTo>
                    <a:lnTo>
                      <a:pt x="8403865" y="7184463"/>
                    </a:lnTo>
                    <a:lnTo>
                      <a:pt x="8460435" y="7159304"/>
                    </a:lnTo>
                    <a:lnTo>
                      <a:pt x="8494557" y="7144064"/>
                    </a:lnTo>
                    <a:lnTo>
                      <a:pt x="8525765" y="7113713"/>
                    </a:lnTo>
                    <a:lnTo>
                      <a:pt x="8543407" y="7081768"/>
                    </a:lnTo>
                    <a:lnTo>
                      <a:pt x="8609719" y="6961351"/>
                    </a:lnTo>
                    <a:lnTo>
                      <a:pt x="8437063" y="6931279"/>
                    </a:lnTo>
                    <a:lnTo>
                      <a:pt x="8361142" y="6904946"/>
                    </a:lnTo>
                    <a:lnTo>
                      <a:pt x="8339590" y="6897467"/>
                    </a:lnTo>
                    <a:lnTo>
                      <a:pt x="8316001" y="6883756"/>
                    </a:lnTo>
                    <a:lnTo>
                      <a:pt x="8293131" y="6880465"/>
                    </a:lnTo>
                    <a:lnTo>
                      <a:pt x="8224062" y="6870533"/>
                    </a:lnTo>
                    <a:lnTo>
                      <a:pt x="8014586" y="6981670"/>
                    </a:lnTo>
                    <a:lnTo>
                      <a:pt x="7883717" y="6941672"/>
                    </a:lnTo>
                    <a:lnTo>
                      <a:pt x="7828334" y="6924756"/>
                    </a:lnTo>
                    <a:lnTo>
                      <a:pt x="7776340" y="6847392"/>
                    </a:lnTo>
                    <a:lnTo>
                      <a:pt x="7755849" y="6796129"/>
                    </a:lnTo>
                    <a:lnTo>
                      <a:pt x="7759331" y="6764994"/>
                    </a:lnTo>
                    <a:lnTo>
                      <a:pt x="7777066" y="6746608"/>
                    </a:lnTo>
                    <a:lnTo>
                      <a:pt x="7773538" y="6711794"/>
                    </a:lnTo>
                    <a:lnTo>
                      <a:pt x="7769156" y="6669118"/>
                    </a:lnTo>
                    <a:lnTo>
                      <a:pt x="7749564" y="6596139"/>
                    </a:lnTo>
                    <a:lnTo>
                      <a:pt x="7730012" y="6558093"/>
                    </a:lnTo>
                    <a:lnTo>
                      <a:pt x="7704546" y="6508684"/>
                    </a:lnTo>
                    <a:lnTo>
                      <a:pt x="7655315" y="6460818"/>
                    </a:lnTo>
                    <a:lnTo>
                      <a:pt x="7653839" y="6401669"/>
                    </a:lnTo>
                    <a:lnTo>
                      <a:pt x="7652798" y="6359909"/>
                    </a:lnTo>
                    <a:lnTo>
                      <a:pt x="7668118" y="6311219"/>
                    </a:lnTo>
                    <a:lnTo>
                      <a:pt x="7672886" y="6269731"/>
                    </a:lnTo>
                    <a:lnTo>
                      <a:pt x="7676406" y="6239298"/>
                    </a:lnTo>
                    <a:lnTo>
                      <a:pt x="7659281" y="6199003"/>
                    </a:lnTo>
                    <a:lnTo>
                      <a:pt x="7652739" y="6147655"/>
                    </a:lnTo>
                    <a:lnTo>
                      <a:pt x="7672793" y="6139154"/>
                    </a:lnTo>
                    <a:lnTo>
                      <a:pt x="7623919" y="6098348"/>
                    </a:lnTo>
                    <a:lnTo>
                      <a:pt x="7597306" y="6092846"/>
                    </a:lnTo>
                    <a:lnTo>
                      <a:pt x="7559427" y="6100986"/>
                    </a:lnTo>
                    <a:lnTo>
                      <a:pt x="7538219" y="6088826"/>
                    </a:lnTo>
                    <a:lnTo>
                      <a:pt x="7523720" y="6057839"/>
                    </a:lnTo>
                    <a:lnTo>
                      <a:pt x="7457417" y="6002199"/>
                    </a:lnTo>
                    <a:lnTo>
                      <a:pt x="7371162" y="6081727"/>
                    </a:lnTo>
                    <a:lnTo>
                      <a:pt x="7328749" y="6109229"/>
                    </a:lnTo>
                    <a:lnTo>
                      <a:pt x="7264905" y="6113160"/>
                    </a:lnTo>
                    <a:lnTo>
                      <a:pt x="7231409" y="5998989"/>
                    </a:lnTo>
                    <a:lnTo>
                      <a:pt x="7087995" y="6030338"/>
                    </a:lnTo>
                    <a:lnTo>
                      <a:pt x="6990953" y="6051548"/>
                    </a:lnTo>
                    <a:lnTo>
                      <a:pt x="7023084" y="6116604"/>
                    </a:lnTo>
                    <a:lnTo>
                      <a:pt x="6964216" y="6154115"/>
                    </a:lnTo>
                    <a:lnTo>
                      <a:pt x="6928129" y="6177091"/>
                    </a:lnTo>
                    <a:lnTo>
                      <a:pt x="6853739" y="6179025"/>
                    </a:lnTo>
                    <a:lnTo>
                      <a:pt x="6811875" y="6185400"/>
                    </a:lnTo>
                    <a:lnTo>
                      <a:pt x="6776637" y="6190755"/>
                    </a:lnTo>
                    <a:lnTo>
                      <a:pt x="6744500" y="6216111"/>
                    </a:lnTo>
                    <a:lnTo>
                      <a:pt x="6713946" y="6231646"/>
                    </a:lnTo>
                    <a:lnTo>
                      <a:pt x="6693793" y="6241912"/>
                    </a:lnTo>
                    <a:lnTo>
                      <a:pt x="6667478" y="6248926"/>
                    </a:lnTo>
                    <a:lnTo>
                      <a:pt x="6645926" y="6257491"/>
                    </a:lnTo>
                    <a:lnTo>
                      <a:pt x="6519140" y="6307922"/>
                    </a:lnTo>
                    <a:lnTo>
                      <a:pt x="6319949" y="6305693"/>
                    </a:lnTo>
                    <a:lnTo>
                      <a:pt x="6187541" y="6277895"/>
                    </a:lnTo>
                    <a:lnTo>
                      <a:pt x="6164163" y="6272989"/>
                    </a:lnTo>
                    <a:lnTo>
                      <a:pt x="6090794" y="6268798"/>
                    </a:lnTo>
                    <a:lnTo>
                      <a:pt x="6034183" y="6215452"/>
                    </a:lnTo>
                    <a:lnTo>
                      <a:pt x="5989129" y="5947599"/>
                    </a:lnTo>
                    <a:lnTo>
                      <a:pt x="5972634" y="5932403"/>
                    </a:lnTo>
                    <a:lnTo>
                      <a:pt x="5950871" y="5925602"/>
                    </a:lnTo>
                    <a:lnTo>
                      <a:pt x="5834530" y="5954974"/>
                    </a:lnTo>
                    <a:lnTo>
                      <a:pt x="5710116" y="5991785"/>
                    </a:lnTo>
                    <a:lnTo>
                      <a:pt x="5589054" y="5962328"/>
                    </a:lnTo>
                    <a:lnTo>
                      <a:pt x="5540086" y="5950426"/>
                    </a:lnTo>
                    <a:lnTo>
                      <a:pt x="5465790" y="5902668"/>
                    </a:lnTo>
                    <a:lnTo>
                      <a:pt x="5419117" y="5895382"/>
                    </a:lnTo>
                    <a:lnTo>
                      <a:pt x="5382561" y="5912170"/>
                    </a:lnTo>
                    <a:lnTo>
                      <a:pt x="5345577" y="5899760"/>
                    </a:lnTo>
                    <a:lnTo>
                      <a:pt x="5321321" y="5891599"/>
                    </a:lnTo>
                    <a:lnTo>
                      <a:pt x="5300482" y="5873237"/>
                    </a:lnTo>
                    <a:lnTo>
                      <a:pt x="5278930" y="5860315"/>
                    </a:lnTo>
                    <a:lnTo>
                      <a:pt x="5235237" y="5834088"/>
                    </a:lnTo>
                    <a:lnTo>
                      <a:pt x="5162463" y="5809476"/>
                    </a:lnTo>
                    <a:lnTo>
                      <a:pt x="5111623" y="5811348"/>
                    </a:lnTo>
                    <a:lnTo>
                      <a:pt x="5061725" y="5813198"/>
                    </a:lnTo>
                    <a:lnTo>
                      <a:pt x="4951763" y="5834939"/>
                    </a:lnTo>
                    <a:lnTo>
                      <a:pt x="4917120" y="5872557"/>
                    </a:lnTo>
                    <a:lnTo>
                      <a:pt x="4884133" y="5908369"/>
                    </a:lnTo>
                    <a:lnTo>
                      <a:pt x="4863600" y="5993848"/>
                    </a:lnTo>
                    <a:lnTo>
                      <a:pt x="4800144" y="5985454"/>
                    </a:lnTo>
                    <a:lnTo>
                      <a:pt x="4771364" y="5981650"/>
                    </a:lnTo>
                    <a:lnTo>
                      <a:pt x="4659185" y="5940546"/>
                    </a:lnTo>
                    <a:lnTo>
                      <a:pt x="4630117" y="5926965"/>
                    </a:lnTo>
                    <a:lnTo>
                      <a:pt x="4588507" y="5907560"/>
                    </a:lnTo>
                    <a:lnTo>
                      <a:pt x="4503567" y="5838680"/>
                    </a:lnTo>
                    <a:lnTo>
                      <a:pt x="4461451" y="5837192"/>
                    </a:lnTo>
                    <a:lnTo>
                      <a:pt x="4490265" y="5825588"/>
                    </a:lnTo>
                    <a:lnTo>
                      <a:pt x="4540814" y="5809307"/>
                    </a:lnTo>
                    <a:lnTo>
                      <a:pt x="4564825" y="5793665"/>
                    </a:lnTo>
                    <a:lnTo>
                      <a:pt x="4584669" y="5780722"/>
                    </a:lnTo>
                    <a:lnTo>
                      <a:pt x="4606525" y="5775664"/>
                    </a:lnTo>
                    <a:lnTo>
                      <a:pt x="4626034" y="5761020"/>
                    </a:lnTo>
                    <a:lnTo>
                      <a:pt x="4694219" y="5709906"/>
                    </a:lnTo>
                    <a:lnTo>
                      <a:pt x="4727581" y="5642683"/>
                    </a:lnTo>
                    <a:lnTo>
                      <a:pt x="4745732" y="5559711"/>
                    </a:lnTo>
                    <a:lnTo>
                      <a:pt x="4752364" y="5529340"/>
                    </a:lnTo>
                    <a:lnTo>
                      <a:pt x="4754026" y="5497545"/>
                    </a:lnTo>
                    <a:lnTo>
                      <a:pt x="4766137" y="5468578"/>
                    </a:lnTo>
                    <a:lnTo>
                      <a:pt x="4797282" y="5394001"/>
                    </a:lnTo>
                    <a:lnTo>
                      <a:pt x="4894848" y="5370070"/>
                    </a:lnTo>
                    <a:lnTo>
                      <a:pt x="4783822" y="5282230"/>
                    </a:lnTo>
                    <a:lnTo>
                      <a:pt x="4781119" y="5260467"/>
                    </a:lnTo>
                    <a:lnTo>
                      <a:pt x="4750386" y="5265867"/>
                    </a:lnTo>
                    <a:lnTo>
                      <a:pt x="4706829" y="5261825"/>
                    </a:lnTo>
                    <a:lnTo>
                      <a:pt x="4674896" y="5246714"/>
                    </a:lnTo>
                    <a:lnTo>
                      <a:pt x="4647821" y="5235982"/>
                    </a:lnTo>
                    <a:lnTo>
                      <a:pt x="4534886" y="5191222"/>
                    </a:lnTo>
                    <a:lnTo>
                      <a:pt x="4514137" y="5180766"/>
                    </a:lnTo>
                    <a:lnTo>
                      <a:pt x="4453312" y="5074118"/>
                    </a:lnTo>
                    <a:lnTo>
                      <a:pt x="4440473" y="5057519"/>
                    </a:lnTo>
                    <a:lnTo>
                      <a:pt x="4442432" y="5019710"/>
                    </a:lnTo>
                    <a:lnTo>
                      <a:pt x="4466614" y="4992144"/>
                    </a:lnTo>
                    <a:lnTo>
                      <a:pt x="4520263" y="5033482"/>
                    </a:lnTo>
                    <a:lnTo>
                      <a:pt x="4559411" y="4968022"/>
                    </a:lnTo>
                    <a:lnTo>
                      <a:pt x="4596212" y="4906452"/>
                    </a:lnTo>
                    <a:lnTo>
                      <a:pt x="4543980" y="4846475"/>
                    </a:lnTo>
                    <a:lnTo>
                      <a:pt x="4540364" y="4784395"/>
                    </a:lnTo>
                    <a:lnTo>
                      <a:pt x="4537180" y="4729222"/>
                    </a:lnTo>
                    <a:lnTo>
                      <a:pt x="4594959" y="4679554"/>
                    </a:lnTo>
                    <a:lnTo>
                      <a:pt x="4590699" y="4570844"/>
                    </a:lnTo>
                    <a:lnTo>
                      <a:pt x="4589518" y="4540516"/>
                    </a:lnTo>
                    <a:lnTo>
                      <a:pt x="4555244" y="4327220"/>
                    </a:lnTo>
                    <a:lnTo>
                      <a:pt x="4544448" y="4308325"/>
                    </a:lnTo>
                    <a:lnTo>
                      <a:pt x="4500829" y="4232303"/>
                    </a:lnTo>
                    <a:lnTo>
                      <a:pt x="4387549" y="4189223"/>
                    </a:lnTo>
                    <a:lnTo>
                      <a:pt x="4341781" y="4105656"/>
                    </a:lnTo>
                    <a:lnTo>
                      <a:pt x="4307901" y="4043938"/>
                    </a:lnTo>
                    <a:lnTo>
                      <a:pt x="4303991" y="3909022"/>
                    </a:lnTo>
                    <a:lnTo>
                      <a:pt x="4242659" y="3872807"/>
                    </a:lnTo>
                    <a:lnTo>
                      <a:pt x="4088820" y="3829408"/>
                    </a:lnTo>
                    <a:lnTo>
                      <a:pt x="4077896" y="3779208"/>
                    </a:lnTo>
                    <a:lnTo>
                      <a:pt x="4070809" y="3746350"/>
                    </a:lnTo>
                    <a:lnTo>
                      <a:pt x="4075590" y="3662550"/>
                    </a:lnTo>
                    <a:lnTo>
                      <a:pt x="4105101" y="3632307"/>
                    </a:lnTo>
                    <a:lnTo>
                      <a:pt x="4132182" y="3620936"/>
                    </a:lnTo>
                    <a:lnTo>
                      <a:pt x="4196354" y="3608886"/>
                    </a:lnTo>
                    <a:lnTo>
                      <a:pt x="4240020" y="3601341"/>
                    </a:lnTo>
                    <a:lnTo>
                      <a:pt x="4284647" y="3588781"/>
                    </a:lnTo>
                    <a:lnTo>
                      <a:pt x="4332256" y="3575391"/>
                    </a:lnTo>
                    <a:lnTo>
                      <a:pt x="4373996" y="3546615"/>
                    </a:lnTo>
                    <a:lnTo>
                      <a:pt x="4423392" y="3537093"/>
                    </a:lnTo>
                    <a:lnTo>
                      <a:pt x="4488755" y="3524490"/>
                    </a:lnTo>
                    <a:lnTo>
                      <a:pt x="4560261" y="3531419"/>
                    </a:lnTo>
                    <a:lnTo>
                      <a:pt x="4624700" y="3513970"/>
                    </a:lnTo>
                    <a:lnTo>
                      <a:pt x="4677354" y="3499688"/>
                    </a:lnTo>
                    <a:lnTo>
                      <a:pt x="4725438" y="3467532"/>
                    </a:lnTo>
                    <a:lnTo>
                      <a:pt x="4778403" y="3452761"/>
                    </a:lnTo>
                    <a:lnTo>
                      <a:pt x="4832427" y="3437714"/>
                    </a:lnTo>
                    <a:lnTo>
                      <a:pt x="4902690" y="3454907"/>
                    </a:lnTo>
                    <a:lnTo>
                      <a:pt x="4957948" y="3456839"/>
                    </a:lnTo>
                    <a:lnTo>
                      <a:pt x="4998414" y="3452057"/>
                    </a:lnTo>
                    <a:lnTo>
                      <a:pt x="5045679" y="3447148"/>
                    </a:lnTo>
                    <a:lnTo>
                      <a:pt x="5071737" y="3447148"/>
                    </a:lnTo>
                    <a:lnTo>
                      <a:pt x="5099409" y="3440517"/>
                    </a:lnTo>
                    <a:lnTo>
                      <a:pt x="5177023" y="3421899"/>
                    </a:lnTo>
                    <a:lnTo>
                      <a:pt x="5259071" y="3360116"/>
                    </a:lnTo>
                    <a:lnTo>
                      <a:pt x="5274871" y="3280013"/>
                    </a:lnTo>
                    <a:lnTo>
                      <a:pt x="5293661" y="3184927"/>
                    </a:lnTo>
                    <a:lnTo>
                      <a:pt x="5238151" y="3105908"/>
                    </a:lnTo>
                    <a:lnTo>
                      <a:pt x="5229817" y="3085760"/>
                    </a:lnTo>
                    <a:lnTo>
                      <a:pt x="5214088" y="2939836"/>
                    </a:lnTo>
                    <a:lnTo>
                      <a:pt x="5122530" y="2852911"/>
                    </a:lnTo>
                    <a:lnTo>
                      <a:pt x="5106345" y="2833634"/>
                    </a:lnTo>
                    <a:lnTo>
                      <a:pt x="5057927" y="2797333"/>
                    </a:lnTo>
                    <a:lnTo>
                      <a:pt x="5076288" y="2767218"/>
                    </a:lnTo>
                    <a:lnTo>
                      <a:pt x="5055756" y="2740248"/>
                    </a:lnTo>
                    <a:lnTo>
                      <a:pt x="4954538" y="2717146"/>
                    </a:lnTo>
                    <a:lnTo>
                      <a:pt x="4921222" y="2701929"/>
                    </a:lnTo>
                    <a:lnTo>
                      <a:pt x="4859725" y="2673790"/>
                    </a:lnTo>
                    <a:lnTo>
                      <a:pt x="4853849" y="2545782"/>
                    </a:lnTo>
                    <a:lnTo>
                      <a:pt x="4768878" y="2527823"/>
                    </a:lnTo>
                    <a:lnTo>
                      <a:pt x="4731736" y="2530225"/>
                    </a:lnTo>
                    <a:lnTo>
                      <a:pt x="4699462" y="2575727"/>
                    </a:lnTo>
                    <a:lnTo>
                      <a:pt x="4653263" y="2584952"/>
                    </a:lnTo>
                    <a:lnTo>
                      <a:pt x="4606788" y="2549629"/>
                    </a:lnTo>
                    <a:lnTo>
                      <a:pt x="4636749" y="2493882"/>
                    </a:lnTo>
                    <a:lnTo>
                      <a:pt x="4609737" y="2447571"/>
                    </a:lnTo>
                    <a:lnTo>
                      <a:pt x="4589630" y="2413035"/>
                    </a:lnTo>
                    <a:lnTo>
                      <a:pt x="4543090" y="2388041"/>
                    </a:lnTo>
                    <a:lnTo>
                      <a:pt x="4511802" y="2364600"/>
                    </a:lnTo>
                    <a:lnTo>
                      <a:pt x="4446004" y="2315271"/>
                    </a:lnTo>
                    <a:lnTo>
                      <a:pt x="4422964" y="2223840"/>
                    </a:lnTo>
                    <a:lnTo>
                      <a:pt x="4356738" y="2174172"/>
                    </a:lnTo>
                    <a:lnTo>
                      <a:pt x="4267265" y="2107075"/>
                    </a:lnTo>
                    <a:lnTo>
                      <a:pt x="4168434" y="2192726"/>
                    </a:lnTo>
                    <a:lnTo>
                      <a:pt x="4113265" y="2153769"/>
                    </a:lnTo>
                    <a:lnTo>
                      <a:pt x="4064003" y="2086651"/>
                    </a:lnTo>
                    <a:lnTo>
                      <a:pt x="4247796" y="2067481"/>
                    </a:lnTo>
                    <a:lnTo>
                      <a:pt x="4152711" y="1941577"/>
                    </a:lnTo>
                    <a:lnTo>
                      <a:pt x="4103151" y="1875481"/>
                    </a:lnTo>
                    <a:lnTo>
                      <a:pt x="4035511" y="1792763"/>
                    </a:lnTo>
                    <a:lnTo>
                      <a:pt x="4009891" y="1713064"/>
                    </a:lnTo>
                    <a:lnTo>
                      <a:pt x="4003641" y="1675637"/>
                    </a:lnTo>
                    <a:lnTo>
                      <a:pt x="3990336" y="1637871"/>
                    </a:lnTo>
                    <a:lnTo>
                      <a:pt x="3986764" y="1605609"/>
                    </a:lnTo>
                    <a:lnTo>
                      <a:pt x="3989077" y="1558512"/>
                    </a:lnTo>
                    <a:lnTo>
                      <a:pt x="4011659" y="1524847"/>
                    </a:lnTo>
                    <a:lnTo>
                      <a:pt x="4013975" y="1479110"/>
                    </a:lnTo>
                    <a:lnTo>
                      <a:pt x="4017147" y="1415903"/>
                    </a:lnTo>
                    <a:lnTo>
                      <a:pt x="3979285" y="1341071"/>
                    </a:lnTo>
                    <a:lnTo>
                      <a:pt x="4008527" y="1283241"/>
                    </a:lnTo>
                    <a:lnTo>
                      <a:pt x="4022982" y="1254635"/>
                    </a:lnTo>
                    <a:lnTo>
                      <a:pt x="4061234" y="1225199"/>
                    </a:lnTo>
                    <a:lnTo>
                      <a:pt x="4081980" y="1198909"/>
                    </a:lnTo>
                    <a:lnTo>
                      <a:pt x="4083239" y="1171726"/>
                    </a:lnTo>
                    <a:lnTo>
                      <a:pt x="4067035" y="1121484"/>
                    </a:lnTo>
                    <a:lnTo>
                      <a:pt x="4029921" y="1093727"/>
                    </a:lnTo>
                    <a:lnTo>
                      <a:pt x="4009910" y="1058809"/>
                    </a:lnTo>
                    <a:lnTo>
                      <a:pt x="3982919" y="1011754"/>
                    </a:lnTo>
                    <a:lnTo>
                      <a:pt x="3998013" y="961236"/>
                    </a:lnTo>
                    <a:lnTo>
                      <a:pt x="3952779" y="910547"/>
                    </a:lnTo>
                    <a:lnTo>
                      <a:pt x="3919258" y="872929"/>
                    </a:lnTo>
                    <a:lnTo>
                      <a:pt x="3877592" y="846384"/>
                    </a:lnTo>
                    <a:lnTo>
                      <a:pt x="3831722" y="818053"/>
                    </a:lnTo>
                    <a:lnTo>
                      <a:pt x="3775363" y="782943"/>
                    </a:lnTo>
                    <a:lnTo>
                      <a:pt x="3655324" y="763815"/>
                    </a:lnTo>
                    <a:lnTo>
                      <a:pt x="3619540" y="729641"/>
                    </a:lnTo>
                    <a:lnTo>
                      <a:pt x="3558753" y="671534"/>
                    </a:lnTo>
                    <a:lnTo>
                      <a:pt x="3553736" y="498003"/>
                    </a:lnTo>
                    <a:lnTo>
                      <a:pt x="3463109" y="396392"/>
                    </a:lnTo>
                    <a:lnTo>
                      <a:pt x="3370132" y="292145"/>
                    </a:lnTo>
                    <a:lnTo>
                      <a:pt x="3290407" y="328913"/>
                    </a:lnTo>
                    <a:lnTo>
                      <a:pt x="3234593" y="253571"/>
                    </a:lnTo>
                    <a:lnTo>
                      <a:pt x="3209388" y="219523"/>
                    </a:lnTo>
                    <a:lnTo>
                      <a:pt x="3153621" y="93493"/>
                    </a:lnTo>
                    <a:lnTo>
                      <a:pt x="3169310" y="56342"/>
                    </a:lnTo>
                    <a:lnTo>
                      <a:pt x="3161106" y="9839"/>
                    </a:lnTo>
                    <a:lnTo>
                      <a:pt x="3035836" y="11859"/>
                    </a:lnTo>
                    <a:lnTo>
                      <a:pt x="3000648" y="8735"/>
                    </a:lnTo>
                    <a:lnTo>
                      <a:pt x="2956098" y="4762"/>
                    </a:lnTo>
                    <a:lnTo>
                      <a:pt x="2909379" y="0"/>
                    </a:lnTo>
                    <a:lnTo>
                      <a:pt x="2864628" y="4654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90" name="Zakarpattia¬0" descr="Zakarpattia¬0">
                <a:extLst>
                  <a:ext uri="{FF2B5EF4-FFF2-40B4-BE49-F238E27FC236}">
                    <a16:creationId xmlns:a16="http://schemas.microsoft.com/office/drawing/2014/main" id="{CD7461D4-3E4A-468B-B711-328EFB5A5E9F}"/>
                  </a:ext>
                </a:extLst>
              </p:cNvPr>
              <p:cNvSpPr/>
              <p:nvPr/>
            </p:nvSpPr>
            <p:spPr>
              <a:xfrm>
                <a:off x="3" y="17259208"/>
                <a:ext cx="8745009" cy="6290833"/>
              </a:xfrm>
              <a:custGeom>
                <a:avLst/>
                <a:gdLst/>
                <a:ahLst/>
                <a:cxnLst/>
                <a:rect l="0" t="0" r="0" b="0"/>
                <a:pathLst>
                  <a:path w="8745006" h="6290828">
                    <a:moveTo>
                      <a:pt x="8481235" y="6006520"/>
                    </a:moveTo>
                    <a:lnTo>
                      <a:pt x="8486544" y="5982080"/>
                    </a:lnTo>
                    <a:lnTo>
                      <a:pt x="8493172" y="5953529"/>
                    </a:lnTo>
                    <a:lnTo>
                      <a:pt x="8509382" y="5867908"/>
                    </a:lnTo>
                    <a:lnTo>
                      <a:pt x="8521523" y="5832757"/>
                    </a:lnTo>
                    <a:lnTo>
                      <a:pt x="8539614" y="5800238"/>
                    </a:lnTo>
                    <a:lnTo>
                      <a:pt x="8557703" y="5767718"/>
                    </a:lnTo>
                    <a:lnTo>
                      <a:pt x="8581729" y="5738569"/>
                    </a:lnTo>
                    <a:lnTo>
                      <a:pt x="8617143" y="5684622"/>
                    </a:lnTo>
                    <a:lnTo>
                      <a:pt x="8639348" y="5650798"/>
                    </a:lnTo>
                    <a:lnTo>
                      <a:pt x="8654464" y="5607937"/>
                    </a:lnTo>
                    <a:lnTo>
                      <a:pt x="8679716" y="5575807"/>
                    </a:lnTo>
                    <a:lnTo>
                      <a:pt x="8701393" y="5548174"/>
                    </a:lnTo>
                    <a:lnTo>
                      <a:pt x="8725853" y="5524928"/>
                    </a:lnTo>
                    <a:lnTo>
                      <a:pt x="8745005" y="5494195"/>
                    </a:lnTo>
                    <a:lnTo>
                      <a:pt x="8683527" y="5406620"/>
                    </a:lnTo>
                    <a:lnTo>
                      <a:pt x="8650909" y="5356519"/>
                    </a:lnTo>
                    <a:lnTo>
                      <a:pt x="8614426" y="5307850"/>
                    </a:lnTo>
                    <a:lnTo>
                      <a:pt x="8577943" y="5259172"/>
                    </a:lnTo>
                    <a:lnTo>
                      <a:pt x="8537490" y="5212527"/>
                    </a:lnTo>
                    <a:lnTo>
                      <a:pt x="8467524" y="5150065"/>
                    </a:lnTo>
                    <a:lnTo>
                      <a:pt x="8416296" y="5104324"/>
                    </a:lnTo>
                    <a:lnTo>
                      <a:pt x="8363899" y="5055093"/>
                    </a:lnTo>
                    <a:lnTo>
                      <a:pt x="8332864" y="4999082"/>
                    </a:lnTo>
                    <a:lnTo>
                      <a:pt x="8317346" y="4971073"/>
                    </a:lnTo>
                    <a:lnTo>
                      <a:pt x="8306952" y="4941205"/>
                    </a:lnTo>
                    <a:lnTo>
                      <a:pt x="8305659" y="4909306"/>
                    </a:lnTo>
                    <a:lnTo>
                      <a:pt x="8304373" y="4877412"/>
                    </a:lnTo>
                    <a:lnTo>
                      <a:pt x="8311080" y="4843957"/>
                    </a:lnTo>
                    <a:lnTo>
                      <a:pt x="8330146" y="4807289"/>
                    </a:lnTo>
                    <a:lnTo>
                      <a:pt x="8340599" y="4787188"/>
                    </a:lnTo>
                    <a:lnTo>
                      <a:pt x="8357396" y="4765280"/>
                    </a:lnTo>
                    <a:lnTo>
                      <a:pt x="8370949" y="4743365"/>
                    </a:lnTo>
                    <a:lnTo>
                      <a:pt x="8384501" y="4721443"/>
                    </a:lnTo>
                    <a:lnTo>
                      <a:pt x="8395284" y="4698969"/>
                    </a:lnTo>
                    <a:lnTo>
                      <a:pt x="8396795" y="4675352"/>
                    </a:lnTo>
                    <a:lnTo>
                      <a:pt x="8353987" y="4602286"/>
                    </a:lnTo>
                    <a:lnTo>
                      <a:pt x="8340751" y="4582436"/>
                    </a:lnTo>
                    <a:lnTo>
                      <a:pt x="8322470" y="4544350"/>
                    </a:lnTo>
                    <a:lnTo>
                      <a:pt x="8305046" y="4522415"/>
                    </a:lnTo>
                    <a:lnTo>
                      <a:pt x="8292061" y="4495806"/>
                    </a:lnTo>
                    <a:lnTo>
                      <a:pt x="8274162" y="4459078"/>
                    </a:lnTo>
                    <a:lnTo>
                      <a:pt x="8259713" y="4418791"/>
                    </a:lnTo>
                    <a:lnTo>
                      <a:pt x="8240370" y="4382908"/>
                    </a:lnTo>
                    <a:lnTo>
                      <a:pt x="7998785" y="4153971"/>
                    </a:lnTo>
                    <a:lnTo>
                      <a:pt x="7961953" y="4123154"/>
                    </a:lnTo>
                    <a:lnTo>
                      <a:pt x="7926122" y="4102241"/>
                    </a:lnTo>
                    <a:lnTo>
                      <a:pt x="7894876" y="4076864"/>
                    </a:lnTo>
                    <a:lnTo>
                      <a:pt x="7875098" y="4048816"/>
                    </a:lnTo>
                    <a:lnTo>
                      <a:pt x="7854812" y="4012419"/>
                    </a:lnTo>
                    <a:lnTo>
                      <a:pt x="7833668" y="3995252"/>
                    </a:lnTo>
                    <a:lnTo>
                      <a:pt x="7788296" y="3991598"/>
                    </a:lnTo>
                    <a:lnTo>
                      <a:pt x="7742923" y="3986884"/>
                    </a:lnTo>
                    <a:lnTo>
                      <a:pt x="7697649" y="3995252"/>
                    </a:lnTo>
                    <a:lnTo>
                      <a:pt x="7685686" y="3971920"/>
                    </a:lnTo>
                    <a:lnTo>
                      <a:pt x="7691074" y="3941457"/>
                    </a:lnTo>
                    <a:lnTo>
                      <a:pt x="7693573" y="3909564"/>
                    </a:lnTo>
                    <a:lnTo>
                      <a:pt x="7696264" y="3876735"/>
                    </a:lnTo>
                    <a:lnTo>
                      <a:pt x="7690883" y="3844454"/>
                    </a:lnTo>
                    <a:lnTo>
                      <a:pt x="7673169" y="3814347"/>
                    </a:lnTo>
                    <a:lnTo>
                      <a:pt x="7655020" y="3790883"/>
                    </a:lnTo>
                    <a:lnTo>
                      <a:pt x="7624756" y="3781789"/>
                    </a:lnTo>
                    <a:lnTo>
                      <a:pt x="7603803" y="3761297"/>
                    </a:lnTo>
                    <a:lnTo>
                      <a:pt x="7573513" y="3719474"/>
                    </a:lnTo>
                    <a:lnTo>
                      <a:pt x="7537149" y="3720495"/>
                    </a:lnTo>
                    <a:lnTo>
                      <a:pt x="7524453" y="3737583"/>
                    </a:lnTo>
                    <a:lnTo>
                      <a:pt x="7518234" y="3760256"/>
                    </a:lnTo>
                    <a:lnTo>
                      <a:pt x="7508586" y="3785784"/>
                    </a:lnTo>
                    <a:lnTo>
                      <a:pt x="7498945" y="3811307"/>
                    </a:lnTo>
                    <a:lnTo>
                      <a:pt x="7485623" y="3839170"/>
                    </a:lnTo>
                    <a:lnTo>
                      <a:pt x="7460977" y="3866038"/>
                    </a:lnTo>
                    <a:lnTo>
                      <a:pt x="7438291" y="3890730"/>
                    </a:lnTo>
                    <a:lnTo>
                      <a:pt x="7398972" y="3905081"/>
                    </a:lnTo>
                    <a:lnTo>
                      <a:pt x="7357609" y="3912282"/>
                    </a:lnTo>
                    <a:lnTo>
                      <a:pt x="7316240" y="3919483"/>
                    </a:lnTo>
                    <a:lnTo>
                      <a:pt x="7272924" y="3919550"/>
                    </a:lnTo>
                    <a:lnTo>
                      <a:pt x="7243346" y="3919082"/>
                    </a:lnTo>
                    <a:lnTo>
                      <a:pt x="7194471" y="3918303"/>
                    </a:lnTo>
                    <a:lnTo>
                      <a:pt x="7154664" y="3914781"/>
                    </a:lnTo>
                    <a:lnTo>
                      <a:pt x="7120931" y="3905482"/>
                    </a:lnTo>
                    <a:lnTo>
                      <a:pt x="7087205" y="3896178"/>
                    </a:lnTo>
                    <a:lnTo>
                      <a:pt x="7059671" y="3881741"/>
                    </a:lnTo>
                    <a:lnTo>
                      <a:pt x="7037960" y="3861956"/>
                    </a:lnTo>
                    <a:lnTo>
                      <a:pt x="7016250" y="3842172"/>
                    </a:lnTo>
                    <a:lnTo>
                      <a:pt x="7000449" y="3816649"/>
                    </a:lnTo>
                    <a:lnTo>
                      <a:pt x="6987635" y="3784420"/>
                    </a:lnTo>
                    <a:lnTo>
                      <a:pt x="6974821" y="3752197"/>
                    </a:lnTo>
                    <a:lnTo>
                      <a:pt x="6964751" y="3712713"/>
                    </a:lnTo>
                    <a:lnTo>
                      <a:pt x="6957707" y="3666088"/>
                    </a:lnTo>
                    <a:lnTo>
                      <a:pt x="6947076" y="3595740"/>
                    </a:lnTo>
                    <a:lnTo>
                      <a:pt x="6943020" y="3549780"/>
                    </a:lnTo>
                    <a:lnTo>
                      <a:pt x="6944109" y="3504222"/>
                    </a:lnTo>
                    <a:lnTo>
                      <a:pt x="6945190" y="3458665"/>
                    </a:lnTo>
                    <a:lnTo>
                      <a:pt x="6952366" y="3413602"/>
                    </a:lnTo>
                    <a:lnTo>
                      <a:pt x="6964507" y="3346439"/>
                    </a:lnTo>
                    <a:lnTo>
                      <a:pt x="6969400" y="3319386"/>
                    </a:lnTo>
                    <a:lnTo>
                      <a:pt x="6983230" y="3291115"/>
                    </a:lnTo>
                    <a:lnTo>
                      <a:pt x="6979470" y="3262111"/>
                    </a:lnTo>
                    <a:lnTo>
                      <a:pt x="6974966" y="3227434"/>
                    </a:lnTo>
                    <a:lnTo>
                      <a:pt x="6961790" y="3187297"/>
                    </a:lnTo>
                    <a:lnTo>
                      <a:pt x="6956171" y="3166417"/>
                    </a:lnTo>
                    <a:lnTo>
                      <a:pt x="6953137" y="3144028"/>
                    </a:lnTo>
                    <a:lnTo>
                      <a:pt x="6957714" y="3101603"/>
                    </a:lnTo>
                    <a:lnTo>
                      <a:pt x="6965838" y="3059277"/>
                    </a:lnTo>
                    <a:lnTo>
                      <a:pt x="6969954" y="3037672"/>
                    </a:lnTo>
                    <a:lnTo>
                      <a:pt x="6974069" y="3016075"/>
                    </a:lnTo>
                    <a:lnTo>
                      <a:pt x="6968596" y="2975107"/>
                    </a:lnTo>
                    <a:lnTo>
                      <a:pt x="6950559" y="2959252"/>
                    </a:lnTo>
                    <a:lnTo>
                      <a:pt x="6912829" y="2954702"/>
                    </a:lnTo>
                    <a:lnTo>
                      <a:pt x="6875469" y="2963757"/>
                    </a:lnTo>
                    <a:lnTo>
                      <a:pt x="6857062" y="2975107"/>
                    </a:lnTo>
                    <a:lnTo>
                      <a:pt x="6820243" y="2997806"/>
                    </a:lnTo>
                    <a:lnTo>
                      <a:pt x="6785646" y="3032891"/>
                    </a:lnTo>
                    <a:lnTo>
                      <a:pt x="6757763" y="3052637"/>
                    </a:lnTo>
                    <a:lnTo>
                      <a:pt x="6731812" y="3071016"/>
                    </a:lnTo>
                    <a:lnTo>
                      <a:pt x="6675538" y="3099051"/>
                    </a:lnTo>
                    <a:lnTo>
                      <a:pt x="6646230" y="3108402"/>
                    </a:lnTo>
                    <a:lnTo>
                      <a:pt x="6621407" y="3116323"/>
                    </a:lnTo>
                    <a:lnTo>
                      <a:pt x="6593550" y="3117833"/>
                    </a:lnTo>
                    <a:lnTo>
                      <a:pt x="6565977" y="3119284"/>
                    </a:lnTo>
                    <a:lnTo>
                      <a:pt x="6538403" y="3120735"/>
                    </a:lnTo>
                    <a:lnTo>
                      <a:pt x="6511965" y="3123181"/>
                    </a:lnTo>
                    <a:lnTo>
                      <a:pt x="6488447" y="3134249"/>
                    </a:lnTo>
                    <a:lnTo>
                      <a:pt x="6416061" y="3179707"/>
                    </a:lnTo>
                    <a:lnTo>
                      <a:pt x="6393381" y="3199815"/>
                    </a:lnTo>
                    <a:lnTo>
                      <a:pt x="6378497" y="3227671"/>
                    </a:lnTo>
                    <a:lnTo>
                      <a:pt x="6359227" y="3247146"/>
                    </a:lnTo>
                    <a:lnTo>
                      <a:pt x="6340273" y="3266298"/>
                    </a:lnTo>
                    <a:lnTo>
                      <a:pt x="6309916" y="3283945"/>
                    </a:lnTo>
                    <a:lnTo>
                      <a:pt x="6277615" y="3292031"/>
                    </a:lnTo>
                    <a:lnTo>
                      <a:pt x="6244099" y="3297907"/>
                    </a:lnTo>
                    <a:lnTo>
                      <a:pt x="6213196" y="3294306"/>
                    </a:lnTo>
                    <a:lnTo>
                      <a:pt x="6187841" y="3279784"/>
                    </a:lnTo>
                    <a:lnTo>
                      <a:pt x="6169692" y="3265204"/>
                    </a:lnTo>
                    <a:lnTo>
                      <a:pt x="6159278" y="3224019"/>
                    </a:lnTo>
                    <a:lnTo>
                      <a:pt x="6157173" y="3201978"/>
                    </a:lnTo>
                    <a:lnTo>
                      <a:pt x="6160160" y="3177307"/>
                    </a:lnTo>
                    <a:lnTo>
                      <a:pt x="6166078" y="3151922"/>
                    </a:lnTo>
                    <a:lnTo>
                      <a:pt x="6177911" y="3101169"/>
                    </a:lnTo>
                    <a:lnTo>
                      <a:pt x="6198860" y="3047130"/>
                    </a:lnTo>
                    <a:lnTo>
                      <a:pt x="6194641" y="3007745"/>
                    </a:lnTo>
                    <a:lnTo>
                      <a:pt x="6185515" y="2973404"/>
                    </a:lnTo>
                    <a:lnTo>
                      <a:pt x="6168404" y="2941433"/>
                    </a:lnTo>
                    <a:lnTo>
                      <a:pt x="6149756" y="2911169"/>
                    </a:lnTo>
                    <a:lnTo>
                      <a:pt x="6132282" y="2881281"/>
                    </a:lnTo>
                    <a:lnTo>
                      <a:pt x="6112096" y="2863106"/>
                    </a:lnTo>
                    <a:lnTo>
                      <a:pt x="6091267" y="2851320"/>
                    </a:lnTo>
                    <a:lnTo>
                      <a:pt x="6070439" y="2839541"/>
                    </a:lnTo>
                    <a:lnTo>
                      <a:pt x="6048447" y="2834272"/>
                    </a:lnTo>
                    <a:lnTo>
                      <a:pt x="6027338" y="2832281"/>
                    </a:lnTo>
                    <a:lnTo>
                      <a:pt x="5985118" y="2828291"/>
                    </a:lnTo>
                    <a:lnTo>
                      <a:pt x="5946161" y="2836118"/>
                    </a:lnTo>
                    <a:lnTo>
                      <a:pt x="5921243" y="2821400"/>
                    </a:lnTo>
                    <a:lnTo>
                      <a:pt x="5899989" y="2796042"/>
                    </a:lnTo>
                    <a:lnTo>
                      <a:pt x="5893571" y="2752773"/>
                    </a:lnTo>
                    <a:lnTo>
                      <a:pt x="5860087" y="2719732"/>
                    </a:lnTo>
                    <a:lnTo>
                      <a:pt x="5830635" y="2705447"/>
                    </a:lnTo>
                    <a:lnTo>
                      <a:pt x="5802905" y="2689462"/>
                    </a:lnTo>
                    <a:lnTo>
                      <a:pt x="5775175" y="2673469"/>
                    </a:lnTo>
                    <a:lnTo>
                      <a:pt x="5748274" y="2655570"/>
                    </a:lnTo>
                    <a:lnTo>
                      <a:pt x="5729454" y="2625531"/>
                    </a:lnTo>
                    <a:lnTo>
                      <a:pt x="5717107" y="2605811"/>
                    </a:lnTo>
                    <a:lnTo>
                      <a:pt x="5714048" y="2583831"/>
                    </a:lnTo>
                    <a:lnTo>
                      <a:pt x="5714492" y="2561600"/>
                    </a:lnTo>
                    <a:lnTo>
                      <a:pt x="5714954" y="2539367"/>
                    </a:lnTo>
                    <a:lnTo>
                      <a:pt x="5719353" y="2516676"/>
                    </a:lnTo>
                    <a:lnTo>
                      <a:pt x="5724013" y="2494951"/>
                    </a:lnTo>
                    <a:lnTo>
                      <a:pt x="5728676" y="2473221"/>
                    </a:lnTo>
                    <a:lnTo>
                      <a:pt x="5733535" y="2435102"/>
                    </a:lnTo>
                    <a:lnTo>
                      <a:pt x="5729835" y="2400526"/>
                    </a:lnTo>
                    <a:lnTo>
                      <a:pt x="5702973" y="2375695"/>
                    </a:lnTo>
                    <a:lnTo>
                      <a:pt x="5665525" y="2367089"/>
                    </a:lnTo>
                    <a:lnTo>
                      <a:pt x="5632157" y="2356741"/>
                    </a:lnTo>
                    <a:lnTo>
                      <a:pt x="5568526" y="2349704"/>
                    </a:lnTo>
                    <a:lnTo>
                      <a:pt x="5533586" y="2358932"/>
                    </a:lnTo>
                    <a:lnTo>
                      <a:pt x="5510261" y="2365071"/>
                    </a:lnTo>
                    <a:lnTo>
                      <a:pt x="5481502" y="2378822"/>
                    </a:lnTo>
                    <a:lnTo>
                      <a:pt x="5451973" y="2386135"/>
                    </a:lnTo>
                    <a:lnTo>
                      <a:pt x="5422203" y="2392038"/>
                    </a:lnTo>
                    <a:lnTo>
                      <a:pt x="5394691" y="2388391"/>
                    </a:lnTo>
                    <a:lnTo>
                      <a:pt x="5370361" y="2371165"/>
                    </a:lnTo>
                    <a:lnTo>
                      <a:pt x="5340565" y="2341072"/>
                    </a:lnTo>
                    <a:lnTo>
                      <a:pt x="5324817" y="2307281"/>
                    </a:lnTo>
                    <a:lnTo>
                      <a:pt x="5299631" y="2274590"/>
                    </a:lnTo>
                    <a:lnTo>
                      <a:pt x="5282778" y="2252740"/>
                    </a:lnTo>
                    <a:lnTo>
                      <a:pt x="5259781" y="2234380"/>
                    </a:lnTo>
                    <a:lnTo>
                      <a:pt x="5243863" y="2212023"/>
                    </a:lnTo>
                    <a:lnTo>
                      <a:pt x="5226202" y="2187167"/>
                    </a:lnTo>
                    <a:lnTo>
                      <a:pt x="5210903" y="2156989"/>
                    </a:lnTo>
                    <a:lnTo>
                      <a:pt x="5193536" y="2129053"/>
                    </a:lnTo>
                    <a:lnTo>
                      <a:pt x="5176169" y="2101110"/>
                    </a:lnTo>
                    <a:lnTo>
                      <a:pt x="5156545" y="2076175"/>
                    </a:lnTo>
                    <a:lnTo>
                      <a:pt x="5126886" y="2062398"/>
                    </a:lnTo>
                    <a:lnTo>
                      <a:pt x="5080778" y="2040998"/>
                    </a:lnTo>
                    <a:lnTo>
                      <a:pt x="5035301" y="2019399"/>
                    </a:lnTo>
                    <a:lnTo>
                      <a:pt x="4989506" y="2001191"/>
                    </a:lnTo>
                    <a:lnTo>
                      <a:pt x="4943711" y="1982989"/>
                    </a:lnTo>
                    <a:lnTo>
                      <a:pt x="4897023" y="1968216"/>
                    </a:lnTo>
                    <a:lnTo>
                      <a:pt x="4846685" y="1959023"/>
                    </a:lnTo>
                    <a:lnTo>
                      <a:pt x="4813682" y="1941962"/>
                    </a:lnTo>
                    <a:lnTo>
                      <a:pt x="4781755" y="1921683"/>
                    </a:lnTo>
                    <a:lnTo>
                      <a:pt x="4751471" y="1914139"/>
                    </a:lnTo>
                    <a:lnTo>
                      <a:pt x="4713110" y="1916881"/>
                    </a:lnTo>
                    <a:lnTo>
                      <a:pt x="4676811" y="1934978"/>
                    </a:lnTo>
                    <a:lnTo>
                      <a:pt x="4639935" y="1944066"/>
                    </a:lnTo>
                    <a:lnTo>
                      <a:pt x="4591192" y="1956082"/>
                    </a:lnTo>
                    <a:lnTo>
                      <a:pt x="4557962" y="1957466"/>
                    </a:lnTo>
                    <a:lnTo>
                      <a:pt x="4525678" y="1953589"/>
                    </a:lnTo>
                    <a:lnTo>
                      <a:pt x="4493395" y="1949704"/>
                    </a:lnTo>
                    <a:lnTo>
                      <a:pt x="4462460" y="1940274"/>
                    </a:lnTo>
                    <a:lnTo>
                      <a:pt x="4415502" y="1927744"/>
                    </a:lnTo>
                    <a:lnTo>
                      <a:pt x="4389063" y="1920687"/>
                    </a:lnTo>
                    <a:lnTo>
                      <a:pt x="4358269" y="1917429"/>
                    </a:lnTo>
                    <a:lnTo>
                      <a:pt x="4332530" y="1908697"/>
                    </a:lnTo>
                    <a:lnTo>
                      <a:pt x="4306740" y="1899952"/>
                    </a:lnTo>
                    <a:lnTo>
                      <a:pt x="4293589" y="1882200"/>
                    </a:lnTo>
                    <a:lnTo>
                      <a:pt x="4286283" y="1859730"/>
                    </a:lnTo>
                    <a:lnTo>
                      <a:pt x="4278975" y="1837261"/>
                    </a:lnTo>
                    <a:lnTo>
                      <a:pt x="4277937" y="1810348"/>
                    </a:lnTo>
                    <a:lnTo>
                      <a:pt x="4276762" y="1784925"/>
                    </a:lnTo>
                    <a:lnTo>
                      <a:pt x="4275588" y="1759494"/>
                    </a:lnTo>
                    <a:lnTo>
                      <a:pt x="4274638" y="1734527"/>
                    </a:lnTo>
                    <a:lnTo>
                      <a:pt x="4259844" y="1699296"/>
                    </a:lnTo>
                    <a:lnTo>
                      <a:pt x="4219633" y="1689708"/>
                    </a:lnTo>
                    <a:lnTo>
                      <a:pt x="4196398" y="1697178"/>
                    </a:lnTo>
                    <a:lnTo>
                      <a:pt x="4174858" y="1720321"/>
                    </a:lnTo>
                    <a:lnTo>
                      <a:pt x="4154344" y="1752279"/>
                    </a:lnTo>
                    <a:lnTo>
                      <a:pt x="4134894" y="1784978"/>
                    </a:lnTo>
                    <a:lnTo>
                      <a:pt x="4113945" y="1812069"/>
                    </a:lnTo>
                    <a:lnTo>
                      <a:pt x="4090415" y="1827085"/>
                    </a:lnTo>
                    <a:lnTo>
                      <a:pt x="4065931" y="1825727"/>
                    </a:lnTo>
                    <a:lnTo>
                      <a:pt x="4045060" y="1796603"/>
                    </a:lnTo>
                    <a:lnTo>
                      <a:pt x="4037835" y="1767797"/>
                    </a:lnTo>
                    <a:lnTo>
                      <a:pt x="4040090" y="1738674"/>
                    </a:lnTo>
                    <a:lnTo>
                      <a:pt x="4042327" y="1709920"/>
                    </a:lnTo>
                    <a:lnTo>
                      <a:pt x="4048803" y="1680930"/>
                    </a:lnTo>
                    <a:lnTo>
                      <a:pt x="4038732" y="1650263"/>
                    </a:lnTo>
                    <a:lnTo>
                      <a:pt x="4014122" y="1643721"/>
                    </a:lnTo>
                    <a:lnTo>
                      <a:pt x="3984132" y="1672468"/>
                    </a:lnTo>
                    <a:lnTo>
                      <a:pt x="3957184" y="1704012"/>
                    </a:lnTo>
                    <a:lnTo>
                      <a:pt x="3921755" y="1719634"/>
                    </a:lnTo>
                    <a:lnTo>
                      <a:pt x="3873808" y="1725729"/>
                    </a:lnTo>
                    <a:lnTo>
                      <a:pt x="3817152" y="1728228"/>
                    </a:lnTo>
                    <a:lnTo>
                      <a:pt x="3781382" y="1722747"/>
                    </a:lnTo>
                    <a:lnTo>
                      <a:pt x="3749009" y="1711471"/>
                    </a:lnTo>
                    <a:lnTo>
                      <a:pt x="3716638" y="1700194"/>
                    </a:lnTo>
                    <a:lnTo>
                      <a:pt x="3687435" y="1682882"/>
                    </a:lnTo>
                    <a:lnTo>
                      <a:pt x="3661956" y="1661145"/>
                    </a:lnTo>
                    <a:lnTo>
                      <a:pt x="3636480" y="1639408"/>
                    </a:lnTo>
                    <a:lnTo>
                      <a:pt x="3613934" y="1613193"/>
                    </a:lnTo>
                    <a:lnTo>
                      <a:pt x="3593947" y="1583615"/>
                    </a:lnTo>
                    <a:lnTo>
                      <a:pt x="3573961" y="1554031"/>
                    </a:lnTo>
                    <a:lnTo>
                      <a:pt x="3556804" y="1521846"/>
                    </a:lnTo>
                    <a:lnTo>
                      <a:pt x="3540899" y="1487039"/>
                    </a:lnTo>
                    <a:lnTo>
                      <a:pt x="3523175" y="1448248"/>
                    </a:lnTo>
                    <a:lnTo>
                      <a:pt x="3510620" y="1405407"/>
                    </a:lnTo>
                    <a:lnTo>
                      <a:pt x="3497373" y="1364625"/>
                    </a:lnTo>
                    <a:lnTo>
                      <a:pt x="3484125" y="1323835"/>
                    </a:lnTo>
                    <a:lnTo>
                      <a:pt x="3470643" y="1284582"/>
                    </a:lnTo>
                    <a:lnTo>
                      <a:pt x="3452487" y="1253085"/>
                    </a:lnTo>
                    <a:lnTo>
                      <a:pt x="3434329" y="1221587"/>
                    </a:lnTo>
                    <a:lnTo>
                      <a:pt x="3411489" y="1197352"/>
                    </a:lnTo>
                    <a:lnTo>
                      <a:pt x="3379035" y="1186438"/>
                    </a:lnTo>
                    <a:lnTo>
                      <a:pt x="3343467" y="1179188"/>
                    </a:lnTo>
                    <a:lnTo>
                      <a:pt x="3321907" y="1180996"/>
                    </a:lnTo>
                    <a:lnTo>
                      <a:pt x="3300347" y="1182804"/>
                    </a:lnTo>
                    <a:lnTo>
                      <a:pt x="3276523" y="1188197"/>
                    </a:lnTo>
                    <a:lnTo>
                      <a:pt x="3248457" y="1198677"/>
                    </a:lnTo>
                    <a:lnTo>
                      <a:pt x="3132457" y="1232384"/>
                    </a:lnTo>
                    <a:lnTo>
                      <a:pt x="3108356" y="1244921"/>
                    </a:lnTo>
                    <a:lnTo>
                      <a:pt x="3084488" y="1257359"/>
                    </a:lnTo>
                    <a:lnTo>
                      <a:pt x="3050677" y="1276325"/>
                    </a:lnTo>
                    <a:lnTo>
                      <a:pt x="3024024" y="1280289"/>
                    </a:lnTo>
                    <a:lnTo>
                      <a:pt x="2987480" y="1285723"/>
                    </a:lnTo>
                    <a:lnTo>
                      <a:pt x="2954055" y="1276708"/>
                    </a:lnTo>
                    <a:lnTo>
                      <a:pt x="2927450" y="1257167"/>
                    </a:lnTo>
                    <a:lnTo>
                      <a:pt x="2900843" y="1237627"/>
                    </a:lnTo>
                    <a:lnTo>
                      <a:pt x="2881347" y="1208227"/>
                    </a:lnTo>
                    <a:lnTo>
                      <a:pt x="2874402" y="1171473"/>
                    </a:lnTo>
                    <a:lnTo>
                      <a:pt x="2876630" y="1124696"/>
                    </a:lnTo>
                    <a:lnTo>
                      <a:pt x="2838101" y="1077384"/>
                    </a:lnTo>
                    <a:lnTo>
                      <a:pt x="2789240" y="1066186"/>
                    </a:lnTo>
                    <a:lnTo>
                      <a:pt x="2756064" y="1039535"/>
                    </a:lnTo>
                    <a:lnTo>
                      <a:pt x="2721038" y="1011395"/>
                    </a:lnTo>
                    <a:lnTo>
                      <a:pt x="2698940" y="982483"/>
                    </a:lnTo>
                    <a:lnTo>
                      <a:pt x="2669011" y="949759"/>
                    </a:lnTo>
                    <a:lnTo>
                      <a:pt x="2654635" y="934044"/>
                    </a:lnTo>
                    <a:lnTo>
                      <a:pt x="2632286" y="904873"/>
                    </a:lnTo>
                    <a:lnTo>
                      <a:pt x="2613028" y="874709"/>
                    </a:lnTo>
                    <a:lnTo>
                      <a:pt x="2599857" y="845269"/>
                    </a:lnTo>
                    <a:lnTo>
                      <a:pt x="2592840" y="815104"/>
                    </a:lnTo>
                    <a:lnTo>
                      <a:pt x="2587530" y="786357"/>
                    </a:lnTo>
                    <a:lnTo>
                      <a:pt x="2587314" y="756786"/>
                    </a:lnTo>
                    <a:lnTo>
                      <a:pt x="2591478" y="726686"/>
                    </a:lnTo>
                    <a:lnTo>
                      <a:pt x="2597308" y="696356"/>
                    </a:lnTo>
                    <a:lnTo>
                      <a:pt x="2612463" y="648616"/>
                    </a:lnTo>
                    <a:lnTo>
                      <a:pt x="2628102" y="614646"/>
                    </a:lnTo>
                    <a:lnTo>
                      <a:pt x="2645886" y="578427"/>
                    </a:lnTo>
                    <a:lnTo>
                      <a:pt x="2650008" y="545122"/>
                    </a:lnTo>
                    <a:lnTo>
                      <a:pt x="2627188" y="511798"/>
                    </a:lnTo>
                    <a:lnTo>
                      <a:pt x="2604556" y="491902"/>
                    </a:lnTo>
                    <a:lnTo>
                      <a:pt x="2587224" y="476120"/>
                    </a:lnTo>
                    <a:lnTo>
                      <a:pt x="2569715" y="460088"/>
                    </a:lnTo>
                    <a:lnTo>
                      <a:pt x="2547590" y="495179"/>
                    </a:lnTo>
                    <a:lnTo>
                      <a:pt x="2507146" y="492733"/>
                    </a:lnTo>
                    <a:lnTo>
                      <a:pt x="2391338" y="475988"/>
                    </a:lnTo>
                    <a:lnTo>
                      <a:pt x="2442833" y="415182"/>
                    </a:lnTo>
                    <a:lnTo>
                      <a:pt x="2395609" y="378476"/>
                    </a:lnTo>
                    <a:lnTo>
                      <a:pt x="2357226" y="348659"/>
                    </a:lnTo>
                    <a:lnTo>
                      <a:pt x="2327450" y="377769"/>
                    </a:lnTo>
                    <a:lnTo>
                      <a:pt x="2296315" y="364877"/>
                    </a:lnTo>
                    <a:lnTo>
                      <a:pt x="2275338" y="347769"/>
                    </a:lnTo>
                    <a:lnTo>
                      <a:pt x="2264733" y="315798"/>
                    </a:lnTo>
                    <a:lnTo>
                      <a:pt x="2248708" y="294146"/>
                    </a:lnTo>
                    <a:lnTo>
                      <a:pt x="2181909" y="226964"/>
                    </a:lnTo>
                    <a:lnTo>
                      <a:pt x="2153154" y="223758"/>
                    </a:lnTo>
                    <a:lnTo>
                      <a:pt x="2108459" y="251616"/>
                    </a:lnTo>
                    <a:lnTo>
                      <a:pt x="2084124" y="256060"/>
                    </a:lnTo>
                    <a:lnTo>
                      <a:pt x="2053732" y="261627"/>
                    </a:lnTo>
                    <a:lnTo>
                      <a:pt x="2027910" y="245199"/>
                    </a:lnTo>
                    <a:lnTo>
                      <a:pt x="1998431" y="249254"/>
                    </a:lnTo>
                    <a:lnTo>
                      <a:pt x="1942217" y="257017"/>
                    </a:lnTo>
                    <a:lnTo>
                      <a:pt x="1900560" y="292932"/>
                    </a:lnTo>
                    <a:lnTo>
                      <a:pt x="1837928" y="273741"/>
                    </a:lnTo>
                    <a:lnTo>
                      <a:pt x="1791511" y="259544"/>
                    </a:lnTo>
                    <a:lnTo>
                      <a:pt x="1740248" y="217315"/>
                    </a:lnTo>
                    <a:lnTo>
                      <a:pt x="1707348" y="182607"/>
                    </a:lnTo>
                    <a:lnTo>
                      <a:pt x="1653727" y="126056"/>
                    </a:lnTo>
                    <a:lnTo>
                      <a:pt x="1617299" y="0"/>
                    </a:lnTo>
                    <a:lnTo>
                      <a:pt x="1515561" y="22107"/>
                    </a:lnTo>
                    <a:lnTo>
                      <a:pt x="1490652" y="27528"/>
                    </a:lnTo>
                    <a:lnTo>
                      <a:pt x="1463916" y="37512"/>
                    </a:lnTo>
                    <a:lnTo>
                      <a:pt x="1447551" y="58833"/>
                    </a:lnTo>
                    <a:lnTo>
                      <a:pt x="1438220" y="79060"/>
                    </a:lnTo>
                    <a:lnTo>
                      <a:pt x="1386576" y="178082"/>
                    </a:lnTo>
                    <a:lnTo>
                      <a:pt x="1423386" y="298737"/>
                    </a:lnTo>
                    <a:lnTo>
                      <a:pt x="1394503" y="336314"/>
                    </a:lnTo>
                    <a:lnTo>
                      <a:pt x="1375778" y="350955"/>
                    </a:lnTo>
                    <a:lnTo>
                      <a:pt x="1346301" y="419918"/>
                    </a:lnTo>
                    <a:lnTo>
                      <a:pt x="1376608" y="468061"/>
                    </a:lnTo>
                    <a:lnTo>
                      <a:pt x="1364578" y="509054"/>
                    </a:lnTo>
                    <a:lnTo>
                      <a:pt x="1337948" y="599807"/>
                    </a:lnTo>
                    <a:lnTo>
                      <a:pt x="1187774" y="503106"/>
                    </a:lnTo>
                    <a:lnTo>
                      <a:pt x="1114302" y="617871"/>
                    </a:lnTo>
                    <a:lnTo>
                      <a:pt x="1090966" y="654360"/>
                    </a:lnTo>
                    <a:lnTo>
                      <a:pt x="1102421" y="729047"/>
                    </a:lnTo>
                    <a:lnTo>
                      <a:pt x="1092539" y="771578"/>
                    </a:lnTo>
                    <a:lnTo>
                      <a:pt x="1078278" y="832785"/>
                    </a:lnTo>
                    <a:lnTo>
                      <a:pt x="998770" y="845770"/>
                    </a:lnTo>
                    <a:lnTo>
                      <a:pt x="991884" y="889910"/>
                    </a:lnTo>
                    <a:lnTo>
                      <a:pt x="982745" y="948249"/>
                    </a:lnTo>
                    <a:lnTo>
                      <a:pt x="1011564" y="997004"/>
                    </a:lnTo>
                    <a:lnTo>
                      <a:pt x="983723" y="1057216"/>
                    </a:lnTo>
                    <a:lnTo>
                      <a:pt x="955434" y="1118449"/>
                    </a:lnTo>
                    <a:lnTo>
                      <a:pt x="834441" y="1188904"/>
                    </a:lnTo>
                    <a:lnTo>
                      <a:pt x="797375" y="1284371"/>
                    </a:lnTo>
                    <a:lnTo>
                      <a:pt x="779119" y="1331426"/>
                    </a:lnTo>
                    <a:lnTo>
                      <a:pt x="849828" y="1515410"/>
                    </a:lnTo>
                    <a:lnTo>
                      <a:pt x="839542" y="1571375"/>
                    </a:lnTo>
                    <a:lnTo>
                      <a:pt x="822114" y="1666269"/>
                    </a:lnTo>
                    <a:lnTo>
                      <a:pt x="662461" y="1686864"/>
                    </a:lnTo>
                    <a:lnTo>
                      <a:pt x="689920" y="1818928"/>
                    </a:lnTo>
                    <a:lnTo>
                      <a:pt x="707113" y="1905025"/>
                    </a:lnTo>
                    <a:lnTo>
                      <a:pt x="689900" y="1979580"/>
                    </a:lnTo>
                    <a:lnTo>
                      <a:pt x="658635" y="2058322"/>
                    </a:lnTo>
                    <a:lnTo>
                      <a:pt x="644077" y="2094963"/>
                    </a:lnTo>
                    <a:lnTo>
                      <a:pt x="640379" y="2132219"/>
                    </a:lnTo>
                    <a:lnTo>
                      <a:pt x="619189" y="2167139"/>
                    </a:lnTo>
                    <a:lnTo>
                      <a:pt x="561444" y="2262184"/>
                    </a:lnTo>
                    <a:lnTo>
                      <a:pt x="427890" y="2235422"/>
                    </a:lnTo>
                    <a:lnTo>
                      <a:pt x="368913" y="2326280"/>
                    </a:lnTo>
                    <a:lnTo>
                      <a:pt x="329573" y="2386874"/>
                    </a:lnTo>
                    <a:lnTo>
                      <a:pt x="309298" y="2481729"/>
                    </a:lnTo>
                    <a:lnTo>
                      <a:pt x="270979" y="2522148"/>
                    </a:lnTo>
                    <a:lnTo>
                      <a:pt x="247026" y="2547421"/>
                    </a:lnTo>
                    <a:lnTo>
                      <a:pt x="210173" y="2558639"/>
                    </a:lnTo>
                    <a:lnTo>
                      <a:pt x="181205" y="2575198"/>
                    </a:lnTo>
                    <a:lnTo>
                      <a:pt x="162205" y="2586079"/>
                    </a:lnTo>
                    <a:lnTo>
                      <a:pt x="146945" y="2607011"/>
                    </a:lnTo>
                    <a:lnTo>
                      <a:pt x="129518" y="2620083"/>
                    </a:lnTo>
                    <a:lnTo>
                      <a:pt x="88031" y="2651198"/>
                    </a:lnTo>
                    <a:lnTo>
                      <a:pt x="40425" y="2672136"/>
                    </a:lnTo>
                    <a:lnTo>
                      <a:pt x="27503" y="2730258"/>
                    </a:lnTo>
                    <a:lnTo>
                      <a:pt x="23422" y="2758827"/>
                    </a:lnTo>
                    <a:lnTo>
                      <a:pt x="22061" y="2791445"/>
                    </a:lnTo>
                    <a:lnTo>
                      <a:pt x="34304" y="2824644"/>
                    </a:lnTo>
                    <a:lnTo>
                      <a:pt x="34304" y="2858120"/>
                    </a:lnTo>
                    <a:lnTo>
                      <a:pt x="34304" y="2889703"/>
                    </a:lnTo>
                    <a:lnTo>
                      <a:pt x="28013" y="2923344"/>
                    </a:lnTo>
                    <a:lnTo>
                      <a:pt x="30223" y="2954695"/>
                    </a:lnTo>
                    <a:lnTo>
                      <a:pt x="35281" y="2980599"/>
                    </a:lnTo>
                    <a:lnTo>
                      <a:pt x="45780" y="3017202"/>
                    </a:lnTo>
                    <a:lnTo>
                      <a:pt x="75470" y="3050420"/>
                    </a:lnTo>
                    <a:lnTo>
                      <a:pt x="77830" y="3074392"/>
                    </a:lnTo>
                    <a:lnTo>
                      <a:pt x="79955" y="3096262"/>
                    </a:lnTo>
                    <a:lnTo>
                      <a:pt x="62910" y="3117279"/>
                    </a:lnTo>
                    <a:lnTo>
                      <a:pt x="38214" y="3140763"/>
                    </a:lnTo>
                    <a:lnTo>
                      <a:pt x="17981" y="3157364"/>
                    </a:lnTo>
                    <a:lnTo>
                      <a:pt x="15962" y="3201741"/>
                    </a:lnTo>
                    <a:lnTo>
                      <a:pt x="0" y="3239720"/>
                    </a:lnTo>
                    <a:lnTo>
                      <a:pt x="3019" y="3286584"/>
                    </a:lnTo>
                    <a:lnTo>
                      <a:pt x="5144" y="3319526"/>
                    </a:lnTo>
                    <a:lnTo>
                      <a:pt x="15813" y="3354082"/>
                    </a:lnTo>
                    <a:lnTo>
                      <a:pt x="17981" y="3387235"/>
                    </a:lnTo>
                    <a:lnTo>
                      <a:pt x="19702" y="3414103"/>
                    </a:lnTo>
                    <a:lnTo>
                      <a:pt x="16515" y="3575329"/>
                    </a:lnTo>
                    <a:lnTo>
                      <a:pt x="7099" y="3596709"/>
                    </a:lnTo>
                    <a:lnTo>
                      <a:pt x="28820" y="3602189"/>
                    </a:lnTo>
                    <a:lnTo>
                      <a:pt x="48883" y="3612945"/>
                    </a:lnTo>
                    <a:lnTo>
                      <a:pt x="69668" y="3621190"/>
                    </a:lnTo>
                    <a:lnTo>
                      <a:pt x="121568" y="3593815"/>
                    </a:lnTo>
                    <a:lnTo>
                      <a:pt x="167985" y="3577070"/>
                    </a:lnTo>
                    <a:lnTo>
                      <a:pt x="224731" y="3559983"/>
                    </a:lnTo>
                    <a:lnTo>
                      <a:pt x="262306" y="3570139"/>
                    </a:lnTo>
                    <a:lnTo>
                      <a:pt x="309063" y="3600791"/>
                    </a:lnTo>
                    <a:lnTo>
                      <a:pt x="330784" y="3616771"/>
                    </a:lnTo>
                    <a:lnTo>
                      <a:pt x="365086" y="3613875"/>
                    </a:lnTo>
                    <a:lnTo>
                      <a:pt x="389315" y="3613032"/>
                    </a:lnTo>
                    <a:lnTo>
                      <a:pt x="423320" y="3645677"/>
                    </a:lnTo>
                    <a:lnTo>
                      <a:pt x="413799" y="3685121"/>
                    </a:lnTo>
                    <a:lnTo>
                      <a:pt x="375713" y="3719123"/>
                    </a:lnTo>
                    <a:lnTo>
                      <a:pt x="365448" y="3766435"/>
                    </a:lnTo>
                    <a:lnTo>
                      <a:pt x="357563" y="3820078"/>
                    </a:lnTo>
                    <a:lnTo>
                      <a:pt x="386594" y="3863308"/>
                    </a:lnTo>
                    <a:lnTo>
                      <a:pt x="441258" y="3871729"/>
                    </a:lnTo>
                    <a:lnTo>
                      <a:pt x="555429" y="3837549"/>
                    </a:lnTo>
                    <a:lnTo>
                      <a:pt x="583824" y="3846985"/>
                    </a:lnTo>
                    <a:lnTo>
                      <a:pt x="607882" y="3947215"/>
                    </a:lnTo>
                    <a:lnTo>
                      <a:pt x="552326" y="3973185"/>
                    </a:lnTo>
                    <a:lnTo>
                      <a:pt x="593345" y="4110861"/>
                    </a:lnTo>
                    <a:lnTo>
                      <a:pt x="602357" y="4141125"/>
                    </a:lnTo>
                    <a:lnTo>
                      <a:pt x="625883" y="4156300"/>
                    </a:lnTo>
                    <a:lnTo>
                      <a:pt x="640952" y="4181591"/>
                    </a:lnTo>
                    <a:lnTo>
                      <a:pt x="665499" y="4222737"/>
                    </a:lnTo>
                    <a:lnTo>
                      <a:pt x="665691" y="4276255"/>
                    </a:lnTo>
                    <a:lnTo>
                      <a:pt x="695360" y="4316253"/>
                    </a:lnTo>
                    <a:lnTo>
                      <a:pt x="731108" y="4364541"/>
                    </a:lnTo>
                    <a:lnTo>
                      <a:pt x="779501" y="4381714"/>
                    </a:lnTo>
                    <a:lnTo>
                      <a:pt x="791934" y="4446832"/>
                    </a:lnTo>
                    <a:lnTo>
                      <a:pt x="802816" y="4471319"/>
                    </a:lnTo>
                    <a:lnTo>
                      <a:pt x="826407" y="4490654"/>
                    </a:lnTo>
                    <a:lnTo>
                      <a:pt x="875629" y="4466208"/>
                    </a:lnTo>
                    <a:lnTo>
                      <a:pt x="895309" y="4446832"/>
                    </a:lnTo>
                    <a:lnTo>
                      <a:pt x="943681" y="4445045"/>
                    </a:lnTo>
                    <a:lnTo>
                      <a:pt x="1056471" y="4480664"/>
                    </a:lnTo>
                    <a:lnTo>
                      <a:pt x="1073177" y="4505612"/>
                    </a:lnTo>
                    <a:lnTo>
                      <a:pt x="1170069" y="4448190"/>
                    </a:lnTo>
                    <a:lnTo>
                      <a:pt x="1188645" y="4437224"/>
                    </a:lnTo>
                    <a:lnTo>
                      <a:pt x="1212193" y="4437394"/>
                    </a:lnTo>
                    <a:lnTo>
                      <a:pt x="1229918" y="4450908"/>
                    </a:lnTo>
                    <a:lnTo>
                      <a:pt x="1284326" y="4492482"/>
                    </a:lnTo>
                    <a:lnTo>
                      <a:pt x="1333803" y="4656892"/>
                    </a:lnTo>
                    <a:lnTo>
                      <a:pt x="1402663" y="4706624"/>
                    </a:lnTo>
                    <a:lnTo>
                      <a:pt x="1420346" y="4719419"/>
                    </a:lnTo>
                    <a:lnTo>
                      <a:pt x="1459218" y="4718529"/>
                    </a:lnTo>
                    <a:lnTo>
                      <a:pt x="1481555" y="4727029"/>
                    </a:lnTo>
                    <a:lnTo>
                      <a:pt x="1523763" y="4757294"/>
                    </a:lnTo>
                    <a:lnTo>
                      <a:pt x="1463383" y="4795504"/>
                    </a:lnTo>
                    <a:lnTo>
                      <a:pt x="1466592" y="4827680"/>
                    </a:lnTo>
                    <a:lnTo>
                      <a:pt x="1492883" y="4846853"/>
                    </a:lnTo>
                    <a:lnTo>
                      <a:pt x="1519640" y="4869848"/>
                    </a:lnTo>
                    <a:lnTo>
                      <a:pt x="1533837" y="4893228"/>
                    </a:lnTo>
                    <a:lnTo>
                      <a:pt x="1571052" y="4980491"/>
                    </a:lnTo>
                    <a:lnTo>
                      <a:pt x="1572688" y="5005868"/>
                    </a:lnTo>
                    <a:lnTo>
                      <a:pt x="1569500" y="5038178"/>
                    </a:lnTo>
                    <a:lnTo>
                      <a:pt x="1572688" y="5064991"/>
                    </a:lnTo>
                    <a:lnTo>
                      <a:pt x="1584929" y="5086122"/>
                    </a:lnTo>
                    <a:lnTo>
                      <a:pt x="1591241" y="5107457"/>
                    </a:lnTo>
                    <a:lnTo>
                      <a:pt x="1581338" y="5131350"/>
                    </a:lnTo>
                    <a:lnTo>
                      <a:pt x="1587650" y="5152771"/>
                    </a:lnTo>
                    <a:lnTo>
                      <a:pt x="1594154" y="5174791"/>
                    </a:lnTo>
                    <a:lnTo>
                      <a:pt x="1651324" y="5226732"/>
                    </a:lnTo>
                    <a:lnTo>
                      <a:pt x="1673342" y="5233023"/>
                    </a:lnTo>
                    <a:lnTo>
                      <a:pt x="1726327" y="5262990"/>
                    </a:lnTo>
                    <a:lnTo>
                      <a:pt x="1803411" y="5296994"/>
                    </a:lnTo>
                    <a:lnTo>
                      <a:pt x="1862410" y="5267027"/>
                    </a:lnTo>
                    <a:lnTo>
                      <a:pt x="1882749" y="5256699"/>
                    </a:lnTo>
                    <a:lnTo>
                      <a:pt x="1898264" y="5238972"/>
                    </a:lnTo>
                    <a:lnTo>
                      <a:pt x="1919539" y="5228941"/>
                    </a:lnTo>
                    <a:lnTo>
                      <a:pt x="1951206" y="5214023"/>
                    </a:lnTo>
                    <a:lnTo>
                      <a:pt x="1988483" y="5207225"/>
                    </a:lnTo>
                    <a:lnTo>
                      <a:pt x="2018833" y="5189497"/>
                    </a:lnTo>
                    <a:lnTo>
                      <a:pt x="2040086" y="5177039"/>
                    </a:lnTo>
                    <a:lnTo>
                      <a:pt x="2055112" y="5153792"/>
                    </a:lnTo>
                    <a:lnTo>
                      <a:pt x="2084122" y="5158211"/>
                    </a:lnTo>
                    <a:lnTo>
                      <a:pt x="2105418" y="5161443"/>
                    </a:lnTo>
                    <a:lnTo>
                      <a:pt x="2125566" y="5185547"/>
                    </a:lnTo>
                    <a:lnTo>
                      <a:pt x="2146692" y="5192215"/>
                    </a:lnTo>
                    <a:lnTo>
                      <a:pt x="2179464" y="5178490"/>
                    </a:lnTo>
                    <a:lnTo>
                      <a:pt x="2201100" y="5152777"/>
                    </a:lnTo>
                    <a:lnTo>
                      <a:pt x="2253786" y="5115449"/>
                    </a:lnTo>
                    <a:lnTo>
                      <a:pt x="2306196" y="5196554"/>
                    </a:lnTo>
                    <a:lnTo>
                      <a:pt x="2337119" y="5231665"/>
                    </a:lnTo>
                    <a:lnTo>
                      <a:pt x="2359797" y="5257378"/>
                    </a:lnTo>
                    <a:lnTo>
                      <a:pt x="2389530" y="5279867"/>
                    </a:lnTo>
                    <a:lnTo>
                      <a:pt x="2409210" y="5307836"/>
                    </a:lnTo>
                    <a:lnTo>
                      <a:pt x="2435054" y="5315993"/>
                    </a:lnTo>
                    <a:lnTo>
                      <a:pt x="2472161" y="5358591"/>
                    </a:lnTo>
                    <a:lnTo>
                      <a:pt x="2486061" y="5403858"/>
                    </a:lnTo>
                    <a:lnTo>
                      <a:pt x="2513945" y="5450655"/>
                    </a:lnTo>
                    <a:lnTo>
                      <a:pt x="2546973" y="5506000"/>
                    </a:lnTo>
                    <a:lnTo>
                      <a:pt x="2606736" y="5521768"/>
                    </a:lnTo>
                    <a:lnTo>
                      <a:pt x="2577874" y="5611161"/>
                    </a:lnTo>
                    <a:lnTo>
                      <a:pt x="2567546" y="5649247"/>
                    </a:lnTo>
                    <a:lnTo>
                      <a:pt x="2541659" y="5671651"/>
                    </a:lnTo>
                    <a:lnTo>
                      <a:pt x="2513945" y="5687333"/>
                    </a:lnTo>
                    <a:lnTo>
                      <a:pt x="2516815" y="5721251"/>
                    </a:lnTo>
                    <a:lnTo>
                      <a:pt x="2519386" y="5755340"/>
                    </a:lnTo>
                    <a:lnTo>
                      <a:pt x="2490737" y="5812682"/>
                    </a:lnTo>
                    <a:lnTo>
                      <a:pt x="2429613" y="5808343"/>
                    </a:lnTo>
                    <a:lnTo>
                      <a:pt x="2466338" y="5899523"/>
                    </a:lnTo>
                    <a:lnTo>
                      <a:pt x="2488655" y="5924434"/>
                    </a:lnTo>
                    <a:lnTo>
                      <a:pt x="2527505" y="5937946"/>
                    </a:lnTo>
                    <a:lnTo>
                      <a:pt x="2566993" y="5953933"/>
                    </a:lnTo>
                    <a:lnTo>
                      <a:pt x="2587205" y="5969107"/>
                    </a:lnTo>
                    <a:lnTo>
                      <a:pt x="2596280" y="5989512"/>
                    </a:lnTo>
                    <a:lnTo>
                      <a:pt x="2615960" y="6004258"/>
                    </a:lnTo>
                    <a:lnTo>
                      <a:pt x="2681462" y="5965195"/>
                    </a:lnTo>
                    <a:lnTo>
                      <a:pt x="2755784" y="6004719"/>
                    </a:lnTo>
                    <a:lnTo>
                      <a:pt x="2773744" y="5902241"/>
                    </a:lnTo>
                    <a:lnTo>
                      <a:pt x="2780395" y="5848215"/>
                    </a:lnTo>
                    <a:lnTo>
                      <a:pt x="2776507" y="5815915"/>
                    </a:lnTo>
                    <a:lnTo>
                      <a:pt x="2758164" y="5784754"/>
                    </a:lnTo>
                    <a:lnTo>
                      <a:pt x="2750620" y="5762146"/>
                    </a:lnTo>
                    <a:lnTo>
                      <a:pt x="2742839" y="5729962"/>
                    </a:lnTo>
                    <a:lnTo>
                      <a:pt x="2804223" y="5644572"/>
                    </a:lnTo>
                    <a:lnTo>
                      <a:pt x="2897651" y="5734982"/>
                    </a:lnTo>
                    <a:lnTo>
                      <a:pt x="2949212" y="5760780"/>
                    </a:lnTo>
                    <a:lnTo>
                      <a:pt x="3007658" y="5793643"/>
                    </a:lnTo>
                    <a:lnTo>
                      <a:pt x="3037986" y="5809583"/>
                    </a:lnTo>
                    <a:lnTo>
                      <a:pt x="3116389" y="5825140"/>
                    </a:lnTo>
                    <a:lnTo>
                      <a:pt x="3122339" y="5804267"/>
                    </a:lnTo>
                    <a:lnTo>
                      <a:pt x="3168203" y="5762146"/>
                    </a:lnTo>
                    <a:lnTo>
                      <a:pt x="3210263" y="5727667"/>
                    </a:lnTo>
                    <a:lnTo>
                      <a:pt x="3275765" y="5715639"/>
                    </a:lnTo>
                    <a:lnTo>
                      <a:pt x="3298782" y="5679168"/>
                    </a:lnTo>
                    <a:lnTo>
                      <a:pt x="3331236" y="5627780"/>
                    </a:lnTo>
                    <a:lnTo>
                      <a:pt x="3353849" y="5534991"/>
                    </a:lnTo>
                    <a:lnTo>
                      <a:pt x="3368153" y="5475142"/>
                    </a:lnTo>
                    <a:lnTo>
                      <a:pt x="3382775" y="5414014"/>
                    </a:lnTo>
                    <a:lnTo>
                      <a:pt x="3378971" y="5353064"/>
                    </a:lnTo>
                    <a:lnTo>
                      <a:pt x="3414399" y="5296954"/>
                    </a:lnTo>
                    <a:lnTo>
                      <a:pt x="3428809" y="5274169"/>
                    </a:lnTo>
                    <a:lnTo>
                      <a:pt x="3449148" y="5257893"/>
                    </a:lnTo>
                    <a:lnTo>
                      <a:pt x="3468807" y="5239829"/>
                    </a:lnTo>
                    <a:lnTo>
                      <a:pt x="3499411" y="5211728"/>
                    </a:lnTo>
                    <a:lnTo>
                      <a:pt x="3527189" y="5195241"/>
                    </a:lnTo>
                    <a:lnTo>
                      <a:pt x="3569462" y="5190855"/>
                    </a:lnTo>
                    <a:lnTo>
                      <a:pt x="3654814" y="5181972"/>
                    </a:lnTo>
                    <a:lnTo>
                      <a:pt x="3700445" y="5280420"/>
                    </a:lnTo>
                    <a:lnTo>
                      <a:pt x="3778932" y="5294238"/>
                    </a:lnTo>
                    <a:lnTo>
                      <a:pt x="3811768" y="5300014"/>
                    </a:lnTo>
                    <a:lnTo>
                      <a:pt x="3843945" y="5277954"/>
                    </a:lnTo>
                    <a:lnTo>
                      <a:pt x="3878227" y="5277915"/>
                    </a:lnTo>
                    <a:lnTo>
                      <a:pt x="3905750" y="5290491"/>
                    </a:lnTo>
                    <a:lnTo>
                      <a:pt x="3928554" y="5325517"/>
                    </a:lnTo>
                    <a:lnTo>
                      <a:pt x="3945046" y="5341331"/>
                    </a:lnTo>
                    <a:lnTo>
                      <a:pt x="3980242" y="5399393"/>
                    </a:lnTo>
                    <a:lnTo>
                      <a:pt x="3984790" y="5472036"/>
                    </a:lnTo>
                    <a:lnTo>
                      <a:pt x="4018328" y="5517310"/>
                    </a:lnTo>
                    <a:lnTo>
                      <a:pt x="4051907" y="5562617"/>
                    </a:lnTo>
                    <a:lnTo>
                      <a:pt x="4162870" y="5602576"/>
                    </a:lnTo>
                    <a:lnTo>
                      <a:pt x="4214196" y="5641083"/>
                    </a:lnTo>
                    <a:lnTo>
                      <a:pt x="4240124" y="5660465"/>
                    </a:lnTo>
                    <a:lnTo>
                      <a:pt x="4277806" y="5727035"/>
                    </a:lnTo>
                    <a:lnTo>
                      <a:pt x="4306690" y="5760780"/>
                    </a:lnTo>
                    <a:lnTo>
                      <a:pt x="4337570" y="5796953"/>
                    </a:lnTo>
                    <a:lnTo>
                      <a:pt x="4398035" y="5753942"/>
                    </a:lnTo>
                    <a:lnTo>
                      <a:pt x="4433188" y="5760780"/>
                    </a:lnTo>
                    <a:lnTo>
                      <a:pt x="4475121" y="5769031"/>
                    </a:lnTo>
                    <a:lnTo>
                      <a:pt x="4535479" y="5803627"/>
                    </a:lnTo>
                    <a:lnTo>
                      <a:pt x="4574648" y="5823353"/>
                    </a:lnTo>
                    <a:lnTo>
                      <a:pt x="4650352" y="5875592"/>
                    </a:lnTo>
                    <a:lnTo>
                      <a:pt x="4712220" y="5891149"/>
                    </a:lnTo>
                    <a:lnTo>
                      <a:pt x="4764141" y="5860713"/>
                    </a:lnTo>
                    <a:lnTo>
                      <a:pt x="4782759" y="5817911"/>
                    </a:lnTo>
                    <a:lnTo>
                      <a:pt x="4801993" y="5768945"/>
                    </a:lnTo>
                    <a:lnTo>
                      <a:pt x="4820207" y="5740977"/>
                    </a:lnTo>
                    <a:lnTo>
                      <a:pt x="4872808" y="5735746"/>
                    </a:lnTo>
                    <a:lnTo>
                      <a:pt x="4891575" y="5706372"/>
                    </a:lnTo>
                    <a:lnTo>
                      <a:pt x="4953570" y="5754067"/>
                    </a:lnTo>
                    <a:lnTo>
                      <a:pt x="5046442" y="5824711"/>
                    </a:lnTo>
                    <a:lnTo>
                      <a:pt x="5132623" y="5764645"/>
                    </a:lnTo>
                    <a:lnTo>
                      <a:pt x="5227539" y="5800224"/>
                    </a:lnTo>
                    <a:lnTo>
                      <a:pt x="5253723" y="5810084"/>
                    </a:lnTo>
                    <a:lnTo>
                      <a:pt x="5289811" y="5853953"/>
                    </a:lnTo>
                    <a:lnTo>
                      <a:pt x="5320033" y="5843752"/>
                    </a:lnTo>
                    <a:lnTo>
                      <a:pt x="5363327" y="5867084"/>
                    </a:lnTo>
                    <a:lnTo>
                      <a:pt x="5419031" y="5843752"/>
                    </a:lnTo>
                    <a:lnTo>
                      <a:pt x="5464215" y="5843752"/>
                    </a:lnTo>
                    <a:lnTo>
                      <a:pt x="5500855" y="5843752"/>
                    </a:lnTo>
                    <a:lnTo>
                      <a:pt x="5538197" y="5854587"/>
                    </a:lnTo>
                    <a:lnTo>
                      <a:pt x="5575751" y="5853274"/>
                    </a:lnTo>
                    <a:lnTo>
                      <a:pt x="5693048" y="5827771"/>
                    </a:lnTo>
                    <a:lnTo>
                      <a:pt x="5733683" y="5866451"/>
                    </a:lnTo>
                    <a:lnTo>
                      <a:pt x="5827388" y="5917198"/>
                    </a:lnTo>
                    <a:lnTo>
                      <a:pt x="5849215" y="5929016"/>
                    </a:lnTo>
                    <a:lnTo>
                      <a:pt x="5876972" y="5936416"/>
                    </a:lnTo>
                    <a:lnTo>
                      <a:pt x="5894038" y="5955291"/>
                    </a:lnTo>
                    <a:lnTo>
                      <a:pt x="5932485" y="5997710"/>
                    </a:lnTo>
                    <a:lnTo>
                      <a:pt x="5918012" y="6063637"/>
                    </a:lnTo>
                    <a:lnTo>
                      <a:pt x="5948445" y="6106267"/>
                    </a:lnTo>
                    <a:lnTo>
                      <a:pt x="5978349" y="6148178"/>
                    </a:lnTo>
                    <a:lnTo>
                      <a:pt x="6090055" y="6146522"/>
                    </a:lnTo>
                    <a:lnTo>
                      <a:pt x="6123912" y="6110343"/>
                    </a:lnTo>
                    <a:lnTo>
                      <a:pt x="6141105" y="6091983"/>
                    </a:lnTo>
                    <a:lnTo>
                      <a:pt x="6175791" y="6061080"/>
                    </a:lnTo>
                    <a:lnTo>
                      <a:pt x="6201442" y="6061376"/>
                    </a:lnTo>
                    <a:lnTo>
                      <a:pt x="6287050" y="6056536"/>
                    </a:lnTo>
                    <a:lnTo>
                      <a:pt x="6270707" y="6025717"/>
                    </a:lnTo>
                    <a:lnTo>
                      <a:pt x="6312976" y="5997445"/>
                    </a:lnTo>
                    <a:lnTo>
                      <a:pt x="6332385" y="5984486"/>
                    </a:lnTo>
                    <a:lnTo>
                      <a:pt x="6357379" y="5975603"/>
                    </a:lnTo>
                    <a:lnTo>
                      <a:pt x="6378266" y="5964806"/>
                    </a:lnTo>
                    <a:lnTo>
                      <a:pt x="6418969" y="5978452"/>
                    </a:lnTo>
                    <a:lnTo>
                      <a:pt x="6496500" y="5983379"/>
                    </a:lnTo>
                    <a:lnTo>
                      <a:pt x="6562982" y="5978069"/>
                    </a:lnTo>
                    <a:lnTo>
                      <a:pt x="6617661" y="5997445"/>
                    </a:lnTo>
                    <a:lnTo>
                      <a:pt x="6669391" y="6015766"/>
                    </a:lnTo>
                    <a:lnTo>
                      <a:pt x="6704166" y="6064225"/>
                    </a:lnTo>
                    <a:lnTo>
                      <a:pt x="6757763" y="6077699"/>
                    </a:lnTo>
                    <a:lnTo>
                      <a:pt x="6782270" y="6083904"/>
                    </a:lnTo>
                    <a:lnTo>
                      <a:pt x="6810812" y="6098104"/>
                    </a:lnTo>
                    <a:lnTo>
                      <a:pt x="6832536" y="6129726"/>
                    </a:lnTo>
                    <a:lnTo>
                      <a:pt x="6885453" y="6218394"/>
                    </a:lnTo>
                    <a:lnTo>
                      <a:pt x="6921752" y="6228807"/>
                    </a:lnTo>
                    <a:lnTo>
                      <a:pt x="7002599" y="6234123"/>
                    </a:lnTo>
                    <a:lnTo>
                      <a:pt x="7033437" y="6236160"/>
                    </a:lnTo>
                    <a:lnTo>
                      <a:pt x="7083189" y="6200417"/>
                    </a:lnTo>
                    <a:lnTo>
                      <a:pt x="7077411" y="6166117"/>
                    </a:lnTo>
                    <a:lnTo>
                      <a:pt x="7107847" y="6178779"/>
                    </a:lnTo>
                    <a:lnTo>
                      <a:pt x="7177535" y="6226302"/>
                    </a:lnTo>
                    <a:lnTo>
                      <a:pt x="7284438" y="6290827"/>
                    </a:lnTo>
                    <a:lnTo>
                      <a:pt x="7358974" y="6265410"/>
                    </a:lnTo>
                    <a:lnTo>
                      <a:pt x="7378013" y="6253162"/>
                    </a:lnTo>
                    <a:lnTo>
                      <a:pt x="7411087" y="6224178"/>
                    </a:lnTo>
                    <a:lnTo>
                      <a:pt x="7447682" y="6205646"/>
                    </a:lnTo>
                    <a:lnTo>
                      <a:pt x="7485471" y="6183798"/>
                    </a:lnTo>
                    <a:lnTo>
                      <a:pt x="7512293" y="6168240"/>
                    </a:lnTo>
                    <a:lnTo>
                      <a:pt x="7539582" y="6151153"/>
                    </a:lnTo>
                    <a:lnTo>
                      <a:pt x="7569800" y="6142988"/>
                    </a:lnTo>
                    <a:lnTo>
                      <a:pt x="7654941" y="6119952"/>
                    </a:lnTo>
                    <a:lnTo>
                      <a:pt x="7717045" y="6179207"/>
                    </a:lnTo>
                    <a:lnTo>
                      <a:pt x="7787432" y="6138912"/>
                    </a:lnTo>
                    <a:lnTo>
                      <a:pt x="7870765" y="6091225"/>
                    </a:lnTo>
                    <a:lnTo>
                      <a:pt x="7818679" y="6023257"/>
                    </a:lnTo>
                    <a:lnTo>
                      <a:pt x="7964261" y="5981129"/>
                    </a:lnTo>
                    <a:lnTo>
                      <a:pt x="8073604" y="5949506"/>
                    </a:lnTo>
                    <a:lnTo>
                      <a:pt x="8168267" y="6023508"/>
                    </a:lnTo>
                    <a:lnTo>
                      <a:pt x="8271663" y="6027379"/>
                    </a:lnTo>
                    <a:lnTo>
                      <a:pt x="8358465" y="6030664"/>
                    </a:lnTo>
                    <a:lnTo>
                      <a:pt x="8342347" y="5987572"/>
                    </a:lnTo>
                    <a:lnTo>
                      <a:pt x="8477054" y="6026021"/>
                    </a:lnTo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91" name="Ivano-Frankivsk¬0" descr="Ivano-Frankivsk¬0">
                <a:extLst>
                  <a:ext uri="{FF2B5EF4-FFF2-40B4-BE49-F238E27FC236}">
                    <a16:creationId xmlns:a16="http://schemas.microsoft.com/office/drawing/2014/main" id="{51FA9527-B0DE-496A-B85D-EE0C40C067AD}"/>
                  </a:ext>
                </a:extLst>
              </p:cNvPr>
              <p:cNvSpPr/>
              <p:nvPr/>
            </p:nvSpPr>
            <p:spPr>
              <a:xfrm>
                <a:off x="4856065" y="15004551"/>
                <a:ext cx="7418675" cy="9533500"/>
              </a:xfrm>
              <a:custGeom>
                <a:avLst/>
                <a:gdLst/>
                <a:ahLst/>
                <a:cxnLst/>
                <a:rect l="0" t="0" r="0" b="0"/>
                <a:pathLst>
                  <a:path w="7418671" h="9533502">
                    <a:moveTo>
                      <a:pt x="4885970" y="9491260"/>
                    </a:moveTo>
                    <a:lnTo>
                      <a:pt x="4885970" y="9465415"/>
                    </a:lnTo>
                    <a:lnTo>
                      <a:pt x="4883247" y="9411006"/>
                    </a:lnTo>
                    <a:lnTo>
                      <a:pt x="4889881" y="9342083"/>
                    </a:lnTo>
                    <a:lnTo>
                      <a:pt x="4894029" y="9307598"/>
                    </a:lnTo>
                    <a:lnTo>
                      <a:pt x="4903652" y="9274986"/>
                    </a:lnTo>
                    <a:lnTo>
                      <a:pt x="4913273" y="9242374"/>
                    </a:lnTo>
                    <a:lnTo>
                      <a:pt x="4928890" y="9212480"/>
                    </a:lnTo>
                    <a:lnTo>
                      <a:pt x="4959418" y="9153930"/>
                    </a:lnTo>
                    <a:lnTo>
                      <a:pt x="5017908" y="9039673"/>
                    </a:lnTo>
                    <a:lnTo>
                      <a:pt x="5039598" y="9011883"/>
                    </a:lnTo>
                    <a:lnTo>
                      <a:pt x="5062021" y="8956109"/>
                    </a:lnTo>
                    <a:lnTo>
                      <a:pt x="5073925" y="8919119"/>
                    </a:lnTo>
                    <a:lnTo>
                      <a:pt x="5077756" y="8881891"/>
                    </a:lnTo>
                    <a:lnTo>
                      <a:pt x="5081588" y="8844662"/>
                    </a:lnTo>
                    <a:lnTo>
                      <a:pt x="5077691" y="8806827"/>
                    </a:lnTo>
                    <a:lnTo>
                      <a:pt x="5060076" y="8767634"/>
                    </a:lnTo>
                    <a:lnTo>
                      <a:pt x="5043997" y="8733097"/>
                    </a:lnTo>
                    <a:lnTo>
                      <a:pt x="5029904" y="8696073"/>
                    </a:lnTo>
                    <a:lnTo>
                      <a:pt x="5023349" y="8658818"/>
                    </a:lnTo>
                    <a:lnTo>
                      <a:pt x="5018614" y="8576547"/>
                    </a:lnTo>
                    <a:lnTo>
                      <a:pt x="5026257" y="8546910"/>
                    </a:lnTo>
                    <a:lnTo>
                      <a:pt x="5021990" y="8521440"/>
                    </a:lnTo>
                    <a:lnTo>
                      <a:pt x="5017723" y="8495964"/>
                    </a:lnTo>
                    <a:lnTo>
                      <a:pt x="5001684" y="8473936"/>
                    </a:lnTo>
                    <a:lnTo>
                      <a:pt x="4948543" y="8409899"/>
                    </a:lnTo>
                    <a:lnTo>
                      <a:pt x="4933843" y="8392200"/>
                    </a:lnTo>
                    <a:lnTo>
                      <a:pt x="4922467" y="8369691"/>
                    </a:lnTo>
                    <a:lnTo>
                      <a:pt x="4914533" y="8343252"/>
                    </a:lnTo>
                    <a:lnTo>
                      <a:pt x="4906599" y="8316814"/>
                    </a:lnTo>
                    <a:lnTo>
                      <a:pt x="4902035" y="8287617"/>
                    </a:lnTo>
                    <a:lnTo>
                      <a:pt x="4898211" y="8257558"/>
                    </a:lnTo>
                    <a:lnTo>
                      <a:pt x="4890560" y="8197446"/>
                    </a:lnTo>
                    <a:lnTo>
                      <a:pt x="4887698" y="8134121"/>
                    </a:lnTo>
                    <a:lnTo>
                      <a:pt x="4880530" y="8090252"/>
                    </a:lnTo>
                    <a:lnTo>
                      <a:pt x="4874997" y="8056386"/>
                    </a:lnTo>
                    <a:lnTo>
                      <a:pt x="4878294" y="8022080"/>
                    </a:lnTo>
                    <a:lnTo>
                      <a:pt x="4887329" y="7986883"/>
                    </a:lnTo>
                    <a:lnTo>
                      <a:pt x="4896371" y="7951679"/>
                    </a:lnTo>
                    <a:lnTo>
                      <a:pt x="4911730" y="7916469"/>
                    </a:lnTo>
                    <a:lnTo>
                      <a:pt x="4929496" y="7882142"/>
                    </a:lnTo>
                    <a:lnTo>
                      <a:pt x="4965024" y="7813503"/>
                    </a:lnTo>
                    <a:lnTo>
                      <a:pt x="5012467" y="7749058"/>
                    </a:lnTo>
                    <a:lnTo>
                      <a:pt x="5047836" y="7697155"/>
                    </a:lnTo>
                    <a:lnTo>
                      <a:pt x="5063927" y="7673546"/>
                    </a:lnTo>
                    <a:lnTo>
                      <a:pt x="5072316" y="7645024"/>
                    </a:lnTo>
                    <a:lnTo>
                      <a:pt x="5077756" y="7615543"/>
                    </a:lnTo>
                    <a:lnTo>
                      <a:pt x="5083197" y="7586071"/>
                    </a:lnTo>
                    <a:lnTo>
                      <a:pt x="5085855" y="7554752"/>
                    </a:lnTo>
                    <a:lnTo>
                      <a:pt x="5090004" y="7524415"/>
                    </a:lnTo>
                    <a:lnTo>
                      <a:pt x="5094138" y="7494073"/>
                    </a:lnTo>
                    <a:lnTo>
                      <a:pt x="5099553" y="7464929"/>
                    </a:lnTo>
                    <a:lnTo>
                      <a:pt x="5111767" y="7438721"/>
                    </a:lnTo>
                    <a:lnTo>
                      <a:pt x="5123974" y="7412514"/>
                    </a:lnTo>
                    <a:lnTo>
                      <a:pt x="5141978" y="7389160"/>
                    </a:lnTo>
                    <a:lnTo>
                      <a:pt x="5171609" y="7372073"/>
                    </a:lnTo>
                    <a:lnTo>
                      <a:pt x="5221499" y="7374882"/>
                    </a:lnTo>
                    <a:lnTo>
                      <a:pt x="5251862" y="7370715"/>
                    </a:lnTo>
                    <a:lnTo>
                      <a:pt x="5282225" y="7366546"/>
                    </a:lnTo>
                    <a:lnTo>
                      <a:pt x="5311256" y="7357981"/>
                    </a:lnTo>
                    <a:lnTo>
                      <a:pt x="5351907" y="7307292"/>
                    </a:lnTo>
                    <a:lnTo>
                      <a:pt x="5386372" y="7270268"/>
                    </a:lnTo>
                    <a:lnTo>
                      <a:pt x="5411004" y="7233329"/>
                    </a:lnTo>
                    <a:lnTo>
                      <a:pt x="5422855" y="7215563"/>
                    </a:lnTo>
                    <a:lnTo>
                      <a:pt x="5437575" y="7180043"/>
                    </a:lnTo>
                    <a:lnTo>
                      <a:pt x="5457253" y="7147642"/>
                    </a:lnTo>
                    <a:lnTo>
                      <a:pt x="5477612" y="7115445"/>
                    </a:lnTo>
                    <a:lnTo>
                      <a:pt x="5502185" y="7092780"/>
                    </a:lnTo>
                    <a:lnTo>
                      <a:pt x="5530708" y="7085070"/>
                    </a:lnTo>
                    <a:lnTo>
                      <a:pt x="5561981" y="7085135"/>
                    </a:lnTo>
                    <a:lnTo>
                      <a:pt x="5583750" y="7083711"/>
                    </a:lnTo>
                    <a:lnTo>
                      <a:pt x="5605527" y="7082247"/>
                    </a:lnTo>
                    <a:lnTo>
                      <a:pt x="5630001" y="7071471"/>
                    </a:lnTo>
                    <a:lnTo>
                      <a:pt x="5638561" y="7052023"/>
                    </a:lnTo>
                    <a:lnTo>
                      <a:pt x="5625925" y="7018422"/>
                    </a:lnTo>
                    <a:lnTo>
                      <a:pt x="5605415" y="6985948"/>
                    </a:lnTo>
                    <a:lnTo>
                      <a:pt x="5594744" y="6938003"/>
                    </a:lnTo>
                    <a:lnTo>
                      <a:pt x="5595595" y="6913220"/>
                    </a:lnTo>
                    <a:lnTo>
                      <a:pt x="5597363" y="6882402"/>
                    </a:lnTo>
                    <a:lnTo>
                      <a:pt x="5599256" y="6847027"/>
                    </a:lnTo>
                    <a:lnTo>
                      <a:pt x="5618347" y="6795843"/>
                    </a:lnTo>
                    <a:lnTo>
                      <a:pt x="5635468" y="6769147"/>
                    </a:lnTo>
                    <a:lnTo>
                      <a:pt x="5654494" y="6750464"/>
                    </a:lnTo>
                    <a:lnTo>
                      <a:pt x="5673520" y="6731774"/>
                    </a:lnTo>
                    <a:lnTo>
                      <a:pt x="5694637" y="6721703"/>
                    </a:lnTo>
                    <a:lnTo>
                      <a:pt x="5734048" y="6708487"/>
                    </a:lnTo>
                    <a:lnTo>
                      <a:pt x="5770110" y="6700139"/>
                    </a:lnTo>
                    <a:lnTo>
                      <a:pt x="5803651" y="6686704"/>
                    </a:lnTo>
                    <a:lnTo>
                      <a:pt x="5839448" y="6644069"/>
                    </a:lnTo>
                    <a:lnTo>
                      <a:pt x="5859365" y="6615150"/>
                    </a:lnTo>
                    <a:lnTo>
                      <a:pt x="5878925" y="6585882"/>
                    </a:lnTo>
                    <a:lnTo>
                      <a:pt x="5898485" y="6556606"/>
                    </a:lnTo>
                    <a:lnTo>
                      <a:pt x="5918455" y="6526647"/>
                    </a:lnTo>
                    <a:lnTo>
                      <a:pt x="5938774" y="6497470"/>
                    </a:lnTo>
                    <a:lnTo>
                      <a:pt x="5951865" y="6478675"/>
                    </a:lnTo>
                    <a:lnTo>
                      <a:pt x="5968062" y="6463334"/>
                    </a:lnTo>
                    <a:lnTo>
                      <a:pt x="5980942" y="6444421"/>
                    </a:lnTo>
                    <a:lnTo>
                      <a:pt x="6014457" y="6395111"/>
                    </a:lnTo>
                    <a:lnTo>
                      <a:pt x="6040046" y="6342319"/>
                    </a:lnTo>
                    <a:lnTo>
                      <a:pt x="6080235" y="6297520"/>
                    </a:lnTo>
                    <a:lnTo>
                      <a:pt x="6111106" y="6263068"/>
                    </a:lnTo>
                    <a:lnTo>
                      <a:pt x="6153312" y="6228623"/>
                    </a:lnTo>
                    <a:lnTo>
                      <a:pt x="6197215" y="6195503"/>
                    </a:lnTo>
                    <a:lnTo>
                      <a:pt x="6241111" y="6162376"/>
                    </a:lnTo>
                    <a:lnTo>
                      <a:pt x="6286444" y="6131552"/>
                    </a:lnTo>
                    <a:lnTo>
                      <a:pt x="6322353" y="6105727"/>
                    </a:lnTo>
                    <a:lnTo>
                      <a:pt x="6356588" y="6081114"/>
                    </a:lnTo>
                    <a:lnTo>
                      <a:pt x="6388428" y="6041208"/>
                    </a:lnTo>
                    <a:lnTo>
                      <a:pt x="6427087" y="6017315"/>
                    </a:lnTo>
                    <a:lnTo>
                      <a:pt x="6478996" y="5985224"/>
                    </a:lnTo>
                    <a:lnTo>
                      <a:pt x="6537097" y="5961153"/>
                    </a:lnTo>
                    <a:lnTo>
                      <a:pt x="6597110" y="5942503"/>
                    </a:lnTo>
                    <a:lnTo>
                      <a:pt x="6657124" y="5923853"/>
                    </a:lnTo>
                    <a:lnTo>
                      <a:pt x="6718601" y="5910373"/>
                    </a:lnTo>
                    <a:lnTo>
                      <a:pt x="6778015" y="5901701"/>
                    </a:lnTo>
                    <a:lnTo>
                      <a:pt x="6825221" y="5896589"/>
                    </a:lnTo>
                    <a:lnTo>
                      <a:pt x="6929190" y="5892941"/>
                    </a:lnTo>
                    <a:lnTo>
                      <a:pt x="6952120" y="5901701"/>
                    </a:lnTo>
                    <a:lnTo>
                      <a:pt x="6982087" y="5913221"/>
                    </a:lnTo>
                    <a:lnTo>
                      <a:pt x="7015564" y="5923721"/>
                    </a:lnTo>
                    <a:lnTo>
                      <a:pt x="7044614" y="5937069"/>
                    </a:lnTo>
                    <a:lnTo>
                      <a:pt x="7065388" y="5946605"/>
                    </a:lnTo>
                    <a:lnTo>
                      <a:pt x="7087000" y="5963039"/>
                    </a:lnTo>
                    <a:lnTo>
                      <a:pt x="7109904" y="5972431"/>
                    </a:lnTo>
                    <a:lnTo>
                      <a:pt x="7133322" y="5979942"/>
                    </a:lnTo>
                    <a:lnTo>
                      <a:pt x="7157222" y="5978518"/>
                    </a:lnTo>
                    <a:lnTo>
                      <a:pt x="7180634" y="5964266"/>
                    </a:lnTo>
                    <a:lnTo>
                      <a:pt x="7198098" y="5936046"/>
                    </a:lnTo>
                    <a:lnTo>
                      <a:pt x="7206433" y="5907385"/>
                    </a:lnTo>
                    <a:lnTo>
                      <a:pt x="7211920" y="5877220"/>
                    </a:lnTo>
                    <a:lnTo>
                      <a:pt x="7217407" y="5847048"/>
                    </a:lnTo>
                    <a:lnTo>
                      <a:pt x="7220533" y="5815366"/>
                    </a:lnTo>
                    <a:lnTo>
                      <a:pt x="7226884" y="5784720"/>
                    </a:lnTo>
                    <a:lnTo>
                      <a:pt x="7232530" y="5757477"/>
                    </a:lnTo>
                    <a:lnTo>
                      <a:pt x="7241458" y="5727852"/>
                    </a:lnTo>
                    <a:lnTo>
                      <a:pt x="7244565" y="5700390"/>
                    </a:lnTo>
                    <a:lnTo>
                      <a:pt x="7246991" y="5678753"/>
                    </a:lnTo>
                    <a:lnTo>
                      <a:pt x="7276425" y="5291460"/>
                    </a:lnTo>
                    <a:lnTo>
                      <a:pt x="7270410" y="5269209"/>
                    </a:lnTo>
                    <a:lnTo>
                      <a:pt x="7263776" y="5244657"/>
                    </a:lnTo>
                    <a:lnTo>
                      <a:pt x="7250283" y="5225280"/>
                    </a:lnTo>
                    <a:lnTo>
                      <a:pt x="7241848" y="5202554"/>
                    </a:lnTo>
                    <a:lnTo>
                      <a:pt x="7227115" y="5162958"/>
                    </a:lnTo>
                    <a:lnTo>
                      <a:pt x="7214262" y="5121649"/>
                    </a:lnTo>
                    <a:lnTo>
                      <a:pt x="7201038" y="5081498"/>
                    </a:lnTo>
                    <a:lnTo>
                      <a:pt x="7188502" y="5043393"/>
                    </a:lnTo>
                    <a:lnTo>
                      <a:pt x="7165947" y="5003903"/>
                    </a:lnTo>
                    <a:lnTo>
                      <a:pt x="7156154" y="4964525"/>
                    </a:lnTo>
                    <a:lnTo>
                      <a:pt x="7150627" y="4942274"/>
                    </a:lnTo>
                    <a:lnTo>
                      <a:pt x="7132695" y="4882583"/>
                    </a:lnTo>
                    <a:lnTo>
                      <a:pt x="7120785" y="4821698"/>
                    </a:lnTo>
                    <a:lnTo>
                      <a:pt x="7114830" y="4791257"/>
                    </a:lnTo>
                    <a:lnTo>
                      <a:pt x="7110807" y="4760722"/>
                    </a:lnTo>
                    <a:lnTo>
                      <a:pt x="7109904" y="4734646"/>
                    </a:lnTo>
                    <a:lnTo>
                      <a:pt x="7109000" y="4708576"/>
                    </a:lnTo>
                    <a:lnTo>
                      <a:pt x="7110846" y="4687156"/>
                    </a:lnTo>
                    <a:lnTo>
                      <a:pt x="7179275" y="4604067"/>
                    </a:lnTo>
                    <a:lnTo>
                      <a:pt x="7201612" y="4577846"/>
                    </a:lnTo>
                    <a:lnTo>
                      <a:pt x="7221140" y="4556333"/>
                    </a:lnTo>
                    <a:lnTo>
                      <a:pt x="7248647" y="4536060"/>
                    </a:lnTo>
                    <a:lnTo>
                      <a:pt x="7283903" y="4512985"/>
                    </a:lnTo>
                    <a:lnTo>
                      <a:pt x="7319476" y="4491129"/>
                    </a:lnTo>
                    <a:lnTo>
                      <a:pt x="7350663" y="4465331"/>
                    </a:lnTo>
                    <a:lnTo>
                      <a:pt x="7374023" y="4441542"/>
                    </a:lnTo>
                    <a:lnTo>
                      <a:pt x="7400752" y="4418380"/>
                    </a:lnTo>
                    <a:lnTo>
                      <a:pt x="7418670" y="4389159"/>
                    </a:lnTo>
                    <a:lnTo>
                      <a:pt x="7414588" y="4348350"/>
                    </a:lnTo>
                    <a:lnTo>
                      <a:pt x="7393333" y="4322181"/>
                    </a:lnTo>
                    <a:lnTo>
                      <a:pt x="7370561" y="4306511"/>
                    </a:lnTo>
                    <a:lnTo>
                      <a:pt x="7347940" y="4298023"/>
                    </a:lnTo>
                    <a:lnTo>
                      <a:pt x="7328505" y="4289280"/>
                    </a:lnTo>
                    <a:lnTo>
                      <a:pt x="7307401" y="4273801"/>
                    </a:lnTo>
                    <a:lnTo>
                      <a:pt x="7305383" y="4252914"/>
                    </a:lnTo>
                    <a:lnTo>
                      <a:pt x="7311213" y="4232734"/>
                    </a:lnTo>
                    <a:lnTo>
                      <a:pt x="7327535" y="4206889"/>
                    </a:lnTo>
                    <a:lnTo>
                      <a:pt x="7342235" y="4191634"/>
                    </a:lnTo>
                    <a:lnTo>
                      <a:pt x="7359085" y="4178617"/>
                    </a:lnTo>
                    <a:lnTo>
                      <a:pt x="7377861" y="4167445"/>
                    </a:lnTo>
                    <a:lnTo>
                      <a:pt x="7384667" y="4137525"/>
                    </a:lnTo>
                    <a:lnTo>
                      <a:pt x="7380901" y="4115569"/>
                    </a:lnTo>
                    <a:lnTo>
                      <a:pt x="7372104" y="4094181"/>
                    </a:lnTo>
                    <a:lnTo>
                      <a:pt x="7360180" y="4074952"/>
                    </a:lnTo>
                    <a:lnTo>
                      <a:pt x="7345038" y="4059131"/>
                    </a:lnTo>
                    <a:lnTo>
                      <a:pt x="7324185" y="4047153"/>
                    </a:lnTo>
                    <a:lnTo>
                      <a:pt x="7304414" y="4039589"/>
                    </a:lnTo>
                    <a:lnTo>
                      <a:pt x="7281292" y="4028708"/>
                    </a:lnTo>
                    <a:lnTo>
                      <a:pt x="7260888" y="4013744"/>
                    </a:lnTo>
                    <a:lnTo>
                      <a:pt x="7245699" y="3997772"/>
                    </a:lnTo>
                    <a:lnTo>
                      <a:pt x="7232925" y="3978599"/>
                    </a:lnTo>
                    <a:lnTo>
                      <a:pt x="7222801" y="3959335"/>
                    </a:lnTo>
                    <a:lnTo>
                      <a:pt x="7209421" y="3936095"/>
                    </a:lnTo>
                    <a:lnTo>
                      <a:pt x="7195374" y="3911839"/>
                    </a:lnTo>
                    <a:lnTo>
                      <a:pt x="7181992" y="3889964"/>
                    </a:lnTo>
                    <a:lnTo>
                      <a:pt x="7167497" y="3872164"/>
                    </a:lnTo>
                    <a:lnTo>
                      <a:pt x="7143597" y="3856126"/>
                    </a:lnTo>
                    <a:lnTo>
                      <a:pt x="7104463" y="3843721"/>
                    </a:lnTo>
                    <a:lnTo>
                      <a:pt x="7065395" y="3835200"/>
                    </a:lnTo>
                    <a:lnTo>
                      <a:pt x="7026557" y="3830478"/>
                    </a:lnTo>
                    <a:lnTo>
                      <a:pt x="6990206" y="3824675"/>
                    </a:lnTo>
                    <a:lnTo>
                      <a:pt x="6956420" y="3817374"/>
                    </a:lnTo>
                    <a:lnTo>
                      <a:pt x="6932322" y="3804019"/>
                    </a:lnTo>
                    <a:lnTo>
                      <a:pt x="6912676" y="3790671"/>
                    </a:lnTo>
                    <a:lnTo>
                      <a:pt x="6891526" y="3778438"/>
                    </a:lnTo>
                    <a:lnTo>
                      <a:pt x="6871260" y="3764820"/>
                    </a:lnTo>
                    <a:lnTo>
                      <a:pt x="6851469" y="3751227"/>
                    </a:lnTo>
                    <a:lnTo>
                      <a:pt x="6830715" y="3738552"/>
                    </a:lnTo>
                    <a:lnTo>
                      <a:pt x="6806769" y="3731166"/>
                    </a:lnTo>
                    <a:lnTo>
                      <a:pt x="6756252" y="3721307"/>
                    </a:lnTo>
                    <a:lnTo>
                      <a:pt x="6735847" y="3696826"/>
                    </a:lnTo>
                    <a:lnTo>
                      <a:pt x="6726291" y="3675221"/>
                    </a:lnTo>
                    <a:lnTo>
                      <a:pt x="6720923" y="3653135"/>
                    </a:lnTo>
                    <a:lnTo>
                      <a:pt x="6720890" y="3631531"/>
                    </a:lnTo>
                    <a:lnTo>
                      <a:pt x="6727096" y="3611454"/>
                    </a:lnTo>
                    <a:lnTo>
                      <a:pt x="6749261" y="3586031"/>
                    </a:lnTo>
                    <a:lnTo>
                      <a:pt x="6767390" y="3573171"/>
                    </a:lnTo>
                    <a:lnTo>
                      <a:pt x="6780739" y="3554000"/>
                    </a:lnTo>
                    <a:lnTo>
                      <a:pt x="6782097" y="3529520"/>
                    </a:lnTo>
                    <a:lnTo>
                      <a:pt x="6756252" y="3507757"/>
                    </a:lnTo>
                    <a:lnTo>
                      <a:pt x="6731719" y="3492200"/>
                    </a:lnTo>
                    <a:lnTo>
                      <a:pt x="6704614" y="3479788"/>
                    </a:lnTo>
                    <a:lnTo>
                      <a:pt x="6678722" y="3472388"/>
                    </a:lnTo>
                    <a:lnTo>
                      <a:pt x="6654414" y="3467680"/>
                    </a:lnTo>
                    <a:lnTo>
                      <a:pt x="6633824" y="3481904"/>
                    </a:lnTo>
                    <a:lnTo>
                      <a:pt x="6629755" y="3510474"/>
                    </a:lnTo>
                    <a:lnTo>
                      <a:pt x="6633824" y="3540395"/>
                    </a:lnTo>
                    <a:lnTo>
                      <a:pt x="6635182" y="3568958"/>
                    </a:lnTo>
                    <a:lnTo>
                      <a:pt x="6620225" y="3593445"/>
                    </a:lnTo>
                    <a:lnTo>
                      <a:pt x="6586710" y="3604385"/>
                    </a:lnTo>
                    <a:lnTo>
                      <a:pt x="6564459" y="3597520"/>
                    </a:lnTo>
                    <a:lnTo>
                      <a:pt x="6542207" y="3590654"/>
                    </a:lnTo>
                    <a:lnTo>
                      <a:pt x="6517503" y="3577525"/>
                    </a:lnTo>
                    <a:lnTo>
                      <a:pt x="6492363" y="3564876"/>
                    </a:lnTo>
                    <a:lnTo>
                      <a:pt x="6467224" y="3552227"/>
                    </a:lnTo>
                    <a:lnTo>
                      <a:pt x="6441596" y="3540620"/>
                    </a:lnTo>
                    <a:lnTo>
                      <a:pt x="6418916" y="3534947"/>
                    </a:lnTo>
                    <a:lnTo>
                      <a:pt x="6396236" y="3529276"/>
                    </a:lnTo>
                    <a:lnTo>
                      <a:pt x="6361784" y="3544471"/>
                    </a:lnTo>
                    <a:lnTo>
                      <a:pt x="6347368" y="3577273"/>
                    </a:lnTo>
                    <a:lnTo>
                      <a:pt x="6354444" y="3617766"/>
                    </a:lnTo>
                    <a:lnTo>
                      <a:pt x="6362991" y="3640604"/>
                    </a:lnTo>
                    <a:lnTo>
                      <a:pt x="6371308" y="3662809"/>
                    </a:lnTo>
                    <a:lnTo>
                      <a:pt x="6379623" y="3685014"/>
                    </a:lnTo>
                    <a:lnTo>
                      <a:pt x="6387722" y="3707002"/>
                    </a:lnTo>
                    <a:lnTo>
                      <a:pt x="6388988" y="3728098"/>
                    </a:lnTo>
                    <a:lnTo>
                      <a:pt x="6390255" y="3749196"/>
                    </a:lnTo>
                    <a:lnTo>
                      <a:pt x="6384827" y="3769673"/>
                    </a:lnTo>
                    <a:lnTo>
                      <a:pt x="6367225" y="3786589"/>
                    </a:lnTo>
                    <a:lnTo>
                      <a:pt x="6350777" y="3799885"/>
                    </a:lnTo>
                    <a:lnTo>
                      <a:pt x="6324233" y="3795499"/>
                    </a:lnTo>
                    <a:lnTo>
                      <a:pt x="6297135" y="3779591"/>
                    </a:lnTo>
                    <a:lnTo>
                      <a:pt x="6271586" y="3764279"/>
                    </a:lnTo>
                    <a:lnTo>
                      <a:pt x="6243498" y="3760434"/>
                    </a:lnTo>
                    <a:lnTo>
                      <a:pt x="6213624" y="3774145"/>
                    </a:lnTo>
                    <a:lnTo>
                      <a:pt x="6191761" y="3808352"/>
                    </a:lnTo>
                    <a:lnTo>
                      <a:pt x="6175432" y="3848449"/>
                    </a:lnTo>
                    <a:lnTo>
                      <a:pt x="6168639" y="3869559"/>
                    </a:lnTo>
                    <a:lnTo>
                      <a:pt x="6161840" y="3890670"/>
                    </a:lnTo>
                    <a:lnTo>
                      <a:pt x="6154553" y="3910765"/>
                    </a:lnTo>
                    <a:lnTo>
                      <a:pt x="6131036" y="3945342"/>
                    </a:lnTo>
                    <a:lnTo>
                      <a:pt x="6114284" y="3959151"/>
                    </a:lnTo>
                    <a:lnTo>
                      <a:pt x="6089744" y="3966135"/>
                    </a:lnTo>
                    <a:lnTo>
                      <a:pt x="6052319" y="3956309"/>
                    </a:lnTo>
                    <a:lnTo>
                      <a:pt x="6021072" y="3943324"/>
                    </a:lnTo>
                    <a:lnTo>
                      <a:pt x="5995893" y="3925333"/>
                    </a:lnTo>
                    <a:lnTo>
                      <a:pt x="5976378" y="3903912"/>
                    </a:lnTo>
                    <a:lnTo>
                      <a:pt x="5963716" y="3873299"/>
                    </a:lnTo>
                    <a:lnTo>
                      <a:pt x="5957807" y="3832839"/>
                    </a:lnTo>
                    <a:lnTo>
                      <a:pt x="5957807" y="3805635"/>
                    </a:lnTo>
                    <a:lnTo>
                      <a:pt x="5960524" y="3782507"/>
                    </a:lnTo>
                    <a:lnTo>
                      <a:pt x="5968689" y="3760751"/>
                    </a:lnTo>
                    <a:lnTo>
                      <a:pt x="5985011" y="3738981"/>
                    </a:lnTo>
                    <a:lnTo>
                      <a:pt x="6017056" y="3718966"/>
                    </a:lnTo>
                    <a:lnTo>
                      <a:pt x="6043494" y="3714501"/>
                    </a:lnTo>
                    <a:lnTo>
                      <a:pt x="6069940" y="3710036"/>
                    </a:lnTo>
                    <a:lnTo>
                      <a:pt x="6101682" y="3707470"/>
                    </a:lnTo>
                    <a:lnTo>
                      <a:pt x="6133271" y="3704977"/>
                    </a:lnTo>
                    <a:lnTo>
                      <a:pt x="6164861" y="3702484"/>
                    </a:lnTo>
                    <a:lnTo>
                      <a:pt x="6195705" y="3699371"/>
                    </a:lnTo>
                    <a:lnTo>
                      <a:pt x="6221682" y="3692738"/>
                    </a:lnTo>
                    <a:lnTo>
                      <a:pt x="6247659" y="3686102"/>
                    </a:lnTo>
                    <a:lnTo>
                      <a:pt x="6267847" y="3676988"/>
                    </a:lnTo>
                    <a:lnTo>
                      <a:pt x="6279262" y="3653273"/>
                    </a:lnTo>
                    <a:lnTo>
                      <a:pt x="6277303" y="3628734"/>
                    </a:lnTo>
                    <a:lnTo>
                      <a:pt x="6265209" y="3608402"/>
                    </a:lnTo>
                    <a:lnTo>
                      <a:pt x="6233540" y="3593082"/>
                    </a:lnTo>
                    <a:lnTo>
                      <a:pt x="6177451" y="3585814"/>
                    </a:lnTo>
                    <a:lnTo>
                      <a:pt x="6142596" y="3554969"/>
                    </a:lnTo>
                    <a:lnTo>
                      <a:pt x="6128338" y="3525563"/>
                    </a:lnTo>
                    <a:lnTo>
                      <a:pt x="6108784" y="3505033"/>
                    </a:lnTo>
                    <a:lnTo>
                      <a:pt x="6088419" y="3486040"/>
                    </a:lnTo>
                    <a:lnTo>
                      <a:pt x="6061142" y="3480493"/>
                    </a:lnTo>
                    <a:lnTo>
                      <a:pt x="6024448" y="3492786"/>
                    </a:lnTo>
                    <a:lnTo>
                      <a:pt x="6004703" y="3502349"/>
                    </a:lnTo>
                    <a:lnTo>
                      <a:pt x="5988658" y="3521243"/>
                    </a:lnTo>
                    <a:lnTo>
                      <a:pt x="5974123" y="3540395"/>
                    </a:lnTo>
                    <a:lnTo>
                      <a:pt x="5959588" y="3559540"/>
                    </a:lnTo>
                    <a:lnTo>
                      <a:pt x="5946378" y="3579035"/>
                    </a:lnTo>
                    <a:lnTo>
                      <a:pt x="5927879" y="3590721"/>
                    </a:lnTo>
                    <a:lnTo>
                      <a:pt x="5893869" y="3583915"/>
                    </a:lnTo>
                    <a:lnTo>
                      <a:pt x="5885764" y="3554428"/>
                    </a:lnTo>
                    <a:lnTo>
                      <a:pt x="5891093" y="3518190"/>
                    </a:lnTo>
                    <a:lnTo>
                      <a:pt x="5904751" y="3479182"/>
                    </a:lnTo>
                    <a:lnTo>
                      <a:pt x="5919490" y="3439144"/>
                    </a:lnTo>
                    <a:lnTo>
                      <a:pt x="5939018" y="3398249"/>
                    </a:lnTo>
                    <a:lnTo>
                      <a:pt x="5944195" y="3373083"/>
                    </a:lnTo>
                    <a:lnTo>
                      <a:pt x="5949662" y="3346564"/>
                    </a:lnTo>
                    <a:lnTo>
                      <a:pt x="5925624" y="3321148"/>
                    </a:lnTo>
                    <a:lnTo>
                      <a:pt x="5931955" y="3294195"/>
                    </a:lnTo>
                    <a:lnTo>
                      <a:pt x="5937521" y="3270539"/>
                    </a:lnTo>
                    <a:lnTo>
                      <a:pt x="5985070" y="3157324"/>
                    </a:lnTo>
                    <a:lnTo>
                      <a:pt x="5971406" y="3136410"/>
                    </a:lnTo>
                    <a:lnTo>
                      <a:pt x="5949999" y="3134993"/>
                    </a:lnTo>
                    <a:lnTo>
                      <a:pt x="5920849" y="3145466"/>
                    </a:lnTo>
                    <a:lnTo>
                      <a:pt x="5893869" y="3159539"/>
                    </a:lnTo>
                    <a:lnTo>
                      <a:pt x="5866890" y="3173599"/>
                    </a:lnTo>
                    <a:lnTo>
                      <a:pt x="5841783" y="3191326"/>
                    </a:lnTo>
                    <a:lnTo>
                      <a:pt x="5827222" y="3207141"/>
                    </a:lnTo>
                    <a:lnTo>
                      <a:pt x="5792961" y="3239615"/>
                    </a:lnTo>
                    <a:lnTo>
                      <a:pt x="5791859" y="3266990"/>
                    </a:lnTo>
                    <a:lnTo>
                      <a:pt x="5779487" y="3293007"/>
                    </a:lnTo>
                    <a:lnTo>
                      <a:pt x="5760573" y="3336361"/>
                    </a:lnTo>
                    <a:lnTo>
                      <a:pt x="5757724" y="3358343"/>
                    </a:lnTo>
                    <a:lnTo>
                      <a:pt x="5759057" y="3381840"/>
                    </a:lnTo>
                    <a:lnTo>
                      <a:pt x="5756497" y="3404368"/>
                    </a:lnTo>
                    <a:lnTo>
                      <a:pt x="5753938" y="3426903"/>
                    </a:lnTo>
                    <a:lnTo>
                      <a:pt x="5747733" y="3449089"/>
                    </a:lnTo>
                    <a:lnTo>
                      <a:pt x="5730652" y="3466941"/>
                    </a:lnTo>
                    <a:lnTo>
                      <a:pt x="5699366" y="3469658"/>
                    </a:lnTo>
                    <a:lnTo>
                      <a:pt x="5678051" y="3473852"/>
                    </a:lnTo>
                    <a:lnTo>
                      <a:pt x="5649970" y="3466823"/>
                    </a:lnTo>
                    <a:lnTo>
                      <a:pt x="5631359" y="3446529"/>
                    </a:lnTo>
                    <a:lnTo>
                      <a:pt x="5620874" y="3421100"/>
                    </a:lnTo>
                    <a:lnTo>
                      <a:pt x="5615610" y="3374982"/>
                    </a:lnTo>
                    <a:lnTo>
                      <a:pt x="5618921" y="3339362"/>
                    </a:lnTo>
                    <a:lnTo>
                      <a:pt x="5610955" y="3315950"/>
                    </a:lnTo>
                    <a:lnTo>
                      <a:pt x="5559436" y="3228371"/>
                    </a:lnTo>
                    <a:lnTo>
                      <a:pt x="5547024" y="3211217"/>
                    </a:lnTo>
                    <a:lnTo>
                      <a:pt x="5548382" y="3164967"/>
                    </a:lnTo>
                    <a:lnTo>
                      <a:pt x="5570145" y="3136404"/>
                    </a:lnTo>
                    <a:lnTo>
                      <a:pt x="5602790" y="3124165"/>
                    </a:lnTo>
                    <a:lnTo>
                      <a:pt x="5616857" y="3099236"/>
                    </a:lnTo>
                    <a:lnTo>
                      <a:pt x="5609589" y="3073839"/>
                    </a:lnTo>
                    <a:lnTo>
                      <a:pt x="5596795" y="3052834"/>
                    </a:lnTo>
                    <a:lnTo>
                      <a:pt x="5562119" y="3041154"/>
                    </a:lnTo>
                    <a:lnTo>
                      <a:pt x="5536821" y="3033564"/>
                    </a:lnTo>
                    <a:lnTo>
                      <a:pt x="5513021" y="3024872"/>
                    </a:lnTo>
                    <a:lnTo>
                      <a:pt x="5489213" y="3016179"/>
                    </a:lnTo>
                    <a:lnTo>
                      <a:pt x="5466190" y="3006135"/>
                    </a:lnTo>
                    <a:lnTo>
                      <a:pt x="5443649" y="2993585"/>
                    </a:lnTo>
                    <a:lnTo>
                      <a:pt x="5426172" y="2978713"/>
                    </a:lnTo>
                    <a:lnTo>
                      <a:pt x="5406717" y="2951332"/>
                    </a:lnTo>
                    <a:lnTo>
                      <a:pt x="5385159" y="2920138"/>
                    </a:lnTo>
                    <a:lnTo>
                      <a:pt x="5359992" y="2891576"/>
                    </a:lnTo>
                    <a:lnTo>
                      <a:pt x="5331436" y="2875247"/>
                    </a:lnTo>
                    <a:lnTo>
                      <a:pt x="5298106" y="2877970"/>
                    </a:lnTo>
                    <a:lnTo>
                      <a:pt x="5262144" y="2904073"/>
                    </a:lnTo>
                    <a:lnTo>
                      <a:pt x="5240736" y="2917090"/>
                    </a:lnTo>
                    <a:lnTo>
                      <a:pt x="5220576" y="2928296"/>
                    </a:lnTo>
                    <a:lnTo>
                      <a:pt x="5200409" y="2939506"/>
                    </a:lnTo>
                    <a:lnTo>
                      <a:pt x="5163444" y="2952775"/>
                    </a:lnTo>
                    <a:lnTo>
                      <a:pt x="5126420" y="2955302"/>
                    </a:lnTo>
                    <a:lnTo>
                      <a:pt x="5088942" y="2939374"/>
                    </a:lnTo>
                    <a:lnTo>
                      <a:pt x="5070067" y="2924220"/>
                    </a:lnTo>
                    <a:lnTo>
                      <a:pt x="5049188" y="2899733"/>
                    </a:lnTo>
                    <a:lnTo>
                      <a:pt x="5035589" y="2882052"/>
                    </a:lnTo>
                    <a:lnTo>
                      <a:pt x="5023349" y="2860289"/>
                    </a:lnTo>
                    <a:lnTo>
                      <a:pt x="5013825" y="2837160"/>
                    </a:lnTo>
                    <a:lnTo>
                      <a:pt x="5011109" y="2814039"/>
                    </a:lnTo>
                    <a:lnTo>
                      <a:pt x="5009750" y="2770512"/>
                    </a:lnTo>
                    <a:lnTo>
                      <a:pt x="5008392" y="2726986"/>
                    </a:lnTo>
                    <a:lnTo>
                      <a:pt x="4999073" y="2701998"/>
                    </a:lnTo>
                    <a:lnTo>
                      <a:pt x="4968736" y="2675803"/>
                    </a:lnTo>
                    <a:lnTo>
                      <a:pt x="4948048" y="2662382"/>
                    </a:lnTo>
                    <a:lnTo>
                      <a:pt x="4926780" y="2650815"/>
                    </a:lnTo>
                    <a:lnTo>
                      <a:pt x="4884236" y="2627686"/>
                    </a:lnTo>
                    <a:lnTo>
                      <a:pt x="4837484" y="2610777"/>
                    </a:lnTo>
                    <a:lnTo>
                      <a:pt x="4812523" y="2599130"/>
                    </a:lnTo>
                    <a:lnTo>
                      <a:pt x="4787271" y="2577282"/>
                    </a:lnTo>
                    <a:lnTo>
                      <a:pt x="4768357" y="2543437"/>
                    </a:lnTo>
                    <a:lnTo>
                      <a:pt x="4758115" y="2514796"/>
                    </a:lnTo>
                    <a:lnTo>
                      <a:pt x="4757917" y="2483074"/>
                    </a:lnTo>
                    <a:lnTo>
                      <a:pt x="4763555" y="2456305"/>
                    </a:lnTo>
                    <a:lnTo>
                      <a:pt x="4801371" y="2430737"/>
                    </a:lnTo>
                    <a:lnTo>
                      <a:pt x="4826102" y="2430954"/>
                    </a:lnTo>
                    <a:lnTo>
                      <a:pt x="4850608" y="2437266"/>
                    </a:lnTo>
                    <a:lnTo>
                      <a:pt x="4875108" y="2443577"/>
                    </a:lnTo>
                    <a:lnTo>
                      <a:pt x="4899022" y="2457077"/>
                    </a:lnTo>
                    <a:lnTo>
                      <a:pt x="4922698" y="2469910"/>
                    </a:lnTo>
                    <a:lnTo>
                      <a:pt x="4946373" y="2482737"/>
                    </a:lnTo>
                    <a:lnTo>
                      <a:pt x="4970345" y="2494964"/>
                    </a:lnTo>
                    <a:lnTo>
                      <a:pt x="4994786" y="2502555"/>
                    </a:lnTo>
                    <a:lnTo>
                      <a:pt x="5019234" y="2510159"/>
                    </a:lnTo>
                    <a:lnTo>
                      <a:pt x="5044142" y="2513331"/>
                    </a:lnTo>
                    <a:lnTo>
                      <a:pt x="5070958" y="2503914"/>
                    </a:lnTo>
                    <a:lnTo>
                      <a:pt x="5087280" y="2485646"/>
                    </a:lnTo>
                    <a:lnTo>
                      <a:pt x="5102277" y="2464503"/>
                    </a:lnTo>
                    <a:lnTo>
                      <a:pt x="5110408" y="2442705"/>
                    </a:lnTo>
                    <a:lnTo>
                      <a:pt x="5109050" y="2419578"/>
                    </a:lnTo>
                    <a:lnTo>
                      <a:pt x="5096005" y="2396832"/>
                    </a:lnTo>
                    <a:lnTo>
                      <a:pt x="5084563" y="2376058"/>
                    </a:lnTo>
                    <a:lnTo>
                      <a:pt x="5078581" y="2352759"/>
                    </a:lnTo>
                    <a:lnTo>
                      <a:pt x="5076932" y="2328621"/>
                    </a:lnTo>
                    <a:lnTo>
                      <a:pt x="5077763" y="2303962"/>
                    </a:lnTo>
                    <a:lnTo>
                      <a:pt x="5078423" y="2279343"/>
                    </a:lnTo>
                    <a:lnTo>
                      <a:pt x="5077104" y="2255134"/>
                    </a:lnTo>
                    <a:lnTo>
                      <a:pt x="5072323" y="2231873"/>
                    </a:lnTo>
                    <a:lnTo>
                      <a:pt x="5063756" y="2211944"/>
                    </a:lnTo>
                    <a:lnTo>
                      <a:pt x="5052076" y="2189936"/>
                    </a:lnTo>
                    <a:lnTo>
                      <a:pt x="5033597" y="2174517"/>
                    </a:lnTo>
                    <a:lnTo>
                      <a:pt x="5009757" y="2163860"/>
                    </a:lnTo>
                    <a:lnTo>
                      <a:pt x="4986885" y="2158684"/>
                    </a:lnTo>
                    <a:lnTo>
                      <a:pt x="4964621" y="2158155"/>
                    </a:lnTo>
                    <a:lnTo>
                      <a:pt x="4943109" y="2158419"/>
                    </a:lnTo>
                    <a:lnTo>
                      <a:pt x="4919051" y="2155610"/>
                    </a:lnTo>
                    <a:lnTo>
                      <a:pt x="4894306" y="2143786"/>
                    </a:lnTo>
                    <a:lnTo>
                      <a:pt x="4872985" y="2130332"/>
                    </a:lnTo>
                    <a:lnTo>
                      <a:pt x="4849777" y="2116516"/>
                    </a:lnTo>
                    <a:lnTo>
                      <a:pt x="4828753" y="2109149"/>
                    </a:lnTo>
                    <a:lnTo>
                      <a:pt x="4798021" y="2119232"/>
                    </a:lnTo>
                    <a:lnTo>
                      <a:pt x="4772630" y="2137778"/>
                    </a:lnTo>
                    <a:lnTo>
                      <a:pt x="4747240" y="2159791"/>
                    </a:lnTo>
                    <a:lnTo>
                      <a:pt x="4725128" y="2180743"/>
                    </a:lnTo>
                    <a:lnTo>
                      <a:pt x="4706780" y="2195958"/>
                    </a:lnTo>
                    <a:lnTo>
                      <a:pt x="4685551" y="2197646"/>
                    </a:lnTo>
                    <a:lnTo>
                      <a:pt x="4669565" y="2182385"/>
                    </a:lnTo>
                    <a:lnTo>
                      <a:pt x="4657463" y="2163867"/>
                    </a:lnTo>
                    <a:lnTo>
                      <a:pt x="4641906" y="2136056"/>
                    </a:lnTo>
                    <a:lnTo>
                      <a:pt x="4635469" y="2113608"/>
                    </a:lnTo>
                    <a:lnTo>
                      <a:pt x="4630497" y="2072666"/>
                    </a:lnTo>
                    <a:lnTo>
                      <a:pt x="4635700" y="2037371"/>
                    </a:lnTo>
                    <a:lnTo>
                      <a:pt x="4641589" y="2003459"/>
                    </a:lnTo>
                    <a:lnTo>
                      <a:pt x="4643410" y="1967907"/>
                    </a:lnTo>
                    <a:lnTo>
                      <a:pt x="4632977" y="1927196"/>
                    </a:lnTo>
                    <a:lnTo>
                      <a:pt x="4624594" y="1905769"/>
                    </a:lnTo>
                    <a:lnTo>
                      <a:pt x="4613244" y="1881177"/>
                    </a:lnTo>
                    <a:lnTo>
                      <a:pt x="4607138" y="1859183"/>
                    </a:lnTo>
                    <a:lnTo>
                      <a:pt x="4606808" y="1824704"/>
                    </a:lnTo>
                    <a:lnTo>
                      <a:pt x="4629198" y="1798456"/>
                    </a:lnTo>
                    <a:lnTo>
                      <a:pt x="4662904" y="1772129"/>
                    </a:lnTo>
                    <a:lnTo>
                      <a:pt x="4679787" y="1757364"/>
                    </a:lnTo>
                    <a:lnTo>
                      <a:pt x="4696294" y="1738747"/>
                    </a:lnTo>
                    <a:lnTo>
                      <a:pt x="4707789" y="1713640"/>
                    </a:lnTo>
                    <a:lnTo>
                      <a:pt x="4719284" y="1688539"/>
                    </a:lnTo>
                    <a:lnTo>
                      <a:pt x="4725028" y="1657115"/>
                    </a:lnTo>
                    <a:lnTo>
                      <a:pt x="4720029" y="1612989"/>
                    </a:lnTo>
                    <a:lnTo>
                      <a:pt x="4714589" y="1578985"/>
                    </a:lnTo>
                    <a:lnTo>
                      <a:pt x="4708125" y="1545055"/>
                    </a:lnTo>
                    <a:lnTo>
                      <a:pt x="4699288" y="1509541"/>
                    </a:lnTo>
                    <a:lnTo>
                      <a:pt x="4688750" y="1478327"/>
                    </a:lnTo>
                    <a:lnTo>
                      <a:pt x="4677868" y="1454136"/>
                    </a:lnTo>
                    <a:lnTo>
                      <a:pt x="4655485" y="1439530"/>
                    </a:lnTo>
                    <a:lnTo>
                      <a:pt x="4624436" y="1434998"/>
                    </a:lnTo>
                    <a:lnTo>
                      <a:pt x="4603438" y="1431893"/>
                    </a:lnTo>
                    <a:lnTo>
                      <a:pt x="4577243" y="1420667"/>
                    </a:lnTo>
                    <a:lnTo>
                      <a:pt x="4564310" y="1390133"/>
                    </a:lnTo>
                    <a:lnTo>
                      <a:pt x="4559529" y="1358637"/>
                    </a:lnTo>
                    <a:lnTo>
                      <a:pt x="4554596" y="1324132"/>
                    </a:lnTo>
                    <a:lnTo>
                      <a:pt x="4550864" y="1287049"/>
                    </a:lnTo>
                    <a:lnTo>
                      <a:pt x="4547289" y="1249820"/>
                    </a:lnTo>
                    <a:lnTo>
                      <a:pt x="4543279" y="1215394"/>
                    </a:lnTo>
                    <a:lnTo>
                      <a:pt x="4537766" y="1186674"/>
                    </a:lnTo>
                    <a:lnTo>
                      <a:pt x="4524161" y="1155969"/>
                    </a:lnTo>
                    <a:lnTo>
                      <a:pt x="4511518" y="1127011"/>
                    </a:lnTo>
                    <a:lnTo>
                      <a:pt x="4508247" y="1081847"/>
                    </a:lnTo>
                    <a:lnTo>
                      <a:pt x="4519063" y="1057624"/>
                    </a:lnTo>
                    <a:lnTo>
                      <a:pt x="4530967" y="1037628"/>
                    </a:lnTo>
                    <a:lnTo>
                      <a:pt x="4542863" y="1017633"/>
                    </a:lnTo>
                    <a:lnTo>
                      <a:pt x="4555447" y="981863"/>
                    </a:lnTo>
                    <a:lnTo>
                      <a:pt x="4555974" y="959843"/>
                    </a:lnTo>
                    <a:lnTo>
                      <a:pt x="4529602" y="936971"/>
                    </a:lnTo>
                    <a:lnTo>
                      <a:pt x="4508307" y="903885"/>
                    </a:lnTo>
                    <a:lnTo>
                      <a:pt x="4495684" y="856974"/>
                    </a:lnTo>
                    <a:lnTo>
                      <a:pt x="4483358" y="819997"/>
                    </a:lnTo>
                    <a:lnTo>
                      <a:pt x="4472562" y="787589"/>
                    </a:lnTo>
                    <a:lnTo>
                      <a:pt x="4461213" y="746846"/>
                    </a:lnTo>
                    <a:lnTo>
                      <a:pt x="4446631" y="716622"/>
                    </a:lnTo>
                    <a:lnTo>
                      <a:pt x="4421445" y="664443"/>
                    </a:lnTo>
                    <a:lnTo>
                      <a:pt x="4389697" y="614744"/>
                    </a:lnTo>
                    <a:lnTo>
                      <a:pt x="4363660" y="562921"/>
                    </a:lnTo>
                    <a:lnTo>
                      <a:pt x="4344278" y="524342"/>
                    </a:lnTo>
                    <a:lnTo>
                      <a:pt x="4331590" y="495218"/>
                    </a:lnTo>
                    <a:lnTo>
                      <a:pt x="4317411" y="467704"/>
                    </a:lnTo>
                    <a:lnTo>
                      <a:pt x="4303232" y="440197"/>
                    </a:lnTo>
                    <a:lnTo>
                      <a:pt x="4286968" y="414530"/>
                    </a:lnTo>
                    <a:lnTo>
                      <a:pt x="4258927" y="380652"/>
                    </a:lnTo>
                    <a:lnTo>
                      <a:pt x="4232402" y="348613"/>
                    </a:lnTo>
                    <a:lnTo>
                      <a:pt x="4208647" y="317373"/>
                    </a:lnTo>
                    <a:lnTo>
                      <a:pt x="4185473" y="285440"/>
                    </a:lnTo>
                    <a:lnTo>
                      <a:pt x="4162305" y="253501"/>
                    </a:lnTo>
                    <a:lnTo>
                      <a:pt x="4139803" y="220619"/>
                    </a:lnTo>
                    <a:lnTo>
                      <a:pt x="4118825" y="184783"/>
                    </a:lnTo>
                    <a:lnTo>
                      <a:pt x="4090869" y="183735"/>
                    </a:lnTo>
                    <a:lnTo>
                      <a:pt x="4065776" y="186149"/>
                    </a:lnTo>
                    <a:lnTo>
                      <a:pt x="4040418" y="180464"/>
                    </a:lnTo>
                    <a:lnTo>
                      <a:pt x="4014969" y="167345"/>
                    </a:lnTo>
                    <a:lnTo>
                      <a:pt x="3989604" y="152145"/>
                    </a:lnTo>
                    <a:lnTo>
                      <a:pt x="3965058" y="137696"/>
                    </a:lnTo>
                    <a:lnTo>
                      <a:pt x="3924314" y="156226"/>
                    </a:lnTo>
                    <a:lnTo>
                      <a:pt x="3877741" y="132017"/>
                    </a:lnTo>
                    <a:lnTo>
                      <a:pt x="3846785" y="104537"/>
                    </a:lnTo>
                    <a:lnTo>
                      <a:pt x="3815829" y="77055"/>
                    </a:lnTo>
                    <a:lnTo>
                      <a:pt x="3784721" y="47661"/>
                    </a:lnTo>
                    <a:lnTo>
                      <a:pt x="3741709" y="20484"/>
                    </a:lnTo>
                    <a:lnTo>
                      <a:pt x="3708134" y="12663"/>
                    </a:lnTo>
                    <a:lnTo>
                      <a:pt x="3676762" y="6601"/>
                    </a:lnTo>
                    <a:lnTo>
                      <a:pt x="3624972" y="0"/>
                    </a:lnTo>
                    <a:lnTo>
                      <a:pt x="3571052" y="15519"/>
                    </a:lnTo>
                    <a:lnTo>
                      <a:pt x="3516328" y="35883"/>
                    </a:lnTo>
                    <a:lnTo>
                      <a:pt x="3460488" y="51493"/>
                    </a:lnTo>
                    <a:lnTo>
                      <a:pt x="3404649" y="67109"/>
                    </a:lnTo>
                    <a:lnTo>
                      <a:pt x="3347689" y="77490"/>
                    </a:lnTo>
                    <a:lnTo>
                      <a:pt x="3306788" y="70532"/>
                    </a:lnTo>
                    <a:lnTo>
                      <a:pt x="3263208" y="57659"/>
                    </a:lnTo>
                    <a:lnTo>
                      <a:pt x="3234699" y="50135"/>
                    </a:lnTo>
                    <a:lnTo>
                      <a:pt x="3206182" y="42604"/>
                    </a:lnTo>
                    <a:lnTo>
                      <a:pt x="3177416" y="38040"/>
                    </a:lnTo>
                    <a:lnTo>
                      <a:pt x="3143867" y="59268"/>
                    </a:lnTo>
                    <a:lnTo>
                      <a:pt x="3121801" y="92303"/>
                    </a:lnTo>
                    <a:lnTo>
                      <a:pt x="3103823" y="128904"/>
                    </a:lnTo>
                    <a:lnTo>
                      <a:pt x="3092414" y="156695"/>
                    </a:lnTo>
                    <a:lnTo>
                      <a:pt x="3079224" y="182705"/>
                    </a:lnTo>
                    <a:lnTo>
                      <a:pt x="3064715" y="222243"/>
                    </a:lnTo>
                    <a:lnTo>
                      <a:pt x="3087224" y="245917"/>
                    </a:lnTo>
                    <a:lnTo>
                      <a:pt x="3105478" y="280006"/>
                    </a:lnTo>
                    <a:lnTo>
                      <a:pt x="3117719" y="307211"/>
                    </a:lnTo>
                    <a:lnTo>
                      <a:pt x="3124168" y="328354"/>
                    </a:lnTo>
                    <a:lnTo>
                      <a:pt x="3127591" y="351357"/>
                    </a:lnTo>
                    <a:lnTo>
                      <a:pt x="3127241" y="376582"/>
                    </a:lnTo>
                    <a:lnTo>
                      <a:pt x="3122849" y="404729"/>
                    </a:lnTo>
                    <a:lnTo>
                      <a:pt x="3110998" y="440282"/>
                    </a:lnTo>
                    <a:lnTo>
                      <a:pt x="3095118" y="459473"/>
                    </a:lnTo>
                    <a:lnTo>
                      <a:pt x="3075551" y="478599"/>
                    </a:lnTo>
                    <a:lnTo>
                      <a:pt x="3055984" y="497723"/>
                    </a:lnTo>
                    <a:lnTo>
                      <a:pt x="3032961" y="516302"/>
                    </a:lnTo>
                    <a:lnTo>
                      <a:pt x="3011620" y="535724"/>
                    </a:lnTo>
                    <a:lnTo>
                      <a:pt x="2990285" y="555152"/>
                    </a:lnTo>
                    <a:lnTo>
                      <a:pt x="2970599" y="575880"/>
                    </a:lnTo>
                    <a:lnTo>
                      <a:pt x="2958576" y="596938"/>
                    </a:lnTo>
                    <a:lnTo>
                      <a:pt x="2946548" y="617995"/>
                    </a:lnTo>
                    <a:lnTo>
                      <a:pt x="2942050" y="639554"/>
                    </a:lnTo>
                    <a:lnTo>
                      <a:pt x="2950413" y="663586"/>
                    </a:lnTo>
                    <a:lnTo>
                      <a:pt x="2964334" y="689589"/>
                    </a:lnTo>
                    <a:lnTo>
                      <a:pt x="2990905" y="711030"/>
                    </a:lnTo>
                    <a:lnTo>
                      <a:pt x="3025225" y="730235"/>
                    </a:lnTo>
                    <a:lnTo>
                      <a:pt x="3060573" y="748905"/>
                    </a:lnTo>
                    <a:lnTo>
                      <a:pt x="3093251" y="768696"/>
                    </a:lnTo>
                    <a:lnTo>
                      <a:pt x="3117719" y="790082"/>
                    </a:lnTo>
                    <a:lnTo>
                      <a:pt x="3118114" y="817333"/>
                    </a:lnTo>
                    <a:lnTo>
                      <a:pt x="3105478" y="854013"/>
                    </a:lnTo>
                    <a:lnTo>
                      <a:pt x="3083135" y="881593"/>
                    </a:lnTo>
                    <a:lnTo>
                      <a:pt x="3054368" y="902606"/>
                    </a:lnTo>
                    <a:lnTo>
                      <a:pt x="3022507" y="923386"/>
                    </a:lnTo>
                    <a:lnTo>
                      <a:pt x="2989771" y="945347"/>
                    </a:lnTo>
                    <a:lnTo>
                      <a:pt x="2974900" y="961472"/>
                    </a:lnTo>
                    <a:lnTo>
                      <a:pt x="2961294" y="985951"/>
                    </a:lnTo>
                    <a:lnTo>
                      <a:pt x="2953136" y="1014514"/>
                    </a:lnTo>
                    <a:lnTo>
                      <a:pt x="2943613" y="1041718"/>
                    </a:lnTo>
                    <a:lnTo>
                      <a:pt x="2924573" y="1062123"/>
                    </a:lnTo>
                    <a:lnTo>
                      <a:pt x="2893267" y="1073538"/>
                    </a:lnTo>
                    <a:lnTo>
                      <a:pt x="2852498" y="1077917"/>
                    </a:lnTo>
                    <a:lnTo>
                      <a:pt x="2829640" y="1078643"/>
                    </a:lnTo>
                    <a:lnTo>
                      <a:pt x="2804876" y="1079804"/>
                    </a:lnTo>
                    <a:lnTo>
                      <a:pt x="2780105" y="1080964"/>
                    </a:lnTo>
                    <a:lnTo>
                      <a:pt x="2752895" y="1082368"/>
                    </a:lnTo>
                    <a:lnTo>
                      <a:pt x="2725981" y="1086602"/>
                    </a:lnTo>
                    <a:lnTo>
                      <a:pt x="2699067" y="1090844"/>
                    </a:lnTo>
                    <a:lnTo>
                      <a:pt x="2672569" y="1096950"/>
                    </a:lnTo>
                    <a:lnTo>
                      <a:pt x="2645728" y="1108367"/>
                    </a:lnTo>
                    <a:lnTo>
                      <a:pt x="2618662" y="1127986"/>
                    </a:lnTo>
                    <a:lnTo>
                      <a:pt x="2607510" y="1156753"/>
                    </a:lnTo>
                    <a:lnTo>
                      <a:pt x="2609007" y="1189977"/>
                    </a:lnTo>
                    <a:lnTo>
                      <a:pt x="2618550" y="1223005"/>
                    </a:lnTo>
                    <a:lnTo>
                      <a:pt x="2634833" y="1249437"/>
                    </a:lnTo>
                    <a:lnTo>
                      <a:pt x="2656616" y="1263432"/>
                    </a:lnTo>
                    <a:lnTo>
                      <a:pt x="2684486" y="1266506"/>
                    </a:lnTo>
                    <a:lnTo>
                      <a:pt x="2713075" y="1252194"/>
                    </a:lnTo>
                    <a:lnTo>
                      <a:pt x="2740945" y="1226705"/>
                    </a:lnTo>
                    <a:lnTo>
                      <a:pt x="2767707" y="1199533"/>
                    </a:lnTo>
                    <a:lnTo>
                      <a:pt x="2793084" y="1174994"/>
                    </a:lnTo>
                    <a:lnTo>
                      <a:pt x="2817116" y="1160057"/>
                    </a:lnTo>
                    <a:lnTo>
                      <a:pt x="2840819" y="1153575"/>
                    </a:lnTo>
                    <a:lnTo>
                      <a:pt x="2859303" y="1167166"/>
                    </a:lnTo>
                    <a:lnTo>
                      <a:pt x="2878330" y="1179104"/>
                    </a:lnTo>
                    <a:lnTo>
                      <a:pt x="2902791" y="1194450"/>
                    </a:lnTo>
                    <a:lnTo>
                      <a:pt x="2917774" y="1222630"/>
                    </a:lnTo>
                    <a:lnTo>
                      <a:pt x="2916053" y="1248699"/>
                    </a:lnTo>
                    <a:lnTo>
                      <a:pt x="2900449" y="1275448"/>
                    </a:lnTo>
                    <a:lnTo>
                      <a:pt x="2881047" y="1302882"/>
                    </a:lnTo>
                    <a:lnTo>
                      <a:pt x="2865509" y="1331043"/>
                    </a:lnTo>
                    <a:lnTo>
                      <a:pt x="2868194" y="1402684"/>
                    </a:lnTo>
                    <a:lnTo>
                      <a:pt x="2876457" y="1459624"/>
                    </a:lnTo>
                    <a:lnTo>
                      <a:pt x="2878330" y="1516432"/>
                    </a:lnTo>
                    <a:lnTo>
                      <a:pt x="2900383" y="1548028"/>
                    </a:lnTo>
                    <a:lnTo>
                      <a:pt x="2935455" y="1558594"/>
                    </a:lnTo>
                    <a:lnTo>
                      <a:pt x="2972110" y="1560335"/>
                    </a:lnTo>
                    <a:lnTo>
                      <a:pt x="3010340" y="1554135"/>
                    </a:lnTo>
                    <a:lnTo>
                      <a:pt x="3048353" y="1543636"/>
                    </a:lnTo>
                    <a:lnTo>
                      <a:pt x="3084671" y="1535386"/>
                    </a:lnTo>
                    <a:lnTo>
                      <a:pt x="3110022" y="1554465"/>
                    </a:lnTo>
                    <a:lnTo>
                      <a:pt x="3128606" y="1584446"/>
                    </a:lnTo>
                    <a:lnTo>
                      <a:pt x="3146043" y="1609507"/>
                    </a:lnTo>
                    <a:lnTo>
                      <a:pt x="3171263" y="1636321"/>
                    </a:lnTo>
                    <a:lnTo>
                      <a:pt x="3193896" y="1659251"/>
                    </a:lnTo>
                    <a:lnTo>
                      <a:pt x="3200214" y="1686297"/>
                    </a:lnTo>
                    <a:lnTo>
                      <a:pt x="3188455" y="1710942"/>
                    </a:lnTo>
                    <a:lnTo>
                      <a:pt x="3176696" y="1735581"/>
                    </a:lnTo>
                    <a:lnTo>
                      <a:pt x="3153542" y="1769610"/>
                    </a:lnTo>
                    <a:lnTo>
                      <a:pt x="3113643" y="1823833"/>
                    </a:lnTo>
                    <a:lnTo>
                      <a:pt x="3096727" y="1839676"/>
                    </a:lnTo>
                    <a:lnTo>
                      <a:pt x="3070710" y="1851532"/>
                    </a:lnTo>
                    <a:lnTo>
                      <a:pt x="3046994" y="1853762"/>
                    </a:lnTo>
                    <a:lnTo>
                      <a:pt x="3024810" y="1839721"/>
                    </a:lnTo>
                    <a:lnTo>
                      <a:pt x="3003884" y="1818835"/>
                    </a:lnTo>
                    <a:lnTo>
                      <a:pt x="2980340" y="1802078"/>
                    </a:lnTo>
                    <a:lnTo>
                      <a:pt x="2953288" y="1791010"/>
                    </a:lnTo>
                    <a:lnTo>
                      <a:pt x="2908983" y="1797408"/>
                    </a:lnTo>
                    <a:lnTo>
                      <a:pt x="2864725" y="1808876"/>
                    </a:lnTo>
                    <a:lnTo>
                      <a:pt x="2820473" y="1820345"/>
                    </a:lnTo>
                    <a:lnTo>
                      <a:pt x="2776122" y="1837756"/>
                    </a:lnTo>
                    <a:lnTo>
                      <a:pt x="2750468" y="1849680"/>
                    </a:lnTo>
                    <a:lnTo>
                      <a:pt x="2729094" y="1860898"/>
                    </a:lnTo>
                    <a:lnTo>
                      <a:pt x="2710364" y="1873751"/>
                    </a:lnTo>
                    <a:lnTo>
                      <a:pt x="2690619" y="1885048"/>
                    </a:lnTo>
                    <a:lnTo>
                      <a:pt x="2657394" y="1904886"/>
                    </a:lnTo>
                    <a:lnTo>
                      <a:pt x="2623193" y="1925060"/>
                    </a:lnTo>
                    <a:lnTo>
                      <a:pt x="2604852" y="1935921"/>
                    </a:lnTo>
                    <a:lnTo>
                      <a:pt x="2569636" y="1953872"/>
                    </a:lnTo>
                    <a:lnTo>
                      <a:pt x="2534195" y="1968018"/>
                    </a:lnTo>
                    <a:lnTo>
                      <a:pt x="2494771" y="1977501"/>
                    </a:lnTo>
                    <a:lnTo>
                      <a:pt x="2463887" y="1979619"/>
                    </a:lnTo>
                    <a:lnTo>
                      <a:pt x="2432026" y="1976091"/>
                    </a:lnTo>
                    <a:lnTo>
                      <a:pt x="2409057" y="1972100"/>
                    </a:lnTo>
                    <a:lnTo>
                      <a:pt x="2387122" y="1969074"/>
                    </a:lnTo>
                    <a:lnTo>
                      <a:pt x="2365708" y="1969706"/>
                    </a:lnTo>
                    <a:lnTo>
                      <a:pt x="2345132" y="1976176"/>
                    </a:lnTo>
                    <a:lnTo>
                      <a:pt x="2314664" y="1990632"/>
                    </a:lnTo>
                    <a:lnTo>
                      <a:pt x="2296165" y="2000663"/>
                    </a:lnTo>
                    <a:lnTo>
                      <a:pt x="2277660" y="2010695"/>
                    </a:lnTo>
                    <a:lnTo>
                      <a:pt x="2258304" y="2022486"/>
                    </a:lnTo>
                    <a:lnTo>
                      <a:pt x="2237675" y="2031949"/>
                    </a:lnTo>
                    <a:lnTo>
                      <a:pt x="2217040" y="2041406"/>
                    </a:lnTo>
                    <a:lnTo>
                      <a:pt x="2195270" y="2049525"/>
                    </a:lnTo>
                    <a:lnTo>
                      <a:pt x="2154942" y="2057893"/>
                    </a:lnTo>
                    <a:lnTo>
                      <a:pt x="2119335" y="2052348"/>
                    </a:lnTo>
                    <a:lnTo>
                      <a:pt x="2081270" y="2039460"/>
                    </a:lnTo>
                    <a:lnTo>
                      <a:pt x="2045592" y="2024919"/>
                    </a:lnTo>
                    <a:lnTo>
                      <a:pt x="2013243" y="2014268"/>
                    </a:lnTo>
                    <a:lnTo>
                      <a:pt x="1980896" y="2003618"/>
                    </a:lnTo>
                    <a:lnTo>
                      <a:pt x="1951687" y="1996034"/>
                    </a:lnTo>
                    <a:lnTo>
                      <a:pt x="1923468" y="1995223"/>
                    </a:lnTo>
                    <a:lnTo>
                      <a:pt x="1895248" y="1994410"/>
                    </a:lnTo>
                    <a:lnTo>
                      <a:pt x="1868901" y="2000346"/>
                    </a:lnTo>
                    <a:lnTo>
                      <a:pt x="1843214" y="2016986"/>
                    </a:lnTo>
                    <a:lnTo>
                      <a:pt x="1817533" y="2033625"/>
                    </a:lnTo>
                    <a:lnTo>
                      <a:pt x="1791786" y="2060994"/>
                    </a:lnTo>
                    <a:lnTo>
                      <a:pt x="1767043" y="2102680"/>
                    </a:lnTo>
                    <a:lnTo>
                      <a:pt x="1756346" y="2120703"/>
                    </a:lnTo>
                    <a:lnTo>
                      <a:pt x="1749362" y="2140766"/>
                    </a:lnTo>
                    <a:lnTo>
                      <a:pt x="1736884" y="2157997"/>
                    </a:lnTo>
                    <a:lnTo>
                      <a:pt x="1715359" y="2169328"/>
                    </a:lnTo>
                    <a:lnTo>
                      <a:pt x="1672960" y="2166980"/>
                    </a:lnTo>
                    <a:lnTo>
                      <a:pt x="1615644" y="2134183"/>
                    </a:lnTo>
                    <a:lnTo>
                      <a:pt x="1560293" y="2110837"/>
                    </a:lnTo>
                    <a:lnTo>
                      <a:pt x="1532620" y="2099165"/>
                    </a:lnTo>
                    <a:lnTo>
                      <a:pt x="1505350" y="2090143"/>
                    </a:lnTo>
                    <a:lnTo>
                      <a:pt x="1481404" y="2087716"/>
                    </a:lnTo>
                    <a:lnTo>
                      <a:pt x="1457458" y="2085289"/>
                    </a:lnTo>
                    <a:lnTo>
                      <a:pt x="1435768" y="2090268"/>
                    </a:lnTo>
                    <a:lnTo>
                      <a:pt x="1420195" y="2106755"/>
                    </a:lnTo>
                    <a:lnTo>
                      <a:pt x="1401705" y="2126336"/>
                    </a:lnTo>
                    <a:lnTo>
                      <a:pt x="1386020" y="2154193"/>
                    </a:lnTo>
                    <a:lnTo>
                      <a:pt x="1369868" y="2176126"/>
                    </a:lnTo>
                    <a:lnTo>
                      <a:pt x="1323556" y="2194823"/>
                    </a:lnTo>
                    <a:lnTo>
                      <a:pt x="1269403" y="2197699"/>
                    </a:lnTo>
                    <a:lnTo>
                      <a:pt x="1220597" y="2203238"/>
                    </a:lnTo>
                    <a:lnTo>
                      <a:pt x="1171277" y="2206055"/>
                    </a:lnTo>
                    <a:lnTo>
                      <a:pt x="1121961" y="2208864"/>
                    </a:lnTo>
                    <a:lnTo>
                      <a:pt x="1071708" y="2208428"/>
                    </a:lnTo>
                    <a:lnTo>
                      <a:pt x="1024377" y="2201979"/>
                    </a:lnTo>
                    <a:lnTo>
                      <a:pt x="936687" y="2190023"/>
                    </a:lnTo>
                    <a:lnTo>
                      <a:pt x="868058" y="2166122"/>
                    </a:lnTo>
                    <a:lnTo>
                      <a:pt x="801304" y="2159811"/>
                    </a:lnTo>
                    <a:lnTo>
                      <a:pt x="767927" y="2156652"/>
                    </a:lnTo>
                    <a:lnTo>
                      <a:pt x="734908" y="2157971"/>
                    </a:lnTo>
                    <a:lnTo>
                      <a:pt x="700650" y="2167969"/>
                    </a:lnTo>
                    <a:lnTo>
                      <a:pt x="666392" y="2177974"/>
                    </a:lnTo>
                    <a:lnTo>
                      <a:pt x="631051" y="2196835"/>
                    </a:lnTo>
                    <a:lnTo>
                      <a:pt x="591834" y="2227818"/>
                    </a:lnTo>
                    <a:lnTo>
                      <a:pt x="551156" y="2267929"/>
                    </a:lnTo>
                    <a:lnTo>
                      <a:pt x="515004" y="2300151"/>
                    </a:lnTo>
                    <a:lnTo>
                      <a:pt x="502901" y="2340155"/>
                    </a:lnTo>
                    <a:lnTo>
                      <a:pt x="495260" y="2381525"/>
                    </a:lnTo>
                    <a:lnTo>
                      <a:pt x="487619" y="2422896"/>
                    </a:lnTo>
                    <a:lnTo>
                      <a:pt x="484146" y="2465808"/>
                    </a:lnTo>
                    <a:lnTo>
                      <a:pt x="478938" y="2494423"/>
                    </a:lnTo>
                    <a:lnTo>
                      <a:pt x="474433" y="2519161"/>
                    </a:lnTo>
                    <a:lnTo>
                      <a:pt x="463295" y="2544518"/>
                    </a:lnTo>
                    <a:lnTo>
                      <a:pt x="455814" y="2567871"/>
                    </a:lnTo>
                    <a:lnTo>
                      <a:pt x="447865" y="2592721"/>
                    </a:lnTo>
                    <a:lnTo>
                      <a:pt x="446399" y="2622153"/>
                    </a:lnTo>
                    <a:lnTo>
                      <a:pt x="431330" y="2644042"/>
                    </a:lnTo>
                    <a:lnTo>
                      <a:pt x="407017" y="2679325"/>
                    </a:lnTo>
                    <a:lnTo>
                      <a:pt x="245691" y="2821577"/>
                    </a:lnTo>
                    <a:lnTo>
                      <a:pt x="205537" y="2852158"/>
                    </a:lnTo>
                    <a:lnTo>
                      <a:pt x="182359" y="2865374"/>
                    </a:lnTo>
                    <a:lnTo>
                      <a:pt x="160059" y="2878471"/>
                    </a:lnTo>
                    <a:lnTo>
                      <a:pt x="143166" y="2894207"/>
                    </a:lnTo>
                    <a:lnTo>
                      <a:pt x="137305" y="2930927"/>
                    </a:lnTo>
                    <a:lnTo>
                      <a:pt x="135267" y="2955375"/>
                    </a:lnTo>
                    <a:lnTo>
                      <a:pt x="133447" y="2980012"/>
                    </a:lnTo>
                    <a:lnTo>
                      <a:pt x="131620" y="3004651"/>
                    </a:lnTo>
                    <a:lnTo>
                      <a:pt x="130631" y="3028822"/>
                    </a:lnTo>
                    <a:lnTo>
                      <a:pt x="128006" y="3053467"/>
                    </a:lnTo>
                    <a:lnTo>
                      <a:pt x="125381" y="3078105"/>
                    </a:lnTo>
                    <a:lnTo>
                      <a:pt x="121116" y="3102552"/>
                    </a:lnTo>
                    <a:lnTo>
                      <a:pt x="117124" y="3126915"/>
                    </a:lnTo>
                    <a:lnTo>
                      <a:pt x="113135" y="3151276"/>
                    </a:lnTo>
                    <a:lnTo>
                      <a:pt x="109442" y="3176554"/>
                    </a:lnTo>
                    <a:lnTo>
                      <a:pt x="103522" y="3200368"/>
                    </a:lnTo>
                    <a:lnTo>
                      <a:pt x="94616" y="3225442"/>
                    </a:lnTo>
                    <a:lnTo>
                      <a:pt x="79785" y="3262341"/>
                    </a:lnTo>
                    <a:lnTo>
                      <a:pt x="70756" y="3284242"/>
                    </a:lnTo>
                    <a:lnTo>
                      <a:pt x="62716" y="3305102"/>
                    </a:lnTo>
                    <a:lnTo>
                      <a:pt x="54677" y="3325962"/>
                    </a:lnTo>
                    <a:lnTo>
                      <a:pt x="48061" y="3346241"/>
                    </a:lnTo>
                    <a:lnTo>
                      <a:pt x="39288" y="3380937"/>
                    </a:lnTo>
                    <a:lnTo>
                      <a:pt x="40956" y="3403036"/>
                    </a:lnTo>
                    <a:lnTo>
                      <a:pt x="63110" y="3421264"/>
                    </a:lnTo>
                    <a:lnTo>
                      <a:pt x="79992" y="3439783"/>
                    </a:lnTo>
                    <a:lnTo>
                      <a:pt x="94004" y="3460161"/>
                    </a:lnTo>
                    <a:lnTo>
                      <a:pt x="108016" y="3480546"/>
                    </a:lnTo>
                    <a:lnTo>
                      <a:pt x="119420" y="3502019"/>
                    </a:lnTo>
                    <a:lnTo>
                      <a:pt x="126649" y="3524092"/>
                    </a:lnTo>
                    <a:lnTo>
                      <a:pt x="141107" y="3568238"/>
                    </a:lnTo>
                    <a:lnTo>
                      <a:pt x="143410" y="3616018"/>
                    </a:lnTo>
                    <a:lnTo>
                      <a:pt x="138891" y="3664194"/>
                    </a:lnTo>
                    <a:lnTo>
                      <a:pt x="134373" y="3712371"/>
                    </a:lnTo>
                    <a:lnTo>
                      <a:pt x="122951" y="3761172"/>
                    </a:lnTo>
                    <a:lnTo>
                      <a:pt x="110326" y="3809737"/>
                    </a:lnTo>
                    <a:lnTo>
                      <a:pt x="97702" y="3858295"/>
                    </a:lnTo>
                    <a:lnTo>
                      <a:pt x="83454" y="3905891"/>
                    </a:lnTo>
                    <a:lnTo>
                      <a:pt x="73601" y="3951192"/>
                    </a:lnTo>
                    <a:lnTo>
                      <a:pt x="66203" y="3986382"/>
                    </a:lnTo>
                    <a:lnTo>
                      <a:pt x="61359" y="4009681"/>
                    </a:lnTo>
                    <a:lnTo>
                      <a:pt x="56519" y="4032982"/>
                    </a:lnTo>
                    <a:lnTo>
                      <a:pt x="50465" y="4058385"/>
                    </a:lnTo>
                    <a:lnTo>
                      <a:pt x="43677" y="4084494"/>
                    </a:lnTo>
                    <a:lnTo>
                      <a:pt x="36888" y="4110604"/>
                    </a:lnTo>
                    <a:lnTo>
                      <a:pt x="29442" y="4136852"/>
                    </a:lnTo>
                    <a:lnTo>
                      <a:pt x="20553" y="4159306"/>
                    </a:lnTo>
                    <a:lnTo>
                      <a:pt x="0" y="4199311"/>
                    </a:lnTo>
                    <a:lnTo>
                      <a:pt x="40966" y="4222908"/>
                    </a:lnTo>
                    <a:lnTo>
                      <a:pt x="87654" y="4237673"/>
                    </a:lnTo>
                    <a:lnTo>
                      <a:pt x="133449" y="4255875"/>
                    </a:lnTo>
                    <a:lnTo>
                      <a:pt x="179244" y="4274085"/>
                    </a:lnTo>
                    <a:lnTo>
                      <a:pt x="224720" y="4295690"/>
                    </a:lnTo>
                    <a:lnTo>
                      <a:pt x="270829" y="4317090"/>
                    </a:lnTo>
                    <a:lnTo>
                      <a:pt x="300488" y="4330860"/>
                    </a:lnTo>
                    <a:lnTo>
                      <a:pt x="320112" y="4355795"/>
                    </a:lnTo>
                    <a:lnTo>
                      <a:pt x="337479" y="4383737"/>
                    </a:lnTo>
                    <a:lnTo>
                      <a:pt x="354845" y="4411680"/>
                    </a:lnTo>
                    <a:lnTo>
                      <a:pt x="370145" y="4441852"/>
                    </a:lnTo>
                    <a:lnTo>
                      <a:pt x="387806" y="4466709"/>
                    </a:lnTo>
                    <a:lnTo>
                      <a:pt x="403725" y="4489072"/>
                    </a:lnTo>
                    <a:lnTo>
                      <a:pt x="426720" y="4507432"/>
                    </a:lnTo>
                    <a:lnTo>
                      <a:pt x="443574" y="4529280"/>
                    </a:lnTo>
                    <a:lnTo>
                      <a:pt x="468759" y="4561965"/>
                    </a:lnTo>
                    <a:lnTo>
                      <a:pt x="484507" y="4595757"/>
                    </a:lnTo>
                    <a:lnTo>
                      <a:pt x="514304" y="4625856"/>
                    </a:lnTo>
                    <a:lnTo>
                      <a:pt x="538634" y="4643077"/>
                    </a:lnTo>
                    <a:lnTo>
                      <a:pt x="566146" y="4646723"/>
                    </a:lnTo>
                    <a:lnTo>
                      <a:pt x="595916" y="4640821"/>
                    </a:lnTo>
                    <a:lnTo>
                      <a:pt x="625445" y="4633507"/>
                    </a:lnTo>
                    <a:lnTo>
                      <a:pt x="654203" y="4619757"/>
                    </a:lnTo>
                    <a:lnTo>
                      <a:pt x="677528" y="4613616"/>
                    </a:lnTo>
                    <a:lnTo>
                      <a:pt x="712468" y="4604391"/>
                    </a:lnTo>
                    <a:lnTo>
                      <a:pt x="776100" y="4611427"/>
                    </a:lnTo>
                    <a:lnTo>
                      <a:pt x="809467" y="4621780"/>
                    </a:lnTo>
                    <a:lnTo>
                      <a:pt x="846915" y="4630387"/>
                    </a:lnTo>
                    <a:lnTo>
                      <a:pt x="873780" y="4655211"/>
                    </a:lnTo>
                    <a:lnTo>
                      <a:pt x="877477" y="4689787"/>
                    </a:lnTo>
                    <a:lnTo>
                      <a:pt x="872617" y="4727913"/>
                    </a:lnTo>
                    <a:lnTo>
                      <a:pt x="867956" y="4749636"/>
                    </a:lnTo>
                    <a:lnTo>
                      <a:pt x="863294" y="4771360"/>
                    </a:lnTo>
                    <a:lnTo>
                      <a:pt x="858879" y="4794060"/>
                    </a:lnTo>
                    <a:lnTo>
                      <a:pt x="858435" y="4816285"/>
                    </a:lnTo>
                    <a:lnTo>
                      <a:pt x="857973" y="4838516"/>
                    </a:lnTo>
                    <a:lnTo>
                      <a:pt x="861053" y="4860497"/>
                    </a:lnTo>
                    <a:lnTo>
                      <a:pt x="873397" y="4880216"/>
                    </a:lnTo>
                    <a:lnTo>
                      <a:pt x="892216" y="4910256"/>
                    </a:lnTo>
                    <a:lnTo>
                      <a:pt x="919118" y="4928154"/>
                    </a:lnTo>
                    <a:lnTo>
                      <a:pt x="946848" y="4944147"/>
                    </a:lnTo>
                    <a:lnTo>
                      <a:pt x="974577" y="4960133"/>
                    </a:lnTo>
                    <a:lnTo>
                      <a:pt x="1004029" y="4974424"/>
                    </a:lnTo>
                    <a:lnTo>
                      <a:pt x="1027099" y="4997196"/>
                    </a:lnTo>
                    <a:lnTo>
                      <a:pt x="1043932" y="5050726"/>
                    </a:lnTo>
                    <a:lnTo>
                      <a:pt x="1065185" y="5076084"/>
                    </a:lnTo>
                    <a:lnTo>
                      <a:pt x="1090104" y="5090804"/>
                    </a:lnTo>
                    <a:lnTo>
                      <a:pt x="1129062" y="5082975"/>
                    </a:lnTo>
                    <a:lnTo>
                      <a:pt x="1171279" y="5086966"/>
                    </a:lnTo>
                    <a:lnTo>
                      <a:pt x="1192390" y="5088958"/>
                    </a:lnTo>
                    <a:lnTo>
                      <a:pt x="1214381" y="5094227"/>
                    </a:lnTo>
                    <a:lnTo>
                      <a:pt x="1235210" y="5106011"/>
                    </a:lnTo>
                    <a:lnTo>
                      <a:pt x="1256038" y="5117790"/>
                    </a:lnTo>
                    <a:lnTo>
                      <a:pt x="1276224" y="5135972"/>
                    </a:lnTo>
                    <a:lnTo>
                      <a:pt x="1293699" y="5165860"/>
                    </a:lnTo>
                    <a:lnTo>
                      <a:pt x="1312347" y="5196117"/>
                    </a:lnTo>
                    <a:lnTo>
                      <a:pt x="1329456" y="5228091"/>
                    </a:lnTo>
                    <a:lnTo>
                      <a:pt x="1338585" y="5262430"/>
                    </a:lnTo>
                    <a:lnTo>
                      <a:pt x="1342806" y="5301815"/>
                    </a:lnTo>
                    <a:lnTo>
                      <a:pt x="1321853" y="5355853"/>
                    </a:lnTo>
                    <a:lnTo>
                      <a:pt x="1310021" y="5406615"/>
                    </a:lnTo>
                    <a:lnTo>
                      <a:pt x="1304105" y="5431991"/>
                    </a:lnTo>
                    <a:lnTo>
                      <a:pt x="1301113" y="5456663"/>
                    </a:lnTo>
                    <a:lnTo>
                      <a:pt x="1303221" y="5478703"/>
                    </a:lnTo>
                    <a:lnTo>
                      <a:pt x="1305324" y="5500744"/>
                    </a:lnTo>
                    <a:lnTo>
                      <a:pt x="1331784" y="5534469"/>
                    </a:lnTo>
                    <a:lnTo>
                      <a:pt x="1357139" y="5548998"/>
                    </a:lnTo>
                    <a:lnTo>
                      <a:pt x="1388041" y="5552592"/>
                    </a:lnTo>
                    <a:lnTo>
                      <a:pt x="1421556" y="5546716"/>
                    </a:lnTo>
                    <a:lnTo>
                      <a:pt x="1453864" y="5538631"/>
                    </a:lnTo>
                    <a:lnTo>
                      <a:pt x="1484214" y="5520983"/>
                    </a:lnTo>
                    <a:lnTo>
                      <a:pt x="1503168" y="5501832"/>
                    </a:lnTo>
                    <a:lnTo>
                      <a:pt x="1522438" y="5482357"/>
                    </a:lnTo>
                    <a:lnTo>
                      <a:pt x="1537322" y="5454500"/>
                    </a:lnTo>
                    <a:lnTo>
                      <a:pt x="1557575" y="5436541"/>
                    </a:lnTo>
                    <a:lnTo>
                      <a:pt x="1629262" y="5390377"/>
                    </a:lnTo>
                    <a:lnTo>
                      <a:pt x="1655906" y="5377874"/>
                    </a:lnTo>
                    <a:lnTo>
                      <a:pt x="1682344" y="5375420"/>
                    </a:lnTo>
                    <a:lnTo>
                      <a:pt x="1709918" y="5373976"/>
                    </a:lnTo>
                    <a:lnTo>
                      <a:pt x="1737491" y="5372525"/>
                    </a:lnTo>
                    <a:lnTo>
                      <a:pt x="1765348" y="5371001"/>
                    </a:lnTo>
                    <a:lnTo>
                      <a:pt x="1790171" y="5363087"/>
                    </a:lnTo>
                    <a:lnTo>
                      <a:pt x="1819479" y="5353743"/>
                    </a:lnTo>
                    <a:lnTo>
                      <a:pt x="1875753" y="5325708"/>
                    </a:lnTo>
                    <a:lnTo>
                      <a:pt x="1901711" y="5307321"/>
                    </a:lnTo>
                    <a:lnTo>
                      <a:pt x="1929587" y="5287577"/>
                    </a:lnTo>
                    <a:lnTo>
                      <a:pt x="1964191" y="5252491"/>
                    </a:lnTo>
                    <a:lnTo>
                      <a:pt x="2001003" y="5229791"/>
                    </a:lnTo>
                    <a:lnTo>
                      <a:pt x="2019410" y="5218441"/>
                    </a:lnTo>
                    <a:lnTo>
                      <a:pt x="2056770" y="5209386"/>
                    </a:lnTo>
                    <a:lnTo>
                      <a:pt x="2094500" y="5213938"/>
                    </a:lnTo>
                    <a:lnTo>
                      <a:pt x="2112537" y="5229791"/>
                    </a:lnTo>
                    <a:lnTo>
                      <a:pt x="2119501" y="5250202"/>
                    </a:lnTo>
                    <a:lnTo>
                      <a:pt x="2113895" y="5292358"/>
                    </a:lnTo>
                    <a:lnTo>
                      <a:pt x="2109779" y="5313963"/>
                    </a:lnTo>
                    <a:lnTo>
                      <a:pt x="2103831" y="5336075"/>
                    </a:lnTo>
                    <a:lnTo>
                      <a:pt x="2097085" y="5398713"/>
                    </a:lnTo>
                    <a:lnTo>
                      <a:pt x="2100118" y="5421104"/>
                    </a:lnTo>
                    <a:lnTo>
                      <a:pt x="2105731" y="5441983"/>
                    </a:lnTo>
                    <a:lnTo>
                      <a:pt x="2111349" y="5462862"/>
                    </a:lnTo>
                    <a:lnTo>
                      <a:pt x="2123411" y="5516795"/>
                    </a:lnTo>
                    <a:lnTo>
                      <a:pt x="2127171" y="5545806"/>
                    </a:lnTo>
                    <a:lnTo>
                      <a:pt x="2113341" y="5574072"/>
                    </a:lnTo>
                    <a:lnTo>
                      <a:pt x="2108454" y="5601124"/>
                    </a:lnTo>
                    <a:lnTo>
                      <a:pt x="2096307" y="5668287"/>
                    </a:lnTo>
                    <a:lnTo>
                      <a:pt x="2089131" y="5713349"/>
                    </a:lnTo>
                    <a:lnTo>
                      <a:pt x="2088050" y="5758908"/>
                    </a:lnTo>
                    <a:lnTo>
                      <a:pt x="2086968" y="5804465"/>
                    </a:lnTo>
                    <a:lnTo>
                      <a:pt x="2091024" y="5850425"/>
                    </a:lnTo>
                    <a:lnTo>
                      <a:pt x="2101648" y="5920772"/>
                    </a:lnTo>
                    <a:lnTo>
                      <a:pt x="2108692" y="5967399"/>
                    </a:lnTo>
                    <a:lnTo>
                      <a:pt x="2118762" y="6006882"/>
                    </a:lnTo>
                    <a:lnTo>
                      <a:pt x="2131576" y="6039111"/>
                    </a:lnTo>
                    <a:lnTo>
                      <a:pt x="2144390" y="6071334"/>
                    </a:lnTo>
                    <a:lnTo>
                      <a:pt x="2160191" y="6096856"/>
                    </a:lnTo>
                    <a:lnTo>
                      <a:pt x="2181901" y="6116641"/>
                    </a:lnTo>
                    <a:lnTo>
                      <a:pt x="2203612" y="6136426"/>
                    </a:lnTo>
                    <a:lnTo>
                      <a:pt x="2231146" y="6150868"/>
                    </a:lnTo>
                    <a:lnTo>
                      <a:pt x="2264872" y="6160167"/>
                    </a:lnTo>
                    <a:lnTo>
                      <a:pt x="2298605" y="6169466"/>
                    </a:lnTo>
                    <a:lnTo>
                      <a:pt x="2338418" y="6172994"/>
                    </a:lnTo>
                    <a:lnTo>
                      <a:pt x="2387294" y="6173772"/>
                    </a:lnTo>
                    <a:lnTo>
                      <a:pt x="2416865" y="6174228"/>
                    </a:lnTo>
                    <a:lnTo>
                      <a:pt x="2460187" y="6174161"/>
                    </a:lnTo>
                    <a:lnTo>
                      <a:pt x="2501550" y="6166967"/>
                    </a:lnTo>
                    <a:lnTo>
                      <a:pt x="2542913" y="6159765"/>
                    </a:lnTo>
                    <a:lnTo>
                      <a:pt x="2582239" y="6145421"/>
                    </a:lnTo>
                    <a:lnTo>
                      <a:pt x="2604925" y="6120723"/>
                    </a:lnTo>
                    <a:lnTo>
                      <a:pt x="2629564" y="6093856"/>
                    </a:lnTo>
                    <a:lnTo>
                      <a:pt x="2642886" y="6065993"/>
                    </a:lnTo>
                    <a:lnTo>
                      <a:pt x="2652534" y="6040470"/>
                    </a:lnTo>
                    <a:lnTo>
                      <a:pt x="2662175" y="6014948"/>
                    </a:lnTo>
                    <a:lnTo>
                      <a:pt x="2668394" y="5992267"/>
                    </a:lnTo>
                    <a:lnTo>
                      <a:pt x="2681097" y="5975180"/>
                    </a:lnTo>
                    <a:lnTo>
                      <a:pt x="2717460" y="5974158"/>
                    </a:lnTo>
                    <a:lnTo>
                      <a:pt x="2733994" y="6002556"/>
                    </a:lnTo>
                    <a:lnTo>
                      <a:pt x="2768697" y="6036474"/>
                    </a:lnTo>
                    <a:lnTo>
                      <a:pt x="2798967" y="6045568"/>
                    </a:lnTo>
                    <a:lnTo>
                      <a:pt x="2817116" y="6069033"/>
                    </a:lnTo>
                    <a:lnTo>
                      <a:pt x="2834830" y="6099138"/>
                    </a:lnTo>
                    <a:lnTo>
                      <a:pt x="2840212" y="6131420"/>
                    </a:lnTo>
                    <a:lnTo>
                      <a:pt x="2837514" y="6164250"/>
                    </a:lnTo>
                    <a:lnTo>
                      <a:pt x="2835028" y="6196143"/>
                    </a:lnTo>
                    <a:lnTo>
                      <a:pt x="2829633" y="6226605"/>
                    </a:lnTo>
                    <a:lnTo>
                      <a:pt x="2841590" y="6249944"/>
                    </a:lnTo>
                    <a:lnTo>
                      <a:pt x="2886864" y="6241568"/>
                    </a:lnTo>
                    <a:lnTo>
                      <a:pt x="2932237" y="6246290"/>
                    </a:lnTo>
                    <a:lnTo>
                      <a:pt x="2977609" y="6249944"/>
                    </a:lnTo>
                    <a:lnTo>
                      <a:pt x="2998753" y="6267105"/>
                    </a:lnTo>
                    <a:lnTo>
                      <a:pt x="3019046" y="6303501"/>
                    </a:lnTo>
                    <a:lnTo>
                      <a:pt x="3028780" y="6323438"/>
                    </a:lnTo>
                    <a:lnTo>
                      <a:pt x="3070063" y="6356927"/>
                    </a:lnTo>
                    <a:lnTo>
                      <a:pt x="3105900" y="6377839"/>
                    </a:lnTo>
                    <a:lnTo>
                      <a:pt x="3136758" y="6403645"/>
                    </a:lnTo>
                    <a:lnTo>
                      <a:pt x="3382358" y="6633985"/>
                    </a:lnTo>
                    <a:lnTo>
                      <a:pt x="3403654" y="6673475"/>
                    </a:lnTo>
                    <a:lnTo>
                      <a:pt x="3418103" y="6713770"/>
                    </a:lnTo>
                    <a:lnTo>
                      <a:pt x="3436002" y="6750497"/>
                    </a:lnTo>
                    <a:lnTo>
                      <a:pt x="3448987" y="6777101"/>
                    </a:lnTo>
                    <a:lnTo>
                      <a:pt x="3466411" y="6799035"/>
                    </a:lnTo>
                    <a:lnTo>
                      <a:pt x="3480886" y="6823945"/>
                    </a:lnTo>
                    <a:lnTo>
                      <a:pt x="3497934" y="6856972"/>
                    </a:lnTo>
                    <a:lnTo>
                      <a:pt x="3539819" y="6913760"/>
                    </a:lnTo>
                    <a:lnTo>
                      <a:pt x="3539232" y="6953653"/>
                    </a:lnTo>
                    <a:lnTo>
                      <a:pt x="3528449" y="6976136"/>
                    </a:lnTo>
                    <a:lnTo>
                      <a:pt x="3514890" y="6998051"/>
                    </a:lnTo>
                    <a:lnTo>
                      <a:pt x="3501337" y="7019964"/>
                    </a:lnTo>
                    <a:lnTo>
                      <a:pt x="3484540" y="7041873"/>
                    </a:lnTo>
                    <a:lnTo>
                      <a:pt x="3474087" y="7061982"/>
                    </a:lnTo>
                    <a:lnTo>
                      <a:pt x="3455028" y="7098641"/>
                    </a:lnTo>
                    <a:lnTo>
                      <a:pt x="3448314" y="7132098"/>
                    </a:lnTo>
                    <a:lnTo>
                      <a:pt x="3449600" y="7163991"/>
                    </a:lnTo>
                    <a:lnTo>
                      <a:pt x="3450887" y="7195890"/>
                    </a:lnTo>
                    <a:lnTo>
                      <a:pt x="3461287" y="7225765"/>
                    </a:lnTo>
                    <a:lnTo>
                      <a:pt x="3476805" y="7253767"/>
                    </a:lnTo>
                    <a:lnTo>
                      <a:pt x="3507840" y="7309777"/>
                    </a:lnTo>
                    <a:lnTo>
                      <a:pt x="3560237" y="7359015"/>
                    </a:lnTo>
                    <a:lnTo>
                      <a:pt x="3611465" y="7404751"/>
                    </a:lnTo>
                    <a:lnTo>
                      <a:pt x="3681431" y="7467211"/>
                    </a:lnTo>
                    <a:lnTo>
                      <a:pt x="3721884" y="7513856"/>
                    </a:lnTo>
                    <a:lnTo>
                      <a:pt x="3758367" y="7562534"/>
                    </a:lnTo>
                    <a:lnTo>
                      <a:pt x="3794850" y="7611204"/>
                    </a:lnTo>
                    <a:lnTo>
                      <a:pt x="3827468" y="7661306"/>
                    </a:lnTo>
                    <a:lnTo>
                      <a:pt x="3882147" y="7731198"/>
                    </a:lnTo>
                    <a:lnTo>
                      <a:pt x="3869794" y="7779612"/>
                    </a:lnTo>
                    <a:lnTo>
                      <a:pt x="3845334" y="7802865"/>
                    </a:lnTo>
                    <a:lnTo>
                      <a:pt x="3823657" y="7830491"/>
                    </a:lnTo>
                    <a:lnTo>
                      <a:pt x="3798411" y="7862629"/>
                    </a:lnTo>
                    <a:lnTo>
                      <a:pt x="3783289" y="7905482"/>
                    </a:lnTo>
                    <a:lnTo>
                      <a:pt x="3761091" y="7939308"/>
                    </a:lnTo>
                    <a:lnTo>
                      <a:pt x="3725676" y="7993260"/>
                    </a:lnTo>
                    <a:lnTo>
                      <a:pt x="3701651" y="8022410"/>
                    </a:lnTo>
                    <a:lnTo>
                      <a:pt x="3683555" y="8054923"/>
                    </a:lnTo>
                    <a:lnTo>
                      <a:pt x="3665464" y="8087442"/>
                    </a:lnTo>
                    <a:lnTo>
                      <a:pt x="3653323" y="8122599"/>
                    </a:lnTo>
                    <a:lnTo>
                      <a:pt x="3641387" y="8188226"/>
                    </a:lnTo>
                    <a:lnTo>
                      <a:pt x="3633229" y="8224953"/>
                    </a:lnTo>
                    <a:lnTo>
                      <a:pt x="3625183" y="8261205"/>
                    </a:lnTo>
                    <a:lnTo>
                      <a:pt x="3627452" y="8282566"/>
                    </a:lnTo>
                    <a:lnTo>
                      <a:pt x="3684768" y="8297971"/>
                    </a:lnTo>
                    <a:lnTo>
                      <a:pt x="3769506" y="8340397"/>
                    </a:lnTo>
                    <a:lnTo>
                      <a:pt x="3803252" y="8381371"/>
                    </a:lnTo>
                    <a:lnTo>
                      <a:pt x="3827844" y="8411251"/>
                    </a:lnTo>
                    <a:lnTo>
                      <a:pt x="3843633" y="8452061"/>
                    </a:lnTo>
                    <a:lnTo>
                      <a:pt x="3878065" y="8475223"/>
                    </a:lnTo>
                    <a:lnTo>
                      <a:pt x="3916256" y="8500982"/>
                    </a:lnTo>
                    <a:lnTo>
                      <a:pt x="3968540" y="8507999"/>
                    </a:lnTo>
                    <a:lnTo>
                      <a:pt x="3985522" y="8559558"/>
                    </a:lnTo>
                    <a:lnTo>
                      <a:pt x="4006388" y="8622849"/>
                    </a:lnTo>
                    <a:lnTo>
                      <a:pt x="3931536" y="8678274"/>
                    </a:lnTo>
                    <a:lnTo>
                      <a:pt x="3997762" y="8751345"/>
                    </a:lnTo>
                    <a:lnTo>
                      <a:pt x="4030255" y="8787221"/>
                    </a:lnTo>
                    <a:lnTo>
                      <a:pt x="4119840" y="8863221"/>
                    </a:lnTo>
                    <a:lnTo>
                      <a:pt x="4165068" y="8877841"/>
                    </a:lnTo>
                    <a:lnTo>
                      <a:pt x="4196565" y="8888004"/>
                    </a:lnTo>
                    <a:lnTo>
                      <a:pt x="4225893" y="8884641"/>
                    </a:lnTo>
                    <a:lnTo>
                      <a:pt x="4257562" y="8900962"/>
                    </a:lnTo>
                    <a:lnTo>
                      <a:pt x="4284041" y="8914568"/>
                    </a:lnTo>
                    <a:lnTo>
                      <a:pt x="4297791" y="8947338"/>
                    </a:lnTo>
                    <a:lnTo>
                      <a:pt x="4326933" y="8959453"/>
                    </a:lnTo>
                    <a:lnTo>
                      <a:pt x="4371304" y="8977945"/>
                    </a:lnTo>
                    <a:lnTo>
                      <a:pt x="4426121" y="8962599"/>
                    </a:lnTo>
                    <a:lnTo>
                      <a:pt x="4476552" y="8988022"/>
                    </a:lnTo>
                    <a:lnTo>
                      <a:pt x="4521905" y="9010888"/>
                    </a:lnTo>
                    <a:lnTo>
                      <a:pt x="4637883" y="9270562"/>
                    </a:lnTo>
                    <a:lnTo>
                      <a:pt x="4687385" y="9329428"/>
                    </a:lnTo>
                    <a:lnTo>
                      <a:pt x="4698735" y="9348513"/>
                    </a:lnTo>
                    <a:lnTo>
                      <a:pt x="4715947" y="9378395"/>
                    </a:lnTo>
                    <a:lnTo>
                      <a:pt x="4741153" y="9438330"/>
                    </a:lnTo>
                    <a:lnTo>
                      <a:pt x="4744642" y="9514500"/>
                    </a:lnTo>
                    <a:lnTo>
                      <a:pt x="4819322" y="9529378"/>
                    </a:lnTo>
                    <a:lnTo>
                      <a:pt x="4840169" y="9533501"/>
                    </a:lnTo>
                    <a:lnTo>
                      <a:pt x="4863297" y="9532056"/>
                    </a:lnTo>
                    <a:lnTo>
                      <a:pt x="4883254" y="9523937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92" name="Chernivtsi¬0" descr="Chernivtsi¬0">
                <a:extLst>
                  <a:ext uri="{FF2B5EF4-FFF2-40B4-BE49-F238E27FC236}">
                    <a16:creationId xmlns:a16="http://schemas.microsoft.com/office/drawing/2014/main" id="{385C8012-D209-42C3-B493-3B9A0849AC3D}"/>
                  </a:ext>
                </a:extLst>
              </p:cNvPr>
              <p:cNvSpPr/>
              <p:nvPr/>
            </p:nvSpPr>
            <p:spPr>
              <a:xfrm>
                <a:off x="9731047" y="19469893"/>
                <a:ext cx="9082133" cy="5057212"/>
              </a:xfrm>
              <a:custGeom>
                <a:avLst/>
                <a:gdLst/>
                <a:ahLst/>
                <a:cxnLst/>
                <a:rect l="0" t="0" r="0" b="0"/>
                <a:pathLst>
                  <a:path w="9082132" h="5057210">
                    <a:moveTo>
                      <a:pt x="5106420" y="821342"/>
                    </a:moveTo>
                    <a:lnTo>
                      <a:pt x="5091325" y="837868"/>
                    </a:lnTo>
                    <a:lnTo>
                      <a:pt x="5076077" y="857890"/>
                    </a:lnTo>
                    <a:lnTo>
                      <a:pt x="5060322" y="877702"/>
                    </a:lnTo>
                    <a:lnTo>
                      <a:pt x="5043715" y="895001"/>
                    </a:lnTo>
                    <a:lnTo>
                      <a:pt x="5024023" y="907973"/>
                    </a:lnTo>
                    <a:lnTo>
                      <a:pt x="5001898" y="911779"/>
                    </a:lnTo>
                    <a:lnTo>
                      <a:pt x="4981144" y="907241"/>
                    </a:lnTo>
                    <a:lnTo>
                      <a:pt x="4961009" y="899367"/>
                    </a:lnTo>
                    <a:lnTo>
                      <a:pt x="4941436" y="887918"/>
                    </a:lnTo>
                    <a:lnTo>
                      <a:pt x="4922660" y="874596"/>
                    </a:lnTo>
                    <a:lnTo>
                      <a:pt x="4905038" y="862738"/>
                    </a:lnTo>
                    <a:lnTo>
                      <a:pt x="4871326" y="853585"/>
                    </a:lnTo>
                    <a:lnTo>
                      <a:pt x="4832534" y="852061"/>
                    </a:lnTo>
                    <a:lnTo>
                      <a:pt x="4807044" y="852839"/>
                    </a:lnTo>
                    <a:lnTo>
                      <a:pt x="4786481" y="841147"/>
                    </a:lnTo>
                    <a:lnTo>
                      <a:pt x="4769092" y="823446"/>
                    </a:lnTo>
                    <a:lnTo>
                      <a:pt x="4752631" y="806590"/>
                    </a:lnTo>
                    <a:lnTo>
                      <a:pt x="4736176" y="789726"/>
                    </a:lnTo>
                    <a:lnTo>
                      <a:pt x="4720256" y="774367"/>
                    </a:lnTo>
                    <a:lnTo>
                      <a:pt x="4699587" y="764422"/>
                    </a:lnTo>
                    <a:lnTo>
                      <a:pt x="4657604" y="756726"/>
                    </a:lnTo>
                    <a:lnTo>
                      <a:pt x="4627499" y="761704"/>
                    </a:lnTo>
                    <a:lnTo>
                      <a:pt x="4597386" y="766684"/>
                    </a:lnTo>
                    <a:lnTo>
                      <a:pt x="4562447" y="776219"/>
                    </a:lnTo>
                    <a:lnTo>
                      <a:pt x="4525482" y="783467"/>
                    </a:lnTo>
                    <a:lnTo>
                      <a:pt x="4488518" y="790716"/>
                    </a:lnTo>
                    <a:lnTo>
                      <a:pt x="4450116" y="795708"/>
                    </a:lnTo>
                    <a:lnTo>
                      <a:pt x="4412583" y="794348"/>
                    </a:lnTo>
                    <a:lnTo>
                      <a:pt x="4375052" y="792990"/>
                    </a:lnTo>
                    <a:lnTo>
                      <a:pt x="4338292" y="785261"/>
                    </a:lnTo>
                    <a:lnTo>
                      <a:pt x="4306484" y="764422"/>
                    </a:lnTo>
                    <a:lnTo>
                      <a:pt x="4286555" y="744221"/>
                    </a:lnTo>
                    <a:lnTo>
                      <a:pt x="4269758" y="714102"/>
                    </a:lnTo>
                    <a:lnTo>
                      <a:pt x="4259648" y="681174"/>
                    </a:lnTo>
                    <a:lnTo>
                      <a:pt x="4255388" y="646367"/>
                    </a:lnTo>
                    <a:lnTo>
                      <a:pt x="4256159" y="610721"/>
                    </a:lnTo>
                    <a:lnTo>
                      <a:pt x="4258876" y="575101"/>
                    </a:lnTo>
                    <a:lnTo>
                      <a:pt x="4264324" y="540248"/>
                    </a:lnTo>
                    <a:lnTo>
                      <a:pt x="4271124" y="507346"/>
                    </a:lnTo>
                    <a:lnTo>
                      <a:pt x="4276505" y="475948"/>
                    </a:lnTo>
                    <a:lnTo>
                      <a:pt x="4279346" y="448974"/>
                    </a:lnTo>
                    <a:lnTo>
                      <a:pt x="4277922" y="427100"/>
                    </a:lnTo>
                    <a:lnTo>
                      <a:pt x="4267040" y="402613"/>
                    </a:lnTo>
                    <a:lnTo>
                      <a:pt x="4248344" y="385353"/>
                    </a:lnTo>
                    <a:lnTo>
                      <a:pt x="4225612" y="375157"/>
                    </a:lnTo>
                    <a:lnTo>
                      <a:pt x="4207193" y="356361"/>
                    </a:lnTo>
                    <a:lnTo>
                      <a:pt x="4184044" y="337567"/>
                    </a:lnTo>
                    <a:lnTo>
                      <a:pt x="4154169" y="326203"/>
                    </a:lnTo>
                    <a:lnTo>
                      <a:pt x="4125580" y="329164"/>
                    </a:lnTo>
                    <a:lnTo>
                      <a:pt x="4107431" y="341602"/>
                    </a:lnTo>
                    <a:lnTo>
                      <a:pt x="4098376" y="382214"/>
                    </a:lnTo>
                    <a:lnTo>
                      <a:pt x="4097050" y="404267"/>
                    </a:lnTo>
                    <a:lnTo>
                      <a:pt x="4102135" y="428932"/>
                    </a:lnTo>
                    <a:lnTo>
                      <a:pt x="4110615" y="454303"/>
                    </a:lnTo>
                    <a:lnTo>
                      <a:pt x="4119103" y="479673"/>
                    </a:lnTo>
                    <a:lnTo>
                      <a:pt x="4130611" y="505360"/>
                    </a:lnTo>
                    <a:lnTo>
                      <a:pt x="4141902" y="527757"/>
                    </a:lnTo>
                    <a:lnTo>
                      <a:pt x="4153193" y="550146"/>
                    </a:lnTo>
                    <a:lnTo>
                      <a:pt x="4163395" y="569034"/>
                    </a:lnTo>
                    <a:lnTo>
                      <a:pt x="4178042" y="596226"/>
                    </a:lnTo>
                    <a:lnTo>
                      <a:pt x="4199033" y="625684"/>
                    </a:lnTo>
                    <a:lnTo>
                      <a:pt x="4207278" y="651511"/>
                    </a:lnTo>
                    <a:lnTo>
                      <a:pt x="4192228" y="692339"/>
                    </a:lnTo>
                    <a:lnTo>
                      <a:pt x="4169502" y="719082"/>
                    </a:lnTo>
                    <a:lnTo>
                      <a:pt x="4144230" y="728163"/>
                    </a:lnTo>
                    <a:lnTo>
                      <a:pt x="4117423" y="723626"/>
                    </a:lnTo>
                    <a:lnTo>
                      <a:pt x="4090238" y="715870"/>
                    </a:lnTo>
                    <a:lnTo>
                      <a:pt x="4061200" y="695327"/>
                    </a:lnTo>
                    <a:lnTo>
                      <a:pt x="4037169" y="676016"/>
                    </a:lnTo>
                    <a:lnTo>
                      <a:pt x="4015452" y="658560"/>
                    </a:lnTo>
                    <a:lnTo>
                      <a:pt x="3985201" y="638420"/>
                    </a:lnTo>
                    <a:lnTo>
                      <a:pt x="3970514" y="613445"/>
                    </a:lnTo>
                    <a:lnTo>
                      <a:pt x="3956744" y="581076"/>
                    </a:lnTo>
                    <a:lnTo>
                      <a:pt x="3939234" y="547667"/>
                    </a:lnTo>
                    <a:lnTo>
                      <a:pt x="3920847" y="520615"/>
                    </a:lnTo>
                    <a:lnTo>
                      <a:pt x="3924270" y="497829"/>
                    </a:lnTo>
                    <a:lnTo>
                      <a:pt x="3929837" y="460786"/>
                    </a:lnTo>
                    <a:lnTo>
                      <a:pt x="3960911" y="409477"/>
                    </a:lnTo>
                    <a:lnTo>
                      <a:pt x="3981402" y="379496"/>
                    </a:lnTo>
                    <a:lnTo>
                      <a:pt x="3980044" y="350927"/>
                    </a:lnTo>
                    <a:lnTo>
                      <a:pt x="3974596" y="323723"/>
                    </a:lnTo>
                    <a:lnTo>
                      <a:pt x="3966979" y="304011"/>
                    </a:lnTo>
                    <a:lnTo>
                      <a:pt x="3964612" y="271334"/>
                    </a:lnTo>
                    <a:lnTo>
                      <a:pt x="3970982" y="242812"/>
                    </a:lnTo>
                    <a:lnTo>
                      <a:pt x="3971872" y="213550"/>
                    </a:lnTo>
                    <a:lnTo>
                      <a:pt x="3944458" y="164753"/>
                    </a:lnTo>
                    <a:lnTo>
                      <a:pt x="3910665" y="156417"/>
                    </a:lnTo>
                    <a:lnTo>
                      <a:pt x="3889410" y="167886"/>
                    </a:lnTo>
                    <a:lnTo>
                      <a:pt x="3877822" y="203070"/>
                    </a:lnTo>
                    <a:lnTo>
                      <a:pt x="3867139" y="239395"/>
                    </a:lnTo>
                    <a:lnTo>
                      <a:pt x="3856456" y="275713"/>
                    </a:lnTo>
                    <a:lnTo>
                      <a:pt x="3847011" y="313534"/>
                    </a:lnTo>
                    <a:lnTo>
                      <a:pt x="3833136" y="330530"/>
                    </a:lnTo>
                    <a:lnTo>
                      <a:pt x="3800101" y="344207"/>
                    </a:lnTo>
                    <a:lnTo>
                      <a:pt x="3770959" y="341333"/>
                    </a:lnTo>
                    <a:lnTo>
                      <a:pt x="3744718" y="327806"/>
                    </a:lnTo>
                    <a:lnTo>
                      <a:pt x="3719980" y="313224"/>
                    </a:lnTo>
                    <a:lnTo>
                      <a:pt x="3698751" y="293539"/>
                    </a:lnTo>
                    <a:lnTo>
                      <a:pt x="3670249" y="329363"/>
                    </a:lnTo>
                    <a:lnTo>
                      <a:pt x="3662347" y="361987"/>
                    </a:lnTo>
                    <a:lnTo>
                      <a:pt x="3650865" y="390378"/>
                    </a:lnTo>
                    <a:lnTo>
                      <a:pt x="3639390" y="418762"/>
                    </a:lnTo>
                    <a:lnTo>
                      <a:pt x="3624493" y="442789"/>
                    </a:lnTo>
                    <a:lnTo>
                      <a:pt x="3605981" y="459744"/>
                    </a:lnTo>
                    <a:lnTo>
                      <a:pt x="3587469" y="476706"/>
                    </a:lnTo>
                    <a:lnTo>
                      <a:pt x="3565540" y="487053"/>
                    </a:lnTo>
                    <a:lnTo>
                      <a:pt x="3536609" y="488307"/>
                    </a:lnTo>
                    <a:lnTo>
                      <a:pt x="3507683" y="489572"/>
                    </a:lnTo>
                    <a:lnTo>
                      <a:pt x="3471879" y="481171"/>
                    </a:lnTo>
                    <a:lnTo>
                      <a:pt x="3429158" y="462468"/>
                    </a:lnTo>
                    <a:lnTo>
                      <a:pt x="3408984" y="453636"/>
                    </a:lnTo>
                    <a:lnTo>
                      <a:pt x="3389219" y="434242"/>
                    </a:lnTo>
                    <a:lnTo>
                      <a:pt x="3366586" y="425740"/>
                    </a:lnTo>
                    <a:lnTo>
                      <a:pt x="3298553" y="434775"/>
                    </a:lnTo>
                    <a:lnTo>
                      <a:pt x="3270009" y="427100"/>
                    </a:lnTo>
                    <a:lnTo>
                      <a:pt x="3256965" y="408310"/>
                    </a:lnTo>
                    <a:lnTo>
                      <a:pt x="3261852" y="378132"/>
                    </a:lnTo>
                    <a:lnTo>
                      <a:pt x="3274924" y="350287"/>
                    </a:lnTo>
                    <a:lnTo>
                      <a:pt x="3272352" y="316627"/>
                    </a:lnTo>
                    <a:lnTo>
                      <a:pt x="3247251" y="288889"/>
                    </a:lnTo>
                    <a:lnTo>
                      <a:pt x="3212371" y="260069"/>
                    </a:lnTo>
                    <a:lnTo>
                      <a:pt x="3196563" y="227155"/>
                    </a:lnTo>
                    <a:lnTo>
                      <a:pt x="3179423" y="191469"/>
                    </a:lnTo>
                    <a:lnTo>
                      <a:pt x="3161194" y="153701"/>
                    </a:lnTo>
                    <a:lnTo>
                      <a:pt x="3150155" y="135248"/>
                    </a:lnTo>
                    <a:lnTo>
                      <a:pt x="3134853" y="116624"/>
                    </a:lnTo>
                    <a:lnTo>
                      <a:pt x="3102703" y="81612"/>
                    </a:lnTo>
                    <a:lnTo>
                      <a:pt x="3078092" y="61128"/>
                    </a:lnTo>
                    <a:lnTo>
                      <a:pt x="3048434" y="50405"/>
                    </a:lnTo>
                    <a:lnTo>
                      <a:pt x="3017016" y="50326"/>
                    </a:lnTo>
                    <a:lnTo>
                      <a:pt x="2986462" y="56815"/>
                    </a:lnTo>
                    <a:lnTo>
                      <a:pt x="2960511" y="73763"/>
                    </a:lnTo>
                    <a:lnTo>
                      <a:pt x="2942204" y="100651"/>
                    </a:lnTo>
                    <a:lnTo>
                      <a:pt x="2928295" y="130110"/>
                    </a:lnTo>
                    <a:lnTo>
                      <a:pt x="2930887" y="155533"/>
                    </a:lnTo>
                    <a:lnTo>
                      <a:pt x="2928598" y="179546"/>
                    </a:lnTo>
                    <a:lnTo>
                      <a:pt x="2926323" y="203558"/>
                    </a:lnTo>
                    <a:lnTo>
                      <a:pt x="2920025" y="226758"/>
                    </a:lnTo>
                    <a:lnTo>
                      <a:pt x="2890513" y="251634"/>
                    </a:lnTo>
                    <a:lnTo>
                      <a:pt x="2867094" y="262055"/>
                    </a:lnTo>
                    <a:lnTo>
                      <a:pt x="2836105" y="250276"/>
                    </a:lnTo>
                    <a:lnTo>
                      <a:pt x="2816162" y="223329"/>
                    </a:lnTo>
                    <a:lnTo>
                      <a:pt x="2798468" y="165433"/>
                    </a:lnTo>
                    <a:lnTo>
                      <a:pt x="2796107" y="117283"/>
                    </a:lnTo>
                    <a:lnTo>
                      <a:pt x="2774165" y="89419"/>
                    </a:lnTo>
                    <a:lnTo>
                      <a:pt x="2742490" y="78584"/>
                    </a:lnTo>
                    <a:lnTo>
                      <a:pt x="2709608" y="69371"/>
                    </a:lnTo>
                    <a:lnTo>
                      <a:pt x="2676732" y="60151"/>
                    </a:lnTo>
                    <a:lnTo>
                      <a:pt x="2642182" y="53524"/>
                    </a:lnTo>
                    <a:lnTo>
                      <a:pt x="2605870" y="47172"/>
                    </a:lnTo>
                    <a:lnTo>
                      <a:pt x="2565021" y="54698"/>
                    </a:lnTo>
                    <a:lnTo>
                      <a:pt x="2530062" y="53042"/>
                    </a:lnTo>
                    <a:lnTo>
                      <a:pt x="2496870" y="48690"/>
                    </a:lnTo>
                    <a:lnTo>
                      <a:pt x="2476208" y="32908"/>
                    </a:lnTo>
                    <a:lnTo>
                      <a:pt x="2475654" y="0"/>
                    </a:lnTo>
                    <a:lnTo>
                      <a:pt x="2444473" y="25792"/>
                    </a:lnTo>
                    <a:lnTo>
                      <a:pt x="2408900" y="47648"/>
                    </a:lnTo>
                    <a:lnTo>
                      <a:pt x="2389643" y="58931"/>
                    </a:lnTo>
                    <a:lnTo>
                      <a:pt x="2346136" y="91002"/>
                    </a:lnTo>
                    <a:lnTo>
                      <a:pt x="2326609" y="112509"/>
                    </a:lnTo>
                    <a:lnTo>
                      <a:pt x="2304272" y="138737"/>
                    </a:lnTo>
                    <a:lnTo>
                      <a:pt x="2244423" y="209466"/>
                    </a:lnTo>
                    <a:lnTo>
                      <a:pt x="2233997" y="243239"/>
                    </a:lnTo>
                    <a:lnTo>
                      <a:pt x="2234901" y="269315"/>
                    </a:lnTo>
                    <a:lnTo>
                      <a:pt x="2235804" y="295391"/>
                    </a:lnTo>
                    <a:lnTo>
                      <a:pt x="2239827" y="325926"/>
                    </a:lnTo>
                    <a:lnTo>
                      <a:pt x="2245782" y="356369"/>
                    </a:lnTo>
                    <a:lnTo>
                      <a:pt x="2257686" y="417252"/>
                    </a:lnTo>
                    <a:lnTo>
                      <a:pt x="2275624" y="476937"/>
                    </a:lnTo>
                    <a:lnTo>
                      <a:pt x="2281150" y="499188"/>
                    </a:lnTo>
                    <a:lnTo>
                      <a:pt x="2290944" y="538572"/>
                    </a:lnTo>
                    <a:lnTo>
                      <a:pt x="2313492" y="578056"/>
                    </a:lnTo>
                    <a:lnTo>
                      <a:pt x="2326035" y="616169"/>
                    </a:lnTo>
                    <a:lnTo>
                      <a:pt x="2339252" y="656312"/>
                    </a:lnTo>
                    <a:lnTo>
                      <a:pt x="2352112" y="697629"/>
                    </a:lnTo>
                    <a:lnTo>
                      <a:pt x="2366838" y="737225"/>
                    </a:lnTo>
                    <a:lnTo>
                      <a:pt x="2375280" y="759943"/>
                    </a:lnTo>
                    <a:lnTo>
                      <a:pt x="2388773" y="779326"/>
                    </a:lnTo>
                    <a:lnTo>
                      <a:pt x="2395407" y="803872"/>
                    </a:lnTo>
                    <a:lnTo>
                      <a:pt x="2401421" y="826129"/>
                    </a:lnTo>
                    <a:lnTo>
                      <a:pt x="2371982" y="1213422"/>
                    </a:lnTo>
                    <a:lnTo>
                      <a:pt x="2369562" y="1235060"/>
                    </a:lnTo>
                    <a:lnTo>
                      <a:pt x="2366455" y="1262515"/>
                    </a:lnTo>
                    <a:lnTo>
                      <a:pt x="2357526" y="1292140"/>
                    </a:lnTo>
                    <a:lnTo>
                      <a:pt x="2351874" y="1319389"/>
                    </a:lnTo>
                    <a:lnTo>
                      <a:pt x="2345530" y="1350035"/>
                    </a:lnTo>
                    <a:lnTo>
                      <a:pt x="2342404" y="1381717"/>
                    </a:lnTo>
                    <a:lnTo>
                      <a:pt x="2336917" y="1411883"/>
                    </a:lnTo>
                    <a:lnTo>
                      <a:pt x="2331430" y="1442055"/>
                    </a:lnTo>
                    <a:lnTo>
                      <a:pt x="2323094" y="1470709"/>
                    </a:lnTo>
                    <a:lnTo>
                      <a:pt x="2305631" y="1498935"/>
                    </a:lnTo>
                    <a:lnTo>
                      <a:pt x="2282212" y="1513187"/>
                    </a:lnTo>
                    <a:lnTo>
                      <a:pt x="2258319" y="1514611"/>
                    </a:lnTo>
                    <a:lnTo>
                      <a:pt x="2234901" y="1507100"/>
                    </a:lnTo>
                    <a:lnTo>
                      <a:pt x="2211996" y="1497709"/>
                    </a:lnTo>
                    <a:lnTo>
                      <a:pt x="2190385" y="1481274"/>
                    </a:lnTo>
                    <a:lnTo>
                      <a:pt x="2169611" y="1471732"/>
                    </a:lnTo>
                    <a:lnTo>
                      <a:pt x="2140561" y="1458384"/>
                    </a:lnTo>
                    <a:lnTo>
                      <a:pt x="2107084" y="1447884"/>
                    </a:lnTo>
                    <a:lnTo>
                      <a:pt x="2077117" y="1436370"/>
                    </a:lnTo>
                    <a:lnTo>
                      <a:pt x="2054187" y="1427612"/>
                    </a:lnTo>
                    <a:lnTo>
                      <a:pt x="1950218" y="1431226"/>
                    </a:lnTo>
                    <a:lnTo>
                      <a:pt x="1920693" y="1430928"/>
                    </a:lnTo>
                    <a:lnTo>
                      <a:pt x="1843598" y="1445036"/>
                    </a:lnTo>
                    <a:lnTo>
                      <a:pt x="1782120" y="1458522"/>
                    </a:lnTo>
                    <a:lnTo>
                      <a:pt x="1722107" y="1477172"/>
                    </a:lnTo>
                    <a:lnTo>
                      <a:pt x="1662094" y="1495822"/>
                    </a:lnTo>
                    <a:lnTo>
                      <a:pt x="1603993" y="1519893"/>
                    </a:lnTo>
                    <a:lnTo>
                      <a:pt x="1552077" y="1551984"/>
                    </a:lnTo>
                    <a:lnTo>
                      <a:pt x="1513424" y="1575871"/>
                    </a:lnTo>
                    <a:lnTo>
                      <a:pt x="1481584" y="1615784"/>
                    </a:lnTo>
                    <a:lnTo>
                      <a:pt x="1447344" y="1640396"/>
                    </a:lnTo>
                    <a:lnTo>
                      <a:pt x="1411441" y="1666215"/>
                    </a:lnTo>
                    <a:lnTo>
                      <a:pt x="1366108" y="1697047"/>
                    </a:lnTo>
                    <a:lnTo>
                      <a:pt x="1322205" y="1730166"/>
                    </a:lnTo>
                    <a:lnTo>
                      <a:pt x="1278309" y="1763292"/>
                    </a:lnTo>
                    <a:lnTo>
                      <a:pt x="1236103" y="1797737"/>
                    </a:lnTo>
                    <a:lnTo>
                      <a:pt x="1205232" y="1832183"/>
                    </a:lnTo>
                    <a:lnTo>
                      <a:pt x="1165043" y="1876988"/>
                    </a:lnTo>
                    <a:lnTo>
                      <a:pt x="1139454" y="1929780"/>
                    </a:lnTo>
                    <a:lnTo>
                      <a:pt x="1105932" y="1979084"/>
                    </a:lnTo>
                    <a:lnTo>
                      <a:pt x="1093059" y="1998005"/>
                    </a:lnTo>
                    <a:lnTo>
                      <a:pt x="1076855" y="2013344"/>
                    </a:lnTo>
                    <a:lnTo>
                      <a:pt x="1063771" y="2032133"/>
                    </a:lnTo>
                    <a:lnTo>
                      <a:pt x="1043445" y="2061310"/>
                    </a:lnTo>
                    <a:lnTo>
                      <a:pt x="1023482" y="2091277"/>
                    </a:lnTo>
                    <a:lnTo>
                      <a:pt x="1003922" y="2120545"/>
                    </a:lnTo>
                    <a:lnTo>
                      <a:pt x="984361" y="2149819"/>
                    </a:lnTo>
                    <a:lnTo>
                      <a:pt x="964445" y="2178738"/>
                    </a:lnTo>
                    <a:lnTo>
                      <a:pt x="941350" y="2206239"/>
                    </a:lnTo>
                    <a:lnTo>
                      <a:pt x="912708" y="2229380"/>
                    </a:lnTo>
                    <a:lnTo>
                      <a:pt x="877504" y="2240223"/>
                    </a:lnTo>
                    <a:lnTo>
                      <a:pt x="839340" y="2249765"/>
                    </a:lnTo>
                    <a:lnTo>
                      <a:pt x="798517" y="2266443"/>
                    </a:lnTo>
                    <a:lnTo>
                      <a:pt x="779491" y="2285133"/>
                    </a:lnTo>
                    <a:lnTo>
                      <a:pt x="760458" y="2303818"/>
                    </a:lnTo>
                    <a:lnTo>
                      <a:pt x="743344" y="2330514"/>
                    </a:lnTo>
                    <a:lnTo>
                      <a:pt x="727800" y="2372187"/>
                    </a:lnTo>
                    <a:lnTo>
                      <a:pt x="722762" y="2409633"/>
                    </a:lnTo>
                    <a:lnTo>
                      <a:pt x="720598" y="2447889"/>
                    </a:lnTo>
                    <a:lnTo>
                      <a:pt x="719748" y="2472666"/>
                    </a:lnTo>
                    <a:lnTo>
                      <a:pt x="726435" y="2502765"/>
                    </a:lnTo>
                    <a:lnTo>
                      <a:pt x="742474" y="2536518"/>
                    </a:lnTo>
                    <a:lnTo>
                      <a:pt x="759370" y="2569657"/>
                    </a:lnTo>
                    <a:lnTo>
                      <a:pt x="754998" y="2606134"/>
                    </a:lnTo>
                    <a:lnTo>
                      <a:pt x="730530" y="2616910"/>
                    </a:lnTo>
                    <a:lnTo>
                      <a:pt x="708754" y="2618381"/>
                    </a:lnTo>
                    <a:lnTo>
                      <a:pt x="686978" y="2619845"/>
                    </a:lnTo>
                    <a:lnTo>
                      <a:pt x="663783" y="2619324"/>
                    </a:lnTo>
                    <a:lnTo>
                      <a:pt x="640635" y="2620524"/>
                    </a:lnTo>
                    <a:lnTo>
                      <a:pt x="614902" y="2638779"/>
                    </a:lnTo>
                    <a:lnTo>
                      <a:pt x="592097" y="2666101"/>
                    </a:lnTo>
                    <a:lnTo>
                      <a:pt x="562578" y="2714712"/>
                    </a:lnTo>
                    <a:lnTo>
                      <a:pt x="547859" y="2750232"/>
                    </a:lnTo>
                    <a:lnTo>
                      <a:pt x="536007" y="2767999"/>
                    </a:lnTo>
                    <a:lnTo>
                      <a:pt x="511375" y="2804937"/>
                    </a:lnTo>
                    <a:lnTo>
                      <a:pt x="476904" y="2841961"/>
                    </a:lnTo>
                    <a:lnTo>
                      <a:pt x="448954" y="2876815"/>
                    </a:lnTo>
                    <a:lnTo>
                      <a:pt x="407228" y="2901209"/>
                    </a:lnTo>
                    <a:lnTo>
                      <a:pt x="376866" y="2905378"/>
                    </a:lnTo>
                    <a:lnTo>
                      <a:pt x="346503" y="2909545"/>
                    </a:lnTo>
                    <a:lnTo>
                      <a:pt x="314293" y="2908570"/>
                    </a:lnTo>
                    <a:lnTo>
                      <a:pt x="266981" y="2923823"/>
                    </a:lnTo>
                    <a:lnTo>
                      <a:pt x="248977" y="2947177"/>
                    </a:lnTo>
                    <a:lnTo>
                      <a:pt x="236764" y="2973384"/>
                    </a:lnTo>
                    <a:lnTo>
                      <a:pt x="224557" y="2999598"/>
                    </a:lnTo>
                    <a:lnTo>
                      <a:pt x="219148" y="3028742"/>
                    </a:lnTo>
                    <a:lnTo>
                      <a:pt x="215001" y="3059078"/>
                    </a:lnTo>
                    <a:lnTo>
                      <a:pt x="210859" y="3089415"/>
                    </a:lnTo>
                    <a:lnTo>
                      <a:pt x="208201" y="3120741"/>
                    </a:lnTo>
                    <a:lnTo>
                      <a:pt x="202760" y="3150214"/>
                    </a:lnTo>
                    <a:lnTo>
                      <a:pt x="197319" y="3179687"/>
                    </a:lnTo>
                    <a:lnTo>
                      <a:pt x="188931" y="3208215"/>
                    </a:lnTo>
                    <a:lnTo>
                      <a:pt x="172833" y="3231826"/>
                    </a:lnTo>
                    <a:lnTo>
                      <a:pt x="137464" y="3283721"/>
                    </a:lnTo>
                    <a:lnTo>
                      <a:pt x="90027" y="3348172"/>
                    </a:lnTo>
                    <a:lnTo>
                      <a:pt x="54500" y="3416813"/>
                    </a:lnTo>
                    <a:lnTo>
                      <a:pt x="36733" y="3451132"/>
                    </a:lnTo>
                    <a:lnTo>
                      <a:pt x="21367" y="3486349"/>
                    </a:lnTo>
                    <a:lnTo>
                      <a:pt x="12332" y="3521546"/>
                    </a:lnTo>
                    <a:lnTo>
                      <a:pt x="3297" y="3556743"/>
                    </a:lnTo>
                    <a:lnTo>
                      <a:pt x="0" y="3591057"/>
                    </a:lnTo>
                    <a:lnTo>
                      <a:pt x="5533" y="3624921"/>
                    </a:lnTo>
                    <a:lnTo>
                      <a:pt x="12701" y="3668790"/>
                    </a:lnTo>
                    <a:lnTo>
                      <a:pt x="15564" y="3732115"/>
                    </a:lnTo>
                    <a:lnTo>
                      <a:pt x="23214" y="3792228"/>
                    </a:lnTo>
                    <a:lnTo>
                      <a:pt x="27039" y="3822288"/>
                    </a:lnTo>
                    <a:lnTo>
                      <a:pt x="31602" y="3851477"/>
                    </a:lnTo>
                    <a:lnTo>
                      <a:pt x="39536" y="3877922"/>
                    </a:lnTo>
                    <a:lnTo>
                      <a:pt x="47470" y="3904360"/>
                    </a:lnTo>
                    <a:lnTo>
                      <a:pt x="58846" y="3926863"/>
                    </a:lnTo>
                    <a:lnTo>
                      <a:pt x="73539" y="3944570"/>
                    </a:lnTo>
                    <a:lnTo>
                      <a:pt x="126688" y="4008599"/>
                    </a:lnTo>
                    <a:lnTo>
                      <a:pt x="142727" y="4030633"/>
                    </a:lnTo>
                    <a:lnTo>
                      <a:pt x="146994" y="4056109"/>
                    </a:lnTo>
                    <a:lnTo>
                      <a:pt x="151260" y="4081579"/>
                    </a:lnTo>
                    <a:lnTo>
                      <a:pt x="143617" y="4111216"/>
                    </a:lnTo>
                    <a:lnTo>
                      <a:pt x="148352" y="4193488"/>
                    </a:lnTo>
                    <a:lnTo>
                      <a:pt x="154901" y="4230742"/>
                    </a:lnTo>
                    <a:lnTo>
                      <a:pt x="169001" y="4267766"/>
                    </a:lnTo>
                    <a:lnTo>
                      <a:pt x="185079" y="4302303"/>
                    </a:lnTo>
                    <a:lnTo>
                      <a:pt x="202655" y="4341496"/>
                    </a:lnTo>
                    <a:lnTo>
                      <a:pt x="206592" y="4379333"/>
                    </a:lnTo>
                    <a:lnTo>
                      <a:pt x="202760" y="4416560"/>
                    </a:lnTo>
                    <a:lnTo>
                      <a:pt x="198929" y="4453782"/>
                    </a:lnTo>
                    <a:lnTo>
                      <a:pt x="187025" y="4490779"/>
                    </a:lnTo>
                    <a:lnTo>
                      <a:pt x="171474" y="4529452"/>
                    </a:lnTo>
                    <a:lnTo>
                      <a:pt x="150858" y="4559083"/>
                    </a:lnTo>
                    <a:lnTo>
                      <a:pt x="84421" y="4688601"/>
                    </a:lnTo>
                    <a:lnTo>
                      <a:pt x="53893" y="4747149"/>
                    </a:lnTo>
                    <a:lnTo>
                      <a:pt x="38270" y="4777045"/>
                    </a:lnTo>
                    <a:lnTo>
                      <a:pt x="28655" y="4809655"/>
                    </a:lnTo>
                    <a:lnTo>
                      <a:pt x="19033" y="4842267"/>
                    </a:lnTo>
                    <a:lnTo>
                      <a:pt x="14878" y="4876752"/>
                    </a:lnTo>
                    <a:lnTo>
                      <a:pt x="8250" y="4945676"/>
                    </a:lnTo>
                    <a:lnTo>
                      <a:pt x="10967" y="5000084"/>
                    </a:lnTo>
                    <a:lnTo>
                      <a:pt x="10967" y="5025929"/>
                    </a:lnTo>
                    <a:lnTo>
                      <a:pt x="12325" y="5057209"/>
                    </a:lnTo>
                    <a:lnTo>
                      <a:pt x="58285" y="5042126"/>
                    </a:lnTo>
                    <a:lnTo>
                      <a:pt x="101647" y="5021959"/>
                    </a:lnTo>
                    <a:lnTo>
                      <a:pt x="148346" y="5010966"/>
                    </a:lnTo>
                    <a:lnTo>
                      <a:pt x="183094" y="5002808"/>
                    </a:lnTo>
                    <a:lnTo>
                      <a:pt x="221351" y="5008327"/>
                    </a:lnTo>
                    <a:lnTo>
                      <a:pt x="255803" y="5000084"/>
                    </a:lnTo>
                    <a:lnTo>
                      <a:pt x="312849" y="4979172"/>
                    </a:lnTo>
                    <a:lnTo>
                      <a:pt x="374781" y="4977642"/>
                    </a:lnTo>
                    <a:lnTo>
                      <a:pt x="429908" y="4952475"/>
                    </a:lnTo>
                    <a:lnTo>
                      <a:pt x="556411" y="4893991"/>
                    </a:lnTo>
                    <a:lnTo>
                      <a:pt x="583570" y="4874437"/>
                    </a:lnTo>
                    <a:lnTo>
                      <a:pt x="673491" y="4821303"/>
                    </a:lnTo>
                    <a:lnTo>
                      <a:pt x="792384" y="4684136"/>
                    </a:lnTo>
                    <a:lnTo>
                      <a:pt x="824370" y="4608347"/>
                    </a:lnTo>
                    <a:lnTo>
                      <a:pt x="845750" y="4557723"/>
                    </a:lnTo>
                    <a:lnTo>
                      <a:pt x="855504" y="4490266"/>
                    </a:lnTo>
                    <a:lnTo>
                      <a:pt x="885577" y="4445123"/>
                    </a:lnTo>
                    <a:lnTo>
                      <a:pt x="962071" y="4330398"/>
                    </a:lnTo>
                    <a:lnTo>
                      <a:pt x="1012522" y="4414476"/>
                    </a:lnTo>
                    <a:lnTo>
                      <a:pt x="1022961" y="4230215"/>
                    </a:lnTo>
                    <a:lnTo>
                      <a:pt x="1044000" y="4220732"/>
                    </a:lnTo>
                    <a:lnTo>
                      <a:pt x="1063659" y="4171302"/>
                    </a:lnTo>
                    <a:lnTo>
                      <a:pt x="1090968" y="4152678"/>
                    </a:lnTo>
                    <a:lnTo>
                      <a:pt x="1134561" y="4122969"/>
                    </a:lnTo>
                    <a:lnTo>
                      <a:pt x="1256507" y="4070987"/>
                    </a:lnTo>
                    <a:lnTo>
                      <a:pt x="1309959" y="4046586"/>
                    </a:lnTo>
                    <a:lnTo>
                      <a:pt x="1341054" y="4032433"/>
                    </a:lnTo>
                    <a:lnTo>
                      <a:pt x="1368554" y="4010117"/>
                    </a:lnTo>
                    <a:lnTo>
                      <a:pt x="1399735" y="3996260"/>
                    </a:lnTo>
                    <a:lnTo>
                      <a:pt x="1473525" y="3963484"/>
                    </a:lnTo>
                    <a:lnTo>
                      <a:pt x="1536691" y="4005098"/>
                    </a:lnTo>
                    <a:lnTo>
                      <a:pt x="1610561" y="4000336"/>
                    </a:lnTo>
                    <a:lnTo>
                      <a:pt x="1669565" y="3996511"/>
                    </a:lnTo>
                    <a:lnTo>
                      <a:pt x="1746073" y="3982780"/>
                    </a:lnTo>
                    <a:lnTo>
                      <a:pt x="1800995" y="3960885"/>
                    </a:lnTo>
                    <a:lnTo>
                      <a:pt x="1822837" y="3952173"/>
                    </a:lnTo>
                    <a:lnTo>
                      <a:pt x="1840650" y="3937724"/>
                    </a:lnTo>
                    <a:lnTo>
                      <a:pt x="1863561" y="3930965"/>
                    </a:lnTo>
                    <a:lnTo>
                      <a:pt x="1907048" y="3918130"/>
                    </a:lnTo>
                    <a:lnTo>
                      <a:pt x="1950719" y="3910560"/>
                    </a:lnTo>
                    <a:lnTo>
                      <a:pt x="1995499" y="3903760"/>
                    </a:lnTo>
                    <a:lnTo>
                      <a:pt x="2067614" y="3892753"/>
                    </a:lnTo>
                    <a:lnTo>
                      <a:pt x="2176067" y="3884932"/>
                    </a:lnTo>
                    <a:lnTo>
                      <a:pt x="2248499" y="3887439"/>
                    </a:lnTo>
                    <a:lnTo>
                      <a:pt x="2324499" y="3890029"/>
                    </a:lnTo>
                    <a:lnTo>
                      <a:pt x="2401646" y="3902487"/>
                    </a:lnTo>
                    <a:lnTo>
                      <a:pt x="2478371" y="3896961"/>
                    </a:lnTo>
                    <a:lnTo>
                      <a:pt x="2513225" y="3894494"/>
                    </a:lnTo>
                    <a:lnTo>
                      <a:pt x="2550229" y="3900998"/>
                    </a:lnTo>
                    <a:lnTo>
                      <a:pt x="2585829" y="3898320"/>
                    </a:lnTo>
                    <a:lnTo>
                      <a:pt x="2668376" y="3892114"/>
                    </a:lnTo>
                    <a:lnTo>
                      <a:pt x="2751664" y="3878594"/>
                    </a:lnTo>
                    <a:lnTo>
                      <a:pt x="2834740" y="3880631"/>
                    </a:lnTo>
                    <a:lnTo>
                      <a:pt x="2866560" y="3881489"/>
                    </a:lnTo>
                    <a:lnTo>
                      <a:pt x="2945772" y="3895345"/>
                    </a:lnTo>
                    <a:lnTo>
                      <a:pt x="2966684" y="3892879"/>
                    </a:lnTo>
                    <a:lnTo>
                      <a:pt x="3048038" y="3883270"/>
                    </a:lnTo>
                    <a:lnTo>
                      <a:pt x="3104894" y="3779216"/>
                    </a:lnTo>
                    <a:lnTo>
                      <a:pt x="3177516" y="3748694"/>
                    </a:lnTo>
                    <a:lnTo>
                      <a:pt x="3250218" y="3718173"/>
                    </a:lnTo>
                    <a:lnTo>
                      <a:pt x="3322585" y="3766038"/>
                    </a:lnTo>
                    <a:lnTo>
                      <a:pt x="3393783" y="3755501"/>
                    </a:lnTo>
                    <a:lnTo>
                      <a:pt x="3459370" y="3745806"/>
                    </a:lnTo>
                    <a:lnTo>
                      <a:pt x="3412506" y="3647449"/>
                    </a:lnTo>
                    <a:lnTo>
                      <a:pt x="3644059" y="3692928"/>
                    </a:lnTo>
                    <a:lnTo>
                      <a:pt x="3695810" y="3705893"/>
                    </a:lnTo>
                    <a:lnTo>
                      <a:pt x="3733190" y="3703427"/>
                    </a:lnTo>
                    <a:lnTo>
                      <a:pt x="3759056" y="3674053"/>
                    </a:lnTo>
                    <a:lnTo>
                      <a:pt x="3782797" y="3664366"/>
                    </a:lnTo>
                    <a:lnTo>
                      <a:pt x="3818416" y="3649824"/>
                    </a:lnTo>
                    <a:lnTo>
                      <a:pt x="3853890" y="3643109"/>
                    </a:lnTo>
                    <a:lnTo>
                      <a:pt x="3891613" y="3637161"/>
                    </a:lnTo>
                    <a:lnTo>
                      <a:pt x="3918494" y="3632994"/>
                    </a:lnTo>
                    <a:lnTo>
                      <a:pt x="3949205" y="3638521"/>
                    </a:lnTo>
                    <a:lnTo>
                      <a:pt x="3973218" y="3638521"/>
                    </a:lnTo>
                    <a:lnTo>
                      <a:pt x="4001338" y="3637161"/>
                    </a:lnTo>
                    <a:lnTo>
                      <a:pt x="4095046" y="3640598"/>
                    </a:lnTo>
                    <a:lnTo>
                      <a:pt x="4121485" y="3645319"/>
                    </a:lnTo>
                    <a:lnTo>
                      <a:pt x="4300497" y="3655436"/>
                    </a:lnTo>
                    <a:lnTo>
                      <a:pt x="4434328" y="3548743"/>
                    </a:lnTo>
                    <a:lnTo>
                      <a:pt x="4494604" y="3504789"/>
                    </a:lnTo>
                    <a:lnTo>
                      <a:pt x="4528733" y="3328730"/>
                    </a:lnTo>
                    <a:lnTo>
                      <a:pt x="4564906" y="3261741"/>
                    </a:lnTo>
                    <a:lnTo>
                      <a:pt x="4607199" y="3183359"/>
                    </a:lnTo>
                    <a:lnTo>
                      <a:pt x="4693916" y="3192289"/>
                    </a:lnTo>
                    <a:lnTo>
                      <a:pt x="4715890" y="3151566"/>
                    </a:lnTo>
                    <a:lnTo>
                      <a:pt x="4738180" y="3110249"/>
                    </a:lnTo>
                    <a:lnTo>
                      <a:pt x="4729212" y="3065325"/>
                    </a:lnTo>
                    <a:lnTo>
                      <a:pt x="4743093" y="3023704"/>
                    </a:lnTo>
                    <a:lnTo>
                      <a:pt x="4758354" y="2977882"/>
                    </a:lnTo>
                    <a:lnTo>
                      <a:pt x="4787425" y="2932278"/>
                    </a:lnTo>
                    <a:lnTo>
                      <a:pt x="4807024" y="2887684"/>
                    </a:lnTo>
                    <a:lnTo>
                      <a:pt x="4824389" y="2848153"/>
                    </a:lnTo>
                    <a:lnTo>
                      <a:pt x="4832739" y="2804713"/>
                    </a:lnTo>
                    <a:lnTo>
                      <a:pt x="4853268" y="2766628"/>
                    </a:lnTo>
                    <a:lnTo>
                      <a:pt x="4865067" y="2744778"/>
                    </a:lnTo>
                    <a:lnTo>
                      <a:pt x="4887292" y="2722085"/>
                    </a:lnTo>
                    <a:lnTo>
                      <a:pt x="4891354" y="2697262"/>
                    </a:lnTo>
                    <a:lnTo>
                      <a:pt x="4896861" y="2663464"/>
                    </a:lnTo>
                    <a:lnTo>
                      <a:pt x="4869169" y="2639241"/>
                    </a:lnTo>
                    <a:lnTo>
                      <a:pt x="4866873" y="2607486"/>
                    </a:lnTo>
                    <a:lnTo>
                      <a:pt x="4872994" y="2581430"/>
                    </a:lnTo>
                    <a:lnTo>
                      <a:pt x="4928080" y="2586910"/>
                    </a:lnTo>
                    <a:lnTo>
                      <a:pt x="5010286" y="2582405"/>
                    </a:lnTo>
                    <a:lnTo>
                      <a:pt x="5043697" y="2528591"/>
                    </a:lnTo>
                    <a:lnTo>
                      <a:pt x="5090883" y="2534968"/>
                    </a:lnTo>
                    <a:lnTo>
                      <a:pt x="5102397" y="2569525"/>
                    </a:lnTo>
                    <a:lnTo>
                      <a:pt x="5144354" y="2557154"/>
                    </a:lnTo>
                    <a:lnTo>
                      <a:pt x="5167983" y="2550182"/>
                    </a:lnTo>
                    <a:lnTo>
                      <a:pt x="5178997" y="2520130"/>
                    </a:lnTo>
                    <a:lnTo>
                      <a:pt x="5214023" y="2517749"/>
                    </a:lnTo>
                    <a:lnTo>
                      <a:pt x="5247261" y="2527108"/>
                    </a:lnTo>
                    <a:lnTo>
                      <a:pt x="5280690" y="2498537"/>
                    </a:lnTo>
                    <a:lnTo>
                      <a:pt x="5295740" y="2444296"/>
                    </a:lnTo>
                    <a:lnTo>
                      <a:pt x="5334783" y="2457861"/>
                    </a:lnTo>
                    <a:lnTo>
                      <a:pt x="5378671" y="2383385"/>
                    </a:lnTo>
                    <a:lnTo>
                      <a:pt x="5414626" y="2413523"/>
                    </a:lnTo>
                    <a:lnTo>
                      <a:pt x="5464003" y="2418411"/>
                    </a:lnTo>
                    <a:lnTo>
                      <a:pt x="5495222" y="2418806"/>
                    </a:lnTo>
                    <a:lnTo>
                      <a:pt x="5543043" y="2426739"/>
                    </a:lnTo>
                    <a:lnTo>
                      <a:pt x="5600721" y="2461983"/>
                    </a:lnTo>
                    <a:lnTo>
                      <a:pt x="5628374" y="2459687"/>
                    </a:lnTo>
                    <a:lnTo>
                      <a:pt x="5755484" y="2377350"/>
                    </a:lnTo>
                    <a:lnTo>
                      <a:pt x="5780036" y="2341902"/>
                    </a:lnTo>
                    <a:lnTo>
                      <a:pt x="5782734" y="2307938"/>
                    </a:lnTo>
                    <a:lnTo>
                      <a:pt x="5799967" y="2281031"/>
                    </a:lnTo>
                    <a:lnTo>
                      <a:pt x="5834609" y="2263774"/>
                    </a:lnTo>
                    <a:lnTo>
                      <a:pt x="5864088" y="2281031"/>
                    </a:lnTo>
                    <a:lnTo>
                      <a:pt x="5878861" y="2312318"/>
                    </a:lnTo>
                    <a:lnTo>
                      <a:pt x="5907298" y="2306706"/>
                    </a:lnTo>
                    <a:lnTo>
                      <a:pt x="5948998" y="2240355"/>
                    </a:lnTo>
                    <a:lnTo>
                      <a:pt x="5969719" y="2200726"/>
                    </a:lnTo>
                    <a:lnTo>
                      <a:pt x="5984769" y="2182510"/>
                    </a:lnTo>
                    <a:lnTo>
                      <a:pt x="5989042" y="2147729"/>
                    </a:lnTo>
                    <a:lnTo>
                      <a:pt x="6001514" y="2083205"/>
                    </a:lnTo>
                    <a:lnTo>
                      <a:pt x="6020131" y="2012138"/>
                    </a:lnTo>
                    <a:lnTo>
                      <a:pt x="6034817" y="1959729"/>
                    </a:lnTo>
                    <a:lnTo>
                      <a:pt x="6085611" y="1939620"/>
                    </a:lnTo>
                    <a:lnTo>
                      <a:pt x="6111438" y="1929464"/>
                    </a:lnTo>
                    <a:lnTo>
                      <a:pt x="6160280" y="1939488"/>
                    </a:lnTo>
                    <a:lnTo>
                      <a:pt x="6174029" y="1912417"/>
                    </a:lnTo>
                    <a:lnTo>
                      <a:pt x="6175962" y="1866852"/>
                    </a:lnTo>
                    <a:lnTo>
                      <a:pt x="6175922" y="1760542"/>
                    </a:lnTo>
                    <a:lnTo>
                      <a:pt x="6224355" y="1739669"/>
                    </a:lnTo>
                    <a:lnTo>
                      <a:pt x="6305756" y="1772486"/>
                    </a:lnTo>
                    <a:lnTo>
                      <a:pt x="6314296" y="2024128"/>
                    </a:lnTo>
                    <a:lnTo>
                      <a:pt x="6501835" y="2010350"/>
                    </a:lnTo>
                    <a:lnTo>
                      <a:pt x="6543020" y="2004442"/>
                    </a:lnTo>
                    <a:lnTo>
                      <a:pt x="6577789" y="1998828"/>
                    </a:lnTo>
                    <a:lnTo>
                      <a:pt x="6598411" y="1962742"/>
                    </a:lnTo>
                    <a:lnTo>
                      <a:pt x="6620360" y="1924320"/>
                    </a:lnTo>
                    <a:lnTo>
                      <a:pt x="6581727" y="1716204"/>
                    </a:lnTo>
                    <a:lnTo>
                      <a:pt x="6567126" y="1667580"/>
                    </a:lnTo>
                    <a:lnTo>
                      <a:pt x="6555440" y="1628769"/>
                    </a:lnTo>
                    <a:lnTo>
                      <a:pt x="6524640" y="1587841"/>
                    </a:lnTo>
                    <a:lnTo>
                      <a:pt x="6534480" y="1545158"/>
                    </a:lnTo>
                    <a:lnTo>
                      <a:pt x="6559409" y="1514176"/>
                    </a:lnTo>
                    <a:lnTo>
                      <a:pt x="6648309" y="1562847"/>
                    </a:lnTo>
                    <a:lnTo>
                      <a:pt x="6689540" y="1558764"/>
                    </a:lnTo>
                    <a:lnTo>
                      <a:pt x="6713091" y="1518298"/>
                    </a:lnTo>
                    <a:lnTo>
                      <a:pt x="6727902" y="1437239"/>
                    </a:lnTo>
                    <a:lnTo>
                      <a:pt x="6753471" y="1422744"/>
                    </a:lnTo>
                    <a:lnTo>
                      <a:pt x="6898672" y="1549881"/>
                    </a:lnTo>
                    <a:lnTo>
                      <a:pt x="6924853" y="1568287"/>
                    </a:lnTo>
                    <a:lnTo>
                      <a:pt x="6990254" y="1614280"/>
                    </a:lnTo>
                    <a:lnTo>
                      <a:pt x="7062066" y="1636934"/>
                    </a:lnTo>
                    <a:lnTo>
                      <a:pt x="7137051" y="1659423"/>
                    </a:lnTo>
                    <a:lnTo>
                      <a:pt x="7172543" y="1670047"/>
                    </a:lnTo>
                    <a:lnTo>
                      <a:pt x="7218596" y="1679056"/>
                    </a:lnTo>
                    <a:lnTo>
                      <a:pt x="7251307" y="1653981"/>
                    </a:lnTo>
                    <a:lnTo>
                      <a:pt x="7308840" y="1541091"/>
                    </a:lnTo>
                    <a:lnTo>
                      <a:pt x="7356337" y="1642084"/>
                    </a:lnTo>
                    <a:lnTo>
                      <a:pt x="7439011" y="1632224"/>
                    </a:lnTo>
                    <a:lnTo>
                      <a:pt x="7444728" y="1589807"/>
                    </a:lnTo>
                    <a:lnTo>
                      <a:pt x="7435040" y="1558731"/>
                    </a:lnTo>
                    <a:lnTo>
                      <a:pt x="7425413" y="1534291"/>
                    </a:lnTo>
                    <a:lnTo>
                      <a:pt x="7411834" y="1505643"/>
                    </a:lnTo>
                    <a:lnTo>
                      <a:pt x="7411279" y="1438822"/>
                    </a:lnTo>
                    <a:lnTo>
                      <a:pt x="7436295" y="1415952"/>
                    </a:lnTo>
                    <a:lnTo>
                      <a:pt x="7462733" y="1410933"/>
                    </a:lnTo>
                    <a:lnTo>
                      <a:pt x="7501049" y="1419479"/>
                    </a:lnTo>
                    <a:lnTo>
                      <a:pt x="7566597" y="1469602"/>
                    </a:lnTo>
                    <a:lnTo>
                      <a:pt x="7599517" y="1485330"/>
                    </a:lnTo>
                    <a:lnTo>
                      <a:pt x="7629545" y="1499654"/>
                    </a:lnTo>
                    <a:lnTo>
                      <a:pt x="7663640" y="1506624"/>
                    </a:lnTo>
                    <a:lnTo>
                      <a:pt x="7693370" y="1520692"/>
                    </a:lnTo>
                    <a:lnTo>
                      <a:pt x="7775193" y="1559418"/>
                    </a:lnTo>
                    <a:lnTo>
                      <a:pt x="7861125" y="1592999"/>
                    </a:lnTo>
                    <a:lnTo>
                      <a:pt x="7951810" y="1605028"/>
                    </a:lnTo>
                    <a:lnTo>
                      <a:pt x="8040710" y="1609446"/>
                    </a:lnTo>
                    <a:lnTo>
                      <a:pt x="8073691" y="1634395"/>
                    </a:lnTo>
                    <a:lnTo>
                      <a:pt x="8159920" y="1594146"/>
                    </a:lnTo>
                    <a:lnTo>
                      <a:pt x="8189083" y="1580541"/>
                    </a:lnTo>
                    <a:lnTo>
                      <a:pt x="8216069" y="1559503"/>
                    </a:lnTo>
                    <a:lnTo>
                      <a:pt x="8234733" y="1532939"/>
                    </a:lnTo>
                    <a:lnTo>
                      <a:pt x="8252625" y="1507429"/>
                    </a:lnTo>
                    <a:lnTo>
                      <a:pt x="8260829" y="1476236"/>
                    </a:lnTo>
                    <a:lnTo>
                      <a:pt x="8278259" y="1451321"/>
                    </a:lnTo>
                    <a:lnTo>
                      <a:pt x="8308372" y="1408433"/>
                    </a:lnTo>
                    <a:lnTo>
                      <a:pt x="8349622" y="1374259"/>
                    </a:lnTo>
                    <a:lnTo>
                      <a:pt x="8374828" y="1327547"/>
                    </a:lnTo>
                    <a:lnTo>
                      <a:pt x="8450617" y="1203471"/>
                    </a:lnTo>
                    <a:lnTo>
                      <a:pt x="8468469" y="1215585"/>
                    </a:lnTo>
                    <a:lnTo>
                      <a:pt x="8599259" y="1232330"/>
                    </a:lnTo>
                    <a:lnTo>
                      <a:pt x="8620534" y="1235094"/>
                    </a:lnTo>
                    <a:lnTo>
                      <a:pt x="8705227" y="1263142"/>
                    </a:lnTo>
                    <a:lnTo>
                      <a:pt x="8668480" y="1321586"/>
                    </a:lnTo>
                    <a:lnTo>
                      <a:pt x="8710792" y="1361543"/>
                    </a:lnTo>
                    <a:lnTo>
                      <a:pt x="8732555" y="1361543"/>
                    </a:lnTo>
                    <a:lnTo>
                      <a:pt x="8780144" y="1329961"/>
                    </a:lnTo>
                    <a:lnTo>
                      <a:pt x="8821903" y="1242994"/>
                    </a:lnTo>
                    <a:lnTo>
                      <a:pt x="8903943" y="1211918"/>
                    </a:lnTo>
                    <a:lnTo>
                      <a:pt x="8930171" y="1204782"/>
                    </a:lnTo>
                    <a:lnTo>
                      <a:pt x="8962302" y="1169758"/>
                    </a:lnTo>
                    <a:lnTo>
                      <a:pt x="8985555" y="1154793"/>
                    </a:lnTo>
                    <a:lnTo>
                      <a:pt x="9014203" y="1136301"/>
                    </a:lnTo>
                    <a:lnTo>
                      <a:pt x="9052520" y="1134627"/>
                    </a:lnTo>
                    <a:lnTo>
                      <a:pt x="9082131" y="1118067"/>
                    </a:lnTo>
                    <a:lnTo>
                      <a:pt x="9067173" y="1101758"/>
                    </a:lnTo>
                    <a:lnTo>
                      <a:pt x="9046973" y="1095347"/>
                    </a:lnTo>
                    <a:lnTo>
                      <a:pt x="9016842" y="1071829"/>
                    </a:lnTo>
                    <a:lnTo>
                      <a:pt x="8997677" y="1047442"/>
                    </a:lnTo>
                    <a:lnTo>
                      <a:pt x="8981447" y="980886"/>
                    </a:lnTo>
                    <a:lnTo>
                      <a:pt x="8967874" y="912689"/>
                    </a:lnTo>
                    <a:lnTo>
                      <a:pt x="8954309" y="844483"/>
                    </a:lnTo>
                    <a:lnTo>
                      <a:pt x="8943395" y="775257"/>
                    </a:lnTo>
                    <a:lnTo>
                      <a:pt x="8937953" y="745382"/>
                    </a:lnTo>
                    <a:lnTo>
                      <a:pt x="8934175" y="724641"/>
                    </a:lnTo>
                    <a:lnTo>
                      <a:pt x="8930171" y="702660"/>
                    </a:lnTo>
                    <a:lnTo>
                      <a:pt x="8924348" y="681458"/>
                    </a:lnTo>
                    <a:lnTo>
                      <a:pt x="8918525" y="660248"/>
                    </a:lnTo>
                    <a:lnTo>
                      <a:pt x="8911330" y="638854"/>
                    </a:lnTo>
                    <a:lnTo>
                      <a:pt x="8897336" y="592446"/>
                    </a:lnTo>
                    <a:lnTo>
                      <a:pt x="8890998" y="562051"/>
                    </a:lnTo>
                    <a:lnTo>
                      <a:pt x="8882186" y="531833"/>
                    </a:lnTo>
                    <a:lnTo>
                      <a:pt x="8873370" y="501614"/>
                    </a:lnTo>
                    <a:lnTo>
                      <a:pt x="8861987" y="472393"/>
                    </a:lnTo>
                    <a:lnTo>
                      <a:pt x="8846818" y="448863"/>
                    </a:lnTo>
                    <a:lnTo>
                      <a:pt x="8823843" y="420768"/>
                    </a:lnTo>
                    <a:lnTo>
                      <a:pt x="8796348" y="400779"/>
                    </a:lnTo>
                    <a:lnTo>
                      <a:pt x="8767930" y="380848"/>
                    </a:lnTo>
                    <a:lnTo>
                      <a:pt x="8741986" y="360939"/>
                    </a:lnTo>
                    <a:lnTo>
                      <a:pt x="8707831" y="331163"/>
                    </a:lnTo>
                    <a:lnTo>
                      <a:pt x="8671354" y="306043"/>
                    </a:lnTo>
                    <a:lnTo>
                      <a:pt x="8653113" y="293480"/>
                    </a:lnTo>
                    <a:lnTo>
                      <a:pt x="8634370" y="281160"/>
                    </a:lnTo>
                    <a:lnTo>
                      <a:pt x="8596799" y="265629"/>
                    </a:lnTo>
                    <a:lnTo>
                      <a:pt x="8559815" y="262516"/>
                    </a:lnTo>
                    <a:lnTo>
                      <a:pt x="8531167" y="273985"/>
                    </a:lnTo>
                    <a:lnTo>
                      <a:pt x="8512299" y="291850"/>
                    </a:lnTo>
                    <a:lnTo>
                      <a:pt x="8499966" y="314201"/>
                    </a:lnTo>
                    <a:lnTo>
                      <a:pt x="8488815" y="338094"/>
                    </a:lnTo>
                    <a:lnTo>
                      <a:pt x="8483156" y="366730"/>
                    </a:lnTo>
                    <a:lnTo>
                      <a:pt x="8470046" y="390372"/>
                    </a:lnTo>
                    <a:lnTo>
                      <a:pt x="8451270" y="404214"/>
                    </a:lnTo>
                    <a:lnTo>
                      <a:pt x="8419712" y="416217"/>
                    </a:lnTo>
                    <a:lnTo>
                      <a:pt x="8392945" y="420622"/>
                    </a:lnTo>
                    <a:lnTo>
                      <a:pt x="8359007" y="411488"/>
                    </a:lnTo>
                    <a:lnTo>
                      <a:pt x="8341292" y="393880"/>
                    </a:lnTo>
                    <a:lnTo>
                      <a:pt x="8323143" y="372684"/>
                    </a:lnTo>
                    <a:lnTo>
                      <a:pt x="8304995" y="351495"/>
                    </a:lnTo>
                    <a:lnTo>
                      <a:pt x="8286060" y="326402"/>
                    </a:lnTo>
                    <a:lnTo>
                      <a:pt x="8261936" y="308760"/>
                    </a:lnTo>
                    <a:lnTo>
                      <a:pt x="8236644" y="292793"/>
                    </a:lnTo>
                    <a:lnTo>
                      <a:pt x="8205609" y="283918"/>
                    </a:lnTo>
                    <a:lnTo>
                      <a:pt x="8168078" y="284279"/>
                    </a:lnTo>
                    <a:lnTo>
                      <a:pt x="8135559" y="291824"/>
                    </a:lnTo>
                    <a:lnTo>
                      <a:pt x="8105387" y="306662"/>
                    </a:lnTo>
                    <a:lnTo>
                      <a:pt x="8079666" y="329164"/>
                    </a:lnTo>
                    <a:lnTo>
                      <a:pt x="8071719" y="351614"/>
                    </a:lnTo>
                    <a:lnTo>
                      <a:pt x="8079449" y="374729"/>
                    </a:lnTo>
                    <a:lnTo>
                      <a:pt x="8095995" y="394454"/>
                    </a:lnTo>
                    <a:lnTo>
                      <a:pt x="8121168" y="394652"/>
                    </a:lnTo>
                    <a:lnTo>
                      <a:pt x="8154485" y="403977"/>
                    </a:lnTo>
                    <a:lnTo>
                      <a:pt x="8177845" y="420418"/>
                    </a:lnTo>
                    <a:lnTo>
                      <a:pt x="8193455" y="456789"/>
                    </a:lnTo>
                    <a:lnTo>
                      <a:pt x="8188199" y="491538"/>
                    </a:lnTo>
                    <a:lnTo>
                      <a:pt x="8172166" y="537273"/>
                    </a:lnTo>
                    <a:lnTo>
                      <a:pt x="8151412" y="559188"/>
                    </a:lnTo>
                    <a:lnTo>
                      <a:pt x="8122191" y="577937"/>
                    </a:lnTo>
                    <a:lnTo>
                      <a:pt x="8095995" y="590322"/>
                    </a:lnTo>
                    <a:lnTo>
                      <a:pt x="8074575" y="592809"/>
                    </a:lnTo>
                    <a:lnTo>
                      <a:pt x="8048625" y="585219"/>
                    </a:lnTo>
                    <a:lnTo>
                      <a:pt x="7993920" y="564972"/>
                    </a:lnTo>
                    <a:lnTo>
                      <a:pt x="7964763" y="552937"/>
                    </a:lnTo>
                    <a:lnTo>
                      <a:pt x="7934129" y="530475"/>
                    </a:lnTo>
                    <a:lnTo>
                      <a:pt x="7914517" y="516091"/>
                    </a:lnTo>
                    <a:lnTo>
                      <a:pt x="7890603" y="495112"/>
                    </a:lnTo>
                    <a:lnTo>
                      <a:pt x="7861883" y="483702"/>
                    </a:lnTo>
                    <a:lnTo>
                      <a:pt x="7834838" y="488307"/>
                    </a:lnTo>
                    <a:lnTo>
                      <a:pt x="7812593" y="492099"/>
                    </a:lnTo>
                    <a:lnTo>
                      <a:pt x="7783146" y="515517"/>
                    </a:lnTo>
                    <a:lnTo>
                      <a:pt x="7759701" y="545781"/>
                    </a:lnTo>
                    <a:lnTo>
                      <a:pt x="7738585" y="577740"/>
                    </a:lnTo>
                    <a:lnTo>
                      <a:pt x="7713782" y="603928"/>
                    </a:lnTo>
                    <a:lnTo>
                      <a:pt x="7681624" y="622162"/>
                    </a:lnTo>
                    <a:lnTo>
                      <a:pt x="7658008" y="621609"/>
                    </a:lnTo>
                    <a:lnTo>
                      <a:pt x="7608639" y="620455"/>
                    </a:lnTo>
                    <a:lnTo>
                      <a:pt x="7557738" y="614552"/>
                    </a:lnTo>
                    <a:lnTo>
                      <a:pt x="7508389" y="610727"/>
                    </a:lnTo>
                    <a:lnTo>
                      <a:pt x="7474130" y="591767"/>
                    </a:lnTo>
                    <a:lnTo>
                      <a:pt x="7434481" y="588206"/>
                    </a:lnTo>
                    <a:lnTo>
                      <a:pt x="7410264" y="594682"/>
                    </a:lnTo>
                    <a:lnTo>
                      <a:pt x="7385969" y="599846"/>
                    </a:lnTo>
                    <a:lnTo>
                      <a:pt x="7361679" y="605010"/>
                    </a:lnTo>
                    <a:lnTo>
                      <a:pt x="7337950" y="608281"/>
                    </a:lnTo>
                    <a:lnTo>
                      <a:pt x="7316603" y="598488"/>
                    </a:lnTo>
                    <a:lnTo>
                      <a:pt x="7295691" y="588891"/>
                    </a:lnTo>
                    <a:lnTo>
                      <a:pt x="7283425" y="564135"/>
                    </a:lnTo>
                    <a:lnTo>
                      <a:pt x="7271711" y="541362"/>
                    </a:lnTo>
                    <a:lnTo>
                      <a:pt x="7259998" y="518584"/>
                    </a:lnTo>
                    <a:lnTo>
                      <a:pt x="7247647" y="498067"/>
                    </a:lnTo>
                    <a:lnTo>
                      <a:pt x="7226827" y="495112"/>
                    </a:lnTo>
                    <a:lnTo>
                      <a:pt x="7178796" y="518999"/>
                    </a:lnTo>
                    <a:lnTo>
                      <a:pt x="7139603" y="530414"/>
                    </a:lnTo>
                    <a:lnTo>
                      <a:pt x="7109853" y="516875"/>
                    </a:lnTo>
                    <a:lnTo>
                      <a:pt x="7076772" y="507972"/>
                    </a:lnTo>
                    <a:lnTo>
                      <a:pt x="7044564" y="518234"/>
                    </a:lnTo>
                    <a:lnTo>
                      <a:pt x="7021291" y="536983"/>
                    </a:lnTo>
                    <a:lnTo>
                      <a:pt x="7002996" y="561450"/>
                    </a:lnTo>
                    <a:lnTo>
                      <a:pt x="6987432" y="587606"/>
                    </a:lnTo>
                    <a:lnTo>
                      <a:pt x="6971867" y="613755"/>
                    </a:lnTo>
                    <a:lnTo>
                      <a:pt x="6959021" y="642271"/>
                    </a:lnTo>
                    <a:lnTo>
                      <a:pt x="6945270" y="667859"/>
                    </a:lnTo>
                    <a:lnTo>
                      <a:pt x="6933888" y="686067"/>
                    </a:lnTo>
                    <a:lnTo>
                      <a:pt x="6914460" y="707053"/>
                    </a:lnTo>
                    <a:lnTo>
                      <a:pt x="6892148" y="723895"/>
                    </a:lnTo>
                    <a:lnTo>
                      <a:pt x="6868314" y="733887"/>
                    </a:lnTo>
                    <a:lnTo>
                      <a:pt x="6841605" y="739730"/>
                    </a:lnTo>
                    <a:lnTo>
                      <a:pt x="6813373" y="738735"/>
                    </a:lnTo>
                    <a:lnTo>
                      <a:pt x="6784975" y="733591"/>
                    </a:lnTo>
                    <a:lnTo>
                      <a:pt x="6755066" y="722953"/>
                    </a:lnTo>
                    <a:lnTo>
                      <a:pt x="6734438" y="708654"/>
                    </a:lnTo>
                    <a:lnTo>
                      <a:pt x="6719475" y="690973"/>
                    </a:lnTo>
                    <a:lnTo>
                      <a:pt x="6700428" y="667846"/>
                    </a:lnTo>
                    <a:lnTo>
                      <a:pt x="6687951" y="649881"/>
                    </a:lnTo>
                    <a:lnTo>
                      <a:pt x="6674826" y="631410"/>
                    </a:lnTo>
                    <a:lnTo>
                      <a:pt x="6662342" y="613437"/>
                    </a:lnTo>
                    <a:lnTo>
                      <a:pt x="6649707" y="595474"/>
                    </a:lnTo>
                    <a:lnTo>
                      <a:pt x="6635844" y="573057"/>
                    </a:lnTo>
                    <a:lnTo>
                      <a:pt x="6625622" y="553590"/>
                    </a:lnTo>
                    <a:lnTo>
                      <a:pt x="6623030" y="529135"/>
                    </a:lnTo>
                    <a:lnTo>
                      <a:pt x="6629705" y="507346"/>
                    </a:lnTo>
                    <a:lnTo>
                      <a:pt x="6638937" y="483578"/>
                    </a:lnTo>
                    <a:lnTo>
                      <a:pt x="6648295" y="457726"/>
                    </a:lnTo>
                    <a:lnTo>
                      <a:pt x="6654178" y="433891"/>
                    </a:lnTo>
                    <a:lnTo>
                      <a:pt x="6652101" y="410513"/>
                    </a:lnTo>
                    <a:lnTo>
                      <a:pt x="6640309" y="391480"/>
                    </a:lnTo>
                    <a:lnTo>
                      <a:pt x="6619799" y="375217"/>
                    </a:lnTo>
                    <a:lnTo>
                      <a:pt x="6599619" y="366973"/>
                    </a:lnTo>
                    <a:lnTo>
                      <a:pt x="6578008" y="363175"/>
                    </a:lnTo>
                    <a:lnTo>
                      <a:pt x="6556178" y="365246"/>
                    </a:lnTo>
                    <a:lnTo>
                      <a:pt x="6535951" y="373627"/>
                    </a:lnTo>
                    <a:lnTo>
                      <a:pt x="6516417" y="393478"/>
                    </a:lnTo>
                    <a:lnTo>
                      <a:pt x="6507046" y="419508"/>
                    </a:lnTo>
                    <a:lnTo>
                      <a:pt x="6503761" y="447643"/>
                    </a:lnTo>
                    <a:lnTo>
                      <a:pt x="6505153" y="477879"/>
                    </a:lnTo>
                    <a:lnTo>
                      <a:pt x="6508609" y="507504"/>
                    </a:lnTo>
                    <a:lnTo>
                      <a:pt x="6512672" y="533791"/>
                    </a:lnTo>
                    <a:lnTo>
                      <a:pt x="6514663" y="556735"/>
                    </a:lnTo>
                    <a:lnTo>
                      <a:pt x="6509361" y="595855"/>
                    </a:lnTo>
                    <a:lnTo>
                      <a:pt x="6502488" y="630024"/>
                    </a:lnTo>
                    <a:lnTo>
                      <a:pt x="6488224" y="655613"/>
                    </a:lnTo>
                    <a:lnTo>
                      <a:pt x="6472924" y="678951"/>
                    </a:lnTo>
                    <a:lnTo>
                      <a:pt x="6449116" y="692114"/>
                    </a:lnTo>
                    <a:lnTo>
                      <a:pt x="6416135" y="690973"/>
                    </a:lnTo>
                    <a:lnTo>
                      <a:pt x="6400927" y="665775"/>
                    </a:lnTo>
                    <a:lnTo>
                      <a:pt x="6395974" y="626404"/>
                    </a:lnTo>
                    <a:lnTo>
                      <a:pt x="6394668" y="603822"/>
                    </a:lnTo>
                    <a:lnTo>
                      <a:pt x="6391648" y="579441"/>
                    </a:lnTo>
                    <a:lnTo>
                      <a:pt x="6388635" y="555053"/>
                    </a:lnTo>
                    <a:lnTo>
                      <a:pt x="6383418" y="528971"/>
                    </a:lnTo>
                    <a:lnTo>
                      <a:pt x="6371250" y="505988"/>
                    </a:lnTo>
                    <a:lnTo>
                      <a:pt x="6359075" y="483003"/>
                    </a:lnTo>
                    <a:lnTo>
                      <a:pt x="6339997" y="462975"/>
                    </a:lnTo>
                    <a:lnTo>
                      <a:pt x="6310036" y="447497"/>
                    </a:lnTo>
                    <a:lnTo>
                      <a:pt x="6271950" y="448855"/>
                    </a:lnTo>
                    <a:lnTo>
                      <a:pt x="6257838" y="472636"/>
                    </a:lnTo>
                    <a:lnTo>
                      <a:pt x="6256010" y="509178"/>
                    </a:lnTo>
                    <a:lnTo>
                      <a:pt x="6279984" y="541251"/>
                    </a:lnTo>
                    <a:lnTo>
                      <a:pt x="6297426" y="562254"/>
                    </a:lnTo>
                    <a:lnTo>
                      <a:pt x="6312754" y="582158"/>
                    </a:lnTo>
                    <a:lnTo>
                      <a:pt x="6328086" y="602061"/>
                    </a:lnTo>
                    <a:lnTo>
                      <a:pt x="6341943" y="621635"/>
                    </a:lnTo>
                    <a:lnTo>
                      <a:pt x="6357018" y="659654"/>
                    </a:lnTo>
                    <a:lnTo>
                      <a:pt x="6350838" y="696415"/>
                    </a:lnTo>
                    <a:lnTo>
                      <a:pt x="6327975" y="735081"/>
                    </a:lnTo>
                    <a:lnTo>
                      <a:pt x="6299149" y="754898"/>
                    </a:lnTo>
                    <a:lnTo>
                      <a:pt x="6277392" y="767145"/>
                    </a:lnTo>
                    <a:lnTo>
                      <a:pt x="6252905" y="772585"/>
                    </a:lnTo>
                    <a:lnTo>
                      <a:pt x="6229782" y="772585"/>
                    </a:lnTo>
                    <a:lnTo>
                      <a:pt x="6205295" y="765780"/>
                    </a:lnTo>
                    <a:lnTo>
                      <a:pt x="6173159" y="742652"/>
                    </a:lnTo>
                    <a:lnTo>
                      <a:pt x="6150387" y="712744"/>
                    </a:lnTo>
                    <a:lnTo>
                      <a:pt x="6129125" y="680092"/>
                    </a:lnTo>
                    <a:lnTo>
                      <a:pt x="6103953" y="650601"/>
                    </a:lnTo>
                    <a:lnTo>
                      <a:pt x="6084239" y="639284"/>
                    </a:lnTo>
                    <a:lnTo>
                      <a:pt x="6064527" y="627973"/>
                    </a:lnTo>
                    <a:lnTo>
                      <a:pt x="6039282" y="619782"/>
                    </a:lnTo>
                    <a:lnTo>
                      <a:pt x="6003987" y="617521"/>
                    </a:lnTo>
                    <a:lnTo>
                      <a:pt x="5974066" y="620237"/>
                    </a:lnTo>
                    <a:lnTo>
                      <a:pt x="5948220" y="631118"/>
                    </a:lnTo>
                    <a:lnTo>
                      <a:pt x="5925099" y="650165"/>
                    </a:lnTo>
                    <a:lnTo>
                      <a:pt x="5906052" y="673286"/>
                    </a:lnTo>
                    <a:lnTo>
                      <a:pt x="5904694" y="700491"/>
                    </a:lnTo>
                    <a:lnTo>
                      <a:pt x="5906151" y="722564"/>
                    </a:lnTo>
                    <a:lnTo>
                      <a:pt x="5911394" y="743707"/>
                    </a:lnTo>
                    <a:lnTo>
                      <a:pt x="5927354" y="767251"/>
                    </a:lnTo>
                    <a:lnTo>
                      <a:pt x="5986411" y="769869"/>
                    </a:lnTo>
                    <a:lnTo>
                      <a:pt x="6012513" y="768023"/>
                    </a:lnTo>
                    <a:lnTo>
                      <a:pt x="6049860" y="768966"/>
                    </a:lnTo>
                    <a:lnTo>
                      <a:pt x="6071993" y="776669"/>
                    </a:lnTo>
                    <a:lnTo>
                      <a:pt x="6090710" y="791045"/>
                    </a:lnTo>
                    <a:lnTo>
                      <a:pt x="6118566" y="816693"/>
                    </a:lnTo>
                    <a:lnTo>
                      <a:pt x="6137151" y="833576"/>
                    </a:lnTo>
                    <a:lnTo>
                      <a:pt x="6167211" y="856915"/>
                    </a:lnTo>
                    <a:lnTo>
                      <a:pt x="6198490" y="878038"/>
                    </a:lnTo>
                    <a:lnTo>
                      <a:pt x="6216177" y="893642"/>
                    </a:lnTo>
                    <a:lnTo>
                      <a:pt x="6233866" y="909245"/>
                    </a:lnTo>
                    <a:lnTo>
                      <a:pt x="6248756" y="927698"/>
                    </a:lnTo>
                    <a:lnTo>
                      <a:pt x="6249786" y="953912"/>
                    </a:lnTo>
                    <a:lnTo>
                      <a:pt x="6235218" y="969814"/>
                    </a:lnTo>
                    <a:lnTo>
                      <a:pt x="6213507" y="987039"/>
                    </a:lnTo>
                    <a:lnTo>
                      <a:pt x="6186045" y="993845"/>
                    </a:lnTo>
                    <a:lnTo>
                      <a:pt x="6157258" y="989360"/>
                    </a:lnTo>
                    <a:lnTo>
                      <a:pt x="6136352" y="985628"/>
                    </a:lnTo>
                    <a:lnTo>
                      <a:pt x="6111444" y="984777"/>
                    </a:lnTo>
                    <a:lnTo>
                      <a:pt x="6076438" y="994597"/>
                    </a:lnTo>
                    <a:lnTo>
                      <a:pt x="6055670" y="990217"/>
                    </a:lnTo>
                    <a:lnTo>
                      <a:pt x="6033518" y="985541"/>
                    </a:lnTo>
                    <a:lnTo>
                      <a:pt x="6018792" y="968851"/>
                    </a:lnTo>
                    <a:lnTo>
                      <a:pt x="6003987" y="950767"/>
                    </a:lnTo>
                    <a:lnTo>
                      <a:pt x="5989181" y="932690"/>
                    </a:lnTo>
                    <a:lnTo>
                      <a:pt x="5974488" y="912425"/>
                    </a:lnTo>
                    <a:lnTo>
                      <a:pt x="5953655" y="901799"/>
                    </a:lnTo>
                    <a:lnTo>
                      <a:pt x="5920356" y="900020"/>
                    </a:lnTo>
                    <a:lnTo>
                      <a:pt x="5890324" y="912326"/>
                    </a:lnTo>
                    <a:lnTo>
                      <a:pt x="5874767" y="927646"/>
                    </a:lnTo>
                    <a:lnTo>
                      <a:pt x="5867967" y="953485"/>
                    </a:lnTo>
                    <a:lnTo>
                      <a:pt x="5877483" y="982047"/>
                    </a:lnTo>
                    <a:lnTo>
                      <a:pt x="5889335" y="1003559"/>
                    </a:lnTo>
                    <a:lnTo>
                      <a:pt x="5900050" y="1024010"/>
                    </a:lnTo>
                    <a:lnTo>
                      <a:pt x="5910127" y="1043260"/>
                    </a:lnTo>
                    <a:lnTo>
                      <a:pt x="5922375" y="1070465"/>
                    </a:lnTo>
                    <a:lnTo>
                      <a:pt x="5934614" y="1099028"/>
                    </a:lnTo>
                    <a:lnTo>
                      <a:pt x="5938690" y="1119662"/>
                    </a:lnTo>
                    <a:lnTo>
                      <a:pt x="5942535" y="1149629"/>
                    </a:lnTo>
                    <a:lnTo>
                      <a:pt x="5922375" y="1176556"/>
                    </a:lnTo>
                    <a:lnTo>
                      <a:pt x="5891563" y="1195721"/>
                    </a:lnTo>
                    <a:lnTo>
                      <a:pt x="5870683" y="1199685"/>
                    </a:lnTo>
                    <a:lnTo>
                      <a:pt x="5849812" y="1203649"/>
                    </a:lnTo>
                    <a:lnTo>
                      <a:pt x="5826385" y="1204638"/>
                    </a:lnTo>
                    <a:lnTo>
                      <a:pt x="5805394" y="1201043"/>
                    </a:lnTo>
                    <a:lnTo>
                      <a:pt x="5784409" y="1197449"/>
                    </a:lnTo>
                    <a:lnTo>
                      <a:pt x="5752351" y="1177916"/>
                    </a:lnTo>
                    <a:lnTo>
                      <a:pt x="5734862" y="1163465"/>
                    </a:lnTo>
                    <a:lnTo>
                      <a:pt x="5708819" y="1134390"/>
                    </a:lnTo>
                    <a:lnTo>
                      <a:pt x="5689206" y="1104165"/>
                    </a:lnTo>
                    <a:lnTo>
                      <a:pt x="5674030" y="1072127"/>
                    </a:lnTo>
                    <a:lnTo>
                      <a:pt x="5661217" y="1037820"/>
                    </a:lnTo>
                    <a:lnTo>
                      <a:pt x="5648449" y="1002682"/>
                    </a:lnTo>
                    <a:lnTo>
                      <a:pt x="5633471" y="964899"/>
                    </a:lnTo>
                    <a:lnTo>
                      <a:pt x="5620322" y="940564"/>
                    </a:lnTo>
                    <a:lnTo>
                      <a:pt x="5602726" y="915398"/>
                    </a:lnTo>
                    <a:lnTo>
                      <a:pt x="5585132" y="890233"/>
                    </a:lnTo>
                    <a:lnTo>
                      <a:pt x="5563559" y="863707"/>
                    </a:lnTo>
                    <a:lnTo>
                      <a:pt x="5540161" y="839228"/>
                    </a:lnTo>
                    <a:lnTo>
                      <a:pt x="5516754" y="814747"/>
                    </a:lnTo>
                    <a:lnTo>
                      <a:pt x="5491477" y="791770"/>
                    </a:lnTo>
                    <a:lnTo>
                      <a:pt x="5466706" y="775297"/>
                    </a:lnTo>
                    <a:lnTo>
                      <a:pt x="5441936" y="758830"/>
                    </a:lnTo>
                    <a:lnTo>
                      <a:pt x="5417666" y="749213"/>
                    </a:lnTo>
                    <a:lnTo>
                      <a:pt x="5395976" y="748092"/>
                    </a:lnTo>
                    <a:lnTo>
                      <a:pt x="5374859" y="748423"/>
                    </a:lnTo>
                    <a:lnTo>
                      <a:pt x="5344673" y="756521"/>
                    </a:lnTo>
                    <a:lnTo>
                      <a:pt x="5324864" y="764144"/>
                    </a:lnTo>
                    <a:lnTo>
                      <a:pt x="5304842" y="772573"/>
                    </a:lnTo>
                    <a:lnTo>
                      <a:pt x="5276279" y="780737"/>
                    </a:lnTo>
                    <a:lnTo>
                      <a:pt x="5243621" y="784944"/>
                    </a:lnTo>
                    <a:lnTo>
                      <a:pt x="5216443" y="784748"/>
                    </a:lnTo>
                    <a:lnTo>
                      <a:pt x="5191949" y="783455"/>
                    </a:lnTo>
                    <a:lnTo>
                      <a:pt x="5169112" y="786588"/>
                    </a:lnTo>
                    <a:lnTo>
                      <a:pt x="5144050" y="796644"/>
                    </a:lnTo>
                    <a:lnTo>
                      <a:pt x="5114413" y="818817"/>
                    </a:lnTo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93" name="Ternopil¬0" descr="Ternopil¬0">
                <a:extLst>
                  <a:ext uri="{FF2B5EF4-FFF2-40B4-BE49-F238E27FC236}">
                    <a16:creationId xmlns:a16="http://schemas.microsoft.com/office/drawing/2014/main" id="{FB883C80-6912-438B-82E3-1FE9716FE865}"/>
                  </a:ext>
                </a:extLst>
              </p:cNvPr>
              <p:cNvSpPr/>
              <p:nvPr/>
            </p:nvSpPr>
            <p:spPr>
              <a:xfrm>
                <a:off x="8969601" y="11097951"/>
                <a:ext cx="5867864" cy="9283709"/>
              </a:xfrm>
              <a:custGeom>
                <a:avLst/>
                <a:gdLst/>
                <a:ahLst/>
                <a:cxnLst/>
                <a:rect l="0" t="0" r="0" b="0"/>
                <a:pathLst>
                  <a:path w="5867863" h="9283712">
                    <a:moveTo>
                      <a:pt x="4391725" y="0"/>
                    </a:moveTo>
                    <a:lnTo>
                      <a:pt x="4367126" y="4689"/>
                    </a:lnTo>
                    <a:lnTo>
                      <a:pt x="4341597" y="17589"/>
                    </a:lnTo>
                    <a:lnTo>
                      <a:pt x="4316069" y="30489"/>
                    </a:lnTo>
                    <a:lnTo>
                      <a:pt x="4290256" y="51605"/>
                    </a:lnTo>
                    <a:lnTo>
                      <a:pt x="4265425" y="74714"/>
                    </a:lnTo>
                    <a:lnTo>
                      <a:pt x="4215773" y="120931"/>
                    </a:lnTo>
                    <a:lnTo>
                      <a:pt x="4171033" y="175946"/>
                    </a:lnTo>
                    <a:lnTo>
                      <a:pt x="4149811" y="198493"/>
                    </a:lnTo>
                    <a:lnTo>
                      <a:pt x="4083407" y="269026"/>
                    </a:lnTo>
                    <a:lnTo>
                      <a:pt x="4018347" y="324469"/>
                    </a:lnTo>
                    <a:lnTo>
                      <a:pt x="3953942" y="399803"/>
                    </a:lnTo>
                    <a:lnTo>
                      <a:pt x="3924331" y="434433"/>
                    </a:lnTo>
                    <a:lnTo>
                      <a:pt x="3885955" y="457554"/>
                    </a:lnTo>
                    <a:lnTo>
                      <a:pt x="3843761" y="471892"/>
                    </a:lnTo>
                    <a:lnTo>
                      <a:pt x="3801573" y="486236"/>
                    </a:lnTo>
                    <a:lnTo>
                      <a:pt x="3755811" y="492296"/>
                    </a:lnTo>
                    <a:lnTo>
                      <a:pt x="3711823" y="492296"/>
                    </a:lnTo>
                    <a:lnTo>
                      <a:pt x="3678354" y="488043"/>
                    </a:lnTo>
                    <a:lnTo>
                      <a:pt x="3625654" y="488617"/>
                    </a:lnTo>
                    <a:lnTo>
                      <a:pt x="3562145" y="489448"/>
                    </a:lnTo>
                    <a:lnTo>
                      <a:pt x="3500998" y="495020"/>
                    </a:lnTo>
                    <a:lnTo>
                      <a:pt x="3439843" y="500600"/>
                    </a:lnTo>
                    <a:lnTo>
                      <a:pt x="3381241" y="510716"/>
                    </a:lnTo>
                    <a:lnTo>
                      <a:pt x="3354089" y="530388"/>
                    </a:lnTo>
                    <a:lnTo>
                      <a:pt x="3323931" y="557560"/>
                    </a:lnTo>
                    <a:lnTo>
                      <a:pt x="3310570" y="573915"/>
                    </a:lnTo>
                    <a:lnTo>
                      <a:pt x="3297201" y="590264"/>
                    </a:lnTo>
                    <a:lnTo>
                      <a:pt x="3284850" y="607853"/>
                    </a:lnTo>
                    <a:lnTo>
                      <a:pt x="3270189" y="625665"/>
                    </a:lnTo>
                    <a:lnTo>
                      <a:pt x="3246229" y="634192"/>
                    </a:lnTo>
                    <a:lnTo>
                      <a:pt x="3216711" y="626958"/>
                    </a:lnTo>
                    <a:lnTo>
                      <a:pt x="3187852" y="580886"/>
                    </a:lnTo>
                    <a:lnTo>
                      <a:pt x="3173184" y="550786"/>
                    </a:lnTo>
                    <a:lnTo>
                      <a:pt x="3128616" y="570195"/>
                    </a:lnTo>
                    <a:lnTo>
                      <a:pt x="3103179" y="597656"/>
                    </a:lnTo>
                    <a:lnTo>
                      <a:pt x="3077974" y="622876"/>
                    </a:lnTo>
                    <a:lnTo>
                      <a:pt x="3052768" y="648101"/>
                    </a:lnTo>
                    <a:lnTo>
                      <a:pt x="3027306" y="671625"/>
                    </a:lnTo>
                    <a:lnTo>
                      <a:pt x="2997721" y="682724"/>
                    </a:lnTo>
                    <a:lnTo>
                      <a:pt x="2974599" y="677283"/>
                    </a:lnTo>
                    <a:lnTo>
                      <a:pt x="2960327" y="654122"/>
                    </a:lnTo>
                    <a:lnTo>
                      <a:pt x="2953509" y="621557"/>
                    </a:lnTo>
                    <a:lnTo>
                      <a:pt x="2937871" y="597036"/>
                    </a:lnTo>
                    <a:lnTo>
                      <a:pt x="2902326" y="603572"/>
                    </a:lnTo>
                    <a:lnTo>
                      <a:pt x="2879381" y="611994"/>
                    </a:lnTo>
                    <a:lnTo>
                      <a:pt x="2855456" y="619737"/>
                    </a:lnTo>
                    <a:lnTo>
                      <a:pt x="2832578" y="617864"/>
                    </a:lnTo>
                    <a:lnTo>
                      <a:pt x="2811375" y="599754"/>
                    </a:lnTo>
                    <a:lnTo>
                      <a:pt x="2804253" y="571613"/>
                    </a:lnTo>
                    <a:lnTo>
                      <a:pt x="2796411" y="546705"/>
                    </a:lnTo>
                    <a:lnTo>
                      <a:pt x="2660114" y="535526"/>
                    </a:lnTo>
                    <a:lnTo>
                      <a:pt x="2634546" y="534464"/>
                    </a:lnTo>
                    <a:lnTo>
                      <a:pt x="2608707" y="549428"/>
                    </a:lnTo>
                    <a:lnTo>
                      <a:pt x="2598544" y="568883"/>
                    </a:lnTo>
                    <a:lnTo>
                      <a:pt x="2583264" y="603282"/>
                    </a:lnTo>
                    <a:lnTo>
                      <a:pt x="2570331" y="642944"/>
                    </a:lnTo>
                    <a:lnTo>
                      <a:pt x="2566539" y="681366"/>
                    </a:lnTo>
                    <a:lnTo>
                      <a:pt x="2564943" y="720151"/>
                    </a:lnTo>
                    <a:lnTo>
                      <a:pt x="2573576" y="754121"/>
                    </a:lnTo>
                    <a:lnTo>
                      <a:pt x="2595102" y="780658"/>
                    </a:lnTo>
                    <a:lnTo>
                      <a:pt x="2615328" y="795418"/>
                    </a:lnTo>
                    <a:lnTo>
                      <a:pt x="2634717" y="809426"/>
                    </a:lnTo>
                    <a:lnTo>
                      <a:pt x="2653585" y="829626"/>
                    </a:lnTo>
                    <a:lnTo>
                      <a:pt x="2660385" y="860912"/>
                    </a:lnTo>
                    <a:lnTo>
                      <a:pt x="2641846" y="881244"/>
                    </a:lnTo>
                    <a:lnTo>
                      <a:pt x="2630141" y="900534"/>
                    </a:lnTo>
                    <a:lnTo>
                      <a:pt x="2623664" y="922120"/>
                    </a:lnTo>
                    <a:lnTo>
                      <a:pt x="2617188" y="943711"/>
                    </a:lnTo>
                    <a:lnTo>
                      <a:pt x="2615849" y="966615"/>
                    </a:lnTo>
                    <a:lnTo>
                      <a:pt x="2615500" y="994214"/>
                    </a:lnTo>
                    <a:lnTo>
                      <a:pt x="2582677" y="1010306"/>
                    </a:lnTo>
                    <a:lnTo>
                      <a:pt x="2559733" y="1013254"/>
                    </a:lnTo>
                    <a:lnTo>
                      <a:pt x="2536790" y="1016202"/>
                    </a:lnTo>
                    <a:lnTo>
                      <a:pt x="2512732" y="1017535"/>
                    </a:lnTo>
                    <a:lnTo>
                      <a:pt x="2475404" y="1044541"/>
                    </a:lnTo>
                    <a:lnTo>
                      <a:pt x="2465848" y="1083879"/>
                    </a:lnTo>
                    <a:lnTo>
                      <a:pt x="2467834" y="1106618"/>
                    </a:lnTo>
                    <a:lnTo>
                      <a:pt x="2474277" y="1137344"/>
                    </a:lnTo>
                    <a:lnTo>
                      <a:pt x="2477390" y="1163037"/>
                    </a:lnTo>
                    <a:lnTo>
                      <a:pt x="2476196" y="1188731"/>
                    </a:lnTo>
                    <a:lnTo>
                      <a:pt x="2472681" y="1214564"/>
                    </a:lnTo>
                    <a:lnTo>
                      <a:pt x="2469165" y="1240396"/>
                    </a:lnTo>
                    <a:lnTo>
                      <a:pt x="2463929" y="1266604"/>
                    </a:lnTo>
                    <a:lnTo>
                      <a:pt x="2441460" y="1258387"/>
                    </a:lnTo>
                    <a:lnTo>
                      <a:pt x="2429385" y="1238641"/>
                    </a:lnTo>
                    <a:lnTo>
                      <a:pt x="2408578" y="1215540"/>
                    </a:lnTo>
                    <a:lnTo>
                      <a:pt x="2351624" y="1208061"/>
                    </a:lnTo>
                    <a:lnTo>
                      <a:pt x="2321697" y="1218646"/>
                    </a:lnTo>
                    <a:lnTo>
                      <a:pt x="2313658" y="1258855"/>
                    </a:lnTo>
                    <a:lnTo>
                      <a:pt x="2310815" y="1279854"/>
                    </a:lnTo>
                    <a:lnTo>
                      <a:pt x="2307973" y="1300852"/>
                    </a:lnTo>
                    <a:lnTo>
                      <a:pt x="2306647" y="1321922"/>
                    </a:lnTo>
                    <a:lnTo>
                      <a:pt x="2300283" y="1359573"/>
                    </a:lnTo>
                    <a:lnTo>
                      <a:pt x="2310815" y="1395468"/>
                    </a:lnTo>
                    <a:lnTo>
                      <a:pt x="2319012" y="1419382"/>
                    </a:lnTo>
                    <a:lnTo>
                      <a:pt x="2338019" y="1448518"/>
                    </a:lnTo>
                    <a:lnTo>
                      <a:pt x="2360204" y="1470037"/>
                    </a:lnTo>
                    <a:lnTo>
                      <a:pt x="2383847" y="1484130"/>
                    </a:lnTo>
                    <a:lnTo>
                      <a:pt x="2408750" y="1497485"/>
                    </a:lnTo>
                    <a:lnTo>
                      <a:pt x="2435063" y="1513563"/>
                    </a:lnTo>
                    <a:lnTo>
                      <a:pt x="2464542" y="1544645"/>
                    </a:lnTo>
                    <a:lnTo>
                      <a:pt x="2459418" y="1575291"/>
                    </a:lnTo>
                    <a:lnTo>
                      <a:pt x="2475397" y="1594061"/>
                    </a:lnTo>
                    <a:lnTo>
                      <a:pt x="2520289" y="1647110"/>
                    </a:lnTo>
                    <a:lnTo>
                      <a:pt x="2533888" y="1674315"/>
                    </a:lnTo>
                    <a:lnTo>
                      <a:pt x="2540001" y="1697416"/>
                    </a:lnTo>
                    <a:lnTo>
                      <a:pt x="2541386" y="1721943"/>
                    </a:lnTo>
                    <a:lnTo>
                      <a:pt x="2536618" y="1745044"/>
                    </a:lnTo>
                    <a:lnTo>
                      <a:pt x="2520295" y="1769524"/>
                    </a:lnTo>
                    <a:lnTo>
                      <a:pt x="2494450" y="1772242"/>
                    </a:lnTo>
                    <a:lnTo>
                      <a:pt x="2467246" y="1768166"/>
                    </a:lnTo>
                    <a:lnTo>
                      <a:pt x="2440042" y="1764091"/>
                    </a:lnTo>
                    <a:lnTo>
                      <a:pt x="2411480" y="1765449"/>
                    </a:lnTo>
                    <a:lnTo>
                      <a:pt x="2387586" y="1784581"/>
                    </a:lnTo>
                    <a:lnTo>
                      <a:pt x="2375135" y="1803205"/>
                    </a:lnTo>
                    <a:lnTo>
                      <a:pt x="2366206" y="1839226"/>
                    </a:lnTo>
                    <a:lnTo>
                      <a:pt x="2376111" y="1874265"/>
                    </a:lnTo>
                    <a:lnTo>
                      <a:pt x="2390561" y="1911863"/>
                    </a:lnTo>
                    <a:lnTo>
                      <a:pt x="2405188" y="1950924"/>
                    </a:lnTo>
                    <a:lnTo>
                      <a:pt x="2410115" y="1992604"/>
                    </a:lnTo>
                    <a:lnTo>
                      <a:pt x="2400328" y="2018852"/>
                    </a:lnTo>
                    <a:lnTo>
                      <a:pt x="2388952" y="2042733"/>
                    </a:lnTo>
                    <a:lnTo>
                      <a:pt x="2374753" y="2061976"/>
                    </a:lnTo>
                    <a:lnTo>
                      <a:pt x="2360554" y="2081212"/>
                    </a:lnTo>
                    <a:lnTo>
                      <a:pt x="2344568" y="2096830"/>
                    </a:lnTo>
                    <a:lnTo>
                      <a:pt x="2325786" y="2108219"/>
                    </a:lnTo>
                    <a:lnTo>
                      <a:pt x="2307003" y="2119609"/>
                    </a:lnTo>
                    <a:lnTo>
                      <a:pt x="2285398" y="2125926"/>
                    </a:lnTo>
                    <a:lnTo>
                      <a:pt x="2261855" y="2128623"/>
                    </a:lnTo>
                    <a:lnTo>
                      <a:pt x="2238317" y="2131321"/>
                    </a:lnTo>
                    <a:lnTo>
                      <a:pt x="2212795" y="2130036"/>
                    </a:lnTo>
                    <a:lnTo>
                      <a:pt x="2184325" y="2123184"/>
                    </a:lnTo>
                    <a:lnTo>
                      <a:pt x="2154674" y="2133998"/>
                    </a:lnTo>
                    <a:lnTo>
                      <a:pt x="2137910" y="2157569"/>
                    </a:lnTo>
                    <a:lnTo>
                      <a:pt x="2112236" y="2172150"/>
                    </a:lnTo>
                    <a:lnTo>
                      <a:pt x="2077975" y="2191618"/>
                    </a:lnTo>
                    <a:lnTo>
                      <a:pt x="2036955" y="2190319"/>
                    </a:lnTo>
                    <a:lnTo>
                      <a:pt x="2002055" y="2203436"/>
                    </a:lnTo>
                    <a:lnTo>
                      <a:pt x="1958746" y="2219674"/>
                    </a:lnTo>
                    <a:lnTo>
                      <a:pt x="1921828" y="2254335"/>
                    </a:lnTo>
                    <a:lnTo>
                      <a:pt x="1879641" y="2274167"/>
                    </a:lnTo>
                    <a:lnTo>
                      <a:pt x="1859618" y="2283578"/>
                    </a:lnTo>
                    <a:lnTo>
                      <a:pt x="1692292" y="2303217"/>
                    </a:lnTo>
                    <a:lnTo>
                      <a:pt x="1656568" y="2309529"/>
                    </a:lnTo>
                    <a:lnTo>
                      <a:pt x="1616465" y="2316604"/>
                    </a:lnTo>
                    <a:lnTo>
                      <a:pt x="1574850" y="2344344"/>
                    </a:lnTo>
                    <a:lnTo>
                      <a:pt x="1550469" y="2347615"/>
                    </a:lnTo>
                    <a:lnTo>
                      <a:pt x="1334967" y="2369911"/>
                    </a:lnTo>
                    <a:lnTo>
                      <a:pt x="1319087" y="2387059"/>
                    </a:lnTo>
                    <a:lnTo>
                      <a:pt x="1285427" y="2553303"/>
                    </a:lnTo>
                    <a:lnTo>
                      <a:pt x="1294283" y="2589792"/>
                    </a:lnTo>
                    <a:lnTo>
                      <a:pt x="1309293" y="2617570"/>
                    </a:lnTo>
                    <a:lnTo>
                      <a:pt x="1317880" y="2637335"/>
                    </a:lnTo>
                    <a:lnTo>
                      <a:pt x="1350465" y="2681422"/>
                    </a:lnTo>
                    <a:lnTo>
                      <a:pt x="1370428" y="2704333"/>
                    </a:lnTo>
                    <a:lnTo>
                      <a:pt x="1383169" y="2729829"/>
                    </a:lnTo>
                    <a:lnTo>
                      <a:pt x="1395904" y="2755331"/>
                    </a:lnTo>
                    <a:lnTo>
                      <a:pt x="1402084" y="2782100"/>
                    </a:lnTo>
                    <a:lnTo>
                      <a:pt x="1394051" y="2820964"/>
                    </a:lnTo>
                    <a:lnTo>
                      <a:pt x="1389131" y="2844764"/>
                    </a:lnTo>
                    <a:lnTo>
                      <a:pt x="1366847" y="2871290"/>
                    </a:lnTo>
                    <a:lnTo>
                      <a:pt x="1338330" y="2891120"/>
                    </a:lnTo>
                    <a:lnTo>
                      <a:pt x="1317880" y="2901217"/>
                    </a:lnTo>
                    <a:lnTo>
                      <a:pt x="1285433" y="2917236"/>
                    </a:lnTo>
                    <a:lnTo>
                      <a:pt x="1262555" y="2927029"/>
                    </a:lnTo>
                    <a:lnTo>
                      <a:pt x="1238985" y="2931137"/>
                    </a:lnTo>
                    <a:lnTo>
                      <a:pt x="1215422" y="2935253"/>
                    </a:lnTo>
                    <a:lnTo>
                      <a:pt x="1191146" y="2933241"/>
                    </a:lnTo>
                    <a:lnTo>
                      <a:pt x="1154656" y="2927062"/>
                    </a:lnTo>
                    <a:lnTo>
                      <a:pt x="1137760" y="2891634"/>
                    </a:lnTo>
                    <a:lnTo>
                      <a:pt x="1114242" y="2873465"/>
                    </a:lnTo>
                    <a:lnTo>
                      <a:pt x="1095078" y="2885923"/>
                    </a:lnTo>
                    <a:lnTo>
                      <a:pt x="1077120" y="2908022"/>
                    </a:lnTo>
                    <a:lnTo>
                      <a:pt x="1059168" y="2930116"/>
                    </a:lnTo>
                    <a:lnTo>
                      <a:pt x="1042015" y="2962087"/>
                    </a:lnTo>
                    <a:lnTo>
                      <a:pt x="1026794" y="2996434"/>
                    </a:lnTo>
                    <a:lnTo>
                      <a:pt x="996352" y="3065126"/>
                    </a:lnTo>
                    <a:lnTo>
                      <a:pt x="971450" y="3143757"/>
                    </a:lnTo>
                    <a:lnTo>
                      <a:pt x="956064" y="3174622"/>
                    </a:lnTo>
                    <a:lnTo>
                      <a:pt x="936918" y="3213024"/>
                    </a:lnTo>
                    <a:lnTo>
                      <a:pt x="915195" y="3251070"/>
                    </a:lnTo>
                    <a:lnTo>
                      <a:pt x="894857" y="3288878"/>
                    </a:lnTo>
                    <a:lnTo>
                      <a:pt x="883229" y="3310471"/>
                    </a:lnTo>
                    <a:lnTo>
                      <a:pt x="874867" y="3332313"/>
                    </a:lnTo>
                    <a:lnTo>
                      <a:pt x="859488" y="3352809"/>
                    </a:lnTo>
                    <a:lnTo>
                      <a:pt x="833880" y="3386945"/>
                    </a:lnTo>
                    <a:lnTo>
                      <a:pt x="796336" y="3412875"/>
                    </a:lnTo>
                    <a:lnTo>
                      <a:pt x="756113" y="3434421"/>
                    </a:lnTo>
                    <a:lnTo>
                      <a:pt x="715891" y="3455960"/>
                    </a:lnTo>
                    <a:lnTo>
                      <a:pt x="674171" y="3473186"/>
                    </a:lnTo>
                    <a:lnTo>
                      <a:pt x="637781" y="3491546"/>
                    </a:lnTo>
                    <a:lnTo>
                      <a:pt x="600902" y="3510158"/>
                    </a:lnTo>
                    <a:lnTo>
                      <a:pt x="564689" y="3533285"/>
                    </a:lnTo>
                    <a:lnTo>
                      <a:pt x="527599" y="3551396"/>
                    </a:lnTo>
                    <a:lnTo>
                      <a:pt x="463484" y="3582721"/>
                    </a:lnTo>
                    <a:lnTo>
                      <a:pt x="389456" y="3602658"/>
                    </a:lnTo>
                    <a:lnTo>
                      <a:pt x="329014" y="3641171"/>
                    </a:lnTo>
                    <a:lnTo>
                      <a:pt x="304468" y="3656814"/>
                    </a:lnTo>
                    <a:lnTo>
                      <a:pt x="263216" y="3704357"/>
                    </a:lnTo>
                    <a:lnTo>
                      <a:pt x="246044" y="3729583"/>
                    </a:lnTo>
                    <a:lnTo>
                      <a:pt x="203190" y="3728989"/>
                    </a:lnTo>
                    <a:lnTo>
                      <a:pt x="171231" y="3718702"/>
                    </a:lnTo>
                    <a:lnTo>
                      <a:pt x="139100" y="3708084"/>
                    </a:lnTo>
                    <a:lnTo>
                      <a:pt x="102710" y="3704833"/>
                    </a:lnTo>
                    <a:lnTo>
                      <a:pt x="63773" y="3714620"/>
                    </a:lnTo>
                    <a:lnTo>
                      <a:pt x="54633" y="3734510"/>
                    </a:lnTo>
                    <a:lnTo>
                      <a:pt x="63773" y="3755574"/>
                    </a:lnTo>
                    <a:lnTo>
                      <a:pt x="63773" y="3821714"/>
                    </a:lnTo>
                    <a:lnTo>
                      <a:pt x="50109" y="3864476"/>
                    </a:lnTo>
                    <a:lnTo>
                      <a:pt x="44734" y="3909129"/>
                    </a:lnTo>
                    <a:lnTo>
                      <a:pt x="48216" y="3938694"/>
                    </a:lnTo>
                    <a:lnTo>
                      <a:pt x="46989" y="3960754"/>
                    </a:lnTo>
                    <a:lnTo>
                      <a:pt x="42010" y="3983941"/>
                    </a:lnTo>
                    <a:lnTo>
                      <a:pt x="35844" y="4011442"/>
                    </a:lnTo>
                    <a:lnTo>
                      <a:pt x="26420" y="4038046"/>
                    </a:lnTo>
                    <a:lnTo>
                      <a:pt x="14806" y="4060113"/>
                    </a:lnTo>
                    <a:lnTo>
                      <a:pt x="0" y="4078289"/>
                    </a:lnTo>
                    <a:lnTo>
                      <a:pt x="26262" y="4127222"/>
                    </a:lnTo>
                    <a:lnTo>
                      <a:pt x="48763" y="4160112"/>
                    </a:lnTo>
                    <a:lnTo>
                      <a:pt x="71931" y="4192043"/>
                    </a:lnTo>
                    <a:lnTo>
                      <a:pt x="95105" y="4223982"/>
                    </a:lnTo>
                    <a:lnTo>
                      <a:pt x="118861" y="4255216"/>
                    </a:lnTo>
                    <a:lnTo>
                      <a:pt x="145385" y="4287261"/>
                    </a:lnTo>
                    <a:lnTo>
                      <a:pt x="173427" y="4321133"/>
                    </a:lnTo>
                    <a:lnTo>
                      <a:pt x="189690" y="4346800"/>
                    </a:lnTo>
                    <a:lnTo>
                      <a:pt x="203869" y="4374314"/>
                    </a:lnTo>
                    <a:lnTo>
                      <a:pt x="218048" y="4401821"/>
                    </a:lnTo>
                    <a:lnTo>
                      <a:pt x="230737" y="4430951"/>
                    </a:lnTo>
                    <a:lnTo>
                      <a:pt x="250119" y="4469524"/>
                    </a:lnTo>
                    <a:lnTo>
                      <a:pt x="276156" y="4521347"/>
                    </a:lnTo>
                    <a:lnTo>
                      <a:pt x="307903" y="4571053"/>
                    </a:lnTo>
                    <a:lnTo>
                      <a:pt x="333089" y="4623225"/>
                    </a:lnTo>
                    <a:lnTo>
                      <a:pt x="347671" y="4653449"/>
                    </a:lnTo>
                    <a:lnTo>
                      <a:pt x="359020" y="4694192"/>
                    </a:lnTo>
                    <a:lnTo>
                      <a:pt x="369817" y="4726600"/>
                    </a:lnTo>
                    <a:lnTo>
                      <a:pt x="382142" y="4763585"/>
                    </a:lnTo>
                    <a:lnTo>
                      <a:pt x="394765" y="4810488"/>
                    </a:lnTo>
                    <a:lnTo>
                      <a:pt x="416060" y="4843580"/>
                    </a:lnTo>
                    <a:lnTo>
                      <a:pt x="442439" y="4866446"/>
                    </a:lnTo>
                    <a:lnTo>
                      <a:pt x="441905" y="4888466"/>
                    </a:lnTo>
                    <a:lnTo>
                      <a:pt x="429322" y="4924236"/>
                    </a:lnTo>
                    <a:lnTo>
                      <a:pt x="417425" y="4944231"/>
                    </a:lnTo>
                    <a:lnTo>
                      <a:pt x="405521" y="4964227"/>
                    </a:lnTo>
                    <a:lnTo>
                      <a:pt x="394706" y="4988450"/>
                    </a:lnTo>
                    <a:lnTo>
                      <a:pt x="397020" y="5020404"/>
                    </a:lnTo>
                    <a:lnTo>
                      <a:pt x="403997" y="5047521"/>
                    </a:lnTo>
                    <a:lnTo>
                      <a:pt x="417247" y="5077620"/>
                    </a:lnTo>
                    <a:lnTo>
                      <a:pt x="426942" y="5107456"/>
                    </a:lnTo>
                    <a:lnTo>
                      <a:pt x="431723" y="5138570"/>
                    </a:lnTo>
                    <a:lnTo>
                      <a:pt x="435765" y="5174283"/>
                    </a:lnTo>
                    <a:lnTo>
                      <a:pt x="439188" y="5212197"/>
                    </a:lnTo>
                    <a:lnTo>
                      <a:pt x="443673" y="5248639"/>
                    </a:lnTo>
                    <a:lnTo>
                      <a:pt x="448303" y="5281839"/>
                    </a:lnTo>
                    <a:lnTo>
                      <a:pt x="454146" y="5308766"/>
                    </a:lnTo>
                    <a:lnTo>
                      <a:pt x="471833" y="5331893"/>
                    </a:lnTo>
                    <a:lnTo>
                      <a:pt x="500395" y="5340052"/>
                    </a:lnTo>
                    <a:lnTo>
                      <a:pt x="521414" y="5342122"/>
                    </a:lnTo>
                    <a:lnTo>
                      <a:pt x="551454" y="5350399"/>
                    </a:lnTo>
                    <a:lnTo>
                      <a:pt x="569939" y="5370771"/>
                    </a:lnTo>
                    <a:lnTo>
                      <a:pt x="580471" y="5399095"/>
                    </a:lnTo>
                    <a:lnTo>
                      <a:pt x="590165" y="5433904"/>
                    </a:lnTo>
                    <a:lnTo>
                      <a:pt x="598145" y="5470433"/>
                    </a:lnTo>
                    <a:lnTo>
                      <a:pt x="603955" y="5500743"/>
                    </a:lnTo>
                    <a:lnTo>
                      <a:pt x="611480" y="5563718"/>
                    </a:lnTo>
                    <a:lnTo>
                      <a:pt x="605743" y="5595142"/>
                    </a:lnTo>
                    <a:lnTo>
                      <a:pt x="594248" y="5620249"/>
                    </a:lnTo>
                    <a:lnTo>
                      <a:pt x="582752" y="5645350"/>
                    </a:lnTo>
                    <a:lnTo>
                      <a:pt x="566246" y="5663967"/>
                    </a:lnTo>
                    <a:lnTo>
                      <a:pt x="549363" y="5678740"/>
                    </a:lnTo>
                    <a:lnTo>
                      <a:pt x="532480" y="5693505"/>
                    </a:lnTo>
                    <a:lnTo>
                      <a:pt x="504477" y="5718184"/>
                    </a:lnTo>
                    <a:lnTo>
                      <a:pt x="487991" y="5745618"/>
                    </a:lnTo>
                    <a:lnTo>
                      <a:pt x="499703" y="5787786"/>
                    </a:lnTo>
                    <a:lnTo>
                      <a:pt x="511053" y="5812372"/>
                    </a:lnTo>
                    <a:lnTo>
                      <a:pt x="519435" y="5833799"/>
                    </a:lnTo>
                    <a:lnTo>
                      <a:pt x="528213" y="5856229"/>
                    </a:lnTo>
                    <a:lnTo>
                      <a:pt x="528958" y="5892288"/>
                    </a:lnTo>
                    <a:lnTo>
                      <a:pt x="525159" y="5926854"/>
                    </a:lnTo>
                    <a:lnTo>
                      <a:pt x="519158" y="5961100"/>
                    </a:lnTo>
                    <a:lnTo>
                      <a:pt x="519442" y="5999747"/>
                    </a:lnTo>
                    <a:lnTo>
                      <a:pt x="528358" y="6042659"/>
                    </a:lnTo>
                    <a:lnTo>
                      <a:pt x="543921" y="6070470"/>
                    </a:lnTo>
                    <a:lnTo>
                      <a:pt x="556030" y="6088996"/>
                    </a:lnTo>
                    <a:lnTo>
                      <a:pt x="572010" y="6104249"/>
                    </a:lnTo>
                    <a:lnTo>
                      <a:pt x="593239" y="6102561"/>
                    </a:lnTo>
                    <a:lnTo>
                      <a:pt x="611593" y="6087352"/>
                    </a:lnTo>
                    <a:lnTo>
                      <a:pt x="633698" y="6066394"/>
                    </a:lnTo>
                    <a:lnTo>
                      <a:pt x="659089" y="6044381"/>
                    </a:lnTo>
                    <a:lnTo>
                      <a:pt x="684479" y="6025835"/>
                    </a:lnTo>
                    <a:lnTo>
                      <a:pt x="708511" y="6016068"/>
                    </a:lnTo>
                    <a:lnTo>
                      <a:pt x="736236" y="6023125"/>
                    </a:lnTo>
                    <a:lnTo>
                      <a:pt x="759443" y="6036935"/>
                    </a:lnTo>
                    <a:lnTo>
                      <a:pt x="780764" y="6050389"/>
                    </a:lnTo>
                    <a:lnTo>
                      <a:pt x="805509" y="6062213"/>
                    </a:lnTo>
                    <a:lnTo>
                      <a:pt x="829567" y="6065030"/>
                    </a:lnTo>
                    <a:lnTo>
                      <a:pt x="851079" y="6064766"/>
                    </a:lnTo>
                    <a:lnTo>
                      <a:pt x="873344" y="6065293"/>
                    </a:lnTo>
                    <a:lnTo>
                      <a:pt x="896215" y="6070470"/>
                    </a:lnTo>
                    <a:lnTo>
                      <a:pt x="920056" y="6081120"/>
                    </a:lnTo>
                    <a:lnTo>
                      <a:pt x="938541" y="6096539"/>
                    </a:lnTo>
                    <a:lnTo>
                      <a:pt x="950221" y="6118554"/>
                    </a:lnTo>
                    <a:lnTo>
                      <a:pt x="958781" y="6138476"/>
                    </a:lnTo>
                    <a:lnTo>
                      <a:pt x="963589" y="6161737"/>
                    </a:lnTo>
                    <a:lnTo>
                      <a:pt x="964881" y="6185954"/>
                    </a:lnTo>
                    <a:lnTo>
                      <a:pt x="964221" y="6210565"/>
                    </a:lnTo>
                    <a:lnTo>
                      <a:pt x="963390" y="6235224"/>
                    </a:lnTo>
                    <a:lnTo>
                      <a:pt x="965039" y="6259368"/>
                    </a:lnTo>
                    <a:lnTo>
                      <a:pt x="971021" y="6282661"/>
                    </a:lnTo>
                    <a:lnTo>
                      <a:pt x="982463" y="6303435"/>
                    </a:lnTo>
                    <a:lnTo>
                      <a:pt x="995508" y="6326187"/>
                    </a:lnTo>
                    <a:lnTo>
                      <a:pt x="996867" y="6349308"/>
                    </a:lnTo>
                    <a:lnTo>
                      <a:pt x="988735" y="6371112"/>
                    </a:lnTo>
                    <a:lnTo>
                      <a:pt x="973738" y="6392255"/>
                    </a:lnTo>
                    <a:lnTo>
                      <a:pt x="957416" y="6410517"/>
                    </a:lnTo>
                    <a:lnTo>
                      <a:pt x="930601" y="6419934"/>
                    </a:lnTo>
                    <a:lnTo>
                      <a:pt x="905692" y="6416762"/>
                    </a:lnTo>
                    <a:lnTo>
                      <a:pt x="881244" y="6409158"/>
                    </a:lnTo>
                    <a:lnTo>
                      <a:pt x="856804" y="6401574"/>
                    </a:lnTo>
                    <a:lnTo>
                      <a:pt x="832832" y="6389346"/>
                    </a:lnTo>
                    <a:lnTo>
                      <a:pt x="809156" y="6376513"/>
                    </a:lnTo>
                    <a:lnTo>
                      <a:pt x="785480" y="6363686"/>
                    </a:lnTo>
                    <a:lnTo>
                      <a:pt x="761567" y="6350180"/>
                    </a:lnTo>
                    <a:lnTo>
                      <a:pt x="737067" y="6343869"/>
                    </a:lnTo>
                    <a:lnTo>
                      <a:pt x="712560" y="6337557"/>
                    </a:lnTo>
                    <a:lnTo>
                      <a:pt x="687829" y="6337340"/>
                    </a:lnTo>
                    <a:lnTo>
                      <a:pt x="660896" y="6349308"/>
                    </a:lnTo>
                    <a:lnTo>
                      <a:pt x="644395" y="6389683"/>
                    </a:lnTo>
                    <a:lnTo>
                      <a:pt x="644573" y="6421405"/>
                    </a:lnTo>
                    <a:lnTo>
                      <a:pt x="654815" y="6450040"/>
                    </a:lnTo>
                    <a:lnTo>
                      <a:pt x="667695" y="6473089"/>
                    </a:lnTo>
                    <a:lnTo>
                      <a:pt x="683701" y="6504928"/>
                    </a:lnTo>
                    <a:lnTo>
                      <a:pt x="709863" y="6519338"/>
                    </a:lnTo>
                    <a:lnTo>
                      <a:pt x="770694" y="6534296"/>
                    </a:lnTo>
                    <a:lnTo>
                      <a:pt x="813238" y="6557424"/>
                    </a:lnTo>
                    <a:lnTo>
                      <a:pt x="834507" y="6568985"/>
                    </a:lnTo>
                    <a:lnTo>
                      <a:pt x="855195" y="6582406"/>
                    </a:lnTo>
                    <a:lnTo>
                      <a:pt x="885532" y="6608607"/>
                    </a:lnTo>
                    <a:lnTo>
                      <a:pt x="894850" y="6633595"/>
                    </a:lnTo>
                    <a:lnTo>
                      <a:pt x="896209" y="6677115"/>
                    </a:lnTo>
                    <a:lnTo>
                      <a:pt x="897567" y="6720649"/>
                    </a:lnTo>
                    <a:lnTo>
                      <a:pt x="900284" y="6743770"/>
                    </a:lnTo>
                    <a:lnTo>
                      <a:pt x="909807" y="6766892"/>
                    </a:lnTo>
                    <a:lnTo>
                      <a:pt x="922047" y="6788655"/>
                    </a:lnTo>
                    <a:lnTo>
                      <a:pt x="935646" y="6806336"/>
                    </a:lnTo>
                    <a:lnTo>
                      <a:pt x="956526" y="6830829"/>
                    </a:lnTo>
                    <a:lnTo>
                      <a:pt x="975400" y="6845977"/>
                    </a:lnTo>
                    <a:lnTo>
                      <a:pt x="1012872" y="6861911"/>
                    </a:lnTo>
                    <a:lnTo>
                      <a:pt x="1049903" y="6859386"/>
                    </a:lnTo>
                    <a:lnTo>
                      <a:pt x="1086867" y="6846109"/>
                    </a:lnTo>
                    <a:lnTo>
                      <a:pt x="1107034" y="6834905"/>
                    </a:lnTo>
                    <a:lnTo>
                      <a:pt x="1127195" y="6823693"/>
                    </a:lnTo>
                    <a:lnTo>
                      <a:pt x="1148602" y="6810682"/>
                    </a:lnTo>
                    <a:lnTo>
                      <a:pt x="1172323" y="6796813"/>
                    </a:lnTo>
                    <a:lnTo>
                      <a:pt x="1201869" y="6778084"/>
                    </a:lnTo>
                    <a:lnTo>
                      <a:pt x="1232173" y="6790013"/>
                    </a:lnTo>
                    <a:lnTo>
                      <a:pt x="1259865" y="6811849"/>
                    </a:lnTo>
                    <a:lnTo>
                      <a:pt x="1283369" y="6841632"/>
                    </a:lnTo>
                    <a:lnTo>
                      <a:pt x="1302903" y="6871625"/>
                    </a:lnTo>
                    <a:lnTo>
                      <a:pt x="1321896" y="6895618"/>
                    </a:lnTo>
                    <a:lnTo>
                      <a:pt x="1352648" y="6912738"/>
                    </a:lnTo>
                    <a:lnTo>
                      <a:pt x="1375671" y="6922782"/>
                    </a:lnTo>
                    <a:lnTo>
                      <a:pt x="1399479" y="6931475"/>
                    </a:lnTo>
                    <a:lnTo>
                      <a:pt x="1423279" y="6940167"/>
                    </a:lnTo>
                    <a:lnTo>
                      <a:pt x="1448578" y="6947757"/>
                    </a:lnTo>
                    <a:lnTo>
                      <a:pt x="1472926" y="6955961"/>
                    </a:lnTo>
                    <a:lnTo>
                      <a:pt x="1490772" y="6968835"/>
                    </a:lnTo>
                    <a:lnTo>
                      <a:pt x="1501324" y="6992049"/>
                    </a:lnTo>
                    <a:lnTo>
                      <a:pt x="1500124" y="7015810"/>
                    </a:lnTo>
                    <a:lnTo>
                      <a:pt x="1456597" y="7043013"/>
                    </a:lnTo>
                    <a:lnTo>
                      <a:pt x="1434834" y="7071576"/>
                    </a:lnTo>
                    <a:lnTo>
                      <a:pt x="1433476" y="7117820"/>
                    </a:lnTo>
                    <a:lnTo>
                      <a:pt x="1445887" y="7134974"/>
                    </a:lnTo>
                    <a:lnTo>
                      <a:pt x="1496087" y="7218669"/>
                    </a:lnTo>
                    <a:lnTo>
                      <a:pt x="1505333" y="7245972"/>
                    </a:lnTo>
                    <a:lnTo>
                      <a:pt x="1502056" y="7281591"/>
                    </a:lnTo>
                    <a:lnTo>
                      <a:pt x="1505564" y="7312330"/>
                    </a:lnTo>
                    <a:lnTo>
                      <a:pt x="1510708" y="7341499"/>
                    </a:lnTo>
                    <a:lnTo>
                      <a:pt x="1524914" y="7364772"/>
                    </a:lnTo>
                    <a:lnTo>
                      <a:pt x="1553173" y="7377619"/>
                    </a:lnTo>
                    <a:lnTo>
                      <a:pt x="1575411" y="7378477"/>
                    </a:lnTo>
                    <a:lnTo>
                      <a:pt x="1596225" y="7374052"/>
                    </a:lnTo>
                    <a:lnTo>
                      <a:pt x="1634178" y="7355692"/>
                    </a:lnTo>
                    <a:lnTo>
                      <a:pt x="1640384" y="7333506"/>
                    </a:lnTo>
                    <a:lnTo>
                      <a:pt x="1642949" y="7310978"/>
                    </a:lnTo>
                    <a:lnTo>
                      <a:pt x="1645509" y="7288443"/>
                    </a:lnTo>
                    <a:lnTo>
                      <a:pt x="1644182" y="7264952"/>
                    </a:lnTo>
                    <a:lnTo>
                      <a:pt x="1647025" y="7242964"/>
                    </a:lnTo>
                    <a:lnTo>
                      <a:pt x="1651153" y="7211106"/>
                    </a:lnTo>
                    <a:lnTo>
                      <a:pt x="1678311" y="7173593"/>
                    </a:lnTo>
                    <a:lnTo>
                      <a:pt x="1694416" y="7139761"/>
                    </a:lnTo>
                    <a:lnTo>
                      <a:pt x="1713673" y="7113744"/>
                    </a:lnTo>
                    <a:lnTo>
                      <a:pt x="1728234" y="7097936"/>
                    </a:lnTo>
                    <a:lnTo>
                      <a:pt x="1753341" y="7080210"/>
                    </a:lnTo>
                    <a:lnTo>
                      <a:pt x="1780321" y="7066142"/>
                    </a:lnTo>
                    <a:lnTo>
                      <a:pt x="1807301" y="7052075"/>
                    </a:lnTo>
                    <a:lnTo>
                      <a:pt x="1836450" y="7041603"/>
                    </a:lnTo>
                    <a:lnTo>
                      <a:pt x="1857858" y="7043021"/>
                    </a:lnTo>
                    <a:lnTo>
                      <a:pt x="1871522" y="7063933"/>
                    </a:lnTo>
                    <a:lnTo>
                      <a:pt x="1823980" y="7177148"/>
                    </a:lnTo>
                    <a:lnTo>
                      <a:pt x="1818406" y="7200804"/>
                    </a:lnTo>
                    <a:lnTo>
                      <a:pt x="1812076" y="7227751"/>
                    </a:lnTo>
                    <a:lnTo>
                      <a:pt x="1836114" y="7253167"/>
                    </a:lnTo>
                    <a:lnTo>
                      <a:pt x="1830647" y="7279692"/>
                    </a:lnTo>
                    <a:lnTo>
                      <a:pt x="1825470" y="7304858"/>
                    </a:lnTo>
                    <a:lnTo>
                      <a:pt x="1805942" y="7345747"/>
                    </a:lnTo>
                    <a:lnTo>
                      <a:pt x="1791203" y="7385785"/>
                    </a:lnTo>
                    <a:lnTo>
                      <a:pt x="1783837" y="7405807"/>
                    </a:lnTo>
                    <a:lnTo>
                      <a:pt x="1774880" y="7442916"/>
                    </a:lnTo>
                    <a:lnTo>
                      <a:pt x="1773561" y="7478047"/>
                    </a:lnTo>
                    <a:lnTo>
                      <a:pt x="1793927" y="7500048"/>
                    </a:lnTo>
                    <a:lnTo>
                      <a:pt x="1832830" y="7485631"/>
                    </a:lnTo>
                    <a:lnTo>
                      <a:pt x="1846040" y="7466143"/>
                    </a:lnTo>
                    <a:lnTo>
                      <a:pt x="1860574" y="7446992"/>
                    </a:lnTo>
                    <a:lnTo>
                      <a:pt x="1875110" y="7427840"/>
                    </a:lnTo>
                    <a:lnTo>
                      <a:pt x="1891155" y="7408945"/>
                    </a:lnTo>
                    <a:lnTo>
                      <a:pt x="1910900" y="7399389"/>
                    </a:lnTo>
                    <a:lnTo>
                      <a:pt x="1931371" y="7389478"/>
                    </a:lnTo>
                    <a:lnTo>
                      <a:pt x="1961226" y="7389867"/>
                    </a:lnTo>
                    <a:lnTo>
                      <a:pt x="1985456" y="7401361"/>
                    </a:lnTo>
                    <a:lnTo>
                      <a:pt x="2014790" y="7432166"/>
                    </a:lnTo>
                    <a:lnTo>
                      <a:pt x="2029048" y="7461566"/>
                    </a:lnTo>
                    <a:lnTo>
                      <a:pt x="2051002" y="7480994"/>
                    </a:lnTo>
                    <a:lnTo>
                      <a:pt x="2119992" y="7499679"/>
                    </a:lnTo>
                    <a:lnTo>
                      <a:pt x="2142329" y="7505212"/>
                    </a:lnTo>
                    <a:lnTo>
                      <a:pt x="2158598" y="7524593"/>
                    </a:lnTo>
                    <a:lnTo>
                      <a:pt x="2166618" y="7546291"/>
                    </a:lnTo>
                    <a:lnTo>
                      <a:pt x="2154298" y="7583585"/>
                    </a:lnTo>
                    <a:lnTo>
                      <a:pt x="2134111" y="7592699"/>
                    </a:lnTo>
                    <a:lnTo>
                      <a:pt x="2108134" y="7599333"/>
                    </a:lnTo>
                    <a:lnTo>
                      <a:pt x="2082157" y="7605974"/>
                    </a:lnTo>
                    <a:lnTo>
                      <a:pt x="2051312" y="7609081"/>
                    </a:lnTo>
                    <a:lnTo>
                      <a:pt x="2019723" y="7611574"/>
                    </a:lnTo>
                    <a:lnTo>
                      <a:pt x="1988133" y="7614073"/>
                    </a:lnTo>
                    <a:lnTo>
                      <a:pt x="1956392" y="7616633"/>
                    </a:lnTo>
                    <a:lnTo>
                      <a:pt x="1929946" y="7621098"/>
                    </a:lnTo>
                    <a:lnTo>
                      <a:pt x="1903507" y="7625561"/>
                    </a:lnTo>
                    <a:lnTo>
                      <a:pt x="1881995" y="7633027"/>
                    </a:lnTo>
                    <a:lnTo>
                      <a:pt x="1864808" y="7653511"/>
                    </a:lnTo>
                    <a:lnTo>
                      <a:pt x="1851150" y="7674516"/>
                    </a:lnTo>
                    <a:lnTo>
                      <a:pt x="1845123" y="7696370"/>
                    </a:lnTo>
                    <a:lnTo>
                      <a:pt x="1843995" y="7720429"/>
                    </a:lnTo>
                    <a:lnTo>
                      <a:pt x="1845967" y="7761456"/>
                    </a:lnTo>
                    <a:lnTo>
                      <a:pt x="1856499" y="7795202"/>
                    </a:lnTo>
                    <a:lnTo>
                      <a:pt x="1871377" y="7821800"/>
                    </a:lnTo>
                    <a:lnTo>
                      <a:pt x="1893312" y="7842059"/>
                    </a:lnTo>
                    <a:lnTo>
                      <a:pt x="1923154" y="7856409"/>
                    </a:lnTo>
                    <a:lnTo>
                      <a:pt x="1955897" y="7868346"/>
                    </a:lnTo>
                    <a:lnTo>
                      <a:pt x="2000736" y="7865748"/>
                    </a:lnTo>
                    <a:lnTo>
                      <a:pt x="2017487" y="7851938"/>
                    </a:lnTo>
                    <a:lnTo>
                      <a:pt x="2041005" y="7817362"/>
                    </a:lnTo>
                    <a:lnTo>
                      <a:pt x="2048292" y="7797273"/>
                    </a:lnTo>
                    <a:lnTo>
                      <a:pt x="2055091" y="7776162"/>
                    </a:lnTo>
                    <a:lnTo>
                      <a:pt x="2061884" y="7755052"/>
                    </a:lnTo>
                    <a:lnTo>
                      <a:pt x="2068571" y="7733409"/>
                    </a:lnTo>
                    <a:lnTo>
                      <a:pt x="2087861" y="7696496"/>
                    </a:lnTo>
                    <a:lnTo>
                      <a:pt x="2120381" y="7671429"/>
                    </a:lnTo>
                    <a:lnTo>
                      <a:pt x="2148943" y="7668712"/>
                    </a:lnTo>
                    <a:lnTo>
                      <a:pt x="2174789" y="7680953"/>
                    </a:lnTo>
                    <a:lnTo>
                      <a:pt x="2193301" y="7692440"/>
                    </a:lnTo>
                    <a:lnTo>
                      <a:pt x="2219074" y="7705868"/>
                    </a:lnTo>
                    <a:lnTo>
                      <a:pt x="2247531" y="7699094"/>
                    </a:lnTo>
                    <a:lnTo>
                      <a:pt x="2271279" y="7676276"/>
                    </a:lnTo>
                    <a:lnTo>
                      <a:pt x="2276713" y="7655799"/>
                    </a:lnTo>
                    <a:lnTo>
                      <a:pt x="2275440" y="7634701"/>
                    </a:lnTo>
                    <a:lnTo>
                      <a:pt x="2274174" y="7613611"/>
                    </a:lnTo>
                    <a:lnTo>
                      <a:pt x="2266075" y="7591617"/>
                    </a:lnTo>
                    <a:lnTo>
                      <a:pt x="2257760" y="7569412"/>
                    </a:lnTo>
                    <a:lnTo>
                      <a:pt x="2249443" y="7547207"/>
                    </a:lnTo>
                    <a:lnTo>
                      <a:pt x="2240896" y="7524369"/>
                    </a:lnTo>
                    <a:lnTo>
                      <a:pt x="2233813" y="7483876"/>
                    </a:lnTo>
                    <a:lnTo>
                      <a:pt x="2248236" y="7451080"/>
                    </a:lnTo>
                    <a:lnTo>
                      <a:pt x="2282688" y="7435886"/>
                    </a:lnTo>
                    <a:lnTo>
                      <a:pt x="2305367" y="7441557"/>
                    </a:lnTo>
                    <a:lnTo>
                      <a:pt x="2328047" y="7447229"/>
                    </a:lnTo>
                    <a:lnTo>
                      <a:pt x="2353675" y="7458830"/>
                    </a:lnTo>
                    <a:lnTo>
                      <a:pt x="2378815" y="7471479"/>
                    </a:lnTo>
                    <a:lnTo>
                      <a:pt x="2403955" y="7484128"/>
                    </a:lnTo>
                    <a:lnTo>
                      <a:pt x="2428659" y="7497265"/>
                    </a:lnTo>
                    <a:lnTo>
                      <a:pt x="2450911" y="7504123"/>
                    </a:lnTo>
                    <a:lnTo>
                      <a:pt x="2473156" y="7510988"/>
                    </a:lnTo>
                    <a:lnTo>
                      <a:pt x="2506677" y="7500048"/>
                    </a:lnTo>
                    <a:lnTo>
                      <a:pt x="2521634" y="7475567"/>
                    </a:lnTo>
                    <a:lnTo>
                      <a:pt x="2520282" y="7446998"/>
                    </a:lnTo>
                    <a:lnTo>
                      <a:pt x="2516207" y="7417077"/>
                    </a:lnTo>
                    <a:lnTo>
                      <a:pt x="2520282" y="7388515"/>
                    </a:lnTo>
                    <a:lnTo>
                      <a:pt x="2540859" y="7374275"/>
                    </a:lnTo>
                    <a:lnTo>
                      <a:pt x="2565167" y="7378991"/>
                    </a:lnTo>
                    <a:lnTo>
                      <a:pt x="2591059" y="7386385"/>
                    </a:lnTo>
                    <a:lnTo>
                      <a:pt x="2618164" y="7398796"/>
                    </a:lnTo>
                    <a:lnTo>
                      <a:pt x="2642697" y="7414354"/>
                    </a:lnTo>
                    <a:lnTo>
                      <a:pt x="2662943" y="7429027"/>
                    </a:lnTo>
                    <a:lnTo>
                      <a:pt x="2667184" y="7460597"/>
                    </a:lnTo>
                    <a:lnTo>
                      <a:pt x="2653836" y="7479768"/>
                    </a:lnTo>
                    <a:lnTo>
                      <a:pt x="2635706" y="7492628"/>
                    </a:lnTo>
                    <a:lnTo>
                      <a:pt x="2620934" y="7509563"/>
                    </a:lnTo>
                    <a:lnTo>
                      <a:pt x="2609017" y="7527475"/>
                    </a:lnTo>
                    <a:lnTo>
                      <a:pt x="2605654" y="7548784"/>
                    </a:lnTo>
                    <a:lnTo>
                      <a:pt x="2610059" y="7570778"/>
                    </a:lnTo>
                    <a:lnTo>
                      <a:pt x="2616601" y="7593774"/>
                    </a:lnTo>
                    <a:lnTo>
                      <a:pt x="2627997" y="7613070"/>
                    </a:lnTo>
                    <a:lnTo>
                      <a:pt x="2684871" y="7636067"/>
                    </a:lnTo>
                    <a:lnTo>
                      <a:pt x="2706634" y="7640143"/>
                    </a:lnTo>
                    <a:lnTo>
                      <a:pt x="2727653" y="7651545"/>
                    </a:lnTo>
                    <a:lnTo>
                      <a:pt x="2748182" y="7664103"/>
                    </a:lnTo>
                    <a:lnTo>
                      <a:pt x="2767842" y="7678229"/>
                    </a:lnTo>
                    <a:lnTo>
                      <a:pt x="2788992" y="7690653"/>
                    </a:lnTo>
                    <a:lnTo>
                      <a:pt x="2809265" y="7703889"/>
                    </a:lnTo>
                    <a:lnTo>
                      <a:pt x="2829049" y="7716313"/>
                    </a:lnTo>
                    <a:lnTo>
                      <a:pt x="2859162" y="7728139"/>
                    </a:lnTo>
                    <a:lnTo>
                      <a:pt x="2894154" y="7734404"/>
                    </a:lnTo>
                    <a:lnTo>
                      <a:pt x="2932425" y="7739436"/>
                    </a:lnTo>
                    <a:lnTo>
                      <a:pt x="2971328" y="7744975"/>
                    </a:lnTo>
                    <a:lnTo>
                      <a:pt x="3010495" y="7755660"/>
                    </a:lnTo>
                    <a:lnTo>
                      <a:pt x="3048040" y="7774804"/>
                    </a:lnTo>
                    <a:lnTo>
                      <a:pt x="3068444" y="7796561"/>
                    </a:lnTo>
                    <a:lnTo>
                      <a:pt x="3081825" y="7818442"/>
                    </a:lnTo>
                    <a:lnTo>
                      <a:pt x="3095873" y="7842698"/>
                    </a:lnTo>
                    <a:lnTo>
                      <a:pt x="3109253" y="7865932"/>
                    </a:lnTo>
                    <a:lnTo>
                      <a:pt x="3119377" y="7885202"/>
                    </a:lnTo>
                    <a:lnTo>
                      <a:pt x="3132151" y="7904367"/>
                    </a:lnTo>
                    <a:lnTo>
                      <a:pt x="3147339" y="7920340"/>
                    </a:lnTo>
                    <a:lnTo>
                      <a:pt x="3167737" y="7935305"/>
                    </a:lnTo>
                    <a:lnTo>
                      <a:pt x="3190865" y="7946186"/>
                    </a:lnTo>
                    <a:lnTo>
                      <a:pt x="3210630" y="7953756"/>
                    </a:lnTo>
                    <a:lnTo>
                      <a:pt x="3231484" y="7965734"/>
                    </a:lnTo>
                    <a:lnTo>
                      <a:pt x="3246632" y="7981548"/>
                    </a:lnTo>
                    <a:lnTo>
                      <a:pt x="3258556" y="8000784"/>
                    </a:lnTo>
                    <a:lnTo>
                      <a:pt x="3267353" y="8022166"/>
                    </a:lnTo>
                    <a:lnTo>
                      <a:pt x="3271112" y="8044120"/>
                    </a:lnTo>
                    <a:lnTo>
                      <a:pt x="3269430" y="8065157"/>
                    </a:lnTo>
                    <a:lnTo>
                      <a:pt x="3245537" y="8085220"/>
                    </a:lnTo>
                    <a:lnTo>
                      <a:pt x="3228681" y="8098237"/>
                    </a:lnTo>
                    <a:lnTo>
                      <a:pt x="3213987" y="8113492"/>
                    </a:lnTo>
                    <a:lnTo>
                      <a:pt x="3197665" y="8139337"/>
                    </a:lnTo>
                    <a:lnTo>
                      <a:pt x="3191835" y="8159517"/>
                    </a:lnTo>
                    <a:lnTo>
                      <a:pt x="3193853" y="8180397"/>
                    </a:lnTo>
                    <a:lnTo>
                      <a:pt x="3214950" y="8195875"/>
                    </a:lnTo>
                    <a:lnTo>
                      <a:pt x="3234392" y="8204620"/>
                    </a:lnTo>
                    <a:lnTo>
                      <a:pt x="3257005" y="8213108"/>
                    </a:lnTo>
                    <a:lnTo>
                      <a:pt x="3279778" y="8228778"/>
                    </a:lnTo>
                    <a:lnTo>
                      <a:pt x="3301040" y="8254953"/>
                    </a:lnTo>
                    <a:lnTo>
                      <a:pt x="3305116" y="8295756"/>
                    </a:lnTo>
                    <a:lnTo>
                      <a:pt x="3287190" y="8324983"/>
                    </a:lnTo>
                    <a:lnTo>
                      <a:pt x="3260468" y="8348145"/>
                    </a:lnTo>
                    <a:lnTo>
                      <a:pt x="3237102" y="8371926"/>
                    </a:lnTo>
                    <a:lnTo>
                      <a:pt x="3237630" y="8404842"/>
                    </a:lnTo>
                    <a:lnTo>
                      <a:pt x="3258318" y="8420624"/>
                    </a:lnTo>
                    <a:lnTo>
                      <a:pt x="3291510" y="8424976"/>
                    </a:lnTo>
                    <a:lnTo>
                      <a:pt x="3326469" y="8426625"/>
                    </a:lnTo>
                    <a:lnTo>
                      <a:pt x="3367319" y="8419100"/>
                    </a:lnTo>
                    <a:lnTo>
                      <a:pt x="3403630" y="8425450"/>
                    </a:lnTo>
                    <a:lnTo>
                      <a:pt x="3438181" y="8432085"/>
                    </a:lnTo>
                    <a:lnTo>
                      <a:pt x="3471057" y="8441299"/>
                    </a:lnTo>
                    <a:lnTo>
                      <a:pt x="3503938" y="8450518"/>
                    </a:lnTo>
                    <a:lnTo>
                      <a:pt x="3535614" y="8461353"/>
                    </a:lnTo>
                    <a:lnTo>
                      <a:pt x="3551310" y="8475309"/>
                    </a:lnTo>
                    <a:lnTo>
                      <a:pt x="3559916" y="8537366"/>
                    </a:lnTo>
                    <a:lnTo>
                      <a:pt x="3571714" y="8575960"/>
                    </a:lnTo>
                    <a:lnTo>
                      <a:pt x="3584740" y="8612508"/>
                    </a:lnTo>
                    <a:lnTo>
                      <a:pt x="3610374" y="8631904"/>
                    </a:lnTo>
                    <a:lnTo>
                      <a:pt x="3651968" y="8623568"/>
                    </a:lnTo>
                    <a:lnTo>
                      <a:pt x="3681473" y="8598692"/>
                    </a:lnTo>
                    <a:lnTo>
                      <a:pt x="3687765" y="8575492"/>
                    </a:lnTo>
                    <a:lnTo>
                      <a:pt x="3690053" y="8551473"/>
                    </a:lnTo>
                    <a:lnTo>
                      <a:pt x="3692329" y="8527461"/>
                    </a:lnTo>
                    <a:lnTo>
                      <a:pt x="3689717" y="8502044"/>
                    </a:lnTo>
                    <a:lnTo>
                      <a:pt x="3703652" y="8472585"/>
                    </a:lnTo>
                    <a:lnTo>
                      <a:pt x="3721959" y="8445691"/>
                    </a:lnTo>
                    <a:lnTo>
                      <a:pt x="3747911" y="8428747"/>
                    </a:lnTo>
                    <a:lnTo>
                      <a:pt x="3778464" y="8422259"/>
                    </a:lnTo>
                    <a:lnTo>
                      <a:pt x="3809883" y="8422325"/>
                    </a:lnTo>
                    <a:lnTo>
                      <a:pt x="3839540" y="8433062"/>
                    </a:lnTo>
                    <a:lnTo>
                      <a:pt x="3864158" y="8453544"/>
                    </a:lnTo>
                    <a:lnTo>
                      <a:pt x="3896302" y="8488558"/>
                    </a:lnTo>
                    <a:lnTo>
                      <a:pt x="3911602" y="8507175"/>
                    </a:lnTo>
                    <a:lnTo>
                      <a:pt x="3922643" y="8525635"/>
                    </a:lnTo>
                    <a:lnTo>
                      <a:pt x="3933683" y="8544086"/>
                    </a:lnTo>
                    <a:lnTo>
                      <a:pt x="3958012" y="8599081"/>
                    </a:lnTo>
                    <a:lnTo>
                      <a:pt x="3973826" y="8632003"/>
                    </a:lnTo>
                    <a:lnTo>
                      <a:pt x="4008700" y="8660823"/>
                    </a:lnTo>
                    <a:lnTo>
                      <a:pt x="4032816" y="8687493"/>
                    </a:lnTo>
                    <a:lnTo>
                      <a:pt x="4036371" y="8722221"/>
                    </a:lnTo>
                    <a:lnTo>
                      <a:pt x="4023301" y="8750066"/>
                    </a:lnTo>
                    <a:lnTo>
                      <a:pt x="4018414" y="8780244"/>
                    </a:lnTo>
                    <a:lnTo>
                      <a:pt x="4031458" y="8799032"/>
                    </a:lnTo>
                    <a:lnTo>
                      <a:pt x="4060001" y="8806735"/>
                    </a:lnTo>
                    <a:lnTo>
                      <a:pt x="4119659" y="8794548"/>
                    </a:lnTo>
                    <a:lnTo>
                      <a:pt x="4150668" y="8806174"/>
                    </a:lnTo>
                    <a:lnTo>
                      <a:pt x="4170433" y="8825564"/>
                    </a:lnTo>
                    <a:lnTo>
                      <a:pt x="4190600" y="8834400"/>
                    </a:lnTo>
                    <a:lnTo>
                      <a:pt x="4233328" y="8853105"/>
                    </a:lnTo>
                    <a:lnTo>
                      <a:pt x="4269132" y="8861499"/>
                    </a:lnTo>
                    <a:lnTo>
                      <a:pt x="4298057" y="8860239"/>
                    </a:lnTo>
                    <a:lnTo>
                      <a:pt x="4326989" y="8858980"/>
                    </a:lnTo>
                    <a:lnTo>
                      <a:pt x="4348918" y="8848632"/>
                    </a:lnTo>
                    <a:lnTo>
                      <a:pt x="4367428" y="8831676"/>
                    </a:lnTo>
                    <a:lnTo>
                      <a:pt x="4385940" y="8814721"/>
                    </a:lnTo>
                    <a:lnTo>
                      <a:pt x="4400839" y="8790696"/>
                    </a:lnTo>
                    <a:lnTo>
                      <a:pt x="4412314" y="8762305"/>
                    </a:lnTo>
                    <a:lnTo>
                      <a:pt x="4423796" y="8733915"/>
                    </a:lnTo>
                    <a:lnTo>
                      <a:pt x="4431696" y="8701295"/>
                    </a:lnTo>
                    <a:lnTo>
                      <a:pt x="4439519" y="8665736"/>
                    </a:lnTo>
                    <a:lnTo>
                      <a:pt x="4481429" y="8685158"/>
                    </a:lnTo>
                    <a:lnTo>
                      <a:pt x="4506173" y="8699739"/>
                    </a:lnTo>
                    <a:lnTo>
                      <a:pt x="4532407" y="8713259"/>
                    </a:lnTo>
                    <a:lnTo>
                      <a:pt x="4561550" y="8716147"/>
                    </a:lnTo>
                    <a:lnTo>
                      <a:pt x="4594584" y="8702456"/>
                    </a:lnTo>
                    <a:lnTo>
                      <a:pt x="4608460" y="8685468"/>
                    </a:lnTo>
                    <a:lnTo>
                      <a:pt x="4617903" y="8647646"/>
                    </a:lnTo>
                    <a:lnTo>
                      <a:pt x="4628588" y="8611321"/>
                    </a:lnTo>
                    <a:lnTo>
                      <a:pt x="4639271" y="8575004"/>
                    </a:lnTo>
                    <a:lnTo>
                      <a:pt x="4650858" y="8539820"/>
                    </a:lnTo>
                    <a:lnTo>
                      <a:pt x="4672114" y="8528351"/>
                    </a:lnTo>
                    <a:lnTo>
                      <a:pt x="4705905" y="8536680"/>
                    </a:lnTo>
                    <a:lnTo>
                      <a:pt x="4726713" y="8572768"/>
                    </a:lnTo>
                    <a:lnTo>
                      <a:pt x="4735299" y="8600050"/>
                    </a:lnTo>
                    <a:lnTo>
                      <a:pt x="4729245" y="8629002"/>
                    </a:lnTo>
                    <a:lnTo>
                      <a:pt x="4721819" y="8656602"/>
                    </a:lnTo>
                    <a:lnTo>
                      <a:pt x="4733236" y="8685633"/>
                    </a:lnTo>
                    <a:lnTo>
                      <a:pt x="4740826" y="8716688"/>
                    </a:lnTo>
                    <a:lnTo>
                      <a:pt x="4742850" y="8751424"/>
                    </a:lnTo>
                    <a:lnTo>
                      <a:pt x="4722360" y="8781411"/>
                    </a:lnTo>
                    <a:lnTo>
                      <a:pt x="4691285" y="8832720"/>
                    </a:lnTo>
                    <a:lnTo>
                      <a:pt x="4685719" y="8869762"/>
                    </a:lnTo>
                    <a:lnTo>
                      <a:pt x="4682296" y="8892549"/>
                    </a:lnTo>
                    <a:lnTo>
                      <a:pt x="4700682" y="8919600"/>
                    </a:lnTo>
                    <a:lnTo>
                      <a:pt x="4718193" y="8953010"/>
                    </a:lnTo>
                    <a:lnTo>
                      <a:pt x="4731969" y="8985377"/>
                    </a:lnTo>
                    <a:lnTo>
                      <a:pt x="4746649" y="9010346"/>
                    </a:lnTo>
                    <a:lnTo>
                      <a:pt x="4776900" y="9030494"/>
                    </a:lnTo>
                    <a:lnTo>
                      <a:pt x="4798618" y="9047944"/>
                    </a:lnTo>
                    <a:lnTo>
                      <a:pt x="4822649" y="9067260"/>
                    </a:lnTo>
                    <a:lnTo>
                      <a:pt x="4851686" y="9087803"/>
                    </a:lnTo>
                    <a:lnTo>
                      <a:pt x="4878870" y="9095552"/>
                    </a:lnTo>
                    <a:lnTo>
                      <a:pt x="4905679" y="9100089"/>
                    </a:lnTo>
                    <a:lnTo>
                      <a:pt x="4930951" y="9091016"/>
                    </a:lnTo>
                    <a:lnTo>
                      <a:pt x="4953676" y="9064267"/>
                    </a:lnTo>
                    <a:lnTo>
                      <a:pt x="4967750" y="9041995"/>
                    </a:lnTo>
                    <a:lnTo>
                      <a:pt x="4960482" y="8997618"/>
                    </a:lnTo>
                    <a:lnTo>
                      <a:pt x="4939491" y="8968158"/>
                    </a:lnTo>
                    <a:lnTo>
                      <a:pt x="4924844" y="8940967"/>
                    </a:lnTo>
                    <a:lnTo>
                      <a:pt x="4914642" y="8922080"/>
                    </a:lnTo>
                    <a:lnTo>
                      <a:pt x="4903351" y="8899683"/>
                    </a:lnTo>
                    <a:lnTo>
                      <a:pt x="4892060" y="8877294"/>
                    </a:lnTo>
                    <a:lnTo>
                      <a:pt x="4880552" y="8851601"/>
                    </a:lnTo>
                    <a:lnTo>
                      <a:pt x="4872064" y="8826236"/>
                    </a:lnTo>
                    <a:lnTo>
                      <a:pt x="4863584" y="8800866"/>
                    </a:lnTo>
                    <a:lnTo>
                      <a:pt x="4858499" y="8776194"/>
                    </a:lnTo>
                    <a:lnTo>
                      <a:pt x="4859825" y="8754148"/>
                    </a:lnTo>
                    <a:lnTo>
                      <a:pt x="4861150" y="8732093"/>
                    </a:lnTo>
                    <a:lnTo>
                      <a:pt x="4887028" y="8701098"/>
                    </a:lnTo>
                    <a:lnTo>
                      <a:pt x="4915617" y="8698137"/>
                    </a:lnTo>
                    <a:lnTo>
                      <a:pt x="4945492" y="8709507"/>
                    </a:lnTo>
                    <a:lnTo>
                      <a:pt x="4968640" y="8728301"/>
                    </a:lnTo>
                    <a:lnTo>
                      <a:pt x="4987060" y="8747097"/>
                    </a:lnTo>
                    <a:lnTo>
                      <a:pt x="5009792" y="8757293"/>
                    </a:lnTo>
                    <a:lnTo>
                      <a:pt x="5028489" y="8774553"/>
                    </a:lnTo>
                    <a:lnTo>
                      <a:pt x="5039370" y="8799032"/>
                    </a:lnTo>
                    <a:lnTo>
                      <a:pt x="5040795" y="8820914"/>
                    </a:lnTo>
                    <a:lnTo>
                      <a:pt x="5037953" y="8847880"/>
                    </a:lnTo>
                    <a:lnTo>
                      <a:pt x="5032571" y="8879286"/>
                    </a:lnTo>
                    <a:lnTo>
                      <a:pt x="5025773" y="8912182"/>
                    </a:lnTo>
                    <a:lnTo>
                      <a:pt x="5020325" y="8947041"/>
                    </a:lnTo>
                    <a:lnTo>
                      <a:pt x="5017607" y="8982661"/>
                    </a:lnTo>
                    <a:lnTo>
                      <a:pt x="5016835" y="9018307"/>
                    </a:lnTo>
                    <a:lnTo>
                      <a:pt x="5021095" y="9053114"/>
                    </a:lnTo>
                    <a:lnTo>
                      <a:pt x="5031207" y="9086036"/>
                    </a:lnTo>
                    <a:lnTo>
                      <a:pt x="5048010" y="9116161"/>
                    </a:lnTo>
                    <a:lnTo>
                      <a:pt x="5067933" y="9136362"/>
                    </a:lnTo>
                    <a:lnTo>
                      <a:pt x="5099734" y="9157194"/>
                    </a:lnTo>
                    <a:lnTo>
                      <a:pt x="5136493" y="9164930"/>
                    </a:lnTo>
                    <a:lnTo>
                      <a:pt x="5174026" y="9166288"/>
                    </a:lnTo>
                    <a:lnTo>
                      <a:pt x="5211557" y="9167642"/>
                    </a:lnTo>
                    <a:lnTo>
                      <a:pt x="5249959" y="9162656"/>
                    </a:lnTo>
                    <a:lnTo>
                      <a:pt x="5286924" y="9155407"/>
                    </a:lnTo>
                    <a:lnTo>
                      <a:pt x="5323888" y="9148153"/>
                    </a:lnTo>
                    <a:lnTo>
                      <a:pt x="5358828" y="9138624"/>
                    </a:lnTo>
                    <a:lnTo>
                      <a:pt x="5388940" y="9133644"/>
                    </a:lnTo>
                    <a:lnTo>
                      <a:pt x="5419046" y="9128666"/>
                    </a:lnTo>
                    <a:lnTo>
                      <a:pt x="5444067" y="9128204"/>
                    </a:lnTo>
                    <a:lnTo>
                      <a:pt x="5481697" y="9146307"/>
                    </a:lnTo>
                    <a:lnTo>
                      <a:pt x="5497625" y="9161666"/>
                    </a:lnTo>
                    <a:lnTo>
                      <a:pt x="5514078" y="9178530"/>
                    </a:lnTo>
                    <a:lnTo>
                      <a:pt x="5530533" y="9195386"/>
                    </a:lnTo>
                    <a:lnTo>
                      <a:pt x="5547924" y="9213079"/>
                    </a:lnTo>
                    <a:lnTo>
                      <a:pt x="5568479" y="9224773"/>
                    </a:lnTo>
                    <a:lnTo>
                      <a:pt x="5593975" y="9224001"/>
                    </a:lnTo>
                    <a:lnTo>
                      <a:pt x="5632767" y="9225517"/>
                    </a:lnTo>
                    <a:lnTo>
                      <a:pt x="5658257" y="9230213"/>
                    </a:lnTo>
                    <a:lnTo>
                      <a:pt x="5684102" y="9246536"/>
                    </a:lnTo>
                    <a:lnTo>
                      <a:pt x="5702877" y="9259858"/>
                    </a:lnTo>
                    <a:lnTo>
                      <a:pt x="5722451" y="9271307"/>
                    </a:lnTo>
                    <a:lnTo>
                      <a:pt x="5742593" y="9279181"/>
                    </a:lnTo>
                    <a:lnTo>
                      <a:pt x="5763340" y="9283711"/>
                    </a:lnTo>
                    <a:lnTo>
                      <a:pt x="5785466" y="9279906"/>
                    </a:lnTo>
                    <a:lnTo>
                      <a:pt x="5805158" y="9266934"/>
                    </a:lnTo>
                    <a:lnTo>
                      <a:pt x="5821763" y="9249635"/>
                    </a:lnTo>
                    <a:lnTo>
                      <a:pt x="5837519" y="9229824"/>
                    </a:lnTo>
                    <a:lnTo>
                      <a:pt x="5852766" y="9209808"/>
                    </a:lnTo>
                    <a:lnTo>
                      <a:pt x="5867862" y="9193282"/>
                    </a:lnTo>
                    <a:lnTo>
                      <a:pt x="5866833" y="9169738"/>
                    </a:lnTo>
                    <a:lnTo>
                      <a:pt x="5848288" y="9151767"/>
                    </a:lnTo>
                    <a:lnTo>
                      <a:pt x="5829262" y="9133915"/>
                    </a:lnTo>
                    <a:lnTo>
                      <a:pt x="5809740" y="9116181"/>
                    </a:lnTo>
                    <a:lnTo>
                      <a:pt x="5802018" y="9087321"/>
                    </a:lnTo>
                    <a:lnTo>
                      <a:pt x="5797422" y="9062986"/>
                    </a:lnTo>
                    <a:lnTo>
                      <a:pt x="5790200" y="9038427"/>
                    </a:lnTo>
                    <a:lnTo>
                      <a:pt x="5781258" y="9015233"/>
                    </a:lnTo>
                    <a:lnTo>
                      <a:pt x="5769216" y="8993608"/>
                    </a:lnTo>
                    <a:lnTo>
                      <a:pt x="5753474" y="8974496"/>
                    </a:lnTo>
                    <a:lnTo>
                      <a:pt x="5782037" y="8939135"/>
                    </a:lnTo>
                    <a:lnTo>
                      <a:pt x="5812115" y="8945801"/>
                    </a:lnTo>
                    <a:lnTo>
                      <a:pt x="5836444" y="8935051"/>
                    </a:lnTo>
                    <a:lnTo>
                      <a:pt x="5837802" y="8899683"/>
                    </a:lnTo>
                    <a:lnTo>
                      <a:pt x="5809240" y="8890167"/>
                    </a:lnTo>
                    <a:lnTo>
                      <a:pt x="5788018" y="8879853"/>
                    </a:lnTo>
                    <a:lnTo>
                      <a:pt x="5767896" y="8867837"/>
                    </a:lnTo>
                    <a:lnTo>
                      <a:pt x="5752114" y="8853441"/>
                    </a:lnTo>
                    <a:lnTo>
                      <a:pt x="5735793" y="8828960"/>
                    </a:lnTo>
                    <a:lnTo>
                      <a:pt x="5713680" y="8814960"/>
                    </a:lnTo>
                    <a:lnTo>
                      <a:pt x="5684458" y="8802151"/>
                    </a:lnTo>
                    <a:lnTo>
                      <a:pt x="5652821" y="8789510"/>
                    </a:lnTo>
                    <a:lnTo>
                      <a:pt x="5620929" y="8775092"/>
                    </a:lnTo>
                    <a:lnTo>
                      <a:pt x="5594932" y="8757682"/>
                    </a:lnTo>
                    <a:lnTo>
                      <a:pt x="5579368" y="8735101"/>
                    </a:lnTo>
                    <a:lnTo>
                      <a:pt x="5584974" y="8704943"/>
                    </a:lnTo>
                    <a:lnTo>
                      <a:pt x="5595526" y="8680937"/>
                    </a:lnTo>
                    <a:lnTo>
                      <a:pt x="5607937" y="8658930"/>
                    </a:lnTo>
                    <a:lnTo>
                      <a:pt x="5620381" y="8635690"/>
                    </a:lnTo>
                    <a:lnTo>
                      <a:pt x="5630847" y="8606006"/>
                    </a:lnTo>
                    <a:lnTo>
                      <a:pt x="5637858" y="8565079"/>
                    </a:lnTo>
                    <a:lnTo>
                      <a:pt x="5642408" y="8535454"/>
                    </a:lnTo>
                    <a:lnTo>
                      <a:pt x="5620177" y="8526986"/>
                    </a:lnTo>
                    <a:lnTo>
                      <a:pt x="5607001" y="8549396"/>
                    </a:lnTo>
                    <a:lnTo>
                      <a:pt x="5595268" y="8567148"/>
                    </a:lnTo>
                    <a:lnTo>
                      <a:pt x="5575259" y="8584995"/>
                    </a:lnTo>
                    <a:lnTo>
                      <a:pt x="5549249" y="8588522"/>
                    </a:lnTo>
                    <a:lnTo>
                      <a:pt x="5522243" y="8581394"/>
                    </a:lnTo>
                    <a:lnTo>
                      <a:pt x="5506514" y="8561649"/>
                    </a:lnTo>
                    <a:lnTo>
                      <a:pt x="5503725" y="8539952"/>
                    </a:lnTo>
                    <a:lnTo>
                      <a:pt x="5511362" y="8512021"/>
                    </a:lnTo>
                    <a:lnTo>
                      <a:pt x="5520646" y="8483229"/>
                    </a:lnTo>
                    <a:lnTo>
                      <a:pt x="5527683" y="8452174"/>
                    </a:lnTo>
                    <a:lnTo>
                      <a:pt x="5489684" y="8441246"/>
                    </a:lnTo>
                    <a:lnTo>
                      <a:pt x="5465171" y="8440593"/>
                    </a:lnTo>
                    <a:lnTo>
                      <a:pt x="5443349" y="8437217"/>
                    </a:lnTo>
                    <a:lnTo>
                      <a:pt x="5421525" y="8433853"/>
                    </a:lnTo>
                    <a:lnTo>
                      <a:pt x="5387582" y="8416812"/>
                    </a:lnTo>
                    <a:lnTo>
                      <a:pt x="5360312" y="8392337"/>
                    </a:lnTo>
                    <a:lnTo>
                      <a:pt x="5346838" y="8354239"/>
                    </a:lnTo>
                    <a:lnTo>
                      <a:pt x="5345091" y="8331270"/>
                    </a:lnTo>
                    <a:lnTo>
                      <a:pt x="5348138" y="8301196"/>
                    </a:lnTo>
                    <a:lnTo>
                      <a:pt x="5353908" y="8274513"/>
                    </a:lnTo>
                    <a:lnTo>
                      <a:pt x="5364130" y="8248991"/>
                    </a:lnTo>
                    <a:lnTo>
                      <a:pt x="5373976" y="8223667"/>
                    </a:lnTo>
                    <a:lnTo>
                      <a:pt x="5379760" y="8195652"/>
                    </a:lnTo>
                    <a:lnTo>
                      <a:pt x="5381804" y="8167346"/>
                    </a:lnTo>
                    <a:lnTo>
                      <a:pt x="5380782" y="8139337"/>
                    </a:lnTo>
                    <a:lnTo>
                      <a:pt x="5379094" y="8110083"/>
                    </a:lnTo>
                    <a:lnTo>
                      <a:pt x="5377037" y="8081533"/>
                    </a:lnTo>
                    <a:lnTo>
                      <a:pt x="5375348" y="8053643"/>
                    </a:lnTo>
                    <a:lnTo>
                      <a:pt x="5380782" y="8030514"/>
                    </a:lnTo>
                    <a:lnTo>
                      <a:pt x="5395745" y="8010117"/>
                    </a:lnTo>
                    <a:lnTo>
                      <a:pt x="5409351" y="7989712"/>
                    </a:lnTo>
                    <a:lnTo>
                      <a:pt x="5413427" y="7966591"/>
                    </a:lnTo>
                    <a:lnTo>
                      <a:pt x="5405751" y="7945552"/>
                    </a:lnTo>
                    <a:lnTo>
                      <a:pt x="5390707" y="7930457"/>
                    </a:lnTo>
                    <a:lnTo>
                      <a:pt x="5359969" y="7904783"/>
                    </a:lnTo>
                    <a:lnTo>
                      <a:pt x="5331815" y="7882255"/>
                    </a:lnTo>
                    <a:lnTo>
                      <a:pt x="5313685" y="7857523"/>
                    </a:lnTo>
                    <a:lnTo>
                      <a:pt x="5318434" y="7831375"/>
                    </a:lnTo>
                    <a:lnTo>
                      <a:pt x="5330456" y="7810167"/>
                    </a:lnTo>
                    <a:lnTo>
                      <a:pt x="5348407" y="7785838"/>
                    </a:lnTo>
                    <a:lnTo>
                      <a:pt x="5363101" y="7770723"/>
                    </a:lnTo>
                    <a:lnTo>
                      <a:pt x="5360377" y="7740794"/>
                    </a:lnTo>
                    <a:lnTo>
                      <a:pt x="5361737" y="7710873"/>
                    </a:lnTo>
                    <a:lnTo>
                      <a:pt x="5393267" y="7704496"/>
                    </a:lnTo>
                    <a:lnTo>
                      <a:pt x="5428126" y="7706368"/>
                    </a:lnTo>
                    <a:lnTo>
                      <a:pt x="5455588" y="7690468"/>
                    </a:lnTo>
                    <a:lnTo>
                      <a:pt x="5450155" y="7656466"/>
                    </a:lnTo>
                    <a:lnTo>
                      <a:pt x="5412048" y="7643961"/>
                    </a:lnTo>
                    <a:lnTo>
                      <a:pt x="5387588" y="7633343"/>
                    </a:lnTo>
                    <a:lnTo>
                      <a:pt x="5363127" y="7622725"/>
                    </a:lnTo>
                    <a:lnTo>
                      <a:pt x="5340250" y="7610208"/>
                    </a:lnTo>
                    <a:lnTo>
                      <a:pt x="5325643" y="7589006"/>
                    </a:lnTo>
                    <a:lnTo>
                      <a:pt x="5315499" y="7568054"/>
                    </a:lnTo>
                    <a:lnTo>
                      <a:pt x="5301663" y="7551376"/>
                    </a:lnTo>
                    <a:lnTo>
                      <a:pt x="5281489" y="7536768"/>
                    </a:lnTo>
                    <a:lnTo>
                      <a:pt x="5270145" y="7517629"/>
                    </a:lnTo>
                    <a:lnTo>
                      <a:pt x="5271973" y="7493242"/>
                    </a:lnTo>
                    <a:lnTo>
                      <a:pt x="5274282" y="7462417"/>
                    </a:lnTo>
                    <a:lnTo>
                      <a:pt x="5275238" y="7431157"/>
                    </a:lnTo>
                    <a:lnTo>
                      <a:pt x="5277413" y="7399389"/>
                    </a:lnTo>
                    <a:lnTo>
                      <a:pt x="5279584" y="7367622"/>
                    </a:lnTo>
                    <a:lnTo>
                      <a:pt x="5282743" y="7335980"/>
                    </a:lnTo>
                    <a:lnTo>
                      <a:pt x="5288295" y="7305537"/>
                    </a:lnTo>
                    <a:lnTo>
                      <a:pt x="5296902" y="7270426"/>
                    </a:lnTo>
                    <a:lnTo>
                      <a:pt x="5306886" y="7234549"/>
                    </a:lnTo>
                    <a:lnTo>
                      <a:pt x="5310059" y="7198080"/>
                    </a:lnTo>
                    <a:lnTo>
                      <a:pt x="5282849" y="7176317"/>
                    </a:lnTo>
                    <a:lnTo>
                      <a:pt x="5216200" y="7203520"/>
                    </a:lnTo>
                    <a:lnTo>
                      <a:pt x="5192070" y="7190826"/>
                    </a:lnTo>
                    <a:lnTo>
                      <a:pt x="5194443" y="7164076"/>
                    </a:lnTo>
                    <a:lnTo>
                      <a:pt x="5204204" y="7133766"/>
                    </a:lnTo>
                    <a:lnTo>
                      <a:pt x="5217327" y="7101894"/>
                    </a:lnTo>
                    <a:lnTo>
                      <a:pt x="5229805" y="7071584"/>
                    </a:lnTo>
                    <a:lnTo>
                      <a:pt x="5240806" y="7042440"/>
                    </a:lnTo>
                    <a:lnTo>
                      <a:pt x="5243741" y="7014893"/>
                    </a:lnTo>
                    <a:lnTo>
                      <a:pt x="5235245" y="6989972"/>
                    </a:lnTo>
                    <a:lnTo>
                      <a:pt x="5221871" y="6967641"/>
                    </a:lnTo>
                    <a:lnTo>
                      <a:pt x="5205094" y="6949729"/>
                    </a:lnTo>
                    <a:lnTo>
                      <a:pt x="5189003" y="6934205"/>
                    </a:lnTo>
                    <a:lnTo>
                      <a:pt x="5172680" y="6909718"/>
                    </a:lnTo>
                    <a:lnTo>
                      <a:pt x="5180436" y="6882091"/>
                    </a:lnTo>
                    <a:lnTo>
                      <a:pt x="5242045" y="6858034"/>
                    </a:lnTo>
                    <a:lnTo>
                      <a:pt x="5259521" y="6826239"/>
                    </a:lnTo>
                    <a:lnTo>
                      <a:pt x="5247018" y="6805994"/>
                    </a:lnTo>
                    <a:lnTo>
                      <a:pt x="5232529" y="6785944"/>
                    </a:lnTo>
                    <a:lnTo>
                      <a:pt x="5218040" y="6765889"/>
                    </a:lnTo>
                    <a:lnTo>
                      <a:pt x="5201460" y="6747014"/>
                    </a:lnTo>
                    <a:lnTo>
                      <a:pt x="5212124" y="6717931"/>
                    </a:lnTo>
                    <a:lnTo>
                      <a:pt x="5236341" y="6712603"/>
                    </a:lnTo>
                    <a:lnTo>
                      <a:pt x="5272237" y="6715102"/>
                    </a:lnTo>
                    <a:lnTo>
                      <a:pt x="5297818" y="6719297"/>
                    </a:lnTo>
                    <a:lnTo>
                      <a:pt x="5303767" y="6688835"/>
                    </a:lnTo>
                    <a:lnTo>
                      <a:pt x="5297818" y="6664889"/>
                    </a:lnTo>
                    <a:lnTo>
                      <a:pt x="5289324" y="6640553"/>
                    </a:lnTo>
                    <a:lnTo>
                      <a:pt x="5279101" y="6618494"/>
                    </a:lnTo>
                    <a:lnTo>
                      <a:pt x="5266532" y="6596875"/>
                    </a:lnTo>
                    <a:lnTo>
                      <a:pt x="5253329" y="6574050"/>
                    </a:lnTo>
                    <a:lnTo>
                      <a:pt x="5224957" y="6524634"/>
                    </a:lnTo>
                    <a:lnTo>
                      <a:pt x="5216800" y="6497141"/>
                    </a:lnTo>
                    <a:lnTo>
                      <a:pt x="5216206" y="6474461"/>
                    </a:lnTo>
                    <a:lnTo>
                      <a:pt x="5215612" y="6451781"/>
                    </a:lnTo>
                    <a:lnTo>
                      <a:pt x="5236605" y="6417329"/>
                    </a:lnTo>
                    <a:lnTo>
                      <a:pt x="5266189" y="6386148"/>
                    </a:lnTo>
                    <a:lnTo>
                      <a:pt x="5285579" y="6368362"/>
                    </a:lnTo>
                    <a:lnTo>
                      <a:pt x="5304960" y="6350581"/>
                    </a:lnTo>
                    <a:lnTo>
                      <a:pt x="5326638" y="6330152"/>
                    </a:lnTo>
                    <a:lnTo>
                      <a:pt x="5345428" y="6303079"/>
                    </a:lnTo>
                    <a:lnTo>
                      <a:pt x="5346020" y="6280406"/>
                    </a:lnTo>
                    <a:lnTo>
                      <a:pt x="5341101" y="6257871"/>
                    </a:lnTo>
                    <a:lnTo>
                      <a:pt x="5333180" y="6235066"/>
                    </a:lnTo>
                    <a:lnTo>
                      <a:pt x="5325266" y="6212261"/>
                    </a:lnTo>
                    <a:lnTo>
                      <a:pt x="5314054" y="6189568"/>
                    </a:lnTo>
                    <a:lnTo>
                      <a:pt x="5303260" y="6168417"/>
                    </a:lnTo>
                    <a:lnTo>
                      <a:pt x="5292463" y="6147268"/>
                    </a:lnTo>
                    <a:lnTo>
                      <a:pt x="5281397" y="6127627"/>
                    </a:lnTo>
                    <a:lnTo>
                      <a:pt x="5265267" y="6092227"/>
                    </a:lnTo>
                    <a:lnTo>
                      <a:pt x="5261092" y="6063684"/>
                    </a:lnTo>
                    <a:lnTo>
                      <a:pt x="5261619" y="6040707"/>
                    </a:lnTo>
                    <a:lnTo>
                      <a:pt x="5261751" y="6019043"/>
                    </a:lnTo>
                    <a:lnTo>
                      <a:pt x="5268617" y="5977733"/>
                    </a:lnTo>
                    <a:lnTo>
                      <a:pt x="5285572" y="5938546"/>
                    </a:lnTo>
                    <a:lnTo>
                      <a:pt x="5300530" y="5912699"/>
                    </a:lnTo>
                    <a:lnTo>
                      <a:pt x="5308120" y="5892302"/>
                    </a:lnTo>
                    <a:lnTo>
                      <a:pt x="5297917" y="5856539"/>
                    </a:lnTo>
                    <a:lnTo>
                      <a:pt x="5279379" y="5841891"/>
                    </a:lnTo>
                    <a:lnTo>
                      <a:pt x="5259726" y="5822924"/>
                    </a:lnTo>
                    <a:lnTo>
                      <a:pt x="5240073" y="5803957"/>
                    </a:lnTo>
                    <a:lnTo>
                      <a:pt x="5219088" y="5780921"/>
                    </a:lnTo>
                    <a:lnTo>
                      <a:pt x="5209400" y="5739953"/>
                    </a:lnTo>
                    <a:lnTo>
                      <a:pt x="5213225" y="5706391"/>
                    </a:lnTo>
                    <a:lnTo>
                      <a:pt x="5222412" y="5675534"/>
                    </a:lnTo>
                    <a:lnTo>
                      <a:pt x="5229799" y="5644736"/>
                    </a:lnTo>
                    <a:lnTo>
                      <a:pt x="5237191" y="5613944"/>
                    </a:lnTo>
                    <a:lnTo>
                      <a:pt x="5243305" y="5582658"/>
                    </a:lnTo>
                    <a:lnTo>
                      <a:pt x="5242045" y="5548167"/>
                    </a:lnTo>
                    <a:lnTo>
                      <a:pt x="5238471" y="5521491"/>
                    </a:lnTo>
                    <a:lnTo>
                      <a:pt x="5237442" y="5495948"/>
                    </a:lnTo>
                    <a:lnTo>
                      <a:pt x="5250210" y="5470637"/>
                    </a:lnTo>
                    <a:lnTo>
                      <a:pt x="5278370" y="5436640"/>
                    </a:lnTo>
                    <a:lnTo>
                      <a:pt x="5309972" y="5422429"/>
                    </a:lnTo>
                    <a:lnTo>
                      <a:pt x="5337262" y="5412147"/>
                    </a:lnTo>
                    <a:lnTo>
                      <a:pt x="5364552" y="5401866"/>
                    </a:lnTo>
                    <a:lnTo>
                      <a:pt x="5387450" y="5396412"/>
                    </a:lnTo>
                    <a:lnTo>
                      <a:pt x="5406825" y="5362488"/>
                    </a:lnTo>
                    <a:lnTo>
                      <a:pt x="5401252" y="5340644"/>
                    </a:lnTo>
                    <a:lnTo>
                      <a:pt x="5395753" y="5316930"/>
                    </a:lnTo>
                    <a:lnTo>
                      <a:pt x="5390253" y="5293215"/>
                    </a:lnTo>
                    <a:lnTo>
                      <a:pt x="5385221" y="5267388"/>
                    </a:lnTo>
                    <a:lnTo>
                      <a:pt x="5391678" y="5243483"/>
                    </a:lnTo>
                    <a:lnTo>
                      <a:pt x="5417502" y="5223019"/>
                    </a:lnTo>
                    <a:lnTo>
                      <a:pt x="5431029" y="5204414"/>
                    </a:lnTo>
                    <a:lnTo>
                      <a:pt x="5442095" y="5168288"/>
                    </a:lnTo>
                    <a:lnTo>
                      <a:pt x="5431122" y="5133308"/>
                    </a:lnTo>
                    <a:lnTo>
                      <a:pt x="5408678" y="5096990"/>
                    </a:lnTo>
                    <a:lnTo>
                      <a:pt x="5393036" y="5077535"/>
                    </a:lnTo>
                    <a:lnTo>
                      <a:pt x="5377393" y="5058087"/>
                    </a:lnTo>
                    <a:lnTo>
                      <a:pt x="5359236" y="5036844"/>
                    </a:lnTo>
                    <a:lnTo>
                      <a:pt x="5342710" y="5013604"/>
                    </a:lnTo>
                    <a:lnTo>
                      <a:pt x="5332329" y="4990120"/>
                    </a:lnTo>
                    <a:lnTo>
                      <a:pt x="5334044" y="4963641"/>
                    </a:lnTo>
                    <a:lnTo>
                      <a:pt x="5344068" y="4936074"/>
                    </a:lnTo>
                    <a:lnTo>
                      <a:pt x="5354145" y="4908369"/>
                    </a:lnTo>
                    <a:lnTo>
                      <a:pt x="5368192" y="4881455"/>
                    </a:lnTo>
                    <a:lnTo>
                      <a:pt x="5367191" y="4859903"/>
                    </a:lnTo>
                    <a:lnTo>
                      <a:pt x="5365884" y="4831724"/>
                    </a:lnTo>
                    <a:lnTo>
                      <a:pt x="5355701" y="4804704"/>
                    </a:lnTo>
                    <a:lnTo>
                      <a:pt x="5345428" y="4778291"/>
                    </a:lnTo>
                    <a:lnTo>
                      <a:pt x="5335158" y="4751879"/>
                    </a:lnTo>
                    <a:lnTo>
                      <a:pt x="5324317" y="4724820"/>
                    </a:lnTo>
                    <a:lnTo>
                      <a:pt x="5320947" y="4698037"/>
                    </a:lnTo>
                    <a:lnTo>
                      <a:pt x="5323169" y="4663487"/>
                    </a:lnTo>
                    <a:lnTo>
                      <a:pt x="5332323" y="4626496"/>
                    </a:lnTo>
                    <a:lnTo>
                      <a:pt x="5334546" y="4590586"/>
                    </a:lnTo>
                    <a:lnTo>
                      <a:pt x="5322127" y="4560574"/>
                    </a:lnTo>
                    <a:lnTo>
                      <a:pt x="5295287" y="4536264"/>
                    </a:lnTo>
                    <a:lnTo>
                      <a:pt x="5261098" y="4514416"/>
                    </a:lnTo>
                    <a:lnTo>
                      <a:pt x="5226850" y="4493496"/>
                    </a:lnTo>
                    <a:lnTo>
                      <a:pt x="5200134" y="4470039"/>
                    </a:lnTo>
                    <a:lnTo>
                      <a:pt x="5189009" y="4442321"/>
                    </a:lnTo>
                    <a:lnTo>
                      <a:pt x="5185481" y="4418540"/>
                    </a:lnTo>
                    <a:lnTo>
                      <a:pt x="5181154" y="4393722"/>
                    </a:lnTo>
                    <a:lnTo>
                      <a:pt x="5176762" y="4368873"/>
                    </a:lnTo>
                    <a:lnTo>
                      <a:pt x="5172370" y="4344023"/>
                    </a:lnTo>
                    <a:lnTo>
                      <a:pt x="5167846" y="4318811"/>
                    </a:lnTo>
                    <a:lnTo>
                      <a:pt x="5161805" y="4294060"/>
                    </a:lnTo>
                    <a:lnTo>
                      <a:pt x="5155757" y="4269316"/>
                    </a:lnTo>
                    <a:lnTo>
                      <a:pt x="5148523" y="4244084"/>
                    </a:lnTo>
                    <a:lnTo>
                      <a:pt x="5140042" y="4220614"/>
                    </a:lnTo>
                    <a:lnTo>
                      <a:pt x="5131554" y="4197142"/>
                    </a:lnTo>
                    <a:lnTo>
                      <a:pt x="5121827" y="4174990"/>
                    </a:lnTo>
                    <a:lnTo>
                      <a:pt x="5110115" y="4153959"/>
                    </a:lnTo>
                    <a:lnTo>
                      <a:pt x="5090363" y="4118485"/>
                    </a:lnTo>
                    <a:lnTo>
                      <a:pt x="5074264" y="4091842"/>
                    </a:lnTo>
                    <a:lnTo>
                      <a:pt x="5062505" y="4069629"/>
                    </a:lnTo>
                    <a:lnTo>
                      <a:pt x="5050754" y="4047418"/>
                    </a:lnTo>
                    <a:lnTo>
                      <a:pt x="5039384" y="4012504"/>
                    </a:lnTo>
                    <a:lnTo>
                      <a:pt x="5036693" y="3975453"/>
                    </a:lnTo>
                    <a:lnTo>
                      <a:pt x="5042100" y="3952655"/>
                    </a:lnTo>
                    <a:lnTo>
                      <a:pt x="5047516" y="3929850"/>
                    </a:lnTo>
                    <a:lnTo>
                      <a:pt x="5057447" y="3902250"/>
                    </a:lnTo>
                    <a:lnTo>
                      <a:pt x="5072029" y="3865597"/>
                    </a:lnTo>
                    <a:lnTo>
                      <a:pt x="5082910" y="3838398"/>
                    </a:lnTo>
                    <a:lnTo>
                      <a:pt x="5091483" y="3818449"/>
                    </a:lnTo>
                    <a:lnTo>
                      <a:pt x="5101534" y="3798494"/>
                    </a:lnTo>
                    <a:lnTo>
                      <a:pt x="5114191" y="3781267"/>
                    </a:lnTo>
                    <a:lnTo>
                      <a:pt x="5127070" y="3764627"/>
                    </a:lnTo>
                    <a:lnTo>
                      <a:pt x="5149472" y="3756893"/>
                    </a:lnTo>
                    <a:lnTo>
                      <a:pt x="5177698" y="3742252"/>
                    </a:lnTo>
                    <a:lnTo>
                      <a:pt x="5207152" y="3729926"/>
                    </a:lnTo>
                    <a:lnTo>
                      <a:pt x="5231169" y="3714626"/>
                    </a:lnTo>
                    <a:lnTo>
                      <a:pt x="5255328" y="3687869"/>
                    </a:lnTo>
                    <a:lnTo>
                      <a:pt x="5262456" y="3664293"/>
                    </a:lnTo>
                    <a:lnTo>
                      <a:pt x="5269580" y="3640717"/>
                    </a:lnTo>
                    <a:lnTo>
                      <a:pt x="5274150" y="3611040"/>
                    </a:lnTo>
                    <a:lnTo>
                      <a:pt x="5277413" y="3581322"/>
                    </a:lnTo>
                    <a:lnTo>
                      <a:pt x="5280678" y="3551606"/>
                    </a:lnTo>
                    <a:lnTo>
                      <a:pt x="5283039" y="3521686"/>
                    </a:lnTo>
                    <a:lnTo>
                      <a:pt x="5285579" y="3494270"/>
                    </a:lnTo>
                    <a:lnTo>
                      <a:pt x="5288110" y="3466855"/>
                    </a:lnTo>
                    <a:lnTo>
                      <a:pt x="5290161" y="3441577"/>
                    </a:lnTo>
                    <a:lnTo>
                      <a:pt x="5302508" y="3399896"/>
                    </a:lnTo>
                    <a:lnTo>
                      <a:pt x="5325023" y="3370490"/>
                    </a:lnTo>
                    <a:lnTo>
                      <a:pt x="5350551" y="3347823"/>
                    </a:lnTo>
                    <a:lnTo>
                      <a:pt x="5375665" y="3327874"/>
                    </a:lnTo>
                    <a:lnTo>
                      <a:pt x="5397111" y="3302484"/>
                    </a:lnTo>
                    <a:lnTo>
                      <a:pt x="5413282" y="3267075"/>
                    </a:lnTo>
                    <a:lnTo>
                      <a:pt x="5416157" y="3238553"/>
                    </a:lnTo>
                    <a:lnTo>
                      <a:pt x="5417107" y="3212813"/>
                    </a:lnTo>
                    <a:lnTo>
                      <a:pt x="5409332" y="3185667"/>
                    </a:lnTo>
                    <a:lnTo>
                      <a:pt x="5391374" y="3165929"/>
                    </a:lnTo>
                    <a:lnTo>
                      <a:pt x="5365963" y="3146805"/>
                    </a:lnTo>
                    <a:lnTo>
                      <a:pt x="5337994" y="3124943"/>
                    </a:lnTo>
                    <a:lnTo>
                      <a:pt x="5319852" y="3109900"/>
                    </a:lnTo>
                    <a:lnTo>
                      <a:pt x="5301900" y="3094368"/>
                    </a:lnTo>
                    <a:lnTo>
                      <a:pt x="5283955" y="3078845"/>
                    </a:lnTo>
                    <a:lnTo>
                      <a:pt x="5266663" y="3063194"/>
                    </a:lnTo>
                    <a:lnTo>
                      <a:pt x="5254292" y="3045408"/>
                    </a:lnTo>
                    <a:lnTo>
                      <a:pt x="5241927" y="3027615"/>
                    </a:lnTo>
                    <a:lnTo>
                      <a:pt x="5234106" y="3008027"/>
                    </a:lnTo>
                    <a:lnTo>
                      <a:pt x="5232529" y="2986917"/>
                    </a:lnTo>
                    <a:lnTo>
                      <a:pt x="5230952" y="2965808"/>
                    </a:lnTo>
                    <a:lnTo>
                      <a:pt x="5235786" y="2943036"/>
                    </a:lnTo>
                    <a:lnTo>
                      <a:pt x="5250216" y="2917546"/>
                    </a:lnTo>
                    <a:lnTo>
                      <a:pt x="5269559" y="2879802"/>
                    </a:lnTo>
                    <a:lnTo>
                      <a:pt x="5295814" y="2858700"/>
                    </a:lnTo>
                    <a:lnTo>
                      <a:pt x="5315505" y="2845457"/>
                    </a:lnTo>
                    <a:lnTo>
                      <a:pt x="5332323" y="2830413"/>
                    </a:lnTo>
                    <a:lnTo>
                      <a:pt x="5341344" y="2810089"/>
                    </a:lnTo>
                    <a:lnTo>
                      <a:pt x="5348784" y="2763000"/>
                    </a:lnTo>
                    <a:lnTo>
                      <a:pt x="5349510" y="2728477"/>
                    </a:lnTo>
                    <a:lnTo>
                      <a:pt x="5350241" y="2693960"/>
                    </a:lnTo>
                    <a:lnTo>
                      <a:pt x="5349641" y="2658907"/>
                    </a:lnTo>
                    <a:lnTo>
                      <a:pt x="5349311" y="2625201"/>
                    </a:lnTo>
                    <a:lnTo>
                      <a:pt x="5346034" y="2594731"/>
                    </a:lnTo>
                    <a:lnTo>
                      <a:pt x="5338628" y="2565253"/>
                    </a:lnTo>
                    <a:lnTo>
                      <a:pt x="5331222" y="2535780"/>
                    </a:lnTo>
                    <a:lnTo>
                      <a:pt x="5320096" y="2508160"/>
                    </a:lnTo>
                    <a:lnTo>
                      <a:pt x="5301900" y="2494522"/>
                    </a:lnTo>
                    <a:lnTo>
                      <a:pt x="5272896" y="2472463"/>
                    </a:lnTo>
                    <a:lnTo>
                      <a:pt x="5243852" y="2451292"/>
                    </a:lnTo>
                    <a:lnTo>
                      <a:pt x="5216206" y="2429233"/>
                    </a:lnTo>
                    <a:lnTo>
                      <a:pt x="5188746" y="2406224"/>
                    </a:lnTo>
                    <a:lnTo>
                      <a:pt x="5175285" y="2383451"/>
                    </a:lnTo>
                    <a:lnTo>
                      <a:pt x="5171322" y="2359861"/>
                    </a:lnTo>
                    <a:lnTo>
                      <a:pt x="5167358" y="2336277"/>
                    </a:lnTo>
                    <a:lnTo>
                      <a:pt x="5172252" y="2312332"/>
                    </a:lnTo>
                    <a:lnTo>
                      <a:pt x="5179486" y="2287772"/>
                    </a:lnTo>
                    <a:lnTo>
                      <a:pt x="5186713" y="2263212"/>
                    </a:lnTo>
                    <a:lnTo>
                      <a:pt x="5196488" y="2238891"/>
                    </a:lnTo>
                    <a:lnTo>
                      <a:pt x="5202608" y="2212966"/>
                    </a:lnTo>
                    <a:lnTo>
                      <a:pt x="5208727" y="2187035"/>
                    </a:lnTo>
                    <a:lnTo>
                      <a:pt x="5211261" y="2159040"/>
                    </a:lnTo>
                    <a:lnTo>
                      <a:pt x="5203967" y="2131347"/>
                    </a:lnTo>
                    <a:lnTo>
                      <a:pt x="5196699" y="2103761"/>
                    </a:lnTo>
                    <a:lnTo>
                      <a:pt x="5174038" y="2072864"/>
                    </a:lnTo>
                    <a:lnTo>
                      <a:pt x="5148252" y="2050303"/>
                    </a:lnTo>
                    <a:lnTo>
                      <a:pt x="5120936" y="2035576"/>
                    </a:lnTo>
                    <a:lnTo>
                      <a:pt x="5095150" y="2019815"/>
                    </a:lnTo>
                    <a:lnTo>
                      <a:pt x="5072919" y="1998611"/>
                    </a:lnTo>
                    <a:lnTo>
                      <a:pt x="5065223" y="1979012"/>
                    </a:lnTo>
                    <a:lnTo>
                      <a:pt x="5058529" y="1950752"/>
                    </a:lnTo>
                    <a:lnTo>
                      <a:pt x="5063766" y="1925653"/>
                    </a:lnTo>
                    <a:lnTo>
                      <a:pt x="5076111" y="1902840"/>
                    </a:lnTo>
                    <a:lnTo>
                      <a:pt x="5090257" y="1880161"/>
                    </a:lnTo>
                    <a:lnTo>
                      <a:pt x="5102774" y="1857507"/>
                    </a:lnTo>
                    <a:lnTo>
                      <a:pt x="5110115" y="1833469"/>
                    </a:lnTo>
                    <a:lnTo>
                      <a:pt x="5115324" y="1798272"/>
                    </a:lnTo>
                    <a:lnTo>
                      <a:pt x="5098204" y="1754977"/>
                    </a:lnTo>
                    <a:lnTo>
                      <a:pt x="5080193" y="1715129"/>
                    </a:lnTo>
                    <a:lnTo>
                      <a:pt x="5062183" y="1675284"/>
                    </a:lnTo>
                    <a:lnTo>
                      <a:pt x="5042820" y="1639743"/>
                    </a:lnTo>
                    <a:lnTo>
                      <a:pt x="5054380" y="1585527"/>
                    </a:lnTo>
                    <a:lnTo>
                      <a:pt x="5072240" y="1554900"/>
                    </a:lnTo>
                    <a:lnTo>
                      <a:pt x="5101753" y="1532590"/>
                    </a:lnTo>
                    <a:lnTo>
                      <a:pt x="5138684" y="1513821"/>
                    </a:lnTo>
                    <a:lnTo>
                      <a:pt x="5177554" y="1499285"/>
                    </a:lnTo>
                    <a:lnTo>
                      <a:pt x="5214064" y="1487553"/>
                    </a:lnTo>
                    <a:lnTo>
                      <a:pt x="5243417" y="1478459"/>
                    </a:lnTo>
                    <a:lnTo>
                      <a:pt x="5278146" y="1468026"/>
                    </a:lnTo>
                    <a:lnTo>
                      <a:pt x="5301413" y="1467848"/>
                    </a:lnTo>
                    <a:lnTo>
                      <a:pt x="5335047" y="1453701"/>
                    </a:lnTo>
                    <a:lnTo>
                      <a:pt x="5353591" y="1402288"/>
                    </a:lnTo>
                    <a:lnTo>
                      <a:pt x="5362791" y="1368409"/>
                    </a:lnTo>
                    <a:lnTo>
                      <a:pt x="5340211" y="1337968"/>
                    </a:lnTo>
                    <a:lnTo>
                      <a:pt x="5296466" y="1338357"/>
                    </a:lnTo>
                    <a:lnTo>
                      <a:pt x="5271993" y="1336583"/>
                    </a:lnTo>
                    <a:lnTo>
                      <a:pt x="5242026" y="1331426"/>
                    </a:lnTo>
                    <a:lnTo>
                      <a:pt x="5203973" y="1304354"/>
                    </a:lnTo>
                    <a:lnTo>
                      <a:pt x="5196871" y="1276213"/>
                    </a:lnTo>
                    <a:lnTo>
                      <a:pt x="5229323" y="1229976"/>
                    </a:lnTo>
                    <a:lnTo>
                      <a:pt x="5252024" y="1228254"/>
                    </a:lnTo>
                    <a:lnTo>
                      <a:pt x="5271979" y="1221377"/>
                    </a:lnTo>
                    <a:lnTo>
                      <a:pt x="5291698" y="1213106"/>
                    </a:lnTo>
                    <a:lnTo>
                      <a:pt x="5309393" y="1191568"/>
                    </a:lnTo>
                    <a:lnTo>
                      <a:pt x="5326387" y="1146570"/>
                    </a:lnTo>
                    <a:lnTo>
                      <a:pt x="5344860" y="1108755"/>
                    </a:lnTo>
                    <a:lnTo>
                      <a:pt x="5342795" y="1077285"/>
                    </a:lnTo>
                    <a:lnTo>
                      <a:pt x="5319232" y="1061120"/>
                    </a:lnTo>
                    <a:lnTo>
                      <a:pt x="5293742" y="1041830"/>
                    </a:lnTo>
                    <a:lnTo>
                      <a:pt x="5268254" y="1022547"/>
                    </a:lnTo>
                    <a:lnTo>
                      <a:pt x="5241248" y="999689"/>
                    </a:lnTo>
                    <a:lnTo>
                      <a:pt x="5232535" y="975182"/>
                    </a:lnTo>
                    <a:lnTo>
                      <a:pt x="5245263" y="930514"/>
                    </a:lnTo>
                    <a:lnTo>
                      <a:pt x="5290802" y="929901"/>
                    </a:lnTo>
                    <a:lnTo>
                      <a:pt x="5320392" y="931392"/>
                    </a:lnTo>
                    <a:lnTo>
                      <a:pt x="5349510" y="930297"/>
                    </a:lnTo>
                    <a:lnTo>
                      <a:pt x="5378632" y="929202"/>
                    </a:lnTo>
                    <a:lnTo>
                      <a:pt x="5407723" y="925126"/>
                    </a:lnTo>
                    <a:lnTo>
                      <a:pt x="5435204" y="916692"/>
                    </a:lnTo>
                    <a:lnTo>
                      <a:pt x="5458306" y="909609"/>
                    </a:lnTo>
                    <a:lnTo>
                      <a:pt x="5481453" y="884047"/>
                    </a:lnTo>
                    <a:lnTo>
                      <a:pt x="5491076" y="851389"/>
                    </a:lnTo>
                    <a:lnTo>
                      <a:pt x="5485430" y="816053"/>
                    </a:lnTo>
                    <a:lnTo>
                      <a:pt x="5467848" y="782030"/>
                    </a:lnTo>
                    <a:lnTo>
                      <a:pt x="5444001" y="751786"/>
                    </a:lnTo>
                    <a:lnTo>
                      <a:pt x="5408883" y="725743"/>
                    </a:lnTo>
                    <a:lnTo>
                      <a:pt x="5372921" y="712184"/>
                    </a:lnTo>
                    <a:lnTo>
                      <a:pt x="5335910" y="701783"/>
                    </a:lnTo>
                    <a:lnTo>
                      <a:pt x="5298894" y="691383"/>
                    </a:lnTo>
                    <a:lnTo>
                      <a:pt x="5261394" y="682935"/>
                    </a:lnTo>
                    <a:lnTo>
                      <a:pt x="5236617" y="678662"/>
                    </a:lnTo>
                    <a:lnTo>
                      <a:pt x="5251858" y="649070"/>
                    </a:lnTo>
                    <a:lnTo>
                      <a:pt x="5308219" y="623845"/>
                    </a:lnTo>
                    <a:lnTo>
                      <a:pt x="5333193" y="620171"/>
                    </a:lnTo>
                    <a:lnTo>
                      <a:pt x="5347274" y="596773"/>
                    </a:lnTo>
                    <a:lnTo>
                      <a:pt x="5346911" y="557124"/>
                    </a:lnTo>
                    <a:lnTo>
                      <a:pt x="5344074" y="518155"/>
                    </a:lnTo>
                    <a:lnTo>
                      <a:pt x="5341239" y="479186"/>
                    </a:lnTo>
                    <a:lnTo>
                      <a:pt x="5335679" y="440975"/>
                    </a:lnTo>
                    <a:lnTo>
                      <a:pt x="5323671" y="412063"/>
                    </a:lnTo>
                    <a:lnTo>
                      <a:pt x="5229818" y="397099"/>
                    </a:lnTo>
                    <a:lnTo>
                      <a:pt x="5220659" y="366769"/>
                    </a:lnTo>
                    <a:lnTo>
                      <a:pt x="5223368" y="326237"/>
                    </a:lnTo>
                    <a:lnTo>
                      <a:pt x="5233893" y="286924"/>
                    </a:lnTo>
                    <a:lnTo>
                      <a:pt x="5244426" y="247600"/>
                    </a:lnTo>
                    <a:lnTo>
                      <a:pt x="5261876" y="210391"/>
                    </a:lnTo>
                    <a:lnTo>
                      <a:pt x="5281503" y="186267"/>
                    </a:lnTo>
                    <a:lnTo>
                      <a:pt x="5315051" y="145028"/>
                    </a:lnTo>
                    <a:lnTo>
                      <a:pt x="5337341" y="133883"/>
                    </a:lnTo>
                    <a:lnTo>
                      <a:pt x="5348085" y="105347"/>
                    </a:lnTo>
                    <a:lnTo>
                      <a:pt x="5337078" y="87475"/>
                    </a:lnTo>
                    <a:lnTo>
                      <a:pt x="5307348" y="33924"/>
                    </a:lnTo>
                    <a:lnTo>
                      <a:pt x="5281503" y="23043"/>
                    </a:lnTo>
                    <a:lnTo>
                      <a:pt x="5262839" y="48657"/>
                    </a:lnTo>
                    <a:lnTo>
                      <a:pt x="5248923" y="65508"/>
                    </a:lnTo>
                    <a:lnTo>
                      <a:pt x="5232535" y="78816"/>
                    </a:lnTo>
                    <a:lnTo>
                      <a:pt x="5216141" y="92118"/>
                    </a:lnTo>
                    <a:lnTo>
                      <a:pt x="5196231" y="102960"/>
                    </a:lnTo>
                    <a:lnTo>
                      <a:pt x="5167246" y="114177"/>
                    </a:lnTo>
                    <a:lnTo>
                      <a:pt x="5086992" y="145464"/>
                    </a:lnTo>
                    <a:lnTo>
                      <a:pt x="5061062" y="151769"/>
                    </a:lnTo>
                    <a:lnTo>
                      <a:pt x="5005453" y="126972"/>
                    </a:lnTo>
                    <a:lnTo>
                      <a:pt x="4949615" y="99214"/>
                    </a:lnTo>
                    <a:lnTo>
                      <a:pt x="4893768" y="71462"/>
                    </a:lnTo>
                    <a:lnTo>
                      <a:pt x="4838180" y="40367"/>
                    </a:lnTo>
                    <a:lnTo>
                      <a:pt x="4814953" y="31207"/>
                    </a:lnTo>
                    <a:lnTo>
                      <a:pt x="4769686" y="18341"/>
                    </a:lnTo>
                    <a:lnTo>
                      <a:pt x="4725289" y="10116"/>
                    </a:lnTo>
                    <a:lnTo>
                      <a:pt x="4699726" y="20813"/>
                    </a:lnTo>
                    <a:lnTo>
                      <a:pt x="4674850" y="35289"/>
                    </a:lnTo>
                    <a:lnTo>
                      <a:pt x="4649982" y="49765"/>
                    </a:lnTo>
                    <a:lnTo>
                      <a:pt x="4625124" y="68416"/>
                    </a:lnTo>
                    <a:lnTo>
                      <a:pt x="4598679" y="81533"/>
                    </a:lnTo>
                    <a:lnTo>
                      <a:pt x="4572241" y="94657"/>
                    </a:lnTo>
                    <a:lnTo>
                      <a:pt x="4544799" y="101239"/>
                    </a:lnTo>
                    <a:lnTo>
                      <a:pt x="4514350" y="92414"/>
                    </a:lnTo>
                    <a:lnTo>
                      <a:pt x="4483428" y="80333"/>
                    </a:lnTo>
                    <a:lnTo>
                      <a:pt x="4466742" y="66569"/>
                    </a:lnTo>
                    <a:lnTo>
                      <a:pt x="4450057" y="52812"/>
                    </a:lnTo>
                    <a:lnTo>
                      <a:pt x="4432145" y="33766"/>
                    </a:lnTo>
                    <a:lnTo>
                      <a:pt x="4413692" y="8085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94" name="Lviv¬0" descr="Lviv¬0">
                <a:extLst>
                  <a:ext uri="{FF2B5EF4-FFF2-40B4-BE49-F238E27FC236}">
                    <a16:creationId xmlns:a16="http://schemas.microsoft.com/office/drawing/2014/main" id="{B4A9A479-AA64-4136-803E-F1D89EEAE3A9}"/>
                  </a:ext>
                </a:extLst>
              </p:cNvPr>
              <p:cNvSpPr/>
              <p:nvPr/>
            </p:nvSpPr>
            <p:spPr>
              <a:xfrm>
                <a:off x="1771189" y="9144482"/>
                <a:ext cx="9739799" cy="10073765"/>
              </a:xfrm>
              <a:custGeom>
                <a:avLst/>
                <a:gdLst/>
                <a:ahLst/>
                <a:cxnLst/>
                <a:rect l="0" t="0" r="0" b="0"/>
                <a:pathLst>
                  <a:path w="9739805" h="10073762">
                    <a:moveTo>
                      <a:pt x="9497890" y="3285890"/>
                    </a:moveTo>
                    <a:lnTo>
                      <a:pt x="9440454" y="3249539"/>
                    </a:lnTo>
                    <a:lnTo>
                      <a:pt x="9384517" y="3226219"/>
                    </a:lnTo>
                    <a:lnTo>
                      <a:pt x="9336486" y="3199319"/>
                    </a:lnTo>
                    <a:lnTo>
                      <a:pt x="9296554" y="3176916"/>
                    </a:lnTo>
                    <a:lnTo>
                      <a:pt x="9246776" y="3154790"/>
                    </a:lnTo>
                    <a:lnTo>
                      <a:pt x="9214064" y="3121783"/>
                    </a:lnTo>
                    <a:lnTo>
                      <a:pt x="9155812" y="3062996"/>
                    </a:lnTo>
                    <a:lnTo>
                      <a:pt x="9086209" y="3002085"/>
                    </a:lnTo>
                    <a:lnTo>
                      <a:pt x="9039708" y="2959370"/>
                    </a:lnTo>
                    <a:lnTo>
                      <a:pt x="9002559" y="2926640"/>
                    </a:lnTo>
                    <a:lnTo>
                      <a:pt x="8965153" y="2900075"/>
                    </a:lnTo>
                    <a:lnTo>
                      <a:pt x="8944815" y="2885639"/>
                    </a:lnTo>
                    <a:lnTo>
                      <a:pt x="8903939" y="2861989"/>
                    </a:lnTo>
                    <a:lnTo>
                      <a:pt x="8877751" y="2760830"/>
                    </a:lnTo>
                    <a:lnTo>
                      <a:pt x="8862932" y="2693542"/>
                    </a:lnTo>
                    <a:lnTo>
                      <a:pt x="8861778" y="2626670"/>
                    </a:lnTo>
                    <a:lnTo>
                      <a:pt x="8860618" y="2559805"/>
                    </a:lnTo>
                    <a:lnTo>
                      <a:pt x="8871954" y="2492814"/>
                    </a:lnTo>
                    <a:lnTo>
                      <a:pt x="8899863" y="2392716"/>
                    </a:lnTo>
                    <a:lnTo>
                      <a:pt x="8880006" y="2354037"/>
                    </a:lnTo>
                    <a:lnTo>
                      <a:pt x="8852255" y="2328785"/>
                    </a:lnTo>
                    <a:lnTo>
                      <a:pt x="8824504" y="2303540"/>
                    </a:lnTo>
                    <a:lnTo>
                      <a:pt x="8794042" y="2278024"/>
                    </a:lnTo>
                    <a:lnTo>
                      <a:pt x="8783298" y="2244040"/>
                    </a:lnTo>
                    <a:lnTo>
                      <a:pt x="8803288" y="2209094"/>
                    </a:lnTo>
                    <a:lnTo>
                      <a:pt x="8815983" y="2192047"/>
                    </a:lnTo>
                    <a:lnTo>
                      <a:pt x="8833644" y="2175203"/>
                    </a:lnTo>
                    <a:lnTo>
                      <a:pt x="8852255" y="2158762"/>
                    </a:lnTo>
                    <a:lnTo>
                      <a:pt x="8870866" y="2142321"/>
                    </a:lnTo>
                    <a:lnTo>
                      <a:pt x="8889859" y="2126078"/>
                    </a:lnTo>
                    <a:lnTo>
                      <a:pt x="8906663" y="2108436"/>
                    </a:lnTo>
                    <a:lnTo>
                      <a:pt x="8923467" y="2090795"/>
                    </a:lnTo>
                    <a:lnTo>
                      <a:pt x="8937461" y="2071953"/>
                    </a:lnTo>
                    <a:lnTo>
                      <a:pt x="8944748" y="2051311"/>
                    </a:lnTo>
                    <a:lnTo>
                      <a:pt x="8952425" y="2029535"/>
                    </a:lnTo>
                    <a:lnTo>
                      <a:pt x="8956923" y="2006486"/>
                    </a:lnTo>
                    <a:lnTo>
                      <a:pt x="8956989" y="1983298"/>
                    </a:lnTo>
                    <a:lnTo>
                      <a:pt x="8957054" y="1960110"/>
                    </a:lnTo>
                    <a:lnTo>
                      <a:pt x="8953797" y="1936441"/>
                    </a:lnTo>
                    <a:lnTo>
                      <a:pt x="8946107" y="1915291"/>
                    </a:lnTo>
                    <a:lnTo>
                      <a:pt x="8938418" y="1894135"/>
                    </a:lnTo>
                    <a:lnTo>
                      <a:pt x="8926342" y="1875201"/>
                    </a:lnTo>
                    <a:lnTo>
                      <a:pt x="8910746" y="1859518"/>
                    </a:lnTo>
                    <a:lnTo>
                      <a:pt x="8895148" y="1843842"/>
                    </a:lnTo>
                    <a:lnTo>
                      <a:pt x="8875904" y="1832275"/>
                    </a:lnTo>
                    <a:lnTo>
                      <a:pt x="8852255" y="1825515"/>
                    </a:lnTo>
                    <a:lnTo>
                      <a:pt x="8831151" y="1819480"/>
                    </a:lnTo>
                    <a:lnTo>
                      <a:pt x="8809236" y="1809700"/>
                    </a:lnTo>
                    <a:lnTo>
                      <a:pt x="8786966" y="1814633"/>
                    </a:lnTo>
                    <a:lnTo>
                      <a:pt x="8757322" y="1821195"/>
                    </a:lnTo>
                    <a:lnTo>
                      <a:pt x="8735862" y="1832281"/>
                    </a:lnTo>
                    <a:lnTo>
                      <a:pt x="8717594" y="1843196"/>
                    </a:lnTo>
                    <a:lnTo>
                      <a:pt x="8699332" y="1854117"/>
                    </a:lnTo>
                    <a:lnTo>
                      <a:pt x="8668626" y="1875840"/>
                    </a:lnTo>
                    <a:lnTo>
                      <a:pt x="8633212" y="1892717"/>
                    </a:lnTo>
                    <a:lnTo>
                      <a:pt x="8608778" y="1896245"/>
                    </a:lnTo>
                    <a:lnTo>
                      <a:pt x="8584344" y="1899774"/>
                    </a:lnTo>
                    <a:lnTo>
                      <a:pt x="8554192" y="1899028"/>
                    </a:lnTo>
                    <a:lnTo>
                      <a:pt x="8512202" y="1890805"/>
                    </a:lnTo>
                    <a:lnTo>
                      <a:pt x="8467469" y="1885641"/>
                    </a:lnTo>
                    <a:lnTo>
                      <a:pt x="8442811" y="1861154"/>
                    </a:lnTo>
                    <a:lnTo>
                      <a:pt x="8439309" y="1829617"/>
                    </a:lnTo>
                    <a:lnTo>
                      <a:pt x="8439705" y="1792804"/>
                    </a:lnTo>
                    <a:lnTo>
                      <a:pt x="8442738" y="1769076"/>
                    </a:lnTo>
                    <a:lnTo>
                      <a:pt x="8445554" y="1743903"/>
                    </a:lnTo>
                    <a:lnTo>
                      <a:pt x="8448377" y="1718730"/>
                    </a:lnTo>
                    <a:lnTo>
                      <a:pt x="8451436" y="1692825"/>
                    </a:lnTo>
                    <a:lnTo>
                      <a:pt x="8450995" y="1667732"/>
                    </a:lnTo>
                    <a:lnTo>
                      <a:pt x="8450533" y="1642638"/>
                    </a:lnTo>
                    <a:lnTo>
                      <a:pt x="8447586" y="1618593"/>
                    </a:lnTo>
                    <a:lnTo>
                      <a:pt x="8438754" y="1597002"/>
                    </a:lnTo>
                    <a:lnTo>
                      <a:pt x="8429924" y="1575410"/>
                    </a:lnTo>
                    <a:lnTo>
                      <a:pt x="8414861" y="1555909"/>
                    </a:lnTo>
                    <a:lnTo>
                      <a:pt x="8392504" y="1541235"/>
                    </a:lnTo>
                    <a:lnTo>
                      <a:pt x="8365987" y="1523039"/>
                    </a:lnTo>
                    <a:lnTo>
                      <a:pt x="8206159" y="1550752"/>
                    </a:lnTo>
                    <a:lnTo>
                      <a:pt x="8184778" y="1551286"/>
                    </a:lnTo>
                    <a:lnTo>
                      <a:pt x="8155154" y="1540048"/>
                    </a:lnTo>
                    <a:lnTo>
                      <a:pt x="8128623" y="1519109"/>
                    </a:lnTo>
                    <a:lnTo>
                      <a:pt x="8112663" y="1498381"/>
                    </a:lnTo>
                    <a:lnTo>
                      <a:pt x="8095985" y="1478662"/>
                    </a:lnTo>
                    <a:lnTo>
                      <a:pt x="8079306" y="1458937"/>
                    </a:lnTo>
                    <a:lnTo>
                      <a:pt x="8061546" y="1440207"/>
                    </a:lnTo>
                    <a:lnTo>
                      <a:pt x="8041576" y="1426972"/>
                    </a:lnTo>
                    <a:lnTo>
                      <a:pt x="8021607" y="1413742"/>
                    </a:lnTo>
                    <a:lnTo>
                      <a:pt x="7999772" y="1406521"/>
                    </a:lnTo>
                    <a:lnTo>
                      <a:pt x="7972205" y="1412014"/>
                    </a:lnTo>
                    <a:lnTo>
                      <a:pt x="7964951" y="1435044"/>
                    </a:lnTo>
                    <a:lnTo>
                      <a:pt x="7965867" y="1462432"/>
                    </a:lnTo>
                    <a:lnTo>
                      <a:pt x="7970846" y="1492261"/>
                    </a:lnTo>
                    <a:lnTo>
                      <a:pt x="7975542" y="1522637"/>
                    </a:lnTo>
                    <a:lnTo>
                      <a:pt x="7979367" y="1553198"/>
                    </a:lnTo>
                    <a:lnTo>
                      <a:pt x="7965406" y="1576597"/>
                    </a:lnTo>
                    <a:lnTo>
                      <a:pt x="7927788" y="1586773"/>
                    </a:lnTo>
                    <a:lnTo>
                      <a:pt x="7854677" y="1576472"/>
                    </a:lnTo>
                    <a:lnTo>
                      <a:pt x="7803540" y="1538511"/>
                    </a:lnTo>
                    <a:lnTo>
                      <a:pt x="7778816" y="1517599"/>
                    </a:lnTo>
                    <a:lnTo>
                      <a:pt x="7754652" y="1505378"/>
                    </a:lnTo>
                    <a:lnTo>
                      <a:pt x="7728734" y="1500426"/>
                    </a:lnTo>
                    <a:lnTo>
                      <a:pt x="7702816" y="1495473"/>
                    </a:lnTo>
                    <a:lnTo>
                      <a:pt x="7675968" y="1497834"/>
                    </a:lnTo>
                    <a:lnTo>
                      <a:pt x="7644399" y="1504501"/>
                    </a:lnTo>
                    <a:lnTo>
                      <a:pt x="7622338" y="1509164"/>
                    </a:lnTo>
                    <a:lnTo>
                      <a:pt x="7588929" y="1517619"/>
                    </a:lnTo>
                    <a:lnTo>
                      <a:pt x="7568228" y="1526265"/>
                    </a:lnTo>
                    <a:lnTo>
                      <a:pt x="7515297" y="1561198"/>
                    </a:lnTo>
                    <a:lnTo>
                      <a:pt x="7481175" y="1584755"/>
                    </a:lnTo>
                    <a:lnTo>
                      <a:pt x="7447053" y="1608305"/>
                    </a:lnTo>
                    <a:lnTo>
                      <a:pt x="7414005" y="1628597"/>
                    </a:lnTo>
                    <a:lnTo>
                      <a:pt x="7360758" y="1606511"/>
                    </a:lnTo>
                    <a:lnTo>
                      <a:pt x="7324645" y="1588685"/>
                    </a:lnTo>
                    <a:lnTo>
                      <a:pt x="7288023" y="1575232"/>
                    </a:lnTo>
                    <a:lnTo>
                      <a:pt x="7238271" y="1562378"/>
                    </a:lnTo>
                    <a:lnTo>
                      <a:pt x="7213217" y="1550745"/>
                    </a:lnTo>
                    <a:lnTo>
                      <a:pt x="7189601" y="1538445"/>
                    </a:lnTo>
                    <a:lnTo>
                      <a:pt x="7174261" y="1519525"/>
                    </a:lnTo>
                    <a:lnTo>
                      <a:pt x="7171050" y="1492261"/>
                    </a:lnTo>
                    <a:lnTo>
                      <a:pt x="7175824" y="1455679"/>
                    </a:lnTo>
                    <a:lnTo>
                      <a:pt x="7178865" y="1430974"/>
                    </a:lnTo>
                    <a:lnTo>
                      <a:pt x="7179075" y="1404444"/>
                    </a:lnTo>
                    <a:lnTo>
                      <a:pt x="7167290" y="1361781"/>
                    </a:lnTo>
                    <a:lnTo>
                      <a:pt x="7151528" y="1346105"/>
                    </a:lnTo>
                    <a:lnTo>
                      <a:pt x="7131605" y="1335837"/>
                    </a:lnTo>
                    <a:lnTo>
                      <a:pt x="7111682" y="1325568"/>
                    </a:lnTo>
                    <a:lnTo>
                      <a:pt x="7088165" y="1320325"/>
                    </a:lnTo>
                    <a:lnTo>
                      <a:pt x="7064957" y="1316791"/>
                    </a:lnTo>
                    <a:lnTo>
                      <a:pt x="7041750" y="1313256"/>
                    </a:lnTo>
                    <a:lnTo>
                      <a:pt x="7018720" y="1311442"/>
                    </a:lnTo>
                    <a:lnTo>
                      <a:pt x="6980608" y="1305817"/>
                    </a:lnTo>
                    <a:lnTo>
                      <a:pt x="6957500" y="1293669"/>
                    </a:lnTo>
                    <a:lnTo>
                      <a:pt x="6949342" y="1271906"/>
                    </a:lnTo>
                    <a:lnTo>
                      <a:pt x="6950700" y="1247425"/>
                    </a:lnTo>
                    <a:lnTo>
                      <a:pt x="6952059" y="1218856"/>
                    </a:lnTo>
                    <a:lnTo>
                      <a:pt x="6946532" y="1196783"/>
                    </a:lnTo>
                    <a:lnTo>
                      <a:pt x="6925231" y="1179056"/>
                    </a:lnTo>
                    <a:lnTo>
                      <a:pt x="6889487" y="1178053"/>
                    </a:lnTo>
                    <a:lnTo>
                      <a:pt x="6849693" y="1181266"/>
                    </a:lnTo>
                    <a:lnTo>
                      <a:pt x="6809589" y="1183007"/>
                    </a:lnTo>
                    <a:lnTo>
                      <a:pt x="6773871" y="1179412"/>
                    </a:lnTo>
                    <a:lnTo>
                      <a:pt x="6744946" y="1166598"/>
                    </a:lnTo>
                    <a:lnTo>
                      <a:pt x="6731974" y="1142666"/>
                    </a:lnTo>
                    <a:lnTo>
                      <a:pt x="6723546" y="1118205"/>
                    </a:lnTo>
                    <a:lnTo>
                      <a:pt x="6716291" y="1091931"/>
                    </a:lnTo>
                    <a:lnTo>
                      <a:pt x="6708245" y="1068756"/>
                    </a:lnTo>
                    <a:lnTo>
                      <a:pt x="6684095" y="1056991"/>
                    </a:lnTo>
                    <a:lnTo>
                      <a:pt x="6657788" y="1051761"/>
                    </a:lnTo>
                    <a:lnTo>
                      <a:pt x="6632410" y="1067879"/>
                    </a:lnTo>
                    <a:lnTo>
                      <a:pt x="6617131" y="1102496"/>
                    </a:lnTo>
                    <a:lnTo>
                      <a:pt x="6626753" y="1134903"/>
                    </a:lnTo>
                    <a:lnTo>
                      <a:pt x="6626970" y="1164448"/>
                    </a:lnTo>
                    <a:lnTo>
                      <a:pt x="6624636" y="1193591"/>
                    </a:lnTo>
                    <a:lnTo>
                      <a:pt x="6607541" y="1219641"/>
                    </a:lnTo>
                    <a:lnTo>
                      <a:pt x="6567121" y="1241984"/>
                    </a:lnTo>
                    <a:lnTo>
                      <a:pt x="6510372" y="1249444"/>
                    </a:lnTo>
                    <a:lnTo>
                      <a:pt x="6489677" y="1229850"/>
                    </a:lnTo>
                    <a:lnTo>
                      <a:pt x="6472405" y="1200311"/>
                    </a:lnTo>
                    <a:lnTo>
                      <a:pt x="6471067" y="1173648"/>
                    </a:lnTo>
                    <a:lnTo>
                      <a:pt x="6482640" y="1145514"/>
                    </a:lnTo>
                    <a:lnTo>
                      <a:pt x="6485509" y="1115488"/>
                    </a:lnTo>
                    <a:lnTo>
                      <a:pt x="6485707" y="1085013"/>
                    </a:lnTo>
                    <a:lnTo>
                      <a:pt x="6474456" y="1056193"/>
                    </a:lnTo>
                    <a:lnTo>
                      <a:pt x="6446065" y="1031159"/>
                    </a:lnTo>
                    <a:lnTo>
                      <a:pt x="6424025" y="1017461"/>
                    </a:lnTo>
                    <a:lnTo>
                      <a:pt x="6388043" y="997360"/>
                    </a:lnTo>
                    <a:lnTo>
                      <a:pt x="6354930" y="974027"/>
                    </a:lnTo>
                    <a:lnTo>
                      <a:pt x="6321817" y="950694"/>
                    </a:lnTo>
                    <a:lnTo>
                      <a:pt x="6292635" y="923893"/>
                    </a:lnTo>
                    <a:lnTo>
                      <a:pt x="6285559" y="895139"/>
                    </a:lnTo>
                    <a:lnTo>
                      <a:pt x="6296862" y="872888"/>
                    </a:lnTo>
                    <a:lnTo>
                      <a:pt x="6332019" y="847062"/>
                    </a:lnTo>
                    <a:lnTo>
                      <a:pt x="6377386" y="831089"/>
                    </a:lnTo>
                    <a:lnTo>
                      <a:pt x="6426491" y="829038"/>
                    </a:lnTo>
                    <a:lnTo>
                      <a:pt x="6471904" y="818968"/>
                    </a:lnTo>
                    <a:lnTo>
                      <a:pt x="6494616" y="813929"/>
                    </a:lnTo>
                    <a:lnTo>
                      <a:pt x="6516492" y="806471"/>
                    </a:lnTo>
                    <a:lnTo>
                      <a:pt x="6535835" y="794481"/>
                    </a:lnTo>
                    <a:lnTo>
                      <a:pt x="6555184" y="782492"/>
                    </a:lnTo>
                    <a:lnTo>
                      <a:pt x="6572846" y="765846"/>
                    </a:lnTo>
                    <a:lnTo>
                      <a:pt x="6586160" y="741431"/>
                    </a:lnTo>
                    <a:lnTo>
                      <a:pt x="6600043" y="707612"/>
                    </a:lnTo>
                    <a:lnTo>
                      <a:pt x="6602206" y="674599"/>
                    </a:lnTo>
                    <a:lnTo>
                      <a:pt x="6591601" y="639421"/>
                    </a:lnTo>
                    <a:lnTo>
                      <a:pt x="6575932" y="602120"/>
                    </a:lnTo>
                    <a:lnTo>
                      <a:pt x="6539594" y="568731"/>
                    </a:lnTo>
                    <a:lnTo>
                      <a:pt x="6514072" y="538764"/>
                    </a:lnTo>
                    <a:lnTo>
                      <a:pt x="6486762" y="506712"/>
                    </a:lnTo>
                    <a:lnTo>
                      <a:pt x="6462532" y="484085"/>
                    </a:lnTo>
                    <a:lnTo>
                      <a:pt x="6421578" y="472115"/>
                    </a:lnTo>
                    <a:lnTo>
                      <a:pt x="6401391" y="466213"/>
                    </a:lnTo>
                    <a:lnTo>
                      <a:pt x="6373970" y="468039"/>
                    </a:lnTo>
                    <a:lnTo>
                      <a:pt x="6354423" y="476554"/>
                    </a:lnTo>
                    <a:lnTo>
                      <a:pt x="6331452" y="495897"/>
                    </a:lnTo>
                    <a:lnTo>
                      <a:pt x="6297798" y="512924"/>
                    </a:lnTo>
                    <a:lnTo>
                      <a:pt x="6239427" y="481361"/>
                    </a:lnTo>
                    <a:lnTo>
                      <a:pt x="6201230" y="450359"/>
                    </a:lnTo>
                    <a:lnTo>
                      <a:pt x="6163031" y="419349"/>
                    </a:lnTo>
                    <a:lnTo>
                      <a:pt x="6127465" y="385887"/>
                    </a:lnTo>
                    <a:lnTo>
                      <a:pt x="6118008" y="349365"/>
                    </a:lnTo>
                    <a:lnTo>
                      <a:pt x="6133216" y="319779"/>
                    </a:lnTo>
                    <a:lnTo>
                      <a:pt x="6148760" y="292127"/>
                    </a:lnTo>
                    <a:lnTo>
                      <a:pt x="6146135" y="255935"/>
                    </a:lnTo>
                    <a:lnTo>
                      <a:pt x="6101303" y="219352"/>
                    </a:lnTo>
                    <a:lnTo>
                      <a:pt x="6051604" y="191918"/>
                    </a:lnTo>
                    <a:lnTo>
                      <a:pt x="6026754" y="178201"/>
                    </a:lnTo>
                    <a:lnTo>
                      <a:pt x="6001193" y="166962"/>
                    </a:lnTo>
                    <a:lnTo>
                      <a:pt x="5978156" y="160632"/>
                    </a:lnTo>
                    <a:lnTo>
                      <a:pt x="5955121" y="154307"/>
                    </a:lnTo>
                    <a:lnTo>
                      <a:pt x="5922384" y="160632"/>
                    </a:lnTo>
                    <a:lnTo>
                      <a:pt x="5901353" y="190263"/>
                    </a:lnTo>
                    <a:lnTo>
                      <a:pt x="5883572" y="223501"/>
                    </a:lnTo>
                    <a:lnTo>
                      <a:pt x="5857094" y="244967"/>
                    </a:lnTo>
                    <a:lnTo>
                      <a:pt x="5825511" y="255618"/>
                    </a:lnTo>
                    <a:lnTo>
                      <a:pt x="5798907" y="258796"/>
                    </a:lnTo>
                    <a:lnTo>
                      <a:pt x="5774123" y="259924"/>
                    </a:lnTo>
                    <a:lnTo>
                      <a:pt x="5747810" y="262239"/>
                    </a:lnTo>
                    <a:lnTo>
                      <a:pt x="5716102" y="271208"/>
                    </a:lnTo>
                    <a:lnTo>
                      <a:pt x="5676190" y="291211"/>
                    </a:lnTo>
                    <a:lnTo>
                      <a:pt x="5636257" y="318797"/>
                    </a:lnTo>
                    <a:lnTo>
                      <a:pt x="5625863" y="337454"/>
                    </a:lnTo>
                    <a:lnTo>
                      <a:pt x="5588893" y="328010"/>
                    </a:lnTo>
                    <a:lnTo>
                      <a:pt x="5563291" y="314333"/>
                    </a:lnTo>
                    <a:lnTo>
                      <a:pt x="5537690" y="300654"/>
                    </a:lnTo>
                    <a:lnTo>
                      <a:pt x="5507822" y="285368"/>
                    </a:lnTo>
                    <a:lnTo>
                      <a:pt x="5477603" y="281687"/>
                    </a:lnTo>
                    <a:lnTo>
                      <a:pt x="5446318" y="210153"/>
                    </a:lnTo>
                    <a:lnTo>
                      <a:pt x="5427271" y="189194"/>
                    </a:lnTo>
                    <a:lnTo>
                      <a:pt x="5404671" y="171137"/>
                    </a:lnTo>
                    <a:lnTo>
                      <a:pt x="5376424" y="161001"/>
                    </a:lnTo>
                    <a:lnTo>
                      <a:pt x="5348383" y="151108"/>
                    </a:lnTo>
                    <a:lnTo>
                      <a:pt x="5322953" y="136600"/>
                    </a:lnTo>
                    <a:lnTo>
                      <a:pt x="5308517" y="108485"/>
                    </a:lnTo>
                    <a:lnTo>
                      <a:pt x="5310297" y="59974"/>
                    </a:lnTo>
                    <a:lnTo>
                      <a:pt x="5291884" y="28371"/>
                    </a:lnTo>
                    <a:lnTo>
                      <a:pt x="5273571" y="17812"/>
                    </a:lnTo>
                    <a:lnTo>
                      <a:pt x="5255256" y="7247"/>
                    </a:lnTo>
                    <a:lnTo>
                      <a:pt x="5232431" y="0"/>
                    </a:lnTo>
                    <a:lnTo>
                      <a:pt x="5208281" y="125"/>
                    </a:lnTo>
                    <a:lnTo>
                      <a:pt x="5184130" y="256"/>
                    </a:lnTo>
                    <a:lnTo>
                      <a:pt x="5158159" y="7129"/>
                    </a:lnTo>
                    <a:lnTo>
                      <a:pt x="5136192" y="21888"/>
                    </a:lnTo>
                    <a:lnTo>
                      <a:pt x="5115926" y="35506"/>
                    </a:lnTo>
                    <a:lnTo>
                      <a:pt x="5100441" y="57883"/>
                    </a:lnTo>
                    <a:lnTo>
                      <a:pt x="5088584" y="87177"/>
                    </a:lnTo>
                    <a:lnTo>
                      <a:pt x="5084297" y="147771"/>
                    </a:lnTo>
                    <a:lnTo>
                      <a:pt x="5065370" y="222037"/>
                    </a:lnTo>
                    <a:lnTo>
                      <a:pt x="5066820" y="255842"/>
                    </a:lnTo>
                    <a:lnTo>
                      <a:pt x="5072861" y="284365"/>
                    </a:lnTo>
                    <a:lnTo>
                      <a:pt x="5087225" y="307533"/>
                    </a:lnTo>
                    <a:lnTo>
                      <a:pt x="5093200" y="349034"/>
                    </a:lnTo>
                    <a:lnTo>
                      <a:pt x="5112708" y="422212"/>
                    </a:lnTo>
                    <a:lnTo>
                      <a:pt x="5182845" y="447141"/>
                    </a:lnTo>
                    <a:lnTo>
                      <a:pt x="5178360" y="502037"/>
                    </a:lnTo>
                    <a:lnTo>
                      <a:pt x="5134306" y="557447"/>
                    </a:lnTo>
                    <a:lnTo>
                      <a:pt x="5085992" y="548583"/>
                    </a:lnTo>
                    <a:lnTo>
                      <a:pt x="5050505" y="594530"/>
                    </a:lnTo>
                    <a:lnTo>
                      <a:pt x="5049614" y="623119"/>
                    </a:lnTo>
                    <a:lnTo>
                      <a:pt x="5031946" y="642099"/>
                    </a:lnTo>
                    <a:lnTo>
                      <a:pt x="5008337" y="655743"/>
                    </a:lnTo>
                    <a:lnTo>
                      <a:pt x="4967804" y="679116"/>
                    </a:lnTo>
                    <a:lnTo>
                      <a:pt x="4922002" y="680033"/>
                    </a:lnTo>
                    <a:lnTo>
                      <a:pt x="4879116" y="693830"/>
                    </a:lnTo>
                    <a:lnTo>
                      <a:pt x="4853488" y="717775"/>
                    </a:lnTo>
                    <a:lnTo>
                      <a:pt x="4828790" y="719668"/>
                    </a:lnTo>
                    <a:lnTo>
                      <a:pt x="4810892" y="741668"/>
                    </a:lnTo>
                    <a:lnTo>
                      <a:pt x="4788047" y="801959"/>
                    </a:lnTo>
                    <a:lnTo>
                      <a:pt x="4797504" y="828484"/>
                    </a:lnTo>
                    <a:lnTo>
                      <a:pt x="4815126" y="846660"/>
                    </a:lnTo>
                    <a:lnTo>
                      <a:pt x="4837607" y="872459"/>
                    </a:lnTo>
                    <a:lnTo>
                      <a:pt x="4830703" y="910967"/>
                    </a:lnTo>
                    <a:lnTo>
                      <a:pt x="4823349" y="933218"/>
                    </a:lnTo>
                    <a:lnTo>
                      <a:pt x="4815548" y="956854"/>
                    </a:lnTo>
                    <a:lnTo>
                      <a:pt x="4797570" y="978254"/>
                    </a:lnTo>
                    <a:lnTo>
                      <a:pt x="4787988" y="1001231"/>
                    </a:lnTo>
                    <a:lnTo>
                      <a:pt x="4765565" y="1054940"/>
                    </a:lnTo>
                    <a:lnTo>
                      <a:pt x="4749579" y="1109005"/>
                    </a:lnTo>
                    <a:lnTo>
                      <a:pt x="4732215" y="1164455"/>
                    </a:lnTo>
                    <a:lnTo>
                      <a:pt x="4721887" y="1188236"/>
                    </a:lnTo>
                    <a:lnTo>
                      <a:pt x="4703863" y="1207896"/>
                    </a:lnTo>
                    <a:lnTo>
                      <a:pt x="4684613" y="1224303"/>
                    </a:lnTo>
                    <a:lnTo>
                      <a:pt x="4607782" y="1265792"/>
                    </a:lnTo>
                    <a:lnTo>
                      <a:pt x="4187074" y="1219074"/>
                    </a:lnTo>
                    <a:lnTo>
                      <a:pt x="4062999" y="1231103"/>
                    </a:lnTo>
                    <a:lnTo>
                      <a:pt x="3989485" y="1238245"/>
                    </a:lnTo>
                    <a:lnTo>
                      <a:pt x="3804816" y="1305342"/>
                    </a:lnTo>
                    <a:lnTo>
                      <a:pt x="3735191" y="1338561"/>
                    </a:lnTo>
                    <a:lnTo>
                      <a:pt x="3625333" y="1390990"/>
                    </a:lnTo>
                    <a:lnTo>
                      <a:pt x="3636556" y="1461166"/>
                    </a:lnTo>
                    <a:lnTo>
                      <a:pt x="3616854" y="1569798"/>
                    </a:lnTo>
                    <a:lnTo>
                      <a:pt x="3612435" y="1613383"/>
                    </a:lnTo>
                    <a:lnTo>
                      <a:pt x="3567972" y="1698675"/>
                    </a:lnTo>
                    <a:lnTo>
                      <a:pt x="3480366" y="1676655"/>
                    </a:lnTo>
                    <a:lnTo>
                      <a:pt x="3430507" y="1727580"/>
                    </a:lnTo>
                    <a:lnTo>
                      <a:pt x="3392399" y="1766471"/>
                    </a:lnTo>
                    <a:lnTo>
                      <a:pt x="3380774" y="1827678"/>
                    </a:lnTo>
                    <a:lnTo>
                      <a:pt x="3348895" y="1869035"/>
                    </a:lnTo>
                    <a:lnTo>
                      <a:pt x="3297228" y="1936052"/>
                    </a:lnTo>
                    <a:lnTo>
                      <a:pt x="3226774" y="2008458"/>
                    </a:lnTo>
                    <a:lnTo>
                      <a:pt x="3153026" y="2049946"/>
                    </a:lnTo>
                    <a:lnTo>
                      <a:pt x="2968549" y="2183183"/>
                    </a:lnTo>
                    <a:lnTo>
                      <a:pt x="2925022" y="2224473"/>
                    </a:lnTo>
                    <a:lnTo>
                      <a:pt x="2860859" y="2257843"/>
                    </a:lnTo>
                    <a:lnTo>
                      <a:pt x="2818417" y="2293416"/>
                    </a:lnTo>
                    <a:lnTo>
                      <a:pt x="2764434" y="2338671"/>
                    </a:lnTo>
                    <a:lnTo>
                      <a:pt x="2732065" y="2406466"/>
                    </a:lnTo>
                    <a:lnTo>
                      <a:pt x="2682397" y="2456641"/>
                    </a:lnTo>
                    <a:lnTo>
                      <a:pt x="2642186" y="2497305"/>
                    </a:lnTo>
                    <a:lnTo>
                      <a:pt x="2590924" y="2527377"/>
                    </a:lnTo>
                    <a:lnTo>
                      <a:pt x="2547737" y="2565456"/>
                    </a:lnTo>
                    <a:lnTo>
                      <a:pt x="2470440" y="2633661"/>
                    </a:lnTo>
                    <a:lnTo>
                      <a:pt x="2326408" y="2769747"/>
                    </a:lnTo>
                    <a:lnTo>
                      <a:pt x="2262096" y="2847019"/>
                    </a:lnTo>
                    <a:lnTo>
                      <a:pt x="2231534" y="2888488"/>
                    </a:lnTo>
                    <a:lnTo>
                      <a:pt x="2207178" y="2943146"/>
                    </a:lnTo>
                    <a:lnTo>
                      <a:pt x="2172322" y="2980322"/>
                    </a:lnTo>
                    <a:lnTo>
                      <a:pt x="2148881" y="3005356"/>
                    </a:lnTo>
                    <a:lnTo>
                      <a:pt x="2115322" y="3022701"/>
                    </a:lnTo>
                    <a:lnTo>
                      <a:pt x="2089350" y="3044253"/>
                    </a:lnTo>
                    <a:lnTo>
                      <a:pt x="2054390" y="3073257"/>
                    </a:lnTo>
                    <a:lnTo>
                      <a:pt x="2025485" y="3106694"/>
                    </a:lnTo>
                    <a:lnTo>
                      <a:pt x="1992777" y="3136740"/>
                    </a:lnTo>
                    <a:lnTo>
                      <a:pt x="1955626" y="3170855"/>
                    </a:lnTo>
                    <a:lnTo>
                      <a:pt x="1967528" y="3224795"/>
                    </a:lnTo>
                    <a:lnTo>
                      <a:pt x="1946529" y="3263243"/>
                    </a:lnTo>
                    <a:lnTo>
                      <a:pt x="1919283" y="3313167"/>
                    </a:lnTo>
                    <a:lnTo>
                      <a:pt x="1862984" y="3325070"/>
                    </a:lnTo>
                    <a:lnTo>
                      <a:pt x="1824112" y="3363894"/>
                    </a:lnTo>
                    <a:lnTo>
                      <a:pt x="1720885" y="3422747"/>
                    </a:lnTo>
                    <a:lnTo>
                      <a:pt x="1686306" y="3525378"/>
                    </a:lnTo>
                    <a:lnTo>
                      <a:pt x="1607840" y="3591050"/>
                    </a:lnTo>
                    <a:lnTo>
                      <a:pt x="1560892" y="3630368"/>
                    </a:lnTo>
                    <a:lnTo>
                      <a:pt x="1585716" y="3653108"/>
                    </a:lnTo>
                    <a:lnTo>
                      <a:pt x="1560233" y="3686267"/>
                    </a:lnTo>
                    <a:lnTo>
                      <a:pt x="1535835" y="3718034"/>
                    </a:lnTo>
                    <a:lnTo>
                      <a:pt x="1504742" y="3746538"/>
                    </a:lnTo>
                    <a:lnTo>
                      <a:pt x="1479981" y="3778754"/>
                    </a:lnTo>
                    <a:lnTo>
                      <a:pt x="1444064" y="3825472"/>
                    </a:lnTo>
                    <a:lnTo>
                      <a:pt x="1412015" y="3878244"/>
                    </a:lnTo>
                    <a:lnTo>
                      <a:pt x="1380687" y="3928379"/>
                    </a:lnTo>
                    <a:lnTo>
                      <a:pt x="1355970" y="3967909"/>
                    </a:lnTo>
                    <a:lnTo>
                      <a:pt x="1282498" y="4049969"/>
                    </a:lnTo>
                    <a:lnTo>
                      <a:pt x="1250107" y="4091602"/>
                    </a:lnTo>
                    <a:lnTo>
                      <a:pt x="1223882" y="4125329"/>
                    </a:lnTo>
                    <a:lnTo>
                      <a:pt x="1197400" y="4185330"/>
                    </a:lnTo>
                    <a:lnTo>
                      <a:pt x="1153109" y="4233598"/>
                    </a:lnTo>
                    <a:lnTo>
                      <a:pt x="1091092" y="4228262"/>
                    </a:lnTo>
                    <a:lnTo>
                      <a:pt x="1073282" y="4257544"/>
                    </a:lnTo>
                    <a:lnTo>
                      <a:pt x="1056025" y="4285942"/>
                    </a:lnTo>
                    <a:lnTo>
                      <a:pt x="1044738" y="4370231"/>
                    </a:lnTo>
                    <a:lnTo>
                      <a:pt x="1043357" y="4404451"/>
                    </a:lnTo>
                    <a:lnTo>
                      <a:pt x="1038299" y="4527506"/>
                    </a:lnTo>
                    <a:lnTo>
                      <a:pt x="838711" y="4422793"/>
                    </a:lnTo>
                    <a:lnTo>
                      <a:pt x="817565" y="4677850"/>
                    </a:lnTo>
                    <a:lnTo>
                      <a:pt x="808596" y="4802262"/>
                    </a:lnTo>
                    <a:lnTo>
                      <a:pt x="721054" y="4801326"/>
                    </a:lnTo>
                    <a:lnTo>
                      <a:pt x="666583" y="4887318"/>
                    </a:lnTo>
                    <a:lnTo>
                      <a:pt x="649134" y="4914865"/>
                    </a:lnTo>
                    <a:lnTo>
                      <a:pt x="649431" y="4945471"/>
                    </a:lnTo>
                    <a:lnTo>
                      <a:pt x="627137" y="4971654"/>
                    </a:lnTo>
                    <a:lnTo>
                      <a:pt x="591262" y="4980450"/>
                    </a:lnTo>
                    <a:lnTo>
                      <a:pt x="552474" y="4964597"/>
                    </a:lnTo>
                    <a:lnTo>
                      <a:pt x="518321" y="4983893"/>
                    </a:lnTo>
                    <a:lnTo>
                      <a:pt x="430503" y="5033586"/>
                    </a:lnTo>
                    <a:lnTo>
                      <a:pt x="441236" y="5082315"/>
                    </a:lnTo>
                    <a:lnTo>
                      <a:pt x="408145" y="5167522"/>
                    </a:lnTo>
                    <a:lnTo>
                      <a:pt x="361069" y="5288729"/>
                    </a:lnTo>
                    <a:lnTo>
                      <a:pt x="304770" y="5351803"/>
                    </a:lnTo>
                    <a:lnTo>
                      <a:pt x="217717" y="5443643"/>
                    </a:lnTo>
                    <a:lnTo>
                      <a:pt x="179568" y="5483892"/>
                    </a:lnTo>
                    <a:lnTo>
                      <a:pt x="144798" y="5538683"/>
                    </a:lnTo>
                    <a:lnTo>
                      <a:pt x="111622" y="5583739"/>
                    </a:lnTo>
                    <a:lnTo>
                      <a:pt x="97849" y="5602443"/>
                    </a:lnTo>
                    <a:lnTo>
                      <a:pt x="82101" y="5621785"/>
                    </a:lnTo>
                    <a:lnTo>
                      <a:pt x="73536" y="5643588"/>
                    </a:lnTo>
                    <a:lnTo>
                      <a:pt x="65757" y="5663438"/>
                    </a:lnTo>
                    <a:lnTo>
                      <a:pt x="58573" y="5703437"/>
                    </a:lnTo>
                    <a:lnTo>
                      <a:pt x="46289" y="5743607"/>
                    </a:lnTo>
                    <a:lnTo>
                      <a:pt x="15345" y="5782009"/>
                    </a:lnTo>
                    <a:lnTo>
                      <a:pt x="5526" y="5823133"/>
                    </a:lnTo>
                    <a:lnTo>
                      <a:pt x="0" y="5846151"/>
                    </a:lnTo>
                    <a:lnTo>
                      <a:pt x="4166" y="5888424"/>
                    </a:lnTo>
                    <a:lnTo>
                      <a:pt x="18172" y="5913037"/>
                    </a:lnTo>
                    <a:lnTo>
                      <a:pt x="43356" y="5929998"/>
                    </a:lnTo>
                    <a:lnTo>
                      <a:pt x="59934" y="5952355"/>
                    </a:lnTo>
                    <a:lnTo>
                      <a:pt x="74981" y="5978326"/>
                    </a:lnTo>
                    <a:lnTo>
                      <a:pt x="99040" y="6014432"/>
                    </a:lnTo>
                    <a:lnTo>
                      <a:pt x="121015" y="6098366"/>
                    </a:lnTo>
                    <a:lnTo>
                      <a:pt x="122503" y="6127819"/>
                    </a:lnTo>
                    <a:lnTo>
                      <a:pt x="124395" y="6165674"/>
                    </a:lnTo>
                    <a:lnTo>
                      <a:pt x="143140" y="6214258"/>
                    </a:lnTo>
                    <a:lnTo>
                      <a:pt x="138826" y="6250239"/>
                    </a:lnTo>
                    <a:lnTo>
                      <a:pt x="133555" y="6294426"/>
                    </a:lnTo>
                    <a:lnTo>
                      <a:pt x="112748" y="6331318"/>
                    </a:lnTo>
                    <a:lnTo>
                      <a:pt x="125224" y="6378095"/>
                    </a:lnTo>
                    <a:lnTo>
                      <a:pt x="142184" y="6441769"/>
                    </a:lnTo>
                    <a:lnTo>
                      <a:pt x="241457" y="6455585"/>
                    </a:lnTo>
                    <a:lnTo>
                      <a:pt x="285728" y="6550843"/>
                    </a:lnTo>
                    <a:lnTo>
                      <a:pt x="313441" y="6610461"/>
                    </a:lnTo>
                    <a:lnTo>
                      <a:pt x="282580" y="6778440"/>
                    </a:lnTo>
                    <a:lnTo>
                      <a:pt x="293889" y="6859608"/>
                    </a:lnTo>
                    <a:lnTo>
                      <a:pt x="305237" y="6940944"/>
                    </a:lnTo>
                    <a:lnTo>
                      <a:pt x="370059" y="6987914"/>
                    </a:lnTo>
                    <a:lnTo>
                      <a:pt x="370059" y="7090839"/>
                    </a:lnTo>
                    <a:lnTo>
                      <a:pt x="370059" y="7144634"/>
                    </a:lnTo>
                    <a:lnTo>
                      <a:pt x="331804" y="7250898"/>
                    </a:lnTo>
                    <a:lnTo>
                      <a:pt x="307490" y="7300313"/>
                    </a:lnTo>
                    <a:lnTo>
                      <a:pt x="282391" y="7351338"/>
                    </a:lnTo>
                    <a:lnTo>
                      <a:pt x="275824" y="7412782"/>
                    </a:lnTo>
                    <a:lnTo>
                      <a:pt x="242201" y="7460813"/>
                    </a:lnTo>
                    <a:lnTo>
                      <a:pt x="240944" y="7580471"/>
                    </a:lnTo>
                    <a:lnTo>
                      <a:pt x="149493" y="7682488"/>
                    </a:lnTo>
                    <a:lnTo>
                      <a:pt x="159227" y="7750541"/>
                    </a:lnTo>
                    <a:lnTo>
                      <a:pt x="215420" y="7774190"/>
                    </a:lnTo>
                    <a:lnTo>
                      <a:pt x="219054" y="7715852"/>
                    </a:lnTo>
                    <a:lnTo>
                      <a:pt x="242199" y="7694768"/>
                    </a:lnTo>
                    <a:lnTo>
                      <a:pt x="267809" y="7687612"/>
                    </a:lnTo>
                    <a:lnTo>
                      <a:pt x="293886" y="7698850"/>
                    </a:lnTo>
                    <a:lnTo>
                      <a:pt x="294992" y="7734581"/>
                    </a:lnTo>
                    <a:lnTo>
                      <a:pt x="277564" y="7766863"/>
                    </a:lnTo>
                    <a:lnTo>
                      <a:pt x="278922" y="7789986"/>
                    </a:lnTo>
                    <a:lnTo>
                      <a:pt x="298730" y="7809578"/>
                    </a:lnTo>
                    <a:lnTo>
                      <a:pt x="346485" y="7821351"/>
                    </a:lnTo>
                    <a:lnTo>
                      <a:pt x="383572" y="7814128"/>
                    </a:lnTo>
                    <a:lnTo>
                      <a:pt x="431264" y="7829430"/>
                    </a:lnTo>
                    <a:lnTo>
                      <a:pt x="461932" y="7859778"/>
                    </a:lnTo>
                    <a:lnTo>
                      <a:pt x="451667" y="7920564"/>
                    </a:lnTo>
                    <a:lnTo>
                      <a:pt x="461911" y="7940863"/>
                    </a:lnTo>
                    <a:lnTo>
                      <a:pt x="547221" y="7967275"/>
                    </a:lnTo>
                    <a:lnTo>
                      <a:pt x="576806" y="8000818"/>
                    </a:lnTo>
                    <a:lnTo>
                      <a:pt x="591512" y="8017476"/>
                    </a:lnTo>
                    <a:lnTo>
                      <a:pt x="590619" y="8044364"/>
                    </a:lnTo>
                    <a:lnTo>
                      <a:pt x="616251" y="8051143"/>
                    </a:lnTo>
                    <a:lnTo>
                      <a:pt x="642519" y="8049230"/>
                    </a:lnTo>
                    <a:lnTo>
                      <a:pt x="671934" y="8041812"/>
                    </a:lnTo>
                    <a:lnTo>
                      <a:pt x="692422" y="8063383"/>
                    </a:lnTo>
                    <a:lnTo>
                      <a:pt x="695482" y="8102531"/>
                    </a:lnTo>
                    <a:lnTo>
                      <a:pt x="721305" y="8137240"/>
                    </a:lnTo>
                    <a:lnTo>
                      <a:pt x="750443" y="8123001"/>
                    </a:lnTo>
                    <a:lnTo>
                      <a:pt x="775394" y="8147713"/>
                    </a:lnTo>
                    <a:lnTo>
                      <a:pt x="775394" y="8184439"/>
                    </a:lnTo>
                    <a:lnTo>
                      <a:pt x="692422" y="8263585"/>
                    </a:lnTo>
                    <a:lnTo>
                      <a:pt x="732569" y="8235978"/>
                    </a:lnTo>
                    <a:lnTo>
                      <a:pt x="729148" y="8319101"/>
                    </a:lnTo>
                    <a:lnTo>
                      <a:pt x="727999" y="8347049"/>
                    </a:lnTo>
                    <a:lnTo>
                      <a:pt x="720327" y="8371339"/>
                    </a:lnTo>
                    <a:lnTo>
                      <a:pt x="727789" y="8399355"/>
                    </a:lnTo>
                    <a:lnTo>
                      <a:pt x="748704" y="8428556"/>
                    </a:lnTo>
                    <a:lnTo>
                      <a:pt x="748195" y="8468719"/>
                    </a:lnTo>
                    <a:lnTo>
                      <a:pt x="786483" y="8505050"/>
                    </a:lnTo>
                    <a:lnTo>
                      <a:pt x="814712" y="8509601"/>
                    </a:lnTo>
                    <a:lnTo>
                      <a:pt x="798522" y="8574818"/>
                    </a:lnTo>
                    <a:lnTo>
                      <a:pt x="816031" y="8590850"/>
                    </a:lnTo>
                    <a:lnTo>
                      <a:pt x="833364" y="8606626"/>
                    </a:lnTo>
                    <a:lnTo>
                      <a:pt x="855996" y="8626528"/>
                    </a:lnTo>
                    <a:lnTo>
                      <a:pt x="871984" y="8640555"/>
                    </a:lnTo>
                    <a:lnTo>
                      <a:pt x="878572" y="8685256"/>
                    </a:lnTo>
                    <a:lnTo>
                      <a:pt x="856910" y="8729376"/>
                    </a:lnTo>
                    <a:lnTo>
                      <a:pt x="841270" y="8763340"/>
                    </a:lnTo>
                    <a:lnTo>
                      <a:pt x="831167" y="8795174"/>
                    </a:lnTo>
                    <a:lnTo>
                      <a:pt x="822922" y="8826203"/>
                    </a:lnTo>
                    <a:lnTo>
                      <a:pt x="817647" y="8856632"/>
                    </a:lnTo>
                    <a:lnTo>
                      <a:pt x="816207" y="8886302"/>
                    </a:lnTo>
                    <a:lnTo>
                      <a:pt x="818466" y="8915215"/>
                    </a:lnTo>
                    <a:lnTo>
                      <a:pt x="824830" y="8944448"/>
                    </a:lnTo>
                    <a:lnTo>
                      <a:pt x="835250" y="8974719"/>
                    </a:lnTo>
                    <a:lnTo>
                      <a:pt x="850777" y="9004516"/>
                    </a:lnTo>
                    <a:lnTo>
                      <a:pt x="871410" y="9034688"/>
                    </a:lnTo>
                    <a:lnTo>
                      <a:pt x="897819" y="9064489"/>
                    </a:lnTo>
                    <a:lnTo>
                      <a:pt x="927748" y="9097213"/>
                    </a:lnTo>
                    <a:lnTo>
                      <a:pt x="949847" y="9126126"/>
                    </a:lnTo>
                    <a:lnTo>
                      <a:pt x="984872" y="9154267"/>
                    </a:lnTo>
                    <a:lnTo>
                      <a:pt x="1018048" y="9180916"/>
                    </a:lnTo>
                    <a:lnTo>
                      <a:pt x="1066909" y="9192114"/>
                    </a:lnTo>
                    <a:lnTo>
                      <a:pt x="1093688" y="9224996"/>
                    </a:lnTo>
                    <a:lnTo>
                      <a:pt x="1100040" y="9269433"/>
                    </a:lnTo>
                    <a:lnTo>
                      <a:pt x="1110155" y="9322957"/>
                    </a:lnTo>
                    <a:lnTo>
                      <a:pt x="1129650" y="9352357"/>
                    </a:lnTo>
                    <a:lnTo>
                      <a:pt x="1156257" y="9371891"/>
                    </a:lnTo>
                    <a:lnTo>
                      <a:pt x="1182863" y="9391432"/>
                    </a:lnTo>
                    <a:lnTo>
                      <a:pt x="1216288" y="9400453"/>
                    </a:lnTo>
                    <a:lnTo>
                      <a:pt x="1252831" y="9395019"/>
                    </a:lnTo>
                    <a:lnTo>
                      <a:pt x="1279484" y="9391055"/>
                    </a:lnTo>
                    <a:lnTo>
                      <a:pt x="1313296" y="9372083"/>
                    </a:lnTo>
                    <a:lnTo>
                      <a:pt x="1337164" y="9359651"/>
                    </a:lnTo>
                    <a:lnTo>
                      <a:pt x="1361265" y="9347114"/>
                    </a:lnTo>
                    <a:lnTo>
                      <a:pt x="1470463" y="9317424"/>
                    </a:lnTo>
                    <a:lnTo>
                      <a:pt x="1505330" y="9302929"/>
                    </a:lnTo>
                    <a:lnTo>
                      <a:pt x="1529154" y="9297528"/>
                    </a:lnTo>
                    <a:lnTo>
                      <a:pt x="1550715" y="9295720"/>
                    </a:lnTo>
                    <a:lnTo>
                      <a:pt x="1572275" y="9293920"/>
                    </a:lnTo>
                    <a:lnTo>
                      <a:pt x="1607843" y="9301168"/>
                    </a:lnTo>
                    <a:lnTo>
                      <a:pt x="1640296" y="9312082"/>
                    </a:lnTo>
                    <a:lnTo>
                      <a:pt x="1663137" y="9336319"/>
                    </a:lnTo>
                    <a:lnTo>
                      <a:pt x="1681294" y="9367815"/>
                    </a:lnTo>
                    <a:lnTo>
                      <a:pt x="1699451" y="9399312"/>
                    </a:lnTo>
                    <a:lnTo>
                      <a:pt x="1712933" y="9438559"/>
                    </a:lnTo>
                    <a:lnTo>
                      <a:pt x="1726180" y="9479349"/>
                    </a:lnTo>
                    <a:lnTo>
                      <a:pt x="1739427" y="9520137"/>
                    </a:lnTo>
                    <a:lnTo>
                      <a:pt x="1751982" y="9562972"/>
                    </a:lnTo>
                    <a:lnTo>
                      <a:pt x="1769706" y="9601770"/>
                    </a:lnTo>
                    <a:lnTo>
                      <a:pt x="1785612" y="9636578"/>
                    </a:lnTo>
                    <a:lnTo>
                      <a:pt x="1802768" y="9668761"/>
                    </a:lnTo>
                    <a:lnTo>
                      <a:pt x="1822754" y="9698345"/>
                    </a:lnTo>
                    <a:lnTo>
                      <a:pt x="1842741" y="9727923"/>
                    </a:lnTo>
                    <a:lnTo>
                      <a:pt x="1865287" y="9754139"/>
                    </a:lnTo>
                    <a:lnTo>
                      <a:pt x="1890764" y="9775875"/>
                    </a:lnTo>
                    <a:lnTo>
                      <a:pt x="1916242" y="9797612"/>
                    </a:lnTo>
                    <a:lnTo>
                      <a:pt x="1945444" y="9814924"/>
                    </a:lnTo>
                    <a:lnTo>
                      <a:pt x="1977817" y="9826201"/>
                    </a:lnTo>
                    <a:lnTo>
                      <a:pt x="2010189" y="9837478"/>
                    </a:lnTo>
                    <a:lnTo>
                      <a:pt x="2045959" y="9842958"/>
                    </a:lnTo>
                    <a:lnTo>
                      <a:pt x="2086633" y="9841164"/>
                    </a:lnTo>
                    <a:lnTo>
                      <a:pt x="2135069" y="9841205"/>
                    </a:lnTo>
                    <a:lnTo>
                      <a:pt x="2185991" y="9818742"/>
                    </a:lnTo>
                    <a:lnTo>
                      <a:pt x="2212941" y="9787199"/>
                    </a:lnTo>
                    <a:lnTo>
                      <a:pt x="2240336" y="9760912"/>
                    </a:lnTo>
                    <a:lnTo>
                      <a:pt x="2267540" y="9764994"/>
                    </a:lnTo>
                    <a:lnTo>
                      <a:pt x="2277613" y="9795660"/>
                    </a:lnTo>
                    <a:lnTo>
                      <a:pt x="2271135" y="9824650"/>
                    </a:lnTo>
                    <a:lnTo>
                      <a:pt x="2268898" y="9853405"/>
                    </a:lnTo>
                    <a:lnTo>
                      <a:pt x="2266647" y="9882528"/>
                    </a:lnTo>
                    <a:lnTo>
                      <a:pt x="2273868" y="9911335"/>
                    </a:lnTo>
                    <a:lnTo>
                      <a:pt x="2294738" y="9940457"/>
                    </a:lnTo>
                    <a:lnTo>
                      <a:pt x="2319222" y="9941815"/>
                    </a:lnTo>
                    <a:lnTo>
                      <a:pt x="2342752" y="9926799"/>
                    </a:lnTo>
                    <a:lnTo>
                      <a:pt x="2363701" y="9899708"/>
                    </a:lnTo>
                    <a:lnTo>
                      <a:pt x="2383151" y="9867011"/>
                    </a:lnTo>
                    <a:lnTo>
                      <a:pt x="2403666" y="9835051"/>
                    </a:lnTo>
                    <a:lnTo>
                      <a:pt x="2425205" y="9811910"/>
                    </a:lnTo>
                    <a:lnTo>
                      <a:pt x="2448441" y="9804438"/>
                    </a:lnTo>
                    <a:lnTo>
                      <a:pt x="2474412" y="9803469"/>
                    </a:lnTo>
                    <a:lnTo>
                      <a:pt x="2496048" y="9831642"/>
                    </a:lnTo>
                    <a:lnTo>
                      <a:pt x="2504395" y="9874224"/>
                    </a:lnTo>
                    <a:lnTo>
                      <a:pt x="2505569" y="9899649"/>
                    </a:lnTo>
                    <a:lnTo>
                      <a:pt x="2506743" y="9925078"/>
                    </a:lnTo>
                    <a:lnTo>
                      <a:pt x="2507778" y="9951992"/>
                    </a:lnTo>
                    <a:lnTo>
                      <a:pt x="2515091" y="9974462"/>
                    </a:lnTo>
                    <a:lnTo>
                      <a:pt x="2522396" y="9996930"/>
                    </a:lnTo>
                    <a:lnTo>
                      <a:pt x="2535547" y="10014684"/>
                    </a:lnTo>
                    <a:lnTo>
                      <a:pt x="2561337" y="10023428"/>
                    </a:lnTo>
                    <a:lnTo>
                      <a:pt x="2587076" y="10032160"/>
                    </a:lnTo>
                    <a:lnTo>
                      <a:pt x="2617870" y="10035417"/>
                    </a:lnTo>
                    <a:lnTo>
                      <a:pt x="2644309" y="10042474"/>
                    </a:lnTo>
                    <a:lnTo>
                      <a:pt x="2691268" y="10055004"/>
                    </a:lnTo>
                    <a:lnTo>
                      <a:pt x="2722202" y="10064436"/>
                    </a:lnTo>
                    <a:lnTo>
                      <a:pt x="2754485" y="10068313"/>
                    </a:lnTo>
                    <a:lnTo>
                      <a:pt x="2786769" y="10072197"/>
                    </a:lnTo>
                    <a:lnTo>
                      <a:pt x="2820000" y="10070806"/>
                    </a:lnTo>
                    <a:lnTo>
                      <a:pt x="2868742" y="10058796"/>
                    </a:lnTo>
                    <a:lnTo>
                      <a:pt x="2905618" y="10049702"/>
                    </a:lnTo>
                    <a:lnTo>
                      <a:pt x="2941917" y="10031613"/>
                    </a:lnTo>
                    <a:lnTo>
                      <a:pt x="2980279" y="10028869"/>
                    </a:lnTo>
                    <a:lnTo>
                      <a:pt x="3010562" y="10036413"/>
                    </a:lnTo>
                    <a:lnTo>
                      <a:pt x="3042150" y="10056475"/>
                    </a:lnTo>
                    <a:lnTo>
                      <a:pt x="3074132" y="10073761"/>
                    </a:lnTo>
                    <a:lnTo>
                      <a:pt x="3097850" y="10038464"/>
                    </a:lnTo>
                    <a:lnTo>
                      <a:pt x="3114305" y="9996897"/>
                    </a:lnTo>
                    <a:lnTo>
                      <a:pt x="3121751" y="9970649"/>
                    </a:lnTo>
                    <a:lnTo>
                      <a:pt x="3128540" y="9944539"/>
                    </a:lnTo>
                    <a:lnTo>
                      <a:pt x="3135329" y="9918431"/>
                    </a:lnTo>
                    <a:lnTo>
                      <a:pt x="3141380" y="9893028"/>
                    </a:lnTo>
                    <a:lnTo>
                      <a:pt x="3146223" y="9869727"/>
                    </a:lnTo>
                    <a:lnTo>
                      <a:pt x="3151064" y="9846427"/>
                    </a:lnTo>
                    <a:lnTo>
                      <a:pt x="3155413" y="9825271"/>
                    </a:lnTo>
                    <a:lnTo>
                      <a:pt x="3168317" y="9765936"/>
                    </a:lnTo>
                    <a:lnTo>
                      <a:pt x="3182565" y="9718341"/>
                    </a:lnTo>
                    <a:lnTo>
                      <a:pt x="3195190" y="9669776"/>
                    </a:lnTo>
                    <a:lnTo>
                      <a:pt x="3207815" y="9621218"/>
                    </a:lnTo>
                    <a:lnTo>
                      <a:pt x="3219235" y="9572416"/>
                    </a:lnTo>
                    <a:lnTo>
                      <a:pt x="3223754" y="9524233"/>
                    </a:lnTo>
                    <a:lnTo>
                      <a:pt x="3228271" y="9476058"/>
                    </a:lnTo>
                    <a:lnTo>
                      <a:pt x="3225970" y="9428278"/>
                    </a:lnTo>
                    <a:lnTo>
                      <a:pt x="3211512" y="9384138"/>
                    </a:lnTo>
                    <a:lnTo>
                      <a:pt x="3204284" y="9362065"/>
                    </a:lnTo>
                    <a:lnTo>
                      <a:pt x="3192880" y="9340585"/>
                    </a:lnTo>
                    <a:lnTo>
                      <a:pt x="3178868" y="9320207"/>
                    </a:lnTo>
                    <a:lnTo>
                      <a:pt x="3164855" y="9299828"/>
                    </a:lnTo>
                    <a:lnTo>
                      <a:pt x="3147974" y="9281310"/>
                    </a:lnTo>
                    <a:lnTo>
                      <a:pt x="3125819" y="9263082"/>
                    </a:lnTo>
                    <a:lnTo>
                      <a:pt x="3124151" y="9240982"/>
                    </a:lnTo>
                    <a:lnTo>
                      <a:pt x="3132922" y="9206280"/>
                    </a:lnTo>
                    <a:lnTo>
                      <a:pt x="3139541" y="9186001"/>
                    </a:lnTo>
                    <a:lnTo>
                      <a:pt x="3147579" y="9165140"/>
                    </a:lnTo>
                    <a:lnTo>
                      <a:pt x="3155619" y="9144287"/>
                    </a:lnTo>
                    <a:lnTo>
                      <a:pt x="3164648" y="9122386"/>
                    </a:lnTo>
                    <a:lnTo>
                      <a:pt x="3179480" y="9085488"/>
                    </a:lnTo>
                    <a:lnTo>
                      <a:pt x="3188385" y="9060407"/>
                    </a:lnTo>
                    <a:lnTo>
                      <a:pt x="3194307" y="9036599"/>
                    </a:lnTo>
                    <a:lnTo>
                      <a:pt x="3197998" y="9011322"/>
                    </a:lnTo>
                    <a:lnTo>
                      <a:pt x="3201987" y="8986961"/>
                    </a:lnTo>
                    <a:lnTo>
                      <a:pt x="3205977" y="8962591"/>
                    </a:lnTo>
                    <a:lnTo>
                      <a:pt x="3210245" y="8938151"/>
                    </a:lnTo>
                    <a:lnTo>
                      <a:pt x="3212869" y="8913506"/>
                    </a:lnTo>
                    <a:lnTo>
                      <a:pt x="3215494" y="8888867"/>
                    </a:lnTo>
                    <a:lnTo>
                      <a:pt x="3216489" y="8864697"/>
                    </a:lnTo>
                    <a:lnTo>
                      <a:pt x="3218310" y="8840058"/>
                    </a:lnTo>
                    <a:lnTo>
                      <a:pt x="3220136" y="8815421"/>
                    </a:lnTo>
                    <a:lnTo>
                      <a:pt x="3222168" y="8790966"/>
                    </a:lnTo>
                    <a:lnTo>
                      <a:pt x="3223751" y="8766605"/>
                    </a:lnTo>
                    <a:lnTo>
                      <a:pt x="3238509" y="8743594"/>
                    </a:lnTo>
                    <a:lnTo>
                      <a:pt x="3259708" y="8729403"/>
                    </a:lnTo>
                    <a:lnTo>
                      <a:pt x="3280934" y="8718020"/>
                    </a:lnTo>
                    <a:lnTo>
                      <a:pt x="3330554" y="8681623"/>
                    </a:lnTo>
                    <a:lnTo>
                      <a:pt x="3491880" y="8539363"/>
                    </a:lnTo>
                    <a:lnTo>
                      <a:pt x="3516194" y="8504088"/>
                    </a:lnTo>
                    <a:lnTo>
                      <a:pt x="3531262" y="8482199"/>
                    </a:lnTo>
                    <a:lnTo>
                      <a:pt x="3532729" y="8452759"/>
                    </a:lnTo>
                    <a:lnTo>
                      <a:pt x="3540677" y="8427917"/>
                    </a:lnTo>
                    <a:lnTo>
                      <a:pt x="3548158" y="8404557"/>
                    </a:lnTo>
                    <a:lnTo>
                      <a:pt x="3559296" y="8379207"/>
                    </a:lnTo>
                    <a:lnTo>
                      <a:pt x="3563800" y="8354469"/>
                    </a:lnTo>
                    <a:lnTo>
                      <a:pt x="3569010" y="8325847"/>
                    </a:lnTo>
                    <a:lnTo>
                      <a:pt x="3572482" y="8282941"/>
                    </a:lnTo>
                    <a:lnTo>
                      <a:pt x="3580123" y="8241570"/>
                    </a:lnTo>
                    <a:lnTo>
                      <a:pt x="3587764" y="8200195"/>
                    </a:lnTo>
                    <a:lnTo>
                      <a:pt x="3599867" y="8160189"/>
                    </a:lnTo>
                    <a:lnTo>
                      <a:pt x="3619569" y="8138195"/>
                    </a:lnTo>
                    <a:lnTo>
                      <a:pt x="3671001" y="8099681"/>
                    </a:lnTo>
                    <a:lnTo>
                      <a:pt x="3715914" y="8056881"/>
                    </a:lnTo>
                    <a:lnTo>
                      <a:pt x="3751254" y="8038020"/>
                    </a:lnTo>
                    <a:lnTo>
                      <a:pt x="3785513" y="8028014"/>
                    </a:lnTo>
                    <a:lnTo>
                      <a:pt x="3819772" y="8018017"/>
                    </a:lnTo>
                    <a:lnTo>
                      <a:pt x="3852791" y="8016697"/>
                    </a:lnTo>
                    <a:lnTo>
                      <a:pt x="3886167" y="8019857"/>
                    </a:lnTo>
                    <a:lnTo>
                      <a:pt x="3952921" y="8026168"/>
                    </a:lnTo>
                    <a:lnTo>
                      <a:pt x="4021550" y="8050061"/>
                    </a:lnTo>
                    <a:lnTo>
                      <a:pt x="4109240" y="8062019"/>
                    </a:lnTo>
                    <a:lnTo>
                      <a:pt x="4156573" y="8068474"/>
                    </a:lnTo>
                    <a:lnTo>
                      <a:pt x="4206824" y="8068916"/>
                    </a:lnTo>
                    <a:lnTo>
                      <a:pt x="4256142" y="8066094"/>
                    </a:lnTo>
                    <a:lnTo>
                      <a:pt x="4305460" y="8063284"/>
                    </a:lnTo>
                    <a:lnTo>
                      <a:pt x="4354266" y="8057744"/>
                    </a:lnTo>
                    <a:lnTo>
                      <a:pt x="4401682" y="8055219"/>
                    </a:lnTo>
                    <a:lnTo>
                      <a:pt x="4449737" y="8042951"/>
                    </a:lnTo>
                    <a:lnTo>
                      <a:pt x="4470883" y="8014239"/>
                    </a:lnTo>
                    <a:lnTo>
                      <a:pt x="4486568" y="7986375"/>
                    </a:lnTo>
                    <a:lnTo>
                      <a:pt x="4505058" y="7966801"/>
                    </a:lnTo>
                    <a:lnTo>
                      <a:pt x="4520631" y="7950314"/>
                    </a:lnTo>
                    <a:lnTo>
                      <a:pt x="4542321" y="7945334"/>
                    </a:lnTo>
                    <a:lnTo>
                      <a:pt x="4566267" y="7947762"/>
                    </a:lnTo>
                    <a:lnTo>
                      <a:pt x="4590213" y="7950188"/>
                    </a:lnTo>
                    <a:lnTo>
                      <a:pt x="4617483" y="7959211"/>
                    </a:lnTo>
                    <a:lnTo>
                      <a:pt x="4645155" y="7970883"/>
                    </a:lnTo>
                    <a:lnTo>
                      <a:pt x="4700507" y="7994229"/>
                    </a:lnTo>
                    <a:lnTo>
                      <a:pt x="4757822" y="8027025"/>
                    </a:lnTo>
                    <a:lnTo>
                      <a:pt x="4800221" y="8029374"/>
                    </a:lnTo>
                    <a:lnTo>
                      <a:pt x="4821753" y="8018043"/>
                    </a:lnTo>
                    <a:lnTo>
                      <a:pt x="4834225" y="8000804"/>
                    </a:lnTo>
                    <a:lnTo>
                      <a:pt x="4841209" y="7980743"/>
                    </a:lnTo>
                    <a:lnTo>
                      <a:pt x="4851912" y="7962725"/>
                    </a:lnTo>
                    <a:lnTo>
                      <a:pt x="4876649" y="7921040"/>
                    </a:lnTo>
                    <a:lnTo>
                      <a:pt x="4902396" y="7893671"/>
                    </a:lnTo>
                    <a:lnTo>
                      <a:pt x="4928083" y="7877031"/>
                    </a:lnTo>
                    <a:lnTo>
                      <a:pt x="4953764" y="7860392"/>
                    </a:lnTo>
                    <a:lnTo>
                      <a:pt x="4980110" y="7854456"/>
                    </a:lnTo>
                    <a:lnTo>
                      <a:pt x="5008330" y="7855268"/>
                    </a:lnTo>
                    <a:lnTo>
                      <a:pt x="5036550" y="7856079"/>
                    </a:lnTo>
                    <a:lnTo>
                      <a:pt x="5065759" y="7863657"/>
                    </a:lnTo>
                    <a:lnTo>
                      <a:pt x="5098106" y="7874308"/>
                    </a:lnTo>
                    <a:lnTo>
                      <a:pt x="5130455" y="7884958"/>
                    </a:lnTo>
                    <a:lnTo>
                      <a:pt x="5166133" y="7899500"/>
                    </a:lnTo>
                    <a:lnTo>
                      <a:pt x="5204198" y="7912394"/>
                    </a:lnTo>
                    <a:lnTo>
                      <a:pt x="5239805" y="7917945"/>
                    </a:lnTo>
                    <a:lnTo>
                      <a:pt x="5280132" y="7909564"/>
                    </a:lnTo>
                    <a:lnTo>
                      <a:pt x="5301902" y="7901452"/>
                    </a:lnTo>
                    <a:lnTo>
                      <a:pt x="5322538" y="7891989"/>
                    </a:lnTo>
                    <a:lnTo>
                      <a:pt x="5343173" y="7882532"/>
                    </a:lnTo>
                    <a:lnTo>
                      <a:pt x="5362523" y="7870733"/>
                    </a:lnTo>
                    <a:lnTo>
                      <a:pt x="5381028" y="7860702"/>
                    </a:lnTo>
                    <a:lnTo>
                      <a:pt x="5399527" y="7850672"/>
                    </a:lnTo>
                    <a:lnTo>
                      <a:pt x="5429995" y="7836221"/>
                    </a:lnTo>
                    <a:lnTo>
                      <a:pt x="5450571" y="7829706"/>
                    </a:lnTo>
                    <a:lnTo>
                      <a:pt x="5471985" y="7829093"/>
                    </a:lnTo>
                    <a:lnTo>
                      <a:pt x="5493926" y="7832140"/>
                    </a:lnTo>
                    <a:lnTo>
                      <a:pt x="5516896" y="7836130"/>
                    </a:lnTo>
                    <a:lnTo>
                      <a:pt x="5538962" y="7839031"/>
                    </a:lnTo>
                    <a:lnTo>
                      <a:pt x="5579640" y="7837541"/>
                    </a:lnTo>
                    <a:lnTo>
                      <a:pt x="5600342" y="7834132"/>
                    </a:lnTo>
                    <a:lnTo>
                      <a:pt x="5637774" y="7821984"/>
                    </a:lnTo>
                    <a:lnTo>
                      <a:pt x="5672107" y="7804935"/>
                    </a:lnTo>
                    <a:lnTo>
                      <a:pt x="5708056" y="7785097"/>
                    </a:lnTo>
                    <a:lnTo>
                      <a:pt x="5742257" y="7764917"/>
                    </a:lnTo>
                    <a:lnTo>
                      <a:pt x="5775482" y="7745088"/>
                    </a:lnTo>
                    <a:lnTo>
                      <a:pt x="5795227" y="7733791"/>
                    </a:lnTo>
                    <a:lnTo>
                      <a:pt x="5813956" y="7720929"/>
                    </a:lnTo>
                    <a:lnTo>
                      <a:pt x="5835331" y="7709719"/>
                    </a:lnTo>
                    <a:lnTo>
                      <a:pt x="5860992" y="7697794"/>
                    </a:lnTo>
                    <a:lnTo>
                      <a:pt x="5905336" y="7680378"/>
                    </a:lnTo>
                    <a:lnTo>
                      <a:pt x="5949588" y="7668915"/>
                    </a:lnTo>
                    <a:lnTo>
                      <a:pt x="5993846" y="7657448"/>
                    </a:lnTo>
                    <a:lnTo>
                      <a:pt x="6038150" y="7651044"/>
                    </a:lnTo>
                    <a:lnTo>
                      <a:pt x="6065203" y="7662110"/>
                    </a:lnTo>
                    <a:lnTo>
                      <a:pt x="6088747" y="7678867"/>
                    </a:lnTo>
                    <a:lnTo>
                      <a:pt x="6109672" y="7699760"/>
                    </a:lnTo>
                    <a:lnTo>
                      <a:pt x="6131857" y="7713801"/>
                    </a:lnTo>
                    <a:lnTo>
                      <a:pt x="6155573" y="7711566"/>
                    </a:lnTo>
                    <a:lnTo>
                      <a:pt x="6181590" y="7699707"/>
                    </a:lnTo>
                    <a:lnTo>
                      <a:pt x="6198506" y="7683873"/>
                    </a:lnTo>
                    <a:lnTo>
                      <a:pt x="6238405" y="7629650"/>
                    </a:lnTo>
                    <a:lnTo>
                      <a:pt x="6261559" y="7595621"/>
                    </a:lnTo>
                    <a:lnTo>
                      <a:pt x="6273318" y="7570974"/>
                    </a:lnTo>
                    <a:lnTo>
                      <a:pt x="6285077" y="7546337"/>
                    </a:lnTo>
                    <a:lnTo>
                      <a:pt x="6278759" y="7519290"/>
                    </a:lnTo>
                    <a:lnTo>
                      <a:pt x="6256126" y="7496360"/>
                    </a:lnTo>
                    <a:lnTo>
                      <a:pt x="6239308" y="7478481"/>
                    </a:lnTo>
                    <a:lnTo>
                      <a:pt x="6222557" y="7458031"/>
                    </a:lnTo>
                    <a:lnTo>
                      <a:pt x="6204375" y="7430925"/>
                    </a:lnTo>
                    <a:lnTo>
                      <a:pt x="6186265" y="7394152"/>
                    </a:lnTo>
                    <a:lnTo>
                      <a:pt x="6151919" y="7399138"/>
                    </a:lnTo>
                    <a:lnTo>
                      <a:pt x="6114513" y="7408212"/>
                    </a:lnTo>
                    <a:lnTo>
                      <a:pt x="6076091" y="7417273"/>
                    </a:lnTo>
                    <a:lnTo>
                      <a:pt x="6038282" y="7421686"/>
                    </a:lnTo>
                    <a:lnTo>
                      <a:pt x="6002353" y="7415579"/>
                    </a:lnTo>
                    <a:lnTo>
                      <a:pt x="5969992" y="7394152"/>
                    </a:lnTo>
                    <a:lnTo>
                      <a:pt x="5961320" y="7319656"/>
                    </a:lnTo>
                    <a:lnTo>
                      <a:pt x="5953056" y="7262723"/>
                    </a:lnTo>
                    <a:lnTo>
                      <a:pt x="5950946" y="7206441"/>
                    </a:lnTo>
                    <a:lnTo>
                      <a:pt x="5957224" y="7176790"/>
                    </a:lnTo>
                    <a:lnTo>
                      <a:pt x="5974602" y="7149046"/>
                    </a:lnTo>
                    <a:lnTo>
                      <a:pt x="5993114" y="7122113"/>
                    </a:lnTo>
                    <a:lnTo>
                      <a:pt x="6005888" y="7096524"/>
                    </a:lnTo>
                    <a:lnTo>
                      <a:pt x="5999385" y="7068799"/>
                    </a:lnTo>
                    <a:lnTo>
                      <a:pt x="5963193" y="7039135"/>
                    </a:lnTo>
                    <a:lnTo>
                      <a:pt x="5944166" y="7027198"/>
                    </a:lnTo>
                    <a:lnTo>
                      <a:pt x="5925681" y="7013613"/>
                    </a:lnTo>
                    <a:lnTo>
                      <a:pt x="5901986" y="7020096"/>
                    </a:lnTo>
                    <a:lnTo>
                      <a:pt x="5877947" y="7035033"/>
                    </a:lnTo>
                    <a:lnTo>
                      <a:pt x="5852570" y="7059567"/>
                    </a:lnTo>
                    <a:lnTo>
                      <a:pt x="5825815" y="7086745"/>
                    </a:lnTo>
                    <a:lnTo>
                      <a:pt x="5797938" y="7112233"/>
                    </a:lnTo>
                    <a:lnTo>
                      <a:pt x="5769349" y="7126552"/>
                    </a:lnTo>
                    <a:lnTo>
                      <a:pt x="5741479" y="7123465"/>
                    </a:lnTo>
                    <a:lnTo>
                      <a:pt x="5719695" y="7109477"/>
                    </a:lnTo>
                    <a:lnTo>
                      <a:pt x="5703413" y="7083044"/>
                    </a:lnTo>
                    <a:lnTo>
                      <a:pt x="5693870" y="7050017"/>
                    </a:lnTo>
                    <a:lnTo>
                      <a:pt x="5692380" y="7016792"/>
                    </a:lnTo>
                    <a:lnTo>
                      <a:pt x="5703531" y="6988025"/>
                    </a:lnTo>
                    <a:lnTo>
                      <a:pt x="5730597" y="6968405"/>
                    </a:lnTo>
                    <a:lnTo>
                      <a:pt x="5757438" y="6956982"/>
                    </a:lnTo>
                    <a:lnTo>
                      <a:pt x="5783937" y="6950876"/>
                    </a:lnTo>
                    <a:lnTo>
                      <a:pt x="5810850" y="6946642"/>
                    </a:lnTo>
                    <a:lnTo>
                      <a:pt x="5837764" y="6942402"/>
                    </a:lnTo>
                    <a:lnTo>
                      <a:pt x="5864975" y="6941003"/>
                    </a:lnTo>
                    <a:lnTo>
                      <a:pt x="5889739" y="6939842"/>
                    </a:lnTo>
                    <a:lnTo>
                      <a:pt x="5914509" y="6938675"/>
                    </a:lnTo>
                    <a:lnTo>
                      <a:pt x="5937367" y="6937949"/>
                    </a:lnTo>
                    <a:lnTo>
                      <a:pt x="5978137" y="6933577"/>
                    </a:lnTo>
                    <a:lnTo>
                      <a:pt x="6009436" y="6922161"/>
                    </a:lnTo>
                    <a:lnTo>
                      <a:pt x="6028482" y="6901758"/>
                    </a:lnTo>
                    <a:lnTo>
                      <a:pt x="6038006" y="6874553"/>
                    </a:lnTo>
                    <a:lnTo>
                      <a:pt x="6046163" y="6845990"/>
                    </a:lnTo>
                    <a:lnTo>
                      <a:pt x="6059769" y="6821504"/>
                    </a:lnTo>
                    <a:lnTo>
                      <a:pt x="6074647" y="6805379"/>
                    </a:lnTo>
                    <a:lnTo>
                      <a:pt x="6107370" y="6783418"/>
                    </a:lnTo>
                    <a:lnTo>
                      <a:pt x="6139237" y="6762644"/>
                    </a:lnTo>
                    <a:lnTo>
                      <a:pt x="6168004" y="6741632"/>
                    </a:lnTo>
                    <a:lnTo>
                      <a:pt x="6190347" y="6714053"/>
                    </a:lnTo>
                    <a:lnTo>
                      <a:pt x="6202971" y="6677371"/>
                    </a:lnTo>
                    <a:lnTo>
                      <a:pt x="6202588" y="6650122"/>
                    </a:lnTo>
                    <a:lnTo>
                      <a:pt x="6178121" y="6628728"/>
                    </a:lnTo>
                    <a:lnTo>
                      <a:pt x="6145443" y="6608943"/>
                    </a:lnTo>
                    <a:lnTo>
                      <a:pt x="6110094" y="6590273"/>
                    </a:lnTo>
                    <a:lnTo>
                      <a:pt x="6075775" y="6571069"/>
                    </a:lnTo>
                    <a:lnTo>
                      <a:pt x="6049203" y="6549629"/>
                    </a:lnTo>
                    <a:lnTo>
                      <a:pt x="6035282" y="6523626"/>
                    </a:lnTo>
                    <a:lnTo>
                      <a:pt x="6026919" y="6499593"/>
                    </a:lnTo>
                    <a:lnTo>
                      <a:pt x="6031417" y="6478035"/>
                    </a:lnTo>
                    <a:lnTo>
                      <a:pt x="6043446" y="6456971"/>
                    </a:lnTo>
                    <a:lnTo>
                      <a:pt x="6055469" y="6435913"/>
                    </a:lnTo>
                    <a:lnTo>
                      <a:pt x="6075154" y="6415192"/>
                    </a:lnTo>
                    <a:lnTo>
                      <a:pt x="6096489" y="6395764"/>
                    </a:lnTo>
                    <a:lnTo>
                      <a:pt x="6117830" y="6376342"/>
                    </a:lnTo>
                    <a:lnTo>
                      <a:pt x="6140853" y="6357763"/>
                    </a:lnTo>
                    <a:lnTo>
                      <a:pt x="6160420" y="6338638"/>
                    </a:lnTo>
                    <a:lnTo>
                      <a:pt x="6179994" y="6319506"/>
                    </a:lnTo>
                    <a:lnTo>
                      <a:pt x="6195861" y="6300315"/>
                    </a:lnTo>
                    <a:lnTo>
                      <a:pt x="6202588" y="6280147"/>
                    </a:lnTo>
                    <a:lnTo>
                      <a:pt x="6210897" y="6249949"/>
                    </a:lnTo>
                    <a:lnTo>
                      <a:pt x="6213318" y="6223294"/>
                    </a:lnTo>
                    <a:lnTo>
                      <a:pt x="6210752" y="6199895"/>
                    </a:lnTo>
                    <a:lnTo>
                      <a:pt x="6206229" y="6177149"/>
                    </a:lnTo>
                    <a:lnTo>
                      <a:pt x="6198948" y="6157350"/>
                    </a:lnTo>
                    <a:lnTo>
                      <a:pt x="6172093" y="6105957"/>
                    </a:lnTo>
                    <a:lnTo>
                      <a:pt x="6149585" y="6082280"/>
                    </a:lnTo>
                    <a:lnTo>
                      <a:pt x="6156344" y="6061158"/>
                    </a:lnTo>
                    <a:lnTo>
                      <a:pt x="6168584" y="6033953"/>
                    </a:lnTo>
                    <a:lnTo>
                      <a:pt x="6180825" y="6008108"/>
                    </a:lnTo>
                    <a:lnTo>
                      <a:pt x="6196534" y="5969773"/>
                    </a:lnTo>
                    <a:lnTo>
                      <a:pt x="6216806" y="5934905"/>
                    </a:lnTo>
                    <a:lnTo>
                      <a:pt x="6247480" y="5907449"/>
                    </a:lnTo>
                    <a:lnTo>
                      <a:pt x="6291052" y="5902650"/>
                    </a:lnTo>
                    <a:lnTo>
                      <a:pt x="6319568" y="5910173"/>
                    </a:lnTo>
                    <a:lnTo>
                      <a:pt x="6348078" y="5917698"/>
                    </a:lnTo>
                    <a:lnTo>
                      <a:pt x="6376469" y="5927986"/>
                    </a:lnTo>
                    <a:lnTo>
                      <a:pt x="6432559" y="5937530"/>
                    </a:lnTo>
                    <a:lnTo>
                      <a:pt x="6489519" y="5927143"/>
                    </a:lnTo>
                    <a:lnTo>
                      <a:pt x="6545358" y="5911533"/>
                    </a:lnTo>
                    <a:lnTo>
                      <a:pt x="6601197" y="5895915"/>
                    </a:lnTo>
                    <a:lnTo>
                      <a:pt x="6655921" y="5875557"/>
                    </a:lnTo>
                    <a:lnTo>
                      <a:pt x="6696341" y="5863923"/>
                    </a:lnTo>
                    <a:lnTo>
                      <a:pt x="6748092" y="5863990"/>
                    </a:lnTo>
                    <a:lnTo>
                      <a:pt x="6793003" y="5872695"/>
                    </a:lnTo>
                    <a:lnTo>
                      <a:pt x="6826578" y="5880522"/>
                    </a:lnTo>
                    <a:lnTo>
                      <a:pt x="6854125" y="5897927"/>
                    </a:lnTo>
                    <a:lnTo>
                      <a:pt x="6900698" y="5937094"/>
                    </a:lnTo>
                    <a:lnTo>
                      <a:pt x="6931654" y="5964574"/>
                    </a:lnTo>
                    <a:lnTo>
                      <a:pt x="6962617" y="5992057"/>
                    </a:lnTo>
                    <a:lnTo>
                      <a:pt x="6993706" y="6017664"/>
                    </a:lnTo>
                    <a:lnTo>
                      <a:pt x="7037753" y="5994497"/>
                    </a:lnTo>
                    <a:lnTo>
                      <a:pt x="7062048" y="6004902"/>
                    </a:lnTo>
                    <a:lnTo>
                      <a:pt x="7086905" y="6019458"/>
                    </a:lnTo>
                    <a:lnTo>
                      <a:pt x="7112559" y="6033947"/>
                    </a:lnTo>
                    <a:lnTo>
                      <a:pt x="7137580" y="6045098"/>
                    </a:lnTo>
                    <a:lnTo>
                      <a:pt x="7163716" y="6047269"/>
                    </a:lnTo>
                    <a:lnTo>
                      <a:pt x="7190096" y="6035305"/>
                    </a:lnTo>
                    <a:lnTo>
                      <a:pt x="7213217" y="6013542"/>
                    </a:lnTo>
                    <a:lnTo>
                      <a:pt x="7224825" y="5991475"/>
                    </a:lnTo>
                    <a:lnTo>
                      <a:pt x="7234248" y="5964878"/>
                    </a:lnTo>
                    <a:lnTo>
                      <a:pt x="7240421" y="5937371"/>
                    </a:lnTo>
                    <a:lnTo>
                      <a:pt x="7245420" y="5914190"/>
                    </a:lnTo>
                    <a:lnTo>
                      <a:pt x="7246620" y="5892123"/>
                    </a:lnTo>
                    <a:lnTo>
                      <a:pt x="7243145" y="5862559"/>
                    </a:lnTo>
                    <a:lnTo>
                      <a:pt x="7248520" y="5817904"/>
                    </a:lnTo>
                    <a:lnTo>
                      <a:pt x="7262184" y="5775143"/>
                    </a:lnTo>
                    <a:lnTo>
                      <a:pt x="7262184" y="5729262"/>
                    </a:lnTo>
                    <a:lnTo>
                      <a:pt x="7253051" y="5687945"/>
                    </a:lnTo>
                    <a:lnTo>
                      <a:pt x="7262184" y="5668048"/>
                    </a:lnTo>
                    <a:lnTo>
                      <a:pt x="7301121" y="5658261"/>
                    </a:lnTo>
                    <a:lnTo>
                      <a:pt x="7337511" y="5661520"/>
                    </a:lnTo>
                    <a:lnTo>
                      <a:pt x="7369642" y="5672130"/>
                    </a:lnTo>
                    <a:lnTo>
                      <a:pt x="7401601" y="5682432"/>
                    </a:lnTo>
                    <a:lnTo>
                      <a:pt x="7428633" y="5694013"/>
                    </a:lnTo>
                    <a:lnTo>
                      <a:pt x="7461627" y="5657787"/>
                    </a:lnTo>
                    <a:lnTo>
                      <a:pt x="7502879" y="5610244"/>
                    </a:lnTo>
                    <a:lnTo>
                      <a:pt x="7527425" y="5594602"/>
                    </a:lnTo>
                    <a:lnTo>
                      <a:pt x="7587867" y="5556094"/>
                    </a:lnTo>
                    <a:lnTo>
                      <a:pt x="7661895" y="5536157"/>
                    </a:lnTo>
                    <a:lnTo>
                      <a:pt x="7726017" y="5504830"/>
                    </a:lnTo>
                    <a:lnTo>
                      <a:pt x="7763100" y="5486721"/>
                    </a:lnTo>
                    <a:lnTo>
                      <a:pt x="7799313" y="5463586"/>
                    </a:lnTo>
                    <a:lnTo>
                      <a:pt x="7836192" y="5444983"/>
                    </a:lnTo>
                    <a:lnTo>
                      <a:pt x="7872582" y="5426615"/>
                    </a:lnTo>
                    <a:lnTo>
                      <a:pt x="7914308" y="5409390"/>
                    </a:lnTo>
                    <a:lnTo>
                      <a:pt x="7954530" y="5387850"/>
                    </a:lnTo>
                    <a:lnTo>
                      <a:pt x="7994753" y="5366312"/>
                    </a:lnTo>
                    <a:lnTo>
                      <a:pt x="8032298" y="5340374"/>
                    </a:lnTo>
                    <a:lnTo>
                      <a:pt x="8057905" y="5306239"/>
                    </a:lnTo>
                    <a:lnTo>
                      <a:pt x="8073278" y="5285741"/>
                    </a:lnTo>
                    <a:lnTo>
                      <a:pt x="8081640" y="5263899"/>
                    </a:lnTo>
                    <a:lnTo>
                      <a:pt x="8093268" y="5242308"/>
                    </a:lnTo>
                    <a:lnTo>
                      <a:pt x="8113606" y="5204500"/>
                    </a:lnTo>
                    <a:lnTo>
                      <a:pt x="8135329" y="5166460"/>
                    </a:lnTo>
                    <a:lnTo>
                      <a:pt x="8154475" y="5128052"/>
                    </a:lnTo>
                    <a:lnTo>
                      <a:pt x="8169868" y="5097193"/>
                    </a:lnTo>
                    <a:lnTo>
                      <a:pt x="8194770" y="5018556"/>
                    </a:lnTo>
                    <a:lnTo>
                      <a:pt x="8225212" y="4949863"/>
                    </a:lnTo>
                    <a:lnTo>
                      <a:pt x="8240426" y="4915518"/>
                    </a:lnTo>
                    <a:lnTo>
                      <a:pt x="8257579" y="4883552"/>
                    </a:lnTo>
                    <a:lnTo>
                      <a:pt x="8275537" y="4861453"/>
                    </a:lnTo>
                    <a:lnTo>
                      <a:pt x="8293495" y="4839359"/>
                    </a:lnTo>
                    <a:lnTo>
                      <a:pt x="8312653" y="4826901"/>
                    </a:lnTo>
                    <a:lnTo>
                      <a:pt x="8336171" y="4845071"/>
                    </a:lnTo>
                    <a:lnTo>
                      <a:pt x="8343907" y="4869359"/>
                    </a:lnTo>
                    <a:lnTo>
                      <a:pt x="8389557" y="4886684"/>
                    </a:lnTo>
                    <a:lnTo>
                      <a:pt x="8413833" y="4888690"/>
                    </a:lnTo>
                    <a:lnTo>
                      <a:pt x="8437402" y="4884574"/>
                    </a:lnTo>
                    <a:lnTo>
                      <a:pt x="8460966" y="4880459"/>
                    </a:lnTo>
                    <a:lnTo>
                      <a:pt x="8483844" y="4870665"/>
                    </a:lnTo>
                    <a:lnTo>
                      <a:pt x="8516291" y="4854647"/>
                    </a:lnTo>
                    <a:lnTo>
                      <a:pt x="8536741" y="4844550"/>
                    </a:lnTo>
                    <a:lnTo>
                      <a:pt x="8565258" y="4824725"/>
                    </a:lnTo>
                    <a:lnTo>
                      <a:pt x="8587536" y="4798201"/>
                    </a:lnTo>
                    <a:lnTo>
                      <a:pt x="8592462" y="4774399"/>
                    </a:lnTo>
                    <a:lnTo>
                      <a:pt x="8600501" y="4735536"/>
                    </a:lnTo>
                    <a:lnTo>
                      <a:pt x="8594322" y="4708760"/>
                    </a:lnTo>
                    <a:lnTo>
                      <a:pt x="8581580" y="4683265"/>
                    </a:lnTo>
                    <a:lnTo>
                      <a:pt x="8568839" y="4657761"/>
                    </a:lnTo>
                    <a:lnTo>
                      <a:pt x="8548876" y="4634857"/>
                    </a:lnTo>
                    <a:lnTo>
                      <a:pt x="8528531" y="4604369"/>
                    </a:lnTo>
                    <a:lnTo>
                      <a:pt x="8507704" y="4571005"/>
                    </a:lnTo>
                    <a:lnTo>
                      <a:pt x="8492701" y="4543229"/>
                    </a:lnTo>
                    <a:lnTo>
                      <a:pt x="8487728" y="4522757"/>
                    </a:lnTo>
                    <a:lnTo>
                      <a:pt x="8517505" y="4340494"/>
                    </a:lnTo>
                    <a:lnTo>
                      <a:pt x="8533378" y="4323341"/>
                    </a:lnTo>
                    <a:lnTo>
                      <a:pt x="8731331" y="4303405"/>
                    </a:lnTo>
                    <a:lnTo>
                      <a:pt x="8773261" y="4297772"/>
                    </a:lnTo>
                    <a:lnTo>
                      <a:pt x="8814876" y="4270041"/>
                    </a:lnTo>
                    <a:lnTo>
                      <a:pt x="8854979" y="4262965"/>
                    </a:lnTo>
                    <a:lnTo>
                      <a:pt x="8890703" y="4256646"/>
                    </a:lnTo>
                    <a:lnTo>
                      <a:pt x="9058036" y="4237013"/>
                    </a:lnTo>
                    <a:lnTo>
                      <a:pt x="9078052" y="4227597"/>
                    </a:lnTo>
                    <a:lnTo>
                      <a:pt x="9120239" y="4207765"/>
                    </a:lnTo>
                    <a:lnTo>
                      <a:pt x="9157157" y="4173102"/>
                    </a:lnTo>
                    <a:lnTo>
                      <a:pt x="9200473" y="4156866"/>
                    </a:lnTo>
                    <a:lnTo>
                      <a:pt x="9235366" y="4143755"/>
                    </a:lnTo>
                    <a:lnTo>
                      <a:pt x="9276386" y="4145048"/>
                    </a:lnTo>
                    <a:lnTo>
                      <a:pt x="9310647" y="4125580"/>
                    </a:lnTo>
                    <a:lnTo>
                      <a:pt x="9336321" y="4111005"/>
                    </a:lnTo>
                    <a:lnTo>
                      <a:pt x="9353092" y="4087435"/>
                    </a:lnTo>
                    <a:lnTo>
                      <a:pt x="9382736" y="4076612"/>
                    </a:lnTo>
                    <a:lnTo>
                      <a:pt x="9411206" y="4083464"/>
                    </a:lnTo>
                    <a:lnTo>
                      <a:pt x="9436728" y="4084751"/>
                    </a:lnTo>
                    <a:lnTo>
                      <a:pt x="9460266" y="4082054"/>
                    </a:lnTo>
                    <a:lnTo>
                      <a:pt x="9483809" y="4079362"/>
                    </a:lnTo>
                    <a:lnTo>
                      <a:pt x="9505414" y="4073045"/>
                    </a:lnTo>
                    <a:lnTo>
                      <a:pt x="9524197" y="4061649"/>
                    </a:lnTo>
                    <a:lnTo>
                      <a:pt x="9542979" y="4050259"/>
                    </a:lnTo>
                    <a:lnTo>
                      <a:pt x="9558965" y="4034649"/>
                    </a:lnTo>
                    <a:lnTo>
                      <a:pt x="9573164" y="4015405"/>
                    </a:lnTo>
                    <a:lnTo>
                      <a:pt x="9587369" y="3996161"/>
                    </a:lnTo>
                    <a:lnTo>
                      <a:pt x="9598739" y="3972281"/>
                    </a:lnTo>
                    <a:lnTo>
                      <a:pt x="9608533" y="3946034"/>
                    </a:lnTo>
                    <a:lnTo>
                      <a:pt x="9608862" y="3923854"/>
                    </a:lnTo>
                    <a:lnTo>
                      <a:pt x="9596285" y="3884825"/>
                    </a:lnTo>
                    <a:lnTo>
                      <a:pt x="9580464" y="3845843"/>
                    </a:lnTo>
                    <a:lnTo>
                      <a:pt x="9568587" y="3809553"/>
                    </a:lnTo>
                    <a:lnTo>
                      <a:pt x="9569088" y="3774652"/>
                    </a:lnTo>
                    <a:lnTo>
                      <a:pt x="9586004" y="3738017"/>
                    </a:lnTo>
                    <a:lnTo>
                      <a:pt x="9609891" y="3718885"/>
                    </a:lnTo>
                    <a:lnTo>
                      <a:pt x="9638453" y="3717527"/>
                    </a:lnTo>
                    <a:lnTo>
                      <a:pt x="9665657" y="3721603"/>
                    </a:lnTo>
                    <a:lnTo>
                      <a:pt x="9692861" y="3725671"/>
                    </a:lnTo>
                    <a:lnTo>
                      <a:pt x="9718706" y="3722955"/>
                    </a:lnTo>
                    <a:lnTo>
                      <a:pt x="9735029" y="3698474"/>
                    </a:lnTo>
                    <a:lnTo>
                      <a:pt x="9739804" y="3675372"/>
                    </a:lnTo>
                    <a:lnTo>
                      <a:pt x="9738419" y="3650846"/>
                    </a:lnTo>
                    <a:lnTo>
                      <a:pt x="9732306" y="3627743"/>
                    </a:lnTo>
                    <a:lnTo>
                      <a:pt x="9724220" y="3607022"/>
                    </a:lnTo>
                    <a:lnTo>
                      <a:pt x="9673815" y="3547490"/>
                    </a:lnTo>
                    <a:lnTo>
                      <a:pt x="9657836" y="3528728"/>
                    </a:lnTo>
                    <a:lnTo>
                      <a:pt x="9662960" y="3498075"/>
                    </a:lnTo>
                    <a:lnTo>
                      <a:pt x="9646611" y="3480842"/>
                    </a:lnTo>
                    <a:lnTo>
                      <a:pt x="9619935" y="3458407"/>
                    </a:lnTo>
                    <a:lnTo>
                      <a:pt x="9594399" y="3443429"/>
                    </a:lnTo>
                    <a:lnTo>
                      <a:pt x="9570440" y="3430517"/>
                    </a:lnTo>
                    <a:lnTo>
                      <a:pt x="9546738" y="3414471"/>
                    </a:lnTo>
                    <a:lnTo>
                      <a:pt x="9526135" y="3389430"/>
                    </a:lnTo>
                    <a:lnTo>
                      <a:pt x="9509232" y="3348905"/>
                    </a:lnTo>
                    <a:lnTo>
                      <a:pt x="9498694" y="3313008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95" name="Khmelnytsky¬0" descr="Khmelnytsky¬0">
                <a:extLst>
                  <a:ext uri="{FF2B5EF4-FFF2-40B4-BE49-F238E27FC236}">
                    <a16:creationId xmlns:a16="http://schemas.microsoft.com/office/drawing/2014/main" id="{9F5FD4D4-6FC4-4E95-8410-62E057132E39}"/>
                  </a:ext>
                </a:extLst>
              </p:cNvPr>
              <p:cNvSpPr/>
              <p:nvPr/>
            </p:nvSpPr>
            <p:spPr>
              <a:xfrm>
                <a:off x="14006303" y="9420546"/>
                <a:ext cx="6112883" cy="11253985"/>
              </a:xfrm>
              <a:custGeom>
                <a:avLst/>
                <a:gdLst/>
                <a:ahLst/>
                <a:cxnLst/>
                <a:rect l="0" t="0" r="0" b="0"/>
                <a:pathLst>
                  <a:path w="6112888" h="11253986">
                    <a:moveTo>
                      <a:pt x="4288341" y="10295067"/>
                    </a:moveTo>
                    <a:lnTo>
                      <a:pt x="4292741" y="10266965"/>
                    </a:lnTo>
                    <a:lnTo>
                      <a:pt x="4300054" y="10236939"/>
                    </a:lnTo>
                    <a:lnTo>
                      <a:pt x="4314834" y="10192363"/>
                    </a:lnTo>
                    <a:lnTo>
                      <a:pt x="4327483" y="10163010"/>
                    </a:lnTo>
                    <a:lnTo>
                      <a:pt x="4338985" y="10133669"/>
                    </a:lnTo>
                    <a:lnTo>
                      <a:pt x="4350493" y="10104328"/>
                    </a:lnTo>
                    <a:lnTo>
                      <a:pt x="4361790" y="10074922"/>
                    </a:lnTo>
                    <a:lnTo>
                      <a:pt x="4370270" y="10045251"/>
                    </a:lnTo>
                    <a:lnTo>
                      <a:pt x="4378751" y="10015588"/>
                    </a:lnTo>
                    <a:lnTo>
                      <a:pt x="4384449" y="9984822"/>
                    </a:lnTo>
                    <a:lnTo>
                      <a:pt x="4385235" y="9954123"/>
                    </a:lnTo>
                    <a:lnTo>
                      <a:pt x="4385952" y="9925877"/>
                    </a:lnTo>
                    <a:lnTo>
                      <a:pt x="4382965" y="9895916"/>
                    </a:lnTo>
                    <a:lnTo>
                      <a:pt x="4382517" y="9865706"/>
                    </a:lnTo>
                    <a:lnTo>
                      <a:pt x="4382055" y="9835507"/>
                    </a:lnTo>
                    <a:lnTo>
                      <a:pt x="4384535" y="9806252"/>
                    </a:lnTo>
                    <a:lnTo>
                      <a:pt x="4393398" y="9778658"/>
                    </a:lnTo>
                    <a:lnTo>
                      <a:pt x="4404002" y="9754746"/>
                    </a:lnTo>
                    <a:lnTo>
                      <a:pt x="4397435" y="9727970"/>
                    </a:lnTo>
                    <a:lnTo>
                      <a:pt x="4386599" y="9705205"/>
                    </a:lnTo>
                    <a:lnTo>
                      <a:pt x="4382860" y="9678343"/>
                    </a:lnTo>
                    <a:lnTo>
                      <a:pt x="4370257" y="9593559"/>
                    </a:lnTo>
                    <a:lnTo>
                      <a:pt x="4381159" y="9571908"/>
                    </a:lnTo>
                    <a:lnTo>
                      <a:pt x="4446065" y="9582019"/>
                    </a:lnTo>
                    <a:lnTo>
                      <a:pt x="4470420" y="9586470"/>
                    </a:lnTo>
                    <a:lnTo>
                      <a:pt x="4491334" y="9571908"/>
                    </a:lnTo>
                    <a:lnTo>
                      <a:pt x="4492751" y="9550337"/>
                    </a:lnTo>
                    <a:lnTo>
                      <a:pt x="4482074" y="9522361"/>
                    </a:lnTo>
                    <a:lnTo>
                      <a:pt x="4470671" y="9504469"/>
                    </a:lnTo>
                    <a:lnTo>
                      <a:pt x="4458695" y="9486214"/>
                    </a:lnTo>
                    <a:lnTo>
                      <a:pt x="4447504" y="9467485"/>
                    </a:lnTo>
                    <a:lnTo>
                      <a:pt x="4433258" y="9430355"/>
                    </a:lnTo>
                    <a:lnTo>
                      <a:pt x="4421645" y="9400072"/>
                    </a:lnTo>
                    <a:lnTo>
                      <a:pt x="4413803" y="9371957"/>
                    </a:lnTo>
                    <a:lnTo>
                      <a:pt x="4401979" y="9329558"/>
                    </a:lnTo>
                    <a:lnTo>
                      <a:pt x="4390095" y="9282406"/>
                    </a:lnTo>
                    <a:lnTo>
                      <a:pt x="4382523" y="9234580"/>
                    </a:lnTo>
                    <a:lnTo>
                      <a:pt x="4374945" y="9186747"/>
                    </a:lnTo>
                    <a:lnTo>
                      <a:pt x="4371755" y="9138181"/>
                    </a:lnTo>
                    <a:lnTo>
                      <a:pt x="4379807" y="9094477"/>
                    </a:lnTo>
                    <a:lnTo>
                      <a:pt x="4383670" y="9073545"/>
                    </a:lnTo>
                    <a:lnTo>
                      <a:pt x="4392957" y="9052864"/>
                    </a:lnTo>
                    <a:lnTo>
                      <a:pt x="4396129" y="9031905"/>
                    </a:lnTo>
                    <a:lnTo>
                      <a:pt x="4347412" y="8839123"/>
                    </a:lnTo>
                    <a:lnTo>
                      <a:pt x="4329520" y="8796276"/>
                    </a:lnTo>
                    <a:lnTo>
                      <a:pt x="4307988" y="8760353"/>
                    </a:lnTo>
                    <a:lnTo>
                      <a:pt x="4290030" y="8725862"/>
                    </a:lnTo>
                    <a:lnTo>
                      <a:pt x="4286568" y="8701203"/>
                    </a:lnTo>
                    <a:lnTo>
                      <a:pt x="4293493" y="8668909"/>
                    </a:lnTo>
                    <a:lnTo>
                      <a:pt x="4307711" y="8649690"/>
                    </a:lnTo>
                    <a:lnTo>
                      <a:pt x="4373001" y="8619769"/>
                    </a:lnTo>
                    <a:lnTo>
                      <a:pt x="4393478" y="8600177"/>
                    </a:lnTo>
                    <a:lnTo>
                      <a:pt x="4390609" y="8568627"/>
                    </a:lnTo>
                    <a:lnTo>
                      <a:pt x="4373001" y="8531351"/>
                    </a:lnTo>
                    <a:lnTo>
                      <a:pt x="4351804" y="8495403"/>
                    </a:lnTo>
                    <a:lnTo>
                      <a:pt x="4320789" y="8461663"/>
                    </a:lnTo>
                    <a:lnTo>
                      <a:pt x="4306353" y="8443620"/>
                    </a:lnTo>
                    <a:lnTo>
                      <a:pt x="4308205" y="8406728"/>
                    </a:lnTo>
                    <a:lnTo>
                      <a:pt x="4327990" y="8372955"/>
                    </a:lnTo>
                    <a:lnTo>
                      <a:pt x="4343839" y="8353922"/>
                    </a:lnTo>
                    <a:lnTo>
                      <a:pt x="4353961" y="8332767"/>
                    </a:lnTo>
                    <a:lnTo>
                      <a:pt x="4364090" y="8311604"/>
                    </a:lnTo>
                    <a:lnTo>
                      <a:pt x="4368978" y="8288079"/>
                    </a:lnTo>
                    <a:lnTo>
                      <a:pt x="4363484" y="8259312"/>
                    </a:lnTo>
                    <a:lnTo>
                      <a:pt x="4384951" y="8229898"/>
                    </a:lnTo>
                    <a:lnTo>
                      <a:pt x="4432962" y="8187625"/>
                    </a:lnTo>
                    <a:lnTo>
                      <a:pt x="4479654" y="8172193"/>
                    </a:lnTo>
                    <a:lnTo>
                      <a:pt x="4500869" y="8139614"/>
                    </a:lnTo>
                    <a:lnTo>
                      <a:pt x="4526497" y="8100257"/>
                    </a:lnTo>
                    <a:lnTo>
                      <a:pt x="4525218" y="8058900"/>
                    </a:lnTo>
                    <a:lnTo>
                      <a:pt x="4534872" y="8028081"/>
                    </a:lnTo>
                    <a:lnTo>
                      <a:pt x="4546915" y="8000072"/>
                    </a:lnTo>
                    <a:lnTo>
                      <a:pt x="4577238" y="7982636"/>
                    </a:lnTo>
                    <a:lnTo>
                      <a:pt x="4600479" y="7978098"/>
                    </a:lnTo>
                    <a:lnTo>
                      <a:pt x="4635523" y="7979114"/>
                    </a:lnTo>
                    <a:lnTo>
                      <a:pt x="4653204" y="7946469"/>
                    </a:lnTo>
                    <a:lnTo>
                      <a:pt x="4630651" y="7890446"/>
                    </a:lnTo>
                    <a:lnTo>
                      <a:pt x="4638241" y="7870299"/>
                    </a:lnTo>
                    <a:lnTo>
                      <a:pt x="4647995" y="7844302"/>
                    </a:lnTo>
                    <a:lnTo>
                      <a:pt x="4681767" y="7814525"/>
                    </a:lnTo>
                    <a:lnTo>
                      <a:pt x="4698836" y="7792827"/>
                    </a:lnTo>
                    <a:lnTo>
                      <a:pt x="4688996" y="7736659"/>
                    </a:lnTo>
                    <a:lnTo>
                      <a:pt x="4704890" y="7702993"/>
                    </a:lnTo>
                    <a:lnTo>
                      <a:pt x="4725294" y="7681230"/>
                    </a:lnTo>
                    <a:lnTo>
                      <a:pt x="4766782" y="7680768"/>
                    </a:lnTo>
                    <a:lnTo>
                      <a:pt x="4810500" y="7677701"/>
                    </a:lnTo>
                    <a:lnTo>
                      <a:pt x="4851791" y="7679870"/>
                    </a:lnTo>
                    <a:lnTo>
                      <a:pt x="4877431" y="7681222"/>
                    </a:lnTo>
                    <a:lnTo>
                      <a:pt x="4901510" y="7688390"/>
                    </a:lnTo>
                    <a:lnTo>
                      <a:pt x="4926603" y="7694835"/>
                    </a:lnTo>
                    <a:lnTo>
                      <a:pt x="4951696" y="7701270"/>
                    </a:lnTo>
                    <a:lnTo>
                      <a:pt x="4976961" y="7706639"/>
                    </a:lnTo>
                    <a:lnTo>
                      <a:pt x="5002774" y="7704351"/>
                    </a:lnTo>
                    <a:lnTo>
                      <a:pt x="5034186" y="7680543"/>
                    </a:lnTo>
                    <a:lnTo>
                      <a:pt x="5049775" y="7646684"/>
                    </a:lnTo>
                    <a:lnTo>
                      <a:pt x="5062623" y="7610499"/>
                    </a:lnTo>
                    <a:lnTo>
                      <a:pt x="5075470" y="7574312"/>
                    </a:lnTo>
                    <a:lnTo>
                      <a:pt x="5086542" y="7535732"/>
                    </a:lnTo>
                    <a:lnTo>
                      <a:pt x="5108873" y="7505764"/>
                    </a:lnTo>
                    <a:lnTo>
                      <a:pt x="5153758" y="7502290"/>
                    </a:lnTo>
                    <a:lnTo>
                      <a:pt x="5187761" y="7511206"/>
                    </a:lnTo>
                    <a:lnTo>
                      <a:pt x="5221765" y="7520122"/>
                    </a:lnTo>
                    <a:lnTo>
                      <a:pt x="5255960" y="7532527"/>
                    </a:lnTo>
                    <a:lnTo>
                      <a:pt x="5305355" y="7549187"/>
                    </a:lnTo>
                    <a:lnTo>
                      <a:pt x="5337493" y="7592988"/>
                    </a:lnTo>
                    <a:lnTo>
                      <a:pt x="5375472" y="7610499"/>
                    </a:lnTo>
                    <a:lnTo>
                      <a:pt x="5394934" y="7619488"/>
                    </a:lnTo>
                    <a:lnTo>
                      <a:pt x="5416156" y="7620714"/>
                    </a:lnTo>
                    <a:lnTo>
                      <a:pt x="5438039" y="7622745"/>
                    </a:lnTo>
                    <a:lnTo>
                      <a:pt x="5459919" y="7624769"/>
                    </a:lnTo>
                    <a:lnTo>
                      <a:pt x="5481650" y="7626966"/>
                    </a:lnTo>
                    <a:lnTo>
                      <a:pt x="5499246" y="7639068"/>
                    </a:lnTo>
                    <a:lnTo>
                      <a:pt x="5522604" y="7655113"/>
                    </a:lnTo>
                    <a:lnTo>
                      <a:pt x="5542263" y="7680741"/>
                    </a:lnTo>
                    <a:lnTo>
                      <a:pt x="5565893" y="7696193"/>
                    </a:lnTo>
                    <a:lnTo>
                      <a:pt x="5587281" y="7710181"/>
                    </a:lnTo>
                    <a:lnTo>
                      <a:pt x="5625300" y="7725757"/>
                    </a:lnTo>
                    <a:lnTo>
                      <a:pt x="5650229" y="7731555"/>
                    </a:lnTo>
                    <a:lnTo>
                      <a:pt x="5671003" y="7736395"/>
                    </a:lnTo>
                    <a:lnTo>
                      <a:pt x="5701914" y="7732913"/>
                    </a:lnTo>
                    <a:lnTo>
                      <a:pt x="5727238" y="7722401"/>
                    </a:lnTo>
                    <a:lnTo>
                      <a:pt x="5757369" y="7692744"/>
                    </a:lnTo>
                    <a:lnTo>
                      <a:pt x="5772452" y="7662744"/>
                    </a:lnTo>
                    <a:lnTo>
                      <a:pt x="5791690" y="7630904"/>
                    </a:lnTo>
                    <a:lnTo>
                      <a:pt x="5809371" y="7613215"/>
                    </a:lnTo>
                    <a:lnTo>
                      <a:pt x="5827863" y="7599115"/>
                    </a:lnTo>
                    <a:lnTo>
                      <a:pt x="5885272" y="7573205"/>
                    </a:lnTo>
                    <a:lnTo>
                      <a:pt x="5911459" y="7562614"/>
                    </a:lnTo>
                    <a:lnTo>
                      <a:pt x="5939949" y="7558814"/>
                    </a:lnTo>
                    <a:lnTo>
                      <a:pt x="5968446" y="7555009"/>
                    </a:lnTo>
                    <a:lnTo>
                      <a:pt x="5998842" y="7557991"/>
                    </a:lnTo>
                    <a:lnTo>
                      <a:pt x="6061013" y="7558814"/>
                    </a:lnTo>
                    <a:lnTo>
                      <a:pt x="6097034" y="7538984"/>
                    </a:lnTo>
                    <a:lnTo>
                      <a:pt x="6112887" y="7516402"/>
                    </a:lnTo>
                    <a:lnTo>
                      <a:pt x="6108112" y="7492542"/>
                    </a:lnTo>
                    <a:lnTo>
                      <a:pt x="6100463" y="7467680"/>
                    </a:lnTo>
                    <a:lnTo>
                      <a:pt x="6092800" y="7442816"/>
                    </a:lnTo>
                    <a:lnTo>
                      <a:pt x="6081726" y="7417373"/>
                    </a:lnTo>
                    <a:lnTo>
                      <a:pt x="6072738" y="7376980"/>
                    </a:lnTo>
                    <a:lnTo>
                      <a:pt x="6075917" y="7349710"/>
                    </a:lnTo>
                    <a:lnTo>
                      <a:pt x="6077334" y="7322137"/>
                    </a:lnTo>
                    <a:lnTo>
                      <a:pt x="6078759" y="7294563"/>
                    </a:lnTo>
                    <a:lnTo>
                      <a:pt x="6077862" y="7266996"/>
                    </a:lnTo>
                    <a:lnTo>
                      <a:pt x="6066459" y="7240525"/>
                    </a:lnTo>
                    <a:lnTo>
                      <a:pt x="6053494" y="7210472"/>
                    </a:lnTo>
                    <a:lnTo>
                      <a:pt x="6036321" y="7190390"/>
                    </a:lnTo>
                    <a:lnTo>
                      <a:pt x="6020209" y="7168436"/>
                    </a:lnTo>
                    <a:lnTo>
                      <a:pt x="6004099" y="7146475"/>
                    </a:lnTo>
                    <a:lnTo>
                      <a:pt x="5989385" y="7122245"/>
                    </a:lnTo>
                    <a:lnTo>
                      <a:pt x="5982125" y="7086824"/>
                    </a:lnTo>
                    <a:lnTo>
                      <a:pt x="5983404" y="7058472"/>
                    </a:lnTo>
                    <a:lnTo>
                      <a:pt x="5989444" y="7023347"/>
                    </a:lnTo>
                    <a:lnTo>
                      <a:pt x="6000761" y="7004981"/>
                    </a:lnTo>
                    <a:lnTo>
                      <a:pt x="6026058" y="6975515"/>
                    </a:lnTo>
                    <a:lnTo>
                      <a:pt x="6051496" y="6953521"/>
                    </a:lnTo>
                    <a:lnTo>
                      <a:pt x="6070383" y="6929779"/>
                    </a:lnTo>
                    <a:lnTo>
                      <a:pt x="6070739" y="6895657"/>
                    </a:lnTo>
                    <a:lnTo>
                      <a:pt x="6062371" y="6873380"/>
                    </a:lnTo>
                    <a:lnTo>
                      <a:pt x="6041972" y="6841988"/>
                    </a:lnTo>
                    <a:lnTo>
                      <a:pt x="6014940" y="6814165"/>
                    </a:lnTo>
                    <a:lnTo>
                      <a:pt x="5975899" y="6768705"/>
                    </a:lnTo>
                    <a:lnTo>
                      <a:pt x="5972607" y="6744054"/>
                    </a:lnTo>
                    <a:lnTo>
                      <a:pt x="5968803" y="6715530"/>
                    </a:lnTo>
                    <a:lnTo>
                      <a:pt x="5981134" y="6679246"/>
                    </a:lnTo>
                    <a:lnTo>
                      <a:pt x="5983489" y="6647477"/>
                    </a:lnTo>
                    <a:lnTo>
                      <a:pt x="5983291" y="6617287"/>
                    </a:lnTo>
                    <a:lnTo>
                      <a:pt x="5970062" y="6593333"/>
                    </a:lnTo>
                    <a:lnTo>
                      <a:pt x="5937239" y="6578106"/>
                    </a:lnTo>
                    <a:lnTo>
                      <a:pt x="5902511" y="6568676"/>
                    </a:lnTo>
                    <a:lnTo>
                      <a:pt x="5858351" y="6553626"/>
                    </a:lnTo>
                    <a:lnTo>
                      <a:pt x="5846085" y="6524747"/>
                    </a:lnTo>
                    <a:lnTo>
                      <a:pt x="5846130" y="6484565"/>
                    </a:lnTo>
                    <a:lnTo>
                      <a:pt x="5847463" y="6463461"/>
                    </a:lnTo>
                    <a:lnTo>
                      <a:pt x="5836740" y="6428613"/>
                    </a:lnTo>
                    <a:lnTo>
                      <a:pt x="5808025" y="6398561"/>
                    </a:lnTo>
                    <a:lnTo>
                      <a:pt x="5792257" y="6376664"/>
                    </a:lnTo>
                    <a:lnTo>
                      <a:pt x="5798502" y="6341435"/>
                    </a:lnTo>
                    <a:lnTo>
                      <a:pt x="5822204" y="6313696"/>
                    </a:lnTo>
                    <a:lnTo>
                      <a:pt x="5842028" y="6303349"/>
                    </a:lnTo>
                    <a:lnTo>
                      <a:pt x="5881677" y="6282655"/>
                    </a:lnTo>
                    <a:lnTo>
                      <a:pt x="5935202" y="6271449"/>
                    </a:lnTo>
                    <a:lnTo>
                      <a:pt x="5959008" y="6266623"/>
                    </a:lnTo>
                    <a:lnTo>
                      <a:pt x="5951333" y="6210242"/>
                    </a:lnTo>
                    <a:lnTo>
                      <a:pt x="5935881" y="6167330"/>
                    </a:lnTo>
                    <a:lnTo>
                      <a:pt x="5920435" y="6124410"/>
                    </a:lnTo>
                    <a:lnTo>
                      <a:pt x="5900941" y="6083792"/>
                    </a:lnTo>
                    <a:lnTo>
                      <a:pt x="5845953" y="6077631"/>
                    </a:lnTo>
                    <a:lnTo>
                      <a:pt x="5799168" y="6083798"/>
                    </a:lnTo>
                    <a:lnTo>
                      <a:pt x="5753618" y="6087076"/>
                    </a:lnTo>
                    <a:lnTo>
                      <a:pt x="5708065" y="6090353"/>
                    </a:lnTo>
                    <a:lnTo>
                      <a:pt x="5663247" y="6089787"/>
                    </a:lnTo>
                    <a:lnTo>
                      <a:pt x="5623038" y="6074836"/>
                    </a:lnTo>
                    <a:lnTo>
                      <a:pt x="5596553" y="6061191"/>
                    </a:lnTo>
                    <a:lnTo>
                      <a:pt x="5578793" y="6039507"/>
                    </a:lnTo>
                    <a:lnTo>
                      <a:pt x="5569989" y="6013629"/>
                    </a:lnTo>
                    <a:lnTo>
                      <a:pt x="5569330" y="5985818"/>
                    </a:lnTo>
                    <a:lnTo>
                      <a:pt x="5578799" y="5959821"/>
                    </a:lnTo>
                    <a:lnTo>
                      <a:pt x="5599909" y="5937451"/>
                    </a:lnTo>
                    <a:lnTo>
                      <a:pt x="5617993" y="5923576"/>
                    </a:lnTo>
                    <a:lnTo>
                      <a:pt x="5663307" y="5911975"/>
                    </a:lnTo>
                    <a:lnTo>
                      <a:pt x="5673358" y="5891207"/>
                    </a:lnTo>
                    <a:lnTo>
                      <a:pt x="5661341" y="5864089"/>
                    </a:lnTo>
                    <a:lnTo>
                      <a:pt x="5620975" y="5835962"/>
                    </a:lnTo>
                    <a:lnTo>
                      <a:pt x="5583588" y="5806871"/>
                    </a:lnTo>
                    <a:lnTo>
                      <a:pt x="5546201" y="5777788"/>
                    </a:lnTo>
                    <a:lnTo>
                      <a:pt x="5511195" y="5748665"/>
                    </a:lnTo>
                    <a:lnTo>
                      <a:pt x="5513879" y="5708305"/>
                    </a:lnTo>
                    <a:lnTo>
                      <a:pt x="5516459" y="5668339"/>
                    </a:lnTo>
                    <a:lnTo>
                      <a:pt x="5525097" y="5634131"/>
                    </a:lnTo>
                    <a:lnTo>
                      <a:pt x="5535056" y="5601098"/>
                    </a:lnTo>
                    <a:lnTo>
                      <a:pt x="5553232" y="5577389"/>
                    </a:lnTo>
                    <a:lnTo>
                      <a:pt x="5582228" y="5567483"/>
                    </a:lnTo>
                    <a:lnTo>
                      <a:pt x="5616060" y="5562405"/>
                    </a:lnTo>
                    <a:lnTo>
                      <a:pt x="5648475" y="5593408"/>
                    </a:lnTo>
                    <a:lnTo>
                      <a:pt x="5681521" y="5604204"/>
                    </a:lnTo>
                    <a:lnTo>
                      <a:pt x="5712702" y="5595913"/>
                    </a:lnTo>
                    <a:lnTo>
                      <a:pt x="5737394" y="5568968"/>
                    </a:lnTo>
                    <a:lnTo>
                      <a:pt x="5753610" y="5533474"/>
                    </a:lnTo>
                    <a:lnTo>
                      <a:pt x="5759341" y="5498811"/>
                    </a:lnTo>
                    <a:lnTo>
                      <a:pt x="5744575" y="5470994"/>
                    </a:lnTo>
                    <a:lnTo>
                      <a:pt x="5731445" y="5454507"/>
                    </a:lnTo>
                    <a:lnTo>
                      <a:pt x="5702322" y="5424736"/>
                    </a:lnTo>
                    <a:lnTo>
                      <a:pt x="5671998" y="5398812"/>
                    </a:lnTo>
                    <a:lnTo>
                      <a:pt x="5667283" y="5363345"/>
                    </a:lnTo>
                    <a:lnTo>
                      <a:pt x="5702540" y="5334334"/>
                    </a:lnTo>
                    <a:lnTo>
                      <a:pt x="5750339" y="5260946"/>
                    </a:lnTo>
                    <a:lnTo>
                      <a:pt x="5777946" y="5200992"/>
                    </a:lnTo>
                    <a:lnTo>
                      <a:pt x="5806659" y="5139019"/>
                    </a:lnTo>
                    <a:lnTo>
                      <a:pt x="5833765" y="5080503"/>
                    </a:lnTo>
                    <a:lnTo>
                      <a:pt x="5850913" y="5042271"/>
                    </a:lnTo>
                    <a:lnTo>
                      <a:pt x="5848821" y="5007081"/>
                    </a:lnTo>
                    <a:lnTo>
                      <a:pt x="5842530" y="4973369"/>
                    </a:lnTo>
                    <a:lnTo>
                      <a:pt x="5829782" y="4955391"/>
                    </a:lnTo>
                    <a:lnTo>
                      <a:pt x="5817034" y="4937413"/>
                    </a:lnTo>
                    <a:lnTo>
                      <a:pt x="5797314" y="4918051"/>
                    </a:lnTo>
                    <a:lnTo>
                      <a:pt x="5769933" y="4895542"/>
                    </a:lnTo>
                    <a:lnTo>
                      <a:pt x="5744919" y="4874985"/>
                    </a:lnTo>
                    <a:lnTo>
                      <a:pt x="5716099" y="4862819"/>
                    </a:lnTo>
                    <a:lnTo>
                      <a:pt x="5686963" y="4850657"/>
                    </a:lnTo>
                    <a:lnTo>
                      <a:pt x="5657827" y="4838496"/>
                    </a:lnTo>
                    <a:lnTo>
                      <a:pt x="5628875" y="4826605"/>
                    </a:lnTo>
                    <a:lnTo>
                      <a:pt x="5603985" y="4805773"/>
                    </a:lnTo>
                    <a:lnTo>
                      <a:pt x="5617195" y="4750784"/>
                    </a:lnTo>
                    <a:lnTo>
                      <a:pt x="5633913" y="4714637"/>
                    </a:lnTo>
                    <a:lnTo>
                      <a:pt x="5650632" y="4678490"/>
                    </a:lnTo>
                    <a:lnTo>
                      <a:pt x="5669493" y="4644310"/>
                    </a:lnTo>
                    <a:lnTo>
                      <a:pt x="5702243" y="4635412"/>
                    </a:lnTo>
                    <a:lnTo>
                      <a:pt x="5724851" y="4642384"/>
                    </a:lnTo>
                    <a:lnTo>
                      <a:pt x="5746812" y="4649348"/>
                    </a:lnTo>
                    <a:lnTo>
                      <a:pt x="5768766" y="4656312"/>
                    </a:lnTo>
                    <a:lnTo>
                      <a:pt x="5790028" y="4662688"/>
                    </a:lnTo>
                    <a:lnTo>
                      <a:pt x="5813459" y="4662946"/>
                    </a:lnTo>
                    <a:lnTo>
                      <a:pt x="5858456" y="4633065"/>
                    </a:lnTo>
                    <a:lnTo>
                      <a:pt x="5884190" y="4608538"/>
                    </a:lnTo>
                    <a:lnTo>
                      <a:pt x="5909923" y="4584019"/>
                    </a:lnTo>
                    <a:lnTo>
                      <a:pt x="5932294" y="4556644"/>
                    </a:lnTo>
                    <a:lnTo>
                      <a:pt x="5931329" y="4524301"/>
                    </a:lnTo>
                    <a:lnTo>
                      <a:pt x="5909211" y="4506845"/>
                    </a:lnTo>
                    <a:lnTo>
                      <a:pt x="5884190" y="4491564"/>
                    </a:lnTo>
                    <a:lnTo>
                      <a:pt x="5859168" y="4476284"/>
                    </a:lnTo>
                    <a:lnTo>
                      <a:pt x="5832439" y="4463469"/>
                    </a:lnTo>
                    <a:lnTo>
                      <a:pt x="5855627" y="4442598"/>
                    </a:lnTo>
                    <a:lnTo>
                      <a:pt x="5893336" y="4440217"/>
                    </a:lnTo>
                    <a:lnTo>
                      <a:pt x="5955672" y="4443277"/>
                    </a:lnTo>
                    <a:lnTo>
                      <a:pt x="5997285" y="4447497"/>
                    </a:lnTo>
                    <a:lnTo>
                      <a:pt x="6015000" y="4420906"/>
                    </a:lnTo>
                    <a:lnTo>
                      <a:pt x="6022471" y="4371774"/>
                    </a:lnTo>
                    <a:lnTo>
                      <a:pt x="6028367" y="4351469"/>
                    </a:lnTo>
                    <a:lnTo>
                      <a:pt x="6010714" y="4334600"/>
                    </a:lnTo>
                    <a:lnTo>
                      <a:pt x="5989391" y="4329857"/>
                    </a:lnTo>
                    <a:lnTo>
                      <a:pt x="5967160" y="4328347"/>
                    </a:lnTo>
                    <a:lnTo>
                      <a:pt x="5944929" y="4326830"/>
                    </a:lnTo>
                    <a:lnTo>
                      <a:pt x="5922276" y="4327417"/>
                    </a:lnTo>
                    <a:lnTo>
                      <a:pt x="5899153" y="4324272"/>
                    </a:lnTo>
                    <a:lnTo>
                      <a:pt x="5867419" y="4319945"/>
                    </a:lnTo>
                    <a:lnTo>
                      <a:pt x="5835335" y="4307053"/>
                    </a:lnTo>
                    <a:lnTo>
                      <a:pt x="5805295" y="4291627"/>
                    </a:lnTo>
                    <a:lnTo>
                      <a:pt x="5775261" y="4276202"/>
                    </a:lnTo>
                    <a:lnTo>
                      <a:pt x="5746435" y="4258197"/>
                    </a:lnTo>
                    <a:lnTo>
                      <a:pt x="5718242" y="4245377"/>
                    </a:lnTo>
                    <a:lnTo>
                      <a:pt x="5683210" y="4229450"/>
                    </a:lnTo>
                    <a:lnTo>
                      <a:pt x="5647584" y="4222413"/>
                    </a:lnTo>
                    <a:lnTo>
                      <a:pt x="5610791" y="4216815"/>
                    </a:lnTo>
                    <a:lnTo>
                      <a:pt x="5573991" y="4211215"/>
                    </a:lnTo>
                    <a:lnTo>
                      <a:pt x="5536045" y="4207443"/>
                    </a:lnTo>
                    <a:lnTo>
                      <a:pt x="5499252" y="4200492"/>
                    </a:lnTo>
                    <a:lnTo>
                      <a:pt x="5478425" y="4196554"/>
                    </a:lnTo>
                    <a:lnTo>
                      <a:pt x="5457400" y="4187644"/>
                    </a:lnTo>
                    <a:lnTo>
                      <a:pt x="5436687" y="4182811"/>
                    </a:lnTo>
                    <a:lnTo>
                      <a:pt x="5409073" y="4176368"/>
                    </a:lnTo>
                    <a:lnTo>
                      <a:pt x="5376838" y="4181453"/>
                    </a:lnTo>
                    <a:lnTo>
                      <a:pt x="5343150" y="4178538"/>
                    </a:lnTo>
                    <a:lnTo>
                      <a:pt x="5312907" y="4154248"/>
                    </a:lnTo>
                    <a:lnTo>
                      <a:pt x="5268100" y="4106040"/>
                    </a:lnTo>
                    <a:lnTo>
                      <a:pt x="5260549" y="4076515"/>
                    </a:lnTo>
                    <a:lnTo>
                      <a:pt x="5253058" y="4045433"/>
                    </a:lnTo>
                    <a:lnTo>
                      <a:pt x="5245565" y="4014351"/>
                    </a:lnTo>
                    <a:lnTo>
                      <a:pt x="5238139" y="3982161"/>
                    </a:lnTo>
                    <a:lnTo>
                      <a:pt x="5204090" y="3940698"/>
                    </a:lnTo>
                    <a:lnTo>
                      <a:pt x="5186383" y="3919134"/>
                    </a:lnTo>
                    <a:lnTo>
                      <a:pt x="5157003" y="3888348"/>
                    </a:lnTo>
                    <a:lnTo>
                      <a:pt x="5130636" y="3855004"/>
                    </a:lnTo>
                    <a:lnTo>
                      <a:pt x="5104270" y="3821661"/>
                    </a:lnTo>
                    <a:lnTo>
                      <a:pt x="5081319" y="3786201"/>
                    </a:lnTo>
                    <a:lnTo>
                      <a:pt x="5078952" y="3755711"/>
                    </a:lnTo>
                    <a:lnTo>
                      <a:pt x="5099337" y="3707404"/>
                    </a:lnTo>
                    <a:lnTo>
                      <a:pt x="5102740" y="3675558"/>
                    </a:lnTo>
                    <a:lnTo>
                      <a:pt x="5095275" y="3655054"/>
                    </a:lnTo>
                    <a:lnTo>
                      <a:pt x="5087809" y="3634549"/>
                    </a:lnTo>
                    <a:lnTo>
                      <a:pt x="5047665" y="3621051"/>
                    </a:lnTo>
                    <a:lnTo>
                      <a:pt x="5025803" y="3616889"/>
                    </a:lnTo>
                    <a:lnTo>
                      <a:pt x="4999747" y="3617614"/>
                    </a:lnTo>
                    <a:lnTo>
                      <a:pt x="4976935" y="3618333"/>
                    </a:lnTo>
                    <a:lnTo>
                      <a:pt x="4954124" y="3619053"/>
                    </a:lnTo>
                    <a:lnTo>
                      <a:pt x="4923885" y="3614258"/>
                    </a:lnTo>
                    <a:lnTo>
                      <a:pt x="4899003" y="3592217"/>
                    </a:lnTo>
                    <a:lnTo>
                      <a:pt x="4883262" y="3575638"/>
                    </a:lnTo>
                    <a:lnTo>
                      <a:pt x="4882641" y="3535718"/>
                    </a:lnTo>
                    <a:lnTo>
                      <a:pt x="4885801" y="3494560"/>
                    </a:lnTo>
                    <a:lnTo>
                      <a:pt x="4888967" y="3453401"/>
                    </a:lnTo>
                    <a:lnTo>
                      <a:pt x="4896332" y="3412163"/>
                    </a:lnTo>
                    <a:lnTo>
                      <a:pt x="4906462" y="3380771"/>
                    </a:lnTo>
                    <a:lnTo>
                      <a:pt x="4945083" y="3379472"/>
                    </a:lnTo>
                    <a:lnTo>
                      <a:pt x="4970135" y="3377587"/>
                    </a:lnTo>
                    <a:lnTo>
                      <a:pt x="4995190" y="3375727"/>
                    </a:lnTo>
                    <a:lnTo>
                      <a:pt x="5020179" y="3371414"/>
                    </a:lnTo>
                    <a:lnTo>
                      <a:pt x="5030183" y="3333117"/>
                    </a:lnTo>
                    <a:lnTo>
                      <a:pt x="5020983" y="3304924"/>
                    </a:lnTo>
                    <a:lnTo>
                      <a:pt x="5008221" y="3278287"/>
                    </a:lnTo>
                    <a:lnTo>
                      <a:pt x="4995461" y="3251657"/>
                    </a:lnTo>
                    <a:lnTo>
                      <a:pt x="4977971" y="3227143"/>
                    </a:lnTo>
                    <a:lnTo>
                      <a:pt x="4960613" y="3202116"/>
                    </a:lnTo>
                    <a:lnTo>
                      <a:pt x="4943263" y="3177094"/>
                    </a:lnTo>
                    <a:lnTo>
                      <a:pt x="4926563" y="3151981"/>
                    </a:lnTo>
                    <a:lnTo>
                      <a:pt x="4913004" y="3125945"/>
                    </a:lnTo>
                    <a:lnTo>
                      <a:pt x="4899451" y="3099915"/>
                    </a:lnTo>
                    <a:lnTo>
                      <a:pt x="4889889" y="3072638"/>
                    </a:lnTo>
                    <a:lnTo>
                      <a:pt x="4888525" y="3042974"/>
                    </a:lnTo>
                    <a:lnTo>
                      <a:pt x="4912134" y="3049747"/>
                    </a:lnTo>
                    <a:lnTo>
                      <a:pt x="4935644" y="3055248"/>
                    </a:lnTo>
                    <a:lnTo>
                      <a:pt x="4959254" y="3059296"/>
                    </a:lnTo>
                    <a:lnTo>
                      <a:pt x="4982680" y="3064295"/>
                    </a:lnTo>
                    <a:lnTo>
                      <a:pt x="5006559" y="3067896"/>
                    </a:lnTo>
                    <a:lnTo>
                      <a:pt x="5029984" y="3070172"/>
                    </a:lnTo>
                    <a:lnTo>
                      <a:pt x="5082487" y="3077347"/>
                    </a:lnTo>
                    <a:lnTo>
                      <a:pt x="5114677" y="3075474"/>
                    </a:lnTo>
                    <a:lnTo>
                      <a:pt x="5136077" y="3067455"/>
                    </a:lnTo>
                    <a:lnTo>
                      <a:pt x="5157484" y="3059435"/>
                    </a:lnTo>
                    <a:lnTo>
                      <a:pt x="5178245" y="3032092"/>
                    </a:lnTo>
                    <a:lnTo>
                      <a:pt x="5195734" y="3003497"/>
                    </a:lnTo>
                    <a:lnTo>
                      <a:pt x="5228769" y="2981793"/>
                    </a:lnTo>
                    <a:lnTo>
                      <a:pt x="5253862" y="2974816"/>
                    </a:lnTo>
                    <a:lnTo>
                      <a:pt x="5296584" y="2976326"/>
                    </a:lnTo>
                    <a:lnTo>
                      <a:pt x="5309753" y="2945020"/>
                    </a:lnTo>
                    <a:lnTo>
                      <a:pt x="5318347" y="2904230"/>
                    </a:lnTo>
                    <a:lnTo>
                      <a:pt x="5322238" y="2883556"/>
                    </a:lnTo>
                    <a:lnTo>
                      <a:pt x="5325114" y="2861641"/>
                    </a:lnTo>
                    <a:lnTo>
                      <a:pt x="5325187" y="2821689"/>
                    </a:lnTo>
                    <a:lnTo>
                      <a:pt x="5312907" y="2787257"/>
                    </a:lnTo>
                    <a:lnTo>
                      <a:pt x="5287958" y="2759413"/>
                    </a:lnTo>
                    <a:lnTo>
                      <a:pt x="5263939" y="2751889"/>
                    </a:lnTo>
                    <a:lnTo>
                      <a:pt x="5234651" y="2742722"/>
                    </a:lnTo>
                    <a:lnTo>
                      <a:pt x="5205113" y="2742029"/>
                    </a:lnTo>
                    <a:lnTo>
                      <a:pt x="5179609" y="2723326"/>
                    </a:lnTo>
                    <a:lnTo>
                      <a:pt x="5166117" y="2689527"/>
                    </a:lnTo>
                    <a:lnTo>
                      <a:pt x="5167364" y="2667560"/>
                    </a:lnTo>
                    <a:lnTo>
                      <a:pt x="5168610" y="2645592"/>
                    </a:lnTo>
                    <a:lnTo>
                      <a:pt x="5174737" y="2620940"/>
                    </a:lnTo>
                    <a:lnTo>
                      <a:pt x="5183685" y="2598187"/>
                    </a:lnTo>
                    <a:lnTo>
                      <a:pt x="5192641" y="2575435"/>
                    </a:lnTo>
                    <a:lnTo>
                      <a:pt x="5204485" y="2554753"/>
                    </a:lnTo>
                    <a:lnTo>
                      <a:pt x="5217689" y="2538339"/>
                    </a:lnTo>
                    <a:lnTo>
                      <a:pt x="5230899" y="2521924"/>
                    </a:lnTo>
                    <a:lnTo>
                      <a:pt x="5258498" y="2507052"/>
                    </a:lnTo>
                    <a:lnTo>
                      <a:pt x="5271140" y="2479789"/>
                    </a:lnTo>
                    <a:lnTo>
                      <a:pt x="5248342" y="2439112"/>
                    </a:lnTo>
                    <a:lnTo>
                      <a:pt x="5192740" y="2421873"/>
                    </a:lnTo>
                    <a:lnTo>
                      <a:pt x="5182716" y="2399496"/>
                    </a:lnTo>
                    <a:lnTo>
                      <a:pt x="5181628" y="2377812"/>
                    </a:lnTo>
                    <a:lnTo>
                      <a:pt x="5188164" y="2352639"/>
                    </a:lnTo>
                    <a:lnTo>
                      <a:pt x="5259849" y="2315266"/>
                    </a:lnTo>
                    <a:lnTo>
                      <a:pt x="5273844" y="2295930"/>
                    </a:lnTo>
                    <a:lnTo>
                      <a:pt x="5283209" y="2269814"/>
                    </a:lnTo>
                    <a:lnTo>
                      <a:pt x="5272097" y="2229572"/>
                    </a:lnTo>
                    <a:lnTo>
                      <a:pt x="5263714" y="2209128"/>
                    </a:lnTo>
                    <a:lnTo>
                      <a:pt x="5249166" y="2189138"/>
                    </a:lnTo>
                    <a:lnTo>
                      <a:pt x="5232653" y="2169723"/>
                    </a:lnTo>
                    <a:lnTo>
                      <a:pt x="5199631" y="2130899"/>
                    </a:lnTo>
                    <a:lnTo>
                      <a:pt x="5157880" y="2095274"/>
                    </a:lnTo>
                    <a:lnTo>
                      <a:pt x="5136077" y="2071789"/>
                    </a:lnTo>
                    <a:lnTo>
                      <a:pt x="5119815" y="2054266"/>
                    </a:lnTo>
                    <a:lnTo>
                      <a:pt x="5108913" y="2005972"/>
                    </a:lnTo>
                    <a:lnTo>
                      <a:pt x="5111596" y="1982019"/>
                    </a:lnTo>
                    <a:lnTo>
                      <a:pt x="5123369" y="1917488"/>
                    </a:lnTo>
                    <a:lnTo>
                      <a:pt x="5127919" y="1863680"/>
                    </a:lnTo>
                    <a:lnTo>
                      <a:pt x="5130194" y="1836779"/>
                    </a:lnTo>
                    <a:lnTo>
                      <a:pt x="5131460" y="1809074"/>
                    </a:lnTo>
                    <a:lnTo>
                      <a:pt x="5129278" y="1787509"/>
                    </a:lnTo>
                    <a:lnTo>
                      <a:pt x="5127095" y="1765943"/>
                    </a:lnTo>
                    <a:lnTo>
                      <a:pt x="5111596" y="1745342"/>
                    </a:lnTo>
                    <a:lnTo>
                      <a:pt x="5060756" y="1735779"/>
                    </a:lnTo>
                    <a:lnTo>
                      <a:pt x="5027261" y="1746707"/>
                    </a:lnTo>
                    <a:lnTo>
                      <a:pt x="5005584" y="1808870"/>
                    </a:lnTo>
                    <a:lnTo>
                      <a:pt x="4987863" y="1824638"/>
                    </a:lnTo>
                    <a:lnTo>
                      <a:pt x="4967413" y="1839200"/>
                    </a:lnTo>
                    <a:lnTo>
                      <a:pt x="4958074" y="1878242"/>
                    </a:lnTo>
                    <a:lnTo>
                      <a:pt x="4946830" y="1914408"/>
                    </a:lnTo>
                    <a:lnTo>
                      <a:pt x="4919810" y="1945292"/>
                    </a:lnTo>
                    <a:lnTo>
                      <a:pt x="4855714" y="1944897"/>
                    </a:lnTo>
                    <a:lnTo>
                      <a:pt x="4801471" y="1938493"/>
                    </a:lnTo>
                    <a:lnTo>
                      <a:pt x="4747228" y="1932096"/>
                    </a:lnTo>
                    <a:lnTo>
                      <a:pt x="4693803" y="1922810"/>
                    </a:lnTo>
                    <a:lnTo>
                      <a:pt x="4687162" y="1898442"/>
                    </a:lnTo>
                    <a:lnTo>
                      <a:pt x="4695372" y="1865039"/>
                    </a:lnTo>
                    <a:lnTo>
                      <a:pt x="4701045" y="1830046"/>
                    </a:lnTo>
                    <a:lnTo>
                      <a:pt x="4684491" y="1789877"/>
                    </a:lnTo>
                    <a:lnTo>
                      <a:pt x="4655928" y="1768470"/>
                    </a:lnTo>
                    <a:lnTo>
                      <a:pt x="4626877" y="1756427"/>
                    </a:lnTo>
                    <a:lnTo>
                      <a:pt x="4583438" y="1751745"/>
                    </a:lnTo>
                    <a:lnTo>
                      <a:pt x="4556306" y="1757087"/>
                    </a:lnTo>
                    <a:lnTo>
                      <a:pt x="4538948" y="1745342"/>
                    </a:lnTo>
                    <a:lnTo>
                      <a:pt x="4521623" y="1714543"/>
                    </a:lnTo>
                    <a:lnTo>
                      <a:pt x="4519909" y="1693657"/>
                    </a:lnTo>
                    <a:lnTo>
                      <a:pt x="4518188" y="1672765"/>
                    </a:lnTo>
                    <a:lnTo>
                      <a:pt x="4517594" y="1650685"/>
                    </a:lnTo>
                    <a:lnTo>
                      <a:pt x="4479640" y="1630458"/>
                    </a:lnTo>
                    <a:lnTo>
                      <a:pt x="4451896" y="1644690"/>
                    </a:lnTo>
                    <a:lnTo>
                      <a:pt x="4428826" y="1660333"/>
                    </a:lnTo>
                    <a:lnTo>
                      <a:pt x="4396129" y="1650130"/>
                    </a:lnTo>
                    <a:lnTo>
                      <a:pt x="4379807" y="1617486"/>
                    </a:lnTo>
                    <a:lnTo>
                      <a:pt x="4385247" y="1597082"/>
                    </a:lnTo>
                    <a:lnTo>
                      <a:pt x="4429709" y="1561462"/>
                    </a:lnTo>
                    <a:lnTo>
                      <a:pt x="4410307" y="1518147"/>
                    </a:lnTo>
                    <a:lnTo>
                      <a:pt x="4370284" y="1504588"/>
                    </a:lnTo>
                    <a:lnTo>
                      <a:pt x="4346587" y="1488542"/>
                    </a:lnTo>
                    <a:lnTo>
                      <a:pt x="4322655" y="1467504"/>
                    </a:lnTo>
                    <a:lnTo>
                      <a:pt x="4299553" y="1450180"/>
                    </a:lnTo>
                    <a:lnTo>
                      <a:pt x="4276623" y="1432987"/>
                    </a:lnTo>
                    <a:lnTo>
                      <a:pt x="4251840" y="1410353"/>
                    </a:lnTo>
                    <a:lnTo>
                      <a:pt x="4227464" y="1395772"/>
                    </a:lnTo>
                    <a:lnTo>
                      <a:pt x="4206176" y="1383043"/>
                    </a:lnTo>
                    <a:lnTo>
                      <a:pt x="4183134" y="1372677"/>
                    </a:lnTo>
                    <a:lnTo>
                      <a:pt x="4159451" y="1361769"/>
                    </a:lnTo>
                    <a:lnTo>
                      <a:pt x="4135775" y="1350860"/>
                    </a:lnTo>
                    <a:lnTo>
                      <a:pt x="4110932" y="1340005"/>
                    </a:lnTo>
                    <a:lnTo>
                      <a:pt x="4088727" y="1327765"/>
                    </a:lnTo>
                    <a:lnTo>
                      <a:pt x="4069814" y="1317339"/>
                    </a:lnTo>
                    <a:lnTo>
                      <a:pt x="4050635" y="1288314"/>
                    </a:lnTo>
                    <a:lnTo>
                      <a:pt x="4039800" y="1257200"/>
                    </a:lnTo>
                    <a:lnTo>
                      <a:pt x="4034273" y="1224218"/>
                    </a:lnTo>
                    <a:lnTo>
                      <a:pt x="4027514" y="1193104"/>
                    </a:lnTo>
                    <a:lnTo>
                      <a:pt x="4015893" y="1164145"/>
                    </a:lnTo>
                    <a:lnTo>
                      <a:pt x="3979720" y="1134653"/>
                    </a:lnTo>
                    <a:lnTo>
                      <a:pt x="3952233" y="1128164"/>
                    </a:lnTo>
                    <a:lnTo>
                      <a:pt x="3924139" y="1125090"/>
                    </a:lnTo>
                    <a:lnTo>
                      <a:pt x="3896044" y="1122024"/>
                    </a:lnTo>
                    <a:lnTo>
                      <a:pt x="3868313" y="1122973"/>
                    </a:lnTo>
                    <a:lnTo>
                      <a:pt x="3845251" y="1118291"/>
                    </a:lnTo>
                    <a:lnTo>
                      <a:pt x="3822181" y="1113609"/>
                    </a:lnTo>
                    <a:lnTo>
                      <a:pt x="3803141" y="1102701"/>
                    </a:lnTo>
                    <a:lnTo>
                      <a:pt x="3794917" y="1078847"/>
                    </a:lnTo>
                    <a:lnTo>
                      <a:pt x="3786701" y="1054993"/>
                    </a:lnTo>
                    <a:lnTo>
                      <a:pt x="3789366" y="1017000"/>
                    </a:lnTo>
                    <a:lnTo>
                      <a:pt x="3805806" y="956426"/>
                    </a:lnTo>
                    <a:lnTo>
                      <a:pt x="3835727" y="847610"/>
                    </a:lnTo>
                    <a:lnTo>
                      <a:pt x="3847723" y="803371"/>
                    </a:lnTo>
                    <a:lnTo>
                      <a:pt x="3855802" y="773727"/>
                    </a:lnTo>
                    <a:lnTo>
                      <a:pt x="3869730" y="748317"/>
                    </a:lnTo>
                    <a:lnTo>
                      <a:pt x="3883659" y="722907"/>
                    </a:lnTo>
                    <a:lnTo>
                      <a:pt x="3903252" y="701671"/>
                    </a:lnTo>
                    <a:lnTo>
                      <a:pt x="3937744" y="669429"/>
                    </a:lnTo>
                    <a:lnTo>
                      <a:pt x="3972083" y="648418"/>
                    </a:lnTo>
                    <a:lnTo>
                      <a:pt x="3993978" y="638473"/>
                    </a:lnTo>
                    <a:lnTo>
                      <a:pt x="4015273" y="627261"/>
                    </a:lnTo>
                    <a:lnTo>
                      <a:pt x="4036568" y="616043"/>
                    </a:lnTo>
                    <a:lnTo>
                      <a:pt x="4057059" y="603025"/>
                    </a:lnTo>
                    <a:lnTo>
                      <a:pt x="4073764" y="586452"/>
                    </a:lnTo>
                    <a:lnTo>
                      <a:pt x="4040558" y="560422"/>
                    </a:lnTo>
                    <a:lnTo>
                      <a:pt x="4012319" y="555285"/>
                    </a:lnTo>
                    <a:lnTo>
                      <a:pt x="3983988" y="549732"/>
                    </a:lnTo>
                    <a:lnTo>
                      <a:pt x="3955648" y="544462"/>
                    </a:lnTo>
                    <a:lnTo>
                      <a:pt x="3927996" y="535961"/>
                    </a:lnTo>
                    <a:lnTo>
                      <a:pt x="3901016" y="522528"/>
                    </a:lnTo>
                    <a:lnTo>
                      <a:pt x="3886073" y="498984"/>
                    </a:lnTo>
                    <a:lnTo>
                      <a:pt x="3877875" y="475341"/>
                    </a:lnTo>
                    <a:lnTo>
                      <a:pt x="3873813" y="451797"/>
                    </a:lnTo>
                    <a:lnTo>
                      <a:pt x="3870013" y="429078"/>
                    </a:lnTo>
                    <a:lnTo>
                      <a:pt x="3864012" y="406497"/>
                    </a:lnTo>
                    <a:lnTo>
                      <a:pt x="3852050" y="383784"/>
                    </a:lnTo>
                    <a:lnTo>
                      <a:pt x="3828927" y="381067"/>
                    </a:lnTo>
                    <a:lnTo>
                      <a:pt x="3799001" y="375626"/>
                    </a:lnTo>
                    <a:lnTo>
                      <a:pt x="3777633" y="371161"/>
                    </a:lnTo>
                    <a:lnTo>
                      <a:pt x="3754589" y="359561"/>
                    </a:lnTo>
                    <a:lnTo>
                      <a:pt x="3741776" y="331651"/>
                    </a:lnTo>
                    <a:lnTo>
                      <a:pt x="3739257" y="310785"/>
                    </a:lnTo>
                    <a:lnTo>
                      <a:pt x="3732088" y="282123"/>
                    </a:lnTo>
                    <a:lnTo>
                      <a:pt x="3716029" y="266810"/>
                    </a:lnTo>
                    <a:lnTo>
                      <a:pt x="3694266" y="257287"/>
                    </a:lnTo>
                    <a:lnTo>
                      <a:pt x="3665928" y="248450"/>
                    </a:lnTo>
                    <a:lnTo>
                      <a:pt x="3643940" y="240964"/>
                    </a:lnTo>
                    <a:lnTo>
                      <a:pt x="3592125" y="238768"/>
                    </a:lnTo>
                    <a:lnTo>
                      <a:pt x="3551447" y="228725"/>
                    </a:lnTo>
                    <a:lnTo>
                      <a:pt x="3501794" y="216464"/>
                    </a:lnTo>
                    <a:lnTo>
                      <a:pt x="3455222" y="200723"/>
                    </a:lnTo>
                    <a:lnTo>
                      <a:pt x="3445737" y="175807"/>
                    </a:lnTo>
                    <a:lnTo>
                      <a:pt x="3449754" y="140775"/>
                    </a:lnTo>
                    <a:lnTo>
                      <a:pt x="3453513" y="106310"/>
                    </a:lnTo>
                    <a:lnTo>
                      <a:pt x="3457265" y="71838"/>
                    </a:lnTo>
                    <a:lnTo>
                      <a:pt x="3459620" y="37374"/>
                    </a:lnTo>
                    <a:lnTo>
                      <a:pt x="3440680" y="8837"/>
                    </a:lnTo>
                    <a:lnTo>
                      <a:pt x="3411173" y="3139"/>
                    </a:lnTo>
                    <a:lnTo>
                      <a:pt x="3380059" y="1570"/>
                    </a:lnTo>
                    <a:lnTo>
                      <a:pt x="3348951" y="0"/>
                    </a:lnTo>
                    <a:lnTo>
                      <a:pt x="3316491" y="2098"/>
                    </a:lnTo>
                    <a:lnTo>
                      <a:pt x="3289215" y="25067"/>
                    </a:lnTo>
                    <a:lnTo>
                      <a:pt x="3278761" y="47417"/>
                    </a:lnTo>
                    <a:lnTo>
                      <a:pt x="3271242" y="70941"/>
                    </a:lnTo>
                    <a:lnTo>
                      <a:pt x="3263725" y="94466"/>
                    </a:lnTo>
                    <a:lnTo>
                      <a:pt x="3258844" y="119612"/>
                    </a:lnTo>
                    <a:lnTo>
                      <a:pt x="3256279" y="141672"/>
                    </a:lnTo>
                    <a:lnTo>
                      <a:pt x="3209672" y="172404"/>
                    </a:lnTo>
                    <a:lnTo>
                      <a:pt x="3166509" y="186557"/>
                    </a:lnTo>
                    <a:lnTo>
                      <a:pt x="3123346" y="200716"/>
                    </a:lnTo>
                    <a:lnTo>
                      <a:pt x="3076245" y="213741"/>
                    </a:lnTo>
                    <a:lnTo>
                      <a:pt x="3053610" y="228725"/>
                    </a:lnTo>
                    <a:lnTo>
                      <a:pt x="3030865" y="246162"/>
                    </a:lnTo>
                    <a:lnTo>
                      <a:pt x="3008343" y="265695"/>
                    </a:lnTo>
                    <a:lnTo>
                      <a:pt x="2985604" y="284491"/>
                    </a:lnTo>
                    <a:lnTo>
                      <a:pt x="2964962" y="312473"/>
                    </a:lnTo>
                    <a:lnTo>
                      <a:pt x="2946391" y="343568"/>
                    </a:lnTo>
                    <a:lnTo>
                      <a:pt x="2917591" y="366103"/>
                    </a:lnTo>
                    <a:lnTo>
                      <a:pt x="2894588" y="377261"/>
                    </a:lnTo>
                    <a:lnTo>
                      <a:pt x="2871915" y="379042"/>
                    </a:lnTo>
                    <a:lnTo>
                      <a:pt x="2849584" y="374267"/>
                    </a:lnTo>
                    <a:lnTo>
                      <a:pt x="2827254" y="369493"/>
                    </a:lnTo>
                    <a:lnTo>
                      <a:pt x="2806046" y="358149"/>
                    </a:lnTo>
                    <a:lnTo>
                      <a:pt x="2784289" y="345705"/>
                    </a:lnTo>
                    <a:lnTo>
                      <a:pt x="2740781" y="320809"/>
                    </a:lnTo>
                    <a:lnTo>
                      <a:pt x="2698224" y="289107"/>
                    </a:lnTo>
                    <a:lnTo>
                      <a:pt x="2656433" y="283132"/>
                    </a:lnTo>
                    <a:lnTo>
                      <a:pt x="2620682" y="297080"/>
                    </a:lnTo>
                    <a:lnTo>
                      <a:pt x="2603384" y="311695"/>
                    </a:lnTo>
                    <a:lnTo>
                      <a:pt x="2586086" y="326310"/>
                    </a:lnTo>
                    <a:lnTo>
                      <a:pt x="2569572" y="344089"/>
                    </a:lnTo>
                    <a:lnTo>
                      <a:pt x="2526046" y="383065"/>
                    </a:lnTo>
                    <a:lnTo>
                      <a:pt x="2493209" y="403720"/>
                    </a:lnTo>
                    <a:lnTo>
                      <a:pt x="2457847" y="427317"/>
                    </a:lnTo>
                    <a:lnTo>
                      <a:pt x="2437205" y="441048"/>
                    </a:lnTo>
                    <a:lnTo>
                      <a:pt x="2372661" y="432633"/>
                    </a:lnTo>
                    <a:lnTo>
                      <a:pt x="2346308" y="431392"/>
                    </a:lnTo>
                    <a:lnTo>
                      <a:pt x="2321847" y="446864"/>
                    </a:lnTo>
                    <a:lnTo>
                      <a:pt x="2298125" y="475341"/>
                    </a:lnTo>
                    <a:lnTo>
                      <a:pt x="2282377" y="508922"/>
                    </a:lnTo>
                    <a:lnTo>
                      <a:pt x="2278512" y="537630"/>
                    </a:lnTo>
                    <a:lnTo>
                      <a:pt x="2283524" y="564544"/>
                    </a:lnTo>
                    <a:lnTo>
                      <a:pt x="2290541" y="595975"/>
                    </a:lnTo>
                    <a:lnTo>
                      <a:pt x="2295125" y="633124"/>
                    </a:lnTo>
                    <a:lnTo>
                      <a:pt x="2291900" y="659906"/>
                    </a:lnTo>
                    <a:lnTo>
                      <a:pt x="2254678" y="681096"/>
                    </a:lnTo>
                    <a:lnTo>
                      <a:pt x="2218452" y="677580"/>
                    </a:lnTo>
                    <a:lnTo>
                      <a:pt x="2189217" y="664806"/>
                    </a:lnTo>
                    <a:lnTo>
                      <a:pt x="2166069" y="646828"/>
                    </a:lnTo>
                    <a:lnTo>
                      <a:pt x="2143640" y="629972"/>
                    </a:lnTo>
                    <a:lnTo>
                      <a:pt x="2115381" y="617085"/>
                    </a:lnTo>
                    <a:lnTo>
                      <a:pt x="2082775" y="619802"/>
                    </a:lnTo>
                    <a:lnTo>
                      <a:pt x="2070185" y="643577"/>
                    </a:lnTo>
                    <a:lnTo>
                      <a:pt x="2063262" y="674903"/>
                    </a:lnTo>
                    <a:lnTo>
                      <a:pt x="2059555" y="731909"/>
                    </a:lnTo>
                    <a:lnTo>
                      <a:pt x="2059713" y="774084"/>
                    </a:lnTo>
                    <a:lnTo>
                      <a:pt x="2048422" y="794561"/>
                    </a:lnTo>
                    <a:lnTo>
                      <a:pt x="2022551" y="809782"/>
                    </a:lnTo>
                    <a:lnTo>
                      <a:pt x="1989965" y="820136"/>
                    </a:lnTo>
                    <a:lnTo>
                      <a:pt x="1970892" y="836722"/>
                    </a:lnTo>
                    <a:lnTo>
                      <a:pt x="1961376" y="949613"/>
                    </a:lnTo>
                    <a:lnTo>
                      <a:pt x="1959366" y="972953"/>
                    </a:lnTo>
                    <a:lnTo>
                      <a:pt x="1934180" y="998581"/>
                    </a:lnTo>
                    <a:lnTo>
                      <a:pt x="1898343" y="1015253"/>
                    </a:lnTo>
                    <a:lnTo>
                      <a:pt x="1877047" y="1020344"/>
                    </a:lnTo>
                    <a:lnTo>
                      <a:pt x="1855752" y="1025435"/>
                    </a:lnTo>
                    <a:lnTo>
                      <a:pt x="1833731" y="1030526"/>
                    </a:lnTo>
                    <a:lnTo>
                      <a:pt x="1813116" y="1036666"/>
                    </a:lnTo>
                    <a:lnTo>
                      <a:pt x="1792508" y="1042806"/>
                    </a:lnTo>
                    <a:lnTo>
                      <a:pt x="1761432" y="1063870"/>
                    </a:lnTo>
                    <a:lnTo>
                      <a:pt x="1749983" y="1083708"/>
                    </a:lnTo>
                    <a:lnTo>
                      <a:pt x="1757356" y="1123719"/>
                    </a:lnTo>
                    <a:lnTo>
                      <a:pt x="1760060" y="1144981"/>
                    </a:lnTo>
                    <a:lnTo>
                      <a:pt x="1760858" y="1168762"/>
                    </a:lnTo>
                    <a:lnTo>
                      <a:pt x="1741035" y="1202613"/>
                    </a:lnTo>
                    <a:lnTo>
                      <a:pt x="1728405" y="1224173"/>
                    </a:lnTo>
                    <a:lnTo>
                      <a:pt x="1693630" y="1247459"/>
                    </a:lnTo>
                    <a:lnTo>
                      <a:pt x="1656699" y="1269262"/>
                    </a:lnTo>
                    <a:lnTo>
                      <a:pt x="1619774" y="1291058"/>
                    </a:lnTo>
                    <a:lnTo>
                      <a:pt x="1580052" y="1312115"/>
                    </a:lnTo>
                    <a:lnTo>
                      <a:pt x="1557406" y="1331827"/>
                    </a:lnTo>
                    <a:lnTo>
                      <a:pt x="1529641" y="1355998"/>
                    </a:lnTo>
                    <a:lnTo>
                      <a:pt x="1510378" y="1397546"/>
                    </a:lnTo>
                    <a:lnTo>
                      <a:pt x="1492117" y="1437926"/>
                    </a:lnTo>
                    <a:lnTo>
                      <a:pt x="1473854" y="1478307"/>
                    </a:lnTo>
                    <a:lnTo>
                      <a:pt x="1456998" y="1517243"/>
                    </a:lnTo>
                    <a:lnTo>
                      <a:pt x="1432268" y="1534502"/>
                    </a:lnTo>
                    <a:lnTo>
                      <a:pt x="1387858" y="1555164"/>
                    </a:lnTo>
                    <a:lnTo>
                      <a:pt x="1361537" y="1564423"/>
                    </a:lnTo>
                    <a:lnTo>
                      <a:pt x="1335216" y="1573689"/>
                    </a:lnTo>
                    <a:lnTo>
                      <a:pt x="1310861" y="1582606"/>
                    </a:lnTo>
                    <a:lnTo>
                      <a:pt x="1293022" y="1608088"/>
                    </a:lnTo>
                    <a:lnTo>
                      <a:pt x="1264064" y="1650447"/>
                    </a:lnTo>
                    <a:lnTo>
                      <a:pt x="1233681" y="1690920"/>
                    </a:lnTo>
                    <a:lnTo>
                      <a:pt x="1203292" y="1731393"/>
                    </a:lnTo>
                    <a:lnTo>
                      <a:pt x="1171201" y="1769960"/>
                    </a:lnTo>
                    <a:lnTo>
                      <a:pt x="1086780" y="1786137"/>
                    </a:lnTo>
                    <a:lnTo>
                      <a:pt x="1064932" y="1789646"/>
                    </a:lnTo>
                    <a:lnTo>
                      <a:pt x="1028204" y="1795614"/>
                    </a:lnTo>
                    <a:lnTo>
                      <a:pt x="1005162" y="1790213"/>
                    </a:lnTo>
                    <a:lnTo>
                      <a:pt x="972286" y="1782497"/>
                    </a:lnTo>
                    <a:lnTo>
                      <a:pt x="937986" y="1756783"/>
                    </a:lnTo>
                    <a:lnTo>
                      <a:pt x="903151" y="1758927"/>
                    </a:lnTo>
                    <a:lnTo>
                      <a:pt x="870910" y="1773238"/>
                    </a:lnTo>
                    <a:lnTo>
                      <a:pt x="842083" y="1792923"/>
                    </a:lnTo>
                    <a:lnTo>
                      <a:pt x="816099" y="1814693"/>
                    </a:lnTo>
                    <a:lnTo>
                      <a:pt x="790115" y="1836463"/>
                    </a:lnTo>
                    <a:lnTo>
                      <a:pt x="766690" y="1861411"/>
                    </a:lnTo>
                    <a:lnTo>
                      <a:pt x="745368" y="1888148"/>
                    </a:lnTo>
                    <a:lnTo>
                      <a:pt x="724047" y="1914876"/>
                    </a:lnTo>
                    <a:lnTo>
                      <a:pt x="705134" y="1943281"/>
                    </a:lnTo>
                    <a:lnTo>
                      <a:pt x="686879" y="1972477"/>
                    </a:lnTo>
                    <a:lnTo>
                      <a:pt x="668624" y="2001679"/>
                    </a:lnTo>
                    <a:lnTo>
                      <a:pt x="651979" y="2031719"/>
                    </a:lnTo>
                    <a:lnTo>
                      <a:pt x="635194" y="2060894"/>
                    </a:lnTo>
                    <a:lnTo>
                      <a:pt x="621898" y="2083996"/>
                    </a:lnTo>
                    <a:lnTo>
                      <a:pt x="605346" y="2110818"/>
                    </a:lnTo>
                    <a:lnTo>
                      <a:pt x="586226" y="2135700"/>
                    </a:lnTo>
                    <a:lnTo>
                      <a:pt x="567102" y="2160589"/>
                    </a:lnTo>
                    <a:lnTo>
                      <a:pt x="544640" y="2182544"/>
                    </a:lnTo>
                    <a:lnTo>
                      <a:pt x="519573" y="2194190"/>
                    </a:lnTo>
                    <a:lnTo>
                      <a:pt x="490489" y="2203193"/>
                    </a:lnTo>
                    <a:lnTo>
                      <a:pt x="458887" y="2209668"/>
                    </a:lnTo>
                    <a:lnTo>
                      <a:pt x="429802" y="2221395"/>
                    </a:lnTo>
                    <a:lnTo>
                      <a:pt x="392297" y="2244417"/>
                    </a:lnTo>
                    <a:lnTo>
                      <a:pt x="369954" y="2259480"/>
                    </a:lnTo>
                    <a:lnTo>
                      <a:pt x="346343" y="2273798"/>
                    </a:lnTo>
                    <a:lnTo>
                      <a:pt x="314609" y="2286763"/>
                    </a:lnTo>
                    <a:lnTo>
                      <a:pt x="296500" y="2297565"/>
                    </a:lnTo>
                    <a:lnTo>
                      <a:pt x="271531" y="2301246"/>
                    </a:lnTo>
                    <a:lnTo>
                      <a:pt x="215165" y="2326471"/>
                    </a:lnTo>
                    <a:lnTo>
                      <a:pt x="197207" y="2343809"/>
                    </a:lnTo>
                    <a:lnTo>
                      <a:pt x="224707" y="2360329"/>
                    </a:lnTo>
                    <a:lnTo>
                      <a:pt x="262206" y="2368777"/>
                    </a:lnTo>
                    <a:lnTo>
                      <a:pt x="299217" y="2379177"/>
                    </a:lnTo>
                    <a:lnTo>
                      <a:pt x="336234" y="2389577"/>
                    </a:lnTo>
                    <a:lnTo>
                      <a:pt x="372190" y="2403137"/>
                    </a:lnTo>
                    <a:lnTo>
                      <a:pt x="393075" y="2418621"/>
                    </a:lnTo>
                    <a:lnTo>
                      <a:pt x="420813" y="2443102"/>
                    </a:lnTo>
                    <a:lnTo>
                      <a:pt x="441502" y="2475760"/>
                    </a:lnTo>
                    <a:lnTo>
                      <a:pt x="451558" y="2511115"/>
                    </a:lnTo>
                    <a:lnTo>
                      <a:pt x="453082" y="2546859"/>
                    </a:lnTo>
                    <a:lnTo>
                      <a:pt x="436437" y="2576029"/>
                    </a:lnTo>
                    <a:lnTo>
                      <a:pt x="398517" y="2594086"/>
                    </a:lnTo>
                    <a:lnTo>
                      <a:pt x="371028" y="2602520"/>
                    </a:lnTo>
                    <a:lnTo>
                      <a:pt x="341939" y="2606596"/>
                    </a:lnTo>
                    <a:lnTo>
                      <a:pt x="312823" y="2607690"/>
                    </a:lnTo>
                    <a:lnTo>
                      <a:pt x="283705" y="2608786"/>
                    </a:lnTo>
                    <a:lnTo>
                      <a:pt x="254107" y="2607295"/>
                    </a:lnTo>
                    <a:lnTo>
                      <a:pt x="225769" y="2607690"/>
                    </a:lnTo>
                    <a:lnTo>
                      <a:pt x="196607" y="2639043"/>
                    </a:lnTo>
                    <a:lnTo>
                      <a:pt x="204560" y="2677082"/>
                    </a:lnTo>
                    <a:lnTo>
                      <a:pt x="231566" y="2699941"/>
                    </a:lnTo>
                    <a:lnTo>
                      <a:pt x="257056" y="2719230"/>
                    </a:lnTo>
                    <a:lnTo>
                      <a:pt x="282538" y="2738514"/>
                    </a:lnTo>
                    <a:lnTo>
                      <a:pt x="306102" y="2754678"/>
                    </a:lnTo>
                    <a:lnTo>
                      <a:pt x="308172" y="2786156"/>
                    </a:lnTo>
                    <a:lnTo>
                      <a:pt x="295788" y="2804766"/>
                    </a:lnTo>
                    <a:lnTo>
                      <a:pt x="280922" y="2851630"/>
                    </a:lnTo>
                    <a:lnTo>
                      <a:pt x="263855" y="2879730"/>
                    </a:lnTo>
                    <a:lnTo>
                      <a:pt x="245270" y="2895334"/>
                    </a:lnTo>
                    <a:lnTo>
                      <a:pt x="215336" y="2905648"/>
                    </a:lnTo>
                    <a:lnTo>
                      <a:pt x="192636" y="2907370"/>
                    </a:lnTo>
                    <a:lnTo>
                      <a:pt x="161838" y="2942296"/>
                    </a:lnTo>
                    <a:lnTo>
                      <a:pt x="161773" y="2971525"/>
                    </a:lnTo>
                    <a:lnTo>
                      <a:pt x="205332" y="3008819"/>
                    </a:lnTo>
                    <a:lnTo>
                      <a:pt x="235299" y="3013977"/>
                    </a:lnTo>
                    <a:lnTo>
                      <a:pt x="259773" y="3015751"/>
                    </a:lnTo>
                    <a:lnTo>
                      <a:pt x="284246" y="3017524"/>
                    </a:lnTo>
                    <a:lnTo>
                      <a:pt x="322345" y="3029355"/>
                    </a:lnTo>
                    <a:lnTo>
                      <a:pt x="320518" y="3063913"/>
                    </a:lnTo>
                    <a:lnTo>
                      <a:pt x="308259" y="3117371"/>
                    </a:lnTo>
                    <a:lnTo>
                      <a:pt x="281536" y="3138165"/>
                    </a:lnTo>
                    <a:lnTo>
                      <a:pt x="241452" y="3145420"/>
                    </a:lnTo>
                    <a:lnTo>
                      <a:pt x="206724" y="3155852"/>
                    </a:lnTo>
                    <a:lnTo>
                      <a:pt x="177375" y="3164947"/>
                    </a:lnTo>
                    <a:lnTo>
                      <a:pt x="140860" y="3176679"/>
                    </a:lnTo>
                    <a:lnTo>
                      <a:pt x="101989" y="3191215"/>
                    </a:lnTo>
                    <a:lnTo>
                      <a:pt x="65058" y="3209983"/>
                    </a:lnTo>
                    <a:lnTo>
                      <a:pt x="35547" y="3232294"/>
                    </a:lnTo>
                    <a:lnTo>
                      <a:pt x="19019" y="3259227"/>
                    </a:lnTo>
                    <a:lnTo>
                      <a:pt x="6871" y="3297544"/>
                    </a:lnTo>
                    <a:lnTo>
                      <a:pt x="25488" y="3352677"/>
                    </a:lnTo>
                    <a:lnTo>
                      <a:pt x="43500" y="3392524"/>
                    </a:lnTo>
                    <a:lnTo>
                      <a:pt x="61517" y="3432377"/>
                    </a:lnTo>
                    <a:lnTo>
                      <a:pt x="78637" y="3475666"/>
                    </a:lnTo>
                    <a:lnTo>
                      <a:pt x="73426" y="3510862"/>
                    </a:lnTo>
                    <a:lnTo>
                      <a:pt x="66080" y="3534901"/>
                    </a:lnTo>
                    <a:lnTo>
                      <a:pt x="53563" y="3557554"/>
                    </a:lnTo>
                    <a:lnTo>
                      <a:pt x="39424" y="3580235"/>
                    </a:lnTo>
                    <a:lnTo>
                      <a:pt x="27077" y="3603046"/>
                    </a:lnTo>
                    <a:lnTo>
                      <a:pt x="21842" y="3628147"/>
                    </a:lnTo>
                    <a:lnTo>
                      <a:pt x="28536" y="3656406"/>
                    </a:lnTo>
                    <a:lnTo>
                      <a:pt x="36232" y="3676012"/>
                    </a:lnTo>
                    <a:lnTo>
                      <a:pt x="58457" y="3697208"/>
                    </a:lnTo>
                    <a:lnTo>
                      <a:pt x="84249" y="3712969"/>
                    </a:lnTo>
                    <a:lnTo>
                      <a:pt x="111565" y="3727697"/>
                    </a:lnTo>
                    <a:lnTo>
                      <a:pt x="137351" y="3750257"/>
                    </a:lnTo>
                    <a:lnTo>
                      <a:pt x="160012" y="3781162"/>
                    </a:lnTo>
                    <a:lnTo>
                      <a:pt x="167272" y="3808748"/>
                    </a:lnTo>
                    <a:lnTo>
                      <a:pt x="174566" y="3836433"/>
                    </a:lnTo>
                    <a:lnTo>
                      <a:pt x="172027" y="3864428"/>
                    </a:lnTo>
                    <a:lnTo>
                      <a:pt x="165914" y="3890360"/>
                    </a:lnTo>
                    <a:lnTo>
                      <a:pt x="159793" y="3916284"/>
                    </a:lnTo>
                    <a:lnTo>
                      <a:pt x="150020" y="3940607"/>
                    </a:lnTo>
                    <a:lnTo>
                      <a:pt x="142793" y="3965173"/>
                    </a:lnTo>
                    <a:lnTo>
                      <a:pt x="135564" y="3989732"/>
                    </a:lnTo>
                    <a:lnTo>
                      <a:pt x="130665" y="4013672"/>
                    </a:lnTo>
                    <a:lnTo>
                      <a:pt x="134634" y="4037261"/>
                    </a:lnTo>
                    <a:lnTo>
                      <a:pt x="138598" y="4060844"/>
                    </a:lnTo>
                    <a:lnTo>
                      <a:pt x="152051" y="4083623"/>
                    </a:lnTo>
                    <a:lnTo>
                      <a:pt x="179519" y="4106626"/>
                    </a:lnTo>
                    <a:lnTo>
                      <a:pt x="207166" y="4128693"/>
                    </a:lnTo>
                    <a:lnTo>
                      <a:pt x="236209" y="4149856"/>
                    </a:lnTo>
                    <a:lnTo>
                      <a:pt x="265213" y="4171917"/>
                    </a:lnTo>
                    <a:lnTo>
                      <a:pt x="283409" y="4185561"/>
                    </a:lnTo>
                    <a:lnTo>
                      <a:pt x="294528" y="4213173"/>
                    </a:lnTo>
                    <a:lnTo>
                      <a:pt x="301933" y="4242646"/>
                    </a:lnTo>
                    <a:lnTo>
                      <a:pt x="309339" y="4272126"/>
                    </a:lnTo>
                    <a:lnTo>
                      <a:pt x="312637" y="4302594"/>
                    </a:lnTo>
                    <a:lnTo>
                      <a:pt x="312947" y="4336300"/>
                    </a:lnTo>
                    <a:lnTo>
                      <a:pt x="313554" y="4371353"/>
                    </a:lnTo>
                    <a:lnTo>
                      <a:pt x="312815" y="4405870"/>
                    </a:lnTo>
                    <a:lnTo>
                      <a:pt x="312089" y="4440395"/>
                    </a:lnTo>
                    <a:lnTo>
                      <a:pt x="310006" y="4475427"/>
                    </a:lnTo>
                    <a:lnTo>
                      <a:pt x="295628" y="4507814"/>
                    </a:lnTo>
                    <a:lnTo>
                      <a:pt x="278812" y="4522850"/>
                    </a:lnTo>
                    <a:lnTo>
                      <a:pt x="259127" y="4536093"/>
                    </a:lnTo>
                    <a:lnTo>
                      <a:pt x="232865" y="4557197"/>
                    </a:lnTo>
                    <a:lnTo>
                      <a:pt x="219762" y="4583919"/>
                    </a:lnTo>
                    <a:lnTo>
                      <a:pt x="199099" y="4620429"/>
                    </a:lnTo>
                    <a:lnTo>
                      <a:pt x="194266" y="4643201"/>
                    </a:lnTo>
                    <a:lnTo>
                      <a:pt x="195842" y="4664311"/>
                    </a:lnTo>
                    <a:lnTo>
                      <a:pt x="197417" y="4685422"/>
                    </a:lnTo>
                    <a:lnTo>
                      <a:pt x="205232" y="4705008"/>
                    </a:lnTo>
                    <a:lnTo>
                      <a:pt x="217605" y="4722801"/>
                    </a:lnTo>
                    <a:lnTo>
                      <a:pt x="229970" y="4740587"/>
                    </a:lnTo>
                    <a:lnTo>
                      <a:pt x="247262" y="4756244"/>
                    </a:lnTo>
                    <a:lnTo>
                      <a:pt x="265213" y="4771768"/>
                    </a:lnTo>
                    <a:lnTo>
                      <a:pt x="283158" y="4787293"/>
                    </a:lnTo>
                    <a:lnTo>
                      <a:pt x="301301" y="4802343"/>
                    </a:lnTo>
                    <a:lnTo>
                      <a:pt x="319621" y="4816654"/>
                    </a:lnTo>
                    <a:lnTo>
                      <a:pt x="338964" y="4830787"/>
                    </a:lnTo>
                    <a:lnTo>
                      <a:pt x="361815" y="4849140"/>
                    </a:lnTo>
                    <a:lnTo>
                      <a:pt x="375797" y="4870956"/>
                    </a:lnTo>
                    <a:lnTo>
                      <a:pt x="380901" y="4901681"/>
                    </a:lnTo>
                    <a:lnTo>
                      <a:pt x="376588" y="4944470"/>
                    </a:lnTo>
                    <a:lnTo>
                      <a:pt x="369999" y="4964828"/>
                    </a:lnTo>
                    <a:lnTo>
                      <a:pt x="350848" y="4994927"/>
                    </a:lnTo>
                    <a:lnTo>
                      <a:pt x="326420" y="5015247"/>
                    </a:lnTo>
                    <a:lnTo>
                      <a:pt x="300166" y="5034596"/>
                    </a:lnTo>
                    <a:lnTo>
                      <a:pt x="276498" y="5061180"/>
                    </a:lnTo>
                    <a:lnTo>
                      <a:pt x="258407" y="5102292"/>
                    </a:lnTo>
                    <a:lnTo>
                      <a:pt x="251423" y="5144250"/>
                    </a:lnTo>
                    <a:lnTo>
                      <a:pt x="248884" y="5171663"/>
                    </a:lnTo>
                    <a:lnTo>
                      <a:pt x="246352" y="5199085"/>
                    </a:lnTo>
                    <a:lnTo>
                      <a:pt x="243991" y="5228999"/>
                    </a:lnTo>
                    <a:lnTo>
                      <a:pt x="240726" y="5258717"/>
                    </a:lnTo>
                    <a:lnTo>
                      <a:pt x="237461" y="5288433"/>
                    </a:lnTo>
                    <a:lnTo>
                      <a:pt x="232891" y="5318116"/>
                    </a:lnTo>
                    <a:lnTo>
                      <a:pt x="225763" y="5341693"/>
                    </a:lnTo>
                    <a:lnTo>
                      <a:pt x="218641" y="5365264"/>
                    </a:lnTo>
                    <a:lnTo>
                      <a:pt x="194476" y="5392019"/>
                    </a:lnTo>
                    <a:lnTo>
                      <a:pt x="170464" y="5407320"/>
                    </a:lnTo>
                    <a:lnTo>
                      <a:pt x="141005" y="5419645"/>
                    </a:lnTo>
                    <a:lnTo>
                      <a:pt x="115588" y="5432823"/>
                    </a:lnTo>
                    <a:lnTo>
                      <a:pt x="90382" y="5442022"/>
                    </a:lnTo>
                    <a:lnTo>
                      <a:pt x="77502" y="5458661"/>
                    </a:lnTo>
                    <a:lnTo>
                      <a:pt x="64847" y="5475887"/>
                    </a:lnTo>
                    <a:lnTo>
                      <a:pt x="54797" y="5495850"/>
                    </a:lnTo>
                    <a:lnTo>
                      <a:pt x="46216" y="5515793"/>
                    </a:lnTo>
                    <a:lnTo>
                      <a:pt x="35334" y="5542996"/>
                    </a:lnTo>
                    <a:lnTo>
                      <a:pt x="20760" y="5579651"/>
                    </a:lnTo>
                    <a:lnTo>
                      <a:pt x="10821" y="5607251"/>
                    </a:lnTo>
                    <a:lnTo>
                      <a:pt x="5414" y="5630049"/>
                    </a:lnTo>
                    <a:lnTo>
                      <a:pt x="0" y="5652848"/>
                    </a:lnTo>
                    <a:lnTo>
                      <a:pt x="2696" y="5689898"/>
                    </a:lnTo>
                    <a:lnTo>
                      <a:pt x="14060" y="5724811"/>
                    </a:lnTo>
                    <a:lnTo>
                      <a:pt x="25819" y="5747024"/>
                    </a:lnTo>
                    <a:lnTo>
                      <a:pt x="37577" y="5769235"/>
                    </a:lnTo>
                    <a:lnTo>
                      <a:pt x="53668" y="5795878"/>
                    </a:lnTo>
                    <a:lnTo>
                      <a:pt x="73426" y="5831358"/>
                    </a:lnTo>
                    <a:lnTo>
                      <a:pt x="85133" y="5852383"/>
                    </a:lnTo>
                    <a:lnTo>
                      <a:pt x="94861" y="5874535"/>
                    </a:lnTo>
                    <a:lnTo>
                      <a:pt x="103349" y="5898007"/>
                    </a:lnTo>
                    <a:lnTo>
                      <a:pt x="111835" y="5921478"/>
                    </a:lnTo>
                    <a:lnTo>
                      <a:pt x="119070" y="5946711"/>
                    </a:lnTo>
                    <a:lnTo>
                      <a:pt x="125112" y="5971461"/>
                    </a:lnTo>
                    <a:lnTo>
                      <a:pt x="131159" y="5996205"/>
                    </a:lnTo>
                    <a:lnTo>
                      <a:pt x="135683" y="6021418"/>
                    </a:lnTo>
                    <a:lnTo>
                      <a:pt x="140075" y="6046267"/>
                    </a:lnTo>
                    <a:lnTo>
                      <a:pt x="144467" y="6071123"/>
                    </a:lnTo>
                    <a:lnTo>
                      <a:pt x="148794" y="6095933"/>
                    </a:lnTo>
                    <a:lnTo>
                      <a:pt x="152315" y="6119720"/>
                    </a:lnTo>
                    <a:lnTo>
                      <a:pt x="163441" y="6147440"/>
                    </a:lnTo>
                    <a:lnTo>
                      <a:pt x="190157" y="6170891"/>
                    </a:lnTo>
                    <a:lnTo>
                      <a:pt x="224405" y="6191810"/>
                    </a:lnTo>
                    <a:lnTo>
                      <a:pt x="258592" y="6213665"/>
                    </a:lnTo>
                    <a:lnTo>
                      <a:pt x="285434" y="6237967"/>
                    </a:lnTo>
                    <a:lnTo>
                      <a:pt x="297858" y="6267981"/>
                    </a:lnTo>
                    <a:lnTo>
                      <a:pt x="295636" y="6303897"/>
                    </a:lnTo>
                    <a:lnTo>
                      <a:pt x="286482" y="6340888"/>
                    </a:lnTo>
                    <a:lnTo>
                      <a:pt x="284252" y="6375438"/>
                    </a:lnTo>
                    <a:lnTo>
                      <a:pt x="287629" y="6402213"/>
                    </a:lnTo>
                    <a:lnTo>
                      <a:pt x="298472" y="6429280"/>
                    </a:lnTo>
                    <a:lnTo>
                      <a:pt x="308739" y="6455692"/>
                    </a:lnTo>
                    <a:lnTo>
                      <a:pt x="319008" y="6482098"/>
                    </a:lnTo>
                    <a:lnTo>
                      <a:pt x="329197" y="6509117"/>
                    </a:lnTo>
                    <a:lnTo>
                      <a:pt x="330502" y="6537304"/>
                    </a:lnTo>
                    <a:lnTo>
                      <a:pt x="331505" y="6558849"/>
                    </a:lnTo>
                    <a:lnTo>
                      <a:pt x="317452" y="6585769"/>
                    </a:lnTo>
                    <a:lnTo>
                      <a:pt x="307381" y="6613475"/>
                    </a:lnTo>
                    <a:lnTo>
                      <a:pt x="297351" y="6641042"/>
                    </a:lnTo>
                    <a:lnTo>
                      <a:pt x="295642" y="6667513"/>
                    </a:lnTo>
                    <a:lnTo>
                      <a:pt x="306015" y="6691005"/>
                    </a:lnTo>
                    <a:lnTo>
                      <a:pt x="322549" y="6714237"/>
                    </a:lnTo>
                    <a:lnTo>
                      <a:pt x="340699" y="6735480"/>
                    </a:lnTo>
                    <a:lnTo>
                      <a:pt x="356349" y="6754936"/>
                    </a:lnTo>
                    <a:lnTo>
                      <a:pt x="371991" y="6774384"/>
                    </a:lnTo>
                    <a:lnTo>
                      <a:pt x="386144" y="6792975"/>
                    </a:lnTo>
                    <a:lnTo>
                      <a:pt x="402716" y="6828429"/>
                    </a:lnTo>
                    <a:lnTo>
                      <a:pt x="399875" y="6863751"/>
                    </a:lnTo>
                    <a:lnTo>
                      <a:pt x="380815" y="6900412"/>
                    </a:lnTo>
                    <a:lnTo>
                      <a:pt x="354983" y="6920876"/>
                    </a:lnTo>
                    <a:lnTo>
                      <a:pt x="348534" y="6944789"/>
                    </a:lnTo>
                    <a:lnTo>
                      <a:pt x="353558" y="6970608"/>
                    </a:lnTo>
                    <a:lnTo>
                      <a:pt x="359059" y="6994324"/>
                    </a:lnTo>
                    <a:lnTo>
                      <a:pt x="364559" y="7018045"/>
                    </a:lnTo>
                    <a:lnTo>
                      <a:pt x="370139" y="7039887"/>
                    </a:lnTo>
                    <a:lnTo>
                      <a:pt x="350755" y="7073806"/>
                    </a:lnTo>
                    <a:lnTo>
                      <a:pt x="327859" y="7079260"/>
                    </a:lnTo>
                    <a:lnTo>
                      <a:pt x="300569" y="7089540"/>
                    </a:lnTo>
                    <a:lnTo>
                      <a:pt x="273279" y="7099822"/>
                    </a:lnTo>
                    <a:lnTo>
                      <a:pt x="241677" y="7114035"/>
                    </a:lnTo>
                    <a:lnTo>
                      <a:pt x="213516" y="7148031"/>
                    </a:lnTo>
                    <a:lnTo>
                      <a:pt x="200768" y="7173343"/>
                    </a:lnTo>
                    <a:lnTo>
                      <a:pt x="201803" y="7198892"/>
                    </a:lnTo>
                    <a:lnTo>
                      <a:pt x="205352" y="7225561"/>
                    </a:lnTo>
                    <a:lnTo>
                      <a:pt x="206611" y="7260052"/>
                    </a:lnTo>
                    <a:lnTo>
                      <a:pt x="200498" y="7291339"/>
                    </a:lnTo>
                    <a:lnTo>
                      <a:pt x="193111" y="7322137"/>
                    </a:lnTo>
                    <a:lnTo>
                      <a:pt x="185719" y="7352929"/>
                    </a:lnTo>
                    <a:lnTo>
                      <a:pt x="176532" y="7383792"/>
                    </a:lnTo>
                    <a:lnTo>
                      <a:pt x="172707" y="7417346"/>
                    </a:lnTo>
                    <a:lnTo>
                      <a:pt x="182395" y="7458315"/>
                    </a:lnTo>
                    <a:lnTo>
                      <a:pt x="203380" y="7481350"/>
                    </a:lnTo>
                    <a:lnTo>
                      <a:pt x="223033" y="7500324"/>
                    </a:lnTo>
                    <a:lnTo>
                      <a:pt x="242686" y="7519291"/>
                    </a:lnTo>
                    <a:lnTo>
                      <a:pt x="261223" y="7533932"/>
                    </a:lnTo>
                    <a:lnTo>
                      <a:pt x="269283" y="7560173"/>
                    </a:lnTo>
                    <a:lnTo>
                      <a:pt x="263841" y="7590094"/>
                    </a:lnTo>
                    <a:lnTo>
                      <a:pt x="253118" y="7608434"/>
                    </a:lnTo>
                    <a:lnTo>
                      <a:pt x="237581" y="7635908"/>
                    </a:lnTo>
                    <a:lnTo>
                      <a:pt x="228473" y="7675788"/>
                    </a:lnTo>
                    <a:lnTo>
                      <a:pt x="224899" y="7718102"/>
                    </a:lnTo>
                    <a:lnTo>
                      <a:pt x="224397" y="7741077"/>
                    </a:lnTo>
                    <a:lnTo>
                      <a:pt x="228578" y="7769627"/>
                    </a:lnTo>
                    <a:lnTo>
                      <a:pt x="244703" y="7805022"/>
                    </a:lnTo>
                    <a:lnTo>
                      <a:pt x="255769" y="7824661"/>
                    </a:lnTo>
                    <a:lnTo>
                      <a:pt x="266565" y="7845812"/>
                    </a:lnTo>
                    <a:lnTo>
                      <a:pt x="277361" y="7866961"/>
                    </a:lnTo>
                    <a:lnTo>
                      <a:pt x="288573" y="7889654"/>
                    </a:lnTo>
                    <a:lnTo>
                      <a:pt x="296486" y="7912459"/>
                    </a:lnTo>
                    <a:lnTo>
                      <a:pt x="304406" y="7935265"/>
                    </a:lnTo>
                    <a:lnTo>
                      <a:pt x="309307" y="7957807"/>
                    </a:lnTo>
                    <a:lnTo>
                      <a:pt x="308733" y="7980473"/>
                    </a:lnTo>
                    <a:lnTo>
                      <a:pt x="289951" y="8007551"/>
                    </a:lnTo>
                    <a:lnTo>
                      <a:pt x="268267" y="8027976"/>
                    </a:lnTo>
                    <a:lnTo>
                      <a:pt x="248884" y="8045762"/>
                    </a:lnTo>
                    <a:lnTo>
                      <a:pt x="229496" y="8063543"/>
                    </a:lnTo>
                    <a:lnTo>
                      <a:pt x="212843" y="8078407"/>
                    </a:lnTo>
                    <a:lnTo>
                      <a:pt x="186992" y="8111045"/>
                    </a:lnTo>
                    <a:lnTo>
                      <a:pt x="179513" y="8151855"/>
                    </a:lnTo>
                    <a:lnTo>
                      <a:pt x="180107" y="8174534"/>
                    </a:lnTo>
                    <a:lnTo>
                      <a:pt x="188264" y="8202029"/>
                    </a:lnTo>
                    <a:lnTo>
                      <a:pt x="209434" y="8238907"/>
                    </a:lnTo>
                    <a:lnTo>
                      <a:pt x="223586" y="8263064"/>
                    </a:lnTo>
                    <a:lnTo>
                      <a:pt x="236091" y="8285481"/>
                    </a:lnTo>
                    <a:lnTo>
                      <a:pt x="247520" y="8306920"/>
                    </a:lnTo>
                    <a:lnTo>
                      <a:pt x="257366" y="8330274"/>
                    </a:lnTo>
                    <a:lnTo>
                      <a:pt x="264883" y="8354292"/>
                    </a:lnTo>
                    <a:lnTo>
                      <a:pt x="269283" y="8380368"/>
                    </a:lnTo>
                    <a:lnTo>
                      <a:pt x="253705" y="8395212"/>
                    </a:lnTo>
                    <a:lnTo>
                      <a:pt x="217598" y="8391250"/>
                    </a:lnTo>
                    <a:lnTo>
                      <a:pt x="181874" y="8390352"/>
                    </a:lnTo>
                    <a:lnTo>
                      <a:pt x="164548" y="8408931"/>
                    </a:lnTo>
                    <a:lnTo>
                      <a:pt x="181345" y="8443284"/>
                    </a:lnTo>
                    <a:lnTo>
                      <a:pt x="195835" y="8463338"/>
                    </a:lnTo>
                    <a:lnTo>
                      <a:pt x="210324" y="8483393"/>
                    </a:lnTo>
                    <a:lnTo>
                      <a:pt x="222828" y="8503634"/>
                    </a:lnTo>
                    <a:lnTo>
                      <a:pt x="205358" y="8535427"/>
                    </a:lnTo>
                    <a:lnTo>
                      <a:pt x="152308" y="8553108"/>
                    </a:lnTo>
                    <a:lnTo>
                      <a:pt x="136330" y="8576831"/>
                    </a:lnTo>
                    <a:lnTo>
                      <a:pt x="144797" y="8603533"/>
                    </a:lnTo>
                    <a:lnTo>
                      <a:pt x="159820" y="8619664"/>
                    </a:lnTo>
                    <a:lnTo>
                      <a:pt x="176789" y="8636086"/>
                    </a:lnTo>
                    <a:lnTo>
                      <a:pt x="193230" y="8655804"/>
                    </a:lnTo>
                    <a:lnTo>
                      <a:pt x="203874" y="8678925"/>
                    </a:lnTo>
                    <a:lnTo>
                      <a:pt x="205358" y="8708175"/>
                    </a:lnTo>
                    <a:lnTo>
                      <a:pt x="199140" y="8733900"/>
                    </a:lnTo>
                    <a:lnTo>
                      <a:pt x="187083" y="8764060"/>
                    </a:lnTo>
                    <a:lnTo>
                      <a:pt x="174071" y="8795227"/>
                    </a:lnTo>
                    <a:lnTo>
                      <a:pt x="160606" y="8827233"/>
                    </a:lnTo>
                    <a:lnTo>
                      <a:pt x="154894" y="8855708"/>
                    </a:lnTo>
                    <a:lnTo>
                      <a:pt x="160466" y="8878197"/>
                    </a:lnTo>
                    <a:lnTo>
                      <a:pt x="246160" y="8853710"/>
                    </a:lnTo>
                    <a:lnTo>
                      <a:pt x="273365" y="8875473"/>
                    </a:lnTo>
                    <a:lnTo>
                      <a:pt x="270193" y="8911944"/>
                    </a:lnTo>
                    <a:lnTo>
                      <a:pt x="260207" y="8947821"/>
                    </a:lnTo>
                    <a:lnTo>
                      <a:pt x="251602" y="8982932"/>
                    </a:lnTo>
                    <a:lnTo>
                      <a:pt x="246048" y="9013373"/>
                    </a:lnTo>
                    <a:lnTo>
                      <a:pt x="242883" y="9045016"/>
                    </a:lnTo>
                    <a:lnTo>
                      <a:pt x="240720" y="9076783"/>
                    </a:lnTo>
                    <a:lnTo>
                      <a:pt x="238550" y="9108550"/>
                    </a:lnTo>
                    <a:lnTo>
                      <a:pt x="237587" y="9139810"/>
                    </a:lnTo>
                    <a:lnTo>
                      <a:pt x="235279" y="9170635"/>
                    </a:lnTo>
                    <a:lnTo>
                      <a:pt x="233452" y="9195022"/>
                    </a:lnTo>
                    <a:lnTo>
                      <a:pt x="244796" y="9214161"/>
                    </a:lnTo>
                    <a:lnTo>
                      <a:pt x="264970" y="9228775"/>
                    </a:lnTo>
                    <a:lnTo>
                      <a:pt x="278806" y="9245447"/>
                    </a:lnTo>
                    <a:lnTo>
                      <a:pt x="288942" y="9266400"/>
                    </a:lnTo>
                    <a:lnTo>
                      <a:pt x="303557" y="9287603"/>
                    </a:lnTo>
                    <a:lnTo>
                      <a:pt x="326434" y="9300120"/>
                    </a:lnTo>
                    <a:lnTo>
                      <a:pt x="350895" y="9310738"/>
                    </a:lnTo>
                    <a:lnTo>
                      <a:pt x="375355" y="9321356"/>
                    </a:lnTo>
                    <a:lnTo>
                      <a:pt x="400975" y="9330186"/>
                    </a:lnTo>
                    <a:lnTo>
                      <a:pt x="421625" y="9348822"/>
                    </a:lnTo>
                    <a:lnTo>
                      <a:pt x="407558" y="9383400"/>
                    </a:lnTo>
                    <a:lnTo>
                      <a:pt x="374022" y="9382827"/>
                    </a:lnTo>
                    <a:lnTo>
                      <a:pt x="338430" y="9379655"/>
                    </a:lnTo>
                    <a:lnTo>
                      <a:pt x="323011" y="9397407"/>
                    </a:lnTo>
                    <a:lnTo>
                      <a:pt x="324158" y="9428594"/>
                    </a:lnTo>
                    <a:lnTo>
                      <a:pt x="311720" y="9463231"/>
                    </a:lnTo>
                    <a:lnTo>
                      <a:pt x="293770" y="9487566"/>
                    </a:lnTo>
                    <a:lnTo>
                      <a:pt x="281747" y="9508775"/>
                    </a:lnTo>
                    <a:lnTo>
                      <a:pt x="276999" y="9534918"/>
                    </a:lnTo>
                    <a:lnTo>
                      <a:pt x="295128" y="9559656"/>
                    </a:lnTo>
                    <a:lnTo>
                      <a:pt x="323289" y="9582183"/>
                    </a:lnTo>
                    <a:lnTo>
                      <a:pt x="354020" y="9607858"/>
                    </a:lnTo>
                    <a:lnTo>
                      <a:pt x="369063" y="9622953"/>
                    </a:lnTo>
                    <a:lnTo>
                      <a:pt x="376740" y="9643984"/>
                    </a:lnTo>
                    <a:lnTo>
                      <a:pt x="372664" y="9667113"/>
                    </a:lnTo>
                    <a:lnTo>
                      <a:pt x="359065" y="9687510"/>
                    </a:lnTo>
                    <a:lnTo>
                      <a:pt x="344101" y="9707915"/>
                    </a:lnTo>
                    <a:lnTo>
                      <a:pt x="338661" y="9731038"/>
                    </a:lnTo>
                    <a:lnTo>
                      <a:pt x="340350" y="9758928"/>
                    </a:lnTo>
                    <a:lnTo>
                      <a:pt x="342407" y="9787482"/>
                    </a:lnTo>
                    <a:lnTo>
                      <a:pt x="344095" y="9816732"/>
                    </a:lnTo>
                    <a:lnTo>
                      <a:pt x="345111" y="9844747"/>
                    </a:lnTo>
                    <a:lnTo>
                      <a:pt x="343072" y="9873045"/>
                    </a:lnTo>
                    <a:lnTo>
                      <a:pt x="337289" y="9901060"/>
                    </a:lnTo>
                    <a:lnTo>
                      <a:pt x="327436" y="9926392"/>
                    </a:lnTo>
                    <a:lnTo>
                      <a:pt x="317221" y="9951907"/>
                    </a:lnTo>
                    <a:lnTo>
                      <a:pt x="311451" y="9978596"/>
                    </a:lnTo>
                    <a:lnTo>
                      <a:pt x="308403" y="10008663"/>
                    </a:lnTo>
                    <a:lnTo>
                      <a:pt x="310152" y="10031633"/>
                    </a:lnTo>
                    <a:lnTo>
                      <a:pt x="323625" y="10069738"/>
                    </a:lnTo>
                    <a:lnTo>
                      <a:pt x="350895" y="10094213"/>
                    </a:lnTo>
                    <a:lnTo>
                      <a:pt x="384838" y="10111253"/>
                    </a:lnTo>
                    <a:lnTo>
                      <a:pt x="406660" y="10114616"/>
                    </a:lnTo>
                    <a:lnTo>
                      <a:pt x="428490" y="10117980"/>
                    </a:lnTo>
                    <a:lnTo>
                      <a:pt x="452997" y="10118653"/>
                    </a:lnTo>
                    <a:lnTo>
                      <a:pt x="480115" y="10117334"/>
                    </a:lnTo>
                    <a:lnTo>
                      <a:pt x="490996" y="10151336"/>
                    </a:lnTo>
                    <a:lnTo>
                      <a:pt x="479106" y="10175284"/>
                    </a:lnTo>
                    <a:lnTo>
                      <a:pt x="470229" y="10203562"/>
                    </a:lnTo>
                    <a:lnTo>
                      <a:pt x="466509" y="10228866"/>
                    </a:lnTo>
                    <a:lnTo>
                      <a:pt x="477391" y="10251823"/>
                    </a:lnTo>
                    <a:lnTo>
                      <a:pt x="500078" y="10263728"/>
                    </a:lnTo>
                    <a:lnTo>
                      <a:pt x="522277" y="10265594"/>
                    </a:lnTo>
                    <a:lnTo>
                      <a:pt x="545404" y="10257435"/>
                    </a:lnTo>
                    <a:lnTo>
                      <a:pt x="564445" y="10235666"/>
                    </a:lnTo>
                    <a:lnTo>
                      <a:pt x="576664" y="10216495"/>
                    </a:lnTo>
                    <a:lnTo>
                      <a:pt x="601171" y="10200310"/>
                    </a:lnTo>
                    <a:lnTo>
                      <a:pt x="602279" y="10230871"/>
                    </a:lnTo>
                    <a:lnTo>
                      <a:pt x="598962" y="10265666"/>
                    </a:lnTo>
                    <a:lnTo>
                      <a:pt x="588931" y="10298245"/>
                    </a:lnTo>
                    <a:lnTo>
                      <a:pt x="577495" y="10325211"/>
                    </a:lnTo>
                    <a:lnTo>
                      <a:pt x="564992" y="10347444"/>
                    </a:lnTo>
                    <a:lnTo>
                      <a:pt x="553563" y="10370334"/>
                    </a:lnTo>
                    <a:lnTo>
                      <a:pt x="544982" y="10394985"/>
                    </a:lnTo>
                    <a:lnTo>
                      <a:pt x="548162" y="10424458"/>
                    </a:lnTo>
                    <a:lnTo>
                      <a:pt x="571243" y="10443782"/>
                    </a:lnTo>
                    <a:lnTo>
                      <a:pt x="600089" y="10460057"/>
                    </a:lnTo>
                    <a:lnTo>
                      <a:pt x="632174" y="10473761"/>
                    </a:lnTo>
                    <a:lnTo>
                      <a:pt x="662378" y="10485948"/>
                    </a:lnTo>
                    <a:lnTo>
                      <a:pt x="690393" y="10498994"/>
                    </a:lnTo>
                    <a:lnTo>
                      <a:pt x="707882" y="10523270"/>
                    </a:lnTo>
                    <a:lnTo>
                      <a:pt x="722973" y="10538406"/>
                    </a:lnTo>
                    <a:lnTo>
                      <a:pt x="741273" y="10551239"/>
                    </a:lnTo>
                    <a:lnTo>
                      <a:pt x="762291" y="10563373"/>
                    </a:lnTo>
                    <a:lnTo>
                      <a:pt x="782814" y="10571755"/>
                    </a:lnTo>
                    <a:lnTo>
                      <a:pt x="806563" y="10594765"/>
                    </a:lnTo>
                    <a:lnTo>
                      <a:pt x="790538" y="10618678"/>
                    </a:lnTo>
                    <a:lnTo>
                      <a:pt x="764395" y="10623334"/>
                    </a:lnTo>
                    <a:lnTo>
                      <a:pt x="716786" y="10635581"/>
                    </a:lnTo>
                    <a:lnTo>
                      <a:pt x="724430" y="10660431"/>
                    </a:lnTo>
                    <a:lnTo>
                      <a:pt x="738549" y="10681825"/>
                    </a:lnTo>
                    <a:lnTo>
                      <a:pt x="749272" y="10703805"/>
                    </a:lnTo>
                    <a:lnTo>
                      <a:pt x="757760" y="10727856"/>
                    </a:lnTo>
                    <a:lnTo>
                      <a:pt x="763036" y="10752555"/>
                    </a:lnTo>
                    <a:lnTo>
                      <a:pt x="766921" y="10776679"/>
                    </a:lnTo>
                    <a:lnTo>
                      <a:pt x="779728" y="10799886"/>
                    </a:lnTo>
                    <a:lnTo>
                      <a:pt x="798787" y="10817396"/>
                    </a:lnTo>
                    <a:lnTo>
                      <a:pt x="818328" y="10834794"/>
                    </a:lnTo>
                    <a:lnTo>
                      <a:pt x="835639" y="10853424"/>
                    </a:lnTo>
                    <a:lnTo>
                      <a:pt x="868838" y="10845998"/>
                    </a:lnTo>
                    <a:lnTo>
                      <a:pt x="893899" y="10835935"/>
                    </a:lnTo>
                    <a:lnTo>
                      <a:pt x="916730" y="10832808"/>
                    </a:lnTo>
                    <a:lnTo>
                      <a:pt x="941231" y="10834060"/>
                    </a:lnTo>
                    <a:lnTo>
                      <a:pt x="968408" y="10834299"/>
                    </a:lnTo>
                    <a:lnTo>
                      <a:pt x="1001066" y="10830092"/>
                    </a:lnTo>
                    <a:lnTo>
                      <a:pt x="1029629" y="10821926"/>
                    </a:lnTo>
                    <a:lnTo>
                      <a:pt x="1049651" y="10813499"/>
                    </a:lnTo>
                    <a:lnTo>
                      <a:pt x="1069456" y="10805875"/>
                    </a:lnTo>
                    <a:lnTo>
                      <a:pt x="1099640" y="10797743"/>
                    </a:lnTo>
                    <a:lnTo>
                      <a:pt x="1120764" y="10797446"/>
                    </a:lnTo>
                    <a:lnTo>
                      <a:pt x="1142454" y="10798568"/>
                    </a:lnTo>
                    <a:lnTo>
                      <a:pt x="1166724" y="10808183"/>
                    </a:lnTo>
                    <a:lnTo>
                      <a:pt x="1191495" y="10824650"/>
                    </a:lnTo>
                    <a:lnTo>
                      <a:pt x="1216264" y="10841124"/>
                    </a:lnTo>
                    <a:lnTo>
                      <a:pt x="1241537" y="10864100"/>
                    </a:lnTo>
                    <a:lnTo>
                      <a:pt x="1264941" y="10888581"/>
                    </a:lnTo>
                    <a:lnTo>
                      <a:pt x="1288346" y="10913062"/>
                    </a:lnTo>
                    <a:lnTo>
                      <a:pt x="1309918" y="10939592"/>
                    </a:lnTo>
                    <a:lnTo>
                      <a:pt x="1327514" y="10964752"/>
                    </a:lnTo>
                    <a:lnTo>
                      <a:pt x="1345102" y="10989911"/>
                    </a:lnTo>
                    <a:lnTo>
                      <a:pt x="1358260" y="11014254"/>
                    </a:lnTo>
                    <a:lnTo>
                      <a:pt x="1373236" y="11052036"/>
                    </a:lnTo>
                    <a:lnTo>
                      <a:pt x="1386004" y="11087167"/>
                    </a:lnTo>
                    <a:lnTo>
                      <a:pt x="1398818" y="11121474"/>
                    </a:lnTo>
                    <a:lnTo>
                      <a:pt x="1413993" y="11153518"/>
                    </a:lnTo>
                    <a:lnTo>
                      <a:pt x="1433605" y="11183743"/>
                    </a:lnTo>
                    <a:lnTo>
                      <a:pt x="1459643" y="11212820"/>
                    </a:lnTo>
                    <a:lnTo>
                      <a:pt x="1477133" y="11227269"/>
                    </a:lnTo>
                    <a:lnTo>
                      <a:pt x="1509190" y="11246796"/>
                    </a:lnTo>
                    <a:lnTo>
                      <a:pt x="1530183" y="11250398"/>
                    </a:lnTo>
                    <a:lnTo>
                      <a:pt x="1551173" y="11253985"/>
                    </a:lnTo>
                    <a:lnTo>
                      <a:pt x="1574598" y="11252996"/>
                    </a:lnTo>
                    <a:lnTo>
                      <a:pt x="1595472" y="11249038"/>
                    </a:lnTo>
                    <a:lnTo>
                      <a:pt x="1616345" y="11245068"/>
                    </a:lnTo>
                    <a:lnTo>
                      <a:pt x="1647161" y="11225911"/>
                    </a:lnTo>
                    <a:lnTo>
                      <a:pt x="1667323" y="11198984"/>
                    </a:lnTo>
                    <a:lnTo>
                      <a:pt x="1663478" y="11169009"/>
                    </a:lnTo>
                    <a:lnTo>
                      <a:pt x="1659403" y="11148381"/>
                    </a:lnTo>
                    <a:lnTo>
                      <a:pt x="1647161" y="11119818"/>
                    </a:lnTo>
                    <a:lnTo>
                      <a:pt x="1634922" y="11092614"/>
                    </a:lnTo>
                    <a:lnTo>
                      <a:pt x="1624833" y="11073364"/>
                    </a:lnTo>
                    <a:lnTo>
                      <a:pt x="1614128" y="11052912"/>
                    </a:lnTo>
                    <a:lnTo>
                      <a:pt x="1602277" y="11031400"/>
                    </a:lnTo>
                    <a:lnTo>
                      <a:pt x="1593889" y="11012136"/>
                    </a:lnTo>
                    <a:lnTo>
                      <a:pt x="1593796" y="10984992"/>
                    </a:lnTo>
                    <a:lnTo>
                      <a:pt x="1615111" y="10961673"/>
                    </a:lnTo>
                    <a:lnTo>
                      <a:pt x="1645144" y="10949367"/>
                    </a:lnTo>
                    <a:lnTo>
                      <a:pt x="1678448" y="10951154"/>
                    </a:lnTo>
                    <a:lnTo>
                      <a:pt x="1699275" y="10961778"/>
                    </a:lnTo>
                    <a:lnTo>
                      <a:pt x="1713968" y="10982044"/>
                    </a:lnTo>
                    <a:lnTo>
                      <a:pt x="1728767" y="11000120"/>
                    </a:lnTo>
                    <a:lnTo>
                      <a:pt x="1743580" y="11018204"/>
                    </a:lnTo>
                    <a:lnTo>
                      <a:pt x="1758307" y="11034896"/>
                    </a:lnTo>
                    <a:lnTo>
                      <a:pt x="1780459" y="11039572"/>
                    </a:lnTo>
                    <a:lnTo>
                      <a:pt x="1801219" y="11043950"/>
                    </a:lnTo>
                    <a:lnTo>
                      <a:pt x="1836224" y="11034130"/>
                    </a:lnTo>
                    <a:lnTo>
                      <a:pt x="1861141" y="11034988"/>
                    </a:lnTo>
                    <a:lnTo>
                      <a:pt x="1882046" y="11038715"/>
                    </a:lnTo>
                    <a:lnTo>
                      <a:pt x="1910834" y="11043198"/>
                    </a:lnTo>
                    <a:lnTo>
                      <a:pt x="1938294" y="11036400"/>
                    </a:lnTo>
                    <a:lnTo>
                      <a:pt x="1960004" y="11019173"/>
                    </a:lnTo>
                    <a:lnTo>
                      <a:pt x="1974566" y="11003280"/>
                    </a:lnTo>
                    <a:lnTo>
                      <a:pt x="1973545" y="10977058"/>
                    </a:lnTo>
                    <a:lnTo>
                      <a:pt x="1958646" y="10958606"/>
                    </a:lnTo>
                    <a:lnTo>
                      <a:pt x="1940965" y="10943003"/>
                    </a:lnTo>
                    <a:lnTo>
                      <a:pt x="1923278" y="10927399"/>
                    </a:lnTo>
                    <a:lnTo>
                      <a:pt x="1902247" y="10914235"/>
                    </a:lnTo>
                    <a:lnTo>
                      <a:pt x="1861939" y="10882937"/>
                    </a:lnTo>
                    <a:lnTo>
                      <a:pt x="1843354" y="10866052"/>
                    </a:lnTo>
                    <a:lnTo>
                      <a:pt x="1815497" y="10840406"/>
                    </a:lnTo>
                    <a:lnTo>
                      <a:pt x="1796780" y="10826022"/>
                    </a:lnTo>
                    <a:lnTo>
                      <a:pt x="1774654" y="10818345"/>
                    </a:lnTo>
                    <a:lnTo>
                      <a:pt x="1737302" y="10817403"/>
                    </a:lnTo>
                    <a:lnTo>
                      <a:pt x="1711192" y="10819235"/>
                    </a:lnTo>
                    <a:lnTo>
                      <a:pt x="1671642" y="10820588"/>
                    </a:lnTo>
                    <a:lnTo>
                      <a:pt x="1645797" y="10809705"/>
                    </a:lnTo>
                    <a:lnTo>
                      <a:pt x="1633558" y="10782502"/>
                    </a:lnTo>
                    <a:lnTo>
                      <a:pt x="1629553" y="10760468"/>
                    </a:lnTo>
                    <a:lnTo>
                      <a:pt x="1629415" y="10739246"/>
                    </a:lnTo>
                    <a:lnTo>
                      <a:pt x="1636413" y="10714001"/>
                    </a:lnTo>
                    <a:lnTo>
                      <a:pt x="1656717" y="10692449"/>
                    </a:lnTo>
                    <a:lnTo>
                      <a:pt x="1681093" y="10675479"/>
                    </a:lnTo>
                    <a:lnTo>
                      <a:pt x="1708192" y="10667190"/>
                    </a:lnTo>
                    <a:lnTo>
                      <a:pt x="1764063" y="10669142"/>
                    </a:lnTo>
                    <a:lnTo>
                      <a:pt x="1789316" y="10677340"/>
                    </a:lnTo>
                    <a:lnTo>
                      <a:pt x="1809028" y="10688651"/>
                    </a:lnTo>
                    <a:lnTo>
                      <a:pt x="1828739" y="10699960"/>
                    </a:lnTo>
                    <a:lnTo>
                      <a:pt x="1853913" y="10729459"/>
                    </a:lnTo>
                    <a:lnTo>
                      <a:pt x="1875174" y="10762111"/>
                    </a:lnTo>
                    <a:lnTo>
                      <a:pt x="1897940" y="10792018"/>
                    </a:lnTo>
                    <a:lnTo>
                      <a:pt x="1930084" y="10815153"/>
                    </a:lnTo>
                    <a:lnTo>
                      <a:pt x="1954571" y="10821953"/>
                    </a:lnTo>
                    <a:lnTo>
                      <a:pt x="1977692" y="10821953"/>
                    </a:lnTo>
                    <a:lnTo>
                      <a:pt x="2002172" y="10816513"/>
                    </a:lnTo>
                    <a:lnTo>
                      <a:pt x="2023942" y="10804265"/>
                    </a:lnTo>
                    <a:lnTo>
                      <a:pt x="2052755" y="10784448"/>
                    </a:lnTo>
                    <a:lnTo>
                      <a:pt x="2068450" y="10764762"/>
                    </a:lnTo>
                    <a:lnTo>
                      <a:pt x="2082801" y="10726796"/>
                    </a:lnTo>
                    <a:lnTo>
                      <a:pt x="2074267" y="10690009"/>
                    </a:lnTo>
                    <a:lnTo>
                      <a:pt x="2052867" y="10651428"/>
                    </a:lnTo>
                    <a:lnTo>
                      <a:pt x="2037541" y="10631525"/>
                    </a:lnTo>
                    <a:lnTo>
                      <a:pt x="2022214" y="10611615"/>
                    </a:lnTo>
                    <a:lnTo>
                      <a:pt x="2004764" y="10590616"/>
                    </a:lnTo>
                    <a:lnTo>
                      <a:pt x="1988573" y="10568953"/>
                    </a:lnTo>
                    <a:lnTo>
                      <a:pt x="1982618" y="10522003"/>
                    </a:lnTo>
                    <a:lnTo>
                      <a:pt x="1996739" y="10498222"/>
                    </a:lnTo>
                    <a:lnTo>
                      <a:pt x="2034831" y="10496864"/>
                    </a:lnTo>
                    <a:lnTo>
                      <a:pt x="2064784" y="10512342"/>
                    </a:lnTo>
                    <a:lnTo>
                      <a:pt x="2083863" y="10532370"/>
                    </a:lnTo>
                    <a:lnTo>
                      <a:pt x="2096038" y="10555353"/>
                    </a:lnTo>
                    <a:lnTo>
                      <a:pt x="2108205" y="10578336"/>
                    </a:lnTo>
                    <a:lnTo>
                      <a:pt x="2113429" y="10604420"/>
                    </a:lnTo>
                    <a:lnTo>
                      <a:pt x="2116435" y="10628808"/>
                    </a:lnTo>
                    <a:lnTo>
                      <a:pt x="2119449" y="10653189"/>
                    </a:lnTo>
                    <a:lnTo>
                      <a:pt x="2120768" y="10675771"/>
                    </a:lnTo>
                    <a:lnTo>
                      <a:pt x="2125721" y="10715142"/>
                    </a:lnTo>
                    <a:lnTo>
                      <a:pt x="2140922" y="10740341"/>
                    </a:lnTo>
                    <a:lnTo>
                      <a:pt x="2173904" y="10741488"/>
                    </a:lnTo>
                    <a:lnTo>
                      <a:pt x="2197711" y="10728318"/>
                    </a:lnTo>
                    <a:lnTo>
                      <a:pt x="2213012" y="10704978"/>
                    </a:lnTo>
                    <a:lnTo>
                      <a:pt x="2227276" y="10679391"/>
                    </a:lnTo>
                    <a:lnTo>
                      <a:pt x="2234149" y="10645222"/>
                    </a:lnTo>
                    <a:lnTo>
                      <a:pt x="2238857" y="10617926"/>
                    </a:lnTo>
                    <a:lnTo>
                      <a:pt x="2238263" y="10591658"/>
                    </a:lnTo>
                    <a:lnTo>
                      <a:pt x="2234820" y="10565641"/>
                    </a:lnTo>
                    <a:lnTo>
                      <a:pt x="2230732" y="10537514"/>
                    </a:lnTo>
                    <a:lnTo>
                      <a:pt x="2228748" y="10507290"/>
                    </a:lnTo>
                    <a:lnTo>
                      <a:pt x="2230144" y="10477679"/>
                    </a:lnTo>
                    <a:lnTo>
                      <a:pt x="2237728" y="10451405"/>
                    </a:lnTo>
                    <a:lnTo>
                      <a:pt x="2252845" y="10428468"/>
                    </a:lnTo>
                    <a:lnTo>
                      <a:pt x="2275537" y="10416373"/>
                    </a:lnTo>
                    <a:lnTo>
                      <a:pt x="2297314" y="10412364"/>
                    </a:lnTo>
                    <a:lnTo>
                      <a:pt x="2319117" y="10415258"/>
                    </a:lnTo>
                    <a:lnTo>
                      <a:pt x="2344579" y="10424591"/>
                    </a:lnTo>
                    <a:lnTo>
                      <a:pt x="2365090" y="10440847"/>
                    </a:lnTo>
                    <a:lnTo>
                      <a:pt x="2376881" y="10459886"/>
                    </a:lnTo>
                    <a:lnTo>
                      <a:pt x="2378966" y="10483265"/>
                    </a:lnTo>
                    <a:lnTo>
                      <a:pt x="2373083" y="10507093"/>
                    </a:lnTo>
                    <a:lnTo>
                      <a:pt x="2363718" y="10532944"/>
                    </a:lnTo>
                    <a:lnTo>
                      <a:pt x="2354486" y="10556713"/>
                    </a:lnTo>
                    <a:lnTo>
                      <a:pt x="2347804" y="10578502"/>
                    </a:lnTo>
                    <a:lnTo>
                      <a:pt x="2350404" y="10602963"/>
                    </a:lnTo>
                    <a:lnTo>
                      <a:pt x="2360625" y="10622424"/>
                    </a:lnTo>
                    <a:lnTo>
                      <a:pt x="2374488" y="10644839"/>
                    </a:lnTo>
                    <a:lnTo>
                      <a:pt x="2387130" y="10662812"/>
                    </a:lnTo>
                    <a:lnTo>
                      <a:pt x="2399607" y="10680775"/>
                    </a:lnTo>
                    <a:lnTo>
                      <a:pt x="2412732" y="10699248"/>
                    </a:lnTo>
                    <a:lnTo>
                      <a:pt x="2425209" y="10717213"/>
                    </a:lnTo>
                    <a:lnTo>
                      <a:pt x="2444255" y="10740341"/>
                    </a:lnTo>
                    <a:lnTo>
                      <a:pt x="2459219" y="10758022"/>
                    </a:lnTo>
                    <a:lnTo>
                      <a:pt x="2479849" y="10772326"/>
                    </a:lnTo>
                    <a:lnTo>
                      <a:pt x="2500021" y="10779785"/>
                    </a:lnTo>
                    <a:lnTo>
                      <a:pt x="2528591" y="10786584"/>
                    </a:lnTo>
                    <a:lnTo>
                      <a:pt x="2557154" y="10789308"/>
                    </a:lnTo>
                    <a:lnTo>
                      <a:pt x="2584357" y="10785232"/>
                    </a:lnTo>
                    <a:lnTo>
                      <a:pt x="2608838" y="10777075"/>
                    </a:lnTo>
                    <a:lnTo>
                      <a:pt x="2631966" y="10762111"/>
                    </a:lnTo>
                    <a:lnTo>
                      <a:pt x="2652364" y="10743064"/>
                    </a:lnTo>
                    <a:lnTo>
                      <a:pt x="2670045" y="10717226"/>
                    </a:lnTo>
                    <a:lnTo>
                      <a:pt x="2683796" y="10691638"/>
                    </a:lnTo>
                    <a:lnTo>
                      <a:pt x="2696649" y="10663120"/>
                    </a:lnTo>
                    <a:lnTo>
                      <a:pt x="2712213" y="10636972"/>
                    </a:lnTo>
                    <a:lnTo>
                      <a:pt x="2727776" y="10610823"/>
                    </a:lnTo>
                    <a:lnTo>
                      <a:pt x="2746071" y="10586350"/>
                    </a:lnTo>
                    <a:lnTo>
                      <a:pt x="2769344" y="10567601"/>
                    </a:lnTo>
                    <a:lnTo>
                      <a:pt x="2801555" y="10557339"/>
                    </a:lnTo>
                    <a:lnTo>
                      <a:pt x="2834633" y="10566243"/>
                    </a:lnTo>
                    <a:lnTo>
                      <a:pt x="2864389" y="10579781"/>
                    </a:lnTo>
                    <a:lnTo>
                      <a:pt x="2890400" y="10577124"/>
                    </a:lnTo>
                    <a:lnTo>
                      <a:pt x="2935629" y="10547137"/>
                    </a:lnTo>
                    <a:lnTo>
                      <a:pt x="2972428" y="10547433"/>
                    </a:lnTo>
                    <a:lnTo>
                      <a:pt x="2984781" y="10567950"/>
                    </a:lnTo>
                    <a:lnTo>
                      <a:pt x="2996499" y="10590730"/>
                    </a:lnTo>
                    <a:lnTo>
                      <a:pt x="3008212" y="10613502"/>
                    </a:lnTo>
                    <a:lnTo>
                      <a:pt x="3020471" y="10638258"/>
                    </a:lnTo>
                    <a:lnTo>
                      <a:pt x="3041385" y="10647853"/>
                    </a:lnTo>
                    <a:lnTo>
                      <a:pt x="3062732" y="10657654"/>
                    </a:lnTo>
                    <a:lnTo>
                      <a:pt x="3086460" y="10654377"/>
                    </a:lnTo>
                    <a:lnTo>
                      <a:pt x="3110750" y="10649213"/>
                    </a:lnTo>
                    <a:lnTo>
                      <a:pt x="3135044" y="10644049"/>
                    </a:lnTo>
                    <a:lnTo>
                      <a:pt x="3159261" y="10637579"/>
                    </a:lnTo>
                    <a:lnTo>
                      <a:pt x="3182844" y="10639689"/>
                    </a:lnTo>
                    <a:lnTo>
                      <a:pt x="3227795" y="10659673"/>
                    </a:lnTo>
                    <a:lnTo>
                      <a:pt x="3282521" y="10663919"/>
                    </a:lnTo>
                    <a:lnTo>
                      <a:pt x="3333420" y="10669829"/>
                    </a:lnTo>
                    <a:lnTo>
                      <a:pt x="3382789" y="10670976"/>
                    </a:lnTo>
                    <a:lnTo>
                      <a:pt x="3406406" y="10671503"/>
                    </a:lnTo>
                    <a:lnTo>
                      <a:pt x="3438562" y="10653295"/>
                    </a:lnTo>
                    <a:lnTo>
                      <a:pt x="3463365" y="10627107"/>
                    </a:lnTo>
                    <a:lnTo>
                      <a:pt x="3484482" y="10595148"/>
                    </a:lnTo>
                    <a:lnTo>
                      <a:pt x="3507935" y="10564883"/>
                    </a:lnTo>
                    <a:lnTo>
                      <a:pt x="3537381" y="10541464"/>
                    </a:lnTo>
                    <a:lnTo>
                      <a:pt x="3559618" y="10537680"/>
                    </a:lnTo>
                    <a:lnTo>
                      <a:pt x="3586663" y="10533069"/>
                    </a:lnTo>
                    <a:lnTo>
                      <a:pt x="3615384" y="10544478"/>
                    </a:lnTo>
                    <a:lnTo>
                      <a:pt x="3639297" y="10565457"/>
                    </a:lnTo>
                    <a:lnTo>
                      <a:pt x="3658911" y="10579840"/>
                    </a:lnTo>
                    <a:lnTo>
                      <a:pt x="3689544" y="10602302"/>
                    </a:lnTo>
                    <a:lnTo>
                      <a:pt x="3718700" y="10614339"/>
                    </a:lnTo>
                    <a:lnTo>
                      <a:pt x="3754129" y="10627450"/>
                    </a:lnTo>
                    <a:lnTo>
                      <a:pt x="3799356" y="10642176"/>
                    </a:lnTo>
                    <a:lnTo>
                      <a:pt x="3820776" y="10639689"/>
                    </a:lnTo>
                    <a:lnTo>
                      <a:pt x="3846971" y="10627304"/>
                    </a:lnTo>
                    <a:lnTo>
                      <a:pt x="3876193" y="10608555"/>
                    </a:lnTo>
                    <a:lnTo>
                      <a:pt x="3896948" y="10586646"/>
                    </a:lnTo>
                    <a:lnTo>
                      <a:pt x="3912980" y="10540911"/>
                    </a:lnTo>
                    <a:lnTo>
                      <a:pt x="3918235" y="10506156"/>
                    </a:lnTo>
                    <a:lnTo>
                      <a:pt x="3907830" y="10481907"/>
                    </a:lnTo>
                    <a:lnTo>
                      <a:pt x="3893610" y="10459649"/>
                    </a:lnTo>
                    <a:lnTo>
                      <a:pt x="3864916" y="10447039"/>
                    </a:lnTo>
                    <a:lnTo>
                      <a:pt x="3820776" y="10443821"/>
                    </a:lnTo>
                    <a:lnTo>
                      <a:pt x="3804236" y="10424102"/>
                    </a:lnTo>
                    <a:lnTo>
                      <a:pt x="3796508" y="10400980"/>
                    </a:lnTo>
                    <a:lnTo>
                      <a:pt x="3804447" y="10378532"/>
                    </a:lnTo>
                    <a:lnTo>
                      <a:pt x="3830168" y="10356029"/>
                    </a:lnTo>
                    <a:lnTo>
                      <a:pt x="3860340" y="10341191"/>
                    </a:lnTo>
                    <a:lnTo>
                      <a:pt x="3892865" y="10333646"/>
                    </a:lnTo>
                    <a:lnTo>
                      <a:pt x="3930389" y="10333317"/>
                    </a:lnTo>
                    <a:lnTo>
                      <a:pt x="3961426" y="10342160"/>
                    </a:lnTo>
                    <a:lnTo>
                      <a:pt x="3986718" y="10358127"/>
                    </a:lnTo>
                    <a:lnTo>
                      <a:pt x="4010842" y="10375775"/>
                    </a:lnTo>
                    <a:lnTo>
                      <a:pt x="4029776" y="10400862"/>
                    </a:lnTo>
                    <a:lnTo>
                      <a:pt x="4047925" y="10422058"/>
                    </a:lnTo>
                    <a:lnTo>
                      <a:pt x="4066074" y="10443253"/>
                    </a:lnTo>
                    <a:lnTo>
                      <a:pt x="4083788" y="10460855"/>
                    </a:lnTo>
                    <a:lnTo>
                      <a:pt x="4106414" y="10466943"/>
                    </a:lnTo>
                    <a:lnTo>
                      <a:pt x="4130111" y="10469818"/>
                    </a:lnTo>
                    <a:lnTo>
                      <a:pt x="4158890" y="10461350"/>
                    </a:lnTo>
                    <a:lnTo>
                      <a:pt x="4194826" y="10439739"/>
                    </a:lnTo>
                    <a:lnTo>
                      <a:pt x="4207937" y="10416095"/>
                    </a:lnTo>
                    <a:lnTo>
                      <a:pt x="4213602" y="10387468"/>
                    </a:lnTo>
                    <a:lnTo>
                      <a:pt x="4224754" y="10363568"/>
                    </a:lnTo>
                    <a:lnTo>
                      <a:pt x="4237079" y="10341218"/>
                    </a:lnTo>
                    <a:lnTo>
                      <a:pt x="4255948" y="10323352"/>
                    </a:lnTo>
                    <a:lnTo>
                      <a:pt x="4284602" y="10311883"/>
                    </a:lnTo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96" name="Vinnytsia¬0" descr="Vinnytsia¬0">
                <a:extLst>
                  <a:ext uri="{FF2B5EF4-FFF2-40B4-BE49-F238E27FC236}">
                    <a16:creationId xmlns:a16="http://schemas.microsoft.com/office/drawing/2014/main" id="{06EE4904-B98B-46B3-88C7-CE78A63149CF}"/>
                  </a:ext>
                </a:extLst>
              </p:cNvPr>
              <p:cNvSpPr/>
              <p:nvPr/>
            </p:nvSpPr>
            <p:spPr>
              <a:xfrm>
                <a:off x="18292232" y="13124582"/>
                <a:ext cx="9483300" cy="9842102"/>
              </a:xfrm>
              <a:custGeom>
                <a:avLst/>
                <a:gdLst/>
                <a:ahLst/>
                <a:cxnLst/>
                <a:rect l="0" t="0" r="0" b="0"/>
                <a:pathLst>
                  <a:path w="9483300" h="9842096">
                    <a:moveTo>
                      <a:pt x="7272498" y="1213760"/>
                    </a:moveTo>
                    <a:lnTo>
                      <a:pt x="7244529" y="1209664"/>
                    </a:lnTo>
                    <a:lnTo>
                      <a:pt x="7211580" y="1208245"/>
                    </a:lnTo>
                    <a:lnTo>
                      <a:pt x="7188504" y="1209585"/>
                    </a:lnTo>
                    <a:lnTo>
                      <a:pt x="7139630" y="1239512"/>
                    </a:lnTo>
                    <a:lnTo>
                      <a:pt x="7122905" y="1271465"/>
                    </a:lnTo>
                    <a:lnTo>
                      <a:pt x="7101610" y="1303047"/>
                    </a:lnTo>
                    <a:lnTo>
                      <a:pt x="7078996" y="1333819"/>
                    </a:lnTo>
                    <a:lnTo>
                      <a:pt x="7062160" y="1349297"/>
                    </a:lnTo>
                    <a:lnTo>
                      <a:pt x="7045330" y="1364769"/>
                    </a:lnTo>
                    <a:lnTo>
                      <a:pt x="7023211" y="1379898"/>
                    </a:lnTo>
                    <a:lnTo>
                      <a:pt x="6992795" y="1394183"/>
                    </a:lnTo>
                    <a:lnTo>
                      <a:pt x="6962551" y="1403019"/>
                    </a:lnTo>
                    <a:lnTo>
                      <a:pt x="6933263" y="1398944"/>
                    </a:lnTo>
                    <a:lnTo>
                      <a:pt x="6905742" y="1387383"/>
                    </a:lnTo>
                    <a:lnTo>
                      <a:pt x="6878281" y="1375275"/>
                    </a:lnTo>
                    <a:lnTo>
                      <a:pt x="6852449" y="1360912"/>
                    </a:lnTo>
                    <a:lnTo>
                      <a:pt x="6829571" y="1364254"/>
                    </a:lnTo>
                    <a:lnTo>
                      <a:pt x="6806864" y="1367578"/>
                    </a:lnTo>
                    <a:lnTo>
                      <a:pt x="6782728" y="1374682"/>
                    </a:lnTo>
                    <a:lnTo>
                      <a:pt x="6758841" y="1383301"/>
                    </a:lnTo>
                    <a:lnTo>
                      <a:pt x="6734954" y="1391921"/>
                    </a:lnTo>
                    <a:lnTo>
                      <a:pt x="6711766" y="1401629"/>
                    </a:lnTo>
                    <a:lnTo>
                      <a:pt x="6690828" y="1410504"/>
                    </a:lnTo>
                    <a:lnTo>
                      <a:pt x="6669776" y="1435625"/>
                    </a:lnTo>
                    <a:lnTo>
                      <a:pt x="6664849" y="1462011"/>
                    </a:lnTo>
                    <a:lnTo>
                      <a:pt x="6663623" y="1489392"/>
                    </a:lnTo>
                    <a:lnTo>
                      <a:pt x="6662397" y="1516781"/>
                    </a:lnTo>
                    <a:lnTo>
                      <a:pt x="6664732" y="1544863"/>
                    </a:lnTo>
                    <a:lnTo>
                      <a:pt x="6659547" y="1573728"/>
                    </a:lnTo>
                    <a:lnTo>
                      <a:pt x="6576069" y="1556661"/>
                    </a:lnTo>
                    <a:lnTo>
                      <a:pt x="6550732" y="1554683"/>
                    </a:lnTo>
                    <a:lnTo>
                      <a:pt x="6514578" y="1551860"/>
                    </a:lnTo>
                    <a:lnTo>
                      <a:pt x="6481427" y="1561422"/>
                    </a:lnTo>
                    <a:lnTo>
                      <a:pt x="6445998" y="1564205"/>
                    </a:lnTo>
                    <a:lnTo>
                      <a:pt x="6404344" y="1567502"/>
                    </a:lnTo>
                    <a:lnTo>
                      <a:pt x="6362474" y="1566013"/>
                    </a:lnTo>
                    <a:lnTo>
                      <a:pt x="6320860" y="1569646"/>
                    </a:lnTo>
                    <a:lnTo>
                      <a:pt x="6272084" y="1573900"/>
                    </a:lnTo>
                    <a:lnTo>
                      <a:pt x="6226921" y="1584887"/>
                    </a:lnTo>
                    <a:lnTo>
                      <a:pt x="6176682" y="1583252"/>
                    </a:lnTo>
                    <a:lnTo>
                      <a:pt x="6144480" y="1582190"/>
                    </a:lnTo>
                    <a:lnTo>
                      <a:pt x="6117255" y="1569073"/>
                    </a:lnTo>
                    <a:lnTo>
                      <a:pt x="6086905" y="1562847"/>
                    </a:lnTo>
                    <a:lnTo>
                      <a:pt x="6025613" y="1550303"/>
                    </a:lnTo>
                    <a:lnTo>
                      <a:pt x="5965717" y="1541400"/>
                    </a:lnTo>
                    <a:lnTo>
                      <a:pt x="5904642" y="1526120"/>
                    </a:lnTo>
                    <a:lnTo>
                      <a:pt x="5850082" y="1550964"/>
                    </a:lnTo>
                    <a:lnTo>
                      <a:pt x="5805290" y="1560816"/>
                    </a:lnTo>
                    <a:lnTo>
                      <a:pt x="5760590" y="1557287"/>
                    </a:lnTo>
                    <a:lnTo>
                      <a:pt x="5721014" y="1542442"/>
                    </a:lnTo>
                    <a:lnTo>
                      <a:pt x="5701223" y="1535016"/>
                    </a:lnTo>
                    <a:lnTo>
                      <a:pt x="5682123" y="1524986"/>
                    </a:lnTo>
                    <a:lnTo>
                      <a:pt x="5651082" y="1500057"/>
                    </a:lnTo>
                    <a:lnTo>
                      <a:pt x="5631237" y="1467629"/>
                    </a:lnTo>
                    <a:lnTo>
                      <a:pt x="5647402" y="1437946"/>
                    </a:lnTo>
                    <a:lnTo>
                      <a:pt x="5663883" y="1420028"/>
                    </a:lnTo>
                    <a:lnTo>
                      <a:pt x="5680362" y="1402103"/>
                    </a:lnTo>
                    <a:lnTo>
                      <a:pt x="5698459" y="1383056"/>
                    </a:lnTo>
                    <a:lnTo>
                      <a:pt x="5711036" y="1345097"/>
                    </a:lnTo>
                    <a:lnTo>
                      <a:pt x="5687334" y="1319225"/>
                    </a:lnTo>
                    <a:lnTo>
                      <a:pt x="5665241" y="1286726"/>
                    </a:lnTo>
                    <a:lnTo>
                      <a:pt x="5643958" y="1252505"/>
                    </a:lnTo>
                    <a:lnTo>
                      <a:pt x="5638036" y="1232317"/>
                    </a:lnTo>
                    <a:lnTo>
                      <a:pt x="5632120" y="1212130"/>
                    </a:lnTo>
                    <a:lnTo>
                      <a:pt x="5630894" y="1190426"/>
                    </a:lnTo>
                    <a:lnTo>
                      <a:pt x="5638036" y="1165670"/>
                    </a:lnTo>
                    <a:lnTo>
                      <a:pt x="5616279" y="1144110"/>
                    </a:lnTo>
                    <a:lnTo>
                      <a:pt x="5594247" y="1137291"/>
                    </a:lnTo>
                    <a:lnTo>
                      <a:pt x="5574113" y="1128942"/>
                    </a:lnTo>
                    <a:lnTo>
                      <a:pt x="5553978" y="1120593"/>
                    </a:lnTo>
                    <a:lnTo>
                      <a:pt x="5527862" y="1096297"/>
                    </a:lnTo>
                    <a:lnTo>
                      <a:pt x="5530454" y="1049520"/>
                    </a:lnTo>
                    <a:lnTo>
                      <a:pt x="5550990" y="1017409"/>
                    </a:lnTo>
                    <a:lnTo>
                      <a:pt x="5571521" y="985299"/>
                    </a:lnTo>
                    <a:lnTo>
                      <a:pt x="5602041" y="949106"/>
                    </a:lnTo>
                    <a:lnTo>
                      <a:pt x="5632602" y="914034"/>
                    </a:lnTo>
                    <a:lnTo>
                      <a:pt x="5663157" y="878955"/>
                    </a:lnTo>
                    <a:lnTo>
                      <a:pt x="5694568" y="844227"/>
                    </a:lnTo>
                    <a:lnTo>
                      <a:pt x="5716932" y="816100"/>
                    </a:lnTo>
                    <a:lnTo>
                      <a:pt x="5739295" y="787965"/>
                    </a:lnTo>
                    <a:lnTo>
                      <a:pt x="5752266" y="766164"/>
                    </a:lnTo>
                    <a:lnTo>
                      <a:pt x="5724687" y="742125"/>
                    </a:lnTo>
                    <a:lnTo>
                      <a:pt x="5699296" y="732549"/>
                    </a:lnTo>
                    <a:lnTo>
                      <a:pt x="5674764" y="720883"/>
                    </a:lnTo>
                    <a:lnTo>
                      <a:pt x="5650231" y="709217"/>
                    </a:lnTo>
                    <a:lnTo>
                      <a:pt x="5627221" y="695334"/>
                    </a:lnTo>
                    <a:lnTo>
                      <a:pt x="5606757" y="677357"/>
                    </a:lnTo>
                    <a:lnTo>
                      <a:pt x="5567920" y="624281"/>
                    </a:lnTo>
                    <a:lnTo>
                      <a:pt x="5546908" y="582145"/>
                    </a:lnTo>
                    <a:lnTo>
                      <a:pt x="5525890" y="540004"/>
                    </a:lnTo>
                    <a:lnTo>
                      <a:pt x="5507286" y="495844"/>
                    </a:lnTo>
                    <a:lnTo>
                      <a:pt x="5495118" y="453242"/>
                    </a:lnTo>
                    <a:lnTo>
                      <a:pt x="5508374" y="428082"/>
                    </a:lnTo>
                    <a:lnTo>
                      <a:pt x="5506092" y="403958"/>
                    </a:lnTo>
                    <a:lnTo>
                      <a:pt x="5503672" y="378600"/>
                    </a:lnTo>
                    <a:lnTo>
                      <a:pt x="5481822" y="342704"/>
                    </a:lnTo>
                    <a:lnTo>
                      <a:pt x="5484335" y="319622"/>
                    </a:lnTo>
                    <a:lnTo>
                      <a:pt x="5487726" y="288554"/>
                    </a:lnTo>
                    <a:lnTo>
                      <a:pt x="5527243" y="227043"/>
                    </a:lnTo>
                    <a:lnTo>
                      <a:pt x="5508585" y="193937"/>
                    </a:lnTo>
                    <a:lnTo>
                      <a:pt x="5483967" y="179553"/>
                    </a:lnTo>
                    <a:lnTo>
                      <a:pt x="5457125" y="168645"/>
                    </a:lnTo>
                    <a:lnTo>
                      <a:pt x="5430291" y="157737"/>
                    </a:lnTo>
                    <a:lnTo>
                      <a:pt x="5401702" y="149177"/>
                    </a:lnTo>
                    <a:lnTo>
                      <a:pt x="5379596" y="145516"/>
                    </a:lnTo>
                    <a:lnTo>
                      <a:pt x="5409286" y="71792"/>
                    </a:lnTo>
                    <a:lnTo>
                      <a:pt x="5402723" y="47583"/>
                    </a:lnTo>
                    <a:lnTo>
                      <a:pt x="5367949" y="35962"/>
                    </a:lnTo>
                    <a:lnTo>
                      <a:pt x="5109000" y="0"/>
                    </a:lnTo>
                    <a:lnTo>
                      <a:pt x="5091141" y="24111"/>
                    </a:lnTo>
                    <a:lnTo>
                      <a:pt x="5086003" y="49145"/>
                    </a:lnTo>
                    <a:lnTo>
                      <a:pt x="5080352" y="73428"/>
                    </a:lnTo>
                    <a:lnTo>
                      <a:pt x="5074706" y="97710"/>
                    </a:lnTo>
                    <a:lnTo>
                      <a:pt x="5068269" y="121597"/>
                    </a:lnTo>
                    <a:lnTo>
                      <a:pt x="5051790" y="138717"/>
                    </a:lnTo>
                    <a:lnTo>
                      <a:pt x="5023953" y="167636"/>
                    </a:lnTo>
                    <a:lnTo>
                      <a:pt x="4983836" y="181221"/>
                    </a:lnTo>
                    <a:lnTo>
                      <a:pt x="4945691" y="194484"/>
                    </a:lnTo>
                    <a:lnTo>
                      <a:pt x="4907552" y="207753"/>
                    </a:lnTo>
                    <a:lnTo>
                      <a:pt x="4870765" y="221253"/>
                    </a:lnTo>
                    <a:lnTo>
                      <a:pt x="4847763" y="250257"/>
                    </a:lnTo>
                    <a:lnTo>
                      <a:pt x="4828439" y="274612"/>
                    </a:lnTo>
                    <a:lnTo>
                      <a:pt x="4810970" y="319965"/>
                    </a:lnTo>
                    <a:lnTo>
                      <a:pt x="4796072" y="348191"/>
                    </a:lnTo>
                    <a:lnTo>
                      <a:pt x="4781642" y="375560"/>
                    </a:lnTo>
                    <a:lnTo>
                      <a:pt x="4780112" y="414608"/>
                    </a:lnTo>
                    <a:lnTo>
                      <a:pt x="4762068" y="442044"/>
                    </a:lnTo>
                    <a:lnTo>
                      <a:pt x="4746385" y="465877"/>
                    </a:lnTo>
                    <a:lnTo>
                      <a:pt x="4721398" y="477036"/>
                    </a:lnTo>
                    <a:lnTo>
                      <a:pt x="4692697" y="480128"/>
                    </a:lnTo>
                    <a:lnTo>
                      <a:pt x="4663996" y="483221"/>
                    </a:lnTo>
                    <a:lnTo>
                      <a:pt x="4631595" y="478474"/>
                    </a:lnTo>
                    <a:lnTo>
                      <a:pt x="4597480" y="470607"/>
                    </a:lnTo>
                    <a:lnTo>
                      <a:pt x="4529256" y="454883"/>
                    </a:lnTo>
                    <a:lnTo>
                      <a:pt x="4456705" y="427898"/>
                    </a:lnTo>
                    <a:lnTo>
                      <a:pt x="4412492" y="427079"/>
                    </a:lnTo>
                    <a:lnTo>
                      <a:pt x="4389753" y="433285"/>
                    </a:lnTo>
                    <a:lnTo>
                      <a:pt x="4327246" y="479832"/>
                    </a:lnTo>
                    <a:lnTo>
                      <a:pt x="4285996" y="491010"/>
                    </a:lnTo>
                    <a:lnTo>
                      <a:pt x="4194867" y="515491"/>
                    </a:lnTo>
                    <a:lnTo>
                      <a:pt x="4188233" y="488888"/>
                    </a:lnTo>
                    <a:lnTo>
                      <a:pt x="4146797" y="444160"/>
                    </a:lnTo>
                    <a:lnTo>
                      <a:pt x="4126854" y="427079"/>
                    </a:lnTo>
                    <a:lnTo>
                      <a:pt x="4095983" y="400640"/>
                    </a:lnTo>
                    <a:lnTo>
                      <a:pt x="4071636" y="390122"/>
                    </a:lnTo>
                    <a:lnTo>
                      <a:pt x="4049324" y="387635"/>
                    </a:lnTo>
                    <a:lnTo>
                      <a:pt x="4027014" y="385150"/>
                    </a:lnTo>
                    <a:lnTo>
                      <a:pt x="4007123" y="391751"/>
                    </a:lnTo>
                    <a:lnTo>
                      <a:pt x="3971828" y="410723"/>
                    </a:lnTo>
                    <a:lnTo>
                      <a:pt x="3939151" y="432520"/>
                    </a:lnTo>
                    <a:lnTo>
                      <a:pt x="3904778" y="448631"/>
                    </a:lnTo>
                    <a:lnTo>
                      <a:pt x="3857367" y="442703"/>
                    </a:lnTo>
                    <a:lnTo>
                      <a:pt x="3823502" y="422330"/>
                    </a:lnTo>
                    <a:lnTo>
                      <a:pt x="3789524" y="406676"/>
                    </a:lnTo>
                    <a:lnTo>
                      <a:pt x="3755384" y="392667"/>
                    </a:lnTo>
                    <a:lnTo>
                      <a:pt x="3723015" y="385320"/>
                    </a:lnTo>
                    <a:lnTo>
                      <a:pt x="3694308" y="390353"/>
                    </a:lnTo>
                    <a:lnTo>
                      <a:pt x="3670519" y="409286"/>
                    </a:lnTo>
                    <a:lnTo>
                      <a:pt x="3658946" y="428439"/>
                    </a:lnTo>
                    <a:lnTo>
                      <a:pt x="3647372" y="447589"/>
                    </a:lnTo>
                    <a:lnTo>
                      <a:pt x="3634538" y="471245"/>
                    </a:lnTo>
                    <a:lnTo>
                      <a:pt x="3620860" y="495086"/>
                    </a:lnTo>
                    <a:lnTo>
                      <a:pt x="3607182" y="518934"/>
                    </a:lnTo>
                    <a:lnTo>
                      <a:pt x="3592001" y="542873"/>
                    </a:lnTo>
                    <a:lnTo>
                      <a:pt x="3573252" y="561741"/>
                    </a:lnTo>
                    <a:lnTo>
                      <a:pt x="3554509" y="580609"/>
                    </a:lnTo>
                    <a:lnTo>
                      <a:pt x="3532027" y="594233"/>
                    </a:lnTo>
                    <a:lnTo>
                      <a:pt x="3505245" y="598461"/>
                    </a:lnTo>
                    <a:lnTo>
                      <a:pt x="3475463" y="603163"/>
                    </a:lnTo>
                    <a:lnTo>
                      <a:pt x="3449254" y="600836"/>
                    </a:lnTo>
                    <a:lnTo>
                      <a:pt x="3423633" y="594385"/>
                    </a:lnTo>
                    <a:lnTo>
                      <a:pt x="3398012" y="587930"/>
                    </a:lnTo>
                    <a:lnTo>
                      <a:pt x="3373703" y="578195"/>
                    </a:lnTo>
                    <a:lnTo>
                      <a:pt x="3350179" y="565822"/>
                    </a:lnTo>
                    <a:lnTo>
                      <a:pt x="3303131" y="541086"/>
                    </a:lnTo>
                    <a:lnTo>
                      <a:pt x="3258417" y="509384"/>
                    </a:lnTo>
                    <a:lnTo>
                      <a:pt x="3207360" y="492376"/>
                    </a:lnTo>
                    <a:lnTo>
                      <a:pt x="3183947" y="484573"/>
                    </a:lnTo>
                    <a:lnTo>
                      <a:pt x="3162462" y="489579"/>
                    </a:lnTo>
                    <a:lnTo>
                      <a:pt x="3142071" y="499175"/>
                    </a:lnTo>
                    <a:lnTo>
                      <a:pt x="3121678" y="508770"/>
                    </a:lnTo>
                    <a:lnTo>
                      <a:pt x="3101855" y="523089"/>
                    </a:lnTo>
                    <a:lnTo>
                      <a:pt x="3082222" y="530462"/>
                    </a:lnTo>
                    <a:lnTo>
                      <a:pt x="3049979" y="542563"/>
                    </a:lnTo>
                    <a:lnTo>
                      <a:pt x="3018060" y="542892"/>
                    </a:lnTo>
                    <a:lnTo>
                      <a:pt x="2985646" y="546783"/>
                    </a:lnTo>
                    <a:lnTo>
                      <a:pt x="2931897" y="553240"/>
                    </a:lnTo>
                    <a:lnTo>
                      <a:pt x="2871264" y="565974"/>
                    </a:lnTo>
                    <a:lnTo>
                      <a:pt x="2816980" y="559024"/>
                    </a:lnTo>
                    <a:lnTo>
                      <a:pt x="2794413" y="556135"/>
                    </a:lnTo>
                    <a:lnTo>
                      <a:pt x="2771562" y="548867"/>
                    </a:lnTo>
                    <a:lnTo>
                      <a:pt x="2748974" y="546783"/>
                    </a:lnTo>
                    <a:lnTo>
                      <a:pt x="2728049" y="544852"/>
                    </a:lnTo>
                    <a:lnTo>
                      <a:pt x="2696538" y="550048"/>
                    </a:lnTo>
                    <a:lnTo>
                      <a:pt x="2664639" y="557659"/>
                    </a:lnTo>
                    <a:lnTo>
                      <a:pt x="2632745" y="565269"/>
                    </a:lnTo>
                    <a:lnTo>
                      <a:pt x="2601169" y="574371"/>
                    </a:lnTo>
                    <a:lnTo>
                      <a:pt x="2580310" y="579428"/>
                    </a:lnTo>
                    <a:lnTo>
                      <a:pt x="2540438" y="589097"/>
                    </a:lnTo>
                    <a:lnTo>
                      <a:pt x="2481669" y="613886"/>
                    </a:lnTo>
                    <a:lnTo>
                      <a:pt x="2422527" y="632471"/>
                    </a:lnTo>
                    <a:lnTo>
                      <a:pt x="2392955" y="641764"/>
                    </a:lnTo>
                    <a:lnTo>
                      <a:pt x="2362638" y="649123"/>
                    </a:lnTo>
                    <a:lnTo>
                      <a:pt x="2335473" y="652876"/>
                    </a:lnTo>
                    <a:lnTo>
                      <a:pt x="2308309" y="656628"/>
                    </a:lnTo>
                    <a:lnTo>
                      <a:pt x="2283322" y="657130"/>
                    </a:lnTo>
                    <a:lnTo>
                      <a:pt x="2263385" y="650152"/>
                    </a:lnTo>
                    <a:lnTo>
                      <a:pt x="2225807" y="635564"/>
                    </a:lnTo>
                    <a:lnTo>
                      <a:pt x="2186700" y="621213"/>
                    </a:lnTo>
                    <a:lnTo>
                      <a:pt x="2165885" y="614810"/>
                    </a:lnTo>
                    <a:lnTo>
                      <a:pt x="2110740" y="599338"/>
                    </a:lnTo>
                    <a:lnTo>
                      <a:pt x="2039073" y="606513"/>
                    </a:lnTo>
                    <a:lnTo>
                      <a:pt x="1966859" y="618866"/>
                    </a:lnTo>
                    <a:lnTo>
                      <a:pt x="1894645" y="631218"/>
                    </a:lnTo>
                    <a:lnTo>
                      <a:pt x="1822542" y="648265"/>
                    </a:lnTo>
                    <a:lnTo>
                      <a:pt x="1785953" y="655592"/>
                    </a:lnTo>
                    <a:lnTo>
                      <a:pt x="1752880" y="654571"/>
                    </a:lnTo>
                    <a:lnTo>
                      <a:pt x="1736611" y="671461"/>
                    </a:lnTo>
                    <a:lnTo>
                      <a:pt x="1728769" y="717348"/>
                    </a:lnTo>
                    <a:lnTo>
                      <a:pt x="1711346" y="743463"/>
                    </a:lnTo>
                    <a:lnTo>
                      <a:pt x="1669725" y="739243"/>
                    </a:lnTo>
                    <a:lnTo>
                      <a:pt x="1628171" y="737198"/>
                    </a:lnTo>
                    <a:lnTo>
                      <a:pt x="1586787" y="736803"/>
                    </a:lnTo>
                    <a:lnTo>
                      <a:pt x="1552574" y="740291"/>
                    </a:lnTo>
                    <a:lnTo>
                      <a:pt x="1534319" y="752161"/>
                    </a:lnTo>
                    <a:lnTo>
                      <a:pt x="1573222" y="772250"/>
                    </a:lnTo>
                    <a:lnTo>
                      <a:pt x="1598242" y="787524"/>
                    </a:lnTo>
                    <a:lnTo>
                      <a:pt x="1623264" y="802805"/>
                    </a:lnTo>
                    <a:lnTo>
                      <a:pt x="1645384" y="820267"/>
                    </a:lnTo>
                    <a:lnTo>
                      <a:pt x="1646353" y="852602"/>
                    </a:lnTo>
                    <a:lnTo>
                      <a:pt x="1623976" y="879978"/>
                    </a:lnTo>
                    <a:lnTo>
                      <a:pt x="1598242" y="904504"/>
                    </a:lnTo>
                    <a:lnTo>
                      <a:pt x="1572509" y="929024"/>
                    </a:lnTo>
                    <a:lnTo>
                      <a:pt x="1543657" y="950399"/>
                    </a:lnTo>
                    <a:lnTo>
                      <a:pt x="1504081" y="958648"/>
                    </a:lnTo>
                    <a:lnTo>
                      <a:pt x="1482819" y="952272"/>
                    </a:lnTo>
                    <a:lnTo>
                      <a:pt x="1460865" y="945306"/>
                    </a:lnTo>
                    <a:lnTo>
                      <a:pt x="1438903" y="938350"/>
                    </a:lnTo>
                    <a:lnTo>
                      <a:pt x="1416295" y="931358"/>
                    </a:lnTo>
                    <a:lnTo>
                      <a:pt x="1394216" y="931709"/>
                    </a:lnTo>
                    <a:lnTo>
                      <a:pt x="1364685" y="974450"/>
                    </a:lnTo>
                    <a:lnTo>
                      <a:pt x="1347966" y="1010597"/>
                    </a:lnTo>
                    <a:lnTo>
                      <a:pt x="1331254" y="1046743"/>
                    </a:lnTo>
                    <a:lnTo>
                      <a:pt x="1317425" y="1085495"/>
                    </a:lnTo>
                    <a:lnTo>
                      <a:pt x="1342934" y="1122571"/>
                    </a:lnTo>
                    <a:lnTo>
                      <a:pt x="1371880" y="1134456"/>
                    </a:lnTo>
                    <a:lnTo>
                      <a:pt x="1401016" y="1146616"/>
                    </a:lnTo>
                    <a:lnTo>
                      <a:pt x="1430152" y="1158785"/>
                    </a:lnTo>
                    <a:lnTo>
                      <a:pt x="1458972" y="1170945"/>
                    </a:lnTo>
                    <a:lnTo>
                      <a:pt x="1483986" y="1191508"/>
                    </a:lnTo>
                    <a:lnTo>
                      <a:pt x="1511369" y="1214009"/>
                    </a:lnTo>
                    <a:lnTo>
                      <a:pt x="1531087" y="1233379"/>
                    </a:lnTo>
                    <a:lnTo>
                      <a:pt x="1543835" y="1251357"/>
                    </a:lnTo>
                    <a:lnTo>
                      <a:pt x="1556583" y="1269328"/>
                    </a:lnTo>
                    <a:lnTo>
                      <a:pt x="1562880" y="1303041"/>
                    </a:lnTo>
                    <a:lnTo>
                      <a:pt x="1564972" y="1338231"/>
                    </a:lnTo>
                    <a:lnTo>
                      <a:pt x="1547825" y="1376461"/>
                    </a:lnTo>
                    <a:lnTo>
                      <a:pt x="1520714" y="1434979"/>
                    </a:lnTo>
                    <a:lnTo>
                      <a:pt x="1492006" y="1496958"/>
                    </a:lnTo>
                    <a:lnTo>
                      <a:pt x="1464393" y="1556912"/>
                    </a:lnTo>
                    <a:lnTo>
                      <a:pt x="1426861" y="1614524"/>
                    </a:lnTo>
                    <a:lnTo>
                      <a:pt x="1381336" y="1659311"/>
                    </a:lnTo>
                    <a:lnTo>
                      <a:pt x="1386052" y="1694778"/>
                    </a:lnTo>
                    <a:lnTo>
                      <a:pt x="1416382" y="1720702"/>
                    </a:lnTo>
                    <a:lnTo>
                      <a:pt x="1445504" y="1750473"/>
                    </a:lnTo>
                    <a:lnTo>
                      <a:pt x="1458635" y="1766952"/>
                    </a:lnTo>
                    <a:lnTo>
                      <a:pt x="1473402" y="1794777"/>
                    </a:lnTo>
                    <a:lnTo>
                      <a:pt x="1467664" y="1829440"/>
                    </a:lnTo>
                    <a:lnTo>
                      <a:pt x="1451447" y="1864934"/>
                    </a:lnTo>
                    <a:lnTo>
                      <a:pt x="1426755" y="1891879"/>
                    </a:lnTo>
                    <a:lnTo>
                      <a:pt x="1395574" y="1900170"/>
                    </a:lnTo>
                    <a:lnTo>
                      <a:pt x="1362534" y="1889374"/>
                    </a:lnTo>
                    <a:lnTo>
                      <a:pt x="1345249" y="1864802"/>
                    </a:lnTo>
                    <a:lnTo>
                      <a:pt x="1311820" y="1861787"/>
                    </a:lnTo>
                    <a:lnTo>
                      <a:pt x="1279386" y="1865250"/>
                    </a:lnTo>
                    <a:lnTo>
                      <a:pt x="1258197" y="1885205"/>
                    </a:lnTo>
                    <a:lnTo>
                      <a:pt x="1243470" y="1912990"/>
                    </a:lnTo>
                    <a:lnTo>
                      <a:pt x="1230518" y="1964305"/>
                    </a:lnTo>
                    <a:lnTo>
                      <a:pt x="1227932" y="2004271"/>
                    </a:lnTo>
                    <a:lnTo>
                      <a:pt x="1220111" y="2030749"/>
                    </a:lnTo>
                    <a:lnTo>
                      <a:pt x="1260254" y="2073747"/>
                    </a:lnTo>
                    <a:lnTo>
                      <a:pt x="1297641" y="2102837"/>
                    </a:lnTo>
                    <a:lnTo>
                      <a:pt x="1335028" y="2131928"/>
                    </a:lnTo>
                    <a:lnTo>
                      <a:pt x="1375394" y="2160055"/>
                    </a:lnTo>
                    <a:lnTo>
                      <a:pt x="1387417" y="2187173"/>
                    </a:lnTo>
                    <a:lnTo>
                      <a:pt x="1377360" y="2207935"/>
                    </a:lnTo>
                    <a:lnTo>
                      <a:pt x="1332053" y="2219542"/>
                    </a:lnTo>
                    <a:lnTo>
                      <a:pt x="1313964" y="2233417"/>
                    </a:lnTo>
                    <a:lnTo>
                      <a:pt x="1292853" y="2255787"/>
                    </a:lnTo>
                    <a:lnTo>
                      <a:pt x="1283389" y="2281784"/>
                    </a:lnTo>
                    <a:lnTo>
                      <a:pt x="1284041" y="2309587"/>
                    </a:lnTo>
                    <a:lnTo>
                      <a:pt x="1292846" y="2335473"/>
                    </a:lnTo>
                    <a:lnTo>
                      <a:pt x="1310614" y="2357157"/>
                    </a:lnTo>
                    <a:lnTo>
                      <a:pt x="1337091" y="2370802"/>
                    </a:lnTo>
                    <a:lnTo>
                      <a:pt x="1377301" y="2385753"/>
                    </a:lnTo>
                    <a:lnTo>
                      <a:pt x="1422120" y="2386319"/>
                    </a:lnTo>
                    <a:lnTo>
                      <a:pt x="1467671" y="2383042"/>
                    </a:lnTo>
                    <a:lnTo>
                      <a:pt x="1513227" y="2379764"/>
                    </a:lnTo>
                    <a:lnTo>
                      <a:pt x="1560006" y="2373591"/>
                    </a:lnTo>
                    <a:lnTo>
                      <a:pt x="1602332" y="2377602"/>
                    </a:lnTo>
                    <a:lnTo>
                      <a:pt x="1634488" y="2420376"/>
                    </a:lnTo>
                    <a:lnTo>
                      <a:pt x="1649940" y="2463296"/>
                    </a:lnTo>
                    <a:lnTo>
                      <a:pt x="1665392" y="2506208"/>
                    </a:lnTo>
                    <a:lnTo>
                      <a:pt x="1676484" y="2550974"/>
                    </a:lnTo>
                    <a:lnTo>
                      <a:pt x="1649261" y="2567415"/>
                    </a:lnTo>
                    <a:lnTo>
                      <a:pt x="1595731" y="2578621"/>
                    </a:lnTo>
                    <a:lnTo>
                      <a:pt x="1556082" y="2599315"/>
                    </a:lnTo>
                    <a:lnTo>
                      <a:pt x="1536263" y="2609662"/>
                    </a:lnTo>
                    <a:lnTo>
                      <a:pt x="1512555" y="2637401"/>
                    </a:lnTo>
                    <a:lnTo>
                      <a:pt x="1506310" y="2672630"/>
                    </a:lnTo>
                    <a:lnTo>
                      <a:pt x="1522078" y="2694527"/>
                    </a:lnTo>
                    <a:lnTo>
                      <a:pt x="1535077" y="2712577"/>
                    </a:lnTo>
                    <a:lnTo>
                      <a:pt x="1557447" y="2746216"/>
                    </a:lnTo>
                    <a:lnTo>
                      <a:pt x="1560191" y="2780531"/>
                    </a:lnTo>
                    <a:lnTo>
                      <a:pt x="1560138" y="2820713"/>
                    </a:lnTo>
                    <a:lnTo>
                      <a:pt x="1572404" y="2849592"/>
                    </a:lnTo>
                    <a:lnTo>
                      <a:pt x="1599608" y="2867273"/>
                    </a:lnTo>
                    <a:lnTo>
                      <a:pt x="1635121" y="2870214"/>
                    </a:lnTo>
                    <a:lnTo>
                      <a:pt x="1671940" y="2878999"/>
                    </a:lnTo>
                    <a:lnTo>
                      <a:pt x="1690742" y="2901277"/>
                    </a:lnTo>
                    <a:lnTo>
                      <a:pt x="1698723" y="2927564"/>
                    </a:lnTo>
                    <a:lnTo>
                      <a:pt x="1695188" y="2975212"/>
                    </a:lnTo>
                    <a:lnTo>
                      <a:pt x="1682856" y="3011496"/>
                    </a:lnTo>
                    <a:lnTo>
                      <a:pt x="1686660" y="3040020"/>
                    </a:lnTo>
                    <a:lnTo>
                      <a:pt x="1689952" y="3064671"/>
                    </a:lnTo>
                    <a:lnTo>
                      <a:pt x="1729000" y="3110131"/>
                    </a:lnTo>
                    <a:lnTo>
                      <a:pt x="1742427" y="3127072"/>
                    </a:lnTo>
                    <a:lnTo>
                      <a:pt x="1776424" y="3169346"/>
                    </a:lnTo>
                    <a:lnTo>
                      <a:pt x="1784754" y="3191623"/>
                    </a:lnTo>
                    <a:lnTo>
                      <a:pt x="1784397" y="3225739"/>
                    </a:lnTo>
                    <a:lnTo>
                      <a:pt x="1765549" y="3249487"/>
                    </a:lnTo>
                    <a:lnTo>
                      <a:pt x="1740113" y="3271481"/>
                    </a:lnTo>
                    <a:lnTo>
                      <a:pt x="1714821" y="3300947"/>
                    </a:lnTo>
                    <a:lnTo>
                      <a:pt x="1703504" y="3319313"/>
                    </a:lnTo>
                    <a:lnTo>
                      <a:pt x="1698901" y="3346062"/>
                    </a:lnTo>
                    <a:lnTo>
                      <a:pt x="1694305" y="3373629"/>
                    </a:lnTo>
                    <a:lnTo>
                      <a:pt x="1703445" y="3418205"/>
                    </a:lnTo>
                    <a:lnTo>
                      <a:pt x="1718165" y="3442441"/>
                    </a:lnTo>
                    <a:lnTo>
                      <a:pt x="1734270" y="3464402"/>
                    </a:lnTo>
                    <a:lnTo>
                      <a:pt x="1750380" y="3486356"/>
                    </a:lnTo>
                    <a:lnTo>
                      <a:pt x="1767555" y="3506438"/>
                    </a:lnTo>
                    <a:lnTo>
                      <a:pt x="1780520" y="3536491"/>
                    </a:lnTo>
                    <a:lnTo>
                      <a:pt x="1791935" y="3562956"/>
                    </a:lnTo>
                    <a:lnTo>
                      <a:pt x="1792818" y="3590529"/>
                    </a:lnTo>
                    <a:lnTo>
                      <a:pt x="1791401" y="3618103"/>
                    </a:lnTo>
                    <a:lnTo>
                      <a:pt x="1789983" y="3645676"/>
                    </a:lnTo>
                    <a:lnTo>
                      <a:pt x="1786805" y="3672946"/>
                    </a:lnTo>
                    <a:lnTo>
                      <a:pt x="1792759" y="3699715"/>
                    </a:lnTo>
                    <a:lnTo>
                      <a:pt x="1806865" y="3738782"/>
                    </a:lnTo>
                    <a:lnTo>
                      <a:pt x="1814522" y="3763646"/>
                    </a:lnTo>
                    <a:lnTo>
                      <a:pt x="1822179" y="3788508"/>
                    </a:lnTo>
                    <a:lnTo>
                      <a:pt x="1826954" y="3812368"/>
                    </a:lnTo>
                    <a:lnTo>
                      <a:pt x="1811093" y="3834950"/>
                    </a:lnTo>
                    <a:lnTo>
                      <a:pt x="1789053" y="3854958"/>
                    </a:lnTo>
                    <a:lnTo>
                      <a:pt x="1712902" y="3853957"/>
                    </a:lnTo>
                    <a:lnTo>
                      <a:pt x="1682506" y="3850969"/>
                    </a:lnTo>
                    <a:lnTo>
                      <a:pt x="1654010" y="3854774"/>
                    </a:lnTo>
                    <a:lnTo>
                      <a:pt x="1625520" y="3858580"/>
                    </a:lnTo>
                    <a:lnTo>
                      <a:pt x="1599331" y="3869171"/>
                    </a:lnTo>
                    <a:lnTo>
                      <a:pt x="1543835" y="3894224"/>
                    </a:lnTo>
                    <a:lnTo>
                      <a:pt x="1523436" y="3909181"/>
                    </a:lnTo>
                    <a:lnTo>
                      <a:pt x="1507056" y="3924714"/>
                    </a:lnTo>
                    <a:lnTo>
                      <a:pt x="1486511" y="3958710"/>
                    </a:lnTo>
                    <a:lnTo>
                      <a:pt x="1471430" y="3988710"/>
                    </a:lnTo>
                    <a:lnTo>
                      <a:pt x="1451341" y="4008481"/>
                    </a:lnTo>
                    <a:lnTo>
                      <a:pt x="1430099" y="4025272"/>
                    </a:lnTo>
                    <a:lnTo>
                      <a:pt x="1401859" y="4032493"/>
                    </a:lnTo>
                    <a:lnTo>
                      <a:pt x="1364289" y="4027521"/>
                    </a:lnTo>
                    <a:lnTo>
                      <a:pt x="1339361" y="4021723"/>
                    </a:lnTo>
                    <a:lnTo>
                      <a:pt x="1301340" y="4006140"/>
                    </a:lnTo>
                    <a:lnTo>
                      <a:pt x="1279960" y="3992159"/>
                    </a:lnTo>
                    <a:lnTo>
                      <a:pt x="1256324" y="3976707"/>
                    </a:lnTo>
                    <a:lnTo>
                      <a:pt x="1236665" y="3951073"/>
                    </a:lnTo>
                    <a:lnTo>
                      <a:pt x="1213305" y="3935034"/>
                    </a:lnTo>
                    <a:lnTo>
                      <a:pt x="1195710" y="3922926"/>
                    </a:lnTo>
                    <a:lnTo>
                      <a:pt x="1173980" y="3920735"/>
                    </a:lnTo>
                    <a:lnTo>
                      <a:pt x="1152098" y="3918705"/>
                    </a:lnTo>
                    <a:lnTo>
                      <a:pt x="1130223" y="3916674"/>
                    </a:lnTo>
                    <a:lnTo>
                      <a:pt x="1108999" y="3915454"/>
                    </a:lnTo>
                    <a:lnTo>
                      <a:pt x="1089532" y="3906465"/>
                    </a:lnTo>
                    <a:lnTo>
                      <a:pt x="1051552" y="3888954"/>
                    </a:lnTo>
                    <a:lnTo>
                      <a:pt x="1019414" y="3845153"/>
                    </a:lnTo>
                    <a:lnTo>
                      <a:pt x="983433" y="3833017"/>
                    </a:lnTo>
                    <a:lnTo>
                      <a:pt x="935824" y="3816081"/>
                    </a:lnTo>
                    <a:lnTo>
                      <a:pt x="901821" y="3807172"/>
                    </a:lnTo>
                    <a:lnTo>
                      <a:pt x="867817" y="3798256"/>
                    </a:lnTo>
                    <a:lnTo>
                      <a:pt x="835074" y="3792174"/>
                    </a:lnTo>
                    <a:lnTo>
                      <a:pt x="800603" y="3831698"/>
                    </a:lnTo>
                    <a:lnTo>
                      <a:pt x="789537" y="3870278"/>
                    </a:lnTo>
                    <a:lnTo>
                      <a:pt x="776683" y="3906465"/>
                    </a:lnTo>
                    <a:lnTo>
                      <a:pt x="763836" y="3942650"/>
                    </a:lnTo>
                    <a:lnTo>
                      <a:pt x="748252" y="3976503"/>
                    </a:lnTo>
                    <a:lnTo>
                      <a:pt x="716834" y="4000317"/>
                    </a:lnTo>
                    <a:lnTo>
                      <a:pt x="691022" y="4002605"/>
                    </a:lnTo>
                    <a:lnTo>
                      <a:pt x="665763" y="3997244"/>
                    </a:lnTo>
                    <a:lnTo>
                      <a:pt x="640664" y="3990801"/>
                    </a:lnTo>
                    <a:lnTo>
                      <a:pt x="615569" y="3984364"/>
                    </a:lnTo>
                    <a:lnTo>
                      <a:pt x="591498" y="3977182"/>
                    </a:lnTo>
                    <a:lnTo>
                      <a:pt x="565850" y="3975836"/>
                    </a:lnTo>
                    <a:lnTo>
                      <a:pt x="524559" y="3973667"/>
                    </a:lnTo>
                    <a:lnTo>
                      <a:pt x="480842" y="3976713"/>
                    </a:lnTo>
                    <a:lnTo>
                      <a:pt x="439354" y="3977196"/>
                    </a:lnTo>
                    <a:lnTo>
                      <a:pt x="421845" y="3989989"/>
                    </a:lnTo>
                    <a:lnTo>
                      <a:pt x="403055" y="4032625"/>
                    </a:lnTo>
                    <a:lnTo>
                      <a:pt x="412901" y="4088793"/>
                    </a:lnTo>
                    <a:lnTo>
                      <a:pt x="395827" y="4110491"/>
                    </a:lnTo>
                    <a:lnTo>
                      <a:pt x="380297" y="4130282"/>
                    </a:lnTo>
                    <a:lnTo>
                      <a:pt x="352301" y="4166265"/>
                    </a:lnTo>
                    <a:lnTo>
                      <a:pt x="344717" y="4186412"/>
                    </a:lnTo>
                    <a:lnTo>
                      <a:pt x="358189" y="4224920"/>
                    </a:lnTo>
                    <a:lnTo>
                      <a:pt x="363189" y="4262834"/>
                    </a:lnTo>
                    <a:lnTo>
                      <a:pt x="314538" y="4274064"/>
                    </a:lnTo>
                    <a:lnTo>
                      <a:pt x="291297" y="4278608"/>
                    </a:lnTo>
                    <a:lnTo>
                      <a:pt x="260975" y="4296038"/>
                    </a:lnTo>
                    <a:lnTo>
                      <a:pt x="248933" y="4324047"/>
                    </a:lnTo>
                    <a:lnTo>
                      <a:pt x="239277" y="4354866"/>
                    </a:lnTo>
                    <a:lnTo>
                      <a:pt x="240556" y="4396223"/>
                    </a:lnTo>
                    <a:lnTo>
                      <a:pt x="214928" y="4435580"/>
                    </a:lnTo>
                    <a:lnTo>
                      <a:pt x="193713" y="4468159"/>
                    </a:lnTo>
                    <a:lnTo>
                      <a:pt x="147021" y="4483591"/>
                    </a:lnTo>
                    <a:lnTo>
                      <a:pt x="115637" y="4526716"/>
                    </a:lnTo>
                    <a:lnTo>
                      <a:pt x="82180" y="4539978"/>
                    </a:lnTo>
                    <a:lnTo>
                      <a:pt x="83043" y="4584045"/>
                    </a:lnTo>
                    <a:lnTo>
                      <a:pt x="78137" y="4607570"/>
                    </a:lnTo>
                    <a:lnTo>
                      <a:pt x="68027" y="4628733"/>
                    </a:lnTo>
                    <a:lnTo>
                      <a:pt x="57904" y="4649888"/>
                    </a:lnTo>
                    <a:lnTo>
                      <a:pt x="42057" y="4668921"/>
                    </a:lnTo>
                    <a:lnTo>
                      <a:pt x="24501" y="4691298"/>
                    </a:lnTo>
                    <a:lnTo>
                      <a:pt x="20426" y="4739586"/>
                    </a:lnTo>
                    <a:lnTo>
                      <a:pt x="34848" y="4757629"/>
                    </a:lnTo>
                    <a:lnTo>
                      <a:pt x="65865" y="4791369"/>
                    </a:lnTo>
                    <a:lnTo>
                      <a:pt x="87066" y="4827317"/>
                    </a:lnTo>
                    <a:lnTo>
                      <a:pt x="104675" y="4864593"/>
                    </a:lnTo>
                    <a:lnTo>
                      <a:pt x="107544" y="4896143"/>
                    </a:lnTo>
                    <a:lnTo>
                      <a:pt x="87066" y="4915729"/>
                    </a:lnTo>
                    <a:lnTo>
                      <a:pt x="21771" y="4945656"/>
                    </a:lnTo>
                    <a:lnTo>
                      <a:pt x="7558" y="4964867"/>
                    </a:lnTo>
                    <a:lnTo>
                      <a:pt x="628" y="4997169"/>
                    </a:lnTo>
                    <a:lnTo>
                      <a:pt x="4090" y="5021828"/>
                    </a:lnTo>
                    <a:lnTo>
                      <a:pt x="22047" y="5056319"/>
                    </a:lnTo>
                    <a:lnTo>
                      <a:pt x="43581" y="5092242"/>
                    </a:lnTo>
                    <a:lnTo>
                      <a:pt x="58498" y="5127919"/>
                    </a:lnTo>
                    <a:lnTo>
                      <a:pt x="111995" y="5315928"/>
                    </a:lnTo>
                    <a:lnTo>
                      <a:pt x="107023" y="5348830"/>
                    </a:lnTo>
                    <a:lnTo>
                      <a:pt x="97737" y="5369504"/>
                    </a:lnTo>
                    <a:lnTo>
                      <a:pt x="93866" y="5390443"/>
                    </a:lnTo>
                    <a:lnTo>
                      <a:pt x="85820" y="5434147"/>
                    </a:lnTo>
                    <a:lnTo>
                      <a:pt x="89012" y="5482713"/>
                    </a:lnTo>
                    <a:lnTo>
                      <a:pt x="96584" y="5530538"/>
                    </a:lnTo>
                    <a:lnTo>
                      <a:pt x="104154" y="5578372"/>
                    </a:lnTo>
                    <a:lnTo>
                      <a:pt x="116038" y="5625524"/>
                    </a:lnTo>
                    <a:lnTo>
                      <a:pt x="127862" y="5667923"/>
                    </a:lnTo>
                    <a:lnTo>
                      <a:pt x="135712" y="5696038"/>
                    </a:lnTo>
                    <a:lnTo>
                      <a:pt x="147319" y="5726321"/>
                    </a:lnTo>
                    <a:lnTo>
                      <a:pt x="157791" y="5753611"/>
                    </a:lnTo>
                    <a:lnTo>
                      <a:pt x="166721" y="5773191"/>
                    </a:lnTo>
                    <a:lnTo>
                      <a:pt x="178790" y="5791162"/>
                    </a:lnTo>
                    <a:lnTo>
                      <a:pt x="190435" y="5809385"/>
                    </a:lnTo>
                    <a:lnTo>
                      <a:pt x="204035" y="5836589"/>
                    </a:lnTo>
                    <a:lnTo>
                      <a:pt x="205393" y="5867868"/>
                    </a:lnTo>
                    <a:lnTo>
                      <a:pt x="184481" y="5882430"/>
                    </a:lnTo>
                    <a:lnTo>
                      <a:pt x="160126" y="5877985"/>
                    </a:lnTo>
                    <a:lnTo>
                      <a:pt x="110327" y="5859710"/>
                    </a:lnTo>
                    <a:lnTo>
                      <a:pt x="85702" y="5882839"/>
                    </a:lnTo>
                    <a:lnTo>
                      <a:pt x="96926" y="5974309"/>
                    </a:lnTo>
                    <a:lnTo>
                      <a:pt x="100659" y="6001171"/>
                    </a:lnTo>
                    <a:lnTo>
                      <a:pt x="111494" y="6023936"/>
                    </a:lnTo>
                    <a:lnTo>
                      <a:pt x="118063" y="6050712"/>
                    </a:lnTo>
                    <a:lnTo>
                      <a:pt x="107459" y="6074624"/>
                    </a:lnTo>
                    <a:lnTo>
                      <a:pt x="98602" y="6102218"/>
                    </a:lnTo>
                    <a:lnTo>
                      <a:pt x="96128" y="6131473"/>
                    </a:lnTo>
                    <a:lnTo>
                      <a:pt x="96578" y="6161678"/>
                    </a:lnTo>
                    <a:lnTo>
                      <a:pt x="97038" y="6191882"/>
                    </a:lnTo>
                    <a:lnTo>
                      <a:pt x="100013" y="6221843"/>
                    </a:lnTo>
                    <a:lnTo>
                      <a:pt x="99294" y="6250089"/>
                    </a:lnTo>
                    <a:lnTo>
                      <a:pt x="98509" y="6280788"/>
                    </a:lnTo>
                    <a:lnTo>
                      <a:pt x="92812" y="6311554"/>
                    </a:lnTo>
                    <a:lnTo>
                      <a:pt x="84330" y="6341223"/>
                    </a:lnTo>
                    <a:lnTo>
                      <a:pt x="75849" y="6370888"/>
                    </a:lnTo>
                    <a:lnTo>
                      <a:pt x="64552" y="6400294"/>
                    </a:lnTo>
                    <a:lnTo>
                      <a:pt x="53050" y="6429635"/>
                    </a:lnTo>
                    <a:lnTo>
                      <a:pt x="41542" y="6458976"/>
                    </a:lnTo>
                    <a:lnTo>
                      <a:pt x="28899" y="6488329"/>
                    </a:lnTo>
                    <a:lnTo>
                      <a:pt x="19047" y="6518047"/>
                    </a:lnTo>
                    <a:lnTo>
                      <a:pt x="10440" y="6547848"/>
                    </a:lnTo>
                    <a:lnTo>
                      <a:pt x="4453" y="6572685"/>
                    </a:lnTo>
                    <a:lnTo>
                      <a:pt x="0" y="6607823"/>
                    </a:lnTo>
                    <a:lnTo>
                      <a:pt x="36062" y="6611120"/>
                    </a:lnTo>
                    <a:lnTo>
                      <a:pt x="73198" y="6626466"/>
                    </a:lnTo>
                    <a:lnTo>
                      <a:pt x="91941" y="6638787"/>
                    </a:lnTo>
                    <a:lnTo>
                      <a:pt x="110175" y="6651349"/>
                    </a:lnTo>
                    <a:lnTo>
                      <a:pt x="146652" y="6676470"/>
                    </a:lnTo>
                    <a:lnTo>
                      <a:pt x="180814" y="6706245"/>
                    </a:lnTo>
                    <a:lnTo>
                      <a:pt x="206751" y="6726161"/>
                    </a:lnTo>
                    <a:lnTo>
                      <a:pt x="235169" y="6746086"/>
                    </a:lnTo>
                    <a:lnTo>
                      <a:pt x="262670" y="6766073"/>
                    </a:lnTo>
                    <a:lnTo>
                      <a:pt x="285647" y="6794168"/>
                    </a:lnTo>
                    <a:lnTo>
                      <a:pt x="300808" y="6817706"/>
                    </a:lnTo>
                    <a:lnTo>
                      <a:pt x="312197" y="6846921"/>
                    </a:lnTo>
                    <a:lnTo>
                      <a:pt x="321007" y="6877140"/>
                    </a:lnTo>
                    <a:lnTo>
                      <a:pt x="329825" y="6907356"/>
                    </a:lnTo>
                    <a:lnTo>
                      <a:pt x="336163" y="6937753"/>
                    </a:lnTo>
                    <a:lnTo>
                      <a:pt x="344130" y="6964192"/>
                    </a:lnTo>
                    <a:lnTo>
                      <a:pt x="357352" y="7005555"/>
                    </a:lnTo>
                    <a:lnTo>
                      <a:pt x="363175" y="7026765"/>
                    </a:lnTo>
                    <a:lnTo>
                      <a:pt x="369000" y="7047973"/>
                    </a:lnTo>
                    <a:lnTo>
                      <a:pt x="372996" y="7069948"/>
                    </a:lnTo>
                    <a:lnTo>
                      <a:pt x="376774" y="7090695"/>
                    </a:lnTo>
                    <a:lnTo>
                      <a:pt x="382222" y="7120563"/>
                    </a:lnTo>
                    <a:lnTo>
                      <a:pt x="393136" y="7189796"/>
                    </a:lnTo>
                    <a:lnTo>
                      <a:pt x="406703" y="7257994"/>
                    </a:lnTo>
                    <a:lnTo>
                      <a:pt x="420268" y="7326199"/>
                    </a:lnTo>
                    <a:lnTo>
                      <a:pt x="436498" y="7392748"/>
                    </a:lnTo>
                    <a:lnTo>
                      <a:pt x="455669" y="7417136"/>
                    </a:lnTo>
                    <a:lnTo>
                      <a:pt x="485802" y="7440654"/>
                    </a:lnTo>
                    <a:lnTo>
                      <a:pt x="505994" y="7447064"/>
                    </a:lnTo>
                    <a:lnTo>
                      <a:pt x="577299" y="7447954"/>
                    </a:lnTo>
                    <a:lnTo>
                      <a:pt x="674593" y="7425492"/>
                    </a:lnTo>
                    <a:lnTo>
                      <a:pt x="720904" y="7395373"/>
                    </a:lnTo>
                    <a:lnTo>
                      <a:pt x="749215" y="7376966"/>
                    </a:lnTo>
                    <a:lnTo>
                      <a:pt x="767575" y="7342007"/>
                    </a:lnTo>
                    <a:lnTo>
                      <a:pt x="805238" y="7338248"/>
                    </a:lnTo>
                    <a:lnTo>
                      <a:pt x="867996" y="7372779"/>
                    </a:lnTo>
                    <a:lnTo>
                      <a:pt x="794614" y="7462555"/>
                    </a:lnTo>
                    <a:lnTo>
                      <a:pt x="832443" y="7508272"/>
                    </a:lnTo>
                    <a:lnTo>
                      <a:pt x="897369" y="7536194"/>
                    </a:lnTo>
                    <a:lnTo>
                      <a:pt x="1009925" y="7588011"/>
                    </a:lnTo>
                    <a:lnTo>
                      <a:pt x="1058240" y="7591242"/>
                    </a:lnTo>
                    <a:lnTo>
                      <a:pt x="1229192" y="7555537"/>
                    </a:lnTo>
                    <a:lnTo>
                      <a:pt x="1295464" y="7529118"/>
                    </a:lnTo>
                    <a:lnTo>
                      <a:pt x="1305620" y="7505996"/>
                    </a:lnTo>
                    <a:lnTo>
                      <a:pt x="1369723" y="7531393"/>
                    </a:lnTo>
                    <a:lnTo>
                      <a:pt x="1402751" y="7539339"/>
                    </a:lnTo>
                    <a:lnTo>
                      <a:pt x="1435012" y="7566755"/>
                    </a:lnTo>
                    <a:lnTo>
                      <a:pt x="1454157" y="7589369"/>
                    </a:lnTo>
                    <a:lnTo>
                      <a:pt x="1487786" y="7613051"/>
                    </a:lnTo>
                    <a:lnTo>
                      <a:pt x="1499959" y="7644838"/>
                    </a:lnTo>
                    <a:lnTo>
                      <a:pt x="1516624" y="7666054"/>
                    </a:lnTo>
                    <a:lnTo>
                      <a:pt x="1541488" y="7696147"/>
                    </a:lnTo>
                    <a:lnTo>
                      <a:pt x="1566099" y="7722203"/>
                    </a:lnTo>
                    <a:lnTo>
                      <a:pt x="1605036" y="7734061"/>
                    </a:lnTo>
                    <a:lnTo>
                      <a:pt x="1636361" y="7743584"/>
                    </a:lnTo>
                    <a:lnTo>
                      <a:pt x="1663566" y="7759312"/>
                    </a:lnTo>
                    <a:lnTo>
                      <a:pt x="1693448" y="7770787"/>
                    </a:lnTo>
                    <a:lnTo>
                      <a:pt x="1715659" y="7773979"/>
                    </a:lnTo>
                    <a:lnTo>
                      <a:pt x="1787814" y="7808233"/>
                    </a:lnTo>
                    <a:lnTo>
                      <a:pt x="1786943" y="7973628"/>
                    </a:lnTo>
                    <a:lnTo>
                      <a:pt x="1872993" y="8034663"/>
                    </a:lnTo>
                    <a:lnTo>
                      <a:pt x="1897500" y="8073263"/>
                    </a:lnTo>
                    <a:lnTo>
                      <a:pt x="1954163" y="8102716"/>
                    </a:lnTo>
                    <a:lnTo>
                      <a:pt x="1988608" y="8132604"/>
                    </a:lnTo>
                    <a:lnTo>
                      <a:pt x="2089774" y="8220290"/>
                    </a:lnTo>
                    <a:lnTo>
                      <a:pt x="2165504" y="8186326"/>
                    </a:lnTo>
                    <a:lnTo>
                      <a:pt x="2200799" y="8210134"/>
                    </a:lnTo>
                    <a:lnTo>
                      <a:pt x="2237276" y="8234700"/>
                    </a:lnTo>
                    <a:lnTo>
                      <a:pt x="2282286" y="8234826"/>
                    </a:lnTo>
                    <a:lnTo>
                      <a:pt x="2324580" y="8237337"/>
                    </a:lnTo>
                    <a:lnTo>
                      <a:pt x="2408954" y="8242310"/>
                    </a:lnTo>
                    <a:lnTo>
                      <a:pt x="2489993" y="8236230"/>
                    </a:lnTo>
                    <a:lnTo>
                      <a:pt x="2531330" y="8320309"/>
                    </a:lnTo>
                    <a:lnTo>
                      <a:pt x="2550758" y="8359798"/>
                    </a:lnTo>
                    <a:lnTo>
                      <a:pt x="2548970" y="8408297"/>
                    </a:lnTo>
                    <a:lnTo>
                      <a:pt x="2538135" y="8450887"/>
                    </a:lnTo>
                    <a:lnTo>
                      <a:pt x="2526377" y="8497045"/>
                    </a:lnTo>
                    <a:lnTo>
                      <a:pt x="2512759" y="8530330"/>
                    </a:lnTo>
                    <a:lnTo>
                      <a:pt x="2501409" y="8581467"/>
                    </a:lnTo>
                    <a:lnTo>
                      <a:pt x="2467999" y="8719438"/>
                    </a:lnTo>
                    <a:lnTo>
                      <a:pt x="2624634" y="8722583"/>
                    </a:lnTo>
                    <a:lnTo>
                      <a:pt x="2670073" y="8668519"/>
                    </a:lnTo>
                    <a:lnTo>
                      <a:pt x="2690134" y="8644672"/>
                    </a:lnTo>
                    <a:lnTo>
                      <a:pt x="2701676" y="8608414"/>
                    </a:lnTo>
                    <a:lnTo>
                      <a:pt x="2717675" y="8581467"/>
                    </a:lnTo>
                    <a:lnTo>
                      <a:pt x="2746686" y="8532499"/>
                    </a:lnTo>
                    <a:lnTo>
                      <a:pt x="2820286" y="8526419"/>
                    </a:lnTo>
                    <a:lnTo>
                      <a:pt x="2844179" y="8581467"/>
                    </a:lnTo>
                    <a:lnTo>
                      <a:pt x="2863178" y="8646717"/>
                    </a:lnTo>
                    <a:lnTo>
                      <a:pt x="2819566" y="8746049"/>
                    </a:lnTo>
                    <a:lnTo>
                      <a:pt x="2887705" y="8784135"/>
                    </a:lnTo>
                    <a:lnTo>
                      <a:pt x="3005786" y="8850103"/>
                    </a:lnTo>
                    <a:lnTo>
                      <a:pt x="3031988" y="8816358"/>
                    </a:lnTo>
                    <a:lnTo>
                      <a:pt x="3118936" y="8736525"/>
                    </a:lnTo>
                    <a:lnTo>
                      <a:pt x="3139341" y="8717743"/>
                    </a:lnTo>
                    <a:lnTo>
                      <a:pt x="3166505" y="8704778"/>
                    </a:lnTo>
                    <a:lnTo>
                      <a:pt x="3186949" y="8686200"/>
                    </a:lnTo>
                    <a:lnTo>
                      <a:pt x="3210005" y="8660572"/>
                    </a:lnTo>
                    <a:lnTo>
                      <a:pt x="3283220" y="8619763"/>
                    </a:lnTo>
                    <a:lnTo>
                      <a:pt x="3314276" y="8685950"/>
                    </a:lnTo>
                    <a:lnTo>
                      <a:pt x="3351531" y="8668519"/>
                    </a:lnTo>
                    <a:lnTo>
                      <a:pt x="3388620" y="8630090"/>
                    </a:lnTo>
                    <a:lnTo>
                      <a:pt x="3417863" y="8612923"/>
                    </a:lnTo>
                    <a:lnTo>
                      <a:pt x="3442857" y="8615477"/>
                    </a:lnTo>
                    <a:lnTo>
                      <a:pt x="3493671" y="8662181"/>
                    </a:lnTo>
                    <a:lnTo>
                      <a:pt x="3499429" y="8691218"/>
                    </a:lnTo>
                    <a:lnTo>
                      <a:pt x="3512031" y="8736525"/>
                    </a:lnTo>
                    <a:lnTo>
                      <a:pt x="3522787" y="8775165"/>
                    </a:lnTo>
                    <a:lnTo>
                      <a:pt x="3516944" y="8803010"/>
                    </a:lnTo>
                    <a:lnTo>
                      <a:pt x="3509313" y="8841266"/>
                    </a:lnTo>
                    <a:lnTo>
                      <a:pt x="3491904" y="8928490"/>
                    </a:lnTo>
                    <a:lnTo>
                      <a:pt x="3456714" y="8963978"/>
                    </a:lnTo>
                    <a:lnTo>
                      <a:pt x="3389617" y="9018088"/>
                    </a:lnTo>
                    <a:lnTo>
                      <a:pt x="3369595" y="9028799"/>
                    </a:lnTo>
                    <a:lnTo>
                      <a:pt x="3352632" y="9045339"/>
                    </a:lnTo>
                    <a:lnTo>
                      <a:pt x="3337925" y="9064338"/>
                    </a:lnTo>
                    <a:lnTo>
                      <a:pt x="3310425" y="9085805"/>
                    </a:lnTo>
                    <a:lnTo>
                      <a:pt x="3291187" y="9134772"/>
                    </a:lnTo>
                    <a:lnTo>
                      <a:pt x="3303005" y="9154069"/>
                    </a:lnTo>
                    <a:lnTo>
                      <a:pt x="3314804" y="9182678"/>
                    </a:lnTo>
                    <a:lnTo>
                      <a:pt x="3327790" y="9214088"/>
                    </a:lnTo>
                    <a:lnTo>
                      <a:pt x="3344006" y="9228281"/>
                    </a:lnTo>
                    <a:lnTo>
                      <a:pt x="3378728" y="9233003"/>
                    </a:lnTo>
                    <a:lnTo>
                      <a:pt x="3493262" y="9248514"/>
                    </a:lnTo>
                    <a:lnTo>
                      <a:pt x="3478363" y="9083806"/>
                    </a:lnTo>
                    <a:lnTo>
                      <a:pt x="3600443" y="9020812"/>
                    </a:lnTo>
                    <a:lnTo>
                      <a:pt x="3623353" y="9008955"/>
                    </a:lnTo>
                    <a:lnTo>
                      <a:pt x="3648967" y="8998963"/>
                    </a:lnTo>
                    <a:lnTo>
                      <a:pt x="3675255" y="9005848"/>
                    </a:lnTo>
                    <a:lnTo>
                      <a:pt x="3711534" y="9041890"/>
                    </a:lnTo>
                    <a:lnTo>
                      <a:pt x="3755039" y="9139527"/>
                    </a:lnTo>
                    <a:lnTo>
                      <a:pt x="3741902" y="9190836"/>
                    </a:lnTo>
                    <a:lnTo>
                      <a:pt x="3736166" y="9213278"/>
                    </a:lnTo>
                    <a:lnTo>
                      <a:pt x="3698779" y="9223863"/>
                    </a:lnTo>
                    <a:lnTo>
                      <a:pt x="3683413" y="9253408"/>
                    </a:lnTo>
                    <a:lnTo>
                      <a:pt x="3699379" y="9302968"/>
                    </a:lnTo>
                    <a:lnTo>
                      <a:pt x="3744139" y="9418070"/>
                    </a:lnTo>
                    <a:lnTo>
                      <a:pt x="3730810" y="9464194"/>
                    </a:lnTo>
                    <a:lnTo>
                      <a:pt x="3828956" y="9525448"/>
                    </a:lnTo>
                    <a:lnTo>
                      <a:pt x="3849255" y="9493310"/>
                    </a:lnTo>
                    <a:lnTo>
                      <a:pt x="3866724" y="9422962"/>
                    </a:lnTo>
                    <a:lnTo>
                      <a:pt x="3856199" y="9318394"/>
                    </a:lnTo>
                    <a:lnTo>
                      <a:pt x="3882005" y="9273806"/>
                    </a:lnTo>
                    <a:lnTo>
                      <a:pt x="3897160" y="9251364"/>
                    </a:lnTo>
                    <a:lnTo>
                      <a:pt x="4135962" y="9054776"/>
                    </a:lnTo>
                    <a:lnTo>
                      <a:pt x="4166371" y="9039470"/>
                    </a:lnTo>
                    <a:lnTo>
                      <a:pt x="4188134" y="9036324"/>
                    </a:lnTo>
                    <a:lnTo>
                      <a:pt x="4219335" y="9043934"/>
                    </a:lnTo>
                    <a:lnTo>
                      <a:pt x="4269086" y="9053793"/>
                    </a:lnTo>
                    <a:lnTo>
                      <a:pt x="4316655" y="9072878"/>
                    </a:lnTo>
                    <a:lnTo>
                      <a:pt x="4367594" y="9080661"/>
                    </a:lnTo>
                    <a:lnTo>
                      <a:pt x="4412480" y="9087546"/>
                    </a:lnTo>
                    <a:lnTo>
                      <a:pt x="4457964" y="9084064"/>
                    </a:lnTo>
                    <a:lnTo>
                      <a:pt x="4500898" y="9101066"/>
                    </a:lnTo>
                    <a:lnTo>
                      <a:pt x="4524276" y="9110332"/>
                    </a:lnTo>
                    <a:lnTo>
                      <a:pt x="4573072" y="9160064"/>
                    </a:lnTo>
                    <a:lnTo>
                      <a:pt x="4596108" y="9178596"/>
                    </a:lnTo>
                    <a:lnTo>
                      <a:pt x="4619230" y="9181312"/>
                    </a:lnTo>
                    <a:lnTo>
                      <a:pt x="4656662" y="9152196"/>
                    </a:lnTo>
                    <a:lnTo>
                      <a:pt x="4688344" y="9164991"/>
                    </a:lnTo>
                    <a:lnTo>
                      <a:pt x="4730769" y="9164991"/>
                    </a:lnTo>
                    <a:lnTo>
                      <a:pt x="4752236" y="9164991"/>
                    </a:lnTo>
                    <a:lnTo>
                      <a:pt x="4791976" y="9167714"/>
                    </a:lnTo>
                    <a:lnTo>
                      <a:pt x="4830616" y="9183436"/>
                    </a:lnTo>
                    <a:lnTo>
                      <a:pt x="4859971" y="9221356"/>
                    </a:lnTo>
                    <a:lnTo>
                      <a:pt x="4902157" y="9233003"/>
                    </a:lnTo>
                    <a:lnTo>
                      <a:pt x="4937499" y="9242777"/>
                    </a:lnTo>
                    <a:lnTo>
                      <a:pt x="4964578" y="9218594"/>
                    </a:lnTo>
                    <a:lnTo>
                      <a:pt x="5000086" y="9223480"/>
                    </a:lnTo>
                    <a:lnTo>
                      <a:pt x="5059749" y="9231684"/>
                    </a:lnTo>
                    <a:lnTo>
                      <a:pt x="5130749" y="9321797"/>
                    </a:lnTo>
                    <a:lnTo>
                      <a:pt x="5129306" y="9381263"/>
                    </a:lnTo>
                    <a:lnTo>
                      <a:pt x="5128627" y="9409825"/>
                    </a:lnTo>
                    <a:lnTo>
                      <a:pt x="5112389" y="9436351"/>
                    </a:lnTo>
                    <a:lnTo>
                      <a:pt x="5106183" y="9464234"/>
                    </a:lnTo>
                    <a:lnTo>
                      <a:pt x="5102339" y="9518259"/>
                    </a:lnTo>
                    <a:lnTo>
                      <a:pt x="5180041" y="9544276"/>
                    </a:lnTo>
                    <a:lnTo>
                      <a:pt x="5195955" y="9586655"/>
                    </a:lnTo>
                    <a:lnTo>
                      <a:pt x="5212217" y="9629964"/>
                    </a:lnTo>
                    <a:lnTo>
                      <a:pt x="5187070" y="9673708"/>
                    </a:lnTo>
                    <a:lnTo>
                      <a:pt x="5193237" y="9728116"/>
                    </a:lnTo>
                    <a:lnTo>
                      <a:pt x="5288830" y="9839821"/>
                    </a:lnTo>
                    <a:lnTo>
                      <a:pt x="5311655" y="9842095"/>
                    </a:lnTo>
                    <a:lnTo>
                      <a:pt x="5344214" y="9834207"/>
                    </a:lnTo>
                    <a:lnTo>
                      <a:pt x="5373245" y="9826623"/>
                    </a:lnTo>
                    <a:lnTo>
                      <a:pt x="5409008" y="9816013"/>
                    </a:lnTo>
                    <a:lnTo>
                      <a:pt x="5446231" y="9804286"/>
                    </a:lnTo>
                    <a:lnTo>
                      <a:pt x="5520667" y="9780823"/>
                    </a:lnTo>
                    <a:lnTo>
                      <a:pt x="5598124" y="9753189"/>
                    </a:lnTo>
                    <a:lnTo>
                      <a:pt x="5617613" y="9738997"/>
                    </a:lnTo>
                    <a:lnTo>
                      <a:pt x="5629027" y="9709643"/>
                    </a:lnTo>
                    <a:lnTo>
                      <a:pt x="5640734" y="9690030"/>
                    </a:lnTo>
                    <a:lnTo>
                      <a:pt x="5652446" y="9670417"/>
                    </a:lnTo>
                    <a:lnTo>
                      <a:pt x="5665300" y="9651299"/>
                    </a:lnTo>
                    <a:lnTo>
                      <a:pt x="5691791" y="9607402"/>
                    </a:lnTo>
                    <a:lnTo>
                      <a:pt x="5711029" y="9583167"/>
                    </a:lnTo>
                    <a:lnTo>
                      <a:pt x="5729145" y="9564892"/>
                    </a:lnTo>
                    <a:lnTo>
                      <a:pt x="5747268" y="9546611"/>
                    </a:lnTo>
                    <a:lnTo>
                      <a:pt x="5780837" y="9524082"/>
                    </a:lnTo>
                    <a:lnTo>
                      <a:pt x="5814523" y="9503579"/>
                    </a:lnTo>
                    <a:lnTo>
                      <a:pt x="5847861" y="9489907"/>
                    </a:lnTo>
                    <a:lnTo>
                      <a:pt x="5886934" y="9449269"/>
                    </a:lnTo>
                    <a:lnTo>
                      <a:pt x="5893464" y="9413104"/>
                    </a:lnTo>
                    <a:lnTo>
                      <a:pt x="5889652" y="9389422"/>
                    </a:lnTo>
                    <a:lnTo>
                      <a:pt x="5885840" y="9365746"/>
                    </a:lnTo>
                    <a:lnTo>
                      <a:pt x="5878718" y="9339261"/>
                    </a:lnTo>
                    <a:lnTo>
                      <a:pt x="5871965" y="9313250"/>
                    </a:lnTo>
                    <a:lnTo>
                      <a:pt x="5865218" y="9287247"/>
                    </a:lnTo>
                    <a:lnTo>
                      <a:pt x="5858999" y="9261982"/>
                    </a:lnTo>
                    <a:lnTo>
                      <a:pt x="5857007" y="9239803"/>
                    </a:lnTo>
                    <a:lnTo>
                      <a:pt x="5855009" y="9217625"/>
                    </a:lnTo>
                    <a:lnTo>
                      <a:pt x="5866523" y="9186754"/>
                    </a:lnTo>
                    <a:lnTo>
                      <a:pt x="5926366" y="9158988"/>
                    </a:lnTo>
                    <a:lnTo>
                      <a:pt x="5969898" y="9141868"/>
                    </a:lnTo>
                    <a:lnTo>
                      <a:pt x="6013438" y="9124748"/>
                    </a:lnTo>
                    <a:lnTo>
                      <a:pt x="6056530" y="9110516"/>
                    </a:lnTo>
                    <a:lnTo>
                      <a:pt x="6084888" y="9140358"/>
                    </a:lnTo>
                    <a:lnTo>
                      <a:pt x="6104488" y="9165808"/>
                    </a:lnTo>
                    <a:lnTo>
                      <a:pt x="6126323" y="9188112"/>
                    </a:lnTo>
                    <a:lnTo>
                      <a:pt x="6148159" y="9210422"/>
                    </a:lnTo>
                    <a:lnTo>
                      <a:pt x="6172388" y="9230069"/>
                    </a:lnTo>
                    <a:lnTo>
                      <a:pt x="6198413" y="9246603"/>
                    </a:lnTo>
                    <a:lnTo>
                      <a:pt x="6222900" y="9262924"/>
                    </a:lnTo>
                    <a:lnTo>
                      <a:pt x="6248745" y="9279247"/>
                    </a:lnTo>
                    <a:lnTo>
                      <a:pt x="6266268" y="9303430"/>
                    </a:lnTo>
                    <a:lnTo>
                      <a:pt x="6280183" y="9325793"/>
                    </a:lnTo>
                    <a:lnTo>
                      <a:pt x="6323551" y="9349978"/>
                    </a:lnTo>
                    <a:lnTo>
                      <a:pt x="6359994" y="9365172"/>
                    </a:lnTo>
                    <a:lnTo>
                      <a:pt x="6402273" y="9377089"/>
                    </a:lnTo>
                    <a:lnTo>
                      <a:pt x="6443248" y="9392144"/>
                    </a:lnTo>
                    <a:lnTo>
                      <a:pt x="6484222" y="9407194"/>
                    </a:lnTo>
                    <a:lnTo>
                      <a:pt x="6524061" y="9425086"/>
                    </a:lnTo>
                    <a:lnTo>
                      <a:pt x="6553428" y="9453353"/>
                    </a:lnTo>
                    <a:lnTo>
                      <a:pt x="6578081" y="9455351"/>
                    </a:lnTo>
                    <a:lnTo>
                      <a:pt x="6600550" y="9452185"/>
                    </a:lnTo>
                    <a:lnTo>
                      <a:pt x="6622795" y="9447911"/>
                    </a:lnTo>
                    <a:lnTo>
                      <a:pt x="6645038" y="9443645"/>
                    </a:lnTo>
                    <a:lnTo>
                      <a:pt x="6667184" y="9439490"/>
                    </a:lnTo>
                    <a:lnTo>
                      <a:pt x="6690808" y="9437030"/>
                    </a:lnTo>
                    <a:lnTo>
                      <a:pt x="6735013" y="9432433"/>
                    </a:lnTo>
                    <a:lnTo>
                      <a:pt x="6781639" y="9443150"/>
                    </a:lnTo>
                    <a:lnTo>
                      <a:pt x="6825469" y="9446553"/>
                    </a:lnTo>
                    <a:lnTo>
                      <a:pt x="6945101" y="9441963"/>
                    </a:lnTo>
                    <a:lnTo>
                      <a:pt x="6986193" y="9434754"/>
                    </a:lnTo>
                    <a:lnTo>
                      <a:pt x="7007732" y="9415267"/>
                    </a:lnTo>
                    <a:lnTo>
                      <a:pt x="7023936" y="9395759"/>
                    </a:lnTo>
                    <a:lnTo>
                      <a:pt x="7054957" y="9384534"/>
                    </a:lnTo>
                    <a:lnTo>
                      <a:pt x="7078358" y="9386664"/>
                    </a:lnTo>
                    <a:lnTo>
                      <a:pt x="7126995" y="9371873"/>
                    </a:lnTo>
                    <a:lnTo>
                      <a:pt x="7156388" y="9359704"/>
                    </a:lnTo>
                    <a:lnTo>
                      <a:pt x="7183196" y="9343178"/>
                    </a:lnTo>
                    <a:lnTo>
                      <a:pt x="7210012" y="9326650"/>
                    </a:lnTo>
                    <a:lnTo>
                      <a:pt x="7233588" y="9306049"/>
                    </a:lnTo>
                    <a:lnTo>
                      <a:pt x="7251209" y="9277888"/>
                    </a:lnTo>
                    <a:lnTo>
                      <a:pt x="7272972" y="9277888"/>
                    </a:lnTo>
                    <a:lnTo>
                      <a:pt x="7291590" y="9291744"/>
                    </a:lnTo>
                    <a:lnTo>
                      <a:pt x="7318920" y="9328511"/>
                    </a:lnTo>
                    <a:lnTo>
                      <a:pt x="7348800" y="9344879"/>
                    </a:lnTo>
                    <a:lnTo>
                      <a:pt x="7379065" y="9363582"/>
                    </a:lnTo>
                    <a:lnTo>
                      <a:pt x="7403953" y="9379009"/>
                    </a:lnTo>
                    <a:lnTo>
                      <a:pt x="7430497" y="9398476"/>
                    </a:lnTo>
                    <a:lnTo>
                      <a:pt x="7456595" y="9411185"/>
                    </a:lnTo>
                    <a:lnTo>
                      <a:pt x="7478194" y="9421730"/>
                    </a:lnTo>
                    <a:lnTo>
                      <a:pt x="7510455" y="9427117"/>
                    </a:lnTo>
                    <a:lnTo>
                      <a:pt x="7543647" y="9430230"/>
                    </a:lnTo>
                    <a:lnTo>
                      <a:pt x="7576845" y="9433343"/>
                    </a:lnTo>
                    <a:lnTo>
                      <a:pt x="7611035" y="9433931"/>
                    </a:lnTo>
                    <a:lnTo>
                      <a:pt x="7634783" y="9434306"/>
                    </a:lnTo>
                    <a:lnTo>
                      <a:pt x="7717903" y="9435751"/>
                    </a:lnTo>
                    <a:lnTo>
                      <a:pt x="7803771" y="9440723"/>
                    </a:lnTo>
                    <a:lnTo>
                      <a:pt x="7886423" y="9432948"/>
                    </a:lnTo>
                    <a:lnTo>
                      <a:pt x="7930054" y="9428872"/>
                    </a:lnTo>
                    <a:lnTo>
                      <a:pt x="8003148" y="9400561"/>
                    </a:lnTo>
                    <a:lnTo>
                      <a:pt x="8041992" y="9399031"/>
                    </a:lnTo>
                    <a:lnTo>
                      <a:pt x="8064797" y="9436476"/>
                    </a:lnTo>
                    <a:lnTo>
                      <a:pt x="8097250" y="9438388"/>
                    </a:lnTo>
                    <a:lnTo>
                      <a:pt x="8121736" y="9413901"/>
                    </a:lnTo>
                    <a:lnTo>
                      <a:pt x="8110750" y="9349806"/>
                    </a:lnTo>
                    <a:lnTo>
                      <a:pt x="8116421" y="9320009"/>
                    </a:lnTo>
                    <a:lnTo>
                      <a:pt x="8132619" y="9305092"/>
                    </a:lnTo>
                    <a:lnTo>
                      <a:pt x="8156993" y="9270297"/>
                    </a:lnTo>
                    <a:lnTo>
                      <a:pt x="8168843" y="9245620"/>
                    </a:lnTo>
                    <a:lnTo>
                      <a:pt x="8167981" y="9220756"/>
                    </a:lnTo>
                    <a:lnTo>
                      <a:pt x="8167116" y="9195894"/>
                    </a:lnTo>
                    <a:lnTo>
                      <a:pt x="8153371" y="9170088"/>
                    </a:lnTo>
                    <a:lnTo>
                      <a:pt x="8128535" y="9136420"/>
                    </a:lnTo>
                    <a:lnTo>
                      <a:pt x="8078210" y="9068414"/>
                    </a:lnTo>
                    <a:lnTo>
                      <a:pt x="8057213" y="9039958"/>
                    </a:lnTo>
                    <a:lnTo>
                      <a:pt x="8042525" y="9017224"/>
                    </a:lnTo>
                    <a:lnTo>
                      <a:pt x="8040125" y="8996325"/>
                    </a:lnTo>
                    <a:lnTo>
                      <a:pt x="8037725" y="8975419"/>
                    </a:lnTo>
                    <a:lnTo>
                      <a:pt x="8047985" y="8956050"/>
                    </a:lnTo>
                    <a:lnTo>
                      <a:pt x="8079568" y="8932394"/>
                    </a:lnTo>
                    <a:lnTo>
                      <a:pt x="8109278" y="8909867"/>
                    </a:lnTo>
                    <a:lnTo>
                      <a:pt x="8129893" y="8916072"/>
                    </a:lnTo>
                    <a:lnTo>
                      <a:pt x="8150425" y="8925766"/>
                    </a:lnTo>
                    <a:lnTo>
                      <a:pt x="8153867" y="8955642"/>
                    </a:lnTo>
                    <a:lnTo>
                      <a:pt x="8173419" y="8967756"/>
                    </a:lnTo>
                    <a:lnTo>
                      <a:pt x="8224991" y="8951652"/>
                    </a:lnTo>
                    <a:lnTo>
                      <a:pt x="8261839" y="8928312"/>
                    </a:lnTo>
                    <a:lnTo>
                      <a:pt x="8280259" y="8916646"/>
                    </a:lnTo>
                    <a:lnTo>
                      <a:pt x="8299886" y="8903865"/>
                    </a:lnTo>
                    <a:lnTo>
                      <a:pt x="8335320" y="8887470"/>
                    </a:lnTo>
                    <a:lnTo>
                      <a:pt x="8365212" y="8886144"/>
                    </a:lnTo>
                    <a:lnTo>
                      <a:pt x="8381193" y="8862897"/>
                    </a:lnTo>
                    <a:lnTo>
                      <a:pt x="8417730" y="8852484"/>
                    </a:lnTo>
                    <a:lnTo>
                      <a:pt x="8426421" y="8829019"/>
                    </a:lnTo>
                    <a:lnTo>
                      <a:pt x="8425063" y="8807256"/>
                    </a:lnTo>
                    <a:lnTo>
                      <a:pt x="8416899" y="8786851"/>
                    </a:lnTo>
                    <a:lnTo>
                      <a:pt x="8430284" y="8757670"/>
                    </a:lnTo>
                    <a:lnTo>
                      <a:pt x="8455201" y="8726264"/>
                    </a:lnTo>
                    <a:lnTo>
                      <a:pt x="8475389" y="8695717"/>
                    </a:lnTo>
                    <a:lnTo>
                      <a:pt x="8469953" y="8657631"/>
                    </a:lnTo>
                    <a:lnTo>
                      <a:pt x="8455985" y="8640221"/>
                    </a:lnTo>
                    <a:lnTo>
                      <a:pt x="8459889" y="8613762"/>
                    </a:lnTo>
                    <a:lnTo>
                      <a:pt x="8468660" y="8585159"/>
                    </a:lnTo>
                    <a:lnTo>
                      <a:pt x="8461796" y="8562420"/>
                    </a:lnTo>
                    <a:lnTo>
                      <a:pt x="8439723" y="8547754"/>
                    </a:lnTo>
                    <a:lnTo>
                      <a:pt x="8399858" y="8542998"/>
                    </a:lnTo>
                    <a:lnTo>
                      <a:pt x="8363861" y="8533857"/>
                    </a:lnTo>
                    <a:lnTo>
                      <a:pt x="8329001" y="8523589"/>
                    </a:lnTo>
                    <a:lnTo>
                      <a:pt x="8303511" y="8506034"/>
                    </a:lnTo>
                    <a:lnTo>
                      <a:pt x="8293133" y="8476726"/>
                    </a:lnTo>
                    <a:lnTo>
                      <a:pt x="8317070" y="8430648"/>
                    </a:lnTo>
                    <a:lnTo>
                      <a:pt x="8342249" y="8398913"/>
                    </a:lnTo>
                    <a:lnTo>
                      <a:pt x="8366580" y="8363829"/>
                    </a:lnTo>
                    <a:lnTo>
                      <a:pt x="8390907" y="8328742"/>
                    </a:lnTo>
                    <a:lnTo>
                      <a:pt x="8413529" y="8290697"/>
                    </a:lnTo>
                    <a:lnTo>
                      <a:pt x="8430511" y="8233249"/>
                    </a:lnTo>
                    <a:lnTo>
                      <a:pt x="8438892" y="8204897"/>
                    </a:lnTo>
                    <a:lnTo>
                      <a:pt x="8438761" y="8164537"/>
                    </a:lnTo>
                    <a:lnTo>
                      <a:pt x="8437310" y="8127156"/>
                    </a:lnTo>
                    <a:lnTo>
                      <a:pt x="8435859" y="8089777"/>
                    </a:lnTo>
                    <a:lnTo>
                      <a:pt x="8432883" y="8054956"/>
                    </a:lnTo>
                    <a:lnTo>
                      <a:pt x="8456956" y="8004927"/>
                    </a:lnTo>
                    <a:lnTo>
                      <a:pt x="8486349" y="7976733"/>
                    </a:lnTo>
                    <a:lnTo>
                      <a:pt x="8517563" y="7948969"/>
                    </a:lnTo>
                    <a:lnTo>
                      <a:pt x="8548783" y="7921211"/>
                    </a:lnTo>
                    <a:lnTo>
                      <a:pt x="8583091" y="7894983"/>
                    </a:lnTo>
                    <a:lnTo>
                      <a:pt x="8608698" y="7865999"/>
                    </a:lnTo>
                    <a:lnTo>
                      <a:pt x="8626905" y="7843615"/>
                    </a:lnTo>
                    <a:lnTo>
                      <a:pt x="8644904" y="7820369"/>
                    </a:lnTo>
                    <a:lnTo>
                      <a:pt x="8663104" y="7796626"/>
                    </a:lnTo>
                    <a:lnTo>
                      <a:pt x="8676803" y="7774620"/>
                    </a:lnTo>
                    <a:lnTo>
                      <a:pt x="8687593" y="7755824"/>
                    </a:lnTo>
                    <a:lnTo>
                      <a:pt x="8698383" y="7737022"/>
                    </a:lnTo>
                    <a:lnTo>
                      <a:pt x="8710311" y="7715549"/>
                    </a:lnTo>
                    <a:lnTo>
                      <a:pt x="8732582" y="7686895"/>
                    </a:lnTo>
                    <a:lnTo>
                      <a:pt x="8776207" y="7645590"/>
                    </a:lnTo>
                    <a:lnTo>
                      <a:pt x="8822248" y="7615722"/>
                    </a:lnTo>
                    <a:lnTo>
                      <a:pt x="8845270" y="7600791"/>
                    </a:lnTo>
                    <a:lnTo>
                      <a:pt x="8868372" y="7588155"/>
                    </a:lnTo>
                    <a:lnTo>
                      <a:pt x="8909430" y="7580717"/>
                    </a:lnTo>
                    <a:lnTo>
                      <a:pt x="8937869" y="7602117"/>
                    </a:lnTo>
                    <a:lnTo>
                      <a:pt x="8943078" y="7622541"/>
                    </a:lnTo>
                    <a:lnTo>
                      <a:pt x="8937277" y="7644502"/>
                    </a:lnTo>
                    <a:lnTo>
                      <a:pt x="8931069" y="7666048"/>
                    </a:lnTo>
                    <a:lnTo>
                      <a:pt x="8924850" y="7687592"/>
                    </a:lnTo>
                    <a:lnTo>
                      <a:pt x="8917848" y="7709448"/>
                    </a:lnTo>
                    <a:lnTo>
                      <a:pt x="8922905" y="7731337"/>
                    </a:lnTo>
                    <a:lnTo>
                      <a:pt x="8948057" y="7755856"/>
                    </a:lnTo>
                    <a:lnTo>
                      <a:pt x="8963043" y="7793870"/>
                    </a:lnTo>
                    <a:lnTo>
                      <a:pt x="8968403" y="7815448"/>
                    </a:lnTo>
                    <a:lnTo>
                      <a:pt x="8973231" y="7837436"/>
                    </a:lnTo>
                    <a:lnTo>
                      <a:pt x="8978059" y="7859416"/>
                    </a:lnTo>
                    <a:lnTo>
                      <a:pt x="8981717" y="7880923"/>
                    </a:lnTo>
                    <a:lnTo>
                      <a:pt x="8994672" y="7916364"/>
                    </a:lnTo>
                    <a:lnTo>
                      <a:pt x="9015399" y="7936729"/>
                    </a:lnTo>
                    <a:lnTo>
                      <a:pt x="9041540" y="7933833"/>
                    </a:lnTo>
                    <a:lnTo>
                      <a:pt x="9063877" y="7917729"/>
                    </a:lnTo>
                    <a:lnTo>
                      <a:pt x="9094445" y="7888751"/>
                    </a:lnTo>
                    <a:lnTo>
                      <a:pt x="9122856" y="7859199"/>
                    </a:lnTo>
                    <a:lnTo>
                      <a:pt x="9151267" y="7829647"/>
                    </a:lnTo>
                    <a:lnTo>
                      <a:pt x="9176902" y="7799686"/>
                    </a:lnTo>
                    <a:lnTo>
                      <a:pt x="9183522" y="7772654"/>
                    </a:lnTo>
                    <a:lnTo>
                      <a:pt x="9188145" y="7739502"/>
                    </a:lnTo>
                    <a:lnTo>
                      <a:pt x="9190387" y="7706811"/>
                    </a:lnTo>
                    <a:lnTo>
                      <a:pt x="9204460" y="7676929"/>
                    </a:lnTo>
                    <a:lnTo>
                      <a:pt x="9240945" y="7656168"/>
                    </a:lnTo>
                    <a:lnTo>
                      <a:pt x="9279510" y="7656314"/>
                    </a:lnTo>
                    <a:lnTo>
                      <a:pt x="9316001" y="7653807"/>
                    </a:lnTo>
                    <a:lnTo>
                      <a:pt x="9352485" y="7651302"/>
                    </a:lnTo>
                    <a:lnTo>
                      <a:pt x="9385987" y="7646606"/>
                    </a:lnTo>
                    <a:lnTo>
                      <a:pt x="9401689" y="7629320"/>
                    </a:lnTo>
                    <a:lnTo>
                      <a:pt x="9418044" y="7611330"/>
                    </a:lnTo>
                    <a:lnTo>
                      <a:pt x="9436787" y="7592192"/>
                    </a:lnTo>
                    <a:lnTo>
                      <a:pt x="9452020" y="7572195"/>
                    </a:lnTo>
                    <a:lnTo>
                      <a:pt x="9467247" y="7552199"/>
                    </a:lnTo>
                    <a:lnTo>
                      <a:pt x="9479371" y="7531050"/>
                    </a:lnTo>
                    <a:lnTo>
                      <a:pt x="9483299" y="7505548"/>
                    </a:lnTo>
                    <a:lnTo>
                      <a:pt x="9467294" y="7480672"/>
                    </a:lnTo>
                    <a:lnTo>
                      <a:pt x="9444898" y="7459693"/>
                    </a:lnTo>
                    <a:lnTo>
                      <a:pt x="9422094" y="7441617"/>
                    </a:lnTo>
                    <a:lnTo>
                      <a:pt x="9404690" y="7425875"/>
                    </a:lnTo>
                    <a:lnTo>
                      <a:pt x="9371768" y="7410330"/>
                    </a:lnTo>
                    <a:lnTo>
                      <a:pt x="9339327" y="7403841"/>
                    </a:lnTo>
                    <a:lnTo>
                      <a:pt x="9289739" y="7411082"/>
                    </a:lnTo>
                    <a:lnTo>
                      <a:pt x="9255670" y="7428783"/>
                    </a:lnTo>
                    <a:lnTo>
                      <a:pt x="9216701" y="7449781"/>
                    </a:lnTo>
                    <a:lnTo>
                      <a:pt x="9174989" y="7471967"/>
                    </a:lnTo>
                    <a:lnTo>
                      <a:pt x="9143255" y="7483791"/>
                    </a:lnTo>
                    <a:lnTo>
                      <a:pt x="9111520" y="7495609"/>
                    </a:lnTo>
                    <a:lnTo>
                      <a:pt x="9078282" y="7503641"/>
                    </a:lnTo>
                    <a:lnTo>
                      <a:pt x="9052634" y="7471835"/>
                    </a:lnTo>
                    <a:lnTo>
                      <a:pt x="9053477" y="7438899"/>
                    </a:lnTo>
                    <a:lnTo>
                      <a:pt x="9067228" y="7409829"/>
                    </a:lnTo>
                    <a:lnTo>
                      <a:pt x="9103515" y="7370550"/>
                    </a:lnTo>
                    <a:lnTo>
                      <a:pt x="9137305" y="7347277"/>
                    </a:lnTo>
                    <a:lnTo>
                      <a:pt x="9155493" y="7326008"/>
                    </a:lnTo>
                    <a:lnTo>
                      <a:pt x="9170425" y="7308550"/>
                    </a:lnTo>
                    <a:lnTo>
                      <a:pt x="9181339" y="7270235"/>
                    </a:lnTo>
                    <a:lnTo>
                      <a:pt x="9190393" y="7232386"/>
                    </a:lnTo>
                    <a:lnTo>
                      <a:pt x="9208544" y="7215827"/>
                    </a:lnTo>
                    <a:lnTo>
                      <a:pt x="9240622" y="7216150"/>
                    </a:lnTo>
                    <a:lnTo>
                      <a:pt x="9260333" y="7192685"/>
                    </a:lnTo>
                    <a:lnTo>
                      <a:pt x="9273827" y="7165494"/>
                    </a:lnTo>
                    <a:lnTo>
                      <a:pt x="9287320" y="7138303"/>
                    </a:lnTo>
                    <a:lnTo>
                      <a:pt x="9295069" y="7108119"/>
                    </a:lnTo>
                    <a:lnTo>
                      <a:pt x="9293636" y="7078995"/>
                    </a:lnTo>
                    <a:lnTo>
                      <a:pt x="9288790" y="7052597"/>
                    </a:lnTo>
                    <a:lnTo>
                      <a:pt x="9283969" y="7027543"/>
                    </a:lnTo>
                    <a:lnTo>
                      <a:pt x="9278713" y="6996566"/>
                    </a:lnTo>
                    <a:lnTo>
                      <a:pt x="9268332" y="6972428"/>
                    </a:lnTo>
                    <a:lnTo>
                      <a:pt x="9256147" y="6950580"/>
                    </a:lnTo>
                    <a:lnTo>
                      <a:pt x="9243953" y="6928738"/>
                    </a:lnTo>
                    <a:lnTo>
                      <a:pt x="9229851" y="6908366"/>
                    </a:lnTo>
                    <a:lnTo>
                      <a:pt x="9185417" y="6855369"/>
                    </a:lnTo>
                    <a:lnTo>
                      <a:pt x="9152770" y="6814560"/>
                    </a:lnTo>
                    <a:lnTo>
                      <a:pt x="9132899" y="6785258"/>
                    </a:lnTo>
                    <a:lnTo>
                      <a:pt x="9115511" y="6751374"/>
                    </a:lnTo>
                    <a:lnTo>
                      <a:pt x="9101081" y="6719349"/>
                    </a:lnTo>
                    <a:lnTo>
                      <a:pt x="9082080" y="6679575"/>
                    </a:lnTo>
                    <a:lnTo>
                      <a:pt x="9072806" y="6645453"/>
                    </a:lnTo>
                    <a:lnTo>
                      <a:pt x="9068435" y="6615974"/>
                    </a:lnTo>
                    <a:lnTo>
                      <a:pt x="9064069" y="6586495"/>
                    </a:lnTo>
                    <a:lnTo>
                      <a:pt x="9064512" y="6561757"/>
                    </a:lnTo>
                    <a:lnTo>
                      <a:pt x="9067076" y="6539804"/>
                    </a:lnTo>
                    <a:lnTo>
                      <a:pt x="9072208" y="6495887"/>
                    </a:lnTo>
                    <a:lnTo>
                      <a:pt x="9083156" y="6464205"/>
                    </a:lnTo>
                    <a:lnTo>
                      <a:pt x="9069793" y="6433711"/>
                    </a:lnTo>
                    <a:lnTo>
                      <a:pt x="9031907" y="6415067"/>
                    </a:lnTo>
                    <a:lnTo>
                      <a:pt x="9008612" y="6407337"/>
                    </a:lnTo>
                    <a:lnTo>
                      <a:pt x="8985466" y="6399700"/>
                    </a:lnTo>
                    <a:lnTo>
                      <a:pt x="8962311" y="6392070"/>
                    </a:lnTo>
                    <a:lnTo>
                      <a:pt x="8938771" y="6385047"/>
                    </a:lnTo>
                    <a:lnTo>
                      <a:pt x="8916093" y="6376579"/>
                    </a:lnTo>
                    <a:lnTo>
                      <a:pt x="8892476" y="6364946"/>
                    </a:lnTo>
                    <a:lnTo>
                      <a:pt x="8868980" y="6350133"/>
                    </a:lnTo>
                    <a:lnTo>
                      <a:pt x="8848085" y="6335777"/>
                    </a:lnTo>
                    <a:lnTo>
                      <a:pt x="8815579" y="6313954"/>
                    </a:lnTo>
                    <a:lnTo>
                      <a:pt x="8780753" y="6293068"/>
                    </a:lnTo>
                    <a:lnTo>
                      <a:pt x="8752869" y="6266405"/>
                    </a:lnTo>
                    <a:lnTo>
                      <a:pt x="8726725" y="6238185"/>
                    </a:lnTo>
                    <a:lnTo>
                      <a:pt x="8708286" y="6204847"/>
                    </a:lnTo>
                    <a:lnTo>
                      <a:pt x="8699818" y="6164388"/>
                    </a:lnTo>
                    <a:lnTo>
                      <a:pt x="8698460" y="6141267"/>
                    </a:lnTo>
                    <a:lnTo>
                      <a:pt x="8703902" y="6118138"/>
                    </a:lnTo>
                    <a:lnTo>
                      <a:pt x="8717389" y="6094304"/>
                    </a:lnTo>
                    <a:lnTo>
                      <a:pt x="8738873" y="6080521"/>
                    </a:lnTo>
                    <a:lnTo>
                      <a:pt x="8762391" y="6069178"/>
                    </a:lnTo>
                    <a:lnTo>
                      <a:pt x="8785909" y="6057834"/>
                    </a:lnTo>
                    <a:lnTo>
                      <a:pt x="8811424" y="6048127"/>
                    </a:lnTo>
                    <a:lnTo>
                      <a:pt x="8830406" y="6029726"/>
                    </a:lnTo>
                    <a:lnTo>
                      <a:pt x="8835847" y="6007963"/>
                    </a:lnTo>
                    <a:lnTo>
                      <a:pt x="8800463" y="5975919"/>
                    </a:lnTo>
                    <a:lnTo>
                      <a:pt x="8765802" y="5965203"/>
                    </a:lnTo>
                    <a:lnTo>
                      <a:pt x="8735202" y="5956279"/>
                    </a:lnTo>
                    <a:lnTo>
                      <a:pt x="8732347" y="5911988"/>
                    </a:lnTo>
                    <a:lnTo>
                      <a:pt x="8727035" y="5888273"/>
                    </a:lnTo>
                    <a:lnTo>
                      <a:pt x="8714791" y="5865144"/>
                    </a:lnTo>
                    <a:lnTo>
                      <a:pt x="8675438" y="5870097"/>
                    </a:lnTo>
                    <a:lnTo>
                      <a:pt x="8617833" y="5875736"/>
                    </a:lnTo>
                    <a:lnTo>
                      <a:pt x="8561089" y="5876025"/>
                    </a:lnTo>
                    <a:lnTo>
                      <a:pt x="8504345" y="5876356"/>
                    </a:lnTo>
                    <a:lnTo>
                      <a:pt x="8448612" y="5871832"/>
                    </a:lnTo>
                    <a:lnTo>
                      <a:pt x="8414186" y="5856986"/>
                    </a:lnTo>
                    <a:lnTo>
                      <a:pt x="8397313" y="5835282"/>
                    </a:lnTo>
                    <a:lnTo>
                      <a:pt x="8387537" y="5797072"/>
                    </a:lnTo>
                    <a:lnTo>
                      <a:pt x="8384703" y="5773390"/>
                    </a:lnTo>
                    <a:lnTo>
                      <a:pt x="8382901" y="5749529"/>
                    </a:lnTo>
                    <a:lnTo>
                      <a:pt x="8379308" y="5701808"/>
                    </a:lnTo>
                    <a:lnTo>
                      <a:pt x="8380256" y="5651562"/>
                    </a:lnTo>
                    <a:lnTo>
                      <a:pt x="8377460" y="5629831"/>
                    </a:lnTo>
                    <a:lnTo>
                      <a:pt x="8371755" y="5600267"/>
                    </a:lnTo>
                    <a:lnTo>
                      <a:pt x="8364118" y="5569621"/>
                    </a:lnTo>
                    <a:lnTo>
                      <a:pt x="8357055" y="5540061"/>
                    </a:lnTo>
                    <a:lnTo>
                      <a:pt x="8351002" y="5505643"/>
                    </a:lnTo>
                    <a:lnTo>
                      <a:pt x="8346175" y="5482930"/>
                    </a:lnTo>
                    <a:lnTo>
                      <a:pt x="8341347" y="5460217"/>
                    </a:lnTo>
                    <a:lnTo>
                      <a:pt x="8335220" y="5438620"/>
                    </a:lnTo>
                    <a:lnTo>
                      <a:pt x="8256999" y="5416474"/>
                    </a:lnTo>
                    <a:lnTo>
                      <a:pt x="8222883" y="5411375"/>
                    </a:lnTo>
                    <a:lnTo>
                      <a:pt x="8201998" y="5391795"/>
                    </a:lnTo>
                    <a:lnTo>
                      <a:pt x="8181112" y="5372222"/>
                    </a:lnTo>
                    <a:lnTo>
                      <a:pt x="8173581" y="5338759"/>
                    </a:lnTo>
                    <a:lnTo>
                      <a:pt x="8154388" y="5265298"/>
                    </a:lnTo>
                    <a:lnTo>
                      <a:pt x="8176074" y="5240759"/>
                    </a:lnTo>
                    <a:lnTo>
                      <a:pt x="8197914" y="5228572"/>
                    </a:lnTo>
                    <a:lnTo>
                      <a:pt x="8219764" y="5216384"/>
                    </a:lnTo>
                    <a:lnTo>
                      <a:pt x="8243477" y="5203609"/>
                    </a:lnTo>
                    <a:lnTo>
                      <a:pt x="8254915" y="5176102"/>
                    </a:lnTo>
                    <a:lnTo>
                      <a:pt x="8248240" y="5153759"/>
                    </a:lnTo>
                    <a:lnTo>
                      <a:pt x="8238256" y="5131085"/>
                    </a:lnTo>
                    <a:lnTo>
                      <a:pt x="8217482" y="5078088"/>
                    </a:lnTo>
                    <a:lnTo>
                      <a:pt x="8201371" y="5054486"/>
                    </a:lnTo>
                    <a:lnTo>
                      <a:pt x="8185673" y="5039509"/>
                    </a:lnTo>
                    <a:lnTo>
                      <a:pt x="8169978" y="5024525"/>
                    </a:lnTo>
                    <a:lnTo>
                      <a:pt x="8139425" y="5017738"/>
                    </a:lnTo>
                    <a:lnTo>
                      <a:pt x="8109926" y="5015945"/>
                    </a:lnTo>
                    <a:lnTo>
                      <a:pt x="8083986" y="5030679"/>
                    </a:lnTo>
                    <a:lnTo>
                      <a:pt x="8063252" y="5017738"/>
                    </a:lnTo>
                    <a:lnTo>
                      <a:pt x="8045499" y="4987349"/>
                    </a:lnTo>
                    <a:lnTo>
                      <a:pt x="8012955" y="4969656"/>
                    </a:lnTo>
                    <a:lnTo>
                      <a:pt x="7984364" y="4953815"/>
                    </a:lnTo>
                    <a:lnTo>
                      <a:pt x="7955777" y="4937966"/>
                    </a:lnTo>
                    <a:lnTo>
                      <a:pt x="7930411" y="4924843"/>
                    </a:lnTo>
                    <a:lnTo>
                      <a:pt x="7931406" y="4895154"/>
                    </a:lnTo>
                    <a:lnTo>
                      <a:pt x="7950360" y="4880361"/>
                    </a:lnTo>
                    <a:lnTo>
                      <a:pt x="7970567" y="4867197"/>
                    </a:lnTo>
                    <a:lnTo>
                      <a:pt x="7982631" y="4845888"/>
                    </a:lnTo>
                    <a:lnTo>
                      <a:pt x="7977559" y="4816436"/>
                    </a:lnTo>
                    <a:lnTo>
                      <a:pt x="7974235" y="4782683"/>
                    </a:lnTo>
                    <a:lnTo>
                      <a:pt x="7985722" y="4762022"/>
                    </a:lnTo>
                    <a:lnTo>
                      <a:pt x="8011780" y="4746715"/>
                    </a:lnTo>
                    <a:lnTo>
                      <a:pt x="8046720" y="4739250"/>
                    </a:lnTo>
                    <a:lnTo>
                      <a:pt x="8075500" y="4737541"/>
                    </a:lnTo>
                    <a:lnTo>
                      <a:pt x="8094308" y="4711399"/>
                    </a:lnTo>
                    <a:lnTo>
                      <a:pt x="8084826" y="4678971"/>
                    </a:lnTo>
                    <a:lnTo>
                      <a:pt x="8071416" y="4649130"/>
                    </a:lnTo>
                    <a:lnTo>
                      <a:pt x="8058009" y="4619282"/>
                    </a:lnTo>
                    <a:lnTo>
                      <a:pt x="8040203" y="4592276"/>
                    </a:lnTo>
                    <a:lnTo>
                      <a:pt x="8003021" y="4571383"/>
                    </a:lnTo>
                    <a:lnTo>
                      <a:pt x="7973689" y="4570815"/>
                    </a:lnTo>
                    <a:lnTo>
                      <a:pt x="7943554" y="4571600"/>
                    </a:lnTo>
                    <a:lnTo>
                      <a:pt x="7913429" y="4572386"/>
                    </a:lnTo>
                    <a:lnTo>
                      <a:pt x="7883015" y="4574350"/>
                    </a:lnTo>
                    <a:lnTo>
                      <a:pt x="7855144" y="4566153"/>
                    </a:lnTo>
                    <a:lnTo>
                      <a:pt x="7830795" y="4553584"/>
                    </a:lnTo>
                    <a:lnTo>
                      <a:pt x="7811485" y="4532486"/>
                    </a:lnTo>
                    <a:lnTo>
                      <a:pt x="7798013" y="4509028"/>
                    </a:lnTo>
                    <a:lnTo>
                      <a:pt x="7785421" y="4474029"/>
                    </a:lnTo>
                    <a:lnTo>
                      <a:pt x="7783412" y="4437935"/>
                    </a:lnTo>
                    <a:lnTo>
                      <a:pt x="7789855" y="4401570"/>
                    </a:lnTo>
                    <a:lnTo>
                      <a:pt x="7800189" y="4366327"/>
                    </a:lnTo>
                    <a:lnTo>
                      <a:pt x="7821608" y="4334302"/>
                    </a:lnTo>
                    <a:lnTo>
                      <a:pt x="7848345" y="4310436"/>
                    </a:lnTo>
                    <a:lnTo>
                      <a:pt x="7881121" y="4286113"/>
                    </a:lnTo>
                    <a:lnTo>
                      <a:pt x="7916220" y="4266758"/>
                    </a:lnTo>
                    <a:lnTo>
                      <a:pt x="7951721" y="4247869"/>
                    </a:lnTo>
                    <a:lnTo>
                      <a:pt x="7971354" y="4233130"/>
                    </a:lnTo>
                    <a:lnTo>
                      <a:pt x="7995985" y="4220078"/>
                    </a:lnTo>
                    <a:lnTo>
                      <a:pt x="8018052" y="4213583"/>
                    </a:lnTo>
                    <a:lnTo>
                      <a:pt x="8038773" y="4205703"/>
                    </a:lnTo>
                    <a:lnTo>
                      <a:pt x="8059495" y="4197827"/>
                    </a:lnTo>
                    <a:lnTo>
                      <a:pt x="8078666" y="4188172"/>
                    </a:lnTo>
                    <a:lnTo>
                      <a:pt x="8090451" y="4147410"/>
                    </a:lnTo>
                    <a:lnTo>
                      <a:pt x="8086343" y="4126616"/>
                    </a:lnTo>
                    <a:lnTo>
                      <a:pt x="8075534" y="4086203"/>
                    </a:lnTo>
                    <a:lnTo>
                      <a:pt x="8069665" y="4065956"/>
                    </a:lnTo>
                    <a:lnTo>
                      <a:pt x="8064611" y="4042478"/>
                    </a:lnTo>
                    <a:lnTo>
                      <a:pt x="8069742" y="4018697"/>
                    </a:lnTo>
                    <a:lnTo>
                      <a:pt x="8095824" y="4003278"/>
                    </a:lnTo>
                    <a:lnTo>
                      <a:pt x="8125825" y="3989429"/>
                    </a:lnTo>
                    <a:lnTo>
                      <a:pt x="8155820" y="3975586"/>
                    </a:lnTo>
                    <a:lnTo>
                      <a:pt x="8189270" y="3964223"/>
                    </a:lnTo>
                    <a:lnTo>
                      <a:pt x="8210155" y="3949985"/>
                    </a:lnTo>
                    <a:lnTo>
                      <a:pt x="8214626" y="3912789"/>
                    </a:lnTo>
                    <a:lnTo>
                      <a:pt x="8197526" y="3875647"/>
                    </a:lnTo>
                    <a:lnTo>
                      <a:pt x="8183763" y="3856997"/>
                    </a:lnTo>
                    <a:lnTo>
                      <a:pt x="8173435" y="3838452"/>
                    </a:lnTo>
                    <a:lnTo>
                      <a:pt x="8163107" y="3819906"/>
                    </a:lnTo>
                    <a:lnTo>
                      <a:pt x="8159836" y="3784043"/>
                    </a:lnTo>
                    <a:lnTo>
                      <a:pt x="8175577" y="3748168"/>
                    </a:lnTo>
                    <a:lnTo>
                      <a:pt x="8207445" y="3730994"/>
                    </a:lnTo>
                    <a:lnTo>
                      <a:pt x="8218601" y="3704358"/>
                    </a:lnTo>
                    <a:lnTo>
                      <a:pt x="8218759" y="3683345"/>
                    </a:lnTo>
                    <a:lnTo>
                      <a:pt x="8201560" y="3650780"/>
                    </a:lnTo>
                    <a:lnTo>
                      <a:pt x="8165271" y="3627618"/>
                    </a:lnTo>
                    <a:lnTo>
                      <a:pt x="8146237" y="3616269"/>
                    </a:lnTo>
                    <a:lnTo>
                      <a:pt x="8124204" y="3605454"/>
                    </a:lnTo>
                    <a:lnTo>
                      <a:pt x="8104062" y="3593616"/>
                    </a:lnTo>
                    <a:lnTo>
                      <a:pt x="8083921" y="3581772"/>
                    </a:lnTo>
                    <a:lnTo>
                      <a:pt x="8065662" y="3569208"/>
                    </a:lnTo>
                    <a:lnTo>
                      <a:pt x="8053737" y="3551448"/>
                    </a:lnTo>
                    <a:lnTo>
                      <a:pt x="8056902" y="3524884"/>
                    </a:lnTo>
                    <a:lnTo>
                      <a:pt x="8076824" y="3501973"/>
                    </a:lnTo>
                    <a:lnTo>
                      <a:pt x="8098621" y="3482075"/>
                    </a:lnTo>
                    <a:lnTo>
                      <a:pt x="8120418" y="3462185"/>
                    </a:lnTo>
                    <a:lnTo>
                      <a:pt x="8144826" y="3444716"/>
                    </a:lnTo>
                    <a:lnTo>
                      <a:pt x="8152047" y="3411602"/>
                    </a:lnTo>
                    <a:lnTo>
                      <a:pt x="8144857" y="3382598"/>
                    </a:lnTo>
                    <a:lnTo>
                      <a:pt x="8125825" y="3359661"/>
                    </a:lnTo>
                    <a:lnTo>
                      <a:pt x="8104062" y="3355585"/>
                    </a:lnTo>
                    <a:lnTo>
                      <a:pt x="8080941" y="3352862"/>
                    </a:lnTo>
                    <a:lnTo>
                      <a:pt x="8058347" y="3366296"/>
                    </a:lnTo>
                    <a:lnTo>
                      <a:pt x="8039886" y="3377046"/>
                    </a:lnTo>
                    <a:lnTo>
                      <a:pt x="8002289" y="3385804"/>
                    </a:lnTo>
                    <a:lnTo>
                      <a:pt x="7959879" y="3370543"/>
                    </a:lnTo>
                    <a:lnTo>
                      <a:pt x="7948956" y="3340140"/>
                    </a:lnTo>
                    <a:lnTo>
                      <a:pt x="7943601" y="3308452"/>
                    </a:lnTo>
                    <a:lnTo>
                      <a:pt x="7936755" y="3278049"/>
                    </a:lnTo>
                    <a:lnTo>
                      <a:pt x="7930064" y="3257368"/>
                    </a:lnTo>
                    <a:lnTo>
                      <a:pt x="7908192" y="3234523"/>
                    </a:lnTo>
                    <a:lnTo>
                      <a:pt x="7881729" y="3215259"/>
                    </a:lnTo>
                    <a:lnTo>
                      <a:pt x="7854254" y="3184060"/>
                    </a:lnTo>
                    <a:lnTo>
                      <a:pt x="7844019" y="3140994"/>
                    </a:lnTo>
                    <a:lnTo>
                      <a:pt x="7829304" y="3101227"/>
                    </a:lnTo>
                    <a:lnTo>
                      <a:pt x="7821946" y="3081337"/>
                    </a:lnTo>
                    <a:lnTo>
                      <a:pt x="7803461" y="3048178"/>
                    </a:lnTo>
                    <a:lnTo>
                      <a:pt x="7779890" y="3023624"/>
                    </a:lnTo>
                    <a:lnTo>
                      <a:pt x="7741719" y="3020519"/>
                    </a:lnTo>
                    <a:lnTo>
                      <a:pt x="7701662" y="3020142"/>
                    </a:lnTo>
                    <a:lnTo>
                      <a:pt x="7661999" y="3016891"/>
                    </a:lnTo>
                    <a:lnTo>
                      <a:pt x="7622331" y="3013640"/>
                    </a:lnTo>
                    <a:lnTo>
                      <a:pt x="7582631" y="3008073"/>
                    </a:lnTo>
                    <a:lnTo>
                      <a:pt x="7564064" y="2995128"/>
                    </a:lnTo>
                    <a:lnTo>
                      <a:pt x="7547309" y="2972342"/>
                    </a:lnTo>
                    <a:lnTo>
                      <a:pt x="7542630" y="2948206"/>
                    </a:lnTo>
                    <a:lnTo>
                      <a:pt x="7540937" y="2923040"/>
                    </a:lnTo>
                    <a:lnTo>
                      <a:pt x="7539253" y="2897874"/>
                    </a:lnTo>
                    <a:lnTo>
                      <a:pt x="7540615" y="2871071"/>
                    </a:lnTo>
                    <a:lnTo>
                      <a:pt x="7536860" y="2844144"/>
                    </a:lnTo>
                    <a:lnTo>
                      <a:pt x="7533945" y="2823120"/>
                    </a:lnTo>
                    <a:lnTo>
                      <a:pt x="7517822" y="2796542"/>
                    </a:lnTo>
                    <a:lnTo>
                      <a:pt x="7497727" y="2773553"/>
                    </a:lnTo>
                    <a:lnTo>
                      <a:pt x="7478067" y="2751518"/>
                    </a:lnTo>
                    <a:lnTo>
                      <a:pt x="7464771" y="2723089"/>
                    </a:lnTo>
                    <a:lnTo>
                      <a:pt x="7458737" y="2684257"/>
                    </a:lnTo>
                    <a:lnTo>
                      <a:pt x="7464771" y="2653717"/>
                    </a:lnTo>
                    <a:lnTo>
                      <a:pt x="7476860" y="2616119"/>
                    </a:lnTo>
                    <a:lnTo>
                      <a:pt x="7498940" y="2585222"/>
                    </a:lnTo>
                    <a:lnTo>
                      <a:pt x="7530060" y="2562589"/>
                    </a:lnTo>
                    <a:lnTo>
                      <a:pt x="7590934" y="2531651"/>
                    </a:lnTo>
                    <a:lnTo>
                      <a:pt x="7630721" y="2506816"/>
                    </a:lnTo>
                    <a:lnTo>
                      <a:pt x="7650611" y="2494404"/>
                    </a:lnTo>
                    <a:lnTo>
                      <a:pt x="7669677" y="2481168"/>
                    </a:lnTo>
                    <a:lnTo>
                      <a:pt x="7697861" y="2453574"/>
                    </a:lnTo>
                    <a:lnTo>
                      <a:pt x="7708248" y="2425204"/>
                    </a:lnTo>
                    <a:lnTo>
                      <a:pt x="7710967" y="2369436"/>
                    </a:lnTo>
                    <a:lnTo>
                      <a:pt x="7713683" y="2315029"/>
                    </a:lnTo>
                    <a:lnTo>
                      <a:pt x="7684566" y="2249521"/>
                    </a:lnTo>
                    <a:lnTo>
                      <a:pt x="7655194" y="2199414"/>
                    </a:lnTo>
                    <a:lnTo>
                      <a:pt x="7640512" y="2174352"/>
                    </a:lnTo>
                    <a:lnTo>
                      <a:pt x="7626169" y="2147735"/>
                    </a:lnTo>
                    <a:lnTo>
                      <a:pt x="7615748" y="2123242"/>
                    </a:lnTo>
                    <a:lnTo>
                      <a:pt x="7605330" y="2098743"/>
                    </a:lnTo>
                    <a:lnTo>
                      <a:pt x="7599023" y="2076425"/>
                    </a:lnTo>
                    <a:lnTo>
                      <a:pt x="7602105" y="2044163"/>
                    </a:lnTo>
                    <a:lnTo>
                      <a:pt x="7618473" y="2026667"/>
                    </a:lnTo>
                    <a:lnTo>
                      <a:pt x="7639306" y="2013833"/>
                    </a:lnTo>
                    <a:lnTo>
                      <a:pt x="7662923" y="2004138"/>
                    </a:lnTo>
                    <a:lnTo>
                      <a:pt x="7683762" y="1994022"/>
                    </a:lnTo>
                    <a:lnTo>
                      <a:pt x="7698720" y="1969541"/>
                    </a:lnTo>
                    <a:lnTo>
                      <a:pt x="7698317" y="1938038"/>
                    </a:lnTo>
                    <a:lnTo>
                      <a:pt x="7704167" y="1902887"/>
                    </a:lnTo>
                    <a:lnTo>
                      <a:pt x="7706738" y="1867960"/>
                    </a:lnTo>
                    <a:lnTo>
                      <a:pt x="7701867" y="1836226"/>
                    </a:lnTo>
                    <a:lnTo>
                      <a:pt x="7668799" y="1815835"/>
                    </a:lnTo>
                    <a:lnTo>
                      <a:pt x="7649312" y="1805626"/>
                    </a:lnTo>
                    <a:lnTo>
                      <a:pt x="7623596" y="1795997"/>
                    </a:lnTo>
                    <a:lnTo>
                      <a:pt x="7596710" y="1784554"/>
                    </a:lnTo>
                    <a:lnTo>
                      <a:pt x="7569822" y="1773105"/>
                    </a:lnTo>
                    <a:lnTo>
                      <a:pt x="7542308" y="1759719"/>
                    </a:lnTo>
                    <a:lnTo>
                      <a:pt x="7517816" y="1741028"/>
                    </a:lnTo>
                    <a:lnTo>
                      <a:pt x="7493328" y="1722332"/>
                    </a:lnTo>
                    <a:lnTo>
                      <a:pt x="7471636" y="1698161"/>
                    </a:lnTo>
                    <a:lnTo>
                      <a:pt x="7459333" y="1666216"/>
                    </a:lnTo>
                    <a:lnTo>
                      <a:pt x="7448363" y="1637746"/>
                    </a:lnTo>
                    <a:lnTo>
                      <a:pt x="7443979" y="1601077"/>
                    </a:lnTo>
                    <a:lnTo>
                      <a:pt x="7444366" y="1564199"/>
                    </a:lnTo>
                    <a:lnTo>
                      <a:pt x="7444763" y="1527320"/>
                    </a:lnTo>
                    <a:lnTo>
                      <a:pt x="7450357" y="1490594"/>
                    </a:lnTo>
                    <a:lnTo>
                      <a:pt x="7460691" y="1462183"/>
                    </a:lnTo>
                    <a:lnTo>
                      <a:pt x="7473992" y="1440657"/>
                    </a:lnTo>
                    <a:lnTo>
                      <a:pt x="7491349" y="1408645"/>
                    </a:lnTo>
                    <a:lnTo>
                      <a:pt x="7502164" y="1388630"/>
                    </a:lnTo>
                    <a:lnTo>
                      <a:pt x="7509658" y="1368330"/>
                    </a:lnTo>
                    <a:lnTo>
                      <a:pt x="7517149" y="1348032"/>
                    </a:lnTo>
                    <a:lnTo>
                      <a:pt x="7521896" y="1303041"/>
                    </a:lnTo>
                    <a:lnTo>
                      <a:pt x="7511947" y="1280512"/>
                    </a:lnTo>
                    <a:lnTo>
                      <a:pt x="7497027" y="1264434"/>
                    </a:lnTo>
                    <a:lnTo>
                      <a:pt x="7478370" y="1254073"/>
                    </a:lnTo>
                    <a:lnTo>
                      <a:pt x="7459714" y="1243713"/>
                    </a:lnTo>
                    <a:lnTo>
                      <a:pt x="7437514" y="1238484"/>
                    </a:lnTo>
                    <a:lnTo>
                      <a:pt x="7414439" y="1235034"/>
                    </a:lnTo>
                    <a:lnTo>
                      <a:pt x="7368295" y="1228123"/>
                    </a:lnTo>
                    <a:lnTo>
                      <a:pt x="7317890" y="1229593"/>
                    </a:lnTo>
                    <a:lnTo>
                      <a:pt x="7279786" y="1218711"/>
                    </a:lnTo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97" name="Zhytomyr¬0" descr="Zhytomyr¬0">
                <a:extLst>
                  <a:ext uri="{FF2B5EF4-FFF2-40B4-BE49-F238E27FC236}">
                    <a16:creationId xmlns:a16="http://schemas.microsoft.com/office/drawing/2014/main" id="{2E1CCDE5-BF28-43E3-9E46-A4E16D9A6EDC}"/>
                  </a:ext>
                </a:extLst>
              </p:cNvPr>
              <p:cNvSpPr/>
              <p:nvPr/>
            </p:nvSpPr>
            <p:spPr>
              <a:xfrm>
                <a:off x="17652026" y="3777267"/>
                <a:ext cx="8953618" cy="10932177"/>
              </a:xfrm>
              <a:custGeom>
                <a:avLst/>
                <a:gdLst/>
                <a:ahLst/>
                <a:cxnLst/>
                <a:rect l="0" t="0" r="0" b="0"/>
                <a:pathLst>
                  <a:path w="8953623" h="10932180">
                    <a:moveTo>
                      <a:pt x="3647014" y="0"/>
                    </a:moveTo>
                    <a:lnTo>
                      <a:pt x="3540790" y="46501"/>
                    </a:lnTo>
                    <a:lnTo>
                      <a:pt x="3473503" y="134660"/>
                    </a:lnTo>
                    <a:lnTo>
                      <a:pt x="3444900" y="172129"/>
                    </a:lnTo>
                    <a:lnTo>
                      <a:pt x="3421179" y="226877"/>
                    </a:lnTo>
                    <a:lnTo>
                      <a:pt x="3400054" y="269320"/>
                    </a:lnTo>
                    <a:lnTo>
                      <a:pt x="3374526" y="320518"/>
                    </a:lnTo>
                    <a:lnTo>
                      <a:pt x="3360097" y="382853"/>
                    </a:lnTo>
                    <a:lnTo>
                      <a:pt x="3321160" y="425742"/>
                    </a:lnTo>
                    <a:lnTo>
                      <a:pt x="3302504" y="446294"/>
                    </a:lnTo>
                    <a:lnTo>
                      <a:pt x="3241652" y="480001"/>
                    </a:lnTo>
                    <a:lnTo>
                      <a:pt x="3215069" y="489671"/>
                    </a:lnTo>
                    <a:lnTo>
                      <a:pt x="3137577" y="517896"/>
                    </a:lnTo>
                    <a:lnTo>
                      <a:pt x="3062363" y="508714"/>
                    </a:lnTo>
                    <a:lnTo>
                      <a:pt x="2982472" y="508714"/>
                    </a:lnTo>
                    <a:lnTo>
                      <a:pt x="2935734" y="508714"/>
                    </a:lnTo>
                    <a:lnTo>
                      <a:pt x="2896336" y="522423"/>
                    </a:lnTo>
                    <a:lnTo>
                      <a:pt x="2843735" y="516875"/>
                    </a:lnTo>
                    <a:lnTo>
                      <a:pt x="2817679" y="510138"/>
                    </a:lnTo>
                    <a:lnTo>
                      <a:pt x="2786690" y="501850"/>
                    </a:lnTo>
                    <a:lnTo>
                      <a:pt x="2762116" y="491032"/>
                    </a:lnTo>
                    <a:lnTo>
                      <a:pt x="2737530" y="480192"/>
                    </a:lnTo>
                    <a:lnTo>
                      <a:pt x="2717060" y="463743"/>
                    </a:lnTo>
                    <a:lnTo>
                      <a:pt x="2691394" y="452946"/>
                    </a:lnTo>
                    <a:lnTo>
                      <a:pt x="2630588" y="421024"/>
                    </a:lnTo>
                    <a:lnTo>
                      <a:pt x="2554418" y="329890"/>
                    </a:lnTo>
                    <a:lnTo>
                      <a:pt x="2503683" y="280201"/>
                    </a:lnTo>
                    <a:lnTo>
                      <a:pt x="2484471" y="261392"/>
                    </a:lnTo>
                    <a:lnTo>
                      <a:pt x="2469382" y="229916"/>
                    </a:lnTo>
                    <a:lnTo>
                      <a:pt x="2445192" y="216272"/>
                    </a:lnTo>
                    <a:lnTo>
                      <a:pt x="2374356" y="191108"/>
                    </a:lnTo>
                    <a:lnTo>
                      <a:pt x="2342648" y="208408"/>
                    </a:lnTo>
                    <a:lnTo>
                      <a:pt x="2313254" y="225792"/>
                    </a:lnTo>
                    <a:lnTo>
                      <a:pt x="2255253" y="267024"/>
                    </a:lnTo>
                    <a:lnTo>
                      <a:pt x="2179022" y="353163"/>
                    </a:lnTo>
                    <a:lnTo>
                      <a:pt x="2182676" y="428463"/>
                    </a:lnTo>
                    <a:lnTo>
                      <a:pt x="2184119" y="458451"/>
                    </a:lnTo>
                    <a:lnTo>
                      <a:pt x="2200442" y="489204"/>
                    </a:lnTo>
                    <a:lnTo>
                      <a:pt x="2207163" y="518236"/>
                    </a:lnTo>
                    <a:lnTo>
                      <a:pt x="2212834" y="542762"/>
                    </a:lnTo>
                    <a:lnTo>
                      <a:pt x="2217082" y="665669"/>
                    </a:lnTo>
                    <a:lnTo>
                      <a:pt x="2208521" y="686900"/>
                    </a:lnTo>
                    <a:lnTo>
                      <a:pt x="2188862" y="717802"/>
                    </a:lnTo>
                    <a:lnTo>
                      <a:pt x="2144122" y="766918"/>
                    </a:lnTo>
                    <a:lnTo>
                      <a:pt x="2117999" y="806279"/>
                    </a:lnTo>
                    <a:lnTo>
                      <a:pt x="2091540" y="850124"/>
                    </a:lnTo>
                    <a:lnTo>
                      <a:pt x="2069737" y="886276"/>
                    </a:lnTo>
                    <a:lnTo>
                      <a:pt x="2030459" y="912205"/>
                    </a:lnTo>
                    <a:lnTo>
                      <a:pt x="2008570" y="946698"/>
                    </a:lnTo>
                    <a:lnTo>
                      <a:pt x="1994246" y="969269"/>
                    </a:lnTo>
                    <a:lnTo>
                      <a:pt x="1995816" y="996431"/>
                    </a:lnTo>
                    <a:lnTo>
                      <a:pt x="1978642" y="1020149"/>
                    </a:lnTo>
                    <a:lnTo>
                      <a:pt x="1934179" y="1025399"/>
                    </a:lnTo>
                    <a:lnTo>
                      <a:pt x="1883728" y="970672"/>
                    </a:lnTo>
                    <a:lnTo>
                      <a:pt x="1857586" y="953499"/>
                    </a:lnTo>
                    <a:lnTo>
                      <a:pt x="1828575" y="934435"/>
                    </a:lnTo>
                    <a:lnTo>
                      <a:pt x="1742842" y="901068"/>
                    </a:lnTo>
                    <a:lnTo>
                      <a:pt x="1727008" y="875967"/>
                    </a:lnTo>
                    <a:lnTo>
                      <a:pt x="1735165" y="851485"/>
                    </a:lnTo>
                    <a:lnTo>
                      <a:pt x="1712782" y="876946"/>
                    </a:lnTo>
                    <a:lnTo>
                      <a:pt x="1689357" y="893860"/>
                    </a:lnTo>
                    <a:lnTo>
                      <a:pt x="1668338" y="903094"/>
                    </a:lnTo>
                    <a:lnTo>
                      <a:pt x="1645395" y="905892"/>
                    </a:lnTo>
                    <a:lnTo>
                      <a:pt x="1621318" y="908831"/>
                    </a:lnTo>
                    <a:lnTo>
                      <a:pt x="1583509" y="908230"/>
                    </a:lnTo>
                    <a:lnTo>
                      <a:pt x="1561066" y="915413"/>
                    </a:lnTo>
                    <a:lnTo>
                      <a:pt x="1535221" y="930376"/>
                    </a:lnTo>
                    <a:lnTo>
                      <a:pt x="1480813" y="957580"/>
                    </a:lnTo>
                    <a:lnTo>
                      <a:pt x="1450865" y="969907"/>
                    </a:lnTo>
                    <a:lnTo>
                      <a:pt x="1425831" y="967908"/>
                    </a:lnTo>
                    <a:lnTo>
                      <a:pt x="1396477" y="990225"/>
                    </a:lnTo>
                    <a:lnTo>
                      <a:pt x="1370473" y="1049656"/>
                    </a:lnTo>
                    <a:lnTo>
                      <a:pt x="1357033" y="1097680"/>
                    </a:lnTo>
                    <a:lnTo>
                      <a:pt x="1343592" y="1145704"/>
                    </a:lnTo>
                    <a:lnTo>
                      <a:pt x="1332994" y="1194775"/>
                    </a:lnTo>
                    <a:lnTo>
                      <a:pt x="1369267" y="1254836"/>
                    </a:lnTo>
                    <a:lnTo>
                      <a:pt x="1405446" y="1275433"/>
                    </a:lnTo>
                    <a:lnTo>
                      <a:pt x="1430480" y="1301710"/>
                    </a:lnTo>
                    <a:lnTo>
                      <a:pt x="1452606" y="1329992"/>
                    </a:lnTo>
                    <a:lnTo>
                      <a:pt x="1462769" y="1368642"/>
                    </a:lnTo>
                    <a:lnTo>
                      <a:pt x="1463738" y="1392854"/>
                    </a:lnTo>
                    <a:lnTo>
                      <a:pt x="1457684" y="1425489"/>
                    </a:lnTo>
                    <a:lnTo>
                      <a:pt x="1416031" y="1424276"/>
                    </a:lnTo>
                    <a:lnTo>
                      <a:pt x="1369557" y="1393547"/>
                    </a:lnTo>
                    <a:lnTo>
                      <a:pt x="1325747" y="1358838"/>
                    </a:lnTo>
                    <a:lnTo>
                      <a:pt x="1281937" y="1324130"/>
                    </a:lnTo>
                    <a:lnTo>
                      <a:pt x="1240026" y="1286036"/>
                    </a:lnTo>
                    <a:lnTo>
                      <a:pt x="1226454" y="1264984"/>
                    </a:lnTo>
                    <a:lnTo>
                      <a:pt x="1213977" y="1212207"/>
                    </a:lnTo>
                    <a:lnTo>
                      <a:pt x="1195167" y="1186093"/>
                    </a:lnTo>
                    <a:lnTo>
                      <a:pt x="1175330" y="1161590"/>
                    </a:lnTo>
                    <a:lnTo>
                      <a:pt x="1152433" y="1145307"/>
                    </a:lnTo>
                    <a:lnTo>
                      <a:pt x="1128520" y="1142567"/>
                    </a:lnTo>
                    <a:lnTo>
                      <a:pt x="1103802" y="1154788"/>
                    </a:lnTo>
                    <a:lnTo>
                      <a:pt x="1086701" y="1201269"/>
                    </a:lnTo>
                    <a:lnTo>
                      <a:pt x="1081952" y="1233318"/>
                    </a:lnTo>
                    <a:lnTo>
                      <a:pt x="1085013" y="1263923"/>
                    </a:lnTo>
                    <a:lnTo>
                      <a:pt x="1080911" y="1293549"/>
                    </a:lnTo>
                    <a:lnTo>
                      <a:pt x="1077001" y="1321816"/>
                    </a:lnTo>
                    <a:lnTo>
                      <a:pt x="1067781" y="1353504"/>
                    </a:lnTo>
                    <a:lnTo>
                      <a:pt x="1061871" y="1381961"/>
                    </a:lnTo>
                    <a:lnTo>
                      <a:pt x="1053047" y="1424489"/>
                    </a:lnTo>
                    <a:lnTo>
                      <a:pt x="1032393" y="1462362"/>
                    </a:lnTo>
                    <a:lnTo>
                      <a:pt x="1027869" y="1505740"/>
                    </a:lnTo>
                    <a:lnTo>
                      <a:pt x="1037470" y="1530797"/>
                    </a:lnTo>
                    <a:lnTo>
                      <a:pt x="1059808" y="1546812"/>
                    </a:lnTo>
                    <a:lnTo>
                      <a:pt x="1082270" y="1562868"/>
                    </a:lnTo>
                    <a:lnTo>
                      <a:pt x="1104739" y="1578926"/>
                    </a:lnTo>
                    <a:lnTo>
                      <a:pt x="1127511" y="1595428"/>
                    </a:lnTo>
                    <a:lnTo>
                      <a:pt x="1138042" y="1619997"/>
                    </a:lnTo>
                    <a:lnTo>
                      <a:pt x="1146880" y="1647626"/>
                    </a:lnTo>
                    <a:lnTo>
                      <a:pt x="1136090" y="1674744"/>
                    </a:lnTo>
                    <a:lnTo>
                      <a:pt x="1127160" y="1700249"/>
                    </a:lnTo>
                    <a:lnTo>
                      <a:pt x="1118423" y="1725263"/>
                    </a:lnTo>
                    <a:lnTo>
                      <a:pt x="1090434" y="1757377"/>
                    </a:lnTo>
                    <a:lnTo>
                      <a:pt x="1066699" y="1786141"/>
                    </a:lnTo>
                    <a:lnTo>
                      <a:pt x="1044995" y="1804504"/>
                    </a:lnTo>
                    <a:lnTo>
                      <a:pt x="1023785" y="1815865"/>
                    </a:lnTo>
                    <a:lnTo>
                      <a:pt x="1002570" y="1827227"/>
                    </a:lnTo>
                    <a:lnTo>
                      <a:pt x="981579" y="1831874"/>
                    </a:lnTo>
                    <a:lnTo>
                      <a:pt x="959854" y="1834908"/>
                    </a:lnTo>
                    <a:lnTo>
                      <a:pt x="916414" y="1840976"/>
                    </a:lnTo>
                    <a:lnTo>
                      <a:pt x="868437" y="1838969"/>
                    </a:lnTo>
                    <a:lnTo>
                      <a:pt x="804796" y="1866193"/>
                    </a:lnTo>
                    <a:lnTo>
                      <a:pt x="811569" y="1941195"/>
                    </a:lnTo>
                    <a:lnTo>
                      <a:pt x="855899" y="2002002"/>
                    </a:lnTo>
                    <a:lnTo>
                      <a:pt x="885042" y="2055260"/>
                    </a:lnTo>
                    <a:lnTo>
                      <a:pt x="904952" y="2091648"/>
                    </a:lnTo>
                    <a:lnTo>
                      <a:pt x="921427" y="2126142"/>
                    </a:lnTo>
                    <a:lnTo>
                      <a:pt x="929928" y="2162716"/>
                    </a:lnTo>
                    <a:lnTo>
                      <a:pt x="938436" y="2199290"/>
                    </a:lnTo>
                    <a:lnTo>
                      <a:pt x="939259" y="2237495"/>
                    </a:lnTo>
                    <a:lnTo>
                      <a:pt x="927210" y="2279693"/>
                    </a:lnTo>
                    <a:lnTo>
                      <a:pt x="918446" y="2310393"/>
                    </a:lnTo>
                    <a:lnTo>
                      <a:pt x="905777" y="2331897"/>
                    </a:lnTo>
                    <a:lnTo>
                      <a:pt x="891848" y="2347703"/>
                    </a:lnTo>
                    <a:lnTo>
                      <a:pt x="877920" y="2363509"/>
                    </a:lnTo>
                    <a:lnTo>
                      <a:pt x="845606" y="2381708"/>
                    </a:lnTo>
                    <a:lnTo>
                      <a:pt x="812321" y="2399134"/>
                    </a:lnTo>
                    <a:lnTo>
                      <a:pt x="778231" y="2418690"/>
                    </a:lnTo>
                    <a:lnTo>
                      <a:pt x="746306" y="2448358"/>
                    </a:lnTo>
                    <a:lnTo>
                      <a:pt x="727958" y="2471162"/>
                    </a:lnTo>
                    <a:lnTo>
                      <a:pt x="722004" y="2500528"/>
                    </a:lnTo>
                    <a:lnTo>
                      <a:pt x="719102" y="2527249"/>
                    </a:lnTo>
                    <a:lnTo>
                      <a:pt x="716199" y="2553968"/>
                    </a:lnTo>
                    <a:lnTo>
                      <a:pt x="715824" y="2578976"/>
                    </a:lnTo>
                    <a:lnTo>
                      <a:pt x="692511" y="2621315"/>
                    </a:lnTo>
                    <a:lnTo>
                      <a:pt x="671486" y="2640784"/>
                    </a:lnTo>
                    <a:lnTo>
                      <a:pt x="651095" y="2660548"/>
                    </a:lnTo>
                    <a:lnTo>
                      <a:pt x="630696" y="2680313"/>
                    </a:lnTo>
                    <a:lnTo>
                      <a:pt x="611142" y="2699458"/>
                    </a:lnTo>
                    <a:lnTo>
                      <a:pt x="598045" y="2727196"/>
                    </a:lnTo>
                    <a:lnTo>
                      <a:pt x="581189" y="2762921"/>
                    </a:lnTo>
                    <a:lnTo>
                      <a:pt x="580450" y="2817823"/>
                    </a:lnTo>
                    <a:lnTo>
                      <a:pt x="580364" y="2867299"/>
                    </a:lnTo>
                    <a:lnTo>
                      <a:pt x="580299" y="2916774"/>
                    </a:lnTo>
                    <a:lnTo>
                      <a:pt x="581268" y="2961296"/>
                    </a:lnTo>
                    <a:lnTo>
                      <a:pt x="565401" y="2978838"/>
                    </a:lnTo>
                    <a:lnTo>
                      <a:pt x="550219" y="2995642"/>
                    </a:lnTo>
                    <a:lnTo>
                      <a:pt x="458563" y="3081910"/>
                    </a:lnTo>
                    <a:lnTo>
                      <a:pt x="436714" y="3130924"/>
                    </a:lnTo>
                    <a:lnTo>
                      <a:pt x="439643" y="3205584"/>
                    </a:lnTo>
                    <a:lnTo>
                      <a:pt x="422582" y="3219592"/>
                    </a:lnTo>
                    <a:lnTo>
                      <a:pt x="384007" y="3238163"/>
                    </a:lnTo>
                    <a:lnTo>
                      <a:pt x="336953" y="3277673"/>
                    </a:lnTo>
                    <a:lnTo>
                      <a:pt x="296078" y="3288964"/>
                    </a:lnTo>
                    <a:lnTo>
                      <a:pt x="271585" y="3295724"/>
                    </a:lnTo>
                    <a:lnTo>
                      <a:pt x="239408" y="3296620"/>
                    </a:lnTo>
                    <a:lnTo>
                      <a:pt x="207666" y="3301204"/>
                    </a:lnTo>
                    <a:lnTo>
                      <a:pt x="175925" y="3305787"/>
                    </a:lnTo>
                    <a:lnTo>
                      <a:pt x="145516" y="3313833"/>
                    </a:lnTo>
                    <a:lnTo>
                      <a:pt x="124696" y="3331125"/>
                    </a:lnTo>
                    <a:lnTo>
                      <a:pt x="103170" y="3354246"/>
                    </a:lnTo>
                    <a:lnTo>
                      <a:pt x="94530" y="3381457"/>
                    </a:lnTo>
                    <a:lnTo>
                      <a:pt x="90693" y="3411378"/>
                    </a:lnTo>
                    <a:lnTo>
                      <a:pt x="83544" y="3443370"/>
                    </a:lnTo>
                    <a:lnTo>
                      <a:pt x="65191" y="3477320"/>
                    </a:lnTo>
                    <a:lnTo>
                      <a:pt x="51282" y="3495490"/>
                    </a:lnTo>
                    <a:lnTo>
                      <a:pt x="28121" y="3513395"/>
                    </a:lnTo>
                    <a:lnTo>
                      <a:pt x="42788" y="3563232"/>
                    </a:lnTo>
                    <a:lnTo>
                      <a:pt x="86314" y="3602531"/>
                    </a:lnTo>
                    <a:lnTo>
                      <a:pt x="107015" y="3650773"/>
                    </a:lnTo>
                    <a:lnTo>
                      <a:pt x="108551" y="3683220"/>
                    </a:lnTo>
                    <a:lnTo>
                      <a:pt x="102761" y="3721702"/>
                    </a:lnTo>
                    <a:lnTo>
                      <a:pt x="109733" y="3756872"/>
                    </a:lnTo>
                    <a:lnTo>
                      <a:pt x="135987" y="3776307"/>
                    </a:lnTo>
                    <a:lnTo>
                      <a:pt x="165083" y="3802726"/>
                    </a:lnTo>
                    <a:lnTo>
                      <a:pt x="184545" y="3830320"/>
                    </a:lnTo>
                    <a:lnTo>
                      <a:pt x="184999" y="3853098"/>
                    </a:lnTo>
                    <a:lnTo>
                      <a:pt x="168836" y="3877057"/>
                    </a:lnTo>
                    <a:lnTo>
                      <a:pt x="142515" y="3891903"/>
                    </a:lnTo>
                    <a:lnTo>
                      <a:pt x="118576" y="3894943"/>
                    </a:lnTo>
                    <a:lnTo>
                      <a:pt x="87976" y="3907849"/>
                    </a:lnTo>
                    <a:lnTo>
                      <a:pt x="96180" y="3931056"/>
                    </a:lnTo>
                    <a:lnTo>
                      <a:pt x="117943" y="3957073"/>
                    </a:lnTo>
                    <a:lnTo>
                      <a:pt x="141962" y="3982174"/>
                    </a:lnTo>
                    <a:lnTo>
                      <a:pt x="161423" y="4008507"/>
                    </a:lnTo>
                    <a:lnTo>
                      <a:pt x="180885" y="4034834"/>
                    </a:lnTo>
                    <a:lnTo>
                      <a:pt x="195994" y="4063007"/>
                    </a:lnTo>
                    <a:lnTo>
                      <a:pt x="192709" y="4090119"/>
                    </a:lnTo>
                    <a:lnTo>
                      <a:pt x="187599" y="4132254"/>
                    </a:lnTo>
                    <a:lnTo>
                      <a:pt x="180496" y="4172279"/>
                    </a:lnTo>
                    <a:lnTo>
                      <a:pt x="172306" y="4212534"/>
                    </a:lnTo>
                    <a:lnTo>
                      <a:pt x="164114" y="4252795"/>
                    </a:lnTo>
                    <a:lnTo>
                      <a:pt x="154914" y="4292899"/>
                    </a:lnTo>
                    <a:lnTo>
                      <a:pt x="145101" y="4333596"/>
                    </a:lnTo>
                    <a:lnTo>
                      <a:pt x="138652" y="4360319"/>
                    </a:lnTo>
                    <a:lnTo>
                      <a:pt x="131970" y="4384990"/>
                    </a:lnTo>
                    <a:lnTo>
                      <a:pt x="127420" y="4409767"/>
                    </a:lnTo>
                    <a:lnTo>
                      <a:pt x="122876" y="4434538"/>
                    </a:lnTo>
                    <a:lnTo>
                      <a:pt x="119335" y="4459849"/>
                    </a:lnTo>
                    <a:lnTo>
                      <a:pt x="120620" y="4487297"/>
                    </a:lnTo>
                    <a:lnTo>
                      <a:pt x="122124" y="4519540"/>
                    </a:lnTo>
                    <a:lnTo>
                      <a:pt x="139925" y="4563514"/>
                    </a:lnTo>
                    <a:lnTo>
                      <a:pt x="161423" y="4605636"/>
                    </a:lnTo>
                    <a:lnTo>
                      <a:pt x="182922" y="4647751"/>
                    </a:lnTo>
                    <a:lnTo>
                      <a:pt x="209085" y="4687512"/>
                    </a:lnTo>
                    <a:lnTo>
                      <a:pt x="226713" y="4713087"/>
                    </a:lnTo>
                    <a:lnTo>
                      <a:pt x="250454" y="4738932"/>
                    </a:lnTo>
                    <a:lnTo>
                      <a:pt x="277276" y="4774512"/>
                    </a:lnTo>
                    <a:lnTo>
                      <a:pt x="304586" y="4866729"/>
                    </a:lnTo>
                    <a:lnTo>
                      <a:pt x="302884" y="4891274"/>
                    </a:lnTo>
                    <a:lnTo>
                      <a:pt x="301202" y="4915570"/>
                    </a:lnTo>
                    <a:lnTo>
                      <a:pt x="290815" y="4956056"/>
                    </a:lnTo>
                    <a:lnTo>
                      <a:pt x="283844" y="4979686"/>
                    </a:lnTo>
                    <a:lnTo>
                      <a:pt x="272290" y="5018918"/>
                    </a:lnTo>
                    <a:lnTo>
                      <a:pt x="254147" y="5055329"/>
                    </a:lnTo>
                    <a:lnTo>
                      <a:pt x="233513" y="5091226"/>
                    </a:lnTo>
                    <a:lnTo>
                      <a:pt x="212877" y="5127121"/>
                    </a:lnTo>
                    <a:lnTo>
                      <a:pt x="189010" y="5162596"/>
                    </a:lnTo>
                    <a:lnTo>
                      <a:pt x="168222" y="5197318"/>
                    </a:lnTo>
                    <a:lnTo>
                      <a:pt x="147950" y="5231176"/>
                    </a:lnTo>
                    <a:lnTo>
                      <a:pt x="113182" y="5260609"/>
                    </a:lnTo>
                    <a:lnTo>
                      <a:pt x="83894" y="5295252"/>
                    </a:lnTo>
                    <a:lnTo>
                      <a:pt x="74581" y="5321117"/>
                    </a:lnTo>
                    <a:lnTo>
                      <a:pt x="80365" y="5347984"/>
                    </a:lnTo>
                    <a:lnTo>
                      <a:pt x="71653" y="5374146"/>
                    </a:lnTo>
                    <a:lnTo>
                      <a:pt x="57561" y="5416374"/>
                    </a:lnTo>
                    <a:lnTo>
                      <a:pt x="30528" y="5451446"/>
                    </a:lnTo>
                    <a:lnTo>
                      <a:pt x="6358" y="5488404"/>
                    </a:lnTo>
                    <a:lnTo>
                      <a:pt x="0" y="5522703"/>
                    </a:lnTo>
                    <a:lnTo>
                      <a:pt x="7280" y="5546498"/>
                    </a:lnTo>
                    <a:lnTo>
                      <a:pt x="32202" y="5568657"/>
                    </a:lnTo>
                    <a:lnTo>
                      <a:pt x="62672" y="5587611"/>
                    </a:lnTo>
                    <a:lnTo>
                      <a:pt x="114098" y="5612348"/>
                    </a:lnTo>
                    <a:lnTo>
                      <a:pt x="151260" y="5629013"/>
                    </a:lnTo>
                    <a:lnTo>
                      <a:pt x="173664" y="5661144"/>
                    </a:lnTo>
                    <a:lnTo>
                      <a:pt x="175510" y="5686138"/>
                    </a:lnTo>
                    <a:lnTo>
                      <a:pt x="167504" y="5731109"/>
                    </a:lnTo>
                    <a:lnTo>
                      <a:pt x="157341" y="5749561"/>
                    </a:lnTo>
                    <a:lnTo>
                      <a:pt x="137227" y="5764671"/>
                    </a:lnTo>
                    <a:lnTo>
                      <a:pt x="111097" y="5791722"/>
                    </a:lnTo>
                    <a:lnTo>
                      <a:pt x="95890" y="5807465"/>
                    </a:lnTo>
                    <a:lnTo>
                      <a:pt x="80933" y="5825568"/>
                    </a:lnTo>
                    <a:lnTo>
                      <a:pt x="66207" y="5842055"/>
                    </a:lnTo>
                    <a:lnTo>
                      <a:pt x="51487" y="5858535"/>
                    </a:lnTo>
                    <a:lnTo>
                      <a:pt x="36819" y="5874271"/>
                    </a:lnTo>
                    <a:lnTo>
                      <a:pt x="18603" y="5886940"/>
                    </a:lnTo>
                    <a:lnTo>
                      <a:pt x="45123" y="5899411"/>
                    </a:lnTo>
                    <a:lnTo>
                      <a:pt x="70289" y="5910062"/>
                    </a:lnTo>
                    <a:lnTo>
                      <a:pt x="86354" y="5925375"/>
                    </a:lnTo>
                    <a:lnTo>
                      <a:pt x="93515" y="5954030"/>
                    </a:lnTo>
                    <a:lnTo>
                      <a:pt x="96034" y="5974903"/>
                    </a:lnTo>
                    <a:lnTo>
                      <a:pt x="104299" y="5997115"/>
                    </a:lnTo>
                    <a:lnTo>
                      <a:pt x="123338" y="6010713"/>
                    </a:lnTo>
                    <a:lnTo>
                      <a:pt x="153265" y="6018878"/>
                    </a:lnTo>
                    <a:lnTo>
                      <a:pt x="183187" y="6024318"/>
                    </a:lnTo>
                    <a:lnTo>
                      <a:pt x="206308" y="6027042"/>
                    </a:lnTo>
                    <a:lnTo>
                      <a:pt x="218272" y="6049755"/>
                    </a:lnTo>
                    <a:lnTo>
                      <a:pt x="224273" y="6072336"/>
                    </a:lnTo>
                    <a:lnTo>
                      <a:pt x="228071" y="6095049"/>
                    </a:lnTo>
                    <a:lnTo>
                      <a:pt x="232134" y="6118592"/>
                    </a:lnTo>
                    <a:lnTo>
                      <a:pt x="240339" y="6142235"/>
                    </a:lnTo>
                    <a:lnTo>
                      <a:pt x="255276" y="6165779"/>
                    </a:lnTo>
                    <a:lnTo>
                      <a:pt x="282262" y="6179220"/>
                    </a:lnTo>
                    <a:lnTo>
                      <a:pt x="309908" y="6187714"/>
                    </a:lnTo>
                    <a:lnTo>
                      <a:pt x="338246" y="6192983"/>
                    </a:lnTo>
                    <a:lnTo>
                      <a:pt x="366577" y="6198536"/>
                    </a:lnTo>
                    <a:lnTo>
                      <a:pt x="394818" y="6203673"/>
                    </a:lnTo>
                    <a:lnTo>
                      <a:pt x="422582" y="6213387"/>
                    </a:lnTo>
                    <a:lnTo>
                      <a:pt x="411317" y="6246276"/>
                    </a:lnTo>
                    <a:lnTo>
                      <a:pt x="390827" y="6259302"/>
                    </a:lnTo>
                    <a:lnTo>
                      <a:pt x="369532" y="6270520"/>
                    </a:lnTo>
                    <a:lnTo>
                      <a:pt x="348237" y="6281731"/>
                    </a:lnTo>
                    <a:lnTo>
                      <a:pt x="326343" y="6291676"/>
                    </a:lnTo>
                    <a:lnTo>
                      <a:pt x="305601" y="6301799"/>
                    </a:lnTo>
                    <a:lnTo>
                      <a:pt x="257511" y="6344923"/>
                    </a:lnTo>
                    <a:lnTo>
                      <a:pt x="237917" y="6366165"/>
                    </a:lnTo>
                    <a:lnTo>
                      <a:pt x="223995" y="6391576"/>
                    </a:lnTo>
                    <a:lnTo>
                      <a:pt x="210061" y="6416986"/>
                    </a:lnTo>
                    <a:lnTo>
                      <a:pt x="201989" y="6446630"/>
                    </a:lnTo>
                    <a:lnTo>
                      <a:pt x="189985" y="6490868"/>
                    </a:lnTo>
                    <a:lnTo>
                      <a:pt x="160064" y="6599684"/>
                    </a:lnTo>
                    <a:lnTo>
                      <a:pt x="143630" y="6660259"/>
                    </a:lnTo>
                    <a:lnTo>
                      <a:pt x="140959" y="6698252"/>
                    </a:lnTo>
                    <a:lnTo>
                      <a:pt x="149183" y="6722105"/>
                    </a:lnTo>
                    <a:lnTo>
                      <a:pt x="157407" y="6745953"/>
                    </a:lnTo>
                    <a:lnTo>
                      <a:pt x="176446" y="6756860"/>
                    </a:lnTo>
                    <a:lnTo>
                      <a:pt x="199509" y="6761549"/>
                    </a:lnTo>
                    <a:lnTo>
                      <a:pt x="222571" y="6766232"/>
                    </a:lnTo>
                    <a:lnTo>
                      <a:pt x="250302" y="6765282"/>
                    </a:lnTo>
                    <a:lnTo>
                      <a:pt x="278397" y="6768349"/>
                    </a:lnTo>
                    <a:lnTo>
                      <a:pt x="306491" y="6771415"/>
                    </a:lnTo>
                    <a:lnTo>
                      <a:pt x="333979" y="6777905"/>
                    </a:lnTo>
                    <a:lnTo>
                      <a:pt x="357291" y="6796911"/>
                    </a:lnTo>
                    <a:lnTo>
                      <a:pt x="377242" y="6821365"/>
                    </a:lnTo>
                    <a:lnTo>
                      <a:pt x="386303" y="6851359"/>
                    </a:lnTo>
                    <a:lnTo>
                      <a:pt x="391295" y="6883964"/>
                    </a:lnTo>
                    <a:lnTo>
                      <a:pt x="397343" y="6916602"/>
                    </a:lnTo>
                    <a:lnTo>
                      <a:pt x="412452" y="6946543"/>
                    </a:lnTo>
                    <a:lnTo>
                      <a:pt x="442987" y="6971017"/>
                    </a:lnTo>
                    <a:lnTo>
                      <a:pt x="465192" y="6983264"/>
                    </a:lnTo>
                    <a:lnTo>
                      <a:pt x="490033" y="6994119"/>
                    </a:lnTo>
                    <a:lnTo>
                      <a:pt x="513716" y="7005027"/>
                    </a:lnTo>
                    <a:lnTo>
                      <a:pt x="537392" y="7015935"/>
                    </a:lnTo>
                    <a:lnTo>
                      <a:pt x="560442" y="7026295"/>
                    </a:lnTo>
                    <a:lnTo>
                      <a:pt x="581722" y="7039030"/>
                    </a:lnTo>
                    <a:lnTo>
                      <a:pt x="606104" y="7053605"/>
                    </a:lnTo>
                    <a:lnTo>
                      <a:pt x="630882" y="7076245"/>
                    </a:lnTo>
                    <a:lnTo>
                      <a:pt x="653813" y="7093438"/>
                    </a:lnTo>
                    <a:lnTo>
                      <a:pt x="676920" y="7110756"/>
                    </a:lnTo>
                    <a:lnTo>
                      <a:pt x="700847" y="7131800"/>
                    </a:lnTo>
                    <a:lnTo>
                      <a:pt x="724549" y="7147846"/>
                    </a:lnTo>
                    <a:lnTo>
                      <a:pt x="750177" y="7165191"/>
                    </a:lnTo>
                    <a:lnTo>
                      <a:pt x="785756" y="7188649"/>
                    </a:lnTo>
                    <a:lnTo>
                      <a:pt x="751345" y="7231859"/>
                    </a:lnTo>
                    <a:lnTo>
                      <a:pt x="734065" y="7260744"/>
                    </a:lnTo>
                    <a:lnTo>
                      <a:pt x="750388" y="7293382"/>
                    </a:lnTo>
                    <a:lnTo>
                      <a:pt x="783092" y="7303591"/>
                    </a:lnTo>
                    <a:lnTo>
                      <a:pt x="806154" y="7287941"/>
                    </a:lnTo>
                    <a:lnTo>
                      <a:pt x="833905" y="7273716"/>
                    </a:lnTo>
                    <a:lnTo>
                      <a:pt x="860569" y="7282507"/>
                    </a:lnTo>
                    <a:lnTo>
                      <a:pt x="872446" y="7316022"/>
                    </a:lnTo>
                    <a:lnTo>
                      <a:pt x="874168" y="7336909"/>
                    </a:lnTo>
                    <a:lnTo>
                      <a:pt x="875889" y="7357801"/>
                    </a:lnTo>
                    <a:lnTo>
                      <a:pt x="893213" y="7388599"/>
                    </a:lnTo>
                    <a:lnTo>
                      <a:pt x="937702" y="7395003"/>
                    </a:lnTo>
                    <a:lnTo>
                      <a:pt x="966662" y="7398123"/>
                    </a:lnTo>
                    <a:lnTo>
                      <a:pt x="995824" y="7403504"/>
                    </a:lnTo>
                    <a:lnTo>
                      <a:pt x="1024551" y="7419945"/>
                    </a:lnTo>
                    <a:lnTo>
                      <a:pt x="1050990" y="7453889"/>
                    </a:lnTo>
                    <a:lnTo>
                      <a:pt x="1053008" y="7491064"/>
                    </a:lnTo>
                    <a:lnTo>
                      <a:pt x="1046262" y="7525530"/>
                    </a:lnTo>
                    <a:lnTo>
                      <a:pt x="1042832" y="7559981"/>
                    </a:lnTo>
                    <a:lnTo>
                      <a:pt x="1101488" y="7575354"/>
                    </a:lnTo>
                    <a:lnTo>
                      <a:pt x="1155731" y="7581744"/>
                    </a:lnTo>
                    <a:lnTo>
                      <a:pt x="1209974" y="7588148"/>
                    </a:lnTo>
                    <a:lnTo>
                      <a:pt x="1264613" y="7592514"/>
                    </a:lnTo>
                    <a:lnTo>
                      <a:pt x="1292014" y="7574609"/>
                    </a:lnTo>
                    <a:lnTo>
                      <a:pt x="1306714" y="7539583"/>
                    </a:lnTo>
                    <a:lnTo>
                      <a:pt x="1314397" y="7501313"/>
                    </a:lnTo>
                    <a:lnTo>
                      <a:pt x="1326361" y="7470311"/>
                    </a:lnTo>
                    <a:lnTo>
                      <a:pt x="1350240" y="7460688"/>
                    </a:lnTo>
                    <a:lnTo>
                      <a:pt x="1377616" y="7402225"/>
                    </a:lnTo>
                    <a:lnTo>
                      <a:pt x="1396484" y="7379077"/>
                    </a:lnTo>
                    <a:lnTo>
                      <a:pt x="1448319" y="7381094"/>
                    </a:lnTo>
                    <a:lnTo>
                      <a:pt x="1476032" y="7394047"/>
                    </a:lnTo>
                    <a:lnTo>
                      <a:pt x="1483537" y="7430767"/>
                    </a:lnTo>
                    <a:lnTo>
                      <a:pt x="1485720" y="7452333"/>
                    </a:lnTo>
                    <a:lnTo>
                      <a:pt x="1484453" y="7480031"/>
                    </a:lnTo>
                    <a:lnTo>
                      <a:pt x="1482178" y="7506939"/>
                    </a:lnTo>
                    <a:lnTo>
                      <a:pt x="1477621" y="7560746"/>
                    </a:lnTo>
                    <a:lnTo>
                      <a:pt x="1467030" y="7614824"/>
                    </a:lnTo>
                    <a:lnTo>
                      <a:pt x="1463171" y="7649224"/>
                    </a:lnTo>
                    <a:lnTo>
                      <a:pt x="1474073" y="7697525"/>
                    </a:lnTo>
                    <a:lnTo>
                      <a:pt x="1490343" y="7715047"/>
                    </a:lnTo>
                    <a:lnTo>
                      <a:pt x="1512139" y="7738532"/>
                    </a:lnTo>
                    <a:lnTo>
                      <a:pt x="1553891" y="7774151"/>
                    </a:lnTo>
                    <a:lnTo>
                      <a:pt x="1586918" y="7812981"/>
                    </a:lnTo>
                    <a:lnTo>
                      <a:pt x="1603426" y="7832397"/>
                    </a:lnTo>
                    <a:lnTo>
                      <a:pt x="1617974" y="7852380"/>
                    </a:lnTo>
                    <a:lnTo>
                      <a:pt x="1626363" y="7872830"/>
                    </a:lnTo>
                    <a:lnTo>
                      <a:pt x="1634745" y="7893281"/>
                    </a:lnTo>
                    <a:lnTo>
                      <a:pt x="1630438" y="7932679"/>
                    </a:lnTo>
                    <a:lnTo>
                      <a:pt x="1621020" y="7955504"/>
                    </a:lnTo>
                    <a:lnTo>
                      <a:pt x="1547460" y="7988446"/>
                    </a:lnTo>
                    <a:lnTo>
                      <a:pt x="1537318" y="8010235"/>
                    </a:lnTo>
                    <a:lnTo>
                      <a:pt x="1535227" y="8031972"/>
                    </a:lnTo>
                    <a:lnTo>
                      <a:pt x="1547000" y="8065131"/>
                    </a:lnTo>
                    <a:lnTo>
                      <a:pt x="1602601" y="8082363"/>
                    </a:lnTo>
                    <a:lnTo>
                      <a:pt x="1623639" y="8112225"/>
                    </a:lnTo>
                    <a:lnTo>
                      <a:pt x="1620447" y="8142021"/>
                    </a:lnTo>
                    <a:lnTo>
                      <a:pt x="1598749" y="8153272"/>
                    </a:lnTo>
                    <a:lnTo>
                      <a:pt x="1571955" y="8181597"/>
                    </a:lnTo>
                    <a:lnTo>
                      <a:pt x="1558745" y="8198012"/>
                    </a:lnTo>
                    <a:lnTo>
                      <a:pt x="1546901" y="8218694"/>
                    </a:lnTo>
                    <a:lnTo>
                      <a:pt x="1537945" y="8241446"/>
                    </a:lnTo>
                    <a:lnTo>
                      <a:pt x="1528995" y="8264192"/>
                    </a:lnTo>
                    <a:lnTo>
                      <a:pt x="1522868" y="8288844"/>
                    </a:lnTo>
                    <a:lnTo>
                      <a:pt x="1521622" y="8310818"/>
                    </a:lnTo>
                    <a:lnTo>
                      <a:pt x="1520375" y="8332785"/>
                    </a:lnTo>
                    <a:lnTo>
                      <a:pt x="1533869" y="8366584"/>
                    </a:lnTo>
                    <a:lnTo>
                      <a:pt x="1559371" y="8385287"/>
                    </a:lnTo>
                    <a:lnTo>
                      <a:pt x="1588911" y="8385973"/>
                    </a:lnTo>
                    <a:lnTo>
                      <a:pt x="1618197" y="8395146"/>
                    </a:lnTo>
                    <a:lnTo>
                      <a:pt x="1642216" y="8402672"/>
                    </a:lnTo>
                    <a:lnTo>
                      <a:pt x="1667165" y="8430515"/>
                    </a:lnTo>
                    <a:lnTo>
                      <a:pt x="1679445" y="8464947"/>
                    </a:lnTo>
                    <a:lnTo>
                      <a:pt x="1679372" y="8504892"/>
                    </a:lnTo>
                    <a:lnTo>
                      <a:pt x="1676497" y="8526807"/>
                    </a:lnTo>
                    <a:lnTo>
                      <a:pt x="1672606" y="8547489"/>
                    </a:lnTo>
                    <a:lnTo>
                      <a:pt x="1668721" y="8568171"/>
                    </a:lnTo>
                    <a:lnTo>
                      <a:pt x="1661725" y="8605979"/>
                    </a:lnTo>
                    <a:lnTo>
                      <a:pt x="1608120" y="8618068"/>
                    </a:lnTo>
                    <a:lnTo>
                      <a:pt x="1583027" y="8625052"/>
                    </a:lnTo>
                    <a:lnTo>
                      <a:pt x="1549994" y="8646755"/>
                    </a:lnTo>
                    <a:lnTo>
                      <a:pt x="1532503" y="8675344"/>
                    </a:lnTo>
                    <a:lnTo>
                      <a:pt x="1511743" y="8702687"/>
                    </a:lnTo>
                    <a:lnTo>
                      <a:pt x="1490343" y="8710712"/>
                    </a:lnTo>
                    <a:lnTo>
                      <a:pt x="1468935" y="8718738"/>
                    </a:lnTo>
                    <a:lnTo>
                      <a:pt x="1436746" y="8720605"/>
                    </a:lnTo>
                    <a:lnTo>
                      <a:pt x="1384244" y="8713430"/>
                    </a:lnTo>
                    <a:lnTo>
                      <a:pt x="1360819" y="8711154"/>
                    </a:lnTo>
                    <a:lnTo>
                      <a:pt x="1336938" y="8707554"/>
                    </a:lnTo>
                    <a:lnTo>
                      <a:pt x="1313513" y="8702555"/>
                    </a:lnTo>
                    <a:lnTo>
                      <a:pt x="1289904" y="8698499"/>
                    </a:lnTo>
                    <a:lnTo>
                      <a:pt x="1266392" y="8693005"/>
                    </a:lnTo>
                    <a:lnTo>
                      <a:pt x="1242783" y="8686233"/>
                    </a:lnTo>
                    <a:lnTo>
                      <a:pt x="1244149" y="8715897"/>
                    </a:lnTo>
                    <a:lnTo>
                      <a:pt x="1253711" y="8743173"/>
                    </a:lnTo>
                    <a:lnTo>
                      <a:pt x="1267270" y="8769203"/>
                    </a:lnTo>
                    <a:lnTo>
                      <a:pt x="1280829" y="8795240"/>
                    </a:lnTo>
                    <a:lnTo>
                      <a:pt x="1297521" y="8820353"/>
                    </a:lnTo>
                    <a:lnTo>
                      <a:pt x="1314871" y="8845374"/>
                    </a:lnTo>
                    <a:lnTo>
                      <a:pt x="1332230" y="8870395"/>
                    </a:lnTo>
                    <a:lnTo>
                      <a:pt x="1349719" y="8894915"/>
                    </a:lnTo>
                    <a:lnTo>
                      <a:pt x="1362481" y="8921545"/>
                    </a:lnTo>
                    <a:lnTo>
                      <a:pt x="1375241" y="8948176"/>
                    </a:lnTo>
                    <a:lnTo>
                      <a:pt x="1384475" y="8976375"/>
                    </a:lnTo>
                    <a:lnTo>
                      <a:pt x="1384244" y="9007239"/>
                    </a:lnTo>
                    <a:lnTo>
                      <a:pt x="1349449" y="9018984"/>
                    </a:lnTo>
                    <a:lnTo>
                      <a:pt x="1324395" y="9020839"/>
                    </a:lnTo>
                    <a:lnTo>
                      <a:pt x="1299341" y="9022711"/>
                    </a:lnTo>
                    <a:lnTo>
                      <a:pt x="1273463" y="9022460"/>
                    </a:lnTo>
                    <a:lnTo>
                      <a:pt x="1252438" y="9037338"/>
                    </a:lnTo>
                    <a:lnTo>
                      <a:pt x="1243225" y="9096660"/>
                    </a:lnTo>
                    <a:lnTo>
                      <a:pt x="1240065" y="9137811"/>
                    </a:lnTo>
                    <a:lnTo>
                      <a:pt x="1236893" y="9178970"/>
                    </a:lnTo>
                    <a:lnTo>
                      <a:pt x="1237527" y="9218896"/>
                    </a:lnTo>
                    <a:lnTo>
                      <a:pt x="1253263" y="9235469"/>
                    </a:lnTo>
                    <a:lnTo>
                      <a:pt x="1275751" y="9256151"/>
                    </a:lnTo>
                    <a:lnTo>
                      <a:pt x="1308382" y="9262311"/>
                    </a:lnTo>
                    <a:lnTo>
                      <a:pt x="1331195" y="9261585"/>
                    </a:lnTo>
                    <a:lnTo>
                      <a:pt x="1354013" y="9260873"/>
                    </a:lnTo>
                    <a:lnTo>
                      <a:pt x="1380063" y="9260148"/>
                    </a:lnTo>
                    <a:lnTo>
                      <a:pt x="1401925" y="9264315"/>
                    </a:lnTo>
                    <a:lnTo>
                      <a:pt x="1423794" y="9268470"/>
                    </a:lnTo>
                    <a:lnTo>
                      <a:pt x="1449533" y="9298319"/>
                    </a:lnTo>
                    <a:lnTo>
                      <a:pt x="1456999" y="9318822"/>
                    </a:lnTo>
                    <a:lnTo>
                      <a:pt x="1453596" y="9350662"/>
                    </a:lnTo>
                    <a:lnTo>
                      <a:pt x="1433212" y="9398970"/>
                    </a:lnTo>
                    <a:lnTo>
                      <a:pt x="1435579" y="9429459"/>
                    </a:lnTo>
                    <a:lnTo>
                      <a:pt x="1458529" y="9464918"/>
                    </a:lnTo>
                    <a:lnTo>
                      <a:pt x="1484895" y="9498270"/>
                    </a:lnTo>
                    <a:lnTo>
                      <a:pt x="1511269" y="9531614"/>
                    </a:lnTo>
                    <a:lnTo>
                      <a:pt x="1540648" y="9562398"/>
                    </a:lnTo>
                    <a:lnTo>
                      <a:pt x="1558350" y="9583958"/>
                    </a:lnTo>
                    <a:lnTo>
                      <a:pt x="1592399" y="9625426"/>
                    </a:lnTo>
                    <a:lnTo>
                      <a:pt x="1599825" y="9657615"/>
                    </a:lnTo>
                    <a:lnTo>
                      <a:pt x="1607316" y="9688697"/>
                    </a:lnTo>
                    <a:lnTo>
                      <a:pt x="1614808" y="9719773"/>
                    </a:lnTo>
                    <a:lnTo>
                      <a:pt x="1622366" y="9749298"/>
                    </a:lnTo>
                    <a:lnTo>
                      <a:pt x="1657641" y="9789348"/>
                    </a:lnTo>
                    <a:lnTo>
                      <a:pt x="1697409" y="9821802"/>
                    </a:lnTo>
                    <a:lnTo>
                      <a:pt x="1731096" y="9824717"/>
                    </a:lnTo>
                    <a:lnTo>
                      <a:pt x="1763332" y="9819639"/>
                    </a:lnTo>
                    <a:lnTo>
                      <a:pt x="1790945" y="9826068"/>
                    </a:lnTo>
                    <a:lnTo>
                      <a:pt x="1811660" y="9830910"/>
                    </a:lnTo>
                    <a:lnTo>
                      <a:pt x="1832683" y="9839820"/>
                    </a:lnTo>
                    <a:lnTo>
                      <a:pt x="1853510" y="9843757"/>
                    </a:lnTo>
                    <a:lnTo>
                      <a:pt x="1890303" y="9850701"/>
                    </a:lnTo>
                    <a:lnTo>
                      <a:pt x="1928251" y="9854481"/>
                    </a:lnTo>
                    <a:lnTo>
                      <a:pt x="1965050" y="9860079"/>
                    </a:lnTo>
                    <a:lnTo>
                      <a:pt x="2001844" y="9865678"/>
                    </a:lnTo>
                    <a:lnTo>
                      <a:pt x="2037469" y="9872715"/>
                    </a:lnTo>
                    <a:lnTo>
                      <a:pt x="2072501" y="9888641"/>
                    </a:lnTo>
                    <a:lnTo>
                      <a:pt x="2100695" y="9901456"/>
                    </a:lnTo>
                    <a:lnTo>
                      <a:pt x="2129521" y="9919460"/>
                    </a:lnTo>
                    <a:lnTo>
                      <a:pt x="2159561" y="9934885"/>
                    </a:lnTo>
                    <a:lnTo>
                      <a:pt x="2189593" y="9950317"/>
                    </a:lnTo>
                    <a:lnTo>
                      <a:pt x="2221678" y="9963210"/>
                    </a:lnTo>
                    <a:lnTo>
                      <a:pt x="2253413" y="9967536"/>
                    </a:lnTo>
                    <a:lnTo>
                      <a:pt x="2276534" y="9970683"/>
                    </a:lnTo>
                    <a:lnTo>
                      <a:pt x="2299188" y="9970095"/>
                    </a:lnTo>
                    <a:lnTo>
                      <a:pt x="2321419" y="9971611"/>
                    </a:lnTo>
                    <a:lnTo>
                      <a:pt x="2343657" y="9973123"/>
                    </a:lnTo>
                    <a:lnTo>
                      <a:pt x="2364972" y="9977864"/>
                    </a:lnTo>
                    <a:lnTo>
                      <a:pt x="2382633" y="9994734"/>
                    </a:lnTo>
                    <a:lnTo>
                      <a:pt x="2415040" y="10005121"/>
                    </a:lnTo>
                    <a:lnTo>
                      <a:pt x="2462741" y="9995565"/>
                    </a:lnTo>
                    <a:lnTo>
                      <a:pt x="2534850" y="9978516"/>
                    </a:lnTo>
                    <a:lnTo>
                      <a:pt x="2607064" y="9966165"/>
                    </a:lnTo>
                    <a:lnTo>
                      <a:pt x="2679278" y="9953813"/>
                    </a:lnTo>
                    <a:lnTo>
                      <a:pt x="2750945" y="9946638"/>
                    </a:lnTo>
                    <a:lnTo>
                      <a:pt x="2786610" y="9956642"/>
                    </a:lnTo>
                    <a:lnTo>
                      <a:pt x="2826905" y="9968506"/>
                    </a:lnTo>
                    <a:lnTo>
                      <a:pt x="2866006" y="9982864"/>
                    </a:lnTo>
                    <a:lnTo>
                      <a:pt x="2903584" y="9997450"/>
                    </a:lnTo>
                    <a:lnTo>
                      <a:pt x="2923527" y="10004428"/>
                    </a:lnTo>
                    <a:lnTo>
                      <a:pt x="2948514" y="10003921"/>
                    </a:lnTo>
                    <a:lnTo>
                      <a:pt x="2975680" y="10000174"/>
                    </a:lnTo>
                    <a:lnTo>
                      <a:pt x="3002844" y="9996422"/>
                    </a:lnTo>
                    <a:lnTo>
                      <a:pt x="3033154" y="9989062"/>
                    </a:lnTo>
                    <a:lnTo>
                      <a:pt x="3062732" y="9979771"/>
                    </a:lnTo>
                    <a:lnTo>
                      <a:pt x="3121876" y="9961186"/>
                    </a:lnTo>
                    <a:lnTo>
                      <a:pt x="3180643" y="9936395"/>
                    </a:lnTo>
                    <a:lnTo>
                      <a:pt x="3220515" y="9926721"/>
                    </a:lnTo>
                    <a:lnTo>
                      <a:pt x="3241376" y="9921663"/>
                    </a:lnTo>
                    <a:lnTo>
                      <a:pt x="3272952" y="9912569"/>
                    </a:lnTo>
                    <a:lnTo>
                      <a:pt x="3304845" y="9904957"/>
                    </a:lnTo>
                    <a:lnTo>
                      <a:pt x="3336737" y="9897354"/>
                    </a:lnTo>
                    <a:lnTo>
                      <a:pt x="3368255" y="9892143"/>
                    </a:lnTo>
                    <a:lnTo>
                      <a:pt x="3389173" y="9894075"/>
                    </a:lnTo>
                    <a:lnTo>
                      <a:pt x="3411768" y="9896160"/>
                    </a:lnTo>
                    <a:lnTo>
                      <a:pt x="3434620" y="9903428"/>
                    </a:lnTo>
                    <a:lnTo>
                      <a:pt x="3457187" y="9906316"/>
                    </a:lnTo>
                    <a:lnTo>
                      <a:pt x="3511469" y="9913266"/>
                    </a:lnTo>
                    <a:lnTo>
                      <a:pt x="3572103" y="9900538"/>
                    </a:lnTo>
                    <a:lnTo>
                      <a:pt x="3625851" y="9894075"/>
                    </a:lnTo>
                    <a:lnTo>
                      <a:pt x="3658259" y="9890185"/>
                    </a:lnTo>
                    <a:lnTo>
                      <a:pt x="3690184" y="9889855"/>
                    </a:lnTo>
                    <a:lnTo>
                      <a:pt x="3722427" y="9877754"/>
                    </a:lnTo>
                    <a:lnTo>
                      <a:pt x="3742060" y="9870380"/>
                    </a:lnTo>
                    <a:lnTo>
                      <a:pt x="3761885" y="9856070"/>
                    </a:lnTo>
                    <a:lnTo>
                      <a:pt x="3782276" y="9846467"/>
                    </a:lnTo>
                    <a:lnTo>
                      <a:pt x="3802667" y="9836871"/>
                    </a:lnTo>
                    <a:lnTo>
                      <a:pt x="3824154" y="9831873"/>
                    </a:lnTo>
                    <a:lnTo>
                      <a:pt x="3847565" y="9839668"/>
                    </a:lnTo>
                    <a:lnTo>
                      <a:pt x="3898622" y="9856682"/>
                    </a:lnTo>
                    <a:lnTo>
                      <a:pt x="3943336" y="9888378"/>
                    </a:lnTo>
                    <a:lnTo>
                      <a:pt x="3990384" y="9913122"/>
                    </a:lnTo>
                    <a:lnTo>
                      <a:pt x="4013908" y="9925493"/>
                    </a:lnTo>
                    <a:lnTo>
                      <a:pt x="4038217" y="9935228"/>
                    </a:lnTo>
                    <a:lnTo>
                      <a:pt x="4063839" y="9941685"/>
                    </a:lnTo>
                    <a:lnTo>
                      <a:pt x="4089453" y="9948140"/>
                    </a:lnTo>
                    <a:lnTo>
                      <a:pt x="4115668" y="9950462"/>
                    </a:lnTo>
                    <a:lnTo>
                      <a:pt x="4145451" y="9945760"/>
                    </a:lnTo>
                    <a:lnTo>
                      <a:pt x="4172232" y="9941533"/>
                    </a:lnTo>
                    <a:lnTo>
                      <a:pt x="4194708" y="9927901"/>
                    </a:lnTo>
                    <a:lnTo>
                      <a:pt x="4213457" y="9909032"/>
                    </a:lnTo>
                    <a:lnTo>
                      <a:pt x="4232207" y="9890165"/>
                    </a:lnTo>
                    <a:lnTo>
                      <a:pt x="4247389" y="9866226"/>
                    </a:lnTo>
                    <a:lnTo>
                      <a:pt x="4261065" y="9842385"/>
                    </a:lnTo>
                    <a:lnTo>
                      <a:pt x="4274744" y="9818545"/>
                    </a:lnTo>
                    <a:lnTo>
                      <a:pt x="4287577" y="9794881"/>
                    </a:lnTo>
                    <a:lnTo>
                      <a:pt x="4299151" y="9775737"/>
                    </a:lnTo>
                    <a:lnTo>
                      <a:pt x="4310718" y="9756586"/>
                    </a:lnTo>
                    <a:lnTo>
                      <a:pt x="4334514" y="9737651"/>
                    </a:lnTo>
                    <a:lnTo>
                      <a:pt x="4363214" y="9732620"/>
                    </a:lnTo>
                    <a:lnTo>
                      <a:pt x="4395589" y="9739967"/>
                    </a:lnTo>
                    <a:lnTo>
                      <a:pt x="4429731" y="9753974"/>
                    </a:lnTo>
                    <a:lnTo>
                      <a:pt x="4463707" y="9769630"/>
                    </a:lnTo>
                    <a:lnTo>
                      <a:pt x="4497572" y="9790001"/>
                    </a:lnTo>
                    <a:lnTo>
                      <a:pt x="4524941" y="9793418"/>
                    </a:lnTo>
                    <a:lnTo>
                      <a:pt x="4562459" y="9789295"/>
                    </a:lnTo>
                    <a:lnTo>
                      <a:pt x="4596245" y="9770342"/>
                    </a:lnTo>
                    <a:lnTo>
                      <a:pt x="4629682" y="9748532"/>
                    </a:lnTo>
                    <a:lnTo>
                      <a:pt x="4667219" y="9732448"/>
                    </a:lnTo>
                    <a:lnTo>
                      <a:pt x="4689531" y="9734928"/>
                    </a:lnTo>
                    <a:lnTo>
                      <a:pt x="4711841" y="9737421"/>
                    </a:lnTo>
                    <a:lnTo>
                      <a:pt x="4736188" y="9747940"/>
                    </a:lnTo>
                    <a:lnTo>
                      <a:pt x="4767059" y="9774379"/>
                    </a:lnTo>
                    <a:lnTo>
                      <a:pt x="4787002" y="9791452"/>
                    </a:lnTo>
                    <a:lnTo>
                      <a:pt x="4828438" y="9836179"/>
                    </a:lnTo>
                    <a:lnTo>
                      <a:pt x="4835066" y="9862790"/>
                    </a:lnTo>
                    <a:lnTo>
                      <a:pt x="4926201" y="9838310"/>
                    </a:lnTo>
                    <a:lnTo>
                      <a:pt x="4967453" y="9827124"/>
                    </a:lnTo>
                    <a:lnTo>
                      <a:pt x="5029959" y="9780584"/>
                    </a:lnTo>
                    <a:lnTo>
                      <a:pt x="5052698" y="9774379"/>
                    </a:lnTo>
                    <a:lnTo>
                      <a:pt x="5096904" y="9775196"/>
                    </a:lnTo>
                    <a:lnTo>
                      <a:pt x="5169461" y="9802175"/>
                    </a:lnTo>
                    <a:lnTo>
                      <a:pt x="5237685" y="9817905"/>
                    </a:lnTo>
                    <a:lnTo>
                      <a:pt x="5271800" y="9825766"/>
                    </a:lnTo>
                    <a:lnTo>
                      <a:pt x="5304202" y="9830515"/>
                    </a:lnTo>
                    <a:lnTo>
                      <a:pt x="5332902" y="9827428"/>
                    </a:lnTo>
                    <a:lnTo>
                      <a:pt x="5361603" y="9824335"/>
                    </a:lnTo>
                    <a:lnTo>
                      <a:pt x="5386592" y="9813176"/>
                    </a:lnTo>
                    <a:lnTo>
                      <a:pt x="5402275" y="9789336"/>
                    </a:lnTo>
                    <a:lnTo>
                      <a:pt x="5420319" y="9761900"/>
                    </a:lnTo>
                    <a:lnTo>
                      <a:pt x="5421847" y="9722859"/>
                    </a:lnTo>
                    <a:lnTo>
                      <a:pt x="5436277" y="9695484"/>
                    </a:lnTo>
                    <a:lnTo>
                      <a:pt x="5451176" y="9667264"/>
                    </a:lnTo>
                    <a:lnTo>
                      <a:pt x="5468646" y="9621904"/>
                    </a:lnTo>
                    <a:lnTo>
                      <a:pt x="5487962" y="9597549"/>
                    </a:lnTo>
                    <a:lnTo>
                      <a:pt x="5510972" y="9568551"/>
                    </a:lnTo>
                    <a:lnTo>
                      <a:pt x="5547757" y="9555051"/>
                    </a:lnTo>
                    <a:lnTo>
                      <a:pt x="5585896" y="9541782"/>
                    </a:lnTo>
                    <a:lnTo>
                      <a:pt x="5624041" y="9528513"/>
                    </a:lnTo>
                    <a:lnTo>
                      <a:pt x="5664152" y="9514928"/>
                    </a:lnTo>
                    <a:lnTo>
                      <a:pt x="5691995" y="9486016"/>
                    </a:lnTo>
                    <a:lnTo>
                      <a:pt x="5708476" y="9468896"/>
                    </a:lnTo>
                    <a:lnTo>
                      <a:pt x="5714911" y="9445010"/>
                    </a:lnTo>
                    <a:lnTo>
                      <a:pt x="5720558" y="9420727"/>
                    </a:lnTo>
                    <a:lnTo>
                      <a:pt x="5726202" y="9396443"/>
                    </a:lnTo>
                    <a:lnTo>
                      <a:pt x="5731340" y="9371409"/>
                    </a:lnTo>
                    <a:lnTo>
                      <a:pt x="5740963" y="9351355"/>
                    </a:lnTo>
                    <a:lnTo>
                      <a:pt x="6008154" y="9383254"/>
                    </a:lnTo>
                    <a:lnTo>
                      <a:pt x="6042922" y="9394881"/>
                    </a:lnTo>
                    <a:lnTo>
                      <a:pt x="6049491" y="9419092"/>
                    </a:lnTo>
                    <a:lnTo>
                      <a:pt x="6018719" y="9481703"/>
                    </a:lnTo>
                    <a:lnTo>
                      <a:pt x="6041907" y="9496468"/>
                    </a:lnTo>
                    <a:lnTo>
                      <a:pt x="6070496" y="9505029"/>
                    </a:lnTo>
                    <a:lnTo>
                      <a:pt x="6097332" y="9515937"/>
                    </a:lnTo>
                    <a:lnTo>
                      <a:pt x="6124172" y="9526845"/>
                    </a:lnTo>
                    <a:lnTo>
                      <a:pt x="6148784" y="9541228"/>
                    </a:lnTo>
                    <a:lnTo>
                      <a:pt x="6165344" y="9556747"/>
                    </a:lnTo>
                    <a:lnTo>
                      <a:pt x="6127937" y="9635852"/>
                    </a:lnTo>
                    <a:lnTo>
                      <a:pt x="6124534" y="9666922"/>
                    </a:lnTo>
                    <a:lnTo>
                      <a:pt x="6122029" y="9690002"/>
                    </a:lnTo>
                    <a:lnTo>
                      <a:pt x="6143877" y="9725899"/>
                    </a:lnTo>
                    <a:lnTo>
                      <a:pt x="6146298" y="9751250"/>
                    </a:lnTo>
                    <a:lnTo>
                      <a:pt x="6148573" y="9775374"/>
                    </a:lnTo>
                    <a:lnTo>
                      <a:pt x="6135317" y="9800540"/>
                    </a:lnTo>
                    <a:lnTo>
                      <a:pt x="6142222" y="9824704"/>
                    </a:lnTo>
                    <a:lnTo>
                      <a:pt x="6166096" y="9887303"/>
                    </a:lnTo>
                    <a:lnTo>
                      <a:pt x="6187114" y="9929437"/>
                    </a:lnTo>
                    <a:lnTo>
                      <a:pt x="6208125" y="9971579"/>
                    </a:lnTo>
                    <a:lnTo>
                      <a:pt x="6232137" y="10011637"/>
                    </a:lnTo>
                    <a:lnTo>
                      <a:pt x="6267427" y="10042632"/>
                    </a:lnTo>
                    <a:lnTo>
                      <a:pt x="6290436" y="10056515"/>
                    </a:lnTo>
                    <a:lnTo>
                      <a:pt x="6314969" y="10068181"/>
                    </a:lnTo>
                    <a:lnTo>
                      <a:pt x="6339503" y="10079848"/>
                    </a:lnTo>
                    <a:lnTo>
                      <a:pt x="6364892" y="10089423"/>
                    </a:lnTo>
                    <a:lnTo>
                      <a:pt x="6388424" y="10102185"/>
                    </a:lnTo>
                    <a:lnTo>
                      <a:pt x="6379500" y="10135265"/>
                    </a:lnTo>
                    <a:lnTo>
                      <a:pt x="6357137" y="10163392"/>
                    </a:lnTo>
                    <a:lnTo>
                      <a:pt x="6334774" y="10191519"/>
                    </a:lnTo>
                    <a:lnTo>
                      <a:pt x="6303362" y="10226255"/>
                    </a:lnTo>
                    <a:lnTo>
                      <a:pt x="6272801" y="10261326"/>
                    </a:lnTo>
                    <a:lnTo>
                      <a:pt x="6242247" y="10296404"/>
                    </a:lnTo>
                    <a:lnTo>
                      <a:pt x="6211726" y="10332591"/>
                    </a:lnTo>
                    <a:lnTo>
                      <a:pt x="6191189" y="10364701"/>
                    </a:lnTo>
                    <a:lnTo>
                      <a:pt x="6170660" y="10396812"/>
                    </a:lnTo>
                    <a:lnTo>
                      <a:pt x="6160365" y="10424353"/>
                    </a:lnTo>
                    <a:lnTo>
                      <a:pt x="6176114" y="10457571"/>
                    </a:lnTo>
                    <a:lnTo>
                      <a:pt x="6214318" y="10476241"/>
                    </a:lnTo>
                    <a:lnTo>
                      <a:pt x="6234452" y="10484583"/>
                    </a:lnTo>
                    <a:lnTo>
                      <a:pt x="6256478" y="10491403"/>
                    </a:lnTo>
                    <a:lnTo>
                      <a:pt x="6278243" y="10512961"/>
                    </a:lnTo>
                    <a:lnTo>
                      <a:pt x="6271099" y="10537726"/>
                    </a:lnTo>
                    <a:lnTo>
                      <a:pt x="6272327" y="10559422"/>
                    </a:lnTo>
                    <a:lnTo>
                      <a:pt x="6278243" y="10579616"/>
                    </a:lnTo>
                    <a:lnTo>
                      <a:pt x="6284157" y="10599803"/>
                    </a:lnTo>
                    <a:lnTo>
                      <a:pt x="6305446" y="10634024"/>
                    </a:lnTo>
                    <a:lnTo>
                      <a:pt x="6327539" y="10666524"/>
                    </a:lnTo>
                    <a:lnTo>
                      <a:pt x="6351235" y="10692395"/>
                    </a:lnTo>
                    <a:lnTo>
                      <a:pt x="6346256" y="10712912"/>
                    </a:lnTo>
                    <a:lnTo>
                      <a:pt x="6320569" y="10749401"/>
                    </a:lnTo>
                    <a:lnTo>
                      <a:pt x="6304088" y="10767320"/>
                    </a:lnTo>
                    <a:lnTo>
                      <a:pt x="6287607" y="10785246"/>
                    </a:lnTo>
                    <a:lnTo>
                      <a:pt x="6272868" y="10801891"/>
                    </a:lnTo>
                    <a:lnTo>
                      <a:pt x="6278928" y="10832069"/>
                    </a:lnTo>
                    <a:lnTo>
                      <a:pt x="6306812" y="10859813"/>
                    </a:lnTo>
                    <a:lnTo>
                      <a:pt x="6341428" y="10882316"/>
                    </a:lnTo>
                    <a:lnTo>
                      <a:pt x="6361213" y="10889741"/>
                    </a:lnTo>
                    <a:lnTo>
                      <a:pt x="6400795" y="10904587"/>
                    </a:lnTo>
                    <a:lnTo>
                      <a:pt x="6445496" y="10908114"/>
                    </a:lnTo>
                    <a:lnTo>
                      <a:pt x="6479552" y="10900623"/>
                    </a:lnTo>
                    <a:lnTo>
                      <a:pt x="6534553" y="10870847"/>
                    </a:lnTo>
                    <a:lnTo>
                      <a:pt x="6605924" y="10888700"/>
                    </a:lnTo>
                    <a:lnTo>
                      <a:pt x="6665818" y="10897603"/>
                    </a:lnTo>
                    <a:lnTo>
                      <a:pt x="6727112" y="10910146"/>
                    </a:lnTo>
                    <a:lnTo>
                      <a:pt x="6757460" y="10916365"/>
                    </a:lnTo>
                    <a:lnTo>
                      <a:pt x="6784685" y="10929482"/>
                    </a:lnTo>
                    <a:lnTo>
                      <a:pt x="6816881" y="10930544"/>
                    </a:lnTo>
                    <a:lnTo>
                      <a:pt x="6867128" y="10932179"/>
                    </a:lnTo>
                    <a:lnTo>
                      <a:pt x="6912290" y="10921198"/>
                    </a:lnTo>
                    <a:lnTo>
                      <a:pt x="6961065" y="10916946"/>
                    </a:lnTo>
                    <a:lnTo>
                      <a:pt x="7002679" y="10913312"/>
                    </a:lnTo>
                    <a:lnTo>
                      <a:pt x="7044543" y="10914802"/>
                    </a:lnTo>
                    <a:lnTo>
                      <a:pt x="7086203" y="10911505"/>
                    </a:lnTo>
                    <a:lnTo>
                      <a:pt x="7121632" y="10908722"/>
                    </a:lnTo>
                    <a:lnTo>
                      <a:pt x="7154785" y="10899160"/>
                    </a:lnTo>
                    <a:lnTo>
                      <a:pt x="7190938" y="10901981"/>
                    </a:lnTo>
                    <a:lnTo>
                      <a:pt x="7216268" y="10903959"/>
                    </a:lnTo>
                    <a:lnTo>
                      <a:pt x="7282811" y="10926871"/>
                    </a:lnTo>
                    <a:lnTo>
                      <a:pt x="7304937" y="10892161"/>
                    </a:lnTo>
                    <a:lnTo>
                      <a:pt x="7302608" y="10864073"/>
                    </a:lnTo>
                    <a:lnTo>
                      <a:pt x="7303828" y="10836692"/>
                    </a:lnTo>
                    <a:lnTo>
                      <a:pt x="7305048" y="10809309"/>
                    </a:lnTo>
                    <a:lnTo>
                      <a:pt x="7309982" y="10782923"/>
                    </a:lnTo>
                    <a:lnTo>
                      <a:pt x="7331033" y="10757804"/>
                    </a:lnTo>
                    <a:lnTo>
                      <a:pt x="7351965" y="10748927"/>
                    </a:lnTo>
                    <a:lnTo>
                      <a:pt x="7375159" y="10739219"/>
                    </a:lnTo>
                    <a:lnTo>
                      <a:pt x="7399046" y="10730593"/>
                    </a:lnTo>
                    <a:lnTo>
                      <a:pt x="7422927" y="10721973"/>
                    </a:lnTo>
                    <a:lnTo>
                      <a:pt x="7447063" y="10714878"/>
                    </a:lnTo>
                    <a:lnTo>
                      <a:pt x="7469770" y="10711554"/>
                    </a:lnTo>
                    <a:lnTo>
                      <a:pt x="7492654" y="10708210"/>
                    </a:lnTo>
                    <a:lnTo>
                      <a:pt x="7518487" y="10722567"/>
                    </a:lnTo>
                    <a:lnTo>
                      <a:pt x="7545947" y="10734675"/>
                    </a:lnTo>
                    <a:lnTo>
                      <a:pt x="7573468" y="10746243"/>
                    </a:lnTo>
                    <a:lnTo>
                      <a:pt x="7602756" y="10750319"/>
                    </a:lnTo>
                    <a:lnTo>
                      <a:pt x="7633001" y="10741475"/>
                    </a:lnTo>
                    <a:lnTo>
                      <a:pt x="7663416" y="10727196"/>
                    </a:lnTo>
                    <a:lnTo>
                      <a:pt x="7685529" y="10712069"/>
                    </a:lnTo>
                    <a:lnTo>
                      <a:pt x="7702365" y="10696590"/>
                    </a:lnTo>
                    <a:lnTo>
                      <a:pt x="7719201" y="10681119"/>
                    </a:lnTo>
                    <a:lnTo>
                      <a:pt x="7741809" y="10650347"/>
                    </a:lnTo>
                    <a:lnTo>
                      <a:pt x="7763104" y="10618756"/>
                    </a:lnTo>
                    <a:lnTo>
                      <a:pt x="7779835" y="10586811"/>
                    </a:lnTo>
                    <a:lnTo>
                      <a:pt x="7820704" y="10559211"/>
                    </a:lnTo>
                    <a:lnTo>
                      <a:pt x="7851786" y="10555551"/>
                    </a:lnTo>
                    <a:lnTo>
                      <a:pt x="7873753" y="10556494"/>
                    </a:lnTo>
                    <a:lnTo>
                      <a:pt x="7895340" y="10557675"/>
                    </a:lnTo>
                    <a:lnTo>
                      <a:pt x="7919997" y="10561929"/>
                    </a:lnTo>
                    <a:lnTo>
                      <a:pt x="7914821" y="10537019"/>
                    </a:lnTo>
                    <a:lnTo>
                      <a:pt x="7917129" y="10506459"/>
                    </a:lnTo>
                    <a:lnTo>
                      <a:pt x="7924087" y="10478957"/>
                    </a:lnTo>
                    <a:lnTo>
                      <a:pt x="7953987" y="10461258"/>
                    </a:lnTo>
                    <a:lnTo>
                      <a:pt x="7992120" y="10447691"/>
                    </a:lnTo>
                    <a:lnTo>
                      <a:pt x="8026102" y="10439507"/>
                    </a:lnTo>
                    <a:lnTo>
                      <a:pt x="8040611" y="10386768"/>
                    </a:lnTo>
                    <a:lnTo>
                      <a:pt x="8045143" y="10347020"/>
                    </a:lnTo>
                    <a:lnTo>
                      <a:pt x="8049673" y="10307267"/>
                    </a:lnTo>
                    <a:lnTo>
                      <a:pt x="8047978" y="10267552"/>
                    </a:lnTo>
                    <a:lnTo>
                      <a:pt x="7997065" y="10252614"/>
                    </a:lnTo>
                    <a:lnTo>
                      <a:pt x="7967824" y="10266107"/>
                    </a:lnTo>
                    <a:lnTo>
                      <a:pt x="7933602" y="10272207"/>
                    </a:lnTo>
                    <a:lnTo>
                      <a:pt x="7893889" y="10279284"/>
                    </a:lnTo>
                    <a:lnTo>
                      <a:pt x="7845468" y="10274416"/>
                    </a:lnTo>
                    <a:lnTo>
                      <a:pt x="7805747" y="10270849"/>
                    </a:lnTo>
                    <a:lnTo>
                      <a:pt x="7815586" y="10247345"/>
                    </a:lnTo>
                    <a:lnTo>
                      <a:pt x="7832278" y="10234530"/>
                    </a:lnTo>
                    <a:lnTo>
                      <a:pt x="7846557" y="10215083"/>
                    </a:lnTo>
                    <a:lnTo>
                      <a:pt x="7869929" y="10183230"/>
                    </a:lnTo>
                    <a:lnTo>
                      <a:pt x="7893704" y="10142065"/>
                    </a:lnTo>
                    <a:lnTo>
                      <a:pt x="7910481" y="10099461"/>
                    </a:lnTo>
                    <a:lnTo>
                      <a:pt x="7927259" y="10056857"/>
                    </a:lnTo>
                    <a:lnTo>
                      <a:pt x="7936880" y="10013114"/>
                    </a:lnTo>
                    <a:lnTo>
                      <a:pt x="7934968" y="9972963"/>
                    </a:lnTo>
                    <a:lnTo>
                      <a:pt x="7933464" y="9941460"/>
                    </a:lnTo>
                    <a:lnTo>
                      <a:pt x="7917926" y="9920481"/>
                    </a:lnTo>
                    <a:lnTo>
                      <a:pt x="7902324" y="9898151"/>
                    </a:lnTo>
                    <a:lnTo>
                      <a:pt x="7886720" y="9875828"/>
                    </a:lnTo>
                    <a:lnTo>
                      <a:pt x="7871755" y="9850985"/>
                    </a:lnTo>
                    <a:lnTo>
                      <a:pt x="7872395" y="9809741"/>
                    </a:lnTo>
                    <a:lnTo>
                      <a:pt x="7900662" y="9798351"/>
                    </a:lnTo>
                    <a:lnTo>
                      <a:pt x="7916369" y="9766663"/>
                    </a:lnTo>
                    <a:lnTo>
                      <a:pt x="7944490" y="9762131"/>
                    </a:lnTo>
                    <a:lnTo>
                      <a:pt x="7972203" y="9757646"/>
                    </a:lnTo>
                    <a:lnTo>
                      <a:pt x="8002361" y="9779898"/>
                    </a:lnTo>
                    <a:lnTo>
                      <a:pt x="8028820" y="9768937"/>
                    </a:lnTo>
                    <a:lnTo>
                      <a:pt x="8054665" y="9745810"/>
                    </a:lnTo>
                    <a:lnTo>
                      <a:pt x="8063118" y="9696822"/>
                    </a:lnTo>
                    <a:lnTo>
                      <a:pt x="8089328" y="9681028"/>
                    </a:lnTo>
                    <a:lnTo>
                      <a:pt x="8121313" y="9692766"/>
                    </a:lnTo>
                    <a:lnTo>
                      <a:pt x="8152778" y="9699361"/>
                    </a:lnTo>
                    <a:lnTo>
                      <a:pt x="8170281" y="9687325"/>
                    </a:lnTo>
                    <a:lnTo>
                      <a:pt x="8206558" y="9662351"/>
                    </a:lnTo>
                    <a:lnTo>
                      <a:pt x="8266895" y="9607685"/>
                    </a:lnTo>
                    <a:lnTo>
                      <a:pt x="8296779" y="9590749"/>
                    </a:lnTo>
                    <a:lnTo>
                      <a:pt x="8320889" y="9577091"/>
                    </a:lnTo>
                    <a:lnTo>
                      <a:pt x="8345954" y="9570107"/>
                    </a:lnTo>
                    <a:lnTo>
                      <a:pt x="8370232" y="9560823"/>
                    </a:lnTo>
                    <a:lnTo>
                      <a:pt x="8394500" y="9551543"/>
                    </a:lnTo>
                    <a:lnTo>
                      <a:pt x="8417701" y="9540687"/>
                    </a:lnTo>
                    <a:lnTo>
                      <a:pt x="8439604" y="9521379"/>
                    </a:lnTo>
                    <a:lnTo>
                      <a:pt x="8475816" y="9476770"/>
                    </a:lnTo>
                    <a:lnTo>
                      <a:pt x="8560660" y="9450648"/>
                    </a:lnTo>
                    <a:lnTo>
                      <a:pt x="8577701" y="9437602"/>
                    </a:lnTo>
                    <a:lnTo>
                      <a:pt x="8603566" y="9407102"/>
                    </a:lnTo>
                    <a:lnTo>
                      <a:pt x="8636829" y="9379917"/>
                    </a:lnTo>
                    <a:lnTo>
                      <a:pt x="8648515" y="9359129"/>
                    </a:lnTo>
                    <a:lnTo>
                      <a:pt x="8667965" y="9323471"/>
                    </a:lnTo>
                    <a:lnTo>
                      <a:pt x="8658316" y="9302322"/>
                    </a:lnTo>
                    <a:lnTo>
                      <a:pt x="8673549" y="9272460"/>
                    </a:lnTo>
                    <a:lnTo>
                      <a:pt x="8704890" y="9250229"/>
                    </a:lnTo>
                    <a:lnTo>
                      <a:pt x="8730681" y="9238456"/>
                    </a:lnTo>
                    <a:lnTo>
                      <a:pt x="8756475" y="9226685"/>
                    </a:lnTo>
                    <a:lnTo>
                      <a:pt x="8786653" y="9214036"/>
                    </a:lnTo>
                    <a:lnTo>
                      <a:pt x="8816378" y="9197654"/>
                    </a:lnTo>
                    <a:lnTo>
                      <a:pt x="8846094" y="9181272"/>
                    </a:lnTo>
                    <a:lnTo>
                      <a:pt x="8874827" y="9161876"/>
                    </a:lnTo>
                    <a:lnTo>
                      <a:pt x="8896630" y="9136441"/>
                    </a:lnTo>
                    <a:lnTo>
                      <a:pt x="8918428" y="9111010"/>
                    </a:lnTo>
                    <a:lnTo>
                      <a:pt x="8934042" y="9080147"/>
                    </a:lnTo>
                    <a:lnTo>
                      <a:pt x="8936073" y="9041230"/>
                    </a:lnTo>
                    <a:lnTo>
                      <a:pt x="8910986" y="8990231"/>
                    </a:lnTo>
                    <a:lnTo>
                      <a:pt x="8885741" y="8950095"/>
                    </a:lnTo>
                    <a:lnTo>
                      <a:pt x="8860502" y="8909958"/>
                    </a:lnTo>
                    <a:lnTo>
                      <a:pt x="8828545" y="8862336"/>
                    </a:lnTo>
                    <a:lnTo>
                      <a:pt x="8798695" y="8815433"/>
                    </a:lnTo>
                    <a:lnTo>
                      <a:pt x="8768840" y="8768537"/>
                    </a:lnTo>
                    <a:lnTo>
                      <a:pt x="8740897" y="8722919"/>
                    </a:lnTo>
                    <a:lnTo>
                      <a:pt x="8721159" y="8684854"/>
                    </a:lnTo>
                    <a:lnTo>
                      <a:pt x="8701421" y="8646795"/>
                    </a:lnTo>
                    <a:lnTo>
                      <a:pt x="8690209" y="8616874"/>
                    </a:lnTo>
                    <a:lnTo>
                      <a:pt x="8710006" y="8590876"/>
                    </a:lnTo>
                    <a:lnTo>
                      <a:pt x="8742624" y="8578399"/>
                    </a:lnTo>
                    <a:lnTo>
                      <a:pt x="8757504" y="8548069"/>
                    </a:lnTo>
                    <a:lnTo>
                      <a:pt x="8691573" y="8311840"/>
                    </a:lnTo>
                    <a:lnTo>
                      <a:pt x="8687155" y="8268636"/>
                    </a:lnTo>
                    <a:lnTo>
                      <a:pt x="8685012" y="8247783"/>
                    </a:lnTo>
                    <a:lnTo>
                      <a:pt x="8712257" y="8218159"/>
                    </a:lnTo>
                    <a:lnTo>
                      <a:pt x="8739809" y="8216978"/>
                    </a:lnTo>
                    <a:lnTo>
                      <a:pt x="8788125" y="8206407"/>
                    </a:lnTo>
                    <a:lnTo>
                      <a:pt x="8836780" y="8189742"/>
                    </a:lnTo>
                    <a:lnTo>
                      <a:pt x="8885431" y="8173076"/>
                    </a:lnTo>
                    <a:lnTo>
                      <a:pt x="8934427" y="8150298"/>
                    </a:lnTo>
                    <a:lnTo>
                      <a:pt x="8947951" y="8112469"/>
                    </a:lnTo>
                    <a:lnTo>
                      <a:pt x="8953622" y="8088326"/>
                    </a:lnTo>
                    <a:lnTo>
                      <a:pt x="8952398" y="8067327"/>
                    </a:lnTo>
                    <a:lnTo>
                      <a:pt x="8928762" y="8053643"/>
                    </a:lnTo>
                    <a:lnTo>
                      <a:pt x="8891440" y="8060996"/>
                    </a:lnTo>
                    <a:lnTo>
                      <a:pt x="8872142" y="8044205"/>
                    </a:lnTo>
                    <a:lnTo>
                      <a:pt x="8865727" y="8011435"/>
                    </a:lnTo>
                    <a:lnTo>
                      <a:pt x="8870409" y="7987199"/>
                    </a:lnTo>
                    <a:lnTo>
                      <a:pt x="8881673" y="7968035"/>
                    </a:lnTo>
                    <a:lnTo>
                      <a:pt x="8893787" y="7950017"/>
                    </a:lnTo>
                    <a:lnTo>
                      <a:pt x="8906152" y="7913626"/>
                    </a:lnTo>
                    <a:lnTo>
                      <a:pt x="8889831" y="7883699"/>
                    </a:lnTo>
                    <a:lnTo>
                      <a:pt x="8865299" y="7872778"/>
                    </a:lnTo>
                    <a:lnTo>
                      <a:pt x="8842209" y="7861012"/>
                    </a:lnTo>
                    <a:lnTo>
                      <a:pt x="8823184" y="7846971"/>
                    </a:lnTo>
                    <a:lnTo>
                      <a:pt x="8804155" y="7832937"/>
                    </a:lnTo>
                    <a:lnTo>
                      <a:pt x="8789028" y="7816114"/>
                    </a:lnTo>
                    <a:lnTo>
                      <a:pt x="8779655" y="7791205"/>
                    </a:lnTo>
                    <a:lnTo>
                      <a:pt x="8774300" y="7732523"/>
                    </a:lnTo>
                    <a:lnTo>
                      <a:pt x="8779655" y="7687553"/>
                    </a:lnTo>
                    <a:lnTo>
                      <a:pt x="8779655" y="7644304"/>
                    </a:lnTo>
                    <a:lnTo>
                      <a:pt x="8779655" y="7605644"/>
                    </a:lnTo>
                    <a:lnTo>
                      <a:pt x="8770840" y="7564775"/>
                    </a:lnTo>
                    <a:lnTo>
                      <a:pt x="8768775" y="7525965"/>
                    </a:lnTo>
                    <a:lnTo>
                      <a:pt x="8766539" y="7483757"/>
                    </a:lnTo>
                    <a:lnTo>
                      <a:pt x="8771162" y="7440805"/>
                    </a:lnTo>
                    <a:lnTo>
                      <a:pt x="8767417" y="7398110"/>
                    </a:lnTo>
                    <a:lnTo>
                      <a:pt x="8776511" y="7376300"/>
                    </a:lnTo>
                    <a:lnTo>
                      <a:pt x="8790882" y="7352967"/>
                    </a:lnTo>
                    <a:lnTo>
                      <a:pt x="8806859" y="7335537"/>
                    </a:lnTo>
                    <a:lnTo>
                      <a:pt x="8778297" y="7297451"/>
                    </a:lnTo>
                    <a:lnTo>
                      <a:pt x="8731837" y="7288509"/>
                    </a:lnTo>
                    <a:lnTo>
                      <a:pt x="8690593" y="7255659"/>
                    </a:lnTo>
                    <a:lnTo>
                      <a:pt x="8670446" y="7207622"/>
                    </a:lnTo>
                    <a:lnTo>
                      <a:pt x="8650441" y="7161431"/>
                    </a:lnTo>
                    <a:lnTo>
                      <a:pt x="8630426" y="7115247"/>
                    </a:lnTo>
                    <a:lnTo>
                      <a:pt x="8611758" y="7071174"/>
                    </a:lnTo>
                    <a:lnTo>
                      <a:pt x="8591951" y="7058056"/>
                    </a:lnTo>
                    <a:lnTo>
                      <a:pt x="8571388" y="7051376"/>
                    </a:lnTo>
                    <a:lnTo>
                      <a:pt x="8538606" y="7053987"/>
                    </a:lnTo>
                    <a:lnTo>
                      <a:pt x="8508973" y="7056698"/>
                    </a:lnTo>
                    <a:lnTo>
                      <a:pt x="8479344" y="7059402"/>
                    </a:lnTo>
                    <a:lnTo>
                      <a:pt x="8451585" y="7062297"/>
                    </a:lnTo>
                    <a:lnTo>
                      <a:pt x="8434169" y="7043099"/>
                    </a:lnTo>
                    <a:lnTo>
                      <a:pt x="8428622" y="6993281"/>
                    </a:lnTo>
                    <a:lnTo>
                      <a:pt x="8455609" y="6939190"/>
                    </a:lnTo>
                    <a:lnTo>
                      <a:pt x="8461373" y="6889398"/>
                    </a:lnTo>
                    <a:lnTo>
                      <a:pt x="8412359" y="6867015"/>
                    </a:lnTo>
                    <a:lnTo>
                      <a:pt x="8394726" y="6851313"/>
                    </a:lnTo>
                    <a:lnTo>
                      <a:pt x="8387728" y="6824794"/>
                    </a:lnTo>
                    <a:lnTo>
                      <a:pt x="8389099" y="6799483"/>
                    </a:lnTo>
                    <a:lnTo>
                      <a:pt x="8392007" y="6775141"/>
                    </a:lnTo>
                    <a:lnTo>
                      <a:pt x="8394903" y="6750793"/>
                    </a:lnTo>
                    <a:lnTo>
                      <a:pt x="8399123" y="6726788"/>
                    </a:lnTo>
                    <a:lnTo>
                      <a:pt x="8397442" y="6700329"/>
                    </a:lnTo>
                    <a:lnTo>
                      <a:pt x="8395926" y="6676468"/>
                    </a:lnTo>
                    <a:lnTo>
                      <a:pt x="8365897" y="6625253"/>
                    </a:lnTo>
                    <a:lnTo>
                      <a:pt x="8330795" y="6580632"/>
                    </a:lnTo>
                    <a:lnTo>
                      <a:pt x="8313240" y="6558321"/>
                    </a:lnTo>
                    <a:lnTo>
                      <a:pt x="8295042" y="6538582"/>
                    </a:lnTo>
                    <a:lnTo>
                      <a:pt x="8277744" y="6523499"/>
                    </a:lnTo>
                    <a:lnTo>
                      <a:pt x="8260446" y="6508424"/>
                    </a:lnTo>
                    <a:lnTo>
                      <a:pt x="8232860" y="6499020"/>
                    </a:lnTo>
                    <a:lnTo>
                      <a:pt x="8184274" y="6500892"/>
                    </a:lnTo>
                    <a:lnTo>
                      <a:pt x="8129809" y="6498268"/>
                    </a:lnTo>
                    <a:lnTo>
                      <a:pt x="8081877" y="6504460"/>
                    </a:lnTo>
                    <a:lnTo>
                      <a:pt x="8047873" y="6518059"/>
                    </a:lnTo>
                    <a:lnTo>
                      <a:pt x="8025773" y="6526817"/>
                    </a:lnTo>
                    <a:lnTo>
                      <a:pt x="8005646" y="6542632"/>
                    </a:lnTo>
                    <a:lnTo>
                      <a:pt x="7983948" y="6550704"/>
                    </a:lnTo>
                    <a:lnTo>
                      <a:pt x="7955274" y="6561394"/>
                    </a:lnTo>
                    <a:lnTo>
                      <a:pt x="7922312" y="6567983"/>
                    </a:lnTo>
                    <a:lnTo>
                      <a:pt x="7892813" y="6576549"/>
                    </a:lnTo>
                    <a:lnTo>
                      <a:pt x="7864250" y="6573826"/>
                    </a:lnTo>
                    <a:lnTo>
                      <a:pt x="7842982" y="6566492"/>
                    </a:lnTo>
                    <a:lnTo>
                      <a:pt x="7826666" y="6530629"/>
                    </a:lnTo>
                    <a:lnTo>
                      <a:pt x="7828367" y="6494601"/>
                    </a:lnTo>
                    <a:lnTo>
                      <a:pt x="7850645" y="6471809"/>
                    </a:lnTo>
                    <a:lnTo>
                      <a:pt x="7954020" y="6465009"/>
                    </a:lnTo>
                    <a:lnTo>
                      <a:pt x="7986236" y="6420382"/>
                    </a:lnTo>
                    <a:lnTo>
                      <a:pt x="7992106" y="6391563"/>
                    </a:lnTo>
                    <a:lnTo>
                      <a:pt x="7902330" y="6348036"/>
                    </a:lnTo>
                    <a:lnTo>
                      <a:pt x="7894501" y="6322190"/>
                    </a:lnTo>
                    <a:lnTo>
                      <a:pt x="7905054" y="6296345"/>
                    </a:lnTo>
                    <a:lnTo>
                      <a:pt x="7940270" y="6292032"/>
                    </a:lnTo>
                    <a:lnTo>
                      <a:pt x="8005131" y="6311560"/>
                    </a:lnTo>
                    <a:lnTo>
                      <a:pt x="8026110" y="6307227"/>
                    </a:lnTo>
                    <a:lnTo>
                      <a:pt x="8045234" y="6292948"/>
                    </a:lnTo>
                    <a:lnTo>
                      <a:pt x="8058753" y="6274582"/>
                    </a:lnTo>
                    <a:lnTo>
                      <a:pt x="8066721" y="6250590"/>
                    </a:lnTo>
                    <a:lnTo>
                      <a:pt x="8075077" y="6229697"/>
                    </a:lnTo>
                    <a:lnTo>
                      <a:pt x="8089356" y="6193992"/>
                    </a:lnTo>
                    <a:lnTo>
                      <a:pt x="8102226" y="6169835"/>
                    </a:lnTo>
                    <a:lnTo>
                      <a:pt x="8106362" y="6145361"/>
                    </a:lnTo>
                    <a:lnTo>
                      <a:pt x="8110499" y="6120894"/>
                    </a:lnTo>
                    <a:lnTo>
                      <a:pt x="8106034" y="6096809"/>
                    </a:lnTo>
                    <a:lnTo>
                      <a:pt x="8085957" y="6061032"/>
                    </a:lnTo>
                    <a:lnTo>
                      <a:pt x="8002987" y="6035187"/>
                    </a:lnTo>
                    <a:lnTo>
                      <a:pt x="7998437" y="5968156"/>
                    </a:lnTo>
                    <a:lnTo>
                      <a:pt x="8012973" y="5939508"/>
                    </a:lnTo>
                    <a:lnTo>
                      <a:pt x="8043797" y="5945417"/>
                    </a:lnTo>
                    <a:lnTo>
                      <a:pt x="8074609" y="5949968"/>
                    </a:lnTo>
                    <a:lnTo>
                      <a:pt x="8102921" y="5914823"/>
                    </a:lnTo>
                    <a:lnTo>
                      <a:pt x="8116036" y="5878426"/>
                    </a:lnTo>
                    <a:lnTo>
                      <a:pt x="8128125" y="5840683"/>
                    </a:lnTo>
                    <a:lnTo>
                      <a:pt x="8140208" y="5802940"/>
                    </a:lnTo>
                    <a:lnTo>
                      <a:pt x="8150515" y="5762996"/>
                    </a:lnTo>
                    <a:lnTo>
                      <a:pt x="8160771" y="5733226"/>
                    </a:lnTo>
                    <a:lnTo>
                      <a:pt x="8147417" y="5714569"/>
                    </a:lnTo>
                    <a:lnTo>
                      <a:pt x="8112238" y="5695121"/>
                    </a:lnTo>
                    <a:lnTo>
                      <a:pt x="8080516" y="5673377"/>
                    </a:lnTo>
                    <a:lnTo>
                      <a:pt x="8049588" y="5650638"/>
                    </a:lnTo>
                    <a:lnTo>
                      <a:pt x="8027118" y="5628110"/>
                    </a:lnTo>
                    <a:lnTo>
                      <a:pt x="8019310" y="5605370"/>
                    </a:lnTo>
                    <a:lnTo>
                      <a:pt x="8044344" y="5559206"/>
                    </a:lnTo>
                    <a:lnTo>
                      <a:pt x="8062666" y="5508900"/>
                    </a:lnTo>
                    <a:lnTo>
                      <a:pt x="8088683" y="5463910"/>
                    </a:lnTo>
                    <a:lnTo>
                      <a:pt x="8121710" y="5406758"/>
                    </a:lnTo>
                    <a:lnTo>
                      <a:pt x="8177180" y="5358365"/>
                    </a:lnTo>
                    <a:lnTo>
                      <a:pt x="8202939" y="5297963"/>
                    </a:lnTo>
                    <a:lnTo>
                      <a:pt x="8238788" y="5202178"/>
                    </a:lnTo>
                    <a:lnTo>
                      <a:pt x="8329276" y="5162226"/>
                    </a:lnTo>
                    <a:lnTo>
                      <a:pt x="8380712" y="5141102"/>
                    </a:lnTo>
                    <a:lnTo>
                      <a:pt x="8408332" y="5108893"/>
                    </a:lnTo>
                    <a:lnTo>
                      <a:pt x="8422132" y="5092795"/>
                    </a:lnTo>
                    <a:lnTo>
                      <a:pt x="8432811" y="5050410"/>
                    </a:lnTo>
                    <a:lnTo>
                      <a:pt x="8434612" y="5026226"/>
                    </a:lnTo>
                    <a:lnTo>
                      <a:pt x="8429822" y="4996938"/>
                    </a:lnTo>
                    <a:lnTo>
                      <a:pt x="8419205" y="4959275"/>
                    </a:lnTo>
                    <a:lnTo>
                      <a:pt x="8406034" y="4912516"/>
                    </a:lnTo>
                    <a:lnTo>
                      <a:pt x="8390689" y="4863701"/>
                    </a:lnTo>
                    <a:lnTo>
                      <a:pt x="8379760" y="4816456"/>
                    </a:lnTo>
                    <a:lnTo>
                      <a:pt x="8369646" y="4772652"/>
                    </a:lnTo>
                    <a:lnTo>
                      <a:pt x="8369360" y="4730168"/>
                    </a:lnTo>
                    <a:lnTo>
                      <a:pt x="8352558" y="4687235"/>
                    </a:lnTo>
                    <a:lnTo>
                      <a:pt x="8343588" y="4664311"/>
                    </a:lnTo>
                    <a:lnTo>
                      <a:pt x="8326448" y="4649808"/>
                    </a:lnTo>
                    <a:lnTo>
                      <a:pt x="8304949" y="4640985"/>
                    </a:lnTo>
                    <a:lnTo>
                      <a:pt x="8283455" y="4632168"/>
                    </a:lnTo>
                    <a:lnTo>
                      <a:pt x="8258251" y="4628619"/>
                    </a:lnTo>
                    <a:lnTo>
                      <a:pt x="8231502" y="4628745"/>
                    </a:lnTo>
                    <a:lnTo>
                      <a:pt x="8177995" y="4629008"/>
                    </a:lnTo>
                    <a:lnTo>
                      <a:pt x="8120910" y="4642502"/>
                    </a:lnTo>
                    <a:lnTo>
                      <a:pt x="8090041" y="4647791"/>
                    </a:lnTo>
                    <a:lnTo>
                      <a:pt x="8066920" y="4647791"/>
                    </a:lnTo>
                    <a:lnTo>
                      <a:pt x="8064790" y="4544673"/>
                    </a:lnTo>
                    <a:lnTo>
                      <a:pt x="8099287" y="4385656"/>
                    </a:lnTo>
                    <a:lnTo>
                      <a:pt x="8121326" y="4292781"/>
                    </a:lnTo>
                    <a:lnTo>
                      <a:pt x="8126259" y="4271993"/>
                    </a:lnTo>
                    <a:lnTo>
                      <a:pt x="8135182" y="4251120"/>
                    </a:lnTo>
                    <a:lnTo>
                      <a:pt x="8139008" y="4230208"/>
                    </a:lnTo>
                    <a:lnTo>
                      <a:pt x="8142959" y="4186490"/>
                    </a:lnTo>
                    <a:lnTo>
                      <a:pt x="8107107" y="4132722"/>
                    </a:lnTo>
                    <a:lnTo>
                      <a:pt x="8069273" y="4106560"/>
                    </a:lnTo>
                    <a:lnTo>
                      <a:pt x="8041073" y="4071066"/>
                    </a:lnTo>
                    <a:lnTo>
                      <a:pt x="7988980" y="4005434"/>
                    </a:lnTo>
                    <a:lnTo>
                      <a:pt x="7948705" y="3933813"/>
                    </a:lnTo>
                    <a:lnTo>
                      <a:pt x="7902330" y="3864316"/>
                    </a:lnTo>
                    <a:lnTo>
                      <a:pt x="7876510" y="3825591"/>
                    </a:lnTo>
                    <a:lnTo>
                      <a:pt x="7846840" y="3790038"/>
                    </a:lnTo>
                    <a:lnTo>
                      <a:pt x="7824800" y="3748701"/>
                    </a:lnTo>
                    <a:lnTo>
                      <a:pt x="7792267" y="3737225"/>
                    </a:lnTo>
                    <a:lnTo>
                      <a:pt x="7756681" y="3743847"/>
                    </a:lnTo>
                    <a:lnTo>
                      <a:pt x="7722783" y="3739178"/>
                    </a:lnTo>
                    <a:lnTo>
                      <a:pt x="7715259" y="3702754"/>
                    </a:lnTo>
                    <a:lnTo>
                      <a:pt x="7722256" y="3643519"/>
                    </a:lnTo>
                    <a:lnTo>
                      <a:pt x="7714625" y="3597717"/>
                    </a:lnTo>
                    <a:lnTo>
                      <a:pt x="7774942" y="3577062"/>
                    </a:lnTo>
                    <a:lnTo>
                      <a:pt x="7832773" y="3575776"/>
                    </a:lnTo>
                    <a:lnTo>
                      <a:pt x="7883291" y="3584118"/>
                    </a:lnTo>
                    <a:lnTo>
                      <a:pt x="7915599" y="3606535"/>
                    </a:lnTo>
                    <a:lnTo>
                      <a:pt x="7932257" y="3623563"/>
                    </a:lnTo>
                    <a:lnTo>
                      <a:pt x="7948910" y="3640597"/>
                    </a:lnTo>
                    <a:lnTo>
                      <a:pt x="7967513" y="3655937"/>
                    </a:lnTo>
                    <a:lnTo>
                      <a:pt x="7989382" y="3650766"/>
                    </a:lnTo>
                    <a:lnTo>
                      <a:pt x="7996214" y="3600461"/>
                    </a:lnTo>
                    <a:lnTo>
                      <a:pt x="7990742" y="3565079"/>
                    </a:lnTo>
                    <a:lnTo>
                      <a:pt x="7985267" y="3529691"/>
                    </a:lnTo>
                    <a:lnTo>
                      <a:pt x="7976654" y="3493815"/>
                    </a:lnTo>
                    <a:lnTo>
                      <a:pt x="7972216" y="3462436"/>
                    </a:lnTo>
                    <a:lnTo>
                      <a:pt x="7971437" y="3430503"/>
                    </a:lnTo>
                    <a:lnTo>
                      <a:pt x="7973060" y="3399131"/>
                    </a:lnTo>
                    <a:lnTo>
                      <a:pt x="7974682" y="3367760"/>
                    </a:lnTo>
                    <a:lnTo>
                      <a:pt x="7978883" y="3336658"/>
                    </a:lnTo>
                    <a:lnTo>
                      <a:pt x="7995845" y="3300452"/>
                    </a:lnTo>
                    <a:lnTo>
                      <a:pt x="8012432" y="3281993"/>
                    </a:lnTo>
                    <a:lnTo>
                      <a:pt x="8028832" y="3263112"/>
                    </a:lnTo>
                    <a:lnTo>
                      <a:pt x="8045228" y="3244231"/>
                    </a:lnTo>
                    <a:lnTo>
                      <a:pt x="8061478" y="3224973"/>
                    </a:lnTo>
                    <a:lnTo>
                      <a:pt x="8070994" y="3203263"/>
                    </a:lnTo>
                    <a:lnTo>
                      <a:pt x="8072352" y="3173342"/>
                    </a:lnTo>
                    <a:lnTo>
                      <a:pt x="8067624" y="3152535"/>
                    </a:lnTo>
                    <a:lnTo>
                      <a:pt x="8060092" y="3119396"/>
                    </a:lnTo>
                    <a:lnTo>
                      <a:pt x="8050313" y="3100514"/>
                    </a:lnTo>
                    <a:lnTo>
                      <a:pt x="8023670" y="3069340"/>
                    </a:lnTo>
                    <a:lnTo>
                      <a:pt x="7989382" y="3046838"/>
                    </a:lnTo>
                    <a:lnTo>
                      <a:pt x="7952457" y="3027442"/>
                    </a:lnTo>
                    <a:lnTo>
                      <a:pt x="7906840" y="3017168"/>
                    </a:lnTo>
                    <a:lnTo>
                      <a:pt x="7865610" y="3006036"/>
                    </a:lnTo>
                    <a:lnTo>
                      <a:pt x="7848628" y="2972560"/>
                    </a:lnTo>
                    <a:lnTo>
                      <a:pt x="7845158" y="2942401"/>
                    </a:lnTo>
                    <a:lnTo>
                      <a:pt x="7831599" y="2923065"/>
                    </a:lnTo>
                    <a:lnTo>
                      <a:pt x="7810811" y="2881392"/>
                    </a:lnTo>
                    <a:lnTo>
                      <a:pt x="7790797" y="2859134"/>
                    </a:lnTo>
                    <a:lnTo>
                      <a:pt x="7770781" y="2836876"/>
                    </a:lnTo>
                    <a:lnTo>
                      <a:pt x="7745377" y="2814473"/>
                    </a:lnTo>
                    <a:lnTo>
                      <a:pt x="7718701" y="2793845"/>
                    </a:lnTo>
                    <a:lnTo>
                      <a:pt x="7665361" y="2752580"/>
                    </a:lnTo>
                    <a:lnTo>
                      <a:pt x="7605573" y="2718195"/>
                    </a:lnTo>
                    <a:lnTo>
                      <a:pt x="7566358" y="2708150"/>
                    </a:lnTo>
                    <a:lnTo>
                      <a:pt x="7538158" y="2735697"/>
                    </a:lnTo>
                    <a:lnTo>
                      <a:pt x="7462772" y="2868592"/>
                    </a:lnTo>
                    <a:lnTo>
                      <a:pt x="7431044" y="2838993"/>
                    </a:lnTo>
                    <a:lnTo>
                      <a:pt x="7415705" y="2787065"/>
                    </a:lnTo>
                    <a:lnTo>
                      <a:pt x="7403136" y="2735355"/>
                    </a:lnTo>
                    <a:lnTo>
                      <a:pt x="7390572" y="2683644"/>
                    </a:lnTo>
                    <a:lnTo>
                      <a:pt x="7381464" y="2631696"/>
                    </a:lnTo>
                    <a:lnTo>
                      <a:pt x="7378655" y="2597976"/>
                    </a:lnTo>
                    <a:lnTo>
                      <a:pt x="7374849" y="2552300"/>
                    </a:lnTo>
                    <a:lnTo>
                      <a:pt x="7373531" y="2502953"/>
                    </a:lnTo>
                    <a:lnTo>
                      <a:pt x="7366414" y="2457875"/>
                    </a:lnTo>
                    <a:lnTo>
                      <a:pt x="7360591" y="2420936"/>
                    </a:lnTo>
                    <a:lnTo>
                      <a:pt x="7339125" y="2373861"/>
                    </a:lnTo>
                    <a:lnTo>
                      <a:pt x="7328329" y="2336817"/>
                    </a:lnTo>
                    <a:lnTo>
                      <a:pt x="7318700" y="2296500"/>
                    </a:lnTo>
                    <a:lnTo>
                      <a:pt x="7284848" y="2232677"/>
                    </a:lnTo>
                    <a:lnTo>
                      <a:pt x="7287526" y="2208958"/>
                    </a:lnTo>
                    <a:lnTo>
                      <a:pt x="7336270" y="2201900"/>
                    </a:lnTo>
                    <a:lnTo>
                      <a:pt x="7370398" y="2197876"/>
                    </a:lnTo>
                    <a:lnTo>
                      <a:pt x="7401770" y="2187192"/>
                    </a:lnTo>
                    <a:lnTo>
                      <a:pt x="7433141" y="2176507"/>
                    </a:lnTo>
                    <a:lnTo>
                      <a:pt x="7461909" y="2159286"/>
                    </a:lnTo>
                    <a:lnTo>
                      <a:pt x="7495621" y="2135506"/>
                    </a:lnTo>
                    <a:lnTo>
                      <a:pt x="7547913" y="2098628"/>
                    </a:lnTo>
                    <a:lnTo>
                      <a:pt x="7584211" y="2074174"/>
                    </a:lnTo>
                    <a:lnTo>
                      <a:pt x="7613961" y="2044372"/>
                    </a:lnTo>
                    <a:lnTo>
                      <a:pt x="7643710" y="2014570"/>
                    </a:lnTo>
                    <a:lnTo>
                      <a:pt x="7667650" y="1978661"/>
                    </a:lnTo>
                    <a:lnTo>
                      <a:pt x="7695572" y="1920594"/>
                    </a:lnTo>
                    <a:lnTo>
                      <a:pt x="7707377" y="1896050"/>
                    </a:lnTo>
                    <a:lnTo>
                      <a:pt x="7724965" y="1854391"/>
                    </a:lnTo>
                    <a:lnTo>
                      <a:pt x="7724135" y="1825380"/>
                    </a:lnTo>
                    <a:lnTo>
                      <a:pt x="7723054" y="1786806"/>
                    </a:lnTo>
                    <a:lnTo>
                      <a:pt x="7717296" y="1752737"/>
                    </a:lnTo>
                    <a:lnTo>
                      <a:pt x="7721412" y="1713843"/>
                    </a:lnTo>
                    <a:lnTo>
                      <a:pt x="7729102" y="1659970"/>
                    </a:lnTo>
                    <a:lnTo>
                      <a:pt x="7729576" y="1624070"/>
                    </a:lnTo>
                    <a:lnTo>
                      <a:pt x="7730038" y="1588172"/>
                    </a:lnTo>
                    <a:lnTo>
                      <a:pt x="7724550" y="1553744"/>
                    </a:lnTo>
                    <a:lnTo>
                      <a:pt x="7707813" y="1539738"/>
                    </a:lnTo>
                    <a:lnTo>
                      <a:pt x="7685266" y="1552681"/>
                    </a:lnTo>
                    <a:lnTo>
                      <a:pt x="7664392" y="1572980"/>
                    </a:lnTo>
                    <a:lnTo>
                      <a:pt x="7630283" y="1572383"/>
                    </a:lnTo>
                    <a:lnTo>
                      <a:pt x="7601047" y="1524060"/>
                    </a:lnTo>
                    <a:lnTo>
                      <a:pt x="7586751" y="1500293"/>
                    </a:lnTo>
                    <a:lnTo>
                      <a:pt x="7559836" y="1516632"/>
                    </a:lnTo>
                    <a:lnTo>
                      <a:pt x="7527818" y="1512110"/>
                    </a:lnTo>
                    <a:lnTo>
                      <a:pt x="7505145" y="1496212"/>
                    </a:lnTo>
                    <a:lnTo>
                      <a:pt x="7368017" y="1416492"/>
                    </a:lnTo>
                    <a:lnTo>
                      <a:pt x="7413964" y="1261492"/>
                    </a:lnTo>
                    <a:lnTo>
                      <a:pt x="7340556" y="1145281"/>
                    </a:lnTo>
                    <a:lnTo>
                      <a:pt x="7305748" y="1090129"/>
                    </a:lnTo>
                    <a:lnTo>
                      <a:pt x="7239608" y="1083477"/>
                    </a:lnTo>
                    <a:lnTo>
                      <a:pt x="7192296" y="1043266"/>
                    </a:lnTo>
                    <a:lnTo>
                      <a:pt x="7180056" y="1024223"/>
                    </a:lnTo>
                    <a:lnTo>
                      <a:pt x="7167176" y="989920"/>
                    </a:lnTo>
                    <a:lnTo>
                      <a:pt x="7218313" y="902209"/>
                    </a:lnTo>
                    <a:lnTo>
                      <a:pt x="7227658" y="846037"/>
                    </a:lnTo>
                    <a:lnTo>
                      <a:pt x="7234695" y="803105"/>
                    </a:lnTo>
                    <a:lnTo>
                      <a:pt x="7215931" y="672782"/>
                    </a:lnTo>
                    <a:lnTo>
                      <a:pt x="7200453" y="631126"/>
                    </a:lnTo>
                    <a:lnTo>
                      <a:pt x="7160693" y="572105"/>
                    </a:lnTo>
                    <a:lnTo>
                      <a:pt x="7123946" y="536103"/>
                    </a:lnTo>
                    <a:lnTo>
                      <a:pt x="7090240" y="518377"/>
                    </a:lnTo>
                    <a:lnTo>
                      <a:pt x="7071239" y="488305"/>
                    </a:lnTo>
                    <a:lnTo>
                      <a:pt x="7056467" y="464884"/>
                    </a:lnTo>
                    <a:lnTo>
                      <a:pt x="7048580" y="435809"/>
                    </a:lnTo>
                    <a:lnTo>
                      <a:pt x="7041313" y="409413"/>
                    </a:lnTo>
                    <a:lnTo>
                      <a:pt x="6992173" y="230866"/>
                    </a:lnTo>
                    <a:lnTo>
                      <a:pt x="7016871" y="193524"/>
                    </a:lnTo>
                    <a:lnTo>
                      <a:pt x="6815522" y="141454"/>
                    </a:lnTo>
                    <a:lnTo>
                      <a:pt x="6747450" y="123835"/>
                    </a:lnTo>
                    <a:lnTo>
                      <a:pt x="6676608" y="108320"/>
                    </a:lnTo>
                    <a:lnTo>
                      <a:pt x="6607407" y="130572"/>
                    </a:lnTo>
                    <a:lnTo>
                      <a:pt x="6544841" y="150678"/>
                    </a:lnTo>
                    <a:lnTo>
                      <a:pt x="6472053" y="188126"/>
                    </a:lnTo>
                    <a:lnTo>
                      <a:pt x="6456431" y="258431"/>
                    </a:lnTo>
                    <a:lnTo>
                      <a:pt x="6450969" y="282978"/>
                    </a:lnTo>
                    <a:lnTo>
                      <a:pt x="6464252" y="322552"/>
                    </a:lnTo>
                    <a:lnTo>
                      <a:pt x="6452355" y="344124"/>
                    </a:lnTo>
                    <a:lnTo>
                      <a:pt x="6432781" y="379595"/>
                    </a:lnTo>
                    <a:lnTo>
                      <a:pt x="6386168" y="420125"/>
                    </a:lnTo>
                    <a:lnTo>
                      <a:pt x="6353062" y="443418"/>
                    </a:lnTo>
                    <a:lnTo>
                      <a:pt x="6319836" y="461143"/>
                    </a:lnTo>
                    <a:lnTo>
                      <a:pt x="6263266" y="471684"/>
                    </a:lnTo>
                    <a:lnTo>
                      <a:pt x="6232342" y="452153"/>
                    </a:lnTo>
                    <a:lnTo>
                      <a:pt x="6195271" y="444778"/>
                    </a:lnTo>
                    <a:lnTo>
                      <a:pt x="6174702" y="440696"/>
                    </a:lnTo>
                    <a:lnTo>
                      <a:pt x="6145738" y="442885"/>
                    </a:lnTo>
                    <a:lnTo>
                      <a:pt x="6124541" y="443420"/>
                    </a:lnTo>
                    <a:lnTo>
                      <a:pt x="6063611" y="445014"/>
                    </a:lnTo>
                    <a:lnTo>
                      <a:pt x="5964107" y="486564"/>
                    </a:lnTo>
                    <a:lnTo>
                      <a:pt x="5910992" y="516871"/>
                    </a:lnTo>
                    <a:lnTo>
                      <a:pt x="5888760" y="529559"/>
                    </a:lnTo>
                    <a:lnTo>
                      <a:pt x="5843724" y="542736"/>
                    </a:lnTo>
                    <a:lnTo>
                      <a:pt x="5810340" y="561758"/>
                    </a:lnTo>
                    <a:lnTo>
                      <a:pt x="5695082" y="627472"/>
                    </a:lnTo>
                    <a:lnTo>
                      <a:pt x="5645540" y="735778"/>
                    </a:lnTo>
                    <a:lnTo>
                      <a:pt x="5577745" y="847399"/>
                    </a:lnTo>
                    <a:lnTo>
                      <a:pt x="5530611" y="911690"/>
                    </a:lnTo>
                    <a:lnTo>
                      <a:pt x="5510160" y="970072"/>
                    </a:lnTo>
                    <a:lnTo>
                      <a:pt x="5526061" y="1048709"/>
                    </a:lnTo>
                    <a:lnTo>
                      <a:pt x="5530775" y="1072130"/>
                    </a:lnTo>
                    <a:lnTo>
                      <a:pt x="5545100" y="1096338"/>
                    </a:lnTo>
                    <a:lnTo>
                      <a:pt x="5545100" y="1120799"/>
                    </a:lnTo>
                    <a:lnTo>
                      <a:pt x="5531436" y="1272206"/>
                    </a:lnTo>
                    <a:lnTo>
                      <a:pt x="5517744" y="1297901"/>
                    </a:lnTo>
                    <a:lnTo>
                      <a:pt x="5485251" y="1313948"/>
                    </a:lnTo>
                    <a:lnTo>
                      <a:pt x="5357819" y="1318517"/>
                    </a:lnTo>
                    <a:lnTo>
                      <a:pt x="5427230" y="1131065"/>
                    </a:lnTo>
                    <a:lnTo>
                      <a:pt x="5368271" y="1097676"/>
                    </a:lnTo>
                    <a:lnTo>
                      <a:pt x="5329809" y="1101054"/>
                    </a:lnTo>
                    <a:lnTo>
                      <a:pt x="5304834" y="1178310"/>
                    </a:lnTo>
                    <a:lnTo>
                      <a:pt x="5244498" y="1169767"/>
                    </a:lnTo>
                    <a:lnTo>
                      <a:pt x="5145607" y="1155782"/>
                    </a:lnTo>
                    <a:lnTo>
                      <a:pt x="5131685" y="991900"/>
                    </a:lnTo>
                    <a:lnTo>
                      <a:pt x="5116636" y="918130"/>
                    </a:lnTo>
                    <a:lnTo>
                      <a:pt x="5111920" y="895007"/>
                    </a:lnTo>
                    <a:lnTo>
                      <a:pt x="5102332" y="870969"/>
                    </a:lnTo>
                    <a:lnTo>
                      <a:pt x="5094873" y="846039"/>
                    </a:lnTo>
                    <a:lnTo>
                      <a:pt x="5090072" y="797752"/>
                    </a:lnTo>
                    <a:lnTo>
                      <a:pt x="5067991" y="737967"/>
                    </a:lnTo>
                    <a:lnTo>
                      <a:pt x="5064951" y="677375"/>
                    </a:lnTo>
                    <a:lnTo>
                      <a:pt x="5062762" y="634061"/>
                    </a:lnTo>
                    <a:lnTo>
                      <a:pt x="5078214" y="566965"/>
                    </a:lnTo>
                    <a:lnTo>
                      <a:pt x="5066311" y="527753"/>
                    </a:lnTo>
                    <a:lnTo>
                      <a:pt x="5057888" y="500060"/>
                    </a:lnTo>
                    <a:lnTo>
                      <a:pt x="5032834" y="485587"/>
                    </a:lnTo>
                    <a:lnTo>
                      <a:pt x="5005096" y="485587"/>
                    </a:lnTo>
                    <a:lnTo>
                      <a:pt x="4951374" y="485587"/>
                    </a:lnTo>
                    <a:lnTo>
                      <a:pt x="4892990" y="515043"/>
                    </a:lnTo>
                    <a:lnTo>
                      <a:pt x="4841879" y="511430"/>
                    </a:lnTo>
                    <a:lnTo>
                      <a:pt x="4792292" y="507922"/>
                    </a:lnTo>
                    <a:lnTo>
                      <a:pt x="4741155" y="460402"/>
                    </a:lnTo>
                    <a:lnTo>
                      <a:pt x="4694977" y="443420"/>
                    </a:lnTo>
                    <a:lnTo>
                      <a:pt x="4666580" y="432985"/>
                    </a:lnTo>
                    <a:lnTo>
                      <a:pt x="4634635" y="431008"/>
                    </a:lnTo>
                    <a:lnTo>
                      <a:pt x="4601119" y="423017"/>
                    </a:lnTo>
                    <a:lnTo>
                      <a:pt x="4395390" y="400702"/>
                    </a:lnTo>
                    <a:lnTo>
                      <a:pt x="4173340" y="690996"/>
                    </a:lnTo>
                    <a:lnTo>
                      <a:pt x="4107371" y="686896"/>
                    </a:lnTo>
                    <a:lnTo>
                      <a:pt x="4073275" y="603116"/>
                    </a:lnTo>
                    <a:lnTo>
                      <a:pt x="4063542" y="527943"/>
                    </a:lnTo>
                    <a:lnTo>
                      <a:pt x="4035276" y="458382"/>
                    </a:lnTo>
                    <a:lnTo>
                      <a:pt x="4026030" y="435642"/>
                    </a:lnTo>
                    <a:lnTo>
                      <a:pt x="4007135" y="421720"/>
                    </a:lnTo>
                    <a:lnTo>
                      <a:pt x="3990392" y="405335"/>
                    </a:lnTo>
                    <a:lnTo>
                      <a:pt x="3961572" y="377111"/>
                    </a:lnTo>
                    <a:lnTo>
                      <a:pt x="3934282" y="341172"/>
                    </a:lnTo>
                    <a:lnTo>
                      <a:pt x="3900614" y="318282"/>
                    </a:lnTo>
                    <a:lnTo>
                      <a:pt x="3868821" y="296689"/>
                    </a:lnTo>
                    <a:lnTo>
                      <a:pt x="3777673" y="259581"/>
                    </a:lnTo>
                    <a:lnTo>
                      <a:pt x="3761877" y="228509"/>
                    </a:lnTo>
                    <a:lnTo>
                      <a:pt x="3746446" y="198139"/>
                    </a:lnTo>
                    <a:lnTo>
                      <a:pt x="3781202" y="65285"/>
                    </a:lnTo>
                    <a:lnTo>
                      <a:pt x="3779558" y="24479"/>
                    </a:lnTo>
                    <a:lnTo>
                      <a:pt x="3764595" y="3182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98" name="Rivne¬0" descr="Rivne¬0">
                <a:extLst>
                  <a:ext uri="{FF2B5EF4-FFF2-40B4-BE49-F238E27FC236}">
                    <a16:creationId xmlns:a16="http://schemas.microsoft.com/office/drawing/2014/main" id="{2AEF7325-19DC-45A1-BFE2-775F5D2CFA85}"/>
                  </a:ext>
                </a:extLst>
              </p:cNvPr>
              <p:cNvSpPr/>
              <p:nvPr/>
            </p:nvSpPr>
            <p:spPr>
              <a:xfrm>
                <a:off x="10209931" y="2313952"/>
                <a:ext cx="9352530" cy="10126425"/>
              </a:xfrm>
              <a:custGeom>
                <a:avLst/>
                <a:gdLst/>
                <a:ahLst/>
                <a:cxnLst/>
                <a:rect l="0" t="0" r="0" b="0"/>
                <a:pathLst>
                  <a:path w="9352529" h="10126420">
                    <a:moveTo>
                      <a:pt x="2446795" y="7689"/>
                    </a:moveTo>
                    <a:lnTo>
                      <a:pt x="2374171" y="56316"/>
                    </a:lnTo>
                    <a:lnTo>
                      <a:pt x="2321868" y="73191"/>
                    </a:lnTo>
                    <a:lnTo>
                      <a:pt x="2229651" y="102967"/>
                    </a:lnTo>
                    <a:lnTo>
                      <a:pt x="2097984" y="83733"/>
                    </a:lnTo>
                    <a:lnTo>
                      <a:pt x="2002219" y="89514"/>
                    </a:lnTo>
                    <a:lnTo>
                      <a:pt x="1943564" y="93064"/>
                    </a:lnTo>
                    <a:lnTo>
                      <a:pt x="1887475" y="110385"/>
                    </a:lnTo>
                    <a:lnTo>
                      <a:pt x="1828114" y="108557"/>
                    </a:lnTo>
                    <a:lnTo>
                      <a:pt x="1782549" y="107143"/>
                    </a:lnTo>
                    <a:lnTo>
                      <a:pt x="1738885" y="98654"/>
                    </a:lnTo>
                    <a:lnTo>
                      <a:pt x="1694818" y="90874"/>
                    </a:lnTo>
                    <a:lnTo>
                      <a:pt x="1690148" y="116753"/>
                    </a:lnTo>
                    <a:lnTo>
                      <a:pt x="1685255" y="140784"/>
                    </a:lnTo>
                    <a:lnTo>
                      <a:pt x="1681654" y="178976"/>
                    </a:lnTo>
                    <a:lnTo>
                      <a:pt x="1680962" y="202240"/>
                    </a:lnTo>
                    <a:lnTo>
                      <a:pt x="1699678" y="226108"/>
                    </a:lnTo>
                    <a:lnTo>
                      <a:pt x="1799057" y="230093"/>
                    </a:lnTo>
                    <a:lnTo>
                      <a:pt x="1898844" y="233695"/>
                    </a:lnTo>
                    <a:lnTo>
                      <a:pt x="1998625" y="237298"/>
                    </a:lnTo>
                    <a:lnTo>
                      <a:pt x="2098822" y="241623"/>
                    </a:lnTo>
                    <a:lnTo>
                      <a:pt x="2116476" y="255459"/>
                    </a:lnTo>
                    <a:lnTo>
                      <a:pt x="2039454" y="296201"/>
                    </a:lnTo>
                    <a:lnTo>
                      <a:pt x="2003492" y="322475"/>
                    </a:lnTo>
                    <a:lnTo>
                      <a:pt x="1984532" y="354753"/>
                    </a:lnTo>
                    <a:lnTo>
                      <a:pt x="1977060" y="389451"/>
                    </a:lnTo>
                    <a:lnTo>
                      <a:pt x="1983153" y="444500"/>
                    </a:lnTo>
                    <a:lnTo>
                      <a:pt x="2000432" y="483749"/>
                    </a:lnTo>
                    <a:lnTo>
                      <a:pt x="2011742" y="520697"/>
                    </a:lnTo>
                    <a:lnTo>
                      <a:pt x="2018984" y="544416"/>
                    </a:lnTo>
                    <a:lnTo>
                      <a:pt x="2037429" y="562544"/>
                    </a:lnTo>
                    <a:lnTo>
                      <a:pt x="2033505" y="591428"/>
                    </a:lnTo>
                    <a:lnTo>
                      <a:pt x="2029753" y="618929"/>
                    </a:lnTo>
                    <a:lnTo>
                      <a:pt x="2009308" y="662408"/>
                    </a:lnTo>
                    <a:lnTo>
                      <a:pt x="1984532" y="702964"/>
                    </a:lnTo>
                    <a:lnTo>
                      <a:pt x="1959761" y="743520"/>
                    </a:lnTo>
                    <a:lnTo>
                      <a:pt x="1930117" y="781941"/>
                    </a:lnTo>
                    <a:lnTo>
                      <a:pt x="1908367" y="799538"/>
                    </a:lnTo>
                    <a:lnTo>
                      <a:pt x="1876487" y="825340"/>
                    </a:lnTo>
                    <a:lnTo>
                      <a:pt x="1840737" y="848314"/>
                    </a:lnTo>
                    <a:lnTo>
                      <a:pt x="1810433" y="875709"/>
                    </a:lnTo>
                    <a:lnTo>
                      <a:pt x="1761037" y="920362"/>
                    </a:lnTo>
                    <a:lnTo>
                      <a:pt x="1725537" y="975021"/>
                    </a:lnTo>
                    <a:lnTo>
                      <a:pt x="1686653" y="1028052"/>
                    </a:lnTo>
                    <a:lnTo>
                      <a:pt x="1636374" y="1096620"/>
                    </a:lnTo>
                    <a:lnTo>
                      <a:pt x="1606849" y="1132891"/>
                    </a:lnTo>
                    <a:lnTo>
                      <a:pt x="1588719" y="1170872"/>
                    </a:lnTo>
                    <a:lnTo>
                      <a:pt x="1570590" y="1208854"/>
                    </a:lnTo>
                    <a:lnTo>
                      <a:pt x="1563711" y="1249700"/>
                    </a:lnTo>
                    <a:lnTo>
                      <a:pt x="1556074" y="1330016"/>
                    </a:lnTo>
                    <a:lnTo>
                      <a:pt x="1547975" y="1415155"/>
                    </a:lnTo>
                    <a:lnTo>
                      <a:pt x="1544342" y="1477406"/>
                    </a:lnTo>
                    <a:lnTo>
                      <a:pt x="1553350" y="1570770"/>
                    </a:lnTo>
                    <a:lnTo>
                      <a:pt x="1554465" y="1620673"/>
                    </a:lnTo>
                    <a:lnTo>
                      <a:pt x="1552117" y="1657645"/>
                    </a:lnTo>
                    <a:lnTo>
                      <a:pt x="1564232" y="1683667"/>
                    </a:lnTo>
                    <a:lnTo>
                      <a:pt x="1580561" y="1705890"/>
                    </a:lnTo>
                    <a:lnTo>
                      <a:pt x="1610468" y="1721293"/>
                    </a:lnTo>
                    <a:lnTo>
                      <a:pt x="1658084" y="1729913"/>
                    </a:lnTo>
                    <a:lnTo>
                      <a:pt x="1681206" y="1732251"/>
                    </a:lnTo>
                    <a:lnTo>
                      <a:pt x="1716911" y="1726384"/>
                    </a:lnTo>
                    <a:lnTo>
                      <a:pt x="1736972" y="1712231"/>
                    </a:lnTo>
                    <a:lnTo>
                      <a:pt x="1748348" y="1738809"/>
                    </a:lnTo>
                    <a:lnTo>
                      <a:pt x="1750083" y="1775428"/>
                    </a:lnTo>
                    <a:lnTo>
                      <a:pt x="1761459" y="1803365"/>
                    </a:lnTo>
                    <a:lnTo>
                      <a:pt x="1787977" y="1814047"/>
                    </a:lnTo>
                    <a:lnTo>
                      <a:pt x="1827434" y="1819887"/>
                    </a:lnTo>
                    <a:lnTo>
                      <a:pt x="1850879" y="1825798"/>
                    </a:lnTo>
                    <a:lnTo>
                      <a:pt x="1875716" y="1846891"/>
                    </a:lnTo>
                    <a:lnTo>
                      <a:pt x="1887409" y="1867868"/>
                    </a:lnTo>
                    <a:lnTo>
                      <a:pt x="1896121" y="1902659"/>
                    </a:lnTo>
                    <a:lnTo>
                      <a:pt x="1897050" y="1934814"/>
                    </a:lnTo>
                    <a:lnTo>
                      <a:pt x="1882021" y="1977091"/>
                    </a:lnTo>
                    <a:lnTo>
                      <a:pt x="1859539" y="2001233"/>
                    </a:lnTo>
                    <a:lnTo>
                      <a:pt x="1833555" y="2023717"/>
                    </a:lnTo>
                    <a:lnTo>
                      <a:pt x="1807570" y="2046201"/>
                    </a:lnTo>
                    <a:lnTo>
                      <a:pt x="1777808" y="2068235"/>
                    </a:lnTo>
                    <a:lnTo>
                      <a:pt x="1753302" y="2093087"/>
                    </a:lnTo>
                    <a:lnTo>
                      <a:pt x="1728795" y="2117938"/>
                    </a:lnTo>
                    <a:lnTo>
                      <a:pt x="1709920" y="2144854"/>
                    </a:lnTo>
                    <a:lnTo>
                      <a:pt x="1704334" y="2180140"/>
                    </a:lnTo>
                    <a:lnTo>
                      <a:pt x="1699421" y="2211185"/>
                    </a:lnTo>
                    <a:lnTo>
                      <a:pt x="1699856" y="2241736"/>
                    </a:lnTo>
                    <a:lnTo>
                      <a:pt x="1704334" y="2271273"/>
                    </a:lnTo>
                    <a:lnTo>
                      <a:pt x="1708812" y="2300810"/>
                    </a:lnTo>
                    <a:lnTo>
                      <a:pt x="1716218" y="2329523"/>
                    </a:lnTo>
                    <a:lnTo>
                      <a:pt x="1724739" y="2358325"/>
                    </a:lnTo>
                    <a:lnTo>
                      <a:pt x="1741774" y="2415932"/>
                    </a:lnTo>
                    <a:lnTo>
                      <a:pt x="1761762" y="2473103"/>
                    </a:lnTo>
                    <a:lnTo>
                      <a:pt x="1762824" y="2532432"/>
                    </a:lnTo>
                    <a:lnTo>
                      <a:pt x="1763781" y="2585097"/>
                    </a:lnTo>
                    <a:lnTo>
                      <a:pt x="1742974" y="2639696"/>
                    </a:lnTo>
                    <a:lnTo>
                      <a:pt x="1739702" y="2692934"/>
                    </a:lnTo>
                    <a:lnTo>
                      <a:pt x="1735944" y="2754611"/>
                    </a:lnTo>
                    <a:lnTo>
                      <a:pt x="1745440" y="2786895"/>
                    </a:lnTo>
                    <a:lnTo>
                      <a:pt x="1747860" y="2839836"/>
                    </a:lnTo>
                    <a:lnTo>
                      <a:pt x="1750413" y="2895881"/>
                    </a:lnTo>
                    <a:lnTo>
                      <a:pt x="1728584" y="2963379"/>
                    </a:lnTo>
                    <a:lnTo>
                      <a:pt x="1717939" y="3018022"/>
                    </a:lnTo>
                    <a:lnTo>
                      <a:pt x="1711061" y="3053333"/>
                    </a:lnTo>
                    <a:lnTo>
                      <a:pt x="1717610" y="3095448"/>
                    </a:lnTo>
                    <a:lnTo>
                      <a:pt x="1735621" y="3129558"/>
                    </a:lnTo>
                    <a:lnTo>
                      <a:pt x="1756487" y="3161582"/>
                    </a:lnTo>
                    <a:lnTo>
                      <a:pt x="1785484" y="3184587"/>
                    </a:lnTo>
                    <a:lnTo>
                      <a:pt x="1822673" y="3194848"/>
                    </a:lnTo>
                    <a:lnTo>
                      <a:pt x="1844119" y="3182836"/>
                    </a:lnTo>
                    <a:lnTo>
                      <a:pt x="1858358" y="3160613"/>
                    </a:lnTo>
                    <a:lnTo>
                      <a:pt x="1867558" y="3132279"/>
                    </a:lnTo>
                    <a:lnTo>
                      <a:pt x="1877517" y="3103088"/>
                    </a:lnTo>
                    <a:lnTo>
                      <a:pt x="1886281" y="3070549"/>
                    </a:lnTo>
                    <a:lnTo>
                      <a:pt x="1905643" y="3049306"/>
                    </a:lnTo>
                    <a:lnTo>
                      <a:pt x="1937049" y="3029871"/>
                    </a:lnTo>
                    <a:lnTo>
                      <a:pt x="1979177" y="3013876"/>
                    </a:lnTo>
                    <a:lnTo>
                      <a:pt x="2021259" y="3005781"/>
                    </a:lnTo>
                    <a:lnTo>
                      <a:pt x="2063348" y="2997685"/>
                    </a:lnTo>
                    <a:lnTo>
                      <a:pt x="2106511" y="2997393"/>
                    </a:lnTo>
                    <a:lnTo>
                      <a:pt x="2142321" y="3011221"/>
                    </a:lnTo>
                    <a:lnTo>
                      <a:pt x="2168464" y="3021323"/>
                    </a:lnTo>
                    <a:lnTo>
                      <a:pt x="2195365" y="3037065"/>
                    </a:lnTo>
                    <a:lnTo>
                      <a:pt x="2224369" y="3041900"/>
                    </a:lnTo>
                    <a:lnTo>
                      <a:pt x="2253855" y="3031624"/>
                    </a:lnTo>
                    <a:lnTo>
                      <a:pt x="2302208" y="2985717"/>
                    </a:lnTo>
                    <a:lnTo>
                      <a:pt x="2318788" y="2942877"/>
                    </a:lnTo>
                    <a:lnTo>
                      <a:pt x="2330025" y="2921448"/>
                    </a:lnTo>
                    <a:lnTo>
                      <a:pt x="2341296" y="2901214"/>
                    </a:lnTo>
                    <a:lnTo>
                      <a:pt x="2359564" y="2889994"/>
                    </a:lnTo>
                    <a:lnTo>
                      <a:pt x="2385792" y="2892884"/>
                    </a:lnTo>
                    <a:lnTo>
                      <a:pt x="2399180" y="2925912"/>
                    </a:lnTo>
                    <a:lnTo>
                      <a:pt x="2412996" y="2955453"/>
                    </a:lnTo>
                    <a:lnTo>
                      <a:pt x="2435538" y="2977879"/>
                    </a:lnTo>
                    <a:lnTo>
                      <a:pt x="2482183" y="2996293"/>
                    </a:lnTo>
                    <a:lnTo>
                      <a:pt x="2521924" y="2996525"/>
                    </a:lnTo>
                    <a:lnTo>
                      <a:pt x="2554457" y="2992178"/>
                    </a:lnTo>
                    <a:lnTo>
                      <a:pt x="2591309" y="2973922"/>
                    </a:lnTo>
                    <a:lnTo>
                      <a:pt x="2645104" y="2914350"/>
                    </a:lnTo>
                    <a:lnTo>
                      <a:pt x="2668713" y="2907846"/>
                    </a:lnTo>
                    <a:lnTo>
                      <a:pt x="2677900" y="2950990"/>
                    </a:lnTo>
                    <a:lnTo>
                      <a:pt x="2660957" y="2984952"/>
                    </a:lnTo>
                    <a:lnTo>
                      <a:pt x="2649674" y="3015302"/>
                    </a:lnTo>
                    <a:lnTo>
                      <a:pt x="2637157" y="3048988"/>
                    </a:lnTo>
                    <a:lnTo>
                      <a:pt x="2620201" y="3079274"/>
                    </a:lnTo>
                    <a:lnTo>
                      <a:pt x="2610230" y="3110516"/>
                    </a:lnTo>
                    <a:lnTo>
                      <a:pt x="2600258" y="3141757"/>
                    </a:lnTo>
                    <a:lnTo>
                      <a:pt x="2597528" y="3173701"/>
                    </a:lnTo>
                    <a:lnTo>
                      <a:pt x="2612948" y="3211170"/>
                    </a:lnTo>
                    <a:lnTo>
                      <a:pt x="2621363" y="3231616"/>
                    </a:lnTo>
                    <a:lnTo>
                      <a:pt x="2630436" y="3257523"/>
                    </a:lnTo>
                    <a:lnTo>
                      <a:pt x="2649668" y="3271019"/>
                    </a:lnTo>
                    <a:lnTo>
                      <a:pt x="2693305" y="3290360"/>
                    </a:lnTo>
                    <a:lnTo>
                      <a:pt x="2723121" y="3303664"/>
                    </a:lnTo>
                    <a:lnTo>
                      <a:pt x="2752938" y="3316969"/>
                    </a:lnTo>
                    <a:lnTo>
                      <a:pt x="2780503" y="3332324"/>
                    </a:lnTo>
                    <a:lnTo>
                      <a:pt x="2785061" y="3387932"/>
                    </a:lnTo>
                    <a:lnTo>
                      <a:pt x="2782838" y="3409279"/>
                    </a:lnTo>
                    <a:lnTo>
                      <a:pt x="2793991" y="3442885"/>
                    </a:lnTo>
                    <a:lnTo>
                      <a:pt x="2837377" y="3479129"/>
                    </a:lnTo>
                    <a:lnTo>
                      <a:pt x="2895485" y="3523697"/>
                    </a:lnTo>
                    <a:lnTo>
                      <a:pt x="2947809" y="3564142"/>
                    </a:lnTo>
                    <a:lnTo>
                      <a:pt x="2992438" y="3623310"/>
                    </a:lnTo>
                    <a:lnTo>
                      <a:pt x="3012974" y="3674637"/>
                    </a:lnTo>
                    <a:lnTo>
                      <a:pt x="3199188" y="3749809"/>
                    </a:lnTo>
                    <a:lnTo>
                      <a:pt x="3223397" y="3767194"/>
                    </a:lnTo>
                    <a:lnTo>
                      <a:pt x="3256167" y="3784048"/>
                    </a:lnTo>
                    <a:lnTo>
                      <a:pt x="3279679" y="3789956"/>
                    </a:lnTo>
                    <a:lnTo>
                      <a:pt x="3301205" y="3802857"/>
                    </a:lnTo>
                    <a:lnTo>
                      <a:pt x="3325921" y="3817691"/>
                    </a:lnTo>
                    <a:lnTo>
                      <a:pt x="3340503" y="3847212"/>
                    </a:lnTo>
                    <a:lnTo>
                      <a:pt x="3361052" y="3866786"/>
                    </a:lnTo>
                    <a:lnTo>
                      <a:pt x="3399185" y="3903129"/>
                    </a:lnTo>
                    <a:lnTo>
                      <a:pt x="3441116" y="3936730"/>
                    </a:lnTo>
                    <a:lnTo>
                      <a:pt x="3480750" y="3971521"/>
                    </a:lnTo>
                    <a:lnTo>
                      <a:pt x="3498115" y="3986770"/>
                    </a:lnTo>
                    <a:lnTo>
                      <a:pt x="3503872" y="4027288"/>
                    </a:lnTo>
                    <a:lnTo>
                      <a:pt x="3498418" y="4069251"/>
                    </a:lnTo>
                    <a:lnTo>
                      <a:pt x="3495722" y="4108009"/>
                    </a:lnTo>
                    <a:lnTo>
                      <a:pt x="3500594" y="4132239"/>
                    </a:lnTo>
                    <a:lnTo>
                      <a:pt x="3492325" y="4176477"/>
                    </a:lnTo>
                    <a:lnTo>
                      <a:pt x="3483890" y="4197133"/>
                    </a:lnTo>
                    <a:lnTo>
                      <a:pt x="3464012" y="4230140"/>
                    </a:lnTo>
                    <a:lnTo>
                      <a:pt x="3437224" y="4253084"/>
                    </a:lnTo>
                    <a:lnTo>
                      <a:pt x="3408101" y="4273667"/>
                    </a:lnTo>
                    <a:lnTo>
                      <a:pt x="3370022" y="4284693"/>
                    </a:lnTo>
                    <a:lnTo>
                      <a:pt x="3325692" y="4296610"/>
                    </a:lnTo>
                    <a:lnTo>
                      <a:pt x="3256173" y="4315294"/>
                    </a:lnTo>
                    <a:lnTo>
                      <a:pt x="3178876" y="4327171"/>
                    </a:lnTo>
                    <a:lnTo>
                      <a:pt x="3106694" y="4322456"/>
                    </a:lnTo>
                    <a:lnTo>
                      <a:pt x="3105079" y="4365217"/>
                    </a:lnTo>
                    <a:lnTo>
                      <a:pt x="3111561" y="4423575"/>
                    </a:lnTo>
                    <a:lnTo>
                      <a:pt x="3098279" y="4509903"/>
                    </a:lnTo>
                    <a:lnTo>
                      <a:pt x="3086295" y="4555045"/>
                    </a:lnTo>
                    <a:lnTo>
                      <a:pt x="3128267" y="4565247"/>
                    </a:lnTo>
                    <a:lnTo>
                      <a:pt x="3173264" y="4585969"/>
                    </a:lnTo>
                    <a:lnTo>
                      <a:pt x="3210069" y="4608094"/>
                    </a:lnTo>
                    <a:lnTo>
                      <a:pt x="3236627" y="4608048"/>
                    </a:lnTo>
                    <a:lnTo>
                      <a:pt x="3265843" y="4580891"/>
                    </a:lnTo>
                    <a:lnTo>
                      <a:pt x="3286564" y="4566348"/>
                    </a:lnTo>
                    <a:lnTo>
                      <a:pt x="3318568" y="4554622"/>
                    </a:lnTo>
                    <a:lnTo>
                      <a:pt x="3339230" y="4549604"/>
                    </a:lnTo>
                    <a:lnTo>
                      <a:pt x="3367852" y="4548245"/>
                    </a:lnTo>
                    <a:lnTo>
                      <a:pt x="3392584" y="4561296"/>
                    </a:lnTo>
                    <a:lnTo>
                      <a:pt x="3417486" y="4578898"/>
                    </a:lnTo>
                    <a:lnTo>
                      <a:pt x="3439948" y="4599936"/>
                    </a:lnTo>
                    <a:lnTo>
                      <a:pt x="3462403" y="4620967"/>
                    </a:lnTo>
                    <a:lnTo>
                      <a:pt x="3482082" y="4645745"/>
                    </a:lnTo>
                    <a:lnTo>
                      <a:pt x="3499796" y="4672025"/>
                    </a:lnTo>
                    <a:lnTo>
                      <a:pt x="3517511" y="4698306"/>
                    </a:lnTo>
                    <a:lnTo>
                      <a:pt x="3532837" y="4726203"/>
                    </a:lnTo>
                    <a:lnTo>
                      <a:pt x="3543323" y="4754995"/>
                    </a:lnTo>
                    <a:lnTo>
                      <a:pt x="3553810" y="4783789"/>
                    </a:lnTo>
                    <a:lnTo>
                      <a:pt x="3560226" y="4813473"/>
                    </a:lnTo>
                    <a:lnTo>
                      <a:pt x="3561004" y="4842048"/>
                    </a:lnTo>
                    <a:lnTo>
                      <a:pt x="3587739" y="4866172"/>
                    </a:lnTo>
                    <a:lnTo>
                      <a:pt x="3610175" y="4894458"/>
                    </a:lnTo>
                    <a:lnTo>
                      <a:pt x="3606594" y="4956945"/>
                    </a:lnTo>
                    <a:lnTo>
                      <a:pt x="3609970" y="4979427"/>
                    </a:lnTo>
                    <a:lnTo>
                      <a:pt x="3621010" y="5023250"/>
                    </a:lnTo>
                    <a:lnTo>
                      <a:pt x="3622212" y="5047440"/>
                    </a:lnTo>
                    <a:lnTo>
                      <a:pt x="3622171" y="5071439"/>
                    </a:lnTo>
                    <a:lnTo>
                      <a:pt x="3614093" y="5091455"/>
                    </a:lnTo>
                    <a:lnTo>
                      <a:pt x="3595013" y="5104565"/>
                    </a:lnTo>
                    <a:lnTo>
                      <a:pt x="3530470" y="5105864"/>
                    </a:lnTo>
                    <a:lnTo>
                      <a:pt x="3454701" y="5131789"/>
                    </a:lnTo>
                    <a:lnTo>
                      <a:pt x="3389623" y="5137210"/>
                    </a:lnTo>
                    <a:lnTo>
                      <a:pt x="3360572" y="5139637"/>
                    </a:lnTo>
                    <a:lnTo>
                      <a:pt x="3331494" y="5140593"/>
                    </a:lnTo>
                    <a:lnTo>
                      <a:pt x="3302569" y="5144016"/>
                    </a:lnTo>
                    <a:lnTo>
                      <a:pt x="3260810" y="5150940"/>
                    </a:lnTo>
                    <a:lnTo>
                      <a:pt x="3216261" y="5159996"/>
                    </a:lnTo>
                    <a:lnTo>
                      <a:pt x="3195112" y="5191618"/>
                    </a:lnTo>
                    <a:lnTo>
                      <a:pt x="3179488" y="5212933"/>
                    </a:lnTo>
                    <a:lnTo>
                      <a:pt x="3184231" y="5244667"/>
                    </a:lnTo>
                    <a:lnTo>
                      <a:pt x="3204312" y="5272425"/>
                    </a:lnTo>
                    <a:lnTo>
                      <a:pt x="3237603" y="5295797"/>
                    </a:lnTo>
                    <a:lnTo>
                      <a:pt x="3257118" y="5306145"/>
                    </a:lnTo>
                    <a:lnTo>
                      <a:pt x="3288173" y="5330098"/>
                    </a:lnTo>
                    <a:lnTo>
                      <a:pt x="3302569" y="5358924"/>
                    </a:lnTo>
                    <a:lnTo>
                      <a:pt x="3328323" y="5374066"/>
                    </a:lnTo>
                    <a:lnTo>
                      <a:pt x="3336671" y="5395473"/>
                    </a:lnTo>
                    <a:lnTo>
                      <a:pt x="3335214" y="5425572"/>
                    </a:lnTo>
                    <a:lnTo>
                      <a:pt x="3329978" y="5484907"/>
                    </a:lnTo>
                    <a:lnTo>
                      <a:pt x="3310279" y="5518521"/>
                    </a:lnTo>
                    <a:lnTo>
                      <a:pt x="3280332" y="5529356"/>
                    </a:lnTo>
                    <a:lnTo>
                      <a:pt x="3246796" y="5549352"/>
                    </a:lnTo>
                    <a:lnTo>
                      <a:pt x="3212635" y="5571669"/>
                    </a:lnTo>
                    <a:lnTo>
                      <a:pt x="3195112" y="5588796"/>
                    </a:lnTo>
                    <a:lnTo>
                      <a:pt x="3177589" y="5605923"/>
                    </a:lnTo>
                    <a:lnTo>
                      <a:pt x="3160542" y="5628108"/>
                    </a:lnTo>
                    <a:lnTo>
                      <a:pt x="3144786" y="5658167"/>
                    </a:lnTo>
                    <a:lnTo>
                      <a:pt x="3144786" y="5679930"/>
                    </a:lnTo>
                    <a:lnTo>
                      <a:pt x="3165705" y="5706957"/>
                    </a:lnTo>
                    <a:lnTo>
                      <a:pt x="3197315" y="5726359"/>
                    </a:lnTo>
                    <a:lnTo>
                      <a:pt x="3233198" y="5741138"/>
                    </a:lnTo>
                    <a:lnTo>
                      <a:pt x="3268011" y="5756049"/>
                    </a:lnTo>
                    <a:lnTo>
                      <a:pt x="3293594" y="5772477"/>
                    </a:lnTo>
                    <a:lnTo>
                      <a:pt x="3303927" y="5794188"/>
                    </a:lnTo>
                    <a:lnTo>
                      <a:pt x="3290283" y="5819690"/>
                    </a:lnTo>
                    <a:lnTo>
                      <a:pt x="3264292" y="5862471"/>
                    </a:lnTo>
                    <a:lnTo>
                      <a:pt x="3239996" y="5879882"/>
                    </a:lnTo>
                    <a:lnTo>
                      <a:pt x="3216822" y="5879420"/>
                    </a:lnTo>
                    <a:lnTo>
                      <a:pt x="3180149" y="5859477"/>
                    </a:lnTo>
                    <a:lnTo>
                      <a:pt x="3160437" y="5850105"/>
                    </a:lnTo>
                    <a:lnTo>
                      <a:pt x="3138033" y="5842805"/>
                    </a:lnTo>
                    <a:lnTo>
                      <a:pt x="3099895" y="5848595"/>
                    </a:lnTo>
                    <a:lnTo>
                      <a:pt x="3072163" y="5852803"/>
                    </a:lnTo>
                    <a:lnTo>
                      <a:pt x="3049879" y="5867985"/>
                    </a:lnTo>
                    <a:lnTo>
                      <a:pt x="3030530" y="5886681"/>
                    </a:lnTo>
                    <a:lnTo>
                      <a:pt x="3011181" y="5905384"/>
                    </a:lnTo>
                    <a:lnTo>
                      <a:pt x="2994535" y="5927794"/>
                    </a:lnTo>
                    <a:lnTo>
                      <a:pt x="2974757" y="5945171"/>
                    </a:lnTo>
                    <a:lnTo>
                      <a:pt x="2939883" y="5975798"/>
                    </a:lnTo>
                    <a:lnTo>
                      <a:pt x="2853615" y="6000792"/>
                    </a:lnTo>
                    <a:lnTo>
                      <a:pt x="2834661" y="6025425"/>
                    </a:lnTo>
                    <a:lnTo>
                      <a:pt x="2820634" y="6056473"/>
                    </a:lnTo>
                    <a:lnTo>
                      <a:pt x="2816828" y="6095449"/>
                    </a:lnTo>
                    <a:lnTo>
                      <a:pt x="2824201" y="6172597"/>
                    </a:lnTo>
                    <a:lnTo>
                      <a:pt x="2800552" y="6279606"/>
                    </a:lnTo>
                    <a:lnTo>
                      <a:pt x="2808816" y="6331467"/>
                    </a:lnTo>
                    <a:lnTo>
                      <a:pt x="2825138" y="6429402"/>
                    </a:lnTo>
                    <a:lnTo>
                      <a:pt x="2831905" y="6471913"/>
                    </a:lnTo>
                    <a:lnTo>
                      <a:pt x="2832472" y="6500416"/>
                    </a:lnTo>
                    <a:lnTo>
                      <a:pt x="2829213" y="6521895"/>
                    </a:lnTo>
                    <a:lnTo>
                      <a:pt x="2825956" y="6543368"/>
                    </a:lnTo>
                    <a:lnTo>
                      <a:pt x="2808809" y="6569504"/>
                    </a:lnTo>
                    <a:lnTo>
                      <a:pt x="2787052" y="6593760"/>
                    </a:lnTo>
                    <a:lnTo>
                      <a:pt x="2762559" y="6624136"/>
                    </a:lnTo>
                    <a:lnTo>
                      <a:pt x="2750668" y="6642945"/>
                    </a:lnTo>
                    <a:lnTo>
                      <a:pt x="2739444" y="6672879"/>
                    </a:lnTo>
                    <a:lnTo>
                      <a:pt x="2719659" y="6725626"/>
                    </a:lnTo>
                    <a:lnTo>
                      <a:pt x="2719653" y="6798182"/>
                    </a:lnTo>
                    <a:lnTo>
                      <a:pt x="2712239" y="6853784"/>
                    </a:lnTo>
                    <a:lnTo>
                      <a:pt x="2692811" y="6882466"/>
                    </a:lnTo>
                    <a:lnTo>
                      <a:pt x="2664836" y="6891817"/>
                    </a:lnTo>
                    <a:lnTo>
                      <a:pt x="2627905" y="6885070"/>
                    </a:lnTo>
                    <a:lnTo>
                      <a:pt x="2593367" y="6867185"/>
                    </a:lnTo>
                    <a:lnTo>
                      <a:pt x="2546001" y="6826982"/>
                    </a:lnTo>
                    <a:lnTo>
                      <a:pt x="2518679" y="6791581"/>
                    </a:lnTo>
                    <a:lnTo>
                      <a:pt x="2494608" y="6769448"/>
                    </a:lnTo>
                    <a:lnTo>
                      <a:pt x="2452777" y="6739653"/>
                    </a:lnTo>
                    <a:lnTo>
                      <a:pt x="2415311" y="6721523"/>
                    </a:lnTo>
                    <a:lnTo>
                      <a:pt x="2325238" y="6717038"/>
                    </a:lnTo>
                    <a:lnTo>
                      <a:pt x="2286492" y="6712323"/>
                    </a:lnTo>
                    <a:lnTo>
                      <a:pt x="2261669" y="6698230"/>
                    </a:lnTo>
                    <a:lnTo>
                      <a:pt x="2274253" y="6655192"/>
                    </a:lnTo>
                    <a:lnTo>
                      <a:pt x="2241080" y="6599003"/>
                    </a:lnTo>
                    <a:lnTo>
                      <a:pt x="2207696" y="6561142"/>
                    </a:lnTo>
                    <a:lnTo>
                      <a:pt x="2173601" y="6527336"/>
                    </a:lnTo>
                    <a:lnTo>
                      <a:pt x="2143851" y="6497831"/>
                    </a:lnTo>
                    <a:lnTo>
                      <a:pt x="2125333" y="6485254"/>
                    </a:lnTo>
                    <a:lnTo>
                      <a:pt x="2102871" y="6479727"/>
                    </a:lnTo>
                    <a:lnTo>
                      <a:pt x="2080409" y="6474201"/>
                    </a:lnTo>
                    <a:lnTo>
                      <a:pt x="2054985" y="6475652"/>
                    </a:lnTo>
                    <a:lnTo>
                      <a:pt x="2011735" y="6475652"/>
                    </a:lnTo>
                    <a:lnTo>
                      <a:pt x="1959458" y="6475652"/>
                    </a:lnTo>
                    <a:lnTo>
                      <a:pt x="1902115" y="6471998"/>
                    </a:lnTo>
                    <a:lnTo>
                      <a:pt x="1851236" y="6487892"/>
                    </a:lnTo>
                    <a:lnTo>
                      <a:pt x="1825713" y="6512933"/>
                    </a:lnTo>
                    <a:lnTo>
                      <a:pt x="1816085" y="6550933"/>
                    </a:lnTo>
                    <a:lnTo>
                      <a:pt x="1788663" y="6576304"/>
                    </a:lnTo>
                    <a:lnTo>
                      <a:pt x="1751343" y="6590502"/>
                    </a:lnTo>
                    <a:lnTo>
                      <a:pt x="1710348" y="6593094"/>
                    </a:lnTo>
                    <a:lnTo>
                      <a:pt x="1674406" y="6606231"/>
                    </a:lnTo>
                    <a:lnTo>
                      <a:pt x="1652755" y="6614158"/>
                    </a:lnTo>
                    <a:lnTo>
                      <a:pt x="1631645" y="6629162"/>
                    </a:lnTo>
                    <a:lnTo>
                      <a:pt x="1610482" y="6638876"/>
                    </a:lnTo>
                    <a:lnTo>
                      <a:pt x="1577474" y="6654011"/>
                    </a:lnTo>
                    <a:lnTo>
                      <a:pt x="1536771" y="6668183"/>
                    </a:lnTo>
                    <a:lnTo>
                      <a:pt x="1501666" y="6678320"/>
                    </a:lnTo>
                    <a:lnTo>
                      <a:pt x="1475122" y="6685014"/>
                    </a:lnTo>
                    <a:lnTo>
                      <a:pt x="1443980" y="6713833"/>
                    </a:lnTo>
                    <a:lnTo>
                      <a:pt x="1431569" y="6741677"/>
                    </a:lnTo>
                    <a:lnTo>
                      <a:pt x="1422771" y="6772179"/>
                    </a:lnTo>
                    <a:lnTo>
                      <a:pt x="1330186" y="6755619"/>
                    </a:lnTo>
                    <a:lnTo>
                      <a:pt x="1269466" y="6748180"/>
                    </a:lnTo>
                    <a:lnTo>
                      <a:pt x="1213304" y="6730011"/>
                    </a:lnTo>
                    <a:lnTo>
                      <a:pt x="1185223" y="6720923"/>
                    </a:lnTo>
                    <a:lnTo>
                      <a:pt x="1157940" y="6709454"/>
                    </a:lnTo>
                    <a:lnTo>
                      <a:pt x="1131692" y="6691925"/>
                    </a:lnTo>
                    <a:lnTo>
                      <a:pt x="1105438" y="6674396"/>
                    </a:lnTo>
                    <a:lnTo>
                      <a:pt x="1080258" y="6650714"/>
                    </a:lnTo>
                    <a:lnTo>
                      <a:pt x="1054156" y="6618472"/>
                    </a:lnTo>
                    <a:lnTo>
                      <a:pt x="1031034" y="6614396"/>
                    </a:lnTo>
                    <a:lnTo>
                      <a:pt x="1023239" y="6650167"/>
                    </a:lnTo>
                    <a:lnTo>
                      <a:pt x="1037187" y="6675122"/>
                    </a:lnTo>
                    <a:lnTo>
                      <a:pt x="1047356" y="6700090"/>
                    </a:lnTo>
                    <a:lnTo>
                      <a:pt x="1057532" y="6725058"/>
                    </a:lnTo>
                    <a:lnTo>
                      <a:pt x="1064048" y="6749756"/>
                    </a:lnTo>
                    <a:lnTo>
                      <a:pt x="1056880" y="6770820"/>
                    </a:lnTo>
                    <a:lnTo>
                      <a:pt x="1041857" y="6790269"/>
                    </a:lnTo>
                    <a:lnTo>
                      <a:pt x="1022494" y="6802508"/>
                    </a:lnTo>
                    <a:lnTo>
                      <a:pt x="999748" y="6811630"/>
                    </a:lnTo>
                    <a:lnTo>
                      <a:pt x="989143" y="6839084"/>
                    </a:lnTo>
                    <a:lnTo>
                      <a:pt x="1007773" y="6879761"/>
                    </a:lnTo>
                    <a:lnTo>
                      <a:pt x="1054954" y="6902125"/>
                    </a:lnTo>
                    <a:lnTo>
                      <a:pt x="1090883" y="6924521"/>
                    </a:lnTo>
                    <a:lnTo>
                      <a:pt x="1108847" y="6935719"/>
                    </a:lnTo>
                    <a:lnTo>
                      <a:pt x="1130327" y="6958531"/>
                    </a:lnTo>
                    <a:lnTo>
                      <a:pt x="1136414" y="6984686"/>
                    </a:lnTo>
                    <a:lnTo>
                      <a:pt x="1104488" y="7004774"/>
                    </a:lnTo>
                    <a:lnTo>
                      <a:pt x="1010379" y="6974358"/>
                    </a:lnTo>
                    <a:lnTo>
                      <a:pt x="906786" y="6970560"/>
                    </a:lnTo>
                    <a:lnTo>
                      <a:pt x="809320" y="6954449"/>
                    </a:lnTo>
                    <a:lnTo>
                      <a:pt x="772771" y="6975592"/>
                    </a:lnTo>
                    <a:lnTo>
                      <a:pt x="767390" y="7027645"/>
                    </a:lnTo>
                    <a:lnTo>
                      <a:pt x="792997" y="7056465"/>
                    </a:lnTo>
                    <a:lnTo>
                      <a:pt x="816719" y="7098013"/>
                    </a:lnTo>
                    <a:lnTo>
                      <a:pt x="841635" y="7141348"/>
                    </a:lnTo>
                    <a:lnTo>
                      <a:pt x="848771" y="7189762"/>
                    </a:lnTo>
                    <a:lnTo>
                      <a:pt x="852820" y="7217249"/>
                    </a:lnTo>
                    <a:lnTo>
                      <a:pt x="851837" y="7255618"/>
                    </a:lnTo>
                    <a:lnTo>
                      <a:pt x="840606" y="7289054"/>
                    </a:lnTo>
                    <a:lnTo>
                      <a:pt x="827166" y="7321877"/>
                    </a:lnTo>
                    <a:lnTo>
                      <a:pt x="805086" y="7346008"/>
                    </a:lnTo>
                    <a:lnTo>
                      <a:pt x="772599" y="7358426"/>
                    </a:lnTo>
                    <a:lnTo>
                      <a:pt x="750230" y="7362667"/>
                    </a:lnTo>
                    <a:lnTo>
                      <a:pt x="719471" y="7362001"/>
                    </a:lnTo>
                    <a:lnTo>
                      <a:pt x="682823" y="7359785"/>
                    </a:lnTo>
                    <a:lnTo>
                      <a:pt x="646182" y="7357562"/>
                    </a:lnTo>
                    <a:lnTo>
                      <a:pt x="604423" y="7353573"/>
                    </a:lnTo>
                    <a:lnTo>
                      <a:pt x="563125" y="7347544"/>
                    </a:lnTo>
                    <a:lnTo>
                      <a:pt x="480537" y="7335489"/>
                    </a:lnTo>
                    <a:lnTo>
                      <a:pt x="398484" y="7318098"/>
                    </a:lnTo>
                    <a:lnTo>
                      <a:pt x="355017" y="7306735"/>
                    </a:lnTo>
                    <a:lnTo>
                      <a:pt x="325393" y="7295419"/>
                    </a:lnTo>
                    <a:lnTo>
                      <a:pt x="292147" y="7285414"/>
                    </a:lnTo>
                    <a:lnTo>
                      <a:pt x="259800" y="7289054"/>
                    </a:lnTo>
                    <a:lnTo>
                      <a:pt x="239889" y="7301294"/>
                    </a:lnTo>
                    <a:lnTo>
                      <a:pt x="197168" y="7368120"/>
                    </a:lnTo>
                    <a:lnTo>
                      <a:pt x="184993" y="7389712"/>
                    </a:lnTo>
                    <a:lnTo>
                      <a:pt x="197307" y="7426789"/>
                    </a:lnTo>
                    <a:lnTo>
                      <a:pt x="231191" y="7449838"/>
                    </a:lnTo>
                    <a:lnTo>
                      <a:pt x="267964" y="7474041"/>
                    </a:lnTo>
                    <a:lnTo>
                      <a:pt x="304737" y="7498251"/>
                    </a:lnTo>
                    <a:lnTo>
                      <a:pt x="344867" y="7523279"/>
                    </a:lnTo>
                    <a:lnTo>
                      <a:pt x="365899" y="7550212"/>
                    </a:lnTo>
                    <a:lnTo>
                      <a:pt x="355096" y="7611169"/>
                    </a:lnTo>
                    <a:lnTo>
                      <a:pt x="325814" y="7653317"/>
                    </a:lnTo>
                    <a:lnTo>
                      <a:pt x="299244" y="7686232"/>
                    </a:lnTo>
                    <a:lnTo>
                      <a:pt x="270978" y="7721238"/>
                    </a:lnTo>
                    <a:lnTo>
                      <a:pt x="250131" y="7740033"/>
                    </a:lnTo>
                    <a:lnTo>
                      <a:pt x="215053" y="7757570"/>
                    </a:lnTo>
                    <a:lnTo>
                      <a:pt x="189069" y="7751529"/>
                    </a:lnTo>
                    <a:lnTo>
                      <a:pt x="163620" y="7741353"/>
                    </a:lnTo>
                    <a:lnTo>
                      <a:pt x="135624" y="7734493"/>
                    </a:lnTo>
                    <a:lnTo>
                      <a:pt x="99293" y="7744722"/>
                    </a:lnTo>
                    <a:lnTo>
                      <a:pt x="92625" y="7776398"/>
                    </a:lnTo>
                    <a:lnTo>
                      <a:pt x="118339" y="7804571"/>
                    </a:lnTo>
                    <a:lnTo>
                      <a:pt x="152276" y="7833780"/>
                    </a:lnTo>
                    <a:lnTo>
                      <a:pt x="172747" y="7849462"/>
                    </a:lnTo>
                    <a:lnTo>
                      <a:pt x="193211" y="7865145"/>
                    </a:lnTo>
                    <a:lnTo>
                      <a:pt x="215185" y="7882002"/>
                    </a:lnTo>
                    <a:lnTo>
                      <a:pt x="233954" y="7898430"/>
                    </a:lnTo>
                    <a:lnTo>
                      <a:pt x="252716" y="7914851"/>
                    </a:lnTo>
                    <a:lnTo>
                      <a:pt x="267872" y="7930751"/>
                    </a:lnTo>
                    <a:lnTo>
                      <a:pt x="299244" y="7985483"/>
                    </a:lnTo>
                    <a:lnTo>
                      <a:pt x="321007" y="8023568"/>
                    </a:lnTo>
                    <a:lnTo>
                      <a:pt x="342770" y="8061654"/>
                    </a:lnTo>
                    <a:lnTo>
                      <a:pt x="365892" y="8099732"/>
                    </a:lnTo>
                    <a:lnTo>
                      <a:pt x="394764" y="8120223"/>
                    </a:lnTo>
                    <a:lnTo>
                      <a:pt x="417582" y="8124219"/>
                    </a:lnTo>
                    <a:lnTo>
                      <a:pt x="440401" y="8128216"/>
                    </a:lnTo>
                    <a:lnTo>
                      <a:pt x="464677" y="8130109"/>
                    </a:lnTo>
                    <a:lnTo>
                      <a:pt x="495113" y="8166381"/>
                    </a:lnTo>
                    <a:lnTo>
                      <a:pt x="484231" y="8260240"/>
                    </a:lnTo>
                    <a:lnTo>
                      <a:pt x="473943" y="8283764"/>
                    </a:lnTo>
                    <a:lnTo>
                      <a:pt x="450993" y="8291124"/>
                    </a:lnTo>
                    <a:lnTo>
                      <a:pt x="420300" y="8288802"/>
                    </a:lnTo>
                    <a:lnTo>
                      <a:pt x="387780" y="8283427"/>
                    </a:lnTo>
                    <a:lnTo>
                      <a:pt x="357609" y="8280572"/>
                    </a:lnTo>
                    <a:lnTo>
                      <a:pt x="334606" y="8286071"/>
                    </a:lnTo>
                    <a:lnTo>
                      <a:pt x="318224" y="8299650"/>
                    </a:lnTo>
                    <a:lnTo>
                      <a:pt x="304751" y="8316019"/>
                    </a:lnTo>
                    <a:lnTo>
                      <a:pt x="293803" y="8335039"/>
                    </a:lnTo>
                    <a:lnTo>
                      <a:pt x="280198" y="8363608"/>
                    </a:lnTo>
                    <a:lnTo>
                      <a:pt x="271236" y="8384355"/>
                    </a:lnTo>
                    <a:lnTo>
                      <a:pt x="258830" y="8408915"/>
                    </a:lnTo>
                    <a:lnTo>
                      <a:pt x="240813" y="8427981"/>
                    </a:lnTo>
                    <a:lnTo>
                      <a:pt x="218991" y="8449296"/>
                    </a:lnTo>
                    <a:lnTo>
                      <a:pt x="197174" y="8470617"/>
                    </a:lnTo>
                    <a:lnTo>
                      <a:pt x="171521" y="8493442"/>
                    </a:lnTo>
                    <a:lnTo>
                      <a:pt x="144178" y="8515950"/>
                    </a:lnTo>
                    <a:lnTo>
                      <a:pt x="116842" y="8538452"/>
                    </a:lnTo>
                    <a:lnTo>
                      <a:pt x="88266" y="8560927"/>
                    </a:lnTo>
                    <a:lnTo>
                      <a:pt x="63931" y="8579874"/>
                    </a:lnTo>
                    <a:lnTo>
                      <a:pt x="39589" y="8598828"/>
                    </a:lnTo>
                    <a:lnTo>
                      <a:pt x="19607" y="8614109"/>
                    </a:lnTo>
                    <a:lnTo>
                      <a:pt x="0" y="8643805"/>
                    </a:lnTo>
                    <a:lnTo>
                      <a:pt x="4056" y="8691692"/>
                    </a:lnTo>
                    <a:lnTo>
                      <a:pt x="28715" y="8716172"/>
                    </a:lnTo>
                    <a:lnTo>
                      <a:pt x="54791" y="8717681"/>
                    </a:lnTo>
                    <a:lnTo>
                      <a:pt x="115437" y="8729559"/>
                    </a:lnTo>
                    <a:lnTo>
                      <a:pt x="145589" y="8730305"/>
                    </a:lnTo>
                    <a:lnTo>
                      <a:pt x="170023" y="8726776"/>
                    </a:lnTo>
                    <a:lnTo>
                      <a:pt x="194457" y="8723248"/>
                    </a:lnTo>
                    <a:lnTo>
                      <a:pt x="229872" y="8706371"/>
                    </a:lnTo>
                    <a:lnTo>
                      <a:pt x="260578" y="8684648"/>
                    </a:lnTo>
                    <a:lnTo>
                      <a:pt x="278839" y="8673727"/>
                    </a:lnTo>
                    <a:lnTo>
                      <a:pt x="297101" y="8662812"/>
                    </a:lnTo>
                    <a:lnTo>
                      <a:pt x="318567" y="8651726"/>
                    </a:lnTo>
                    <a:lnTo>
                      <a:pt x="348211" y="8645164"/>
                    </a:lnTo>
                    <a:lnTo>
                      <a:pt x="370482" y="8640231"/>
                    </a:lnTo>
                    <a:lnTo>
                      <a:pt x="392397" y="8650011"/>
                    </a:lnTo>
                    <a:lnTo>
                      <a:pt x="413500" y="8656046"/>
                    </a:lnTo>
                    <a:lnTo>
                      <a:pt x="437150" y="8662806"/>
                    </a:lnTo>
                    <a:lnTo>
                      <a:pt x="456394" y="8674373"/>
                    </a:lnTo>
                    <a:lnTo>
                      <a:pt x="471991" y="8690049"/>
                    </a:lnTo>
                    <a:lnTo>
                      <a:pt x="487587" y="8705732"/>
                    </a:lnTo>
                    <a:lnTo>
                      <a:pt x="499663" y="8724666"/>
                    </a:lnTo>
                    <a:lnTo>
                      <a:pt x="507353" y="8745822"/>
                    </a:lnTo>
                    <a:lnTo>
                      <a:pt x="515042" y="8766972"/>
                    </a:lnTo>
                    <a:lnTo>
                      <a:pt x="518306" y="8790641"/>
                    </a:lnTo>
                    <a:lnTo>
                      <a:pt x="518234" y="8813829"/>
                    </a:lnTo>
                    <a:lnTo>
                      <a:pt x="518168" y="8837017"/>
                    </a:lnTo>
                    <a:lnTo>
                      <a:pt x="513670" y="8860066"/>
                    </a:lnTo>
                    <a:lnTo>
                      <a:pt x="505994" y="8881842"/>
                    </a:lnTo>
                    <a:lnTo>
                      <a:pt x="498707" y="8902484"/>
                    </a:lnTo>
                    <a:lnTo>
                      <a:pt x="484712" y="8921326"/>
                    </a:lnTo>
                    <a:lnTo>
                      <a:pt x="467909" y="8938967"/>
                    </a:lnTo>
                    <a:lnTo>
                      <a:pt x="451104" y="8956609"/>
                    </a:lnTo>
                    <a:lnTo>
                      <a:pt x="432111" y="8972852"/>
                    </a:lnTo>
                    <a:lnTo>
                      <a:pt x="413500" y="8989293"/>
                    </a:lnTo>
                    <a:lnTo>
                      <a:pt x="394890" y="9005734"/>
                    </a:lnTo>
                    <a:lnTo>
                      <a:pt x="377228" y="9022578"/>
                    </a:lnTo>
                    <a:lnTo>
                      <a:pt x="364534" y="9039625"/>
                    </a:lnTo>
                    <a:lnTo>
                      <a:pt x="351838" y="9056673"/>
                    </a:lnTo>
                    <a:lnTo>
                      <a:pt x="345488" y="9094033"/>
                    </a:lnTo>
                    <a:lnTo>
                      <a:pt x="385749" y="9134071"/>
                    </a:lnTo>
                    <a:lnTo>
                      <a:pt x="413500" y="9159323"/>
                    </a:lnTo>
                    <a:lnTo>
                      <a:pt x="441251" y="9184568"/>
                    </a:lnTo>
                    <a:lnTo>
                      <a:pt x="465119" y="9208851"/>
                    </a:lnTo>
                    <a:lnTo>
                      <a:pt x="433193" y="9323345"/>
                    </a:lnTo>
                    <a:lnTo>
                      <a:pt x="421863" y="9390336"/>
                    </a:lnTo>
                    <a:lnTo>
                      <a:pt x="423024" y="9457201"/>
                    </a:lnTo>
                    <a:lnTo>
                      <a:pt x="424184" y="9524073"/>
                    </a:lnTo>
                    <a:lnTo>
                      <a:pt x="438997" y="9591361"/>
                    </a:lnTo>
                    <a:lnTo>
                      <a:pt x="465185" y="9692520"/>
                    </a:lnTo>
                    <a:lnTo>
                      <a:pt x="485609" y="9720654"/>
                    </a:lnTo>
                    <a:lnTo>
                      <a:pt x="526399" y="9730606"/>
                    </a:lnTo>
                    <a:lnTo>
                      <a:pt x="563805" y="9757171"/>
                    </a:lnTo>
                    <a:lnTo>
                      <a:pt x="600954" y="9789901"/>
                    </a:lnTo>
                    <a:lnTo>
                      <a:pt x="636573" y="9819017"/>
                    </a:lnTo>
                    <a:lnTo>
                      <a:pt x="720183" y="9882711"/>
                    </a:lnTo>
                    <a:lnTo>
                      <a:pt x="775310" y="9952314"/>
                    </a:lnTo>
                    <a:lnTo>
                      <a:pt x="808021" y="9985321"/>
                    </a:lnTo>
                    <a:lnTo>
                      <a:pt x="857799" y="10007447"/>
                    </a:lnTo>
                    <a:lnTo>
                      <a:pt x="897731" y="10029850"/>
                    </a:lnTo>
                    <a:lnTo>
                      <a:pt x="945762" y="10056750"/>
                    </a:lnTo>
                    <a:lnTo>
                      <a:pt x="1001700" y="10080070"/>
                    </a:lnTo>
                    <a:lnTo>
                      <a:pt x="1051432" y="10106021"/>
                    </a:lnTo>
                    <a:lnTo>
                      <a:pt x="1066396" y="10126419"/>
                    </a:lnTo>
                    <a:lnTo>
                      <a:pt x="1067636" y="10084852"/>
                    </a:lnTo>
                    <a:lnTo>
                      <a:pt x="1070471" y="10063854"/>
                    </a:lnTo>
                    <a:lnTo>
                      <a:pt x="1073314" y="10042855"/>
                    </a:lnTo>
                    <a:lnTo>
                      <a:pt x="1081353" y="10002646"/>
                    </a:lnTo>
                    <a:lnTo>
                      <a:pt x="1111274" y="9992055"/>
                    </a:lnTo>
                    <a:lnTo>
                      <a:pt x="1168234" y="9999540"/>
                    </a:lnTo>
                    <a:lnTo>
                      <a:pt x="1189041" y="10022641"/>
                    </a:lnTo>
                    <a:lnTo>
                      <a:pt x="1201117" y="10042387"/>
                    </a:lnTo>
                    <a:lnTo>
                      <a:pt x="1220090" y="10066570"/>
                    </a:lnTo>
                    <a:lnTo>
                      <a:pt x="1228822" y="10024396"/>
                    </a:lnTo>
                    <a:lnTo>
                      <a:pt x="1232337" y="9998564"/>
                    </a:lnTo>
                    <a:lnTo>
                      <a:pt x="1235852" y="9972731"/>
                    </a:lnTo>
                    <a:lnTo>
                      <a:pt x="1237053" y="9947031"/>
                    </a:lnTo>
                    <a:lnTo>
                      <a:pt x="1233933" y="9921337"/>
                    </a:lnTo>
                    <a:lnTo>
                      <a:pt x="1229613" y="9900629"/>
                    </a:lnTo>
                    <a:lnTo>
                      <a:pt x="1225538" y="9872067"/>
                    </a:lnTo>
                    <a:lnTo>
                      <a:pt x="1233827" y="9834700"/>
                    </a:lnTo>
                    <a:lnTo>
                      <a:pt x="1258182" y="9805419"/>
                    </a:lnTo>
                    <a:lnTo>
                      <a:pt x="1296446" y="9800202"/>
                    </a:lnTo>
                    <a:lnTo>
                      <a:pt x="1319389" y="9797261"/>
                    </a:lnTo>
                    <a:lnTo>
                      <a:pt x="1342333" y="9794313"/>
                    </a:lnTo>
                    <a:lnTo>
                      <a:pt x="1365317" y="9788819"/>
                    </a:lnTo>
                    <a:lnTo>
                      <a:pt x="1375486" y="9750622"/>
                    </a:lnTo>
                    <a:lnTo>
                      <a:pt x="1376838" y="9727718"/>
                    </a:lnTo>
                    <a:lnTo>
                      <a:pt x="1383320" y="9706126"/>
                    </a:lnTo>
                    <a:lnTo>
                      <a:pt x="1389797" y="9684541"/>
                    </a:lnTo>
                    <a:lnTo>
                      <a:pt x="1401503" y="9665244"/>
                    </a:lnTo>
                    <a:lnTo>
                      <a:pt x="1420041" y="9644919"/>
                    </a:lnTo>
                    <a:lnTo>
                      <a:pt x="1420041" y="9621797"/>
                    </a:lnTo>
                    <a:lnTo>
                      <a:pt x="1404464" y="9601741"/>
                    </a:lnTo>
                    <a:lnTo>
                      <a:pt x="1384679" y="9586428"/>
                    </a:lnTo>
                    <a:lnTo>
                      <a:pt x="1365614" y="9573878"/>
                    </a:lnTo>
                    <a:lnTo>
                      <a:pt x="1341423" y="9553361"/>
                    </a:lnTo>
                    <a:lnTo>
                      <a:pt x="1328913" y="9521139"/>
                    </a:lnTo>
                    <a:lnTo>
                      <a:pt x="1324296" y="9484584"/>
                    </a:lnTo>
                    <a:lnTo>
                      <a:pt x="1329988" y="9426944"/>
                    </a:lnTo>
                    <a:lnTo>
                      <a:pt x="1342913" y="9387289"/>
                    </a:lnTo>
                    <a:lnTo>
                      <a:pt x="1354758" y="9360638"/>
                    </a:lnTo>
                    <a:lnTo>
                      <a:pt x="1368357" y="9333435"/>
                    </a:lnTo>
                    <a:lnTo>
                      <a:pt x="1383143" y="9318016"/>
                    </a:lnTo>
                    <a:lnTo>
                      <a:pt x="1419771" y="9319532"/>
                    </a:lnTo>
                    <a:lnTo>
                      <a:pt x="1539343" y="9320707"/>
                    </a:lnTo>
                    <a:lnTo>
                      <a:pt x="1565591" y="9344310"/>
                    </a:lnTo>
                    <a:lnTo>
                      <a:pt x="1565525" y="9373538"/>
                    </a:lnTo>
                    <a:lnTo>
                      <a:pt x="1581049" y="9395809"/>
                    </a:lnTo>
                    <a:lnTo>
                      <a:pt x="1603676" y="9402800"/>
                    </a:lnTo>
                    <a:lnTo>
                      <a:pt x="1627570" y="9400215"/>
                    </a:lnTo>
                    <a:lnTo>
                      <a:pt x="1661982" y="9387572"/>
                    </a:lnTo>
                    <a:lnTo>
                      <a:pt x="1682789" y="9374310"/>
                    </a:lnTo>
                    <a:lnTo>
                      <a:pt x="1709194" y="9388595"/>
                    </a:lnTo>
                    <a:lnTo>
                      <a:pt x="1716567" y="9421846"/>
                    </a:lnTo>
                    <a:lnTo>
                      <a:pt x="1722583" y="9453699"/>
                    </a:lnTo>
                    <a:lnTo>
                      <a:pt x="1757377" y="9466731"/>
                    </a:lnTo>
                    <a:lnTo>
                      <a:pt x="1786962" y="9455625"/>
                    </a:lnTo>
                    <a:lnTo>
                      <a:pt x="1812418" y="9432108"/>
                    </a:lnTo>
                    <a:lnTo>
                      <a:pt x="1837631" y="9406882"/>
                    </a:lnTo>
                    <a:lnTo>
                      <a:pt x="1862836" y="9381656"/>
                    </a:lnTo>
                    <a:lnTo>
                      <a:pt x="1888272" y="9354195"/>
                    </a:lnTo>
                    <a:lnTo>
                      <a:pt x="1916519" y="9334793"/>
                    </a:lnTo>
                    <a:lnTo>
                      <a:pt x="1946446" y="9344316"/>
                    </a:lnTo>
                    <a:lnTo>
                      <a:pt x="1961404" y="9396574"/>
                    </a:lnTo>
                    <a:lnTo>
                      <a:pt x="1987994" y="9416504"/>
                    </a:lnTo>
                    <a:lnTo>
                      <a:pt x="2018535" y="9416406"/>
                    </a:lnTo>
                    <a:lnTo>
                      <a:pt x="2044506" y="9391859"/>
                    </a:lnTo>
                    <a:lnTo>
                      <a:pt x="2056858" y="9374270"/>
                    </a:lnTo>
                    <a:lnTo>
                      <a:pt x="2070219" y="9357915"/>
                    </a:lnTo>
                    <a:lnTo>
                      <a:pt x="2083587" y="9341566"/>
                    </a:lnTo>
                    <a:lnTo>
                      <a:pt x="2097806" y="9325937"/>
                    </a:lnTo>
                    <a:lnTo>
                      <a:pt x="2140897" y="9294716"/>
                    </a:lnTo>
                    <a:lnTo>
                      <a:pt x="2199499" y="9284600"/>
                    </a:lnTo>
                    <a:lnTo>
                      <a:pt x="2260647" y="9279027"/>
                    </a:lnTo>
                    <a:lnTo>
                      <a:pt x="2321802" y="9273448"/>
                    </a:lnTo>
                    <a:lnTo>
                      <a:pt x="2385310" y="9272603"/>
                    </a:lnTo>
                    <a:lnTo>
                      <a:pt x="2421154" y="9272221"/>
                    </a:lnTo>
                    <a:lnTo>
                      <a:pt x="2454623" y="9276296"/>
                    </a:lnTo>
                    <a:lnTo>
                      <a:pt x="2515461" y="9276296"/>
                    </a:lnTo>
                    <a:lnTo>
                      <a:pt x="2561230" y="9270236"/>
                    </a:lnTo>
                    <a:lnTo>
                      <a:pt x="2603418" y="9255898"/>
                    </a:lnTo>
                    <a:lnTo>
                      <a:pt x="2645611" y="9241554"/>
                    </a:lnTo>
                    <a:lnTo>
                      <a:pt x="2683987" y="9218433"/>
                    </a:lnTo>
                    <a:lnTo>
                      <a:pt x="2713599" y="9183803"/>
                    </a:lnTo>
                    <a:lnTo>
                      <a:pt x="2778004" y="9108469"/>
                    </a:lnTo>
                    <a:lnTo>
                      <a:pt x="2843062" y="9053026"/>
                    </a:lnTo>
                    <a:lnTo>
                      <a:pt x="2909467" y="8982493"/>
                    </a:lnTo>
                    <a:lnTo>
                      <a:pt x="2930689" y="8959952"/>
                    </a:lnTo>
                    <a:lnTo>
                      <a:pt x="2975429" y="8904938"/>
                    </a:lnTo>
                    <a:lnTo>
                      <a:pt x="3025082" y="8858720"/>
                    </a:lnTo>
                    <a:lnTo>
                      <a:pt x="3049905" y="8835612"/>
                    </a:lnTo>
                    <a:lnTo>
                      <a:pt x="3075724" y="8814489"/>
                    </a:lnTo>
                    <a:lnTo>
                      <a:pt x="3101253" y="8801589"/>
                    </a:lnTo>
                    <a:lnTo>
                      <a:pt x="3126783" y="8788689"/>
                    </a:lnTo>
                    <a:lnTo>
                      <a:pt x="3151375" y="8784000"/>
                    </a:lnTo>
                    <a:lnTo>
                      <a:pt x="3173343" y="8792065"/>
                    </a:lnTo>
                    <a:lnTo>
                      <a:pt x="3191788" y="8817753"/>
                    </a:lnTo>
                    <a:lnTo>
                      <a:pt x="3209707" y="8836799"/>
                    </a:lnTo>
                    <a:lnTo>
                      <a:pt x="3226392" y="8850556"/>
                    </a:lnTo>
                    <a:lnTo>
                      <a:pt x="3243077" y="8864320"/>
                    </a:lnTo>
                    <a:lnTo>
                      <a:pt x="3274000" y="8876401"/>
                    </a:lnTo>
                    <a:lnTo>
                      <a:pt x="3304450" y="8885226"/>
                    </a:lnTo>
                    <a:lnTo>
                      <a:pt x="3331890" y="8878637"/>
                    </a:lnTo>
                    <a:lnTo>
                      <a:pt x="3358330" y="8865520"/>
                    </a:lnTo>
                    <a:lnTo>
                      <a:pt x="3384775" y="8852396"/>
                    </a:lnTo>
                    <a:lnTo>
                      <a:pt x="3409631" y="8833746"/>
                    </a:lnTo>
                    <a:lnTo>
                      <a:pt x="3434501" y="8819270"/>
                    </a:lnTo>
                    <a:lnTo>
                      <a:pt x="3459370" y="8804800"/>
                    </a:lnTo>
                    <a:lnTo>
                      <a:pt x="3484938" y="8794103"/>
                    </a:lnTo>
                    <a:lnTo>
                      <a:pt x="3510671" y="8798872"/>
                    </a:lnTo>
                    <a:lnTo>
                      <a:pt x="3557133" y="8808302"/>
                    </a:lnTo>
                    <a:lnTo>
                      <a:pt x="3597830" y="8824348"/>
                    </a:lnTo>
                    <a:lnTo>
                      <a:pt x="3653419" y="8855449"/>
                    </a:lnTo>
                    <a:lnTo>
                      <a:pt x="3709264" y="8883201"/>
                    </a:lnTo>
                    <a:lnTo>
                      <a:pt x="3765104" y="8910959"/>
                    </a:lnTo>
                    <a:lnTo>
                      <a:pt x="3820711" y="8935749"/>
                    </a:lnTo>
                    <a:lnTo>
                      <a:pt x="3846643" y="8929451"/>
                    </a:lnTo>
                    <a:lnTo>
                      <a:pt x="3926895" y="8898164"/>
                    </a:lnTo>
                    <a:lnTo>
                      <a:pt x="3955880" y="8886940"/>
                    </a:lnTo>
                    <a:lnTo>
                      <a:pt x="3975790" y="8876104"/>
                    </a:lnTo>
                    <a:lnTo>
                      <a:pt x="3992186" y="8862796"/>
                    </a:lnTo>
                    <a:lnTo>
                      <a:pt x="4008574" y="8849494"/>
                    </a:lnTo>
                    <a:lnTo>
                      <a:pt x="4022489" y="8832644"/>
                    </a:lnTo>
                    <a:lnTo>
                      <a:pt x="4041152" y="8807030"/>
                    </a:lnTo>
                    <a:lnTo>
                      <a:pt x="4064433" y="8813308"/>
                    </a:lnTo>
                    <a:lnTo>
                      <a:pt x="4096728" y="8871468"/>
                    </a:lnTo>
                    <a:lnTo>
                      <a:pt x="4107728" y="8889341"/>
                    </a:lnTo>
                    <a:lnTo>
                      <a:pt x="4096984" y="8917877"/>
                    </a:lnTo>
                    <a:lnTo>
                      <a:pt x="4074700" y="8929015"/>
                    </a:lnTo>
                    <a:lnTo>
                      <a:pt x="4041152" y="8970260"/>
                    </a:lnTo>
                    <a:lnTo>
                      <a:pt x="4021525" y="8994384"/>
                    </a:lnTo>
                    <a:lnTo>
                      <a:pt x="4004069" y="9031593"/>
                    </a:lnTo>
                    <a:lnTo>
                      <a:pt x="3993544" y="9070911"/>
                    </a:lnTo>
                    <a:lnTo>
                      <a:pt x="3983011" y="9110230"/>
                    </a:lnTo>
                    <a:lnTo>
                      <a:pt x="3980301" y="9150763"/>
                    </a:lnTo>
                    <a:lnTo>
                      <a:pt x="3989468" y="9181086"/>
                    </a:lnTo>
                    <a:lnTo>
                      <a:pt x="4083320" y="9196050"/>
                    </a:lnTo>
                    <a:lnTo>
                      <a:pt x="4095322" y="9224968"/>
                    </a:lnTo>
                    <a:lnTo>
                      <a:pt x="4100889" y="9263179"/>
                    </a:lnTo>
                    <a:lnTo>
                      <a:pt x="4103725" y="9302148"/>
                    </a:lnTo>
                    <a:lnTo>
                      <a:pt x="4106560" y="9341118"/>
                    </a:lnTo>
                    <a:lnTo>
                      <a:pt x="4106923" y="9380760"/>
                    </a:lnTo>
                    <a:lnTo>
                      <a:pt x="4132294" y="9386478"/>
                    </a:lnTo>
                    <a:lnTo>
                      <a:pt x="4155125" y="9373604"/>
                    </a:lnTo>
                    <a:lnTo>
                      <a:pt x="4188641" y="9351010"/>
                    </a:lnTo>
                    <a:lnTo>
                      <a:pt x="4210720" y="9335842"/>
                    </a:lnTo>
                    <a:lnTo>
                      <a:pt x="4240318" y="9320779"/>
                    </a:lnTo>
                    <a:lnTo>
                      <a:pt x="4271031" y="9313023"/>
                    </a:lnTo>
                    <a:lnTo>
                      <a:pt x="4302779" y="9306884"/>
                    </a:lnTo>
                    <a:lnTo>
                      <a:pt x="4340989" y="9289144"/>
                    </a:lnTo>
                    <a:lnTo>
                      <a:pt x="4363452" y="9267182"/>
                    </a:lnTo>
                    <a:lnTo>
                      <a:pt x="4382570" y="9242293"/>
                    </a:lnTo>
                    <a:lnTo>
                      <a:pt x="4401696" y="9217411"/>
                    </a:lnTo>
                    <a:lnTo>
                      <a:pt x="4418248" y="9190589"/>
                    </a:lnTo>
                    <a:lnTo>
                      <a:pt x="4431537" y="9167487"/>
                    </a:lnTo>
                    <a:lnTo>
                      <a:pt x="4448322" y="9138312"/>
                    </a:lnTo>
                    <a:lnTo>
                      <a:pt x="4464968" y="9108272"/>
                    </a:lnTo>
                    <a:lnTo>
                      <a:pt x="4483223" y="9079070"/>
                    </a:lnTo>
                    <a:lnTo>
                      <a:pt x="4501483" y="9049874"/>
                    </a:lnTo>
                    <a:lnTo>
                      <a:pt x="4520391" y="9021469"/>
                    </a:lnTo>
                    <a:lnTo>
                      <a:pt x="4541712" y="8994741"/>
                    </a:lnTo>
                    <a:lnTo>
                      <a:pt x="4563039" y="8968004"/>
                    </a:lnTo>
                    <a:lnTo>
                      <a:pt x="4586458" y="8943062"/>
                    </a:lnTo>
                    <a:lnTo>
                      <a:pt x="4612443" y="8921286"/>
                    </a:lnTo>
                    <a:lnTo>
                      <a:pt x="4638427" y="8899516"/>
                    </a:lnTo>
                    <a:lnTo>
                      <a:pt x="4667253" y="8879837"/>
                    </a:lnTo>
                    <a:lnTo>
                      <a:pt x="4699495" y="8865520"/>
                    </a:lnTo>
                    <a:lnTo>
                      <a:pt x="4734330" y="8863376"/>
                    </a:lnTo>
                    <a:lnTo>
                      <a:pt x="4768630" y="8889090"/>
                    </a:lnTo>
                    <a:lnTo>
                      <a:pt x="4801512" y="8896806"/>
                    </a:lnTo>
                    <a:lnTo>
                      <a:pt x="4824547" y="8902200"/>
                    </a:lnTo>
                    <a:lnTo>
                      <a:pt x="4861275" y="8896212"/>
                    </a:lnTo>
                    <a:lnTo>
                      <a:pt x="4883124" y="8892730"/>
                    </a:lnTo>
                    <a:lnTo>
                      <a:pt x="4949772" y="8881849"/>
                    </a:lnTo>
                    <a:lnTo>
                      <a:pt x="4999642" y="8837993"/>
                    </a:lnTo>
                    <a:lnTo>
                      <a:pt x="5030025" y="8797513"/>
                    </a:lnTo>
                    <a:lnTo>
                      <a:pt x="5060414" y="8757040"/>
                    </a:lnTo>
                    <a:lnTo>
                      <a:pt x="5089373" y="8714681"/>
                    </a:lnTo>
                    <a:lnTo>
                      <a:pt x="5107205" y="8689199"/>
                    </a:lnTo>
                    <a:lnTo>
                      <a:pt x="5131568" y="8680282"/>
                    </a:lnTo>
                    <a:lnTo>
                      <a:pt x="5157887" y="8671016"/>
                    </a:lnTo>
                    <a:lnTo>
                      <a:pt x="5184202" y="8661757"/>
                    </a:lnTo>
                    <a:lnTo>
                      <a:pt x="5212618" y="8652254"/>
                    </a:lnTo>
                    <a:lnTo>
                      <a:pt x="5253341" y="8623836"/>
                    </a:lnTo>
                    <a:lnTo>
                      <a:pt x="5270206" y="8584900"/>
                    </a:lnTo>
                    <a:lnTo>
                      <a:pt x="5288460" y="8544519"/>
                    </a:lnTo>
                    <a:lnTo>
                      <a:pt x="5306727" y="8504139"/>
                    </a:lnTo>
                    <a:lnTo>
                      <a:pt x="5325985" y="8462591"/>
                    </a:lnTo>
                    <a:lnTo>
                      <a:pt x="5353756" y="8438420"/>
                    </a:lnTo>
                    <a:lnTo>
                      <a:pt x="5376396" y="8418708"/>
                    </a:lnTo>
                    <a:lnTo>
                      <a:pt x="5416118" y="8397658"/>
                    </a:lnTo>
                    <a:lnTo>
                      <a:pt x="5453049" y="8375855"/>
                    </a:lnTo>
                    <a:lnTo>
                      <a:pt x="5489980" y="8354052"/>
                    </a:lnTo>
                    <a:lnTo>
                      <a:pt x="5524748" y="8330766"/>
                    </a:lnTo>
                    <a:lnTo>
                      <a:pt x="5537378" y="8309206"/>
                    </a:lnTo>
                    <a:lnTo>
                      <a:pt x="5557208" y="8275355"/>
                    </a:lnTo>
                    <a:lnTo>
                      <a:pt x="5556410" y="8251574"/>
                    </a:lnTo>
                    <a:lnTo>
                      <a:pt x="5553700" y="8230312"/>
                    </a:lnTo>
                    <a:lnTo>
                      <a:pt x="5550996" y="8209057"/>
                    </a:lnTo>
                    <a:lnTo>
                      <a:pt x="5557776" y="8170463"/>
                    </a:lnTo>
                    <a:lnTo>
                      <a:pt x="5588851" y="8149399"/>
                    </a:lnTo>
                    <a:lnTo>
                      <a:pt x="5609467" y="8143259"/>
                    </a:lnTo>
                    <a:lnTo>
                      <a:pt x="5630075" y="8137119"/>
                    </a:lnTo>
                    <a:lnTo>
                      <a:pt x="5652095" y="8132028"/>
                    </a:lnTo>
                    <a:lnTo>
                      <a:pt x="5673398" y="8126937"/>
                    </a:lnTo>
                    <a:lnTo>
                      <a:pt x="5694693" y="8121846"/>
                    </a:lnTo>
                    <a:lnTo>
                      <a:pt x="5715426" y="8116003"/>
                    </a:lnTo>
                    <a:lnTo>
                      <a:pt x="5745618" y="8094351"/>
                    </a:lnTo>
                    <a:lnTo>
                      <a:pt x="5757726" y="8056206"/>
                    </a:lnTo>
                    <a:lnTo>
                      <a:pt x="5767250" y="7943309"/>
                    </a:lnTo>
                    <a:lnTo>
                      <a:pt x="5786321" y="7926729"/>
                    </a:lnTo>
                    <a:lnTo>
                      <a:pt x="5818907" y="7916368"/>
                    </a:lnTo>
                    <a:lnTo>
                      <a:pt x="5844780" y="7901147"/>
                    </a:lnTo>
                    <a:lnTo>
                      <a:pt x="5856063" y="7880670"/>
                    </a:lnTo>
                    <a:lnTo>
                      <a:pt x="5855911" y="7838496"/>
                    </a:lnTo>
                    <a:lnTo>
                      <a:pt x="5858385" y="7800489"/>
                    </a:lnTo>
                    <a:lnTo>
                      <a:pt x="5861352" y="7763913"/>
                    </a:lnTo>
                    <a:lnTo>
                      <a:pt x="5871739" y="7736413"/>
                    </a:lnTo>
                    <a:lnTo>
                      <a:pt x="5892388" y="7724318"/>
                    </a:lnTo>
                    <a:lnTo>
                      <a:pt x="5927347" y="7729112"/>
                    </a:lnTo>
                    <a:lnTo>
                      <a:pt x="5952638" y="7744010"/>
                    </a:lnTo>
                    <a:lnTo>
                      <a:pt x="5974000" y="7762403"/>
                    </a:lnTo>
                    <a:lnTo>
                      <a:pt x="5998665" y="7780190"/>
                    </a:lnTo>
                    <a:lnTo>
                      <a:pt x="6030947" y="7788144"/>
                    </a:lnTo>
                    <a:lnTo>
                      <a:pt x="6077375" y="7780084"/>
                    </a:lnTo>
                    <a:lnTo>
                      <a:pt x="6091481" y="7739704"/>
                    </a:lnTo>
                    <a:lnTo>
                      <a:pt x="6086898" y="7702555"/>
                    </a:lnTo>
                    <a:lnTo>
                      <a:pt x="6079882" y="7671124"/>
                    </a:lnTo>
                    <a:lnTo>
                      <a:pt x="6074870" y="7644210"/>
                    </a:lnTo>
                    <a:lnTo>
                      <a:pt x="6078733" y="7615502"/>
                    </a:lnTo>
                    <a:lnTo>
                      <a:pt x="6094482" y="7581921"/>
                    </a:lnTo>
                    <a:lnTo>
                      <a:pt x="6114101" y="7558370"/>
                    </a:lnTo>
                    <a:lnTo>
                      <a:pt x="6132739" y="7537524"/>
                    </a:lnTo>
                    <a:lnTo>
                      <a:pt x="6169017" y="7539205"/>
                    </a:lnTo>
                    <a:lnTo>
                      <a:pt x="6233562" y="7547620"/>
                    </a:lnTo>
                    <a:lnTo>
                      <a:pt x="6254198" y="7533890"/>
                    </a:lnTo>
                    <a:lnTo>
                      <a:pt x="6289567" y="7510300"/>
                    </a:lnTo>
                    <a:lnTo>
                      <a:pt x="6322402" y="7489639"/>
                    </a:lnTo>
                    <a:lnTo>
                      <a:pt x="6353498" y="7461801"/>
                    </a:lnTo>
                    <a:lnTo>
                      <a:pt x="6382442" y="7432882"/>
                    </a:lnTo>
                    <a:lnTo>
                      <a:pt x="6399740" y="7418275"/>
                    </a:lnTo>
                    <a:lnTo>
                      <a:pt x="6417039" y="7403660"/>
                    </a:lnTo>
                    <a:lnTo>
                      <a:pt x="6435148" y="7391697"/>
                    </a:lnTo>
                    <a:lnTo>
                      <a:pt x="6494582" y="7395681"/>
                    </a:lnTo>
                    <a:lnTo>
                      <a:pt x="6537139" y="7427383"/>
                    </a:lnTo>
                    <a:lnTo>
                      <a:pt x="6580645" y="7452278"/>
                    </a:lnTo>
                    <a:lnTo>
                      <a:pt x="6602402" y="7464723"/>
                    </a:lnTo>
                    <a:lnTo>
                      <a:pt x="6623605" y="7476066"/>
                    </a:lnTo>
                    <a:lnTo>
                      <a:pt x="6645934" y="7480841"/>
                    </a:lnTo>
                    <a:lnTo>
                      <a:pt x="6668264" y="7485616"/>
                    </a:lnTo>
                    <a:lnTo>
                      <a:pt x="6690945" y="7483835"/>
                    </a:lnTo>
                    <a:lnTo>
                      <a:pt x="6713948" y="7472683"/>
                    </a:lnTo>
                    <a:lnTo>
                      <a:pt x="6742742" y="7450141"/>
                    </a:lnTo>
                    <a:lnTo>
                      <a:pt x="6761319" y="7419046"/>
                    </a:lnTo>
                    <a:lnTo>
                      <a:pt x="6781955" y="7391071"/>
                    </a:lnTo>
                    <a:lnTo>
                      <a:pt x="6804701" y="7372269"/>
                    </a:lnTo>
                    <a:lnTo>
                      <a:pt x="6827222" y="7352742"/>
                    </a:lnTo>
                    <a:lnTo>
                      <a:pt x="6849968" y="7335298"/>
                    </a:lnTo>
                    <a:lnTo>
                      <a:pt x="6872601" y="7320321"/>
                    </a:lnTo>
                    <a:lnTo>
                      <a:pt x="6919696" y="7307289"/>
                    </a:lnTo>
                    <a:lnTo>
                      <a:pt x="6962867" y="7293137"/>
                    </a:lnTo>
                    <a:lnTo>
                      <a:pt x="7006030" y="7278977"/>
                    </a:lnTo>
                    <a:lnTo>
                      <a:pt x="7044517" y="7264231"/>
                    </a:lnTo>
                    <a:lnTo>
                      <a:pt x="7055194" y="7226185"/>
                    </a:lnTo>
                    <a:lnTo>
                      <a:pt x="7060081" y="7201038"/>
                    </a:lnTo>
                    <a:lnTo>
                      <a:pt x="7067600" y="7177515"/>
                    </a:lnTo>
                    <a:lnTo>
                      <a:pt x="7075117" y="7153991"/>
                    </a:lnTo>
                    <a:lnTo>
                      <a:pt x="7085565" y="7131640"/>
                    </a:lnTo>
                    <a:lnTo>
                      <a:pt x="7101602" y="7114949"/>
                    </a:lnTo>
                    <a:lnTo>
                      <a:pt x="7145300" y="7106580"/>
                    </a:lnTo>
                    <a:lnTo>
                      <a:pt x="7176415" y="7108150"/>
                    </a:lnTo>
                    <a:lnTo>
                      <a:pt x="7207523" y="7109719"/>
                    </a:lnTo>
                    <a:lnTo>
                      <a:pt x="7237036" y="7115417"/>
                    </a:lnTo>
                    <a:lnTo>
                      <a:pt x="7255976" y="7143947"/>
                    </a:lnTo>
                    <a:lnTo>
                      <a:pt x="7253622" y="7178412"/>
                    </a:lnTo>
                    <a:lnTo>
                      <a:pt x="7249863" y="7212883"/>
                    </a:lnTo>
                    <a:lnTo>
                      <a:pt x="7246104" y="7247355"/>
                    </a:lnTo>
                    <a:lnTo>
                      <a:pt x="7242095" y="7282380"/>
                    </a:lnTo>
                    <a:lnTo>
                      <a:pt x="7251578" y="7307295"/>
                    </a:lnTo>
                    <a:lnTo>
                      <a:pt x="7298152" y="7323038"/>
                    </a:lnTo>
                    <a:lnTo>
                      <a:pt x="7347797" y="7335298"/>
                    </a:lnTo>
                    <a:lnTo>
                      <a:pt x="7397451" y="7347564"/>
                    </a:lnTo>
                    <a:lnTo>
                      <a:pt x="7450024" y="7356105"/>
                    </a:lnTo>
                    <a:lnTo>
                      <a:pt x="7478911" y="7337593"/>
                    </a:lnTo>
                    <a:lnTo>
                      <a:pt x="7493585" y="7321857"/>
                    </a:lnTo>
                    <a:lnTo>
                      <a:pt x="7508305" y="7305377"/>
                    </a:lnTo>
                    <a:lnTo>
                      <a:pt x="7523025" y="7288890"/>
                    </a:lnTo>
                    <a:lnTo>
                      <a:pt x="7537988" y="7270786"/>
                    </a:lnTo>
                    <a:lnTo>
                      <a:pt x="7553189" y="7255051"/>
                    </a:lnTo>
                    <a:lnTo>
                      <a:pt x="7579325" y="7227992"/>
                    </a:lnTo>
                    <a:lnTo>
                      <a:pt x="7599439" y="7212883"/>
                    </a:lnTo>
                    <a:lnTo>
                      <a:pt x="7609602" y="7194430"/>
                    </a:lnTo>
                    <a:lnTo>
                      <a:pt x="7615762" y="7159834"/>
                    </a:lnTo>
                    <a:lnTo>
                      <a:pt x="7619764" y="7135050"/>
                    </a:lnTo>
                    <a:lnTo>
                      <a:pt x="7593358" y="7092335"/>
                    </a:lnTo>
                    <a:lnTo>
                      <a:pt x="7556190" y="7075669"/>
                    </a:lnTo>
                    <a:lnTo>
                      <a:pt x="7521910" y="7059182"/>
                    </a:lnTo>
                    <a:lnTo>
                      <a:pt x="7488143" y="7042128"/>
                    </a:lnTo>
                    <a:lnTo>
                      <a:pt x="7460452" y="7021828"/>
                    </a:lnTo>
                    <a:lnTo>
                      <a:pt x="7443014" y="6993893"/>
                    </a:lnTo>
                    <a:lnTo>
                      <a:pt x="7444333" y="6958036"/>
                    </a:lnTo>
                    <a:lnTo>
                      <a:pt x="7472618" y="6914768"/>
                    </a:lnTo>
                    <a:lnTo>
                      <a:pt x="7499651" y="6879695"/>
                    </a:lnTo>
                    <a:lnTo>
                      <a:pt x="7513745" y="6837468"/>
                    </a:lnTo>
                    <a:lnTo>
                      <a:pt x="7522457" y="6811306"/>
                    </a:lnTo>
                    <a:lnTo>
                      <a:pt x="7516673" y="6784439"/>
                    </a:lnTo>
                    <a:lnTo>
                      <a:pt x="7525986" y="6758573"/>
                    </a:lnTo>
                    <a:lnTo>
                      <a:pt x="7555272" y="6723930"/>
                    </a:lnTo>
                    <a:lnTo>
                      <a:pt x="7590041" y="6694497"/>
                    </a:lnTo>
                    <a:lnTo>
                      <a:pt x="7610320" y="6660639"/>
                    </a:lnTo>
                    <a:lnTo>
                      <a:pt x="7631102" y="6625911"/>
                    </a:lnTo>
                    <a:lnTo>
                      <a:pt x="7654975" y="6590443"/>
                    </a:lnTo>
                    <a:lnTo>
                      <a:pt x="7675611" y="6554547"/>
                    </a:lnTo>
                    <a:lnTo>
                      <a:pt x="7696239" y="6518651"/>
                    </a:lnTo>
                    <a:lnTo>
                      <a:pt x="7714382" y="6482240"/>
                    </a:lnTo>
                    <a:lnTo>
                      <a:pt x="7725936" y="6443007"/>
                    </a:lnTo>
                    <a:lnTo>
                      <a:pt x="7732906" y="6419378"/>
                    </a:lnTo>
                    <a:lnTo>
                      <a:pt x="7743300" y="6378892"/>
                    </a:lnTo>
                    <a:lnTo>
                      <a:pt x="7744975" y="6354596"/>
                    </a:lnTo>
                    <a:lnTo>
                      <a:pt x="7746676" y="6330050"/>
                    </a:lnTo>
                    <a:lnTo>
                      <a:pt x="7719368" y="6237834"/>
                    </a:lnTo>
                    <a:lnTo>
                      <a:pt x="7702814" y="6215859"/>
                    </a:lnTo>
                    <a:lnTo>
                      <a:pt x="7678414" y="6190350"/>
                    </a:lnTo>
                    <a:lnTo>
                      <a:pt x="7651177" y="6150834"/>
                    </a:lnTo>
                    <a:lnTo>
                      <a:pt x="7625020" y="6111079"/>
                    </a:lnTo>
                    <a:lnTo>
                      <a:pt x="7603514" y="6068958"/>
                    </a:lnTo>
                    <a:lnTo>
                      <a:pt x="7582015" y="6026836"/>
                    </a:lnTo>
                    <a:lnTo>
                      <a:pt x="7564216" y="5982861"/>
                    </a:lnTo>
                    <a:lnTo>
                      <a:pt x="7562712" y="5950619"/>
                    </a:lnTo>
                    <a:lnTo>
                      <a:pt x="7561433" y="5923171"/>
                    </a:lnTo>
                    <a:lnTo>
                      <a:pt x="7564968" y="5897859"/>
                    </a:lnTo>
                    <a:lnTo>
                      <a:pt x="7569512" y="5873089"/>
                    </a:lnTo>
                    <a:lnTo>
                      <a:pt x="7574062" y="5848319"/>
                    </a:lnTo>
                    <a:lnTo>
                      <a:pt x="7580750" y="5823640"/>
                    </a:lnTo>
                    <a:lnTo>
                      <a:pt x="7587193" y="5796918"/>
                    </a:lnTo>
                    <a:lnTo>
                      <a:pt x="7597012" y="5756220"/>
                    </a:lnTo>
                    <a:lnTo>
                      <a:pt x="7606206" y="5716117"/>
                    </a:lnTo>
                    <a:lnTo>
                      <a:pt x="7614396" y="5675856"/>
                    </a:lnTo>
                    <a:lnTo>
                      <a:pt x="7622594" y="5635600"/>
                    </a:lnTo>
                    <a:lnTo>
                      <a:pt x="7629697" y="5595575"/>
                    </a:lnTo>
                    <a:lnTo>
                      <a:pt x="7634801" y="5553441"/>
                    </a:lnTo>
                    <a:lnTo>
                      <a:pt x="7638086" y="5526329"/>
                    </a:lnTo>
                    <a:lnTo>
                      <a:pt x="7622977" y="5498156"/>
                    </a:lnTo>
                    <a:lnTo>
                      <a:pt x="7603514" y="5471828"/>
                    </a:lnTo>
                    <a:lnTo>
                      <a:pt x="7584060" y="5445495"/>
                    </a:lnTo>
                    <a:lnTo>
                      <a:pt x="7560035" y="5420395"/>
                    </a:lnTo>
                    <a:lnTo>
                      <a:pt x="7545031" y="5402457"/>
                    </a:lnTo>
                    <a:lnTo>
                      <a:pt x="7532297" y="5381373"/>
                    </a:lnTo>
                    <a:lnTo>
                      <a:pt x="7542301" y="5357566"/>
                    </a:lnTo>
                    <a:lnTo>
                      <a:pt x="7584607" y="5355218"/>
                    </a:lnTo>
                    <a:lnTo>
                      <a:pt x="7610928" y="5340372"/>
                    </a:lnTo>
                    <a:lnTo>
                      <a:pt x="7627079" y="5316420"/>
                    </a:lnTo>
                    <a:lnTo>
                      <a:pt x="7626629" y="5293641"/>
                    </a:lnTo>
                    <a:lnTo>
                      <a:pt x="7607175" y="5266041"/>
                    </a:lnTo>
                    <a:lnTo>
                      <a:pt x="7578079" y="5239622"/>
                    </a:lnTo>
                    <a:lnTo>
                      <a:pt x="7551817" y="5220187"/>
                    </a:lnTo>
                    <a:lnTo>
                      <a:pt x="7544840" y="5185023"/>
                    </a:lnTo>
                    <a:lnTo>
                      <a:pt x="7550637" y="5146535"/>
                    </a:lnTo>
                    <a:lnTo>
                      <a:pt x="7549101" y="5114094"/>
                    </a:lnTo>
                    <a:lnTo>
                      <a:pt x="7528398" y="5065846"/>
                    </a:lnTo>
                    <a:lnTo>
                      <a:pt x="7484872" y="5026554"/>
                    </a:lnTo>
                    <a:lnTo>
                      <a:pt x="7470205" y="4976716"/>
                    </a:lnTo>
                    <a:lnTo>
                      <a:pt x="7493366" y="4958805"/>
                    </a:lnTo>
                    <a:lnTo>
                      <a:pt x="7507275" y="4940642"/>
                    </a:lnTo>
                    <a:lnTo>
                      <a:pt x="7525635" y="4906685"/>
                    </a:lnTo>
                    <a:lnTo>
                      <a:pt x="7532778" y="4874700"/>
                    </a:lnTo>
                    <a:lnTo>
                      <a:pt x="7536622" y="4844778"/>
                    </a:lnTo>
                    <a:lnTo>
                      <a:pt x="7545256" y="4817568"/>
                    </a:lnTo>
                    <a:lnTo>
                      <a:pt x="7566782" y="4794447"/>
                    </a:lnTo>
                    <a:lnTo>
                      <a:pt x="7587608" y="4777155"/>
                    </a:lnTo>
                    <a:lnTo>
                      <a:pt x="7618017" y="4769102"/>
                    </a:lnTo>
                    <a:lnTo>
                      <a:pt x="7649752" y="4764519"/>
                    </a:lnTo>
                    <a:lnTo>
                      <a:pt x="7681499" y="4759942"/>
                    </a:lnTo>
                    <a:lnTo>
                      <a:pt x="7713677" y="4759052"/>
                    </a:lnTo>
                    <a:lnTo>
                      <a:pt x="7738170" y="4752279"/>
                    </a:lnTo>
                    <a:lnTo>
                      <a:pt x="7779038" y="4740995"/>
                    </a:lnTo>
                    <a:lnTo>
                      <a:pt x="7826093" y="4701485"/>
                    </a:lnTo>
                    <a:lnTo>
                      <a:pt x="7864666" y="4682913"/>
                    </a:lnTo>
                    <a:lnTo>
                      <a:pt x="7881735" y="4668906"/>
                    </a:lnTo>
                    <a:lnTo>
                      <a:pt x="7878800" y="4594245"/>
                    </a:lnTo>
                    <a:lnTo>
                      <a:pt x="7893228" y="4561851"/>
                    </a:lnTo>
                    <a:lnTo>
                      <a:pt x="7992305" y="4458957"/>
                    </a:lnTo>
                    <a:lnTo>
                      <a:pt x="8007485" y="4442153"/>
                    </a:lnTo>
                    <a:lnTo>
                      <a:pt x="8023352" y="4424617"/>
                    </a:lnTo>
                    <a:lnTo>
                      <a:pt x="8022363" y="4380089"/>
                    </a:lnTo>
                    <a:lnTo>
                      <a:pt x="8022450" y="4330621"/>
                    </a:lnTo>
                    <a:lnTo>
                      <a:pt x="8022515" y="4281145"/>
                    </a:lnTo>
                    <a:lnTo>
                      <a:pt x="8023273" y="4226242"/>
                    </a:lnTo>
                    <a:lnTo>
                      <a:pt x="8040137" y="4190518"/>
                    </a:lnTo>
                    <a:lnTo>
                      <a:pt x="8053228" y="4162780"/>
                    </a:lnTo>
                    <a:lnTo>
                      <a:pt x="8072788" y="4143635"/>
                    </a:lnTo>
                    <a:lnTo>
                      <a:pt x="8093179" y="4123870"/>
                    </a:lnTo>
                    <a:lnTo>
                      <a:pt x="8113572" y="4104105"/>
                    </a:lnTo>
                    <a:lnTo>
                      <a:pt x="8134603" y="4084637"/>
                    </a:lnTo>
                    <a:lnTo>
                      <a:pt x="8148946" y="4058581"/>
                    </a:lnTo>
                    <a:lnTo>
                      <a:pt x="8158285" y="4017290"/>
                    </a:lnTo>
                    <a:lnTo>
                      <a:pt x="8161193" y="3990569"/>
                    </a:lnTo>
                    <a:lnTo>
                      <a:pt x="8164094" y="3963848"/>
                    </a:lnTo>
                    <a:lnTo>
                      <a:pt x="8170043" y="3934481"/>
                    </a:lnTo>
                    <a:lnTo>
                      <a:pt x="8188396" y="3911678"/>
                    </a:lnTo>
                    <a:lnTo>
                      <a:pt x="8203400" y="3893033"/>
                    </a:lnTo>
                    <a:lnTo>
                      <a:pt x="8237364" y="3872232"/>
                    </a:lnTo>
                    <a:lnTo>
                      <a:pt x="8271005" y="3853859"/>
                    </a:lnTo>
                    <a:lnTo>
                      <a:pt x="8304375" y="3836196"/>
                    </a:lnTo>
                    <a:lnTo>
                      <a:pt x="8333933" y="3811022"/>
                    </a:lnTo>
                    <a:lnTo>
                      <a:pt x="8347861" y="3795217"/>
                    </a:lnTo>
                    <a:lnTo>
                      <a:pt x="8360536" y="3773713"/>
                    </a:lnTo>
                    <a:lnTo>
                      <a:pt x="8369302" y="3743012"/>
                    </a:lnTo>
                    <a:lnTo>
                      <a:pt x="8381351" y="3700815"/>
                    </a:lnTo>
                    <a:lnTo>
                      <a:pt x="8380526" y="3662609"/>
                    </a:lnTo>
                    <a:lnTo>
                      <a:pt x="8372019" y="3626035"/>
                    </a:lnTo>
                    <a:lnTo>
                      <a:pt x="8363518" y="3589462"/>
                    </a:lnTo>
                    <a:lnTo>
                      <a:pt x="8347044" y="3554967"/>
                    </a:lnTo>
                    <a:lnTo>
                      <a:pt x="8327134" y="3518580"/>
                    </a:lnTo>
                    <a:lnTo>
                      <a:pt x="8297991" y="3465321"/>
                    </a:lnTo>
                    <a:lnTo>
                      <a:pt x="8253661" y="3404514"/>
                    </a:lnTo>
                    <a:lnTo>
                      <a:pt x="8237358" y="3345834"/>
                    </a:lnTo>
                    <a:lnTo>
                      <a:pt x="8310521" y="3302287"/>
                    </a:lnTo>
                    <a:lnTo>
                      <a:pt x="8358499" y="3304296"/>
                    </a:lnTo>
                    <a:lnTo>
                      <a:pt x="8401940" y="3298228"/>
                    </a:lnTo>
                    <a:lnTo>
                      <a:pt x="8423663" y="3295194"/>
                    </a:lnTo>
                    <a:lnTo>
                      <a:pt x="8444661" y="3290546"/>
                    </a:lnTo>
                    <a:lnTo>
                      <a:pt x="8465871" y="3279185"/>
                    </a:lnTo>
                    <a:lnTo>
                      <a:pt x="8487087" y="3267824"/>
                    </a:lnTo>
                    <a:lnTo>
                      <a:pt x="8508785" y="3249461"/>
                    </a:lnTo>
                    <a:lnTo>
                      <a:pt x="8532520" y="3220697"/>
                    </a:lnTo>
                    <a:lnTo>
                      <a:pt x="8549204" y="3200482"/>
                    </a:lnTo>
                    <a:lnTo>
                      <a:pt x="8569246" y="3163568"/>
                    </a:lnTo>
                    <a:lnTo>
                      <a:pt x="8578176" y="3138065"/>
                    </a:lnTo>
                    <a:lnTo>
                      <a:pt x="8588972" y="3110945"/>
                    </a:lnTo>
                    <a:lnTo>
                      <a:pt x="8580128" y="3083316"/>
                    </a:lnTo>
                    <a:lnTo>
                      <a:pt x="8569595" y="3058747"/>
                    </a:lnTo>
                    <a:lnTo>
                      <a:pt x="8546830" y="3042245"/>
                    </a:lnTo>
                    <a:lnTo>
                      <a:pt x="8524360" y="3026188"/>
                    </a:lnTo>
                    <a:lnTo>
                      <a:pt x="8501892" y="3010131"/>
                    </a:lnTo>
                    <a:lnTo>
                      <a:pt x="8479555" y="2994117"/>
                    </a:lnTo>
                    <a:lnTo>
                      <a:pt x="8469953" y="2969060"/>
                    </a:lnTo>
                    <a:lnTo>
                      <a:pt x="8474477" y="2925682"/>
                    </a:lnTo>
                    <a:lnTo>
                      <a:pt x="8495139" y="2887809"/>
                    </a:lnTo>
                    <a:lnTo>
                      <a:pt x="8503957" y="2845282"/>
                    </a:lnTo>
                    <a:lnTo>
                      <a:pt x="8509865" y="2816823"/>
                    </a:lnTo>
                    <a:lnTo>
                      <a:pt x="8519091" y="2785135"/>
                    </a:lnTo>
                    <a:lnTo>
                      <a:pt x="8523002" y="2756869"/>
                    </a:lnTo>
                    <a:lnTo>
                      <a:pt x="8527104" y="2727242"/>
                    </a:lnTo>
                    <a:lnTo>
                      <a:pt x="8524044" y="2696637"/>
                    </a:lnTo>
                    <a:lnTo>
                      <a:pt x="8528436" y="2667095"/>
                    </a:lnTo>
                    <a:lnTo>
                      <a:pt x="8540722" y="2629093"/>
                    </a:lnTo>
                    <a:lnTo>
                      <a:pt x="8561913" y="2607692"/>
                    </a:lnTo>
                    <a:lnTo>
                      <a:pt x="8594524" y="2608628"/>
                    </a:lnTo>
                    <a:lnTo>
                      <a:pt x="8617421" y="2624910"/>
                    </a:lnTo>
                    <a:lnTo>
                      <a:pt x="8637259" y="2649413"/>
                    </a:lnTo>
                    <a:lnTo>
                      <a:pt x="8656061" y="2675528"/>
                    </a:lnTo>
                    <a:lnTo>
                      <a:pt x="8668803" y="2708072"/>
                    </a:lnTo>
                    <a:lnTo>
                      <a:pt x="8682110" y="2749355"/>
                    </a:lnTo>
                    <a:lnTo>
                      <a:pt x="8724021" y="2787450"/>
                    </a:lnTo>
                    <a:lnTo>
                      <a:pt x="8767839" y="2822158"/>
                    </a:lnTo>
                    <a:lnTo>
                      <a:pt x="8811648" y="2856867"/>
                    </a:lnTo>
                    <a:lnTo>
                      <a:pt x="8858115" y="2887597"/>
                    </a:lnTo>
                    <a:lnTo>
                      <a:pt x="8883453" y="2895609"/>
                    </a:lnTo>
                    <a:lnTo>
                      <a:pt x="8905824" y="2856173"/>
                    </a:lnTo>
                    <a:lnTo>
                      <a:pt x="8904861" y="2831962"/>
                    </a:lnTo>
                    <a:lnTo>
                      <a:pt x="8894691" y="2793311"/>
                    </a:lnTo>
                    <a:lnTo>
                      <a:pt x="8872572" y="2765030"/>
                    </a:lnTo>
                    <a:lnTo>
                      <a:pt x="8847531" y="2738753"/>
                    </a:lnTo>
                    <a:lnTo>
                      <a:pt x="8811352" y="2718156"/>
                    </a:lnTo>
                    <a:lnTo>
                      <a:pt x="8778720" y="2673896"/>
                    </a:lnTo>
                    <a:lnTo>
                      <a:pt x="8785684" y="2609024"/>
                    </a:lnTo>
                    <a:lnTo>
                      <a:pt x="8799117" y="2561000"/>
                    </a:lnTo>
                    <a:lnTo>
                      <a:pt x="8812558" y="2512976"/>
                    </a:lnTo>
                    <a:lnTo>
                      <a:pt x="8829309" y="2466062"/>
                    </a:lnTo>
                    <a:lnTo>
                      <a:pt x="8867916" y="2431228"/>
                    </a:lnTo>
                    <a:lnTo>
                      <a:pt x="8892950" y="2433226"/>
                    </a:lnTo>
                    <a:lnTo>
                      <a:pt x="8922897" y="2420899"/>
                    </a:lnTo>
                    <a:lnTo>
                      <a:pt x="8977305" y="2393695"/>
                    </a:lnTo>
                    <a:lnTo>
                      <a:pt x="9003151" y="2378733"/>
                    </a:lnTo>
                    <a:lnTo>
                      <a:pt x="9025593" y="2371549"/>
                    </a:lnTo>
                    <a:lnTo>
                      <a:pt x="9063402" y="2372149"/>
                    </a:lnTo>
                    <a:lnTo>
                      <a:pt x="9087480" y="2369212"/>
                    </a:lnTo>
                    <a:lnTo>
                      <a:pt x="9110424" y="2366413"/>
                    </a:lnTo>
                    <a:lnTo>
                      <a:pt x="9131449" y="2357180"/>
                    </a:lnTo>
                    <a:lnTo>
                      <a:pt x="9148687" y="2344728"/>
                    </a:lnTo>
                    <a:lnTo>
                      <a:pt x="9165419" y="2326117"/>
                    </a:lnTo>
                    <a:lnTo>
                      <a:pt x="9209802" y="2224812"/>
                    </a:lnTo>
                    <a:lnTo>
                      <a:pt x="9241926" y="2134322"/>
                    </a:lnTo>
                    <a:lnTo>
                      <a:pt x="9273833" y="2044124"/>
                    </a:lnTo>
                    <a:lnTo>
                      <a:pt x="9287497" y="2005529"/>
                    </a:lnTo>
                    <a:lnTo>
                      <a:pt x="9352528" y="1972353"/>
                    </a:lnTo>
                    <a:lnTo>
                      <a:pt x="9341839" y="1886341"/>
                    </a:lnTo>
                    <a:lnTo>
                      <a:pt x="9324264" y="1744711"/>
                    </a:lnTo>
                    <a:lnTo>
                      <a:pt x="9095750" y="1789236"/>
                    </a:lnTo>
                    <a:lnTo>
                      <a:pt x="9004509" y="1761203"/>
                    </a:lnTo>
                    <a:lnTo>
                      <a:pt x="8940347" y="1741501"/>
                    </a:lnTo>
                    <a:lnTo>
                      <a:pt x="8886236" y="1696487"/>
                    </a:lnTo>
                    <a:lnTo>
                      <a:pt x="8822246" y="1678231"/>
                    </a:lnTo>
                    <a:lnTo>
                      <a:pt x="8754318" y="1658869"/>
                    </a:lnTo>
                    <a:lnTo>
                      <a:pt x="8655025" y="1681931"/>
                    </a:lnTo>
                    <a:lnTo>
                      <a:pt x="8600533" y="1630624"/>
                    </a:lnTo>
                    <a:lnTo>
                      <a:pt x="8576046" y="1626546"/>
                    </a:lnTo>
                    <a:lnTo>
                      <a:pt x="8541660" y="1623081"/>
                    </a:lnTo>
                    <a:lnTo>
                      <a:pt x="8465362" y="1610287"/>
                    </a:lnTo>
                    <a:lnTo>
                      <a:pt x="8440026" y="1630624"/>
                    </a:lnTo>
                    <a:lnTo>
                      <a:pt x="8432375" y="1671387"/>
                    </a:lnTo>
                    <a:lnTo>
                      <a:pt x="8440618" y="1733999"/>
                    </a:lnTo>
                    <a:lnTo>
                      <a:pt x="8401940" y="1761203"/>
                    </a:lnTo>
                    <a:lnTo>
                      <a:pt x="8364065" y="1787854"/>
                    </a:lnTo>
                    <a:lnTo>
                      <a:pt x="8177020" y="1807173"/>
                    </a:lnTo>
                    <a:lnTo>
                      <a:pt x="8132623" y="1795208"/>
                    </a:lnTo>
                    <a:lnTo>
                      <a:pt x="8095876" y="1785304"/>
                    </a:lnTo>
                    <a:lnTo>
                      <a:pt x="8069458" y="1763392"/>
                    </a:lnTo>
                    <a:lnTo>
                      <a:pt x="8029248" y="1761203"/>
                    </a:lnTo>
                    <a:lnTo>
                      <a:pt x="7937883" y="1756230"/>
                    </a:lnTo>
                    <a:lnTo>
                      <a:pt x="7808260" y="1856162"/>
                    </a:lnTo>
                    <a:lnTo>
                      <a:pt x="7743603" y="1770724"/>
                    </a:lnTo>
                    <a:lnTo>
                      <a:pt x="7720825" y="1707114"/>
                    </a:lnTo>
                    <a:lnTo>
                      <a:pt x="7869487" y="1608266"/>
                    </a:lnTo>
                    <a:lnTo>
                      <a:pt x="7833379" y="1498684"/>
                    </a:lnTo>
                    <a:lnTo>
                      <a:pt x="7796594" y="1387063"/>
                    </a:lnTo>
                    <a:lnTo>
                      <a:pt x="7548651" y="1522956"/>
                    </a:lnTo>
                    <a:lnTo>
                      <a:pt x="7487886" y="1415712"/>
                    </a:lnTo>
                    <a:lnTo>
                      <a:pt x="7467614" y="1379965"/>
                    </a:lnTo>
                    <a:lnTo>
                      <a:pt x="7505297" y="1193171"/>
                    </a:lnTo>
                    <a:lnTo>
                      <a:pt x="7508291" y="1145032"/>
                    </a:lnTo>
                    <a:lnTo>
                      <a:pt x="7510520" y="1109030"/>
                    </a:lnTo>
                    <a:lnTo>
                      <a:pt x="7511008" y="1069478"/>
                    </a:lnTo>
                    <a:lnTo>
                      <a:pt x="7511008" y="1033496"/>
                    </a:lnTo>
                    <a:lnTo>
                      <a:pt x="7496558" y="978281"/>
                    </a:lnTo>
                    <a:lnTo>
                      <a:pt x="7458196" y="918007"/>
                    </a:lnTo>
                    <a:lnTo>
                      <a:pt x="7249936" y="907699"/>
                    </a:lnTo>
                    <a:lnTo>
                      <a:pt x="7195442" y="901557"/>
                    </a:lnTo>
                    <a:lnTo>
                      <a:pt x="7153723" y="896882"/>
                    </a:lnTo>
                    <a:lnTo>
                      <a:pt x="7112109" y="887890"/>
                    </a:lnTo>
                    <a:lnTo>
                      <a:pt x="7070303" y="885235"/>
                    </a:lnTo>
                    <a:lnTo>
                      <a:pt x="7016087" y="881792"/>
                    </a:lnTo>
                    <a:lnTo>
                      <a:pt x="6900729" y="889061"/>
                    </a:lnTo>
                    <a:lnTo>
                      <a:pt x="6847230" y="898837"/>
                    </a:lnTo>
                    <a:lnTo>
                      <a:pt x="6756585" y="915393"/>
                    </a:lnTo>
                    <a:lnTo>
                      <a:pt x="6704392" y="1002212"/>
                    </a:lnTo>
                    <a:lnTo>
                      <a:pt x="6605119" y="1002212"/>
                    </a:lnTo>
                    <a:lnTo>
                      <a:pt x="6462999" y="1002212"/>
                    </a:lnTo>
                    <a:lnTo>
                      <a:pt x="6130491" y="866511"/>
                    </a:lnTo>
                    <a:lnTo>
                      <a:pt x="5988951" y="807703"/>
                    </a:lnTo>
                    <a:lnTo>
                      <a:pt x="5954855" y="793549"/>
                    </a:lnTo>
                    <a:lnTo>
                      <a:pt x="5918662" y="771956"/>
                    </a:lnTo>
                    <a:lnTo>
                      <a:pt x="5885568" y="754656"/>
                    </a:lnTo>
                    <a:lnTo>
                      <a:pt x="5825680" y="723350"/>
                    </a:lnTo>
                    <a:lnTo>
                      <a:pt x="5760430" y="699143"/>
                    </a:lnTo>
                    <a:lnTo>
                      <a:pt x="5693783" y="679845"/>
                    </a:lnTo>
                    <a:lnTo>
                      <a:pt x="5650044" y="663416"/>
                    </a:lnTo>
                    <a:lnTo>
                      <a:pt x="5604013" y="638890"/>
                    </a:lnTo>
                    <a:lnTo>
                      <a:pt x="5559121" y="626797"/>
                    </a:lnTo>
                    <a:lnTo>
                      <a:pt x="5430817" y="592218"/>
                    </a:lnTo>
                    <a:lnTo>
                      <a:pt x="5176188" y="670323"/>
                    </a:lnTo>
                    <a:lnTo>
                      <a:pt x="5030005" y="670323"/>
                    </a:lnTo>
                    <a:lnTo>
                      <a:pt x="4968435" y="670323"/>
                    </a:lnTo>
                    <a:lnTo>
                      <a:pt x="4899934" y="672957"/>
                    </a:lnTo>
                    <a:lnTo>
                      <a:pt x="4840943" y="655362"/>
                    </a:lnTo>
                    <a:lnTo>
                      <a:pt x="4801050" y="613535"/>
                    </a:lnTo>
                    <a:lnTo>
                      <a:pt x="4821086" y="500193"/>
                    </a:lnTo>
                    <a:lnTo>
                      <a:pt x="4828696" y="445891"/>
                    </a:lnTo>
                    <a:lnTo>
                      <a:pt x="4808634" y="418772"/>
                    </a:lnTo>
                    <a:lnTo>
                      <a:pt x="4516572" y="426062"/>
                    </a:lnTo>
                    <a:lnTo>
                      <a:pt x="4469603" y="430929"/>
                    </a:lnTo>
                    <a:lnTo>
                      <a:pt x="4414219" y="436667"/>
                    </a:lnTo>
                    <a:lnTo>
                      <a:pt x="4355010" y="456006"/>
                    </a:lnTo>
                    <a:lnTo>
                      <a:pt x="4299580" y="454052"/>
                    </a:lnTo>
                    <a:lnTo>
                      <a:pt x="4258560" y="452607"/>
                    </a:lnTo>
                    <a:lnTo>
                      <a:pt x="4210997" y="427953"/>
                    </a:lnTo>
                    <a:lnTo>
                      <a:pt x="4170360" y="420047"/>
                    </a:lnTo>
                    <a:lnTo>
                      <a:pt x="4072939" y="401174"/>
                    </a:lnTo>
                    <a:lnTo>
                      <a:pt x="3977618" y="452820"/>
                    </a:lnTo>
                    <a:lnTo>
                      <a:pt x="3877915" y="394204"/>
                    </a:lnTo>
                    <a:lnTo>
                      <a:pt x="3847421" y="376266"/>
                    </a:lnTo>
                    <a:lnTo>
                      <a:pt x="3790612" y="330423"/>
                    </a:lnTo>
                    <a:lnTo>
                      <a:pt x="3770465" y="301710"/>
                    </a:lnTo>
                    <a:lnTo>
                      <a:pt x="3754650" y="269766"/>
                    </a:lnTo>
                    <a:lnTo>
                      <a:pt x="3727532" y="231149"/>
                    </a:lnTo>
                    <a:lnTo>
                      <a:pt x="3701199" y="212850"/>
                    </a:lnTo>
                    <a:lnTo>
                      <a:pt x="3683412" y="188813"/>
                    </a:lnTo>
                    <a:lnTo>
                      <a:pt x="3671548" y="153852"/>
                    </a:lnTo>
                    <a:lnTo>
                      <a:pt x="3656498" y="136956"/>
                    </a:lnTo>
                    <a:lnTo>
                      <a:pt x="3633298" y="124246"/>
                    </a:lnTo>
                    <a:lnTo>
                      <a:pt x="3612167" y="116511"/>
                    </a:lnTo>
                    <a:lnTo>
                      <a:pt x="3581395" y="118082"/>
                    </a:lnTo>
                    <a:lnTo>
                      <a:pt x="3545519" y="131302"/>
                    </a:lnTo>
                    <a:lnTo>
                      <a:pt x="3480230" y="151811"/>
                    </a:lnTo>
                    <a:lnTo>
                      <a:pt x="3332477" y="156041"/>
                    </a:lnTo>
                    <a:lnTo>
                      <a:pt x="3278070" y="149367"/>
                    </a:lnTo>
                    <a:lnTo>
                      <a:pt x="3221452" y="145924"/>
                    </a:lnTo>
                    <a:lnTo>
                      <a:pt x="3166728" y="136828"/>
                    </a:lnTo>
                    <a:lnTo>
                      <a:pt x="3110764" y="130324"/>
                    </a:lnTo>
                    <a:lnTo>
                      <a:pt x="3089191" y="132025"/>
                    </a:lnTo>
                    <a:lnTo>
                      <a:pt x="3035469" y="122546"/>
                    </a:lnTo>
                    <a:lnTo>
                      <a:pt x="2989813" y="107137"/>
                    </a:lnTo>
                    <a:lnTo>
                      <a:pt x="2946182" y="99039"/>
                    </a:lnTo>
                    <a:lnTo>
                      <a:pt x="2913430" y="92961"/>
                    </a:lnTo>
                    <a:lnTo>
                      <a:pt x="2878339" y="96851"/>
                    </a:lnTo>
                    <a:lnTo>
                      <a:pt x="2845529" y="88158"/>
                    </a:lnTo>
                    <a:lnTo>
                      <a:pt x="2735435" y="59020"/>
                    </a:lnTo>
                    <a:lnTo>
                      <a:pt x="2698133" y="25695"/>
                    </a:lnTo>
                    <a:lnTo>
                      <a:pt x="2570766" y="10627"/>
                    </a:lnTo>
                    <a:lnTo>
                      <a:pt x="2547302" y="7843"/>
                    </a:lnTo>
                    <a:lnTo>
                      <a:pt x="2520994" y="0"/>
                    </a:lnTo>
                    <a:lnTo>
                      <a:pt x="2497319" y="2466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699" name="Volyn¬0" descr="Volyn¬0">
                <a:extLst>
                  <a:ext uri="{FF2B5EF4-FFF2-40B4-BE49-F238E27FC236}">
                    <a16:creationId xmlns:a16="http://schemas.microsoft.com/office/drawing/2014/main" id="{E5814D17-309A-4766-9BA9-E9B9760262DD}"/>
                  </a:ext>
                </a:extLst>
              </p:cNvPr>
              <p:cNvSpPr/>
              <p:nvPr/>
            </p:nvSpPr>
            <p:spPr>
              <a:xfrm>
                <a:off x="5099676" y="2190574"/>
                <a:ext cx="8732467" cy="8767179"/>
              </a:xfrm>
              <a:custGeom>
                <a:avLst/>
                <a:gdLst/>
                <a:ahLst/>
                <a:cxnLst/>
                <a:rect l="0" t="0" r="0" b="0"/>
                <a:pathLst>
                  <a:path w="8732468" h="8767178">
                    <a:moveTo>
                      <a:pt x="5704370" y="14983"/>
                    </a:moveTo>
                    <a:lnTo>
                      <a:pt x="5671725" y="38276"/>
                    </a:lnTo>
                    <a:lnTo>
                      <a:pt x="5633449" y="54323"/>
                    </a:lnTo>
                    <a:lnTo>
                      <a:pt x="5609839" y="50199"/>
                    </a:lnTo>
                    <a:lnTo>
                      <a:pt x="5587693" y="52388"/>
                    </a:lnTo>
                    <a:lnTo>
                      <a:pt x="5514430" y="23782"/>
                    </a:lnTo>
                    <a:lnTo>
                      <a:pt x="5543633" y="0"/>
                    </a:lnTo>
                    <a:lnTo>
                      <a:pt x="5443508" y="33346"/>
                    </a:lnTo>
                    <a:lnTo>
                      <a:pt x="5406953" y="54705"/>
                    </a:lnTo>
                    <a:lnTo>
                      <a:pt x="5358626" y="72834"/>
                    </a:lnTo>
                    <a:lnTo>
                      <a:pt x="5321727" y="78105"/>
                    </a:lnTo>
                    <a:lnTo>
                      <a:pt x="5291167" y="86394"/>
                    </a:lnTo>
                    <a:lnTo>
                      <a:pt x="5246769" y="98423"/>
                    </a:lnTo>
                    <a:lnTo>
                      <a:pt x="5206772" y="115511"/>
                    </a:lnTo>
                    <a:lnTo>
                      <a:pt x="5164670" y="132640"/>
                    </a:lnTo>
                    <a:lnTo>
                      <a:pt x="5134471" y="144946"/>
                    </a:lnTo>
                    <a:lnTo>
                      <a:pt x="5101484" y="151407"/>
                    </a:lnTo>
                    <a:lnTo>
                      <a:pt x="5070817" y="162565"/>
                    </a:lnTo>
                    <a:lnTo>
                      <a:pt x="5004631" y="186666"/>
                    </a:lnTo>
                    <a:lnTo>
                      <a:pt x="4922281" y="249724"/>
                    </a:lnTo>
                    <a:lnTo>
                      <a:pt x="4859985" y="268660"/>
                    </a:lnTo>
                    <a:lnTo>
                      <a:pt x="4806428" y="284919"/>
                    </a:lnTo>
                    <a:lnTo>
                      <a:pt x="4749982" y="266599"/>
                    </a:lnTo>
                    <a:lnTo>
                      <a:pt x="4698120" y="275461"/>
                    </a:lnTo>
                    <a:lnTo>
                      <a:pt x="4668726" y="280478"/>
                    </a:lnTo>
                    <a:lnTo>
                      <a:pt x="4634235" y="295418"/>
                    </a:lnTo>
                    <a:lnTo>
                      <a:pt x="4606991" y="306746"/>
                    </a:lnTo>
                    <a:lnTo>
                      <a:pt x="4549411" y="330720"/>
                    </a:lnTo>
                    <a:lnTo>
                      <a:pt x="4436493" y="345384"/>
                    </a:lnTo>
                    <a:lnTo>
                      <a:pt x="4374395" y="343471"/>
                    </a:lnTo>
                    <a:lnTo>
                      <a:pt x="4341922" y="342451"/>
                    </a:lnTo>
                    <a:lnTo>
                      <a:pt x="4307444" y="340219"/>
                    </a:lnTo>
                    <a:lnTo>
                      <a:pt x="4275096" y="335310"/>
                    </a:lnTo>
                    <a:lnTo>
                      <a:pt x="4243625" y="330528"/>
                    </a:lnTo>
                    <a:lnTo>
                      <a:pt x="4218525" y="319413"/>
                    </a:lnTo>
                    <a:lnTo>
                      <a:pt x="4185326" y="321708"/>
                    </a:lnTo>
                    <a:lnTo>
                      <a:pt x="4098867" y="327659"/>
                    </a:lnTo>
                    <a:lnTo>
                      <a:pt x="4024187" y="383555"/>
                    </a:lnTo>
                    <a:lnTo>
                      <a:pt x="3937767" y="392438"/>
                    </a:lnTo>
                    <a:lnTo>
                      <a:pt x="3886887" y="397667"/>
                    </a:lnTo>
                    <a:lnTo>
                      <a:pt x="3827619" y="356754"/>
                    </a:lnTo>
                    <a:lnTo>
                      <a:pt x="3777267" y="344831"/>
                    </a:lnTo>
                    <a:lnTo>
                      <a:pt x="3744814" y="337138"/>
                    </a:lnTo>
                    <a:lnTo>
                      <a:pt x="3712637" y="333610"/>
                    </a:lnTo>
                    <a:lnTo>
                      <a:pt x="3679332" y="332589"/>
                    </a:lnTo>
                    <a:lnTo>
                      <a:pt x="3567687" y="329104"/>
                    </a:lnTo>
                    <a:lnTo>
                      <a:pt x="3456623" y="353397"/>
                    </a:lnTo>
                    <a:lnTo>
                      <a:pt x="3346085" y="363874"/>
                    </a:lnTo>
                    <a:lnTo>
                      <a:pt x="3311356" y="367168"/>
                    </a:lnTo>
                    <a:lnTo>
                      <a:pt x="3277373" y="381004"/>
                    </a:lnTo>
                    <a:lnTo>
                      <a:pt x="3242710" y="384277"/>
                    </a:lnTo>
                    <a:lnTo>
                      <a:pt x="3183772" y="389867"/>
                    </a:lnTo>
                    <a:lnTo>
                      <a:pt x="3120883" y="394564"/>
                    </a:lnTo>
                    <a:lnTo>
                      <a:pt x="3061799" y="396519"/>
                    </a:lnTo>
                    <a:lnTo>
                      <a:pt x="3008651" y="398262"/>
                    </a:lnTo>
                    <a:lnTo>
                      <a:pt x="2790294" y="388931"/>
                    </a:lnTo>
                    <a:lnTo>
                      <a:pt x="2755756" y="407400"/>
                    </a:lnTo>
                    <a:lnTo>
                      <a:pt x="2698650" y="437963"/>
                    </a:lnTo>
                    <a:lnTo>
                      <a:pt x="2684326" y="504867"/>
                    </a:lnTo>
                    <a:lnTo>
                      <a:pt x="2649663" y="554302"/>
                    </a:lnTo>
                    <a:lnTo>
                      <a:pt x="2636612" y="572877"/>
                    </a:lnTo>
                    <a:lnTo>
                      <a:pt x="2623713" y="595533"/>
                    </a:lnTo>
                    <a:lnTo>
                      <a:pt x="2607495" y="611430"/>
                    </a:lnTo>
                    <a:lnTo>
                      <a:pt x="2573980" y="644245"/>
                    </a:lnTo>
                    <a:lnTo>
                      <a:pt x="2500507" y="698738"/>
                    </a:lnTo>
                    <a:lnTo>
                      <a:pt x="2482357" y="739289"/>
                    </a:lnTo>
                    <a:lnTo>
                      <a:pt x="2459190" y="791189"/>
                    </a:lnTo>
                    <a:lnTo>
                      <a:pt x="2460786" y="833185"/>
                    </a:lnTo>
                    <a:lnTo>
                      <a:pt x="2452437" y="887550"/>
                    </a:lnTo>
                    <a:lnTo>
                      <a:pt x="2449132" y="908910"/>
                    </a:lnTo>
                    <a:lnTo>
                      <a:pt x="2441740" y="929420"/>
                    </a:lnTo>
                    <a:lnTo>
                      <a:pt x="2437473" y="950119"/>
                    </a:lnTo>
                    <a:lnTo>
                      <a:pt x="2423168" y="1019533"/>
                    </a:lnTo>
                    <a:lnTo>
                      <a:pt x="2431392" y="1040913"/>
                    </a:lnTo>
                    <a:lnTo>
                      <a:pt x="2402104" y="1121505"/>
                    </a:lnTo>
                    <a:lnTo>
                      <a:pt x="2373885" y="1201353"/>
                    </a:lnTo>
                    <a:lnTo>
                      <a:pt x="2270483" y="1253211"/>
                    </a:lnTo>
                    <a:lnTo>
                      <a:pt x="2203519" y="1298331"/>
                    </a:lnTo>
                    <a:lnTo>
                      <a:pt x="2170149" y="1320795"/>
                    </a:lnTo>
                    <a:lnTo>
                      <a:pt x="2139779" y="1351824"/>
                    </a:lnTo>
                    <a:lnTo>
                      <a:pt x="2108301" y="1377222"/>
                    </a:lnTo>
                    <a:lnTo>
                      <a:pt x="2081183" y="1399113"/>
                    </a:lnTo>
                    <a:lnTo>
                      <a:pt x="2048413" y="1417773"/>
                    </a:lnTo>
                    <a:lnTo>
                      <a:pt x="2019890" y="1438431"/>
                    </a:lnTo>
                    <a:lnTo>
                      <a:pt x="1995324" y="1456220"/>
                    </a:lnTo>
                    <a:lnTo>
                      <a:pt x="1963484" y="1466336"/>
                    </a:lnTo>
                    <a:lnTo>
                      <a:pt x="1938278" y="1483318"/>
                    </a:lnTo>
                    <a:lnTo>
                      <a:pt x="1901511" y="1508099"/>
                    </a:lnTo>
                    <a:lnTo>
                      <a:pt x="1857557" y="1537810"/>
                    </a:lnTo>
                    <a:lnTo>
                      <a:pt x="1825380" y="1569010"/>
                    </a:lnTo>
                    <a:lnTo>
                      <a:pt x="1779004" y="1614025"/>
                    </a:lnTo>
                    <a:lnTo>
                      <a:pt x="1743623" y="1673448"/>
                    </a:lnTo>
                    <a:lnTo>
                      <a:pt x="1697525" y="1718632"/>
                    </a:lnTo>
                    <a:lnTo>
                      <a:pt x="1651743" y="1763477"/>
                    </a:lnTo>
                    <a:lnTo>
                      <a:pt x="1589579" y="1820094"/>
                    </a:lnTo>
                    <a:lnTo>
                      <a:pt x="1535659" y="1854652"/>
                    </a:lnTo>
                    <a:lnTo>
                      <a:pt x="1503014" y="1875586"/>
                    </a:lnTo>
                    <a:lnTo>
                      <a:pt x="1468649" y="1892440"/>
                    </a:lnTo>
                    <a:lnTo>
                      <a:pt x="1435001" y="1911781"/>
                    </a:lnTo>
                    <a:lnTo>
                      <a:pt x="1351503" y="1959812"/>
                    </a:lnTo>
                    <a:lnTo>
                      <a:pt x="1326509" y="1979726"/>
                    </a:lnTo>
                    <a:lnTo>
                      <a:pt x="1222810" y="1986591"/>
                    </a:lnTo>
                    <a:lnTo>
                      <a:pt x="1184835" y="1971884"/>
                    </a:lnTo>
                    <a:lnTo>
                      <a:pt x="1168679" y="1946338"/>
                    </a:lnTo>
                    <a:lnTo>
                      <a:pt x="1165686" y="1919942"/>
                    </a:lnTo>
                    <a:lnTo>
                      <a:pt x="1153571" y="1876479"/>
                    </a:lnTo>
                    <a:lnTo>
                      <a:pt x="1104667" y="1776653"/>
                    </a:lnTo>
                    <a:lnTo>
                      <a:pt x="1071832" y="1747196"/>
                    </a:lnTo>
                    <a:lnTo>
                      <a:pt x="1020909" y="1701503"/>
                    </a:lnTo>
                    <a:lnTo>
                      <a:pt x="854518" y="1711916"/>
                    </a:lnTo>
                    <a:lnTo>
                      <a:pt x="782109" y="1707751"/>
                    </a:lnTo>
                    <a:lnTo>
                      <a:pt x="674717" y="1701566"/>
                    </a:lnTo>
                    <a:lnTo>
                      <a:pt x="624156" y="1628158"/>
                    </a:lnTo>
                    <a:lnTo>
                      <a:pt x="520951" y="1631579"/>
                    </a:lnTo>
                    <a:lnTo>
                      <a:pt x="480039" y="1632920"/>
                    </a:lnTo>
                    <a:lnTo>
                      <a:pt x="405143" y="1653831"/>
                    </a:lnTo>
                    <a:lnTo>
                      <a:pt x="375410" y="1683267"/>
                    </a:lnTo>
                    <a:lnTo>
                      <a:pt x="321937" y="1691725"/>
                    </a:lnTo>
                    <a:lnTo>
                      <a:pt x="270441" y="1684011"/>
                    </a:lnTo>
                    <a:lnTo>
                      <a:pt x="216266" y="1695509"/>
                    </a:lnTo>
                    <a:lnTo>
                      <a:pt x="134017" y="1712894"/>
                    </a:lnTo>
                    <a:lnTo>
                      <a:pt x="6456" y="1796163"/>
                    </a:lnTo>
                    <a:lnTo>
                      <a:pt x="10877" y="1891377"/>
                    </a:lnTo>
                    <a:lnTo>
                      <a:pt x="13046" y="1937475"/>
                    </a:lnTo>
                    <a:lnTo>
                      <a:pt x="49685" y="1944574"/>
                    </a:lnTo>
                    <a:lnTo>
                      <a:pt x="66644" y="1979790"/>
                    </a:lnTo>
                    <a:lnTo>
                      <a:pt x="95464" y="2039597"/>
                    </a:lnTo>
                    <a:lnTo>
                      <a:pt x="103880" y="2105099"/>
                    </a:lnTo>
                    <a:lnTo>
                      <a:pt x="123773" y="2167498"/>
                    </a:lnTo>
                    <a:lnTo>
                      <a:pt x="130275" y="2187837"/>
                    </a:lnTo>
                    <a:lnTo>
                      <a:pt x="144135" y="2211024"/>
                    </a:lnTo>
                    <a:lnTo>
                      <a:pt x="151890" y="2249343"/>
                    </a:lnTo>
                    <a:lnTo>
                      <a:pt x="146107" y="2303433"/>
                    </a:lnTo>
                    <a:lnTo>
                      <a:pt x="130579" y="2336162"/>
                    </a:lnTo>
                    <a:lnTo>
                      <a:pt x="84992" y="2343601"/>
                    </a:lnTo>
                    <a:lnTo>
                      <a:pt x="65756" y="2270935"/>
                    </a:lnTo>
                    <a:lnTo>
                      <a:pt x="0" y="2288555"/>
                    </a:lnTo>
                    <a:lnTo>
                      <a:pt x="11775" y="2333591"/>
                    </a:lnTo>
                    <a:lnTo>
                      <a:pt x="9351" y="2392186"/>
                    </a:lnTo>
                    <a:lnTo>
                      <a:pt x="28564" y="2434097"/>
                    </a:lnTo>
                    <a:lnTo>
                      <a:pt x="48754" y="2532988"/>
                    </a:lnTo>
                    <a:lnTo>
                      <a:pt x="118783" y="2484360"/>
                    </a:lnTo>
                    <a:lnTo>
                      <a:pt x="172745" y="2514348"/>
                    </a:lnTo>
                    <a:lnTo>
                      <a:pt x="237418" y="2603675"/>
                    </a:lnTo>
                    <a:lnTo>
                      <a:pt x="111282" y="2643716"/>
                    </a:lnTo>
                    <a:lnTo>
                      <a:pt x="121058" y="2703416"/>
                    </a:lnTo>
                    <a:lnTo>
                      <a:pt x="166858" y="2755167"/>
                    </a:lnTo>
                    <a:lnTo>
                      <a:pt x="171130" y="2732405"/>
                    </a:lnTo>
                    <a:lnTo>
                      <a:pt x="214911" y="2761905"/>
                    </a:lnTo>
                    <a:lnTo>
                      <a:pt x="244665" y="2781946"/>
                    </a:lnTo>
                    <a:lnTo>
                      <a:pt x="224348" y="2811191"/>
                    </a:lnTo>
                    <a:lnTo>
                      <a:pt x="238035" y="2833995"/>
                    </a:lnTo>
                    <a:lnTo>
                      <a:pt x="263666" y="2876714"/>
                    </a:lnTo>
                    <a:lnTo>
                      <a:pt x="341792" y="2904513"/>
                    </a:lnTo>
                    <a:lnTo>
                      <a:pt x="300604" y="2976816"/>
                    </a:lnTo>
                    <a:lnTo>
                      <a:pt x="252997" y="3004020"/>
                    </a:lnTo>
                    <a:lnTo>
                      <a:pt x="239881" y="3055325"/>
                    </a:lnTo>
                    <a:lnTo>
                      <a:pt x="270592" y="3081020"/>
                    </a:lnTo>
                    <a:lnTo>
                      <a:pt x="270680" y="3111476"/>
                    </a:lnTo>
                    <a:lnTo>
                      <a:pt x="248256" y="3134323"/>
                    </a:lnTo>
                    <a:lnTo>
                      <a:pt x="191573" y="3158912"/>
                    </a:lnTo>
                    <a:lnTo>
                      <a:pt x="147516" y="3194448"/>
                    </a:lnTo>
                    <a:lnTo>
                      <a:pt x="129153" y="3267644"/>
                    </a:lnTo>
                    <a:lnTo>
                      <a:pt x="112894" y="3304624"/>
                    </a:lnTo>
                    <a:lnTo>
                      <a:pt x="98846" y="3325218"/>
                    </a:lnTo>
                    <a:lnTo>
                      <a:pt x="88019" y="3397308"/>
                    </a:lnTo>
                    <a:lnTo>
                      <a:pt x="89452" y="3431717"/>
                    </a:lnTo>
                    <a:lnTo>
                      <a:pt x="110833" y="3491290"/>
                    </a:lnTo>
                    <a:lnTo>
                      <a:pt x="127857" y="3510014"/>
                    </a:lnTo>
                    <a:lnTo>
                      <a:pt x="168322" y="3554584"/>
                    </a:lnTo>
                    <a:lnTo>
                      <a:pt x="245663" y="3525231"/>
                    </a:lnTo>
                    <a:lnTo>
                      <a:pt x="293801" y="3553540"/>
                    </a:lnTo>
                    <a:lnTo>
                      <a:pt x="355031" y="3589544"/>
                    </a:lnTo>
                    <a:lnTo>
                      <a:pt x="366571" y="3683375"/>
                    </a:lnTo>
                    <a:lnTo>
                      <a:pt x="391735" y="3748049"/>
                    </a:lnTo>
                    <a:lnTo>
                      <a:pt x="413711" y="3852040"/>
                    </a:lnTo>
                    <a:lnTo>
                      <a:pt x="410587" y="3790003"/>
                    </a:lnTo>
                    <a:lnTo>
                      <a:pt x="458384" y="3850064"/>
                    </a:lnTo>
                    <a:lnTo>
                      <a:pt x="463423" y="3881306"/>
                    </a:lnTo>
                    <a:lnTo>
                      <a:pt x="447207" y="3903557"/>
                    </a:lnTo>
                    <a:lnTo>
                      <a:pt x="444783" y="3933036"/>
                    </a:lnTo>
                    <a:lnTo>
                      <a:pt x="480467" y="3946532"/>
                    </a:lnTo>
                    <a:lnTo>
                      <a:pt x="513473" y="3971292"/>
                    </a:lnTo>
                    <a:lnTo>
                      <a:pt x="516555" y="3997837"/>
                    </a:lnTo>
                    <a:lnTo>
                      <a:pt x="531835" y="4013288"/>
                    </a:lnTo>
                    <a:lnTo>
                      <a:pt x="546840" y="4028441"/>
                    </a:lnTo>
                    <a:lnTo>
                      <a:pt x="568816" y="4026125"/>
                    </a:lnTo>
                    <a:lnTo>
                      <a:pt x="629536" y="4057175"/>
                    </a:lnTo>
                    <a:lnTo>
                      <a:pt x="601099" y="4085846"/>
                    </a:lnTo>
                    <a:lnTo>
                      <a:pt x="689618" y="4109861"/>
                    </a:lnTo>
                    <a:lnTo>
                      <a:pt x="713167" y="4128819"/>
                    </a:lnTo>
                    <a:lnTo>
                      <a:pt x="707684" y="4171387"/>
                    </a:lnTo>
                    <a:lnTo>
                      <a:pt x="737226" y="4186034"/>
                    </a:lnTo>
                    <a:lnTo>
                      <a:pt x="757310" y="4195999"/>
                    </a:lnTo>
                    <a:lnTo>
                      <a:pt x="781921" y="4187821"/>
                    </a:lnTo>
                    <a:lnTo>
                      <a:pt x="803875" y="4194192"/>
                    </a:lnTo>
                    <a:lnTo>
                      <a:pt x="828359" y="4201315"/>
                    </a:lnTo>
                    <a:lnTo>
                      <a:pt x="842684" y="4221614"/>
                    </a:lnTo>
                    <a:lnTo>
                      <a:pt x="862364" y="4236360"/>
                    </a:lnTo>
                    <a:lnTo>
                      <a:pt x="933391" y="4289660"/>
                    </a:lnTo>
                    <a:lnTo>
                      <a:pt x="926292" y="4379179"/>
                    </a:lnTo>
                    <a:lnTo>
                      <a:pt x="895815" y="4398331"/>
                    </a:lnTo>
                    <a:lnTo>
                      <a:pt x="876241" y="4449019"/>
                    </a:lnTo>
                    <a:lnTo>
                      <a:pt x="888185" y="4505234"/>
                    </a:lnTo>
                    <a:lnTo>
                      <a:pt x="903170" y="4545126"/>
                    </a:lnTo>
                    <a:lnTo>
                      <a:pt x="912734" y="4570629"/>
                    </a:lnTo>
                    <a:lnTo>
                      <a:pt x="938407" y="4596046"/>
                    </a:lnTo>
                    <a:lnTo>
                      <a:pt x="950776" y="4621298"/>
                    </a:lnTo>
                    <a:lnTo>
                      <a:pt x="958194" y="4642230"/>
                    </a:lnTo>
                    <a:lnTo>
                      <a:pt x="994919" y="4670581"/>
                    </a:lnTo>
                    <a:lnTo>
                      <a:pt x="1050071" y="4696110"/>
                    </a:lnTo>
                    <a:lnTo>
                      <a:pt x="1053236" y="4783651"/>
                    </a:lnTo>
                    <a:lnTo>
                      <a:pt x="1064263" y="4814574"/>
                    </a:lnTo>
                    <a:lnTo>
                      <a:pt x="1085432" y="4843012"/>
                    </a:lnTo>
                    <a:lnTo>
                      <a:pt x="1093083" y="4862540"/>
                    </a:lnTo>
                    <a:lnTo>
                      <a:pt x="1084614" y="4905624"/>
                    </a:lnTo>
                    <a:lnTo>
                      <a:pt x="1063668" y="4915101"/>
                    </a:lnTo>
                    <a:lnTo>
                      <a:pt x="1062989" y="4949849"/>
                    </a:lnTo>
                    <a:lnTo>
                      <a:pt x="1085432" y="4979032"/>
                    </a:lnTo>
                    <a:lnTo>
                      <a:pt x="1083222" y="5007318"/>
                    </a:lnTo>
                    <a:lnTo>
                      <a:pt x="1063672" y="5022558"/>
                    </a:lnTo>
                    <a:lnTo>
                      <a:pt x="1085009" y="5050481"/>
                    </a:lnTo>
                    <a:lnTo>
                      <a:pt x="1133319" y="5086377"/>
                    </a:lnTo>
                    <a:lnTo>
                      <a:pt x="1173699" y="5105891"/>
                    </a:lnTo>
                    <a:lnTo>
                      <a:pt x="1205136" y="5134091"/>
                    </a:lnTo>
                    <a:lnTo>
                      <a:pt x="1221946" y="5149160"/>
                    </a:lnTo>
                    <a:lnTo>
                      <a:pt x="1232590" y="5169967"/>
                    </a:lnTo>
                    <a:lnTo>
                      <a:pt x="1250021" y="5185782"/>
                    </a:lnTo>
                    <a:lnTo>
                      <a:pt x="1258799" y="5227713"/>
                    </a:lnTo>
                    <a:lnTo>
                      <a:pt x="1248023" y="5275677"/>
                    </a:lnTo>
                    <a:lnTo>
                      <a:pt x="1258179" y="5314996"/>
                    </a:lnTo>
                    <a:lnTo>
                      <a:pt x="1264747" y="5340393"/>
                    </a:lnTo>
                    <a:lnTo>
                      <a:pt x="1311782" y="5368876"/>
                    </a:lnTo>
                    <a:lnTo>
                      <a:pt x="1328909" y="5391167"/>
                    </a:lnTo>
                    <a:lnTo>
                      <a:pt x="1337627" y="5413398"/>
                    </a:lnTo>
                    <a:lnTo>
                      <a:pt x="1351140" y="5435887"/>
                    </a:lnTo>
                    <a:lnTo>
                      <a:pt x="1371202" y="5452381"/>
                    </a:lnTo>
                    <a:lnTo>
                      <a:pt x="1457794" y="5513397"/>
                    </a:lnTo>
                    <a:lnTo>
                      <a:pt x="1456856" y="5555835"/>
                    </a:lnTo>
                    <a:lnTo>
                      <a:pt x="1509814" y="5603358"/>
                    </a:lnTo>
                    <a:lnTo>
                      <a:pt x="1566649" y="5654343"/>
                    </a:lnTo>
                    <a:lnTo>
                      <a:pt x="1634635" y="5650393"/>
                    </a:lnTo>
                    <a:lnTo>
                      <a:pt x="1697525" y="5680894"/>
                    </a:lnTo>
                    <a:lnTo>
                      <a:pt x="1725454" y="5694453"/>
                    </a:lnTo>
                    <a:lnTo>
                      <a:pt x="1729233" y="5724988"/>
                    </a:lnTo>
                    <a:lnTo>
                      <a:pt x="1754656" y="5740743"/>
                    </a:lnTo>
                    <a:lnTo>
                      <a:pt x="1796798" y="5766859"/>
                    </a:lnTo>
                    <a:lnTo>
                      <a:pt x="1838201" y="5772834"/>
                    </a:lnTo>
                    <a:lnTo>
                      <a:pt x="1882512" y="5792427"/>
                    </a:lnTo>
                    <a:lnTo>
                      <a:pt x="1893037" y="5817699"/>
                    </a:lnTo>
                    <a:lnTo>
                      <a:pt x="1889311" y="5865644"/>
                    </a:lnTo>
                    <a:lnTo>
                      <a:pt x="1870271" y="5883562"/>
                    </a:lnTo>
                    <a:lnTo>
                      <a:pt x="1863406" y="5908979"/>
                    </a:lnTo>
                    <a:lnTo>
                      <a:pt x="1829634" y="5950441"/>
                    </a:lnTo>
                    <a:lnTo>
                      <a:pt x="1694062" y="5958375"/>
                    </a:lnTo>
                    <a:lnTo>
                      <a:pt x="1653998" y="5958375"/>
                    </a:lnTo>
                    <a:lnTo>
                      <a:pt x="1625686" y="5958375"/>
                    </a:lnTo>
                    <a:lnTo>
                      <a:pt x="1595468" y="5941690"/>
                    </a:lnTo>
                    <a:lnTo>
                      <a:pt x="1568304" y="5947493"/>
                    </a:lnTo>
                    <a:lnTo>
                      <a:pt x="1549027" y="5963156"/>
                    </a:lnTo>
                    <a:lnTo>
                      <a:pt x="1488097" y="5938201"/>
                    </a:lnTo>
                    <a:lnTo>
                      <a:pt x="1420044" y="5952934"/>
                    </a:lnTo>
                    <a:lnTo>
                      <a:pt x="1353396" y="5957418"/>
                    </a:lnTo>
                    <a:lnTo>
                      <a:pt x="1275840" y="5936421"/>
                    </a:lnTo>
                    <a:lnTo>
                      <a:pt x="1240498" y="6015500"/>
                    </a:lnTo>
                    <a:lnTo>
                      <a:pt x="1234141" y="6051145"/>
                    </a:lnTo>
                    <a:lnTo>
                      <a:pt x="1215674" y="6110183"/>
                    </a:lnTo>
                    <a:lnTo>
                      <a:pt x="1213676" y="6159361"/>
                    </a:lnTo>
                    <a:lnTo>
                      <a:pt x="1236416" y="6199129"/>
                    </a:lnTo>
                    <a:lnTo>
                      <a:pt x="1257671" y="6225884"/>
                    </a:lnTo>
                    <a:lnTo>
                      <a:pt x="1278689" y="6241784"/>
                    </a:lnTo>
                    <a:lnTo>
                      <a:pt x="1301705" y="6253536"/>
                    </a:lnTo>
                    <a:lnTo>
                      <a:pt x="1320388" y="6282672"/>
                    </a:lnTo>
                    <a:lnTo>
                      <a:pt x="1382552" y="6315363"/>
                    </a:lnTo>
                    <a:lnTo>
                      <a:pt x="1399811" y="6268091"/>
                    </a:lnTo>
                    <a:lnTo>
                      <a:pt x="1455406" y="6298415"/>
                    </a:lnTo>
                    <a:lnTo>
                      <a:pt x="1468503" y="6325579"/>
                    </a:lnTo>
                    <a:lnTo>
                      <a:pt x="1454898" y="6357841"/>
                    </a:lnTo>
                    <a:lnTo>
                      <a:pt x="1437171" y="6382559"/>
                    </a:lnTo>
                    <a:lnTo>
                      <a:pt x="1435008" y="6407231"/>
                    </a:lnTo>
                    <a:lnTo>
                      <a:pt x="1429205" y="6473476"/>
                    </a:lnTo>
                    <a:lnTo>
                      <a:pt x="1487398" y="6564526"/>
                    </a:lnTo>
                    <a:lnTo>
                      <a:pt x="1551982" y="6582701"/>
                    </a:lnTo>
                    <a:lnTo>
                      <a:pt x="1586624" y="6592449"/>
                    </a:lnTo>
                    <a:lnTo>
                      <a:pt x="1619652" y="6576285"/>
                    </a:lnTo>
                    <a:lnTo>
                      <a:pt x="1655357" y="6596300"/>
                    </a:lnTo>
                    <a:lnTo>
                      <a:pt x="1664332" y="6632348"/>
                    </a:lnTo>
                    <a:lnTo>
                      <a:pt x="1637676" y="6660231"/>
                    </a:lnTo>
                    <a:lnTo>
                      <a:pt x="1614976" y="6806176"/>
                    </a:lnTo>
                    <a:lnTo>
                      <a:pt x="1668474" y="6772529"/>
                    </a:lnTo>
                    <a:lnTo>
                      <a:pt x="1694808" y="6816655"/>
                    </a:lnTo>
                    <a:lnTo>
                      <a:pt x="1705821" y="6835141"/>
                    </a:lnTo>
                    <a:lnTo>
                      <a:pt x="1700631" y="6856396"/>
                    </a:lnTo>
                    <a:lnTo>
                      <a:pt x="1718035" y="6920987"/>
                    </a:lnTo>
                    <a:lnTo>
                      <a:pt x="1759305" y="6955412"/>
                    </a:lnTo>
                    <a:lnTo>
                      <a:pt x="1764173" y="7007083"/>
                    </a:lnTo>
                    <a:lnTo>
                      <a:pt x="1760954" y="7028886"/>
                    </a:lnTo>
                    <a:lnTo>
                      <a:pt x="1787439" y="6989415"/>
                    </a:lnTo>
                    <a:lnTo>
                      <a:pt x="1807706" y="6975797"/>
                    </a:lnTo>
                    <a:lnTo>
                      <a:pt x="1829673" y="6961031"/>
                    </a:lnTo>
                    <a:lnTo>
                      <a:pt x="1855644" y="6954165"/>
                    </a:lnTo>
                    <a:lnTo>
                      <a:pt x="1879794" y="6954034"/>
                    </a:lnTo>
                    <a:lnTo>
                      <a:pt x="1903945" y="6953902"/>
                    </a:lnTo>
                    <a:lnTo>
                      <a:pt x="1926770" y="6961156"/>
                    </a:lnTo>
                    <a:lnTo>
                      <a:pt x="1945084" y="6971715"/>
                    </a:lnTo>
                    <a:lnTo>
                      <a:pt x="1963398" y="6982273"/>
                    </a:lnTo>
                    <a:lnTo>
                      <a:pt x="1981811" y="7013883"/>
                    </a:lnTo>
                    <a:lnTo>
                      <a:pt x="1977867" y="7042709"/>
                    </a:lnTo>
                    <a:lnTo>
                      <a:pt x="1987252" y="7076449"/>
                    </a:lnTo>
                    <a:lnTo>
                      <a:pt x="2006654" y="7098877"/>
                    </a:lnTo>
                    <a:lnTo>
                      <a:pt x="2033139" y="7111150"/>
                    </a:lnTo>
                    <a:lnTo>
                      <a:pt x="2062064" y="7119975"/>
                    </a:lnTo>
                    <a:lnTo>
                      <a:pt x="2088926" y="7132248"/>
                    </a:lnTo>
                    <a:lnTo>
                      <a:pt x="2117831" y="7164055"/>
                    </a:lnTo>
                    <a:lnTo>
                      <a:pt x="2132069" y="7224247"/>
                    </a:lnTo>
                    <a:lnTo>
                      <a:pt x="2179335" y="7239277"/>
                    </a:lnTo>
                    <a:lnTo>
                      <a:pt x="2209204" y="7254557"/>
                    </a:lnTo>
                    <a:lnTo>
                      <a:pt x="2234811" y="7268242"/>
                    </a:lnTo>
                    <a:lnTo>
                      <a:pt x="2260413" y="7281919"/>
                    </a:lnTo>
                    <a:lnTo>
                      <a:pt x="2282063" y="7294159"/>
                    </a:lnTo>
                    <a:lnTo>
                      <a:pt x="2307770" y="7272699"/>
                    </a:lnTo>
                    <a:lnTo>
                      <a:pt x="2329916" y="7255342"/>
                    </a:lnTo>
                    <a:lnTo>
                      <a:pt x="2370119" y="7232233"/>
                    </a:lnTo>
                    <a:lnTo>
                      <a:pt x="2403476" y="7220633"/>
                    </a:lnTo>
                    <a:lnTo>
                      <a:pt x="2432823" y="7214553"/>
                    </a:lnTo>
                    <a:lnTo>
                      <a:pt x="2458457" y="7213115"/>
                    </a:lnTo>
                    <a:lnTo>
                      <a:pt x="2483722" y="7211116"/>
                    </a:lnTo>
                    <a:lnTo>
                      <a:pt x="2511296" y="7205959"/>
                    </a:lnTo>
                    <a:lnTo>
                      <a:pt x="2545009" y="7192162"/>
                    </a:lnTo>
                    <a:lnTo>
                      <a:pt x="2563976" y="7160784"/>
                    </a:lnTo>
                    <a:lnTo>
                      <a:pt x="2580628" y="7126035"/>
                    </a:lnTo>
                    <a:lnTo>
                      <a:pt x="2606196" y="7107141"/>
                    </a:lnTo>
                    <a:lnTo>
                      <a:pt x="2649670" y="7114541"/>
                    </a:lnTo>
                    <a:lnTo>
                      <a:pt x="2672706" y="7120865"/>
                    </a:lnTo>
                    <a:lnTo>
                      <a:pt x="2698268" y="7132103"/>
                    </a:lnTo>
                    <a:lnTo>
                      <a:pt x="2723118" y="7145827"/>
                    </a:lnTo>
                    <a:lnTo>
                      <a:pt x="2772817" y="7173261"/>
                    </a:lnTo>
                    <a:lnTo>
                      <a:pt x="2817656" y="7209837"/>
                    </a:lnTo>
                    <a:lnTo>
                      <a:pt x="2820274" y="7246030"/>
                    </a:lnTo>
                    <a:lnTo>
                      <a:pt x="2804730" y="7273682"/>
                    </a:lnTo>
                    <a:lnTo>
                      <a:pt x="2789529" y="7303267"/>
                    </a:lnTo>
                    <a:lnTo>
                      <a:pt x="2798985" y="7339789"/>
                    </a:lnTo>
                    <a:lnTo>
                      <a:pt x="2834545" y="7373258"/>
                    </a:lnTo>
                    <a:lnTo>
                      <a:pt x="2872743" y="7404261"/>
                    </a:lnTo>
                    <a:lnTo>
                      <a:pt x="2910941" y="7435264"/>
                    </a:lnTo>
                    <a:lnTo>
                      <a:pt x="2952409" y="7463536"/>
                    </a:lnTo>
                    <a:lnTo>
                      <a:pt x="2991629" y="7466240"/>
                    </a:lnTo>
                    <a:lnTo>
                      <a:pt x="3018279" y="7436906"/>
                    </a:lnTo>
                    <a:lnTo>
                      <a:pt x="3045490" y="7421942"/>
                    </a:lnTo>
                    <a:lnTo>
                      <a:pt x="3072905" y="7420122"/>
                    </a:lnTo>
                    <a:lnTo>
                      <a:pt x="3093091" y="7426018"/>
                    </a:lnTo>
                    <a:lnTo>
                      <a:pt x="3134046" y="7437988"/>
                    </a:lnTo>
                    <a:lnTo>
                      <a:pt x="3158276" y="7460621"/>
                    </a:lnTo>
                    <a:lnTo>
                      <a:pt x="3185585" y="7492673"/>
                    </a:lnTo>
                    <a:lnTo>
                      <a:pt x="3211114" y="7522640"/>
                    </a:lnTo>
                    <a:lnTo>
                      <a:pt x="3247446" y="7556029"/>
                    </a:lnTo>
                    <a:lnTo>
                      <a:pt x="3263121" y="7593324"/>
                    </a:lnTo>
                    <a:lnTo>
                      <a:pt x="3273720" y="7628501"/>
                    </a:lnTo>
                    <a:lnTo>
                      <a:pt x="3271556" y="7661521"/>
                    </a:lnTo>
                    <a:lnTo>
                      <a:pt x="3257681" y="7695340"/>
                    </a:lnTo>
                    <a:lnTo>
                      <a:pt x="3244359" y="7719748"/>
                    </a:lnTo>
                    <a:lnTo>
                      <a:pt x="3226698" y="7736401"/>
                    </a:lnTo>
                    <a:lnTo>
                      <a:pt x="3207349" y="7748390"/>
                    </a:lnTo>
                    <a:lnTo>
                      <a:pt x="3188006" y="7760373"/>
                    </a:lnTo>
                    <a:lnTo>
                      <a:pt x="3166130" y="7767832"/>
                    </a:lnTo>
                    <a:lnTo>
                      <a:pt x="3143424" y="7772870"/>
                    </a:lnTo>
                    <a:lnTo>
                      <a:pt x="3098005" y="7782940"/>
                    </a:lnTo>
                    <a:lnTo>
                      <a:pt x="3048900" y="7784998"/>
                    </a:lnTo>
                    <a:lnTo>
                      <a:pt x="3006039" y="7800074"/>
                    </a:lnTo>
                    <a:lnTo>
                      <a:pt x="2968382" y="7826790"/>
                    </a:lnTo>
                    <a:lnTo>
                      <a:pt x="2957072" y="7849041"/>
                    </a:lnTo>
                    <a:lnTo>
                      <a:pt x="2964148" y="7877795"/>
                    </a:lnTo>
                    <a:lnTo>
                      <a:pt x="2993331" y="7904603"/>
                    </a:lnTo>
                    <a:lnTo>
                      <a:pt x="3026444" y="7927936"/>
                    </a:lnTo>
                    <a:lnTo>
                      <a:pt x="3059557" y="7951269"/>
                    </a:lnTo>
                    <a:lnTo>
                      <a:pt x="3095539" y="7971364"/>
                    </a:lnTo>
                    <a:lnTo>
                      <a:pt x="3117578" y="7985061"/>
                    </a:lnTo>
                    <a:lnTo>
                      <a:pt x="3135556" y="7996233"/>
                    </a:lnTo>
                    <a:lnTo>
                      <a:pt x="3151582" y="8024505"/>
                    </a:lnTo>
                    <a:lnTo>
                      <a:pt x="3158454" y="8054380"/>
                    </a:lnTo>
                    <a:lnTo>
                      <a:pt x="3154154" y="8099416"/>
                    </a:lnTo>
                    <a:lnTo>
                      <a:pt x="3142587" y="8127550"/>
                    </a:lnTo>
                    <a:lnTo>
                      <a:pt x="3143945" y="8154214"/>
                    </a:lnTo>
                    <a:lnTo>
                      <a:pt x="3161190" y="8183759"/>
                    </a:lnTo>
                    <a:lnTo>
                      <a:pt x="3181892" y="8203353"/>
                    </a:lnTo>
                    <a:lnTo>
                      <a:pt x="3222761" y="8202693"/>
                    </a:lnTo>
                    <a:lnTo>
                      <a:pt x="3264190" y="8184939"/>
                    </a:lnTo>
                    <a:lnTo>
                      <a:pt x="3287602" y="8160525"/>
                    </a:lnTo>
                    <a:lnTo>
                      <a:pt x="3298589" y="8133130"/>
                    </a:lnTo>
                    <a:lnTo>
                      <a:pt x="3298286" y="8088812"/>
                    </a:lnTo>
                    <a:lnTo>
                      <a:pt x="3288644" y="8056405"/>
                    </a:lnTo>
                    <a:lnTo>
                      <a:pt x="3303924" y="8021782"/>
                    </a:lnTo>
                    <a:lnTo>
                      <a:pt x="3329302" y="8005670"/>
                    </a:lnTo>
                    <a:lnTo>
                      <a:pt x="3355615" y="8010900"/>
                    </a:lnTo>
                    <a:lnTo>
                      <a:pt x="3379759" y="8022659"/>
                    </a:lnTo>
                    <a:lnTo>
                      <a:pt x="3387811" y="8045840"/>
                    </a:lnTo>
                    <a:lnTo>
                      <a:pt x="3395059" y="8072107"/>
                    </a:lnTo>
                    <a:lnTo>
                      <a:pt x="3403487" y="8096575"/>
                    </a:lnTo>
                    <a:lnTo>
                      <a:pt x="3416460" y="8120507"/>
                    </a:lnTo>
                    <a:lnTo>
                      <a:pt x="3445385" y="8133314"/>
                    </a:lnTo>
                    <a:lnTo>
                      <a:pt x="3481103" y="8136909"/>
                    </a:lnTo>
                    <a:lnTo>
                      <a:pt x="3521206" y="8135168"/>
                    </a:lnTo>
                    <a:lnTo>
                      <a:pt x="3561000" y="8131962"/>
                    </a:lnTo>
                    <a:lnTo>
                      <a:pt x="3596744" y="8132965"/>
                    </a:lnTo>
                    <a:lnTo>
                      <a:pt x="3618046" y="8150692"/>
                    </a:lnTo>
                    <a:lnTo>
                      <a:pt x="3623573" y="8172772"/>
                    </a:lnTo>
                    <a:lnTo>
                      <a:pt x="3622214" y="8201334"/>
                    </a:lnTo>
                    <a:lnTo>
                      <a:pt x="3620855" y="8225821"/>
                    </a:lnTo>
                    <a:lnTo>
                      <a:pt x="3629014" y="8247584"/>
                    </a:lnTo>
                    <a:lnTo>
                      <a:pt x="3652122" y="8259726"/>
                    </a:lnTo>
                    <a:lnTo>
                      <a:pt x="3690240" y="8265357"/>
                    </a:lnTo>
                    <a:lnTo>
                      <a:pt x="3713264" y="8267165"/>
                    </a:lnTo>
                    <a:lnTo>
                      <a:pt x="3736471" y="8270706"/>
                    </a:lnTo>
                    <a:lnTo>
                      <a:pt x="3759678" y="8274241"/>
                    </a:lnTo>
                    <a:lnTo>
                      <a:pt x="3783196" y="8279477"/>
                    </a:lnTo>
                    <a:lnTo>
                      <a:pt x="3803119" y="8289746"/>
                    </a:lnTo>
                    <a:lnTo>
                      <a:pt x="3823048" y="8300020"/>
                    </a:lnTo>
                    <a:lnTo>
                      <a:pt x="3838804" y="8315690"/>
                    </a:lnTo>
                    <a:lnTo>
                      <a:pt x="3848003" y="8338713"/>
                    </a:lnTo>
                    <a:lnTo>
                      <a:pt x="3850721" y="8367282"/>
                    </a:lnTo>
                    <a:lnTo>
                      <a:pt x="3849362" y="8393121"/>
                    </a:lnTo>
                    <a:lnTo>
                      <a:pt x="3844489" y="8425521"/>
                    </a:lnTo>
                    <a:lnTo>
                      <a:pt x="3841185" y="8460956"/>
                    </a:lnTo>
                    <a:lnTo>
                      <a:pt x="3853444" y="8482897"/>
                    </a:lnTo>
                    <a:lnTo>
                      <a:pt x="3872200" y="8498844"/>
                    </a:lnTo>
                    <a:lnTo>
                      <a:pt x="3909785" y="8516287"/>
                    </a:lnTo>
                    <a:lnTo>
                      <a:pt x="3940200" y="8522038"/>
                    </a:lnTo>
                    <a:lnTo>
                      <a:pt x="3996158" y="8542601"/>
                    </a:lnTo>
                    <a:lnTo>
                      <a:pt x="4032272" y="8560427"/>
                    </a:lnTo>
                    <a:lnTo>
                      <a:pt x="4068359" y="8575390"/>
                    </a:lnTo>
                    <a:lnTo>
                      <a:pt x="4118566" y="8562221"/>
                    </a:lnTo>
                    <a:lnTo>
                      <a:pt x="4152688" y="8538664"/>
                    </a:lnTo>
                    <a:lnTo>
                      <a:pt x="4186811" y="8515113"/>
                    </a:lnTo>
                    <a:lnTo>
                      <a:pt x="4221117" y="8487955"/>
                    </a:lnTo>
                    <a:lnTo>
                      <a:pt x="4260443" y="8471528"/>
                    </a:lnTo>
                    <a:lnTo>
                      <a:pt x="4293852" y="8463073"/>
                    </a:lnTo>
                    <a:lnTo>
                      <a:pt x="4315912" y="8458410"/>
                    </a:lnTo>
                    <a:lnTo>
                      <a:pt x="4347482" y="8451743"/>
                    </a:lnTo>
                    <a:lnTo>
                      <a:pt x="4374329" y="8449382"/>
                    </a:lnTo>
                    <a:lnTo>
                      <a:pt x="4400248" y="8454328"/>
                    </a:lnTo>
                    <a:lnTo>
                      <a:pt x="4426166" y="8459280"/>
                    </a:lnTo>
                    <a:lnTo>
                      <a:pt x="4450330" y="8471501"/>
                    </a:lnTo>
                    <a:lnTo>
                      <a:pt x="4475054" y="8492413"/>
                    </a:lnTo>
                    <a:lnTo>
                      <a:pt x="4510422" y="8522341"/>
                    </a:lnTo>
                    <a:lnTo>
                      <a:pt x="4599302" y="8540662"/>
                    </a:lnTo>
                    <a:lnTo>
                      <a:pt x="4620597" y="8540022"/>
                    </a:lnTo>
                    <a:lnTo>
                      <a:pt x="4650881" y="8507101"/>
                    </a:lnTo>
                    <a:lnTo>
                      <a:pt x="4647055" y="8476546"/>
                    </a:lnTo>
                    <a:lnTo>
                      <a:pt x="4642360" y="8446170"/>
                    </a:lnTo>
                    <a:lnTo>
                      <a:pt x="4637374" y="8416341"/>
                    </a:lnTo>
                    <a:lnTo>
                      <a:pt x="4636458" y="8388946"/>
                    </a:lnTo>
                    <a:lnTo>
                      <a:pt x="4643718" y="8365917"/>
                    </a:lnTo>
                    <a:lnTo>
                      <a:pt x="4671285" y="8360423"/>
                    </a:lnTo>
                    <a:lnTo>
                      <a:pt x="4693121" y="8367645"/>
                    </a:lnTo>
                    <a:lnTo>
                      <a:pt x="4713090" y="8380881"/>
                    </a:lnTo>
                    <a:lnTo>
                      <a:pt x="4733060" y="8394116"/>
                    </a:lnTo>
                    <a:lnTo>
                      <a:pt x="4750820" y="8412846"/>
                    </a:lnTo>
                    <a:lnTo>
                      <a:pt x="4767499" y="8432565"/>
                    </a:lnTo>
                    <a:lnTo>
                      <a:pt x="4784177" y="8452290"/>
                    </a:lnTo>
                    <a:lnTo>
                      <a:pt x="4800136" y="8473018"/>
                    </a:lnTo>
                    <a:lnTo>
                      <a:pt x="4817824" y="8486973"/>
                    </a:lnTo>
                    <a:lnTo>
                      <a:pt x="4836487" y="8498692"/>
                    </a:lnTo>
                    <a:lnTo>
                      <a:pt x="4866171" y="8506678"/>
                    </a:lnTo>
                    <a:lnTo>
                      <a:pt x="5019134" y="8480180"/>
                    </a:lnTo>
                    <a:lnTo>
                      <a:pt x="5049681" y="8485726"/>
                    </a:lnTo>
                    <a:lnTo>
                      <a:pt x="5086375" y="8509818"/>
                    </a:lnTo>
                    <a:lnTo>
                      <a:pt x="5101438" y="8529312"/>
                    </a:lnTo>
                    <a:lnTo>
                      <a:pt x="5110268" y="8550911"/>
                    </a:lnTo>
                    <a:lnTo>
                      <a:pt x="5119099" y="8572502"/>
                    </a:lnTo>
                    <a:lnTo>
                      <a:pt x="5122073" y="8596547"/>
                    </a:lnTo>
                    <a:lnTo>
                      <a:pt x="5122509" y="8621641"/>
                    </a:lnTo>
                    <a:lnTo>
                      <a:pt x="5122970" y="8646734"/>
                    </a:lnTo>
                    <a:lnTo>
                      <a:pt x="5119890" y="8672639"/>
                    </a:lnTo>
                    <a:lnTo>
                      <a:pt x="5117068" y="8697812"/>
                    </a:lnTo>
                    <a:lnTo>
                      <a:pt x="5114298" y="8722503"/>
                    </a:lnTo>
                    <a:lnTo>
                      <a:pt x="5111278" y="8745691"/>
                    </a:lnTo>
                    <a:lnTo>
                      <a:pt x="5110268" y="8767177"/>
                    </a:lnTo>
                    <a:lnTo>
                      <a:pt x="5129875" y="8737487"/>
                    </a:lnTo>
                    <a:lnTo>
                      <a:pt x="5149864" y="8722200"/>
                    </a:lnTo>
                    <a:lnTo>
                      <a:pt x="5174199" y="8703252"/>
                    </a:lnTo>
                    <a:lnTo>
                      <a:pt x="5198534" y="8684299"/>
                    </a:lnTo>
                    <a:lnTo>
                      <a:pt x="5227110" y="8661830"/>
                    </a:lnTo>
                    <a:lnTo>
                      <a:pt x="5254453" y="8639321"/>
                    </a:lnTo>
                    <a:lnTo>
                      <a:pt x="5281795" y="8616813"/>
                    </a:lnTo>
                    <a:lnTo>
                      <a:pt x="5307442" y="8593989"/>
                    </a:lnTo>
                    <a:lnTo>
                      <a:pt x="5329259" y="8572674"/>
                    </a:lnTo>
                    <a:lnTo>
                      <a:pt x="5351082" y="8551352"/>
                    </a:lnTo>
                    <a:lnTo>
                      <a:pt x="5369098" y="8532286"/>
                    </a:lnTo>
                    <a:lnTo>
                      <a:pt x="5381504" y="8507727"/>
                    </a:lnTo>
                    <a:lnTo>
                      <a:pt x="5390472" y="8486980"/>
                    </a:lnTo>
                    <a:lnTo>
                      <a:pt x="5404071" y="8458417"/>
                    </a:lnTo>
                    <a:lnTo>
                      <a:pt x="5415019" y="8439397"/>
                    </a:lnTo>
                    <a:lnTo>
                      <a:pt x="5428492" y="8423028"/>
                    </a:lnTo>
                    <a:lnTo>
                      <a:pt x="5444880" y="8409449"/>
                    </a:lnTo>
                    <a:lnTo>
                      <a:pt x="5467877" y="8403943"/>
                    </a:lnTo>
                    <a:lnTo>
                      <a:pt x="5498055" y="8406798"/>
                    </a:lnTo>
                    <a:lnTo>
                      <a:pt x="5530568" y="8412173"/>
                    </a:lnTo>
                    <a:lnTo>
                      <a:pt x="5561261" y="8414489"/>
                    </a:lnTo>
                    <a:lnTo>
                      <a:pt x="5584218" y="8407135"/>
                    </a:lnTo>
                    <a:lnTo>
                      <a:pt x="5594499" y="8383611"/>
                    </a:lnTo>
                    <a:lnTo>
                      <a:pt x="5605381" y="8289759"/>
                    </a:lnTo>
                    <a:lnTo>
                      <a:pt x="5590417" y="8258473"/>
                    </a:lnTo>
                    <a:lnTo>
                      <a:pt x="5550669" y="8251588"/>
                    </a:lnTo>
                    <a:lnTo>
                      <a:pt x="5527851" y="8247591"/>
                    </a:lnTo>
                    <a:lnTo>
                      <a:pt x="5505033" y="8243594"/>
                    </a:lnTo>
                    <a:lnTo>
                      <a:pt x="5484292" y="8237178"/>
                    </a:lnTo>
                    <a:lnTo>
                      <a:pt x="5453038" y="8185019"/>
                    </a:lnTo>
                    <a:lnTo>
                      <a:pt x="5431275" y="8146933"/>
                    </a:lnTo>
                    <a:lnTo>
                      <a:pt x="5409512" y="8108848"/>
                    </a:lnTo>
                    <a:lnTo>
                      <a:pt x="5387749" y="8070762"/>
                    </a:lnTo>
                    <a:lnTo>
                      <a:pt x="5362992" y="8038222"/>
                    </a:lnTo>
                    <a:lnTo>
                      <a:pt x="5344222" y="8021795"/>
                    </a:lnTo>
                    <a:lnTo>
                      <a:pt x="5325460" y="8005373"/>
                    </a:lnTo>
                    <a:lnTo>
                      <a:pt x="5303479" y="7988517"/>
                    </a:lnTo>
                    <a:lnTo>
                      <a:pt x="5283015" y="7972827"/>
                    </a:lnTo>
                    <a:lnTo>
                      <a:pt x="5262544" y="7957145"/>
                    </a:lnTo>
                    <a:lnTo>
                      <a:pt x="5243314" y="7942366"/>
                    </a:lnTo>
                    <a:lnTo>
                      <a:pt x="5213901" y="7913526"/>
                    </a:lnTo>
                    <a:lnTo>
                      <a:pt x="5201403" y="7887140"/>
                    </a:lnTo>
                    <a:lnTo>
                      <a:pt x="5230744" y="7857489"/>
                    </a:lnTo>
                    <a:lnTo>
                      <a:pt x="5259893" y="7861294"/>
                    </a:lnTo>
                    <a:lnTo>
                      <a:pt x="5286550" y="7870850"/>
                    </a:lnTo>
                    <a:lnTo>
                      <a:pt x="5312119" y="7878936"/>
                    </a:lnTo>
                    <a:lnTo>
                      <a:pt x="5342864" y="7872176"/>
                    </a:lnTo>
                    <a:lnTo>
                      <a:pt x="5381253" y="7844616"/>
                    </a:lnTo>
                    <a:lnTo>
                      <a:pt x="5409512" y="7809610"/>
                    </a:lnTo>
                    <a:lnTo>
                      <a:pt x="5436089" y="7776695"/>
                    </a:lnTo>
                    <a:lnTo>
                      <a:pt x="5465364" y="7734547"/>
                    </a:lnTo>
                    <a:lnTo>
                      <a:pt x="5478884" y="7693995"/>
                    </a:lnTo>
                    <a:lnTo>
                      <a:pt x="5455122" y="7646650"/>
                    </a:lnTo>
                    <a:lnTo>
                      <a:pt x="5414992" y="7621622"/>
                    </a:lnTo>
                    <a:lnTo>
                      <a:pt x="5378219" y="7597419"/>
                    </a:lnTo>
                    <a:lnTo>
                      <a:pt x="5341446" y="7573210"/>
                    </a:lnTo>
                    <a:lnTo>
                      <a:pt x="5307562" y="7550160"/>
                    </a:lnTo>
                    <a:lnTo>
                      <a:pt x="5296607" y="7529406"/>
                    </a:lnTo>
                    <a:lnTo>
                      <a:pt x="5307423" y="7491492"/>
                    </a:lnTo>
                    <a:lnTo>
                      <a:pt x="5350144" y="7424672"/>
                    </a:lnTo>
                    <a:lnTo>
                      <a:pt x="5370061" y="7412432"/>
                    </a:lnTo>
                    <a:lnTo>
                      <a:pt x="5402402" y="7408792"/>
                    </a:lnTo>
                    <a:lnTo>
                      <a:pt x="5435648" y="7418790"/>
                    </a:lnTo>
                    <a:lnTo>
                      <a:pt x="5465272" y="7430113"/>
                    </a:lnTo>
                    <a:lnTo>
                      <a:pt x="5508739" y="7441470"/>
                    </a:lnTo>
                    <a:lnTo>
                      <a:pt x="5590792" y="7458867"/>
                    </a:lnTo>
                    <a:lnTo>
                      <a:pt x="5673380" y="7470916"/>
                    </a:lnTo>
                    <a:lnTo>
                      <a:pt x="5714678" y="7476944"/>
                    </a:lnTo>
                    <a:lnTo>
                      <a:pt x="5756437" y="7480940"/>
                    </a:lnTo>
                    <a:lnTo>
                      <a:pt x="5793078" y="7483163"/>
                    </a:lnTo>
                    <a:lnTo>
                      <a:pt x="5829726" y="7485385"/>
                    </a:lnTo>
                    <a:lnTo>
                      <a:pt x="5860485" y="7486052"/>
                    </a:lnTo>
                    <a:lnTo>
                      <a:pt x="5882854" y="7481804"/>
                    </a:lnTo>
                    <a:lnTo>
                      <a:pt x="5915341" y="7469386"/>
                    </a:lnTo>
                    <a:lnTo>
                      <a:pt x="5937421" y="7445249"/>
                    </a:lnTo>
                    <a:lnTo>
                      <a:pt x="5950861" y="7412432"/>
                    </a:lnTo>
                    <a:lnTo>
                      <a:pt x="5962086" y="7378996"/>
                    </a:lnTo>
                    <a:lnTo>
                      <a:pt x="5963075" y="7340627"/>
                    </a:lnTo>
                    <a:lnTo>
                      <a:pt x="5959026" y="7313140"/>
                    </a:lnTo>
                    <a:lnTo>
                      <a:pt x="5951890" y="7264719"/>
                    </a:lnTo>
                    <a:lnTo>
                      <a:pt x="5926974" y="7221391"/>
                    </a:lnTo>
                    <a:lnTo>
                      <a:pt x="5903259" y="7179837"/>
                    </a:lnTo>
                    <a:lnTo>
                      <a:pt x="5887636" y="7152508"/>
                    </a:lnTo>
                    <a:lnTo>
                      <a:pt x="5878773" y="7111830"/>
                    </a:lnTo>
                    <a:lnTo>
                      <a:pt x="5904617" y="7075334"/>
                    </a:lnTo>
                    <a:lnTo>
                      <a:pt x="6017048" y="7093931"/>
                    </a:lnTo>
                    <a:lnTo>
                      <a:pt x="6120634" y="7097736"/>
                    </a:lnTo>
                    <a:lnTo>
                      <a:pt x="6214743" y="7128152"/>
                    </a:lnTo>
                    <a:lnTo>
                      <a:pt x="6246669" y="7108064"/>
                    </a:lnTo>
                    <a:lnTo>
                      <a:pt x="6240588" y="7081903"/>
                    </a:lnTo>
                    <a:lnTo>
                      <a:pt x="6219102" y="7059097"/>
                    </a:lnTo>
                    <a:lnTo>
                      <a:pt x="6201138" y="7047899"/>
                    </a:lnTo>
                    <a:lnTo>
                      <a:pt x="6165216" y="7025503"/>
                    </a:lnTo>
                    <a:lnTo>
                      <a:pt x="6118028" y="7003139"/>
                    </a:lnTo>
                    <a:lnTo>
                      <a:pt x="6101845" y="6973087"/>
                    </a:lnTo>
                    <a:lnTo>
                      <a:pt x="6102109" y="6943120"/>
                    </a:lnTo>
                    <a:lnTo>
                      <a:pt x="6132749" y="6925886"/>
                    </a:lnTo>
                    <a:lnTo>
                      <a:pt x="6152112" y="6913640"/>
                    </a:lnTo>
                    <a:lnTo>
                      <a:pt x="6167135" y="6894198"/>
                    </a:lnTo>
                    <a:lnTo>
                      <a:pt x="6174310" y="6873134"/>
                    </a:lnTo>
                    <a:lnTo>
                      <a:pt x="6167794" y="6848436"/>
                    </a:lnTo>
                    <a:lnTo>
                      <a:pt x="6157611" y="6823468"/>
                    </a:lnTo>
                    <a:lnTo>
                      <a:pt x="6147442" y="6798500"/>
                    </a:lnTo>
                    <a:lnTo>
                      <a:pt x="6133494" y="6773545"/>
                    </a:lnTo>
                    <a:lnTo>
                      <a:pt x="6129049" y="6751372"/>
                    </a:lnTo>
                    <a:lnTo>
                      <a:pt x="6164417" y="6741850"/>
                    </a:lnTo>
                    <a:lnTo>
                      <a:pt x="6190513" y="6774092"/>
                    </a:lnTo>
                    <a:lnTo>
                      <a:pt x="6215693" y="6797767"/>
                    </a:lnTo>
                    <a:lnTo>
                      <a:pt x="6241947" y="6815297"/>
                    </a:lnTo>
                    <a:lnTo>
                      <a:pt x="6268201" y="6832832"/>
                    </a:lnTo>
                    <a:lnTo>
                      <a:pt x="6295478" y="6844301"/>
                    </a:lnTo>
                    <a:lnTo>
                      <a:pt x="6323559" y="6853382"/>
                    </a:lnTo>
                    <a:lnTo>
                      <a:pt x="6379721" y="6871558"/>
                    </a:lnTo>
                    <a:lnTo>
                      <a:pt x="6440441" y="6878997"/>
                    </a:lnTo>
                    <a:lnTo>
                      <a:pt x="6513986" y="6900991"/>
                    </a:lnTo>
                    <a:lnTo>
                      <a:pt x="6541831" y="6865055"/>
                    </a:lnTo>
                    <a:lnTo>
                      <a:pt x="6554242" y="6837211"/>
                    </a:lnTo>
                    <a:lnTo>
                      <a:pt x="6577917" y="6815297"/>
                    </a:lnTo>
                    <a:lnTo>
                      <a:pt x="6604079" y="6803973"/>
                    </a:lnTo>
                    <a:lnTo>
                      <a:pt x="6647033" y="6791561"/>
                    </a:lnTo>
                    <a:lnTo>
                      <a:pt x="6687729" y="6777382"/>
                    </a:lnTo>
                    <a:lnTo>
                      <a:pt x="6720737" y="6762254"/>
                    </a:lnTo>
                    <a:lnTo>
                      <a:pt x="6741907" y="6752540"/>
                    </a:lnTo>
                    <a:lnTo>
                      <a:pt x="6763010" y="6737536"/>
                    </a:lnTo>
                    <a:lnTo>
                      <a:pt x="6784668" y="6729609"/>
                    </a:lnTo>
                    <a:lnTo>
                      <a:pt x="6820603" y="6716472"/>
                    </a:lnTo>
                    <a:lnTo>
                      <a:pt x="6861604" y="6713880"/>
                    </a:lnTo>
                    <a:lnTo>
                      <a:pt x="6898925" y="6699682"/>
                    </a:lnTo>
                    <a:lnTo>
                      <a:pt x="6926340" y="6674304"/>
                    </a:lnTo>
                    <a:lnTo>
                      <a:pt x="6935968" y="6636304"/>
                    </a:lnTo>
                    <a:lnTo>
                      <a:pt x="6961491" y="6611270"/>
                    </a:lnTo>
                    <a:lnTo>
                      <a:pt x="7012370" y="6595376"/>
                    </a:lnTo>
                    <a:lnTo>
                      <a:pt x="7069713" y="6599030"/>
                    </a:lnTo>
                    <a:lnTo>
                      <a:pt x="7121997" y="6599030"/>
                    </a:lnTo>
                    <a:lnTo>
                      <a:pt x="7165247" y="6599030"/>
                    </a:lnTo>
                    <a:lnTo>
                      <a:pt x="7190664" y="6597579"/>
                    </a:lnTo>
                    <a:lnTo>
                      <a:pt x="7213126" y="6603105"/>
                    </a:lnTo>
                    <a:lnTo>
                      <a:pt x="7235594" y="6608632"/>
                    </a:lnTo>
                    <a:lnTo>
                      <a:pt x="7254106" y="6621209"/>
                    </a:lnTo>
                    <a:lnTo>
                      <a:pt x="7283856" y="6650714"/>
                    </a:lnTo>
                    <a:lnTo>
                      <a:pt x="7317951" y="6684520"/>
                    </a:lnTo>
                    <a:lnTo>
                      <a:pt x="7351335" y="6722375"/>
                    </a:lnTo>
                    <a:lnTo>
                      <a:pt x="7381790" y="6759524"/>
                    </a:lnTo>
                    <a:lnTo>
                      <a:pt x="7368185" y="6813938"/>
                    </a:lnTo>
                    <a:lnTo>
                      <a:pt x="7388484" y="6834679"/>
                    </a:lnTo>
                    <a:lnTo>
                      <a:pt x="7435499" y="6840423"/>
                    </a:lnTo>
                    <a:lnTo>
                      <a:pt x="7525566" y="6844901"/>
                    </a:lnTo>
                    <a:lnTo>
                      <a:pt x="7559978" y="6861540"/>
                    </a:lnTo>
                    <a:lnTo>
                      <a:pt x="7602304" y="6890479"/>
                    </a:lnTo>
                    <a:lnTo>
                      <a:pt x="7628934" y="6914959"/>
                    </a:lnTo>
                    <a:lnTo>
                      <a:pt x="7656256" y="6950360"/>
                    </a:lnTo>
                    <a:lnTo>
                      <a:pt x="7687834" y="6977155"/>
                    </a:lnTo>
                    <a:lnTo>
                      <a:pt x="7720248" y="7002308"/>
                    </a:lnTo>
                    <a:lnTo>
                      <a:pt x="7756070" y="7014582"/>
                    </a:lnTo>
                    <a:lnTo>
                      <a:pt x="7795291" y="7008442"/>
                    </a:lnTo>
                    <a:lnTo>
                      <a:pt x="7821387" y="6985386"/>
                    </a:lnTo>
                    <a:lnTo>
                      <a:pt x="7829914" y="6921560"/>
                    </a:lnTo>
                    <a:lnTo>
                      <a:pt x="7829914" y="6849004"/>
                    </a:lnTo>
                    <a:lnTo>
                      <a:pt x="7849699" y="6796251"/>
                    </a:lnTo>
                    <a:lnTo>
                      <a:pt x="7860923" y="6766323"/>
                    </a:lnTo>
                    <a:lnTo>
                      <a:pt x="7872814" y="6747507"/>
                    </a:lnTo>
                    <a:lnTo>
                      <a:pt x="7897307" y="6717138"/>
                    </a:lnTo>
                    <a:lnTo>
                      <a:pt x="7919071" y="6692876"/>
                    </a:lnTo>
                    <a:lnTo>
                      <a:pt x="7936218" y="6666746"/>
                    </a:lnTo>
                    <a:lnTo>
                      <a:pt x="7939468" y="6645267"/>
                    </a:lnTo>
                    <a:lnTo>
                      <a:pt x="7942727" y="6623794"/>
                    </a:lnTo>
                    <a:lnTo>
                      <a:pt x="7942146" y="6595291"/>
                    </a:lnTo>
                    <a:lnTo>
                      <a:pt x="7935393" y="6552774"/>
                    </a:lnTo>
                    <a:lnTo>
                      <a:pt x="7919071" y="6454839"/>
                    </a:lnTo>
                    <a:lnTo>
                      <a:pt x="7910807" y="6402984"/>
                    </a:lnTo>
                    <a:lnTo>
                      <a:pt x="7934463" y="6295975"/>
                    </a:lnTo>
                    <a:lnTo>
                      <a:pt x="7928593" y="6234490"/>
                    </a:lnTo>
                    <a:lnTo>
                      <a:pt x="7925038" y="6198363"/>
                    </a:lnTo>
                    <a:lnTo>
                      <a:pt x="7943532" y="6150583"/>
                    </a:lnTo>
                    <a:lnTo>
                      <a:pt x="7963870" y="6124164"/>
                    </a:lnTo>
                    <a:lnTo>
                      <a:pt x="8050138" y="6099169"/>
                    </a:lnTo>
                    <a:lnTo>
                      <a:pt x="8085018" y="6068549"/>
                    </a:lnTo>
                    <a:lnTo>
                      <a:pt x="8104790" y="6051172"/>
                    </a:lnTo>
                    <a:lnTo>
                      <a:pt x="8121436" y="6028756"/>
                    </a:lnTo>
                    <a:lnTo>
                      <a:pt x="8140785" y="6010059"/>
                    </a:lnTo>
                    <a:lnTo>
                      <a:pt x="8160134" y="5991356"/>
                    </a:lnTo>
                    <a:lnTo>
                      <a:pt x="8182418" y="5976181"/>
                    </a:lnTo>
                    <a:lnTo>
                      <a:pt x="8210156" y="5971973"/>
                    </a:lnTo>
                    <a:lnTo>
                      <a:pt x="8248295" y="5966183"/>
                    </a:lnTo>
                    <a:lnTo>
                      <a:pt x="8270692" y="5973483"/>
                    </a:lnTo>
                    <a:lnTo>
                      <a:pt x="8290404" y="5982855"/>
                    </a:lnTo>
                    <a:lnTo>
                      <a:pt x="8310116" y="5992226"/>
                    </a:lnTo>
                    <a:lnTo>
                      <a:pt x="8350251" y="6003253"/>
                    </a:lnTo>
                    <a:lnTo>
                      <a:pt x="8374547" y="5985849"/>
                    </a:lnTo>
                    <a:lnTo>
                      <a:pt x="8400538" y="5943068"/>
                    </a:lnTo>
                    <a:lnTo>
                      <a:pt x="8414182" y="5917566"/>
                    </a:lnTo>
                    <a:lnTo>
                      <a:pt x="8403856" y="5895855"/>
                    </a:lnTo>
                    <a:lnTo>
                      <a:pt x="8378266" y="5879427"/>
                    </a:lnTo>
                    <a:lnTo>
                      <a:pt x="8343453" y="5864516"/>
                    </a:lnTo>
                    <a:lnTo>
                      <a:pt x="8307570" y="5849737"/>
                    </a:lnTo>
                    <a:lnTo>
                      <a:pt x="8275960" y="5830329"/>
                    </a:lnTo>
                    <a:lnTo>
                      <a:pt x="8255041" y="5803308"/>
                    </a:lnTo>
                    <a:lnTo>
                      <a:pt x="8255041" y="5781545"/>
                    </a:lnTo>
                    <a:lnTo>
                      <a:pt x="8270803" y="5751486"/>
                    </a:lnTo>
                    <a:lnTo>
                      <a:pt x="8287844" y="5729301"/>
                    </a:lnTo>
                    <a:lnTo>
                      <a:pt x="8305367" y="5712174"/>
                    </a:lnTo>
                    <a:lnTo>
                      <a:pt x="8322890" y="5695047"/>
                    </a:lnTo>
                    <a:lnTo>
                      <a:pt x="8340287" y="5682727"/>
                    </a:lnTo>
                    <a:lnTo>
                      <a:pt x="8390587" y="5652728"/>
                    </a:lnTo>
                    <a:lnTo>
                      <a:pt x="8420534" y="5641899"/>
                    </a:lnTo>
                    <a:lnTo>
                      <a:pt x="8435947" y="5615598"/>
                    </a:lnTo>
                    <a:lnTo>
                      <a:pt x="8444769" y="5555920"/>
                    </a:lnTo>
                    <a:lnTo>
                      <a:pt x="8447138" y="5532503"/>
                    </a:lnTo>
                    <a:lnTo>
                      <a:pt x="8442752" y="5508147"/>
                    </a:lnTo>
                    <a:lnTo>
                      <a:pt x="8429595" y="5489220"/>
                    </a:lnTo>
                    <a:lnTo>
                      <a:pt x="8409916" y="5466632"/>
                    </a:lnTo>
                    <a:lnTo>
                      <a:pt x="8382903" y="5441493"/>
                    </a:lnTo>
                    <a:lnTo>
                      <a:pt x="8347865" y="5419175"/>
                    </a:lnTo>
                    <a:lnTo>
                      <a:pt x="8314567" y="5395803"/>
                    </a:lnTo>
                    <a:lnTo>
                      <a:pt x="8294492" y="5368045"/>
                    </a:lnTo>
                    <a:lnTo>
                      <a:pt x="8289743" y="5336311"/>
                    </a:lnTo>
                    <a:lnTo>
                      <a:pt x="8305373" y="5314996"/>
                    </a:lnTo>
                    <a:lnTo>
                      <a:pt x="8319895" y="5295191"/>
                    </a:lnTo>
                    <a:lnTo>
                      <a:pt x="8351617" y="5278268"/>
                    </a:lnTo>
                    <a:lnTo>
                      <a:pt x="8393145" y="5269708"/>
                    </a:lnTo>
                    <a:lnTo>
                      <a:pt x="8441749" y="5263965"/>
                    </a:lnTo>
                    <a:lnTo>
                      <a:pt x="8470827" y="5263008"/>
                    </a:lnTo>
                    <a:lnTo>
                      <a:pt x="8499878" y="5260588"/>
                    </a:lnTo>
                    <a:lnTo>
                      <a:pt x="8564956" y="5255167"/>
                    </a:lnTo>
                    <a:lnTo>
                      <a:pt x="8640725" y="5229242"/>
                    </a:lnTo>
                    <a:lnTo>
                      <a:pt x="8705268" y="5227943"/>
                    </a:lnTo>
                    <a:lnTo>
                      <a:pt x="8724354" y="5214826"/>
                    </a:lnTo>
                    <a:lnTo>
                      <a:pt x="8732432" y="5194810"/>
                    </a:lnTo>
                    <a:lnTo>
                      <a:pt x="8732467" y="5170811"/>
                    </a:lnTo>
                    <a:lnTo>
                      <a:pt x="8731265" y="5146628"/>
                    </a:lnTo>
                    <a:lnTo>
                      <a:pt x="8722903" y="5120704"/>
                    </a:lnTo>
                    <a:lnTo>
                      <a:pt x="8716849" y="5080316"/>
                    </a:lnTo>
                    <a:lnTo>
                      <a:pt x="8720424" y="5017836"/>
                    </a:lnTo>
                    <a:lnTo>
                      <a:pt x="8697994" y="4989550"/>
                    </a:lnTo>
                    <a:lnTo>
                      <a:pt x="8671259" y="4965426"/>
                    </a:lnTo>
                    <a:lnTo>
                      <a:pt x="8670481" y="4936851"/>
                    </a:lnTo>
                    <a:lnTo>
                      <a:pt x="8664065" y="4907167"/>
                    </a:lnTo>
                    <a:lnTo>
                      <a:pt x="8653578" y="4878373"/>
                    </a:lnTo>
                    <a:lnTo>
                      <a:pt x="8643092" y="4849581"/>
                    </a:lnTo>
                    <a:lnTo>
                      <a:pt x="8627766" y="4821684"/>
                    </a:lnTo>
                    <a:lnTo>
                      <a:pt x="8610051" y="4795403"/>
                    </a:lnTo>
                    <a:lnTo>
                      <a:pt x="8592337" y="4769123"/>
                    </a:lnTo>
                    <a:lnTo>
                      <a:pt x="8572665" y="4744345"/>
                    </a:lnTo>
                    <a:lnTo>
                      <a:pt x="8550203" y="4723308"/>
                    </a:lnTo>
                    <a:lnTo>
                      <a:pt x="8527741" y="4702276"/>
                    </a:lnTo>
                    <a:lnTo>
                      <a:pt x="8502839" y="4684674"/>
                    </a:lnTo>
                    <a:lnTo>
                      <a:pt x="8478115" y="4671623"/>
                    </a:lnTo>
                    <a:lnTo>
                      <a:pt x="8449485" y="4672982"/>
                    </a:lnTo>
                    <a:lnTo>
                      <a:pt x="8428823" y="4678000"/>
                    </a:lnTo>
                    <a:lnTo>
                      <a:pt x="8396819" y="4689726"/>
                    </a:lnTo>
                    <a:lnTo>
                      <a:pt x="8376098" y="4704269"/>
                    </a:lnTo>
                    <a:lnTo>
                      <a:pt x="8357624" y="4718553"/>
                    </a:lnTo>
                    <a:lnTo>
                      <a:pt x="8320330" y="4731472"/>
                    </a:lnTo>
                    <a:lnTo>
                      <a:pt x="8283519" y="4709347"/>
                    </a:lnTo>
                    <a:lnTo>
                      <a:pt x="8238528" y="4688625"/>
                    </a:lnTo>
                    <a:lnTo>
                      <a:pt x="8196550" y="4678423"/>
                    </a:lnTo>
                    <a:lnTo>
                      <a:pt x="8208534" y="4633281"/>
                    </a:lnTo>
                    <a:lnTo>
                      <a:pt x="8221823" y="4546953"/>
                    </a:lnTo>
                    <a:lnTo>
                      <a:pt x="8216955" y="4502959"/>
                    </a:lnTo>
                    <a:lnTo>
                      <a:pt x="8209009" y="4459855"/>
                    </a:lnTo>
                    <a:lnTo>
                      <a:pt x="8289131" y="4450542"/>
                    </a:lnTo>
                    <a:lnTo>
                      <a:pt x="8366428" y="4438672"/>
                    </a:lnTo>
                    <a:lnTo>
                      <a:pt x="8435947" y="4419988"/>
                    </a:lnTo>
                    <a:lnTo>
                      <a:pt x="8480284" y="4408071"/>
                    </a:lnTo>
                    <a:lnTo>
                      <a:pt x="8518356" y="4397045"/>
                    </a:lnTo>
                    <a:lnTo>
                      <a:pt x="8547479" y="4376455"/>
                    </a:lnTo>
                    <a:lnTo>
                      <a:pt x="8574275" y="4353512"/>
                    </a:lnTo>
                    <a:lnTo>
                      <a:pt x="8594145" y="4320511"/>
                    </a:lnTo>
                    <a:lnTo>
                      <a:pt x="8602580" y="4299855"/>
                    </a:lnTo>
                    <a:lnTo>
                      <a:pt x="8607328" y="4274445"/>
                    </a:lnTo>
                    <a:lnTo>
                      <a:pt x="8605977" y="4231387"/>
                    </a:lnTo>
                    <a:lnTo>
                      <a:pt x="8608680" y="4192629"/>
                    </a:lnTo>
                    <a:lnTo>
                      <a:pt x="8614260" y="4171241"/>
                    </a:lnTo>
                    <a:lnTo>
                      <a:pt x="8614002" y="4130093"/>
                    </a:lnTo>
                    <a:lnTo>
                      <a:pt x="8591005" y="4094898"/>
                    </a:lnTo>
                    <a:lnTo>
                      <a:pt x="8551371" y="4060106"/>
                    </a:lnTo>
                    <a:lnTo>
                      <a:pt x="8509440" y="4026505"/>
                    </a:lnTo>
                    <a:lnTo>
                      <a:pt x="8471307" y="3990162"/>
                    </a:lnTo>
                    <a:lnTo>
                      <a:pt x="8450758" y="3970589"/>
                    </a:lnTo>
                    <a:lnTo>
                      <a:pt x="8436176" y="3941068"/>
                    </a:lnTo>
                    <a:lnTo>
                      <a:pt x="8411460" y="3926233"/>
                    </a:lnTo>
                    <a:lnTo>
                      <a:pt x="8389934" y="3913332"/>
                    </a:lnTo>
                    <a:lnTo>
                      <a:pt x="8366428" y="3907424"/>
                    </a:lnTo>
                    <a:lnTo>
                      <a:pt x="8344811" y="3896309"/>
                    </a:lnTo>
                    <a:lnTo>
                      <a:pt x="8319672" y="3877351"/>
                    </a:lnTo>
                    <a:lnTo>
                      <a:pt x="8140785" y="3805175"/>
                    </a:lnTo>
                    <a:lnTo>
                      <a:pt x="8112129" y="3759227"/>
                    </a:lnTo>
                    <a:lnTo>
                      <a:pt x="8058064" y="3687518"/>
                    </a:lnTo>
                    <a:lnTo>
                      <a:pt x="8005740" y="3647073"/>
                    </a:lnTo>
                    <a:lnTo>
                      <a:pt x="7947632" y="3602506"/>
                    </a:lnTo>
                    <a:lnTo>
                      <a:pt x="7916947" y="3578968"/>
                    </a:lnTo>
                    <a:lnTo>
                      <a:pt x="7898666" y="3549458"/>
                    </a:lnTo>
                    <a:lnTo>
                      <a:pt x="7895308" y="3511308"/>
                    </a:lnTo>
                    <a:lnTo>
                      <a:pt x="7891867" y="3469206"/>
                    </a:lnTo>
                    <a:lnTo>
                      <a:pt x="7863193" y="3440345"/>
                    </a:lnTo>
                    <a:lnTo>
                      <a:pt x="7833376" y="3427040"/>
                    </a:lnTo>
                    <a:lnTo>
                      <a:pt x="7803560" y="3413736"/>
                    </a:lnTo>
                    <a:lnTo>
                      <a:pt x="7770969" y="3402142"/>
                    </a:lnTo>
                    <a:lnTo>
                      <a:pt x="7740691" y="3380899"/>
                    </a:lnTo>
                    <a:lnTo>
                      <a:pt x="7731618" y="3354992"/>
                    </a:lnTo>
                    <a:lnTo>
                      <a:pt x="7723203" y="3334547"/>
                    </a:lnTo>
                    <a:lnTo>
                      <a:pt x="7707783" y="3297077"/>
                    </a:lnTo>
                    <a:lnTo>
                      <a:pt x="7710513" y="3265134"/>
                    </a:lnTo>
                    <a:lnTo>
                      <a:pt x="7720485" y="3233892"/>
                    </a:lnTo>
                    <a:lnTo>
                      <a:pt x="7730456" y="3202650"/>
                    </a:lnTo>
                    <a:lnTo>
                      <a:pt x="7747412" y="3172364"/>
                    </a:lnTo>
                    <a:lnTo>
                      <a:pt x="7759929" y="3138678"/>
                    </a:lnTo>
                    <a:lnTo>
                      <a:pt x="7771212" y="3108329"/>
                    </a:lnTo>
                    <a:lnTo>
                      <a:pt x="7788155" y="3074366"/>
                    </a:lnTo>
                    <a:lnTo>
                      <a:pt x="7792574" y="3042104"/>
                    </a:lnTo>
                    <a:lnTo>
                      <a:pt x="7755359" y="3037726"/>
                    </a:lnTo>
                    <a:lnTo>
                      <a:pt x="7701571" y="3097299"/>
                    </a:lnTo>
                    <a:lnTo>
                      <a:pt x="7664718" y="3115555"/>
                    </a:lnTo>
                    <a:lnTo>
                      <a:pt x="7632179" y="3119903"/>
                    </a:lnTo>
                    <a:lnTo>
                      <a:pt x="7592445" y="3119668"/>
                    </a:lnTo>
                    <a:lnTo>
                      <a:pt x="7561343" y="3107394"/>
                    </a:lnTo>
                    <a:lnTo>
                      <a:pt x="7532293" y="3092010"/>
                    </a:lnTo>
                    <a:lnTo>
                      <a:pt x="7514216" y="3065649"/>
                    </a:lnTo>
                    <a:lnTo>
                      <a:pt x="7511011" y="3027141"/>
                    </a:lnTo>
                    <a:lnTo>
                      <a:pt x="7481617" y="3011829"/>
                    </a:lnTo>
                    <a:lnTo>
                      <a:pt x="7460685" y="3018980"/>
                    </a:lnTo>
                    <a:lnTo>
                      <a:pt x="7445899" y="3034110"/>
                    </a:lnTo>
                    <a:lnTo>
                      <a:pt x="7429043" y="3066253"/>
                    </a:lnTo>
                    <a:lnTo>
                      <a:pt x="7422375" y="3093813"/>
                    </a:lnTo>
                    <a:lnTo>
                      <a:pt x="7369491" y="3149751"/>
                    </a:lnTo>
                    <a:lnTo>
                      <a:pt x="7334624" y="3165276"/>
                    </a:lnTo>
                    <a:lnTo>
                      <a:pt x="7305626" y="3160442"/>
                    </a:lnTo>
                    <a:lnTo>
                      <a:pt x="7278719" y="3144699"/>
                    </a:lnTo>
                    <a:lnTo>
                      <a:pt x="7252576" y="3134597"/>
                    </a:lnTo>
                    <a:lnTo>
                      <a:pt x="7216766" y="3120769"/>
                    </a:lnTo>
                    <a:lnTo>
                      <a:pt x="7173603" y="3121062"/>
                    </a:lnTo>
                    <a:lnTo>
                      <a:pt x="7131520" y="3129157"/>
                    </a:lnTo>
                    <a:lnTo>
                      <a:pt x="7089432" y="3137252"/>
                    </a:lnTo>
                    <a:lnTo>
                      <a:pt x="7047304" y="3153248"/>
                    </a:lnTo>
                    <a:lnTo>
                      <a:pt x="7015898" y="3172683"/>
                    </a:lnTo>
                    <a:lnTo>
                      <a:pt x="6996542" y="3193925"/>
                    </a:lnTo>
                    <a:lnTo>
                      <a:pt x="6987772" y="3226465"/>
                    </a:lnTo>
                    <a:lnTo>
                      <a:pt x="6977813" y="3255655"/>
                    </a:lnTo>
                    <a:lnTo>
                      <a:pt x="6968613" y="3283990"/>
                    </a:lnTo>
                    <a:lnTo>
                      <a:pt x="6954374" y="3306212"/>
                    </a:lnTo>
                    <a:lnTo>
                      <a:pt x="6932928" y="3318224"/>
                    </a:lnTo>
                    <a:lnTo>
                      <a:pt x="6895746" y="3307964"/>
                    </a:lnTo>
                    <a:lnTo>
                      <a:pt x="6866742" y="3284958"/>
                    </a:lnTo>
                    <a:lnTo>
                      <a:pt x="6845876" y="3252934"/>
                    </a:lnTo>
                    <a:lnTo>
                      <a:pt x="6827884" y="3218824"/>
                    </a:lnTo>
                    <a:lnTo>
                      <a:pt x="6821316" y="3176710"/>
                    </a:lnTo>
                    <a:lnTo>
                      <a:pt x="6828194" y="3141399"/>
                    </a:lnTo>
                    <a:lnTo>
                      <a:pt x="6838839" y="3086756"/>
                    </a:lnTo>
                    <a:lnTo>
                      <a:pt x="6860668" y="3019257"/>
                    </a:lnTo>
                    <a:lnTo>
                      <a:pt x="6858115" y="2963212"/>
                    </a:lnTo>
                    <a:lnTo>
                      <a:pt x="6855689" y="2910270"/>
                    </a:lnTo>
                    <a:lnTo>
                      <a:pt x="6846192" y="2877988"/>
                    </a:lnTo>
                    <a:lnTo>
                      <a:pt x="6849957" y="2816311"/>
                    </a:lnTo>
                    <a:lnTo>
                      <a:pt x="6853229" y="2763072"/>
                    </a:lnTo>
                    <a:lnTo>
                      <a:pt x="6874036" y="2708473"/>
                    </a:lnTo>
                    <a:lnTo>
                      <a:pt x="6873079" y="2655808"/>
                    </a:lnTo>
                    <a:lnTo>
                      <a:pt x="6872017" y="2596480"/>
                    </a:lnTo>
                    <a:lnTo>
                      <a:pt x="6852029" y="2539308"/>
                    </a:lnTo>
                    <a:lnTo>
                      <a:pt x="6834994" y="2481702"/>
                    </a:lnTo>
                    <a:lnTo>
                      <a:pt x="6826480" y="2452899"/>
                    </a:lnTo>
                    <a:lnTo>
                      <a:pt x="6819073" y="2424186"/>
                    </a:lnTo>
                    <a:lnTo>
                      <a:pt x="6814589" y="2394649"/>
                    </a:lnTo>
                    <a:lnTo>
                      <a:pt x="6810111" y="2365113"/>
                    </a:lnTo>
                    <a:lnTo>
                      <a:pt x="6809676" y="2334561"/>
                    </a:lnTo>
                    <a:lnTo>
                      <a:pt x="6814589" y="2303516"/>
                    </a:lnTo>
                    <a:lnTo>
                      <a:pt x="6820169" y="2268230"/>
                    </a:lnTo>
                    <a:lnTo>
                      <a:pt x="6839057" y="2241314"/>
                    </a:lnTo>
                    <a:lnTo>
                      <a:pt x="6863557" y="2216463"/>
                    </a:lnTo>
                    <a:lnTo>
                      <a:pt x="6888063" y="2191611"/>
                    </a:lnTo>
                    <a:lnTo>
                      <a:pt x="6917825" y="2169578"/>
                    </a:lnTo>
                    <a:lnTo>
                      <a:pt x="6943810" y="2147093"/>
                    </a:lnTo>
                    <a:lnTo>
                      <a:pt x="6969794" y="2124609"/>
                    </a:lnTo>
                    <a:lnTo>
                      <a:pt x="6992276" y="2100467"/>
                    </a:lnTo>
                    <a:lnTo>
                      <a:pt x="7002300" y="2072282"/>
                    </a:lnTo>
                    <a:lnTo>
                      <a:pt x="7008631" y="2043066"/>
                    </a:lnTo>
                    <a:lnTo>
                      <a:pt x="7004126" y="2009005"/>
                    </a:lnTo>
                    <a:lnTo>
                      <a:pt x="6985971" y="1970267"/>
                    </a:lnTo>
                    <a:lnTo>
                      <a:pt x="6961141" y="1949174"/>
                    </a:lnTo>
                    <a:lnTo>
                      <a:pt x="6937689" y="1943262"/>
                    </a:lnTo>
                    <a:lnTo>
                      <a:pt x="6898232" y="1937422"/>
                    </a:lnTo>
                    <a:lnTo>
                      <a:pt x="6871714" y="1926741"/>
                    </a:lnTo>
                    <a:lnTo>
                      <a:pt x="6860344" y="1898804"/>
                    </a:lnTo>
                    <a:lnTo>
                      <a:pt x="6858610" y="1862185"/>
                    </a:lnTo>
                    <a:lnTo>
                      <a:pt x="6847234" y="1835607"/>
                    </a:lnTo>
                    <a:lnTo>
                      <a:pt x="6827172" y="1849762"/>
                    </a:lnTo>
                    <a:lnTo>
                      <a:pt x="6791461" y="1855628"/>
                    </a:lnTo>
                    <a:lnTo>
                      <a:pt x="6768339" y="1853290"/>
                    </a:lnTo>
                    <a:lnTo>
                      <a:pt x="6740397" y="1850456"/>
                    </a:lnTo>
                    <a:lnTo>
                      <a:pt x="6705773" y="1836968"/>
                    </a:lnTo>
                    <a:lnTo>
                      <a:pt x="6680541" y="1820054"/>
                    </a:lnTo>
                    <a:lnTo>
                      <a:pt x="6662372" y="1781022"/>
                    </a:lnTo>
                    <a:lnTo>
                      <a:pt x="6664720" y="1744049"/>
                    </a:lnTo>
                    <a:lnTo>
                      <a:pt x="6663605" y="1694147"/>
                    </a:lnTo>
                    <a:lnTo>
                      <a:pt x="6654590" y="1600782"/>
                    </a:lnTo>
                    <a:lnTo>
                      <a:pt x="6658230" y="1538531"/>
                    </a:lnTo>
                    <a:lnTo>
                      <a:pt x="6666329" y="1453392"/>
                    </a:lnTo>
                    <a:lnTo>
                      <a:pt x="6673966" y="1373076"/>
                    </a:lnTo>
                    <a:lnTo>
                      <a:pt x="6680845" y="1332230"/>
                    </a:lnTo>
                    <a:lnTo>
                      <a:pt x="6698974" y="1294249"/>
                    </a:lnTo>
                    <a:lnTo>
                      <a:pt x="6717104" y="1256267"/>
                    </a:lnTo>
                    <a:lnTo>
                      <a:pt x="6746629" y="1219996"/>
                    </a:lnTo>
                    <a:lnTo>
                      <a:pt x="6796908" y="1151428"/>
                    </a:lnTo>
                    <a:lnTo>
                      <a:pt x="6835792" y="1098397"/>
                    </a:lnTo>
                    <a:lnTo>
                      <a:pt x="6871292" y="1043738"/>
                    </a:lnTo>
                    <a:lnTo>
                      <a:pt x="6920688" y="999085"/>
                    </a:lnTo>
                    <a:lnTo>
                      <a:pt x="6950992" y="971690"/>
                    </a:lnTo>
                    <a:lnTo>
                      <a:pt x="6986742" y="948715"/>
                    </a:lnTo>
                    <a:lnTo>
                      <a:pt x="7018622" y="922914"/>
                    </a:lnTo>
                    <a:lnTo>
                      <a:pt x="7040372" y="905317"/>
                    </a:lnTo>
                    <a:lnTo>
                      <a:pt x="7070016" y="866896"/>
                    </a:lnTo>
                    <a:lnTo>
                      <a:pt x="7094794" y="826340"/>
                    </a:lnTo>
                    <a:lnTo>
                      <a:pt x="7119570" y="785784"/>
                    </a:lnTo>
                    <a:lnTo>
                      <a:pt x="7140008" y="742305"/>
                    </a:lnTo>
                    <a:lnTo>
                      <a:pt x="7143760" y="714803"/>
                    </a:lnTo>
                    <a:lnTo>
                      <a:pt x="7147691" y="685921"/>
                    </a:lnTo>
                    <a:lnTo>
                      <a:pt x="7129245" y="667792"/>
                    </a:lnTo>
                    <a:lnTo>
                      <a:pt x="7121997" y="644073"/>
                    </a:lnTo>
                    <a:lnTo>
                      <a:pt x="7110687" y="607125"/>
                    </a:lnTo>
                    <a:lnTo>
                      <a:pt x="7093415" y="567876"/>
                    </a:lnTo>
                    <a:lnTo>
                      <a:pt x="7089353" y="531177"/>
                    </a:lnTo>
                    <a:lnTo>
                      <a:pt x="7088436" y="494820"/>
                    </a:lnTo>
                    <a:lnTo>
                      <a:pt x="7101151" y="461438"/>
                    </a:lnTo>
                    <a:lnTo>
                      <a:pt x="7132879" y="431882"/>
                    </a:lnTo>
                    <a:lnTo>
                      <a:pt x="7221778" y="391076"/>
                    </a:lnTo>
                    <a:lnTo>
                      <a:pt x="7209083" y="364999"/>
                    </a:lnTo>
                    <a:lnTo>
                      <a:pt x="7108887" y="360674"/>
                    </a:lnTo>
                    <a:lnTo>
                      <a:pt x="7009099" y="357072"/>
                    </a:lnTo>
                    <a:lnTo>
                      <a:pt x="6909312" y="353469"/>
                    </a:lnTo>
                    <a:lnTo>
                      <a:pt x="6809933" y="349484"/>
                    </a:lnTo>
                    <a:lnTo>
                      <a:pt x="6795550" y="333948"/>
                    </a:lnTo>
                    <a:lnTo>
                      <a:pt x="6791909" y="302353"/>
                    </a:lnTo>
                    <a:lnTo>
                      <a:pt x="6794191" y="278180"/>
                    </a:lnTo>
                    <a:lnTo>
                      <a:pt x="6800403" y="240129"/>
                    </a:lnTo>
                    <a:lnTo>
                      <a:pt x="6805073" y="214250"/>
                    </a:lnTo>
                    <a:lnTo>
                      <a:pt x="6772474" y="210557"/>
                    </a:lnTo>
                    <a:lnTo>
                      <a:pt x="6632965" y="184093"/>
                    </a:lnTo>
                    <a:lnTo>
                      <a:pt x="6542404" y="217715"/>
                    </a:lnTo>
                    <a:lnTo>
                      <a:pt x="6431016" y="214250"/>
                    </a:lnTo>
                    <a:lnTo>
                      <a:pt x="6376542" y="212550"/>
                    </a:lnTo>
                    <a:lnTo>
                      <a:pt x="6323348" y="189257"/>
                    </a:lnTo>
                    <a:lnTo>
                      <a:pt x="6269151" y="184326"/>
                    </a:lnTo>
                    <a:lnTo>
                      <a:pt x="6231429" y="180883"/>
                    </a:lnTo>
                    <a:lnTo>
                      <a:pt x="6191344" y="191956"/>
                    </a:lnTo>
                    <a:lnTo>
                      <a:pt x="6153536" y="189767"/>
                    </a:lnTo>
                    <a:lnTo>
                      <a:pt x="6115622" y="187556"/>
                    </a:lnTo>
                    <a:lnTo>
                      <a:pt x="6089671" y="167579"/>
                    </a:lnTo>
                    <a:lnTo>
                      <a:pt x="6058319" y="151681"/>
                    </a:lnTo>
                    <a:lnTo>
                      <a:pt x="6035434" y="140056"/>
                    </a:lnTo>
                    <a:lnTo>
                      <a:pt x="6006252" y="132448"/>
                    </a:lnTo>
                    <a:lnTo>
                      <a:pt x="5982148" y="123117"/>
                    </a:lnTo>
                    <a:lnTo>
                      <a:pt x="5922088" y="99823"/>
                    </a:lnTo>
                    <a:lnTo>
                      <a:pt x="5781649" y="12134"/>
                    </a:lnTo>
                    <a:lnTo>
                      <a:pt x="5722354" y="14301"/>
                    </a:lnTo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700" name="Kherson¬0" descr="Kherson¬0">
                <a:extLst>
                  <a:ext uri="{FF2B5EF4-FFF2-40B4-BE49-F238E27FC236}">
                    <a16:creationId xmlns:a16="http://schemas.microsoft.com/office/drawing/2014/main" id="{E23084EB-6FEE-46A8-B3B1-4D9F997C486C}"/>
                  </a:ext>
                </a:extLst>
              </p:cNvPr>
              <p:cNvSpPr/>
              <p:nvPr/>
            </p:nvSpPr>
            <p:spPr>
              <a:xfrm>
                <a:off x="36694558" y="33193181"/>
                <a:ext cx="1578679" cy="301478"/>
              </a:xfrm>
              <a:custGeom>
                <a:avLst/>
                <a:gdLst/>
                <a:ahLst/>
                <a:cxnLst/>
                <a:rect l="0" t="0" r="0" b="0"/>
                <a:pathLst>
                  <a:path w="1578683" h="301481">
                    <a:moveTo>
                      <a:pt x="1312934" y="144457"/>
                    </a:moveTo>
                    <a:lnTo>
                      <a:pt x="1328874" y="181651"/>
                    </a:lnTo>
                    <a:lnTo>
                      <a:pt x="1373712" y="177912"/>
                    </a:lnTo>
                    <a:lnTo>
                      <a:pt x="1422936" y="173791"/>
                    </a:lnTo>
                    <a:lnTo>
                      <a:pt x="1457626" y="129710"/>
                    </a:lnTo>
                    <a:lnTo>
                      <a:pt x="1513563" y="168648"/>
                    </a:lnTo>
                    <a:lnTo>
                      <a:pt x="1578682" y="214000"/>
                    </a:lnTo>
                    <a:lnTo>
                      <a:pt x="1498256" y="276526"/>
                    </a:lnTo>
                    <a:lnTo>
                      <a:pt x="1449803" y="282730"/>
                    </a:lnTo>
                    <a:lnTo>
                      <a:pt x="1303924" y="301480"/>
                    </a:lnTo>
                    <a:lnTo>
                      <a:pt x="1194767" y="250174"/>
                    </a:lnTo>
                    <a:lnTo>
                      <a:pt x="1053734" y="239034"/>
                    </a:lnTo>
                    <a:lnTo>
                      <a:pt x="986907" y="233766"/>
                    </a:lnTo>
                    <a:lnTo>
                      <a:pt x="904280" y="248004"/>
                    </a:lnTo>
                    <a:lnTo>
                      <a:pt x="845362" y="239567"/>
                    </a:lnTo>
                    <a:lnTo>
                      <a:pt x="779649" y="230169"/>
                    </a:lnTo>
                    <a:lnTo>
                      <a:pt x="722012" y="183288"/>
                    </a:lnTo>
                    <a:lnTo>
                      <a:pt x="652131" y="173295"/>
                    </a:lnTo>
                    <a:lnTo>
                      <a:pt x="612006" y="167559"/>
                    </a:lnTo>
                    <a:lnTo>
                      <a:pt x="471866" y="145499"/>
                    </a:lnTo>
                    <a:lnTo>
                      <a:pt x="441384" y="145499"/>
                    </a:lnTo>
                    <a:lnTo>
                      <a:pt x="397132" y="145499"/>
                    </a:lnTo>
                    <a:lnTo>
                      <a:pt x="349312" y="151790"/>
                    </a:lnTo>
                    <a:lnTo>
                      <a:pt x="305709" y="148605"/>
                    </a:lnTo>
                    <a:lnTo>
                      <a:pt x="269317" y="145967"/>
                    </a:lnTo>
                    <a:lnTo>
                      <a:pt x="110220" y="86079"/>
                    </a:lnTo>
                    <a:lnTo>
                      <a:pt x="66904" y="68945"/>
                    </a:lnTo>
                    <a:lnTo>
                      <a:pt x="0" y="44339"/>
                    </a:lnTo>
                    <a:lnTo>
                      <a:pt x="42887" y="0"/>
                    </a:lnTo>
                    <a:lnTo>
                      <a:pt x="289471" y="81995"/>
                    </a:lnTo>
                    <a:lnTo>
                      <a:pt x="349914" y="99256"/>
                    </a:lnTo>
                    <a:lnTo>
                      <a:pt x="593982" y="129518"/>
                    </a:lnTo>
                    <a:lnTo>
                      <a:pt x="756013" y="116381"/>
                    </a:lnTo>
                    <a:lnTo>
                      <a:pt x="736631" y="51052"/>
                    </a:lnTo>
                    <a:lnTo>
                      <a:pt x="799117" y="34519"/>
                    </a:lnTo>
                    <a:lnTo>
                      <a:pt x="835589" y="35753"/>
                    </a:lnTo>
                    <a:lnTo>
                      <a:pt x="935053" y="43613"/>
                    </a:lnTo>
                    <a:lnTo>
                      <a:pt x="980024" y="108521"/>
                    </a:lnTo>
                    <a:lnTo>
                      <a:pt x="1000302" y="127394"/>
                    </a:lnTo>
                    <a:lnTo>
                      <a:pt x="1066481" y="160502"/>
                    </a:lnTo>
                    <a:lnTo>
                      <a:pt x="1167048" y="39065"/>
                    </a:lnTo>
                    <a:lnTo>
                      <a:pt x="1249347" y="96702"/>
                    </a:lnTo>
                    <a:lnTo>
                      <a:pt x="1273739" y="114812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701" name="Kherson¬1" descr="Kherson¬1">
                <a:extLst>
                  <a:ext uri="{FF2B5EF4-FFF2-40B4-BE49-F238E27FC236}">
                    <a16:creationId xmlns:a16="http://schemas.microsoft.com/office/drawing/2014/main" id="{7CC587A3-297F-42A1-80E4-2377277D927E}"/>
                  </a:ext>
                </a:extLst>
              </p:cNvPr>
              <p:cNvSpPr/>
              <p:nvPr/>
            </p:nvSpPr>
            <p:spPr>
              <a:xfrm>
                <a:off x="36454447" y="33194652"/>
                <a:ext cx="126454" cy="58787"/>
              </a:xfrm>
              <a:custGeom>
                <a:avLst/>
                <a:gdLst/>
                <a:ahLst/>
                <a:cxnLst/>
                <a:rect l="0" t="0" r="0" b="0"/>
                <a:pathLst>
                  <a:path w="126452" h="58788">
                    <a:moveTo>
                      <a:pt x="126451" y="31496"/>
                    </a:moveTo>
                    <a:lnTo>
                      <a:pt x="72984" y="58787"/>
                    </a:lnTo>
                    <a:lnTo>
                      <a:pt x="37703" y="30811"/>
                    </a:lnTo>
                    <a:lnTo>
                      <a:pt x="0" y="20653"/>
                    </a:lnTo>
                    <a:lnTo>
                      <a:pt x="9521" y="726"/>
                    </a:lnTo>
                    <a:lnTo>
                      <a:pt x="40506" y="0"/>
                    </a:lnTo>
                    <a:lnTo>
                      <a:pt x="65757" y="9897"/>
                    </a:lnTo>
                    <a:lnTo>
                      <a:pt x="86456" y="13168"/>
                    </a:lnTo>
                    <a:lnTo>
                      <a:pt x="123350" y="14495"/>
                    </a:lnTo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702" name="Kherson¬2" descr="Kherson¬2">
                <a:extLst>
                  <a:ext uri="{FF2B5EF4-FFF2-40B4-BE49-F238E27FC236}">
                    <a16:creationId xmlns:a16="http://schemas.microsoft.com/office/drawing/2014/main" id="{01A755EC-76A0-4F86-97E5-EB0A00ED20F3}"/>
                  </a:ext>
                </a:extLst>
              </p:cNvPr>
              <p:cNvSpPr/>
              <p:nvPr/>
            </p:nvSpPr>
            <p:spPr>
              <a:xfrm>
                <a:off x="35499076" y="30822293"/>
                <a:ext cx="75452" cy="60676"/>
              </a:xfrm>
              <a:custGeom>
                <a:avLst/>
                <a:gdLst/>
                <a:ahLst/>
                <a:cxnLst/>
                <a:rect l="0" t="0" r="0" b="0"/>
                <a:pathLst>
                  <a:path w="75454" h="60673">
                    <a:moveTo>
                      <a:pt x="34550" y="2378"/>
                    </a:moveTo>
                    <a:lnTo>
                      <a:pt x="67196" y="9264"/>
                    </a:lnTo>
                    <a:lnTo>
                      <a:pt x="75453" y="40081"/>
                    </a:lnTo>
                    <a:lnTo>
                      <a:pt x="58701" y="57122"/>
                    </a:lnTo>
                    <a:lnTo>
                      <a:pt x="36392" y="60672"/>
                    </a:lnTo>
                    <a:lnTo>
                      <a:pt x="7609" y="52446"/>
                    </a:lnTo>
                    <a:lnTo>
                      <a:pt x="0" y="24566"/>
                    </a:lnTo>
                    <a:lnTo>
                      <a:pt x="17897" y="0"/>
                    </a:lnTo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703" name="Kherson¬3" descr="Kherson¬3">
                <a:extLst>
                  <a:ext uri="{FF2B5EF4-FFF2-40B4-BE49-F238E27FC236}">
                    <a16:creationId xmlns:a16="http://schemas.microsoft.com/office/drawing/2014/main" id="{5D78FB7C-19DC-448D-85FF-160A4CBB4B80}"/>
                  </a:ext>
                </a:extLst>
              </p:cNvPr>
              <p:cNvSpPr/>
              <p:nvPr/>
            </p:nvSpPr>
            <p:spPr>
              <a:xfrm>
                <a:off x="35612560" y="30916318"/>
                <a:ext cx="193282" cy="94790"/>
              </a:xfrm>
              <a:custGeom>
                <a:avLst/>
                <a:gdLst/>
                <a:ahLst/>
                <a:cxnLst/>
                <a:rect l="0" t="0" r="0" b="0"/>
                <a:pathLst>
                  <a:path w="193279" h="94789">
                    <a:moveTo>
                      <a:pt x="193278" y="94788"/>
                    </a:moveTo>
                    <a:lnTo>
                      <a:pt x="39998" y="88965"/>
                    </a:lnTo>
                    <a:lnTo>
                      <a:pt x="0" y="52449"/>
                    </a:lnTo>
                    <a:lnTo>
                      <a:pt x="10241" y="24736"/>
                    </a:lnTo>
                    <a:lnTo>
                      <a:pt x="53597" y="31365"/>
                    </a:lnTo>
                    <a:lnTo>
                      <a:pt x="96999" y="21803"/>
                    </a:lnTo>
                    <a:lnTo>
                      <a:pt x="130073" y="0"/>
                    </a:lnTo>
                    <a:lnTo>
                      <a:pt x="158291" y="15472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704" name="Kherson¬4" descr="Kherson¬4">
                <a:extLst>
                  <a:ext uri="{FF2B5EF4-FFF2-40B4-BE49-F238E27FC236}">
                    <a16:creationId xmlns:a16="http://schemas.microsoft.com/office/drawing/2014/main" id="{A9AC73ED-7A5B-45E9-AEF7-2AED8C075D82}"/>
                  </a:ext>
                </a:extLst>
              </p:cNvPr>
              <p:cNvSpPr/>
              <p:nvPr/>
            </p:nvSpPr>
            <p:spPr>
              <a:xfrm>
                <a:off x="35724615" y="30749987"/>
                <a:ext cx="196334" cy="124838"/>
              </a:xfrm>
              <a:custGeom>
                <a:avLst/>
                <a:gdLst/>
                <a:ahLst/>
                <a:cxnLst/>
                <a:rect l="0" t="0" r="0" b="0"/>
                <a:pathLst>
                  <a:path w="196336" h="124843">
                    <a:moveTo>
                      <a:pt x="196335" y="49185"/>
                    </a:moveTo>
                    <a:lnTo>
                      <a:pt x="178867" y="82206"/>
                    </a:lnTo>
                    <a:lnTo>
                      <a:pt x="138736" y="110861"/>
                    </a:lnTo>
                    <a:lnTo>
                      <a:pt x="114427" y="102056"/>
                    </a:lnTo>
                    <a:lnTo>
                      <a:pt x="74851" y="93979"/>
                    </a:lnTo>
                    <a:lnTo>
                      <a:pt x="25549" y="124842"/>
                    </a:lnTo>
                    <a:lnTo>
                      <a:pt x="0" y="106226"/>
                    </a:lnTo>
                    <a:lnTo>
                      <a:pt x="16157" y="76259"/>
                    </a:lnTo>
                    <a:lnTo>
                      <a:pt x="48332" y="64610"/>
                    </a:lnTo>
                    <a:lnTo>
                      <a:pt x="87310" y="42425"/>
                    </a:lnTo>
                    <a:lnTo>
                      <a:pt x="114598" y="0"/>
                    </a:lnTo>
                    <a:lnTo>
                      <a:pt x="167181" y="15776"/>
                    </a:lnTo>
                    <a:lnTo>
                      <a:pt x="187710" y="22405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705" name="Kherson¬5" descr="Kherson¬5">
                <a:extLst>
                  <a:ext uri="{FF2B5EF4-FFF2-40B4-BE49-F238E27FC236}">
                    <a16:creationId xmlns:a16="http://schemas.microsoft.com/office/drawing/2014/main" id="{3BD6EACF-ADA1-4E25-A841-EF409270F617}"/>
                  </a:ext>
                </a:extLst>
              </p:cNvPr>
              <p:cNvSpPr/>
              <p:nvPr/>
            </p:nvSpPr>
            <p:spPr>
              <a:xfrm>
                <a:off x="35598151" y="30741624"/>
                <a:ext cx="135678" cy="120633"/>
              </a:xfrm>
              <a:custGeom>
                <a:avLst/>
                <a:gdLst/>
                <a:ahLst/>
                <a:cxnLst/>
                <a:rect l="0" t="0" r="0" b="0"/>
                <a:pathLst>
                  <a:path w="135682" h="120630">
                    <a:moveTo>
                      <a:pt x="67927" y="17767"/>
                    </a:moveTo>
                    <a:lnTo>
                      <a:pt x="115918" y="0"/>
                    </a:lnTo>
                    <a:lnTo>
                      <a:pt x="135681" y="14403"/>
                    </a:lnTo>
                    <a:lnTo>
                      <a:pt x="118712" y="68437"/>
                    </a:lnTo>
                    <a:lnTo>
                      <a:pt x="56108" y="120629"/>
                    </a:lnTo>
                    <a:lnTo>
                      <a:pt x="19552" y="80678"/>
                    </a:lnTo>
                    <a:lnTo>
                      <a:pt x="9521" y="61169"/>
                    </a:lnTo>
                    <a:lnTo>
                      <a:pt x="0" y="31366"/>
                    </a:lnTo>
                    <a:lnTo>
                      <a:pt x="29799" y="19041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706" name="Kherson¬6" descr="Kherson¬6">
                <a:extLst>
                  <a:ext uri="{FF2B5EF4-FFF2-40B4-BE49-F238E27FC236}">
                    <a16:creationId xmlns:a16="http://schemas.microsoft.com/office/drawing/2014/main" id="{D17B5F68-5862-43D3-A740-DDC5C31A6505}"/>
                  </a:ext>
                </a:extLst>
              </p:cNvPr>
              <p:cNvSpPr/>
              <p:nvPr/>
            </p:nvSpPr>
            <p:spPr>
              <a:xfrm>
                <a:off x="35794484" y="30614133"/>
                <a:ext cx="133648" cy="75283"/>
              </a:xfrm>
              <a:custGeom>
                <a:avLst/>
                <a:gdLst/>
                <a:ahLst/>
                <a:cxnLst/>
                <a:rect l="0" t="0" r="0" b="0"/>
                <a:pathLst>
                  <a:path w="133645" h="75283">
                    <a:moveTo>
                      <a:pt x="46552" y="25676"/>
                    </a:moveTo>
                    <a:lnTo>
                      <a:pt x="76693" y="17180"/>
                    </a:lnTo>
                    <a:lnTo>
                      <a:pt x="98707" y="0"/>
                    </a:lnTo>
                    <a:lnTo>
                      <a:pt x="125152" y="2849"/>
                    </a:lnTo>
                    <a:lnTo>
                      <a:pt x="133644" y="27759"/>
                    </a:lnTo>
                    <a:lnTo>
                      <a:pt x="117620" y="73369"/>
                    </a:lnTo>
                    <a:lnTo>
                      <a:pt x="43789" y="75282"/>
                    </a:lnTo>
                    <a:lnTo>
                      <a:pt x="5150" y="64784"/>
                    </a:lnTo>
                    <a:lnTo>
                      <a:pt x="0" y="33926"/>
                    </a:lnTo>
                    <a:lnTo>
                      <a:pt x="18492" y="23124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707" name="Kherson¬7" descr="Kherson¬7">
                <a:extLst>
                  <a:ext uri="{FF2B5EF4-FFF2-40B4-BE49-F238E27FC236}">
                    <a16:creationId xmlns:a16="http://schemas.microsoft.com/office/drawing/2014/main" id="{651236A4-5383-46E2-8D74-7BA0C6A34D42}"/>
                  </a:ext>
                </a:extLst>
              </p:cNvPr>
              <p:cNvSpPr/>
              <p:nvPr/>
            </p:nvSpPr>
            <p:spPr>
              <a:xfrm>
                <a:off x="35517995" y="30619114"/>
                <a:ext cx="139801" cy="76047"/>
              </a:xfrm>
              <a:custGeom>
                <a:avLst/>
                <a:gdLst/>
                <a:ahLst/>
                <a:cxnLst/>
                <a:rect l="0" t="0" r="0" b="0"/>
                <a:pathLst>
                  <a:path w="139800" h="76046">
                    <a:moveTo>
                      <a:pt x="67326" y="16325"/>
                    </a:moveTo>
                    <a:lnTo>
                      <a:pt x="123437" y="6887"/>
                    </a:lnTo>
                    <a:lnTo>
                      <a:pt x="139799" y="44379"/>
                    </a:lnTo>
                    <a:lnTo>
                      <a:pt x="88410" y="71707"/>
                    </a:lnTo>
                    <a:lnTo>
                      <a:pt x="12241" y="76045"/>
                    </a:lnTo>
                    <a:lnTo>
                      <a:pt x="0" y="19726"/>
                    </a:lnTo>
                    <a:lnTo>
                      <a:pt x="24479" y="0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708" name="Kherson¬8" descr="Kherson¬8">
                <a:extLst>
                  <a:ext uri="{FF2B5EF4-FFF2-40B4-BE49-F238E27FC236}">
                    <a16:creationId xmlns:a16="http://schemas.microsoft.com/office/drawing/2014/main" id="{1E691479-534E-420D-A46B-ADF1FF3E24BD}"/>
                  </a:ext>
                </a:extLst>
              </p:cNvPr>
              <p:cNvSpPr/>
              <p:nvPr/>
            </p:nvSpPr>
            <p:spPr>
              <a:xfrm>
                <a:off x="33556098" y="31320335"/>
                <a:ext cx="118759" cy="218956"/>
              </a:xfrm>
              <a:custGeom>
                <a:avLst/>
                <a:gdLst/>
                <a:ahLst/>
                <a:cxnLst/>
                <a:rect l="0" t="0" r="0" b="0"/>
                <a:pathLst>
                  <a:path w="118757" h="218952">
                    <a:moveTo>
                      <a:pt x="97210" y="218951"/>
                    </a:moveTo>
                    <a:lnTo>
                      <a:pt x="77782" y="205736"/>
                    </a:lnTo>
                    <a:lnTo>
                      <a:pt x="75211" y="159484"/>
                    </a:lnTo>
                    <a:lnTo>
                      <a:pt x="64328" y="138745"/>
                    </a:lnTo>
                    <a:lnTo>
                      <a:pt x="49709" y="110985"/>
                    </a:lnTo>
                    <a:lnTo>
                      <a:pt x="7225" y="68693"/>
                    </a:lnTo>
                    <a:lnTo>
                      <a:pt x="589" y="40090"/>
                    </a:lnTo>
                    <a:lnTo>
                      <a:pt x="0" y="13816"/>
                    </a:lnTo>
                    <a:lnTo>
                      <a:pt x="18058" y="0"/>
                    </a:lnTo>
                    <a:lnTo>
                      <a:pt x="51495" y="66907"/>
                    </a:lnTo>
                    <a:lnTo>
                      <a:pt x="118756" y="154130"/>
                    </a:lnTo>
                    <a:lnTo>
                      <a:pt x="110580" y="209732"/>
                    </a:lnTo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709" name="Kherson¬9" descr="Kherson¬9">
                <a:extLst>
                  <a:ext uri="{FF2B5EF4-FFF2-40B4-BE49-F238E27FC236}">
                    <a16:creationId xmlns:a16="http://schemas.microsoft.com/office/drawing/2014/main" id="{0DCE41FB-81E7-4D34-82B8-B08FD01C3E9F}"/>
                  </a:ext>
                </a:extLst>
              </p:cNvPr>
              <p:cNvSpPr/>
              <p:nvPr/>
            </p:nvSpPr>
            <p:spPr>
              <a:xfrm>
                <a:off x="32759314" y="31579371"/>
                <a:ext cx="2345431" cy="1198348"/>
              </a:xfrm>
              <a:custGeom>
                <a:avLst/>
                <a:gdLst/>
                <a:ahLst/>
                <a:cxnLst/>
                <a:rect l="0" t="0" r="0" b="0"/>
                <a:pathLst>
                  <a:path w="2345427" h="1198349">
                    <a:moveTo>
                      <a:pt x="618868" y="705008"/>
                    </a:moveTo>
                    <a:lnTo>
                      <a:pt x="665069" y="726734"/>
                    </a:lnTo>
                    <a:lnTo>
                      <a:pt x="723348" y="741651"/>
                    </a:lnTo>
                    <a:lnTo>
                      <a:pt x="778139" y="755678"/>
                    </a:lnTo>
                    <a:lnTo>
                      <a:pt x="842665" y="765755"/>
                    </a:lnTo>
                    <a:lnTo>
                      <a:pt x="899136" y="767879"/>
                    </a:lnTo>
                    <a:lnTo>
                      <a:pt x="941812" y="764480"/>
                    </a:lnTo>
                    <a:lnTo>
                      <a:pt x="979785" y="771618"/>
                    </a:lnTo>
                    <a:lnTo>
                      <a:pt x="998193" y="783856"/>
                    </a:lnTo>
                    <a:lnTo>
                      <a:pt x="1019401" y="786411"/>
                    </a:lnTo>
                    <a:lnTo>
                      <a:pt x="1059895" y="785136"/>
                    </a:lnTo>
                    <a:lnTo>
                      <a:pt x="1130263" y="794909"/>
                    </a:lnTo>
                    <a:lnTo>
                      <a:pt x="1184880" y="801287"/>
                    </a:lnTo>
                    <a:lnTo>
                      <a:pt x="1234232" y="811067"/>
                    </a:lnTo>
                    <a:lnTo>
                      <a:pt x="1263479" y="816852"/>
                    </a:lnTo>
                    <a:lnTo>
                      <a:pt x="1296801" y="851402"/>
                    </a:lnTo>
                    <a:lnTo>
                      <a:pt x="1331906" y="861947"/>
                    </a:lnTo>
                    <a:lnTo>
                      <a:pt x="1366168" y="872235"/>
                    </a:lnTo>
                    <a:lnTo>
                      <a:pt x="1405527" y="862081"/>
                    </a:lnTo>
                    <a:lnTo>
                      <a:pt x="1437748" y="871175"/>
                    </a:lnTo>
                    <a:lnTo>
                      <a:pt x="1473836" y="891611"/>
                    </a:lnTo>
                    <a:lnTo>
                      <a:pt x="1535940" y="905216"/>
                    </a:lnTo>
                    <a:lnTo>
                      <a:pt x="1581333" y="903219"/>
                    </a:lnTo>
                    <a:lnTo>
                      <a:pt x="1624865" y="914356"/>
                    </a:lnTo>
                    <a:lnTo>
                      <a:pt x="1703707" y="934591"/>
                    </a:lnTo>
                    <a:lnTo>
                      <a:pt x="1772019" y="981475"/>
                    </a:lnTo>
                    <a:lnTo>
                      <a:pt x="1848954" y="1000729"/>
                    </a:lnTo>
                    <a:lnTo>
                      <a:pt x="1925975" y="1019987"/>
                    </a:lnTo>
                    <a:lnTo>
                      <a:pt x="1998151" y="995586"/>
                    </a:lnTo>
                    <a:lnTo>
                      <a:pt x="2093618" y="1037707"/>
                    </a:lnTo>
                    <a:lnTo>
                      <a:pt x="2113852" y="1046677"/>
                    </a:lnTo>
                    <a:lnTo>
                      <a:pt x="2191429" y="1087785"/>
                    </a:lnTo>
                    <a:lnTo>
                      <a:pt x="2232704" y="1115495"/>
                    </a:lnTo>
                    <a:lnTo>
                      <a:pt x="2250597" y="1138281"/>
                    </a:lnTo>
                    <a:lnTo>
                      <a:pt x="2276568" y="1153371"/>
                    </a:lnTo>
                    <a:lnTo>
                      <a:pt x="2298753" y="1166251"/>
                    </a:lnTo>
                    <a:lnTo>
                      <a:pt x="2323663" y="1173603"/>
                    </a:lnTo>
                    <a:lnTo>
                      <a:pt x="2345426" y="1187289"/>
                    </a:lnTo>
                    <a:lnTo>
                      <a:pt x="2309726" y="1198348"/>
                    </a:lnTo>
                    <a:lnTo>
                      <a:pt x="2273210" y="1175516"/>
                    </a:lnTo>
                    <a:lnTo>
                      <a:pt x="2238530" y="1161061"/>
                    </a:lnTo>
                    <a:lnTo>
                      <a:pt x="2196657" y="1143635"/>
                    </a:lnTo>
                    <a:lnTo>
                      <a:pt x="2154662" y="1124635"/>
                    </a:lnTo>
                    <a:lnTo>
                      <a:pt x="2112116" y="1108648"/>
                    </a:lnTo>
                    <a:lnTo>
                      <a:pt x="2054516" y="1087019"/>
                    </a:lnTo>
                    <a:lnTo>
                      <a:pt x="1989181" y="1076902"/>
                    </a:lnTo>
                    <a:lnTo>
                      <a:pt x="1932229" y="1053142"/>
                    </a:lnTo>
                    <a:lnTo>
                      <a:pt x="1903620" y="1041236"/>
                    </a:lnTo>
                    <a:lnTo>
                      <a:pt x="1868087" y="1023385"/>
                    </a:lnTo>
                    <a:lnTo>
                      <a:pt x="1837652" y="1017687"/>
                    </a:lnTo>
                    <a:lnTo>
                      <a:pt x="1808832" y="1017553"/>
                    </a:lnTo>
                    <a:lnTo>
                      <a:pt x="1735252" y="1001021"/>
                    </a:lnTo>
                    <a:lnTo>
                      <a:pt x="1678251" y="971224"/>
                    </a:lnTo>
                    <a:lnTo>
                      <a:pt x="1618661" y="956010"/>
                    </a:lnTo>
                    <a:lnTo>
                      <a:pt x="1571051" y="943809"/>
                    </a:lnTo>
                    <a:lnTo>
                      <a:pt x="1514770" y="948103"/>
                    </a:lnTo>
                    <a:lnTo>
                      <a:pt x="1466531" y="939009"/>
                    </a:lnTo>
                    <a:lnTo>
                      <a:pt x="1396479" y="925919"/>
                    </a:lnTo>
                    <a:lnTo>
                      <a:pt x="1333444" y="890550"/>
                    </a:lnTo>
                    <a:lnTo>
                      <a:pt x="1260965" y="880433"/>
                    </a:lnTo>
                    <a:lnTo>
                      <a:pt x="1174083" y="868319"/>
                    </a:lnTo>
                    <a:lnTo>
                      <a:pt x="1086867" y="859262"/>
                    </a:lnTo>
                    <a:lnTo>
                      <a:pt x="999874" y="846516"/>
                    </a:lnTo>
                    <a:lnTo>
                      <a:pt x="949040" y="839077"/>
                    </a:lnTo>
                    <a:lnTo>
                      <a:pt x="897006" y="839031"/>
                    </a:lnTo>
                    <a:lnTo>
                      <a:pt x="846708" y="826455"/>
                    </a:lnTo>
                    <a:lnTo>
                      <a:pt x="787214" y="811615"/>
                    </a:lnTo>
                    <a:lnTo>
                      <a:pt x="723674" y="794652"/>
                    </a:lnTo>
                    <a:lnTo>
                      <a:pt x="666818" y="770976"/>
                    </a:lnTo>
                    <a:lnTo>
                      <a:pt x="613345" y="748661"/>
                    </a:lnTo>
                    <a:lnTo>
                      <a:pt x="563739" y="718824"/>
                    </a:lnTo>
                    <a:lnTo>
                      <a:pt x="509550" y="698506"/>
                    </a:lnTo>
                    <a:lnTo>
                      <a:pt x="407485" y="660211"/>
                    </a:lnTo>
                    <a:lnTo>
                      <a:pt x="294035" y="636191"/>
                    </a:lnTo>
                    <a:lnTo>
                      <a:pt x="212468" y="559724"/>
                    </a:lnTo>
                    <a:lnTo>
                      <a:pt x="140590" y="492348"/>
                    </a:lnTo>
                    <a:lnTo>
                      <a:pt x="100019" y="360325"/>
                    </a:lnTo>
                    <a:lnTo>
                      <a:pt x="58979" y="272424"/>
                    </a:lnTo>
                    <a:lnTo>
                      <a:pt x="47498" y="247858"/>
                    </a:lnTo>
                    <a:lnTo>
                      <a:pt x="34643" y="224814"/>
                    </a:lnTo>
                    <a:lnTo>
                      <a:pt x="26420" y="198890"/>
                    </a:lnTo>
                    <a:lnTo>
                      <a:pt x="17490" y="170796"/>
                    </a:lnTo>
                    <a:lnTo>
                      <a:pt x="0" y="51987"/>
                    </a:lnTo>
                    <a:lnTo>
                      <a:pt x="8951" y="26228"/>
                    </a:lnTo>
                    <a:lnTo>
                      <a:pt x="26631" y="2341"/>
                    </a:lnTo>
                    <a:lnTo>
                      <a:pt x="63416" y="0"/>
                    </a:lnTo>
                    <a:lnTo>
                      <a:pt x="87858" y="52363"/>
                    </a:lnTo>
                    <a:lnTo>
                      <a:pt x="120548" y="163224"/>
                    </a:lnTo>
                    <a:lnTo>
                      <a:pt x="122014" y="220483"/>
                    </a:lnTo>
                    <a:lnTo>
                      <a:pt x="122693" y="247303"/>
                    </a:lnTo>
                    <a:lnTo>
                      <a:pt x="120827" y="273912"/>
                    </a:lnTo>
                    <a:lnTo>
                      <a:pt x="125093" y="300689"/>
                    </a:lnTo>
                    <a:lnTo>
                      <a:pt x="131232" y="339071"/>
                    </a:lnTo>
                    <a:lnTo>
                      <a:pt x="150068" y="360747"/>
                    </a:lnTo>
                    <a:lnTo>
                      <a:pt x="168263" y="393182"/>
                    </a:lnTo>
                    <a:lnTo>
                      <a:pt x="220542" y="486268"/>
                    </a:lnTo>
                    <a:lnTo>
                      <a:pt x="277924" y="544674"/>
                    </a:lnTo>
                    <a:lnTo>
                      <a:pt x="372842" y="595170"/>
                    </a:lnTo>
                    <a:lnTo>
                      <a:pt x="394903" y="606902"/>
                    </a:lnTo>
                    <a:lnTo>
                      <a:pt x="412651" y="622250"/>
                    </a:lnTo>
                    <a:lnTo>
                      <a:pt x="436556" y="632194"/>
                    </a:lnTo>
                    <a:lnTo>
                      <a:pt x="527757" y="670195"/>
                    </a:lnTo>
                    <a:lnTo>
                      <a:pt x="573512" y="629899"/>
                    </a:lnTo>
                    <a:lnTo>
                      <a:pt x="607200" y="641421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710" name="Kherson¬10" descr="Kherson¬10">
                <a:extLst>
                  <a:ext uri="{FF2B5EF4-FFF2-40B4-BE49-F238E27FC236}">
                    <a16:creationId xmlns:a16="http://schemas.microsoft.com/office/drawing/2014/main" id="{BAFCA07E-5F13-4840-975F-9F03B9448A5B}"/>
                  </a:ext>
                </a:extLst>
              </p:cNvPr>
              <p:cNvSpPr/>
              <p:nvPr/>
            </p:nvSpPr>
            <p:spPr>
              <a:xfrm>
                <a:off x="32802826" y="25213962"/>
                <a:ext cx="12613148" cy="9661477"/>
              </a:xfrm>
              <a:custGeom>
                <a:avLst/>
                <a:gdLst/>
                <a:ahLst/>
                <a:cxnLst/>
                <a:rect l="0" t="0" r="0" b="0"/>
                <a:pathLst>
                  <a:path w="12613150" h="9661476">
                    <a:moveTo>
                      <a:pt x="5518847" y="62948"/>
                    </a:moveTo>
                    <a:lnTo>
                      <a:pt x="5521312" y="121650"/>
                    </a:lnTo>
                    <a:lnTo>
                      <a:pt x="5527854" y="185026"/>
                    </a:lnTo>
                    <a:lnTo>
                      <a:pt x="5557611" y="225321"/>
                    </a:lnTo>
                    <a:lnTo>
                      <a:pt x="5609552" y="248489"/>
                    </a:lnTo>
                    <a:lnTo>
                      <a:pt x="5632589" y="292485"/>
                    </a:lnTo>
                    <a:lnTo>
                      <a:pt x="5642877" y="312164"/>
                    </a:lnTo>
                    <a:lnTo>
                      <a:pt x="5625790" y="349610"/>
                    </a:lnTo>
                    <a:lnTo>
                      <a:pt x="5615691" y="368378"/>
                    </a:lnTo>
                    <a:lnTo>
                      <a:pt x="5603096" y="386290"/>
                    </a:lnTo>
                    <a:lnTo>
                      <a:pt x="5605338" y="432626"/>
                    </a:lnTo>
                    <a:lnTo>
                      <a:pt x="5616299" y="456645"/>
                    </a:lnTo>
                    <a:lnTo>
                      <a:pt x="5628506" y="480188"/>
                    </a:lnTo>
                    <a:lnTo>
                      <a:pt x="5640719" y="503732"/>
                    </a:lnTo>
                    <a:lnTo>
                      <a:pt x="5653757" y="527565"/>
                    </a:lnTo>
                    <a:lnTo>
                      <a:pt x="5657074" y="553644"/>
                    </a:lnTo>
                    <a:lnTo>
                      <a:pt x="5664469" y="611619"/>
                    </a:lnTo>
                    <a:lnTo>
                      <a:pt x="5635141" y="665519"/>
                    </a:lnTo>
                    <a:lnTo>
                      <a:pt x="5638028" y="723664"/>
                    </a:lnTo>
                    <a:lnTo>
                      <a:pt x="5654786" y="768688"/>
                    </a:lnTo>
                    <a:lnTo>
                      <a:pt x="5666599" y="799837"/>
                    </a:lnTo>
                    <a:lnTo>
                      <a:pt x="5678152" y="831056"/>
                    </a:lnTo>
                    <a:lnTo>
                      <a:pt x="5679523" y="858385"/>
                    </a:lnTo>
                    <a:lnTo>
                      <a:pt x="5665232" y="877367"/>
                    </a:lnTo>
                    <a:lnTo>
                      <a:pt x="5643088" y="884383"/>
                    </a:lnTo>
                    <a:lnTo>
                      <a:pt x="5616562" y="889223"/>
                    </a:lnTo>
                    <a:lnTo>
                      <a:pt x="5589069" y="890972"/>
                    </a:lnTo>
                    <a:lnTo>
                      <a:pt x="5561561" y="892711"/>
                    </a:lnTo>
                    <a:lnTo>
                      <a:pt x="5534105" y="890774"/>
                    </a:lnTo>
                    <a:lnTo>
                      <a:pt x="5511533" y="884172"/>
                    </a:lnTo>
                    <a:lnTo>
                      <a:pt x="5494377" y="840699"/>
                    </a:lnTo>
                    <a:lnTo>
                      <a:pt x="5478887" y="794395"/>
                    </a:lnTo>
                    <a:lnTo>
                      <a:pt x="5463396" y="748100"/>
                    </a:lnTo>
                    <a:lnTo>
                      <a:pt x="5443946" y="696975"/>
                    </a:lnTo>
                    <a:lnTo>
                      <a:pt x="5425839" y="676058"/>
                    </a:lnTo>
                    <a:lnTo>
                      <a:pt x="5394597" y="691741"/>
                    </a:lnTo>
                    <a:lnTo>
                      <a:pt x="5395918" y="731822"/>
                    </a:lnTo>
                    <a:lnTo>
                      <a:pt x="5401338" y="774883"/>
                    </a:lnTo>
                    <a:lnTo>
                      <a:pt x="5384843" y="806425"/>
                    </a:lnTo>
                    <a:lnTo>
                      <a:pt x="5351031" y="817516"/>
                    </a:lnTo>
                    <a:lnTo>
                      <a:pt x="5317477" y="831289"/>
                    </a:lnTo>
                    <a:lnTo>
                      <a:pt x="5307505" y="850162"/>
                    </a:lnTo>
                    <a:lnTo>
                      <a:pt x="5304888" y="872182"/>
                    </a:lnTo>
                    <a:lnTo>
                      <a:pt x="5308237" y="913547"/>
                    </a:lnTo>
                    <a:lnTo>
                      <a:pt x="5319752" y="950813"/>
                    </a:lnTo>
                    <a:lnTo>
                      <a:pt x="5333845" y="986684"/>
                    </a:lnTo>
                    <a:lnTo>
                      <a:pt x="5354618" y="1012884"/>
                    </a:lnTo>
                    <a:lnTo>
                      <a:pt x="5382319" y="1022908"/>
                    </a:lnTo>
                    <a:lnTo>
                      <a:pt x="5410203" y="1025243"/>
                    </a:lnTo>
                    <a:lnTo>
                      <a:pt x="5440130" y="1030802"/>
                    </a:lnTo>
                    <a:lnTo>
                      <a:pt x="5468013" y="1031066"/>
                    </a:lnTo>
                    <a:lnTo>
                      <a:pt x="5505775" y="1025587"/>
                    </a:lnTo>
                    <a:lnTo>
                      <a:pt x="5541782" y="1025665"/>
                    </a:lnTo>
                    <a:lnTo>
                      <a:pt x="5567306" y="1052829"/>
                    </a:lnTo>
                    <a:lnTo>
                      <a:pt x="5599633" y="1125460"/>
                    </a:lnTo>
                    <a:lnTo>
                      <a:pt x="5628921" y="1180362"/>
                    </a:lnTo>
                    <a:lnTo>
                      <a:pt x="5643475" y="1236458"/>
                    </a:lnTo>
                    <a:lnTo>
                      <a:pt x="5650759" y="1264506"/>
                    </a:lnTo>
                    <a:lnTo>
                      <a:pt x="5654851" y="1292622"/>
                    </a:lnTo>
                    <a:lnTo>
                      <a:pt x="5653000" y="1323510"/>
                    </a:lnTo>
                    <a:lnTo>
                      <a:pt x="5651146" y="1354395"/>
                    </a:lnTo>
                    <a:lnTo>
                      <a:pt x="5643984" y="1388498"/>
                    </a:lnTo>
                    <a:lnTo>
                      <a:pt x="5629870" y="1426887"/>
                    </a:lnTo>
                    <a:lnTo>
                      <a:pt x="5620084" y="1453530"/>
                    </a:lnTo>
                    <a:lnTo>
                      <a:pt x="5607474" y="1476831"/>
                    </a:lnTo>
                    <a:lnTo>
                      <a:pt x="5599949" y="1504417"/>
                    </a:lnTo>
                    <a:lnTo>
                      <a:pt x="5588006" y="1548067"/>
                    </a:lnTo>
                    <a:lnTo>
                      <a:pt x="5580481" y="1586880"/>
                    </a:lnTo>
                    <a:lnTo>
                      <a:pt x="5584986" y="1632273"/>
                    </a:lnTo>
                    <a:lnTo>
                      <a:pt x="5588905" y="1671569"/>
                    </a:lnTo>
                    <a:lnTo>
                      <a:pt x="5611505" y="1713251"/>
                    </a:lnTo>
                    <a:lnTo>
                      <a:pt x="5636676" y="1754693"/>
                    </a:lnTo>
                    <a:lnTo>
                      <a:pt x="5661849" y="1796135"/>
                    </a:lnTo>
                    <a:lnTo>
                      <a:pt x="5689727" y="1837345"/>
                    </a:lnTo>
                    <a:lnTo>
                      <a:pt x="5701968" y="1877107"/>
                    </a:lnTo>
                    <a:lnTo>
                      <a:pt x="5680118" y="1903124"/>
                    </a:lnTo>
                    <a:lnTo>
                      <a:pt x="5673917" y="1935497"/>
                    </a:lnTo>
                    <a:lnTo>
                      <a:pt x="5667958" y="1962801"/>
                    </a:lnTo>
                    <a:lnTo>
                      <a:pt x="5662007" y="1990105"/>
                    </a:lnTo>
                    <a:lnTo>
                      <a:pt x="5656634" y="2011787"/>
                    </a:lnTo>
                    <a:lnTo>
                      <a:pt x="5616274" y="2014491"/>
                    </a:lnTo>
                    <a:lnTo>
                      <a:pt x="5581563" y="1982744"/>
                    </a:lnTo>
                    <a:lnTo>
                      <a:pt x="5556172" y="1965679"/>
                    </a:lnTo>
                    <a:lnTo>
                      <a:pt x="5515871" y="1954492"/>
                    </a:lnTo>
                    <a:lnTo>
                      <a:pt x="5487051" y="1973690"/>
                    </a:lnTo>
                    <a:lnTo>
                      <a:pt x="5459797" y="1999087"/>
                    </a:lnTo>
                    <a:lnTo>
                      <a:pt x="5437088" y="2052883"/>
                    </a:lnTo>
                    <a:lnTo>
                      <a:pt x="5387758" y="2104269"/>
                    </a:lnTo>
                    <a:lnTo>
                      <a:pt x="5364419" y="2132065"/>
                    </a:lnTo>
                    <a:lnTo>
                      <a:pt x="5322977" y="2147029"/>
                    </a:lnTo>
                    <a:lnTo>
                      <a:pt x="5294548" y="2144055"/>
                    </a:lnTo>
                    <a:lnTo>
                      <a:pt x="5268063" y="2140989"/>
                    </a:lnTo>
                    <a:lnTo>
                      <a:pt x="5241577" y="2137922"/>
                    </a:lnTo>
                    <a:lnTo>
                      <a:pt x="5217247" y="2134803"/>
                    </a:lnTo>
                    <a:lnTo>
                      <a:pt x="5183054" y="2116370"/>
                    </a:lnTo>
                    <a:lnTo>
                      <a:pt x="5176248" y="2084068"/>
                    </a:lnTo>
                    <a:lnTo>
                      <a:pt x="5153806" y="2067536"/>
                    </a:lnTo>
                    <a:lnTo>
                      <a:pt x="5106789" y="2100734"/>
                    </a:lnTo>
                    <a:lnTo>
                      <a:pt x="5103775" y="2157906"/>
                    </a:lnTo>
                    <a:lnTo>
                      <a:pt x="5085791" y="2200839"/>
                    </a:lnTo>
                    <a:lnTo>
                      <a:pt x="5073256" y="2230807"/>
                    </a:lnTo>
                    <a:lnTo>
                      <a:pt x="5057446" y="2259791"/>
                    </a:lnTo>
                    <a:lnTo>
                      <a:pt x="5043630" y="2289249"/>
                    </a:lnTo>
                    <a:lnTo>
                      <a:pt x="5032452" y="2312966"/>
                    </a:lnTo>
                    <a:lnTo>
                      <a:pt x="5026496" y="2340130"/>
                    </a:lnTo>
                    <a:lnTo>
                      <a:pt x="5013703" y="2364060"/>
                    </a:lnTo>
                    <a:lnTo>
                      <a:pt x="5001719" y="2386437"/>
                    </a:lnTo>
                    <a:lnTo>
                      <a:pt x="4979693" y="2413611"/>
                    </a:lnTo>
                    <a:lnTo>
                      <a:pt x="4959294" y="2441591"/>
                    </a:lnTo>
                    <a:lnTo>
                      <a:pt x="4938898" y="2469567"/>
                    </a:lnTo>
                    <a:lnTo>
                      <a:pt x="4919535" y="2498610"/>
                    </a:lnTo>
                    <a:lnTo>
                      <a:pt x="4915768" y="2520485"/>
                    </a:lnTo>
                    <a:lnTo>
                      <a:pt x="4918236" y="2544412"/>
                    </a:lnTo>
                    <a:lnTo>
                      <a:pt x="4928905" y="2564302"/>
                    </a:lnTo>
                    <a:lnTo>
                      <a:pt x="4933450" y="2587135"/>
                    </a:lnTo>
                    <a:lnTo>
                      <a:pt x="4934142" y="2618045"/>
                    </a:lnTo>
                    <a:lnTo>
                      <a:pt x="4935487" y="2648710"/>
                    </a:lnTo>
                    <a:lnTo>
                      <a:pt x="4952494" y="2671465"/>
                    </a:lnTo>
                    <a:lnTo>
                      <a:pt x="4982930" y="2679964"/>
                    </a:lnTo>
                    <a:lnTo>
                      <a:pt x="5015231" y="2657264"/>
                    </a:lnTo>
                    <a:lnTo>
                      <a:pt x="5046346" y="2661940"/>
                    </a:lnTo>
                    <a:lnTo>
                      <a:pt x="5242725" y="2780069"/>
                    </a:lnTo>
                    <a:lnTo>
                      <a:pt x="5265337" y="2793885"/>
                    </a:lnTo>
                    <a:lnTo>
                      <a:pt x="5294672" y="2811739"/>
                    </a:lnTo>
                    <a:lnTo>
                      <a:pt x="5427923" y="2942230"/>
                    </a:lnTo>
                    <a:lnTo>
                      <a:pt x="5436725" y="2963909"/>
                    </a:lnTo>
                    <a:lnTo>
                      <a:pt x="5437584" y="2993005"/>
                    </a:lnTo>
                    <a:lnTo>
                      <a:pt x="5427203" y="3011515"/>
                    </a:lnTo>
                    <a:lnTo>
                      <a:pt x="5416822" y="3030023"/>
                    </a:lnTo>
                    <a:lnTo>
                      <a:pt x="5400495" y="3050822"/>
                    </a:lnTo>
                    <a:lnTo>
                      <a:pt x="5383677" y="3071366"/>
                    </a:lnTo>
                    <a:lnTo>
                      <a:pt x="5350036" y="3112446"/>
                    </a:lnTo>
                    <a:lnTo>
                      <a:pt x="5311945" y="3153761"/>
                    </a:lnTo>
                    <a:lnTo>
                      <a:pt x="5306147" y="3180181"/>
                    </a:lnTo>
                    <a:lnTo>
                      <a:pt x="5315663" y="3235948"/>
                    </a:lnTo>
                    <a:lnTo>
                      <a:pt x="5269718" y="3198964"/>
                    </a:lnTo>
                    <a:lnTo>
                      <a:pt x="5231888" y="3175840"/>
                    </a:lnTo>
                    <a:lnTo>
                      <a:pt x="5200048" y="3150254"/>
                    </a:lnTo>
                    <a:lnTo>
                      <a:pt x="5168044" y="3124541"/>
                    </a:lnTo>
                    <a:lnTo>
                      <a:pt x="5159496" y="3081226"/>
                    </a:lnTo>
                    <a:lnTo>
                      <a:pt x="5127959" y="3059125"/>
                    </a:lnTo>
                    <a:lnTo>
                      <a:pt x="5096513" y="3061283"/>
                    </a:lnTo>
                    <a:lnTo>
                      <a:pt x="5064193" y="3081443"/>
                    </a:lnTo>
                    <a:lnTo>
                      <a:pt x="5042265" y="3104009"/>
                    </a:lnTo>
                    <a:lnTo>
                      <a:pt x="5035156" y="3168120"/>
                    </a:lnTo>
                    <a:lnTo>
                      <a:pt x="5040907" y="3215543"/>
                    </a:lnTo>
                    <a:lnTo>
                      <a:pt x="5046656" y="3262973"/>
                    </a:lnTo>
                    <a:lnTo>
                      <a:pt x="5059483" y="3309969"/>
                    </a:lnTo>
                    <a:lnTo>
                      <a:pt x="5077634" y="3321642"/>
                    </a:lnTo>
                    <a:lnTo>
                      <a:pt x="5128176" y="3330392"/>
                    </a:lnTo>
                    <a:lnTo>
                      <a:pt x="5185261" y="3316160"/>
                    </a:lnTo>
                    <a:lnTo>
                      <a:pt x="5238133" y="3321642"/>
                    </a:lnTo>
                    <a:lnTo>
                      <a:pt x="5265728" y="3344835"/>
                    </a:lnTo>
                    <a:lnTo>
                      <a:pt x="5275830" y="3382777"/>
                    </a:lnTo>
                    <a:lnTo>
                      <a:pt x="5274226" y="3404078"/>
                    </a:lnTo>
                    <a:lnTo>
                      <a:pt x="5243112" y="3421825"/>
                    </a:lnTo>
                    <a:lnTo>
                      <a:pt x="5199961" y="3417822"/>
                    </a:lnTo>
                    <a:lnTo>
                      <a:pt x="5160565" y="3426823"/>
                    </a:lnTo>
                    <a:lnTo>
                      <a:pt x="5130663" y="3431065"/>
                    </a:lnTo>
                    <a:lnTo>
                      <a:pt x="5102113" y="3438615"/>
                    </a:lnTo>
                    <a:lnTo>
                      <a:pt x="5073572" y="3446168"/>
                    </a:lnTo>
                    <a:lnTo>
                      <a:pt x="5047217" y="3457187"/>
                    </a:lnTo>
                    <a:lnTo>
                      <a:pt x="5028666" y="3478061"/>
                    </a:lnTo>
                    <a:lnTo>
                      <a:pt x="5000274" y="3517209"/>
                    </a:lnTo>
                    <a:lnTo>
                      <a:pt x="4981057" y="3543350"/>
                    </a:lnTo>
                    <a:lnTo>
                      <a:pt x="4961839" y="3569491"/>
                    </a:lnTo>
                    <a:lnTo>
                      <a:pt x="4942129" y="3593852"/>
                    </a:lnTo>
                    <a:lnTo>
                      <a:pt x="4865079" y="3599737"/>
                    </a:lnTo>
                    <a:lnTo>
                      <a:pt x="4804801" y="3611990"/>
                    </a:lnTo>
                    <a:lnTo>
                      <a:pt x="4744380" y="3623602"/>
                    </a:lnTo>
                    <a:lnTo>
                      <a:pt x="4683959" y="3635217"/>
                    </a:lnTo>
                    <a:lnTo>
                      <a:pt x="4622539" y="3645405"/>
                    </a:lnTo>
                    <a:lnTo>
                      <a:pt x="4560757" y="3645365"/>
                    </a:lnTo>
                    <a:lnTo>
                      <a:pt x="4543077" y="3664406"/>
                    </a:lnTo>
                    <a:lnTo>
                      <a:pt x="4529472" y="3687527"/>
                    </a:lnTo>
                    <a:lnTo>
                      <a:pt x="4537716" y="3716564"/>
                    </a:lnTo>
                    <a:lnTo>
                      <a:pt x="4556596" y="3737384"/>
                    </a:lnTo>
                    <a:lnTo>
                      <a:pt x="4583881" y="3751458"/>
                    </a:lnTo>
                    <a:lnTo>
                      <a:pt x="4612661" y="3763330"/>
                    </a:lnTo>
                    <a:lnTo>
                      <a:pt x="4650007" y="3766164"/>
                    </a:lnTo>
                    <a:lnTo>
                      <a:pt x="4688619" y="3765063"/>
                    </a:lnTo>
                    <a:lnTo>
                      <a:pt x="4765839" y="3762853"/>
                    </a:lnTo>
                    <a:lnTo>
                      <a:pt x="4848904" y="3741579"/>
                    </a:lnTo>
                    <a:lnTo>
                      <a:pt x="4885847" y="3726979"/>
                    </a:lnTo>
                    <a:lnTo>
                      <a:pt x="4912075" y="3751802"/>
                    </a:lnTo>
                    <a:lnTo>
                      <a:pt x="4935236" y="3779177"/>
                    </a:lnTo>
                    <a:lnTo>
                      <a:pt x="4964735" y="3775946"/>
                    </a:lnTo>
                    <a:lnTo>
                      <a:pt x="4991624" y="3766421"/>
                    </a:lnTo>
                    <a:lnTo>
                      <a:pt x="5015061" y="3784104"/>
                    </a:lnTo>
                    <a:lnTo>
                      <a:pt x="5005545" y="3828994"/>
                    </a:lnTo>
                    <a:lnTo>
                      <a:pt x="4971752" y="3850909"/>
                    </a:lnTo>
                    <a:lnTo>
                      <a:pt x="4948414" y="3856199"/>
                    </a:lnTo>
                    <a:lnTo>
                      <a:pt x="4925066" y="3861488"/>
                    </a:lnTo>
                    <a:lnTo>
                      <a:pt x="4898141" y="3864434"/>
                    </a:lnTo>
                    <a:lnTo>
                      <a:pt x="4869526" y="3867079"/>
                    </a:lnTo>
                    <a:lnTo>
                      <a:pt x="4840904" y="3869724"/>
                    </a:lnTo>
                    <a:lnTo>
                      <a:pt x="4810763" y="3871261"/>
                    </a:lnTo>
                    <a:lnTo>
                      <a:pt x="4781106" y="3876604"/>
                    </a:lnTo>
                    <a:lnTo>
                      <a:pt x="4751449" y="3881946"/>
                    </a:lnTo>
                    <a:lnTo>
                      <a:pt x="4721873" y="3890414"/>
                    </a:lnTo>
                    <a:lnTo>
                      <a:pt x="4695418" y="3903808"/>
                    </a:lnTo>
                    <a:lnTo>
                      <a:pt x="4660124" y="3931617"/>
                    </a:lnTo>
                    <a:lnTo>
                      <a:pt x="4641006" y="3948692"/>
                    </a:lnTo>
                    <a:lnTo>
                      <a:pt x="4621894" y="3965767"/>
                    </a:lnTo>
                    <a:lnTo>
                      <a:pt x="4601607" y="3980876"/>
                    </a:lnTo>
                    <a:lnTo>
                      <a:pt x="4534696" y="3977478"/>
                    </a:lnTo>
                    <a:lnTo>
                      <a:pt x="4482628" y="3954686"/>
                    </a:lnTo>
                    <a:lnTo>
                      <a:pt x="4432895" y="3962292"/>
                    </a:lnTo>
                    <a:lnTo>
                      <a:pt x="4231586" y="3993576"/>
                    </a:lnTo>
                    <a:lnTo>
                      <a:pt x="4209631" y="3996934"/>
                    </a:lnTo>
                    <a:lnTo>
                      <a:pt x="4179903" y="3985419"/>
                    </a:lnTo>
                    <a:lnTo>
                      <a:pt x="4157209" y="3966400"/>
                    </a:lnTo>
                    <a:lnTo>
                      <a:pt x="4131422" y="3925525"/>
                    </a:lnTo>
                    <a:lnTo>
                      <a:pt x="4119171" y="3890234"/>
                    </a:lnTo>
                    <a:lnTo>
                      <a:pt x="4095567" y="3868440"/>
                    </a:lnTo>
                    <a:lnTo>
                      <a:pt x="4078210" y="3852413"/>
                    </a:lnTo>
                    <a:lnTo>
                      <a:pt x="4047173" y="3849446"/>
                    </a:lnTo>
                    <a:lnTo>
                      <a:pt x="4019395" y="3842593"/>
                    </a:lnTo>
                    <a:lnTo>
                      <a:pt x="3993102" y="3834197"/>
                    </a:lnTo>
                    <a:lnTo>
                      <a:pt x="3972241" y="3821075"/>
                    </a:lnTo>
                    <a:lnTo>
                      <a:pt x="3960905" y="3799067"/>
                    </a:lnTo>
                    <a:lnTo>
                      <a:pt x="3935245" y="3786265"/>
                    </a:lnTo>
                    <a:lnTo>
                      <a:pt x="3896797" y="3792823"/>
                    </a:lnTo>
                    <a:lnTo>
                      <a:pt x="3874672" y="3800841"/>
                    </a:lnTo>
                    <a:lnTo>
                      <a:pt x="3852090" y="3808589"/>
                    </a:lnTo>
                    <a:lnTo>
                      <a:pt x="3829515" y="3816338"/>
                    </a:lnTo>
                    <a:lnTo>
                      <a:pt x="3806480" y="3823664"/>
                    </a:lnTo>
                    <a:lnTo>
                      <a:pt x="3767122" y="3828876"/>
                    </a:lnTo>
                    <a:lnTo>
                      <a:pt x="3740556" y="3815389"/>
                    </a:lnTo>
                    <a:lnTo>
                      <a:pt x="3736131" y="3772675"/>
                    </a:lnTo>
                    <a:lnTo>
                      <a:pt x="3713689" y="3766000"/>
                    </a:lnTo>
                    <a:lnTo>
                      <a:pt x="3689678" y="3771652"/>
                    </a:lnTo>
                    <a:lnTo>
                      <a:pt x="3661668" y="3762341"/>
                    </a:lnTo>
                    <a:lnTo>
                      <a:pt x="3653504" y="3726979"/>
                    </a:lnTo>
                    <a:lnTo>
                      <a:pt x="3610065" y="3719413"/>
                    </a:lnTo>
                    <a:lnTo>
                      <a:pt x="3585833" y="3737518"/>
                    </a:lnTo>
                    <a:lnTo>
                      <a:pt x="3593610" y="3759451"/>
                    </a:lnTo>
                    <a:lnTo>
                      <a:pt x="3597671" y="3810608"/>
                    </a:lnTo>
                    <a:lnTo>
                      <a:pt x="3597349" y="3837093"/>
                    </a:lnTo>
                    <a:lnTo>
                      <a:pt x="3595014" y="3858915"/>
                    </a:lnTo>
                    <a:lnTo>
                      <a:pt x="3592680" y="3880737"/>
                    </a:lnTo>
                    <a:lnTo>
                      <a:pt x="3578690" y="3911966"/>
                    </a:lnTo>
                    <a:lnTo>
                      <a:pt x="3554390" y="3935450"/>
                    </a:lnTo>
                    <a:lnTo>
                      <a:pt x="3535164" y="3944609"/>
                    </a:lnTo>
                    <a:lnTo>
                      <a:pt x="3515934" y="3953771"/>
                    </a:lnTo>
                    <a:lnTo>
                      <a:pt x="3491486" y="3961116"/>
                    </a:lnTo>
                    <a:lnTo>
                      <a:pt x="3460353" y="3969097"/>
                    </a:lnTo>
                    <a:lnTo>
                      <a:pt x="3421949" y="3978929"/>
                    </a:lnTo>
                    <a:lnTo>
                      <a:pt x="3396633" y="3982101"/>
                    </a:lnTo>
                    <a:lnTo>
                      <a:pt x="3360855" y="3975125"/>
                    </a:lnTo>
                    <a:lnTo>
                      <a:pt x="3343377" y="3954134"/>
                    </a:lnTo>
                    <a:lnTo>
                      <a:pt x="3330261" y="3931202"/>
                    </a:lnTo>
                    <a:lnTo>
                      <a:pt x="3330940" y="3898088"/>
                    </a:lnTo>
                    <a:lnTo>
                      <a:pt x="3308009" y="3875236"/>
                    </a:lnTo>
                    <a:lnTo>
                      <a:pt x="3280165" y="3864707"/>
                    </a:lnTo>
                    <a:lnTo>
                      <a:pt x="3257683" y="3865721"/>
                    </a:lnTo>
                    <a:lnTo>
                      <a:pt x="3235204" y="3866731"/>
                    </a:lnTo>
                    <a:lnTo>
                      <a:pt x="3207965" y="3871116"/>
                    </a:lnTo>
                    <a:lnTo>
                      <a:pt x="3181514" y="3876604"/>
                    </a:lnTo>
                    <a:lnTo>
                      <a:pt x="3128596" y="3887571"/>
                    </a:lnTo>
                    <a:lnTo>
                      <a:pt x="3076007" y="3903194"/>
                    </a:lnTo>
                    <a:lnTo>
                      <a:pt x="3045882" y="3910924"/>
                    </a:lnTo>
                    <a:lnTo>
                      <a:pt x="3027805" y="3933729"/>
                    </a:lnTo>
                    <a:lnTo>
                      <a:pt x="3011940" y="3965048"/>
                    </a:lnTo>
                    <a:lnTo>
                      <a:pt x="2994263" y="4017997"/>
                    </a:lnTo>
                    <a:lnTo>
                      <a:pt x="2986989" y="4055722"/>
                    </a:lnTo>
                    <a:lnTo>
                      <a:pt x="2970246" y="4111579"/>
                    </a:lnTo>
                    <a:lnTo>
                      <a:pt x="2963493" y="4133831"/>
                    </a:lnTo>
                    <a:lnTo>
                      <a:pt x="2937067" y="4155284"/>
                    </a:lnTo>
                    <a:lnTo>
                      <a:pt x="2882270" y="4145918"/>
                    </a:lnTo>
                    <a:lnTo>
                      <a:pt x="2861270" y="4141164"/>
                    </a:lnTo>
                    <a:lnTo>
                      <a:pt x="2839079" y="4140563"/>
                    </a:lnTo>
                    <a:lnTo>
                      <a:pt x="2818339" y="4135038"/>
                    </a:lnTo>
                    <a:lnTo>
                      <a:pt x="2793172" y="4128362"/>
                    </a:lnTo>
                    <a:lnTo>
                      <a:pt x="2763679" y="4117522"/>
                    </a:lnTo>
                    <a:lnTo>
                      <a:pt x="2739445" y="4107833"/>
                    </a:lnTo>
                    <a:lnTo>
                      <a:pt x="2703404" y="4093378"/>
                    </a:lnTo>
                    <a:lnTo>
                      <a:pt x="2667446" y="4076198"/>
                    </a:lnTo>
                    <a:lnTo>
                      <a:pt x="2631994" y="4060224"/>
                    </a:lnTo>
                    <a:lnTo>
                      <a:pt x="2582378" y="4054897"/>
                    </a:lnTo>
                    <a:lnTo>
                      <a:pt x="2550380" y="4061585"/>
                    </a:lnTo>
                    <a:lnTo>
                      <a:pt x="2518382" y="4068270"/>
                    </a:lnTo>
                    <a:lnTo>
                      <a:pt x="2486325" y="4078672"/>
                    </a:lnTo>
                    <a:lnTo>
                      <a:pt x="2459964" y="4105176"/>
                    </a:lnTo>
                    <a:lnTo>
                      <a:pt x="2452064" y="4125844"/>
                    </a:lnTo>
                    <a:lnTo>
                      <a:pt x="2445649" y="4145918"/>
                    </a:lnTo>
                    <a:lnTo>
                      <a:pt x="2439224" y="4165994"/>
                    </a:lnTo>
                    <a:lnTo>
                      <a:pt x="2433987" y="4186492"/>
                    </a:lnTo>
                    <a:lnTo>
                      <a:pt x="2406420" y="4274632"/>
                    </a:lnTo>
                    <a:lnTo>
                      <a:pt x="2385488" y="4323460"/>
                    </a:lnTo>
                    <a:lnTo>
                      <a:pt x="2351788" y="4360828"/>
                    </a:lnTo>
                    <a:lnTo>
                      <a:pt x="2334939" y="4379509"/>
                    </a:lnTo>
                    <a:lnTo>
                      <a:pt x="2315148" y="4394941"/>
                    </a:lnTo>
                    <a:lnTo>
                      <a:pt x="2290582" y="4408435"/>
                    </a:lnTo>
                    <a:lnTo>
                      <a:pt x="2266023" y="4421929"/>
                    </a:lnTo>
                    <a:lnTo>
                      <a:pt x="2236207" y="4433714"/>
                    </a:lnTo>
                    <a:lnTo>
                      <a:pt x="2200811" y="4443797"/>
                    </a:lnTo>
                    <a:lnTo>
                      <a:pt x="2160953" y="4456782"/>
                    </a:lnTo>
                    <a:lnTo>
                      <a:pt x="2134158" y="4462844"/>
                    </a:lnTo>
                    <a:lnTo>
                      <a:pt x="2107369" y="4468906"/>
                    </a:lnTo>
                    <a:lnTo>
                      <a:pt x="2080645" y="4471609"/>
                    </a:lnTo>
                    <a:lnTo>
                      <a:pt x="2060544" y="4456044"/>
                    </a:lnTo>
                    <a:lnTo>
                      <a:pt x="2037587" y="4428834"/>
                    </a:lnTo>
                    <a:lnTo>
                      <a:pt x="2015238" y="4403536"/>
                    </a:lnTo>
                    <a:lnTo>
                      <a:pt x="1991649" y="4393378"/>
                    </a:lnTo>
                    <a:lnTo>
                      <a:pt x="1966587" y="4390873"/>
                    </a:lnTo>
                    <a:lnTo>
                      <a:pt x="1942371" y="4393471"/>
                    </a:lnTo>
                    <a:lnTo>
                      <a:pt x="1918146" y="4396070"/>
                    </a:lnTo>
                    <a:lnTo>
                      <a:pt x="1893481" y="4404097"/>
                    </a:lnTo>
                    <a:lnTo>
                      <a:pt x="1869107" y="4426369"/>
                    </a:lnTo>
                    <a:lnTo>
                      <a:pt x="1854652" y="4447285"/>
                    </a:lnTo>
                    <a:lnTo>
                      <a:pt x="1840352" y="4466927"/>
                    </a:lnTo>
                    <a:lnTo>
                      <a:pt x="1826056" y="4486560"/>
                    </a:lnTo>
                    <a:lnTo>
                      <a:pt x="1812267" y="4505421"/>
                    </a:lnTo>
                    <a:lnTo>
                      <a:pt x="1766893" y="4522087"/>
                    </a:lnTo>
                    <a:lnTo>
                      <a:pt x="1732328" y="4518974"/>
                    </a:lnTo>
                    <a:lnTo>
                      <a:pt x="1697533" y="4513163"/>
                    </a:lnTo>
                    <a:lnTo>
                      <a:pt x="1666341" y="4507961"/>
                    </a:lnTo>
                    <a:lnTo>
                      <a:pt x="1625293" y="4500811"/>
                    </a:lnTo>
                    <a:lnTo>
                      <a:pt x="1591444" y="4499564"/>
                    </a:lnTo>
                    <a:lnTo>
                      <a:pt x="1606401" y="4518605"/>
                    </a:lnTo>
                    <a:lnTo>
                      <a:pt x="1617374" y="4565783"/>
                    </a:lnTo>
                    <a:lnTo>
                      <a:pt x="1603387" y="4615349"/>
                    </a:lnTo>
                    <a:lnTo>
                      <a:pt x="1610481" y="4664146"/>
                    </a:lnTo>
                    <a:lnTo>
                      <a:pt x="1674025" y="4853722"/>
                    </a:lnTo>
                    <a:lnTo>
                      <a:pt x="1699744" y="4906048"/>
                    </a:lnTo>
                    <a:lnTo>
                      <a:pt x="1736721" y="4959651"/>
                    </a:lnTo>
                    <a:lnTo>
                      <a:pt x="1770983" y="4998759"/>
                    </a:lnTo>
                    <a:lnTo>
                      <a:pt x="1894544" y="5139962"/>
                    </a:lnTo>
                    <a:lnTo>
                      <a:pt x="1972549" y="5015675"/>
                    </a:lnTo>
                    <a:lnTo>
                      <a:pt x="2101512" y="5119815"/>
                    </a:lnTo>
                    <a:lnTo>
                      <a:pt x="2193450" y="5194027"/>
                    </a:lnTo>
                    <a:lnTo>
                      <a:pt x="2140449" y="5349860"/>
                    </a:lnTo>
                    <a:lnTo>
                      <a:pt x="2200805" y="5379616"/>
                    </a:lnTo>
                    <a:lnTo>
                      <a:pt x="2259124" y="5352917"/>
                    </a:lnTo>
                    <a:lnTo>
                      <a:pt x="2275572" y="5307822"/>
                    </a:lnTo>
                    <a:lnTo>
                      <a:pt x="2317777" y="5284397"/>
                    </a:lnTo>
                    <a:lnTo>
                      <a:pt x="2362965" y="5259322"/>
                    </a:lnTo>
                    <a:lnTo>
                      <a:pt x="2441215" y="5259450"/>
                    </a:lnTo>
                    <a:lnTo>
                      <a:pt x="2466038" y="5240871"/>
                    </a:lnTo>
                    <a:lnTo>
                      <a:pt x="2494864" y="5219238"/>
                    </a:lnTo>
                    <a:lnTo>
                      <a:pt x="2498005" y="5175495"/>
                    </a:lnTo>
                    <a:lnTo>
                      <a:pt x="2525895" y="5153819"/>
                    </a:lnTo>
                    <a:lnTo>
                      <a:pt x="2567548" y="5149525"/>
                    </a:lnTo>
                    <a:lnTo>
                      <a:pt x="2586502" y="5160532"/>
                    </a:lnTo>
                    <a:lnTo>
                      <a:pt x="2686605" y="5262423"/>
                    </a:lnTo>
                    <a:lnTo>
                      <a:pt x="2701357" y="5280317"/>
                    </a:lnTo>
                    <a:lnTo>
                      <a:pt x="2728053" y="5312702"/>
                    </a:lnTo>
                    <a:lnTo>
                      <a:pt x="2770175" y="5372426"/>
                    </a:lnTo>
                    <a:lnTo>
                      <a:pt x="2811533" y="5386406"/>
                    </a:lnTo>
                    <a:lnTo>
                      <a:pt x="2856715" y="5401627"/>
                    </a:lnTo>
                    <a:lnTo>
                      <a:pt x="2906579" y="5393807"/>
                    </a:lnTo>
                    <a:lnTo>
                      <a:pt x="2952995" y="5391848"/>
                    </a:lnTo>
                    <a:lnTo>
                      <a:pt x="3174965" y="5382583"/>
                    </a:lnTo>
                    <a:lnTo>
                      <a:pt x="3196980" y="5309642"/>
                    </a:lnTo>
                    <a:lnTo>
                      <a:pt x="3370575" y="5210944"/>
                    </a:lnTo>
                    <a:lnTo>
                      <a:pt x="3402580" y="5192669"/>
                    </a:lnTo>
                    <a:lnTo>
                      <a:pt x="3451510" y="5175449"/>
                    </a:lnTo>
                    <a:lnTo>
                      <a:pt x="3476674" y="5160618"/>
                    </a:lnTo>
                    <a:lnTo>
                      <a:pt x="3495160" y="5149695"/>
                    </a:lnTo>
                    <a:lnTo>
                      <a:pt x="3512247" y="5131243"/>
                    </a:lnTo>
                    <a:lnTo>
                      <a:pt x="3531083" y="5121173"/>
                    </a:lnTo>
                    <a:lnTo>
                      <a:pt x="3558834" y="5110504"/>
                    </a:lnTo>
                    <a:lnTo>
                      <a:pt x="3619410" y="5078028"/>
                    </a:lnTo>
                    <a:lnTo>
                      <a:pt x="3646611" y="5099701"/>
                    </a:lnTo>
                    <a:lnTo>
                      <a:pt x="3686140" y="5087162"/>
                    </a:lnTo>
                    <a:lnTo>
                      <a:pt x="3745610" y="5068209"/>
                    </a:lnTo>
                    <a:lnTo>
                      <a:pt x="3905727" y="4928062"/>
                    </a:lnTo>
                    <a:lnTo>
                      <a:pt x="3937778" y="4923938"/>
                    </a:lnTo>
                    <a:lnTo>
                      <a:pt x="3975270" y="4931463"/>
                    </a:lnTo>
                    <a:lnTo>
                      <a:pt x="3973655" y="4973297"/>
                    </a:lnTo>
                    <a:lnTo>
                      <a:pt x="3952186" y="4985662"/>
                    </a:lnTo>
                    <a:lnTo>
                      <a:pt x="3937778" y="5004194"/>
                    </a:lnTo>
                    <a:lnTo>
                      <a:pt x="3910403" y="5039345"/>
                    </a:lnTo>
                    <a:lnTo>
                      <a:pt x="3861482" y="5111056"/>
                    </a:lnTo>
                    <a:lnTo>
                      <a:pt x="3824879" y="5133414"/>
                    </a:lnTo>
                    <a:lnTo>
                      <a:pt x="3781142" y="5160110"/>
                    </a:lnTo>
                    <a:lnTo>
                      <a:pt x="3738379" y="5157471"/>
                    </a:lnTo>
                    <a:lnTo>
                      <a:pt x="3691582" y="5172856"/>
                    </a:lnTo>
                    <a:lnTo>
                      <a:pt x="3647330" y="5187355"/>
                    </a:lnTo>
                    <a:lnTo>
                      <a:pt x="3615918" y="5220723"/>
                    </a:lnTo>
                    <a:lnTo>
                      <a:pt x="3575967" y="5238149"/>
                    </a:lnTo>
                    <a:lnTo>
                      <a:pt x="3530482" y="5257912"/>
                    </a:lnTo>
                    <a:lnTo>
                      <a:pt x="3477012" y="5268075"/>
                    </a:lnTo>
                    <a:lnTo>
                      <a:pt x="3433142" y="5293919"/>
                    </a:lnTo>
                    <a:lnTo>
                      <a:pt x="3381201" y="5324568"/>
                    </a:lnTo>
                    <a:lnTo>
                      <a:pt x="3363729" y="5386921"/>
                    </a:lnTo>
                    <a:lnTo>
                      <a:pt x="3317527" y="5417694"/>
                    </a:lnTo>
                    <a:lnTo>
                      <a:pt x="3241994" y="5468066"/>
                    </a:lnTo>
                    <a:lnTo>
                      <a:pt x="3170584" y="5481836"/>
                    </a:lnTo>
                    <a:lnTo>
                      <a:pt x="3147504" y="5582276"/>
                    </a:lnTo>
                    <a:lnTo>
                      <a:pt x="3142530" y="5603959"/>
                    </a:lnTo>
                    <a:lnTo>
                      <a:pt x="3133560" y="5623210"/>
                    </a:lnTo>
                    <a:lnTo>
                      <a:pt x="3136621" y="5646207"/>
                    </a:lnTo>
                    <a:lnTo>
                      <a:pt x="3142571" y="5690840"/>
                    </a:lnTo>
                    <a:lnTo>
                      <a:pt x="3190561" y="5683824"/>
                    </a:lnTo>
                    <a:lnTo>
                      <a:pt x="3201913" y="5722379"/>
                    </a:lnTo>
                    <a:lnTo>
                      <a:pt x="3183334" y="5757701"/>
                    </a:lnTo>
                    <a:lnTo>
                      <a:pt x="3145420" y="5785076"/>
                    </a:lnTo>
                    <a:lnTo>
                      <a:pt x="3109543" y="5794598"/>
                    </a:lnTo>
                    <a:lnTo>
                      <a:pt x="3080857" y="5809432"/>
                    </a:lnTo>
                    <a:lnTo>
                      <a:pt x="3039240" y="5830943"/>
                    </a:lnTo>
                    <a:lnTo>
                      <a:pt x="2999541" y="5876382"/>
                    </a:lnTo>
                    <a:lnTo>
                      <a:pt x="2963874" y="5907364"/>
                    </a:lnTo>
                    <a:lnTo>
                      <a:pt x="2913338" y="5909317"/>
                    </a:lnTo>
                    <a:lnTo>
                      <a:pt x="2666888" y="5857804"/>
                    </a:lnTo>
                    <a:lnTo>
                      <a:pt x="2630627" y="5832559"/>
                    </a:lnTo>
                    <a:lnTo>
                      <a:pt x="2555946" y="5780531"/>
                    </a:lnTo>
                    <a:lnTo>
                      <a:pt x="2587913" y="5745671"/>
                    </a:lnTo>
                    <a:lnTo>
                      <a:pt x="2475569" y="5716938"/>
                    </a:lnTo>
                    <a:lnTo>
                      <a:pt x="2399438" y="5697429"/>
                    </a:lnTo>
                    <a:lnTo>
                      <a:pt x="2361015" y="5746694"/>
                    </a:lnTo>
                    <a:lnTo>
                      <a:pt x="2310978" y="5737343"/>
                    </a:lnTo>
                    <a:lnTo>
                      <a:pt x="2232341" y="5722550"/>
                    </a:lnTo>
                    <a:lnTo>
                      <a:pt x="2123696" y="5635287"/>
                    </a:lnTo>
                    <a:lnTo>
                      <a:pt x="2055263" y="5638050"/>
                    </a:lnTo>
                    <a:lnTo>
                      <a:pt x="2030440" y="5639026"/>
                    </a:lnTo>
                    <a:lnTo>
                      <a:pt x="2014500" y="5655137"/>
                    </a:lnTo>
                    <a:lnTo>
                      <a:pt x="1992697" y="5662529"/>
                    </a:lnTo>
                    <a:lnTo>
                      <a:pt x="1960857" y="5673325"/>
                    </a:lnTo>
                    <a:lnTo>
                      <a:pt x="1841540" y="5692707"/>
                    </a:lnTo>
                    <a:lnTo>
                      <a:pt x="1810426" y="5688375"/>
                    </a:lnTo>
                    <a:lnTo>
                      <a:pt x="1731788" y="5677409"/>
                    </a:lnTo>
                    <a:lnTo>
                      <a:pt x="1665141" y="5632779"/>
                    </a:lnTo>
                    <a:lnTo>
                      <a:pt x="1585996" y="5621725"/>
                    </a:lnTo>
                    <a:lnTo>
                      <a:pt x="1531078" y="5614076"/>
                    </a:lnTo>
                    <a:lnTo>
                      <a:pt x="1471184" y="5620237"/>
                    </a:lnTo>
                    <a:lnTo>
                      <a:pt x="1417330" y="5608120"/>
                    </a:lnTo>
                    <a:lnTo>
                      <a:pt x="1395607" y="5603274"/>
                    </a:lnTo>
                    <a:lnTo>
                      <a:pt x="1373634" y="5594772"/>
                    </a:lnTo>
                    <a:lnTo>
                      <a:pt x="1350683" y="5593163"/>
                    </a:lnTo>
                    <a:lnTo>
                      <a:pt x="1306853" y="5590019"/>
                    </a:lnTo>
                    <a:lnTo>
                      <a:pt x="1285307" y="5617136"/>
                    </a:lnTo>
                    <a:lnTo>
                      <a:pt x="1237785" y="5604039"/>
                    </a:lnTo>
                    <a:lnTo>
                      <a:pt x="1169435" y="5585126"/>
                    </a:lnTo>
                    <a:lnTo>
                      <a:pt x="1237983" y="5548700"/>
                    </a:lnTo>
                    <a:lnTo>
                      <a:pt x="1101765" y="5529232"/>
                    </a:lnTo>
                    <a:lnTo>
                      <a:pt x="996410" y="5514184"/>
                    </a:lnTo>
                    <a:lnTo>
                      <a:pt x="948763" y="5405453"/>
                    </a:lnTo>
                    <a:lnTo>
                      <a:pt x="833800" y="5405453"/>
                    </a:lnTo>
                    <a:lnTo>
                      <a:pt x="807600" y="5405453"/>
                    </a:lnTo>
                    <a:lnTo>
                      <a:pt x="786600" y="5413440"/>
                    </a:lnTo>
                    <a:lnTo>
                      <a:pt x="761711" y="5417694"/>
                    </a:lnTo>
                    <a:lnTo>
                      <a:pt x="734764" y="5422330"/>
                    </a:lnTo>
                    <a:lnTo>
                      <a:pt x="704738" y="5420370"/>
                    </a:lnTo>
                    <a:lnTo>
                      <a:pt x="677382" y="5420410"/>
                    </a:lnTo>
                    <a:lnTo>
                      <a:pt x="652896" y="5423126"/>
                    </a:lnTo>
                    <a:lnTo>
                      <a:pt x="629775" y="5428568"/>
                    </a:lnTo>
                    <a:lnTo>
                      <a:pt x="598410" y="5438856"/>
                    </a:lnTo>
                    <a:lnTo>
                      <a:pt x="565844" y="5456920"/>
                    </a:lnTo>
                    <a:lnTo>
                      <a:pt x="533198" y="5465294"/>
                    </a:lnTo>
                    <a:lnTo>
                      <a:pt x="503231" y="5472993"/>
                    </a:lnTo>
                    <a:lnTo>
                      <a:pt x="466892" y="5466950"/>
                    </a:lnTo>
                    <a:lnTo>
                      <a:pt x="436627" y="5469372"/>
                    </a:lnTo>
                    <a:lnTo>
                      <a:pt x="362582" y="5475405"/>
                    </a:lnTo>
                    <a:lnTo>
                      <a:pt x="291402" y="5488409"/>
                    </a:lnTo>
                    <a:lnTo>
                      <a:pt x="217633" y="5458489"/>
                    </a:lnTo>
                    <a:lnTo>
                      <a:pt x="94307" y="5408461"/>
                    </a:lnTo>
                    <a:lnTo>
                      <a:pt x="84822" y="5296669"/>
                    </a:lnTo>
                    <a:lnTo>
                      <a:pt x="0" y="5262621"/>
                    </a:lnTo>
                    <a:lnTo>
                      <a:pt x="26333" y="5310017"/>
                    </a:lnTo>
                    <a:lnTo>
                      <a:pt x="39703" y="5375052"/>
                    </a:lnTo>
                    <a:lnTo>
                      <a:pt x="74814" y="5417688"/>
                    </a:lnTo>
                    <a:lnTo>
                      <a:pt x="116743" y="5468646"/>
                    </a:lnTo>
                    <a:lnTo>
                      <a:pt x="192025" y="5483569"/>
                    </a:lnTo>
                    <a:lnTo>
                      <a:pt x="231238" y="5530577"/>
                    </a:lnTo>
                    <a:lnTo>
                      <a:pt x="302924" y="5616609"/>
                    </a:lnTo>
                    <a:lnTo>
                      <a:pt x="320011" y="5697032"/>
                    </a:lnTo>
                    <a:lnTo>
                      <a:pt x="420306" y="5767257"/>
                    </a:lnTo>
                    <a:lnTo>
                      <a:pt x="466808" y="5799770"/>
                    </a:lnTo>
                    <a:lnTo>
                      <a:pt x="507228" y="5815499"/>
                    </a:lnTo>
                    <a:lnTo>
                      <a:pt x="535920" y="5869273"/>
                    </a:lnTo>
                    <a:lnTo>
                      <a:pt x="557004" y="5908802"/>
                    </a:lnTo>
                    <a:lnTo>
                      <a:pt x="584677" y="6052769"/>
                    </a:lnTo>
                    <a:lnTo>
                      <a:pt x="605293" y="6066501"/>
                    </a:lnTo>
                    <a:lnTo>
                      <a:pt x="640885" y="6004480"/>
                    </a:lnTo>
                    <a:lnTo>
                      <a:pt x="606059" y="5865363"/>
                    </a:lnTo>
                    <a:lnTo>
                      <a:pt x="642019" y="5786295"/>
                    </a:lnTo>
                    <a:lnTo>
                      <a:pt x="655981" y="5755608"/>
                    </a:lnTo>
                    <a:lnTo>
                      <a:pt x="681081" y="5751271"/>
                    </a:lnTo>
                    <a:lnTo>
                      <a:pt x="700503" y="5730528"/>
                    </a:lnTo>
                    <a:lnTo>
                      <a:pt x="742481" y="5723474"/>
                    </a:lnTo>
                    <a:lnTo>
                      <a:pt x="785558" y="5739836"/>
                    </a:lnTo>
                    <a:lnTo>
                      <a:pt x="827006" y="5740053"/>
                    </a:lnTo>
                    <a:lnTo>
                      <a:pt x="857885" y="5723006"/>
                    </a:lnTo>
                    <a:lnTo>
                      <a:pt x="902558" y="5716674"/>
                    </a:lnTo>
                    <a:lnTo>
                      <a:pt x="937183" y="5725089"/>
                    </a:lnTo>
                    <a:lnTo>
                      <a:pt x="966548" y="5732230"/>
                    </a:lnTo>
                    <a:lnTo>
                      <a:pt x="994730" y="5756756"/>
                    </a:lnTo>
                    <a:lnTo>
                      <a:pt x="1024235" y="5765896"/>
                    </a:lnTo>
                    <a:lnTo>
                      <a:pt x="1093282" y="5787107"/>
                    </a:lnTo>
                    <a:lnTo>
                      <a:pt x="1159489" y="5815583"/>
                    </a:lnTo>
                    <a:lnTo>
                      <a:pt x="1221463" y="5851584"/>
                    </a:lnTo>
                    <a:lnTo>
                      <a:pt x="1262012" y="5875136"/>
                    </a:lnTo>
                    <a:lnTo>
                      <a:pt x="1310810" y="5881895"/>
                    </a:lnTo>
                    <a:lnTo>
                      <a:pt x="1352041" y="5901919"/>
                    </a:lnTo>
                    <a:lnTo>
                      <a:pt x="1394764" y="5922612"/>
                    </a:lnTo>
                    <a:lnTo>
                      <a:pt x="1438752" y="5957553"/>
                    </a:lnTo>
                    <a:lnTo>
                      <a:pt x="1482619" y="5974008"/>
                    </a:lnTo>
                    <a:lnTo>
                      <a:pt x="1543617" y="5996831"/>
                    </a:lnTo>
                    <a:lnTo>
                      <a:pt x="1563889" y="5942893"/>
                    </a:lnTo>
                    <a:lnTo>
                      <a:pt x="1596876" y="5938639"/>
                    </a:lnTo>
                    <a:lnTo>
                      <a:pt x="1622084" y="5935405"/>
                    </a:lnTo>
                    <a:lnTo>
                      <a:pt x="1689369" y="5944078"/>
                    </a:lnTo>
                    <a:lnTo>
                      <a:pt x="1716019" y="5943188"/>
                    </a:lnTo>
                    <a:lnTo>
                      <a:pt x="1762224" y="5982928"/>
                    </a:lnTo>
                    <a:lnTo>
                      <a:pt x="1765752" y="6006263"/>
                    </a:lnTo>
                    <a:lnTo>
                      <a:pt x="1790021" y="6044729"/>
                    </a:lnTo>
                    <a:lnTo>
                      <a:pt x="1839035" y="6122346"/>
                    </a:lnTo>
                    <a:lnTo>
                      <a:pt x="1913207" y="6177728"/>
                    </a:lnTo>
                    <a:lnTo>
                      <a:pt x="1928766" y="6274603"/>
                    </a:lnTo>
                    <a:lnTo>
                      <a:pt x="1918602" y="6300276"/>
                    </a:lnTo>
                    <a:lnTo>
                      <a:pt x="1882220" y="6304741"/>
                    </a:lnTo>
                    <a:lnTo>
                      <a:pt x="1852938" y="6297982"/>
                    </a:lnTo>
                    <a:lnTo>
                      <a:pt x="1825389" y="6299088"/>
                    </a:lnTo>
                    <a:lnTo>
                      <a:pt x="1724859" y="6303166"/>
                    </a:lnTo>
                    <a:lnTo>
                      <a:pt x="1767672" y="6374833"/>
                    </a:lnTo>
                    <a:lnTo>
                      <a:pt x="1727457" y="6418787"/>
                    </a:lnTo>
                    <a:lnTo>
                      <a:pt x="1705396" y="6442844"/>
                    </a:lnTo>
                    <a:lnTo>
                      <a:pt x="1614986" y="6486792"/>
                    </a:lnTo>
                    <a:lnTo>
                      <a:pt x="1581912" y="6497675"/>
                    </a:lnTo>
                    <a:lnTo>
                      <a:pt x="1499372" y="6524752"/>
                    </a:lnTo>
                    <a:lnTo>
                      <a:pt x="1388854" y="6539843"/>
                    </a:lnTo>
                    <a:lnTo>
                      <a:pt x="1303074" y="6527602"/>
                    </a:lnTo>
                    <a:lnTo>
                      <a:pt x="1234303" y="6517736"/>
                    </a:lnTo>
                    <a:lnTo>
                      <a:pt x="1168412" y="6505029"/>
                    </a:lnTo>
                    <a:lnTo>
                      <a:pt x="1099046" y="6520796"/>
                    </a:lnTo>
                    <a:lnTo>
                      <a:pt x="1075918" y="6528960"/>
                    </a:lnTo>
                    <a:lnTo>
                      <a:pt x="1051948" y="6542395"/>
                    </a:lnTo>
                    <a:lnTo>
                      <a:pt x="1032222" y="6560288"/>
                    </a:lnTo>
                    <a:lnTo>
                      <a:pt x="1009271" y="6573847"/>
                    </a:lnTo>
                    <a:lnTo>
                      <a:pt x="981493" y="6590215"/>
                    </a:lnTo>
                    <a:lnTo>
                      <a:pt x="945464" y="6599396"/>
                    </a:lnTo>
                    <a:lnTo>
                      <a:pt x="919494" y="6617373"/>
                    </a:lnTo>
                    <a:lnTo>
                      <a:pt x="897328" y="6641133"/>
                    </a:lnTo>
                    <a:lnTo>
                      <a:pt x="876120" y="6659414"/>
                    </a:lnTo>
                    <a:lnTo>
                      <a:pt x="870526" y="6684020"/>
                    </a:lnTo>
                    <a:lnTo>
                      <a:pt x="885173" y="6716796"/>
                    </a:lnTo>
                    <a:lnTo>
                      <a:pt x="917686" y="6734820"/>
                    </a:lnTo>
                    <a:lnTo>
                      <a:pt x="939899" y="6760192"/>
                    </a:lnTo>
                    <a:lnTo>
                      <a:pt x="957482" y="6780299"/>
                    </a:lnTo>
                    <a:lnTo>
                      <a:pt x="965975" y="6818852"/>
                    </a:lnTo>
                    <a:lnTo>
                      <a:pt x="984783" y="6830929"/>
                    </a:lnTo>
                    <a:lnTo>
                      <a:pt x="1033078" y="6861956"/>
                    </a:lnTo>
                    <a:lnTo>
                      <a:pt x="1121950" y="6867736"/>
                    </a:lnTo>
                    <a:lnTo>
                      <a:pt x="1177934" y="6858133"/>
                    </a:lnTo>
                    <a:lnTo>
                      <a:pt x="1213296" y="6849966"/>
                    </a:lnTo>
                    <a:lnTo>
                      <a:pt x="1280163" y="6849966"/>
                    </a:lnTo>
                    <a:lnTo>
                      <a:pt x="1330278" y="6849966"/>
                    </a:lnTo>
                    <a:lnTo>
                      <a:pt x="1343198" y="6826886"/>
                    </a:lnTo>
                    <a:lnTo>
                      <a:pt x="1328787" y="6768309"/>
                    </a:lnTo>
                    <a:lnTo>
                      <a:pt x="1268133" y="6729763"/>
                    </a:lnTo>
                    <a:lnTo>
                      <a:pt x="1286752" y="6675862"/>
                    </a:lnTo>
                    <a:lnTo>
                      <a:pt x="1345539" y="6662428"/>
                    </a:lnTo>
                    <a:lnTo>
                      <a:pt x="1414146" y="6716585"/>
                    </a:lnTo>
                    <a:lnTo>
                      <a:pt x="1448615" y="6739793"/>
                    </a:lnTo>
                    <a:lnTo>
                      <a:pt x="1474542" y="6757219"/>
                    </a:lnTo>
                    <a:lnTo>
                      <a:pt x="1502426" y="6766021"/>
                    </a:lnTo>
                    <a:lnTo>
                      <a:pt x="1523429" y="6791477"/>
                    </a:lnTo>
                    <a:lnTo>
                      <a:pt x="1549908" y="6823661"/>
                    </a:lnTo>
                    <a:lnTo>
                      <a:pt x="1559002" y="6886907"/>
                    </a:lnTo>
                    <a:lnTo>
                      <a:pt x="1598234" y="6901659"/>
                    </a:lnTo>
                    <a:lnTo>
                      <a:pt x="1624502" y="6911519"/>
                    </a:lnTo>
                    <a:lnTo>
                      <a:pt x="1658168" y="6907138"/>
                    </a:lnTo>
                    <a:lnTo>
                      <a:pt x="1682564" y="6919339"/>
                    </a:lnTo>
                    <a:lnTo>
                      <a:pt x="1723888" y="6939995"/>
                    </a:lnTo>
                    <a:lnTo>
                      <a:pt x="1777398" y="6972384"/>
                    </a:lnTo>
                    <a:lnTo>
                      <a:pt x="1825389" y="6972384"/>
                    </a:lnTo>
                    <a:lnTo>
                      <a:pt x="1868493" y="6972384"/>
                    </a:lnTo>
                    <a:lnTo>
                      <a:pt x="1904919" y="6942203"/>
                    </a:lnTo>
                    <a:lnTo>
                      <a:pt x="1946445" y="6976458"/>
                    </a:lnTo>
                    <a:lnTo>
                      <a:pt x="1979770" y="7003966"/>
                    </a:lnTo>
                    <a:lnTo>
                      <a:pt x="2046972" y="7091651"/>
                    </a:lnTo>
                    <a:lnTo>
                      <a:pt x="2067508" y="7130166"/>
                    </a:lnTo>
                    <a:lnTo>
                      <a:pt x="2077752" y="7149331"/>
                    </a:lnTo>
                    <a:lnTo>
                      <a:pt x="2083910" y="7173137"/>
                    </a:lnTo>
                    <a:lnTo>
                      <a:pt x="2096070" y="7191372"/>
                    </a:lnTo>
                    <a:lnTo>
                      <a:pt x="2135048" y="7225978"/>
                    </a:lnTo>
                    <a:lnTo>
                      <a:pt x="2157155" y="7237707"/>
                    </a:lnTo>
                    <a:lnTo>
                      <a:pt x="2368150" y="7323950"/>
                    </a:lnTo>
                    <a:lnTo>
                      <a:pt x="2444492" y="7344479"/>
                    </a:lnTo>
                    <a:lnTo>
                      <a:pt x="2434760" y="7293133"/>
                    </a:lnTo>
                    <a:lnTo>
                      <a:pt x="2523170" y="7338275"/>
                    </a:lnTo>
                    <a:lnTo>
                      <a:pt x="2557220" y="7336783"/>
                    </a:lnTo>
                    <a:lnTo>
                      <a:pt x="2617880" y="7279618"/>
                    </a:lnTo>
                    <a:lnTo>
                      <a:pt x="2644232" y="7283866"/>
                    </a:lnTo>
                    <a:lnTo>
                      <a:pt x="2647246" y="7331429"/>
                    </a:lnTo>
                    <a:lnTo>
                      <a:pt x="2595221" y="7366456"/>
                    </a:lnTo>
                    <a:lnTo>
                      <a:pt x="2572137" y="7388600"/>
                    </a:lnTo>
                    <a:lnTo>
                      <a:pt x="2566696" y="7409005"/>
                    </a:lnTo>
                    <a:lnTo>
                      <a:pt x="2575625" y="7448113"/>
                    </a:lnTo>
                    <a:lnTo>
                      <a:pt x="2607375" y="7480499"/>
                    </a:lnTo>
                    <a:lnTo>
                      <a:pt x="2612947" y="7520536"/>
                    </a:lnTo>
                    <a:lnTo>
                      <a:pt x="2618730" y="7562236"/>
                    </a:lnTo>
                    <a:lnTo>
                      <a:pt x="2608349" y="7608143"/>
                    </a:lnTo>
                    <a:lnTo>
                      <a:pt x="2633346" y="7645682"/>
                    </a:lnTo>
                    <a:lnTo>
                      <a:pt x="2661868" y="7676877"/>
                    </a:lnTo>
                    <a:lnTo>
                      <a:pt x="2701397" y="7669399"/>
                    </a:lnTo>
                    <a:lnTo>
                      <a:pt x="2732645" y="7682402"/>
                    </a:lnTo>
                    <a:lnTo>
                      <a:pt x="2786747" y="7704931"/>
                    </a:lnTo>
                    <a:lnTo>
                      <a:pt x="2842350" y="7732306"/>
                    </a:lnTo>
                    <a:lnTo>
                      <a:pt x="2897227" y="7751775"/>
                    </a:lnTo>
                    <a:lnTo>
                      <a:pt x="2926258" y="7756364"/>
                    </a:lnTo>
                    <a:lnTo>
                      <a:pt x="2990062" y="7780297"/>
                    </a:lnTo>
                    <a:lnTo>
                      <a:pt x="3042512" y="7795341"/>
                    </a:lnTo>
                    <a:lnTo>
                      <a:pt x="3093095" y="7814348"/>
                    </a:lnTo>
                    <a:lnTo>
                      <a:pt x="3131346" y="7832325"/>
                    </a:lnTo>
                    <a:lnTo>
                      <a:pt x="3207094" y="7851707"/>
                    </a:lnTo>
                    <a:lnTo>
                      <a:pt x="3264523" y="7862627"/>
                    </a:lnTo>
                    <a:lnTo>
                      <a:pt x="3320250" y="7876912"/>
                    </a:lnTo>
                    <a:lnTo>
                      <a:pt x="3396078" y="7896334"/>
                    </a:lnTo>
                    <a:lnTo>
                      <a:pt x="3480875" y="7935060"/>
                    </a:lnTo>
                    <a:lnTo>
                      <a:pt x="3561004" y="7928598"/>
                    </a:lnTo>
                    <a:lnTo>
                      <a:pt x="3648651" y="7921461"/>
                    </a:lnTo>
                    <a:lnTo>
                      <a:pt x="3607122" y="7844603"/>
                    </a:lnTo>
                    <a:lnTo>
                      <a:pt x="3722864" y="7821147"/>
                    </a:lnTo>
                    <a:lnTo>
                      <a:pt x="3745266" y="7831600"/>
                    </a:lnTo>
                    <a:lnTo>
                      <a:pt x="3802397" y="7789525"/>
                    </a:lnTo>
                    <a:lnTo>
                      <a:pt x="3824879" y="7784421"/>
                    </a:lnTo>
                    <a:lnTo>
                      <a:pt x="3849833" y="7782976"/>
                    </a:lnTo>
                    <a:lnTo>
                      <a:pt x="3904540" y="7764444"/>
                    </a:lnTo>
                    <a:lnTo>
                      <a:pt x="3943303" y="7734641"/>
                    </a:lnTo>
                    <a:lnTo>
                      <a:pt x="3992184" y="7738176"/>
                    </a:lnTo>
                    <a:lnTo>
                      <a:pt x="4027084" y="7740768"/>
                    </a:lnTo>
                    <a:lnTo>
                      <a:pt x="4060111" y="7766357"/>
                    </a:lnTo>
                    <a:lnTo>
                      <a:pt x="4095560" y="7759933"/>
                    </a:lnTo>
                    <a:lnTo>
                      <a:pt x="4123317" y="7740681"/>
                    </a:lnTo>
                    <a:lnTo>
                      <a:pt x="4163318" y="7731581"/>
                    </a:lnTo>
                    <a:lnTo>
                      <a:pt x="4189716" y="7735023"/>
                    </a:lnTo>
                    <a:lnTo>
                      <a:pt x="4212539" y="7727287"/>
                    </a:lnTo>
                    <a:lnTo>
                      <a:pt x="4255129" y="7712838"/>
                    </a:lnTo>
                    <a:lnTo>
                      <a:pt x="4284628" y="7673777"/>
                    </a:lnTo>
                    <a:lnTo>
                      <a:pt x="4324074" y="7656559"/>
                    </a:lnTo>
                    <a:lnTo>
                      <a:pt x="4364415" y="7639000"/>
                    </a:lnTo>
                    <a:lnTo>
                      <a:pt x="4529128" y="7629057"/>
                    </a:lnTo>
                    <a:lnTo>
                      <a:pt x="4568908" y="7641602"/>
                    </a:lnTo>
                    <a:lnTo>
                      <a:pt x="4605381" y="7653161"/>
                    </a:lnTo>
                    <a:lnTo>
                      <a:pt x="4642575" y="7677516"/>
                    </a:lnTo>
                    <a:lnTo>
                      <a:pt x="4679085" y="7687844"/>
                    </a:lnTo>
                    <a:lnTo>
                      <a:pt x="4710838" y="7696860"/>
                    </a:lnTo>
                    <a:lnTo>
                      <a:pt x="4738979" y="7668251"/>
                    </a:lnTo>
                    <a:lnTo>
                      <a:pt x="4772942" y="7682402"/>
                    </a:lnTo>
                    <a:lnTo>
                      <a:pt x="4804909" y="7703189"/>
                    </a:lnTo>
                    <a:lnTo>
                      <a:pt x="4828710" y="7725928"/>
                    </a:lnTo>
                    <a:lnTo>
                      <a:pt x="4898885" y="7767207"/>
                    </a:lnTo>
                    <a:lnTo>
                      <a:pt x="4944916" y="7692098"/>
                    </a:lnTo>
                    <a:lnTo>
                      <a:pt x="5009613" y="7683761"/>
                    </a:lnTo>
                    <a:lnTo>
                      <a:pt x="5076049" y="7675222"/>
                    </a:lnTo>
                    <a:lnTo>
                      <a:pt x="5303462" y="7724992"/>
                    </a:lnTo>
                    <a:lnTo>
                      <a:pt x="5322456" y="7626635"/>
                    </a:lnTo>
                    <a:lnTo>
                      <a:pt x="5349667" y="7503068"/>
                    </a:lnTo>
                    <a:lnTo>
                      <a:pt x="5320208" y="7550848"/>
                    </a:lnTo>
                    <a:lnTo>
                      <a:pt x="5297977" y="7478378"/>
                    </a:lnTo>
                    <a:lnTo>
                      <a:pt x="5318382" y="7456615"/>
                    </a:lnTo>
                    <a:lnTo>
                      <a:pt x="5352978" y="7474124"/>
                    </a:lnTo>
                    <a:lnTo>
                      <a:pt x="5398079" y="7486917"/>
                    </a:lnTo>
                    <a:lnTo>
                      <a:pt x="5433231" y="7488151"/>
                    </a:lnTo>
                    <a:lnTo>
                      <a:pt x="5454402" y="7502857"/>
                    </a:lnTo>
                    <a:lnTo>
                      <a:pt x="5509229" y="7541028"/>
                    </a:lnTo>
                    <a:lnTo>
                      <a:pt x="5539243" y="7629268"/>
                    </a:lnTo>
                    <a:lnTo>
                      <a:pt x="5612184" y="7637518"/>
                    </a:lnTo>
                    <a:lnTo>
                      <a:pt x="5676115" y="7644699"/>
                    </a:lnTo>
                    <a:lnTo>
                      <a:pt x="5777024" y="7531339"/>
                    </a:lnTo>
                    <a:lnTo>
                      <a:pt x="5835256" y="7500141"/>
                    </a:lnTo>
                    <a:lnTo>
                      <a:pt x="5879548" y="7483984"/>
                    </a:lnTo>
                    <a:lnTo>
                      <a:pt x="5914870" y="7438551"/>
                    </a:lnTo>
                    <a:lnTo>
                      <a:pt x="5890601" y="7371045"/>
                    </a:lnTo>
                    <a:lnTo>
                      <a:pt x="5908709" y="7330117"/>
                    </a:lnTo>
                    <a:lnTo>
                      <a:pt x="5929030" y="7315833"/>
                    </a:lnTo>
                    <a:lnTo>
                      <a:pt x="5990744" y="7284631"/>
                    </a:lnTo>
                    <a:lnTo>
                      <a:pt x="5978714" y="7199365"/>
                    </a:lnTo>
                    <a:lnTo>
                      <a:pt x="6020243" y="7168251"/>
                    </a:lnTo>
                    <a:lnTo>
                      <a:pt x="6038729" y="7232520"/>
                    </a:lnTo>
                    <a:lnTo>
                      <a:pt x="5996310" y="7270518"/>
                    </a:lnTo>
                    <a:lnTo>
                      <a:pt x="5999838" y="7336917"/>
                    </a:lnTo>
                    <a:lnTo>
                      <a:pt x="6002774" y="7391323"/>
                    </a:lnTo>
                    <a:lnTo>
                      <a:pt x="6035293" y="7468980"/>
                    </a:lnTo>
                    <a:lnTo>
                      <a:pt x="6028407" y="7520536"/>
                    </a:lnTo>
                    <a:lnTo>
                      <a:pt x="6021939" y="7568999"/>
                    </a:lnTo>
                    <a:lnTo>
                      <a:pt x="5972252" y="7599049"/>
                    </a:lnTo>
                    <a:lnTo>
                      <a:pt x="5967195" y="7629361"/>
                    </a:lnTo>
                    <a:lnTo>
                      <a:pt x="5975781" y="7654565"/>
                    </a:lnTo>
                    <a:lnTo>
                      <a:pt x="6035715" y="7654051"/>
                    </a:lnTo>
                    <a:lnTo>
                      <a:pt x="6084298" y="7561520"/>
                    </a:lnTo>
                    <a:lnTo>
                      <a:pt x="6160346" y="7573587"/>
                    </a:lnTo>
                    <a:lnTo>
                      <a:pt x="6207401" y="7605381"/>
                    </a:lnTo>
                    <a:lnTo>
                      <a:pt x="6251389" y="7635729"/>
                    </a:lnTo>
                    <a:lnTo>
                      <a:pt x="6304523" y="7657923"/>
                    </a:lnTo>
                    <a:lnTo>
                      <a:pt x="6328497" y="7664425"/>
                    </a:lnTo>
                    <a:lnTo>
                      <a:pt x="6354895" y="7694135"/>
                    </a:lnTo>
                    <a:lnTo>
                      <a:pt x="6349032" y="7729200"/>
                    </a:lnTo>
                    <a:lnTo>
                      <a:pt x="6338527" y="7751775"/>
                    </a:lnTo>
                    <a:lnTo>
                      <a:pt x="6318504" y="7795003"/>
                    </a:lnTo>
                    <a:lnTo>
                      <a:pt x="6254706" y="7797301"/>
                    </a:lnTo>
                    <a:lnTo>
                      <a:pt x="6244676" y="7841552"/>
                    </a:lnTo>
                    <a:lnTo>
                      <a:pt x="6279185" y="7858249"/>
                    </a:lnTo>
                    <a:lnTo>
                      <a:pt x="6345919" y="7846523"/>
                    </a:lnTo>
                    <a:lnTo>
                      <a:pt x="6335256" y="7772561"/>
                    </a:lnTo>
                    <a:lnTo>
                      <a:pt x="6387495" y="7761297"/>
                    </a:lnTo>
                    <a:lnTo>
                      <a:pt x="6427787" y="7783826"/>
                    </a:lnTo>
                    <a:lnTo>
                      <a:pt x="6466560" y="7786207"/>
                    </a:lnTo>
                    <a:lnTo>
                      <a:pt x="6508548" y="7800743"/>
                    </a:lnTo>
                    <a:lnTo>
                      <a:pt x="6529806" y="7812429"/>
                    </a:lnTo>
                    <a:lnTo>
                      <a:pt x="6596670" y="7879714"/>
                    </a:lnTo>
                    <a:lnTo>
                      <a:pt x="6560539" y="7893915"/>
                    </a:lnTo>
                    <a:lnTo>
                      <a:pt x="6580646" y="7934046"/>
                    </a:lnTo>
                    <a:lnTo>
                      <a:pt x="6590121" y="7953000"/>
                    </a:lnTo>
                    <a:lnTo>
                      <a:pt x="6617583" y="7962943"/>
                    </a:lnTo>
                    <a:lnTo>
                      <a:pt x="6673264" y="8013058"/>
                    </a:lnTo>
                    <a:lnTo>
                      <a:pt x="6670120" y="8082180"/>
                    </a:lnTo>
                    <a:lnTo>
                      <a:pt x="6743870" y="8085023"/>
                    </a:lnTo>
                    <a:lnTo>
                      <a:pt x="6789263" y="8086762"/>
                    </a:lnTo>
                    <a:lnTo>
                      <a:pt x="6810939" y="8022410"/>
                    </a:lnTo>
                    <a:lnTo>
                      <a:pt x="6867642" y="8033336"/>
                    </a:lnTo>
                    <a:lnTo>
                      <a:pt x="6897991" y="8036741"/>
                    </a:lnTo>
                    <a:lnTo>
                      <a:pt x="6964812" y="8121873"/>
                    </a:lnTo>
                    <a:lnTo>
                      <a:pt x="7006384" y="8102709"/>
                    </a:lnTo>
                    <a:lnTo>
                      <a:pt x="6994481" y="8015142"/>
                    </a:lnTo>
                    <a:lnTo>
                      <a:pt x="6919419" y="7995041"/>
                    </a:lnTo>
                    <a:lnTo>
                      <a:pt x="6976464" y="7909558"/>
                    </a:lnTo>
                    <a:lnTo>
                      <a:pt x="7005575" y="7873727"/>
                    </a:lnTo>
                    <a:lnTo>
                      <a:pt x="7057392" y="7867008"/>
                    </a:lnTo>
                    <a:lnTo>
                      <a:pt x="7137260" y="7903992"/>
                    </a:lnTo>
                    <a:lnTo>
                      <a:pt x="7165528" y="7879631"/>
                    </a:lnTo>
                    <a:lnTo>
                      <a:pt x="7153960" y="7812388"/>
                    </a:lnTo>
                    <a:lnTo>
                      <a:pt x="7080724" y="7817151"/>
                    </a:lnTo>
                    <a:lnTo>
                      <a:pt x="7056710" y="7778980"/>
                    </a:lnTo>
                    <a:lnTo>
                      <a:pt x="7048673" y="7745952"/>
                    </a:lnTo>
                    <a:lnTo>
                      <a:pt x="7080426" y="7650780"/>
                    </a:lnTo>
                    <a:lnTo>
                      <a:pt x="7104828" y="7681131"/>
                    </a:lnTo>
                    <a:lnTo>
                      <a:pt x="7146481" y="7651118"/>
                    </a:lnTo>
                    <a:lnTo>
                      <a:pt x="7184823" y="7623532"/>
                    </a:lnTo>
                    <a:lnTo>
                      <a:pt x="7151163" y="7579199"/>
                    </a:lnTo>
                    <a:lnTo>
                      <a:pt x="7225376" y="7561346"/>
                    </a:lnTo>
                    <a:lnTo>
                      <a:pt x="7250028" y="7543878"/>
                    </a:lnTo>
                    <a:lnTo>
                      <a:pt x="7240590" y="7492107"/>
                    </a:lnTo>
                    <a:lnTo>
                      <a:pt x="7275701" y="7485177"/>
                    </a:lnTo>
                    <a:lnTo>
                      <a:pt x="7299207" y="7485704"/>
                    </a:lnTo>
                    <a:lnTo>
                      <a:pt x="7326284" y="7500990"/>
                    </a:lnTo>
                    <a:lnTo>
                      <a:pt x="7342358" y="7517820"/>
                    </a:lnTo>
                    <a:lnTo>
                      <a:pt x="7377165" y="7554119"/>
                    </a:lnTo>
                    <a:lnTo>
                      <a:pt x="7379038" y="7616692"/>
                    </a:lnTo>
                    <a:lnTo>
                      <a:pt x="7398115" y="7660639"/>
                    </a:lnTo>
                    <a:lnTo>
                      <a:pt x="7423782" y="7662915"/>
                    </a:lnTo>
                    <a:lnTo>
                      <a:pt x="7456599" y="7640234"/>
                    </a:lnTo>
                    <a:lnTo>
                      <a:pt x="7483937" y="7612562"/>
                    </a:lnTo>
                    <a:lnTo>
                      <a:pt x="7497409" y="7574945"/>
                    </a:lnTo>
                    <a:lnTo>
                      <a:pt x="7493986" y="7533140"/>
                    </a:lnTo>
                    <a:lnTo>
                      <a:pt x="7490603" y="7500135"/>
                    </a:lnTo>
                    <a:lnTo>
                      <a:pt x="7491843" y="7458097"/>
                    </a:lnTo>
                    <a:lnTo>
                      <a:pt x="7483341" y="7419628"/>
                    </a:lnTo>
                    <a:lnTo>
                      <a:pt x="7469900" y="7398076"/>
                    </a:lnTo>
                    <a:lnTo>
                      <a:pt x="7463398" y="7377717"/>
                    </a:lnTo>
                    <a:lnTo>
                      <a:pt x="7454431" y="7349663"/>
                    </a:lnTo>
                    <a:lnTo>
                      <a:pt x="7448013" y="7320462"/>
                    </a:lnTo>
                    <a:lnTo>
                      <a:pt x="7440277" y="7292023"/>
                    </a:lnTo>
                    <a:lnTo>
                      <a:pt x="7430095" y="7254360"/>
                    </a:lnTo>
                    <a:lnTo>
                      <a:pt x="7424049" y="7215088"/>
                    </a:lnTo>
                    <a:lnTo>
                      <a:pt x="7429397" y="7179125"/>
                    </a:lnTo>
                    <a:lnTo>
                      <a:pt x="7437239" y="7142860"/>
                    </a:lnTo>
                    <a:lnTo>
                      <a:pt x="7456915" y="7112016"/>
                    </a:lnTo>
                    <a:lnTo>
                      <a:pt x="7490603" y="7087992"/>
                    </a:lnTo>
                    <a:lnTo>
                      <a:pt x="7530048" y="7089350"/>
                    </a:lnTo>
                    <a:lnTo>
                      <a:pt x="7553610" y="7104822"/>
                    </a:lnTo>
                    <a:lnTo>
                      <a:pt x="7576067" y="7143573"/>
                    </a:lnTo>
                    <a:lnTo>
                      <a:pt x="7598060" y="7154639"/>
                    </a:lnTo>
                    <a:lnTo>
                      <a:pt x="7621671" y="7152686"/>
                    </a:lnTo>
                    <a:lnTo>
                      <a:pt x="7729320" y="7205604"/>
                    </a:lnTo>
                    <a:lnTo>
                      <a:pt x="7750804" y="7187013"/>
                    </a:lnTo>
                    <a:lnTo>
                      <a:pt x="7761833" y="7158760"/>
                    </a:lnTo>
                    <a:lnTo>
                      <a:pt x="7773525" y="7131524"/>
                    </a:lnTo>
                    <a:lnTo>
                      <a:pt x="7785217" y="7104280"/>
                    </a:lnTo>
                    <a:lnTo>
                      <a:pt x="7797753" y="7078684"/>
                    </a:lnTo>
                    <a:lnTo>
                      <a:pt x="7846990" y="7065891"/>
                    </a:lnTo>
                    <a:lnTo>
                      <a:pt x="7872818" y="7056710"/>
                    </a:lnTo>
                    <a:lnTo>
                      <a:pt x="7891540" y="7038727"/>
                    </a:lnTo>
                    <a:lnTo>
                      <a:pt x="7914986" y="7014542"/>
                    </a:lnTo>
                    <a:lnTo>
                      <a:pt x="7945679" y="7013733"/>
                    </a:lnTo>
                    <a:lnTo>
                      <a:pt x="7968350" y="7019364"/>
                    </a:lnTo>
                    <a:lnTo>
                      <a:pt x="7990792" y="7050289"/>
                    </a:lnTo>
                    <a:lnTo>
                      <a:pt x="8018360" y="7082551"/>
                    </a:lnTo>
                    <a:lnTo>
                      <a:pt x="8032145" y="7098680"/>
                    </a:lnTo>
                    <a:lnTo>
                      <a:pt x="8047412" y="7114642"/>
                    </a:lnTo>
                    <a:lnTo>
                      <a:pt x="8064605" y="7128799"/>
                    </a:lnTo>
                    <a:lnTo>
                      <a:pt x="8081804" y="7142959"/>
                    </a:lnTo>
                    <a:lnTo>
                      <a:pt x="8100215" y="7155142"/>
                    </a:lnTo>
                    <a:lnTo>
                      <a:pt x="8121736" y="7161445"/>
                    </a:lnTo>
                    <a:lnTo>
                      <a:pt x="8149791" y="7169655"/>
                    </a:lnTo>
                    <a:lnTo>
                      <a:pt x="8172378" y="7169386"/>
                    </a:lnTo>
                    <a:lnTo>
                      <a:pt x="8209836" y="7161662"/>
                    </a:lnTo>
                    <a:lnTo>
                      <a:pt x="8237351" y="7143756"/>
                    </a:lnTo>
                    <a:lnTo>
                      <a:pt x="8262457" y="7124685"/>
                    </a:lnTo>
                    <a:lnTo>
                      <a:pt x="8277922" y="7100891"/>
                    </a:lnTo>
                    <a:lnTo>
                      <a:pt x="8318962" y="7104314"/>
                    </a:lnTo>
                    <a:lnTo>
                      <a:pt x="8333075" y="7120973"/>
                    </a:lnTo>
                    <a:lnTo>
                      <a:pt x="8343450" y="7144054"/>
                    </a:lnTo>
                    <a:lnTo>
                      <a:pt x="8359771" y="7157355"/>
                    </a:lnTo>
                    <a:lnTo>
                      <a:pt x="8377454" y="7171727"/>
                    </a:lnTo>
                    <a:lnTo>
                      <a:pt x="8398749" y="7177782"/>
                    </a:lnTo>
                    <a:lnTo>
                      <a:pt x="8422338" y="7180486"/>
                    </a:lnTo>
                    <a:lnTo>
                      <a:pt x="8445993" y="7183183"/>
                    </a:lnTo>
                    <a:lnTo>
                      <a:pt x="8471892" y="7182706"/>
                    </a:lnTo>
                    <a:lnTo>
                      <a:pt x="8497155" y="7183202"/>
                    </a:lnTo>
                    <a:lnTo>
                      <a:pt x="8522416" y="7183729"/>
                    </a:lnTo>
                    <a:lnTo>
                      <a:pt x="8546777" y="7186321"/>
                    </a:lnTo>
                    <a:lnTo>
                      <a:pt x="8569238" y="7194082"/>
                    </a:lnTo>
                    <a:lnTo>
                      <a:pt x="8591760" y="7201846"/>
                    </a:lnTo>
                    <a:lnTo>
                      <a:pt x="8612317" y="7214474"/>
                    </a:lnTo>
                    <a:lnTo>
                      <a:pt x="8627730" y="7238969"/>
                    </a:lnTo>
                    <a:lnTo>
                      <a:pt x="8658423" y="7287763"/>
                    </a:lnTo>
                    <a:lnTo>
                      <a:pt x="8658990" y="7353734"/>
                    </a:lnTo>
                    <a:lnTo>
                      <a:pt x="8683494" y="7406274"/>
                    </a:lnTo>
                    <a:lnTo>
                      <a:pt x="8697866" y="7437072"/>
                    </a:lnTo>
                    <a:lnTo>
                      <a:pt x="8722695" y="7462093"/>
                    </a:lnTo>
                    <a:lnTo>
                      <a:pt x="8747425" y="7486529"/>
                    </a:lnTo>
                    <a:lnTo>
                      <a:pt x="8772159" y="7510956"/>
                    </a:lnTo>
                    <a:lnTo>
                      <a:pt x="8796210" y="7535087"/>
                    </a:lnTo>
                    <a:lnTo>
                      <a:pt x="8811366" y="7565417"/>
                    </a:lnTo>
                    <a:lnTo>
                      <a:pt x="8826190" y="7607833"/>
                    </a:lnTo>
                    <a:lnTo>
                      <a:pt x="8848086" y="7625265"/>
                    </a:lnTo>
                    <a:lnTo>
                      <a:pt x="8882608" y="7618419"/>
                    </a:lnTo>
                    <a:lnTo>
                      <a:pt x="8888381" y="7596240"/>
                    </a:lnTo>
                    <a:lnTo>
                      <a:pt x="8894328" y="7573575"/>
                    </a:lnTo>
                    <a:lnTo>
                      <a:pt x="8900278" y="7550907"/>
                    </a:lnTo>
                    <a:lnTo>
                      <a:pt x="8906299" y="7528564"/>
                    </a:lnTo>
                    <a:lnTo>
                      <a:pt x="8926974" y="7517808"/>
                    </a:lnTo>
                    <a:lnTo>
                      <a:pt x="8959750" y="7519383"/>
                    </a:lnTo>
                    <a:lnTo>
                      <a:pt x="8978478" y="7546160"/>
                    </a:lnTo>
                    <a:lnTo>
                      <a:pt x="8989547" y="7585813"/>
                    </a:lnTo>
                    <a:lnTo>
                      <a:pt x="8995237" y="7605982"/>
                    </a:lnTo>
                    <a:lnTo>
                      <a:pt x="9001118" y="7626387"/>
                    </a:lnTo>
                    <a:lnTo>
                      <a:pt x="9018826" y="7656782"/>
                    </a:lnTo>
                    <a:lnTo>
                      <a:pt x="9050759" y="7664707"/>
                    </a:lnTo>
                    <a:lnTo>
                      <a:pt x="9070953" y="7656503"/>
                    </a:lnTo>
                    <a:lnTo>
                      <a:pt x="9101078" y="7653821"/>
                    </a:lnTo>
                    <a:lnTo>
                      <a:pt x="9124333" y="7680852"/>
                    </a:lnTo>
                    <a:lnTo>
                      <a:pt x="9143076" y="7706060"/>
                    </a:lnTo>
                    <a:lnTo>
                      <a:pt x="9164752" y="7711545"/>
                    </a:lnTo>
                    <a:lnTo>
                      <a:pt x="9190248" y="7698839"/>
                    </a:lnTo>
                    <a:lnTo>
                      <a:pt x="9203103" y="7676949"/>
                    </a:lnTo>
                    <a:lnTo>
                      <a:pt x="9202061" y="7649468"/>
                    </a:lnTo>
                    <a:lnTo>
                      <a:pt x="9187888" y="7622812"/>
                    </a:lnTo>
                    <a:lnTo>
                      <a:pt x="9174531" y="7595338"/>
                    </a:lnTo>
                    <a:lnTo>
                      <a:pt x="9170351" y="7556909"/>
                    </a:lnTo>
                    <a:lnTo>
                      <a:pt x="9173313" y="7519501"/>
                    </a:lnTo>
                    <a:lnTo>
                      <a:pt x="9165037" y="7481075"/>
                    </a:lnTo>
                    <a:lnTo>
                      <a:pt x="9152309" y="7453830"/>
                    </a:lnTo>
                    <a:lnTo>
                      <a:pt x="9113344" y="7441630"/>
                    </a:lnTo>
                    <a:lnTo>
                      <a:pt x="9092849" y="7436492"/>
                    </a:lnTo>
                    <a:lnTo>
                      <a:pt x="9069917" y="7433912"/>
                    </a:lnTo>
                    <a:lnTo>
                      <a:pt x="9050780" y="7418508"/>
                    </a:lnTo>
                    <a:lnTo>
                      <a:pt x="9021833" y="7395254"/>
                    </a:lnTo>
                    <a:lnTo>
                      <a:pt x="8997729" y="7351858"/>
                    </a:lnTo>
                    <a:lnTo>
                      <a:pt x="9023086" y="7334008"/>
                    </a:lnTo>
                    <a:lnTo>
                      <a:pt x="9053497" y="7350494"/>
                    </a:lnTo>
                    <a:lnTo>
                      <a:pt x="9083241" y="7366288"/>
                    </a:lnTo>
                    <a:lnTo>
                      <a:pt x="9119955" y="7347586"/>
                    </a:lnTo>
                    <a:lnTo>
                      <a:pt x="9128618" y="7325020"/>
                    </a:lnTo>
                    <a:lnTo>
                      <a:pt x="9136474" y="7301526"/>
                    </a:lnTo>
                    <a:lnTo>
                      <a:pt x="9144322" y="7278043"/>
                    </a:lnTo>
                    <a:lnTo>
                      <a:pt x="9150480" y="7253753"/>
                    </a:lnTo>
                    <a:lnTo>
                      <a:pt x="9169111" y="7234879"/>
                    </a:lnTo>
                    <a:lnTo>
                      <a:pt x="9206259" y="7245254"/>
                    </a:lnTo>
                    <a:lnTo>
                      <a:pt x="9223527" y="7271606"/>
                    </a:lnTo>
                    <a:lnTo>
                      <a:pt x="9245835" y="7297452"/>
                    </a:lnTo>
                    <a:lnTo>
                      <a:pt x="9263220" y="7334706"/>
                    </a:lnTo>
                    <a:lnTo>
                      <a:pt x="9266625" y="7355591"/>
                    </a:lnTo>
                    <a:lnTo>
                      <a:pt x="9264817" y="7397087"/>
                    </a:lnTo>
                    <a:lnTo>
                      <a:pt x="9260135" y="7417994"/>
                    </a:lnTo>
                    <a:lnTo>
                      <a:pt x="9244207" y="7476663"/>
                    </a:lnTo>
                    <a:lnTo>
                      <a:pt x="9230134" y="7512599"/>
                    </a:lnTo>
                    <a:lnTo>
                      <a:pt x="9239848" y="7540929"/>
                    </a:lnTo>
                    <a:lnTo>
                      <a:pt x="9269769" y="7550445"/>
                    </a:lnTo>
                    <a:lnTo>
                      <a:pt x="9295609" y="7515098"/>
                    </a:lnTo>
                    <a:lnTo>
                      <a:pt x="9322035" y="7503378"/>
                    </a:lnTo>
                    <a:lnTo>
                      <a:pt x="9345941" y="7485156"/>
                    </a:lnTo>
                    <a:lnTo>
                      <a:pt x="9369400" y="7464961"/>
                    </a:lnTo>
                    <a:lnTo>
                      <a:pt x="9390543" y="7434619"/>
                    </a:lnTo>
                    <a:lnTo>
                      <a:pt x="9399848" y="7415349"/>
                    </a:lnTo>
                    <a:lnTo>
                      <a:pt x="9408514" y="7387220"/>
                    </a:lnTo>
                    <a:lnTo>
                      <a:pt x="9418609" y="7353384"/>
                    </a:lnTo>
                    <a:lnTo>
                      <a:pt x="9405435" y="7324716"/>
                    </a:lnTo>
                    <a:lnTo>
                      <a:pt x="9377241" y="7317851"/>
                    </a:lnTo>
                    <a:lnTo>
                      <a:pt x="9347609" y="7307945"/>
                    </a:lnTo>
                    <a:lnTo>
                      <a:pt x="9337789" y="7289288"/>
                    </a:lnTo>
                    <a:lnTo>
                      <a:pt x="9309906" y="7236237"/>
                    </a:lnTo>
                    <a:lnTo>
                      <a:pt x="9274882" y="7214732"/>
                    </a:lnTo>
                    <a:lnTo>
                      <a:pt x="9248021" y="7166865"/>
                    </a:lnTo>
                    <a:lnTo>
                      <a:pt x="9234670" y="7129066"/>
                    </a:lnTo>
                    <a:lnTo>
                      <a:pt x="9233048" y="7101576"/>
                    </a:lnTo>
                    <a:lnTo>
                      <a:pt x="9231480" y="7074089"/>
                    </a:lnTo>
                    <a:lnTo>
                      <a:pt x="9233048" y="7042454"/>
                    </a:lnTo>
                    <a:lnTo>
                      <a:pt x="9235799" y="7010450"/>
                    </a:lnTo>
                    <a:lnTo>
                      <a:pt x="9240912" y="6946426"/>
                    </a:lnTo>
                    <a:lnTo>
                      <a:pt x="9251903" y="6880206"/>
                    </a:lnTo>
                    <a:lnTo>
                      <a:pt x="9257555" y="6844500"/>
                    </a:lnTo>
                    <a:lnTo>
                      <a:pt x="9278903" y="6833242"/>
                    </a:lnTo>
                    <a:lnTo>
                      <a:pt x="9310138" y="6842556"/>
                    </a:lnTo>
                    <a:lnTo>
                      <a:pt x="9361286" y="6869640"/>
                    </a:lnTo>
                    <a:lnTo>
                      <a:pt x="9390840" y="6895650"/>
                    </a:lnTo>
                    <a:lnTo>
                      <a:pt x="9416705" y="6926114"/>
                    </a:lnTo>
                    <a:lnTo>
                      <a:pt x="9442555" y="6956574"/>
                    </a:lnTo>
                    <a:lnTo>
                      <a:pt x="9464873" y="6990807"/>
                    </a:lnTo>
                    <a:lnTo>
                      <a:pt x="9488788" y="7026771"/>
                    </a:lnTo>
                    <a:lnTo>
                      <a:pt x="9504477" y="7059197"/>
                    </a:lnTo>
                    <a:lnTo>
                      <a:pt x="9544943" y="7103325"/>
                    </a:lnTo>
                    <a:lnTo>
                      <a:pt x="9564963" y="7122496"/>
                    </a:lnTo>
                    <a:lnTo>
                      <a:pt x="9585368" y="7164149"/>
                    </a:lnTo>
                    <a:lnTo>
                      <a:pt x="9610356" y="7214943"/>
                    </a:lnTo>
                    <a:lnTo>
                      <a:pt x="9637495" y="7372642"/>
                    </a:lnTo>
                    <a:lnTo>
                      <a:pt x="9657450" y="7398104"/>
                    </a:lnTo>
                    <a:lnTo>
                      <a:pt x="9673313" y="7418375"/>
                    </a:lnTo>
                    <a:lnTo>
                      <a:pt x="9726032" y="7441037"/>
                    </a:lnTo>
                    <a:lnTo>
                      <a:pt x="9749950" y="7455229"/>
                    </a:lnTo>
                    <a:lnTo>
                      <a:pt x="9762315" y="7482709"/>
                    </a:lnTo>
                    <a:lnTo>
                      <a:pt x="9761723" y="7566313"/>
                    </a:lnTo>
                    <a:lnTo>
                      <a:pt x="9763556" y="7645664"/>
                    </a:lnTo>
                    <a:lnTo>
                      <a:pt x="9764421" y="7685333"/>
                    </a:lnTo>
                    <a:lnTo>
                      <a:pt x="9765252" y="7724037"/>
                    </a:lnTo>
                    <a:lnTo>
                      <a:pt x="9768991" y="7754472"/>
                    </a:lnTo>
                    <a:lnTo>
                      <a:pt x="9772643" y="7784914"/>
                    </a:lnTo>
                    <a:lnTo>
                      <a:pt x="9779207" y="7806559"/>
                    </a:lnTo>
                    <a:lnTo>
                      <a:pt x="9809463" y="7813622"/>
                    </a:lnTo>
                    <a:lnTo>
                      <a:pt x="9832916" y="7781683"/>
                    </a:lnTo>
                    <a:lnTo>
                      <a:pt x="9842214" y="7761929"/>
                    </a:lnTo>
                    <a:lnTo>
                      <a:pt x="9846546" y="7734278"/>
                    </a:lnTo>
                    <a:lnTo>
                      <a:pt x="9849237" y="7705511"/>
                    </a:lnTo>
                    <a:lnTo>
                      <a:pt x="9854632" y="7647970"/>
                    </a:lnTo>
                    <a:lnTo>
                      <a:pt x="9850589" y="7584114"/>
                    </a:lnTo>
                    <a:lnTo>
                      <a:pt x="9854679" y="7558602"/>
                    </a:lnTo>
                    <a:lnTo>
                      <a:pt x="9858858" y="7532765"/>
                    </a:lnTo>
                    <a:lnTo>
                      <a:pt x="9884646" y="7444098"/>
                    </a:lnTo>
                    <a:lnTo>
                      <a:pt x="9857553" y="7402376"/>
                    </a:lnTo>
                    <a:lnTo>
                      <a:pt x="9836404" y="7394184"/>
                    </a:lnTo>
                    <a:lnTo>
                      <a:pt x="9815233" y="7388582"/>
                    </a:lnTo>
                    <a:lnTo>
                      <a:pt x="9794118" y="7382982"/>
                    </a:lnTo>
                    <a:lnTo>
                      <a:pt x="9773428" y="7379078"/>
                    </a:lnTo>
                    <a:lnTo>
                      <a:pt x="9756744" y="7362735"/>
                    </a:lnTo>
                    <a:lnTo>
                      <a:pt x="9745244" y="7338433"/>
                    </a:lnTo>
                    <a:lnTo>
                      <a:pt x="9751938" y="7302708"/>
                    </a:lnTo>
                    <a:lnTo>
                      <a:pt x="9760706" y="7282852"/>
                    </a:lnTo>
                    <a:lnTo>
                      <a:pt x="9771707" y="7263442"/>
                    </a:lnTo>
                    <a:lnTo>
                      <a:pt x="9793814" y="7224626"/>
                    </a:lnTo>
                    <a:lnTo>
                      <a:pt x="9826373" y="7189440"/>
                    </a:lnTo>
                    <a:lnTo>
                      <a:pt x="9849237" y="7187270"/>
                    </a:lnTo>
                    <a:lnTo>
                      <a:pt x="9884330" y="7215206"/>
                    </a:lnTo>
                    <a:lnTo>
                      <a:pt x="9900927" y="7238963"/>
                    </a:lnTo>
                    <a:lnTo>
                      <a:pt x="9917521" y="7262716"/>
                    </a:lnTo>
                    <a:lnTo>
                      <a:pt x="9933018" y="7288352"/>
                    </a:lnTo>
                    <a:lnTo>
                      <a:pt x="9948543" y="7302885"/>
                    </a:lnTo>
                    <a:lnTo>
                      <a:pt x="9974436" y="7327221"/>
                    </a:lnTo>
                    <a:lnTo>
                      <a:pt x="9995703" y="7328964"/>
                    </a:lnTo>
                    <a:lnTo>
                      <a:pt x="10034658" y="7325782"/>
                    </a:lnTo>
                    <a:lnTo>
                      <a:pt x="10070945" y="7334173"/>
                    </a:lnTo>
                    <a:lnTo>
                      <a:pt x="10091542" y="7348516"/>
                    </a:lnTo>
                    <a:lnTo>
                      <a:pt x="10100431" y="7368071"/>
                    </a:lnTo>
                    <a:lnTo>
                      <a:pt x="10109029" y="7388582"/>
                    </a:lnTo>
                    <a:lnTo>
                      <a:pt x="10117695" y="7409089"/>
                    </a:lnTo>
                    <a:lnTo>
                      <a:pt x="10126994" y="7429751"/>
                    </a:lnTo>
                    <a:lnTo>
                      <a:pt x="10145765" y="7444352"/>
                    </a:lnTo>
                    <a:lnTo>
                      <a:pt x="10176120" y="7467981"/>
                    </a:lnTo>
                    <a:lnTo>
                      <a:pt x="10227428" y="7467513"/>
                    </a:lnTo>
                    <a:lnTo>
                      <a:pt x="10261373" y="7487872"/>
                    </a:lnTo>
                    <a:lnTo>
                      <a:pt x="10291874" y="7506174"/>
                    </a:lnTo>
                    <a:lnTo>
                      <a:pt x="10315813" y="7542352"/>
                    </a:lnTo>
                    <a:lnTo>
                      <a:pt x="10347073" y="7565408"/>
                    </a:lnTo>
                    <a:lnTo>
                      <a:pt x="10380938" y="7584858"/>
                    </a:lnTo>
                    <a:lnTo>
                      <a:pt x="10422024" y="7586765"/>
                    </a:lnTo>
                    <a:lnTo>
                      <a:pt x="10445015" y="7581522"/>
                    </a:lnTo>
                    <a:lnTo>
                      <a:pt x="10473571" y="7564044"/>
                    </a:lnTo>
                    <a:lnTo>
                      <a:pt x="10492261" y="7552621"/>
                    </a:lnTo>
                    <a:lnTo>
                      <a:pt x="10506816" y="7536445"/>
                    </a:lnTo>
                    <a:lnTo>
                      <a:pt x="10517091" y="7517802"/>
                    </a:lnTo>
                    <a:lnTo>
                      <a:pt x="10527425" y="7499158"/>
                    </a:lnTo>
                    <a:lnTo>
                      <a:pt x="10533775" y="7476834"/>
                    </a:lnTo>
                    <a:lnTo>
                      <a:pt x="10540218" y="7455229"/>
                    </a:lnTo>
                    <a:lnTo>
                      <a:pt x="10553110" y="7412025"/>
                    </a:lnTo>
                    <a:lnTo>
                      <a:pt x="10562298" y="7367733"/>
                    </a:lnTo>
                    <a:lnTo>
                      <a:pt x="10586470" y="7338256"/>
                    </a:lnTo>
                    <a:lnTo>
                      <a:pt x="10613547" y="7331410"/>
                    </a:lnTo>
                    <a:lnTo>
                      <a:pt x="10645626" y="7348035"/>
                    </a:lnTo>
                    <a:lnTo>
                      <a:pt x="10734470" y="7496129"/>
                    </a:lnTo>
                    <a:lnTo>
                      <a:pt x="10737453" y="7521888"/>
                    </a:lnTo>
                    <a:lnTo>
                      <a:pt x="10740280" y="7547220"/>
                    </a:lnTo>
                    <a:lnTo>
                      <a:pt x="10722489" y="7579013"/>
                    </a:lnTo>
                    <a:lnTo>
                      <a:pt x="10710797" y="7622859"/>
                    </a:lnTo>
                    <a:lnTo>
                      <a:pt x="10716651" y="7653905"/>
                    </a:lnTo>
                    <a:lnTo>
                      <a:pt x="10717048" y="7687832"/>
                    </a:lnTo>
                    <a:lnTo>
                      <a:pt x="10716521" y="7721597"/>
                    </a:lnTo>
                    <a:lnTo>
                      <a:pt x="10711600" y="7742238"/>
                    </a:lnTo>
                    <a:lnTo>
                      <a:pt x="10706673" y="7762887"/>
                    </a:lnTo>
                    <a:lnTo>
                      <a:pt x="10697182" y="7787255"/>
                    </a:lnTo>
                    <a:lnTo>
                      <a:pt x="10681679" y="7815687"/>
                    </a:lnTo>
                    <a:lnTo>
                      <a:pt x="10659209" y="7849524"/>
                    </a:lnTo>
                    <a:lnTo>
                      <a:pt x="10635785" y="7864066"/>
                    </a:lnTo>
                    <a:lnTo>
                      <a:pt x="10610651" y="7862906"/>
                    </a:lnTo>
                    <a:lnTo>
                      <a:pt x="10594627" y="7845614"/>
                    </a:lnTo>
                    <a:lnTo>
                      <a:pt x="10581410" y="7810481"/>
                    </a:lnTo>
                    <a:lnTo>
                      <a:pt x="10580560" y="7769213"/>
                    </a:lnTo>
                    <a:lnTo>
                      <a:pt x="10582814" y="7748166"/>
                    </a:lnTo>
                    <a:lnTo>
                      <a:pt x="10581918" y="7714394"/>
                    </a:lnTo>
                    <a:lnTo>
                      <a:pt x="10575580" y="7693996"/>
                    </a:lnTo>
                    <a:lnTo>
                      <a:pt x="10555175" y="7670149"/>
                    </a:lnTo>
                    <a:lnTo>
                      <a:pt x="10514735" y="7702445"/>
                    </a:lnTo>
                    <a:lnTo>
                      <a:pt x="10498050" y="7736799"/>
                    </a:lnTo>
                    <a:lnTo>
                      <a:pt x="10481307" y="7771151"/>
                    </a:lnTo>
                    <a:lnTo>
                      <a:pt x="10468412" y="7808420"/>
                    </a:lnTo>
                    <a:lnTo>
                      <a:pt x="10443641" y="7833373"/>
                    </a:lnTo>
                    <a:lnTo>
                      <a:pt x="10421004" y="7814565"/>
                    </a:lnTo>
                    <a:lnTo>
                      <a:pt x="10421878" y="7792563"/>
                    </a:lnTo>
                    <a:lnTo>
                      <a:pt x="10430749" y="7769039"/>
                    </a:lnTo>
                    <a:lnTo>
                      <a:pt x="10442925" y="7745357"/>
                    </a:lnTo>
                    <a:lnTo>
                      <a:pt x="10453160" y="7720475"/>
                    </a:lnTo>
                    <a:lnTo>
                      <a:pt x="10456642" y="7692368"/>
                    </a:lnTo>
                    <a:lnTo>
                      <a:pt x="10438209" y="7666069"/>
                    </a:lnTo>
                    <a:lnTo>
                      <a:pt x="10415299" y="7666726"/>
                    </a:lnTo>
                    <a:lnTo>
                      <a:pt x="10390804" y="7683202"/>
                    </a:lnTo>
                    <a:lnTo>
                      <a:pt x="10373875" y="7709337"/>
                    </a:lnTo>
                    <a:lnTo>
                      <a:pt x="10366672" y="7731079"/>
                    </a:lnTo>
                    <a:lnTo>
                      <a:pt x="10335400" y="7761746"/>
                    </a:lnTo>
                    <a:lnTo>
                      <a:pt x="10304524" y="7770168"/>
                    </a:lnTo>
                    <a:lnTo>
                      <a:pt x="10287226" y="7791205"/>
                    </a:lnTo>
                    <a:lnTo>
                      <a:pt x="10267770" y="7823882"/>
                    </a:lnTo>
                    <a:lnTo>
                      <a:pt x="10262744" y="7844256"/>
                    </a:lnTo>
                    <a:lnTo>
                      <a:pt x="10257718" y="7864621"/>
                    </a:lnTo>
                    <a:lnTo>
                      <a:pt x="10255352" y="7886964"/>
                    </a:lnTo>
                    <a:lnTo>
                      <a:pt x="10255938" y="7909545"/>
                    </a:lnTo>
                    <a:lnTo>
                      <a:pt x="10257243" y="7954699"/>
                    </a:lnTo>
                    <a:lnTo>
                      <a:pt x="10269057" y="8000547"/>
                    </a:lnTo>
                    <a:lnTo>
                      <a:pt x="10287226" y="8030601"/>
                    </a:lnTo>
                    <a:lnTo>
                      <a:pt x="10308440" y="8038759"/>
                    </a:lnTo>
                    <a:lnTo>
                      <a:pt x="10356558" y="8098061"/>
                    </a:lnTo>
                    <a:lnTo>
                      <a:pt x="10363395" y="8120370"/>
                    </a:lnTo>
                    <a:lnTo>
                      <a:pt x="10351157" y="8148938"/>
                    </a:lnTo>
                    <a:lnTo>
                      <a:pt x="10325224" y="8156972"/>
                    </a:lnTo>
                    <a:lnTo>
                      <a:pt x="10291188" y="8131001"/>
                    </a:lnTo>
                    <a:lnTo>
                      <a:pt x="10271627" y="8098014"/>
                    </a:lnTo>
                    <a:lnTo>
                      <a:pt x="10238258" y="8086368"/>
                    </a:lnTo>
                    <a:lnTo>
                      <a:pt x="10204598" y="8101158"/>
                    </a:lnTo>
                    <a:lnTo>
                      <a:pt x="10193381" y="8135333"/>
                    </a:lnTo>
                    <a:lnTo>
                      <a:pt x="10179267" y="8161266"/>
                    </a:lnTo>
                    <a:lnTo>
                      <a:pt x="10152642" y="8176822"/>
                    </a:lnTo>
                    <a:lnTo>
                      <a:pt x="10138971" y="8204705"/>
                    </a:lnTo>
                    <a:lnTo>
                      <a:pt x="10129304" y="8224338"/>
                    </a:lnTo>
                    <a:lnTo>
                      <a:pt x="10126678" y="8249934"/>
                    </a:lnTo>
                    <a:lnTo>
                      <a:pt x="10132166" y="8271356"/>
                    </a:lnTo>
                    <a:lnTo>
                      <a:pt x="10137660" y="8292775"/>
                    </a:lnTo>
                    <a:lnTo>
                      <a:pt x="10150974" y="8310541"/>
                    </a:lnTo>
                    <a:lnTo>
                      <a:pt x="10175692" y="8316240"/>
                    </a:lnTo>
                    <a:lnTo>
                      <a:pt x="10207736" y="8323638"/>
                    </a:lnTo>
                    <a:lnTo>
                      <a:pt x="10238810" y="8315778"/>
                    </a:lnTo>
                    <a:lnTo>
                      <a:pt x="10269549" y="8309440"/>
                    </a:lnTo>
                    <a:lnTo>
                      <a:pt x="10300230" y="8303134"/>
                    </a:lnTo>
                    <a:lnTo>
                      <a:pt x="10331332" y="8297602"/>
                    </a:lnTo>
                    <a:lnTo>
                      <a:pt x="10363395" y="8310798"/>
                    </a:lnTo>
                    <a:lnTo>
                      <a:pt x="10378346" y="8327867"/>
                    </a:lnTo>
                    <a:lnTo>
                      <a:pt x="10381078" y="8366565"/>
                    </a:lnTo>
                    <a:lnTo>
                      <a:pt x="10371956" y="8406470"/>
                    </a:lnTo>
                    <a:lnTo>
                      <a:pt x="10364753" y="8426413"/>
                    </a:lnTo>
                    <a:lnTo>
                      <a:pt x="10357612" y="8446356"/>
                    </a:lnTo>
                    <a:lnTo>
                      <a:pt x="10350906" y="8466761"/>
                    </a:lnTo>
                    <a:lnTo>
                      <a:pt x="10346044" y="8503047"/>
                    </a:lnTo>
                    <a:lnTo>
                      <a:pt x="10360679" y="8533870"/>
                    </a:lnTo>
                    <a:lnTo>
                      <a:pt x="10381078" y="8540669"/>
                    </a:lnTo>
                    <a:lnTo>
                      <a:pt x="10404958" y="8535284"/>
                    </a:lnTo>
                    <a:lnTo>
                      <a:pt x="10430051" y="8509391"/>
                    </a:lnTo>
                    <a:lnTo>
                      <a:pt x="10444215" y="8476686"/>
                    </a:lnTo>
                    <a:lnTo>
                      <a:pt x="10453910" y="8441429"/>
                    </a:lnTo>
                    <a:lnTo>
                      <a:pt x="10468130" y="8410091"/>
                    </a:lnTo>
                    <a:lnTo>
                      <a:pt x="10490600" y="8383870"/>
                    </a:lnTo>
                    <a:lnTo>
                      <a:pt x="10513020" y="8378806"/>
                    </a:lnTo>
                    <a:lnTo>
                      <a:pt x="10559061" y="8392409"/>
                    </a:lnTo>
                    <a:lnTo>
                      <a:pt x="10588373" y="8402328"/>
                    </a:lnTo>
                    <a:lnTo>
                      <a:pt x="10617761" y="8404650"/>
                    </a:lnTo>
                    <a:lnTo>
                      <a:pt x="10647089" y="8406978"/>
                    </a:lnTo>
                    <a:lnTo>
                      <a:pt x="10676765" y="8402011"/>
                    </a:lnTo>
                    <a:lnTo>
                      <a:pt x="10723854" y="8388328"/>
                    </a:lnTo>
                    <a:lnTo>
                      <a:pt x="10744720" y="8365570"/>
                    </a:lnTo>
                    <a:lnTo>
                      <a:pt x="10759247" y="8340015"/>
                    </a:lnTo>
                    <a:lnTo>
                      <a:pt x="10770105" y="8313514"/>
                    </a:lnTo>
                    <a:lnTo>
                      <a:pt x="10780914" y="8287023"/>
                    </a:lnTo>
                    <a:lnTo>
                      <a:pt x="10788036" y="8260110"/>
                    </a:lnTo>
                    <a:lnTo>
                      <a:pt x="10794584" y="8231910"/>
                    </a:lnTo>
                    <a:lnTo>
                      <a:pt x="10807799" y="8175504"/>
                    </a:lnTo>
                    <a:lnTo>
                      <a:pt x="10818248" y="8117052"/>
                    </a:lnTo>
                    <a:lnTo>
                      <a:pt x="10848993" y="8065964"/>
                    </a:lnTo>
                    <a:lnTo>
                      <a:pt x="10866443" y="8037057"/>
                    </a:lnTo>
                    <a:lnTo>
                      <a:pt x="10889887" y="8009558"/>
                    </a:lnTo>
                    <a:lnTo>
                      <a:pt x="10908841" y="7980270"/>
                    </a:lnTo>
                    <a:lnTo>
                      <a:pt x="10927854" y="7950988"/>
                    </a:lnTo>
                    <a:lnTo>
                      <a:pt x="10942442" y="7919569"/>
                    </a:lnTo>
                    <a:lnTo>
                      <a:pt x="10941487" y="7883699"/>
                    </a:lnTo>
                    <a:lnTo>
                      <a:pt x="10940891" y="7860999"/>
                    </a:lnTo>
                    <a:lnTo>
                      <a:pt x="10933242" y="7793797"/>
                    </a:lnTo>
                    <a:lnTo>
                      <a:pt x="10923804" y="7774884"/>
                    </a:lnTo>
                    <a:lnTo>
                      <a:pt x="10907560" y="7745977"/>
                    </a:lnTo>
                    <a:lnTo>
                      <a:pt x="10896721" y="7700901"/>
                    </a:lnTo>
                    <a:lnTo>
                      <a:pt x="10891257" y="7649211"/>
                    </a:lnTo>
                    <a:lnTo>
                      <a:pt x="10889800" y="7598054"/>
                    </a:lnTo>
                    <a:lnTo>
                      <a:pt x="10888278" y="7546898"/>
                    </a:lnTo>
                    <a:lnTo>
                      <a:pt x="10890395" y="7495512"/>
                    </a:lnTo>
                    <a:lnTo>
                      <a:pt x="10897958" y="7468834"/>
                    </a:lnTo>
                    <a:lnTo>
                      <a:pt x="10919625" y="7444684"/>
                    </a:lnTo>
                    <a:lnTo>
                      <a:pt x="10937245" y="7429726"/>
                    </a:lnTo>
                    <a:lnTo>
                      <a:pt x="10957808" y="7417150"/>
                    </a:lnTo>
                    <a:lnTo>
                      <a:pt x="10978424" y="7404571"/>
                    </a:lnTo>
                    <a:lnTo>
                      <a:pt x="11001750" y="7394119"/>
                    </a:lnTo>
                    <a:lnTo>
                      <a:pt x="11025820" y="7387220"/>
                    </a:lnTo>
                    <a:lnTo>
                      <a:pt x="11049834" y="7380325"/>
                    </a:lnTo>
                    <a:lnTo>
                      <a:pt x="11075389" y="7376663"/>
                    </a:lnTo>
                    <a:lnTo>
                      <a:pt x="11099269" y="7376341"/>
                    </a:lnTo>
                    <a:lnTo>
                      <a:pt x="11123194" y="7376012"/>
                    </a:lnTo>
                    <a:lnTo>
                      <a:pt x="11145722" y="7378700"/>
                    </a:lnTo>
                    <a:lnTo>
                      <a:pt x="11165923" y="7385862"/>
                    </a:lnTo>
                    <a:lnTo>
                      <a:pt x="11197031" y="7406605"/>
                    </a:lnTo>
                    <a:lnTo>
                      <a:pt x="11222704" y="7424542"/>
                    </a:lnTo>
                    <a:lnTo>
                      <a:pt x="11246169" y="7433472"/>
                    </a:lnTo>
                    <a:lnTo>
                      <a:pt x="11293351" y="7461737"/>
                    </a:lnTo>
                    <a:lnTo>
                      <a:pt x="11328263" y="7496209"/>
                    </a:lnTo>
                    <a:lnTo>
                      <a:pt x="11365867" y="7535487"/>
                    </a:lnTo>
                    <a:lnTo>
                      <a:pt x="11393664" y="7564472"/>
                    </a:lnTo>
                    <a:lnTo>
                      <a:pt x="11427714" y="7582371"/>
                    </a:lnTo>
                    <a:lnTo>
                      <a:pt x="11446120" y="7619817"/>
                    </a:lnTo>
                    <a:lnTo>
                      <a:pt x="11460615" y="7649316"/>
                    </a:lnTo>
                    <a:lnTo>
                      <a:pt x="11486759" y="7819637"/>
                    </a:lnTo>
                    <a:lnTo>
                      <a:pt x="11486929" y="7856494"/>
                    </a:lnTo>
                    <a:lnTo>
                      <a:pt x="11467033" y="7878257"/>
                    </a:lnTo>
                    <a:lnTo>
                      <a:pt x="11432765" y="7878245"/>
                    </a:lnTo>
                    <a:lnTo>
                      <a:pt x="11401235" y="7859213"/>
                    </a:lnTo>
                    <a:lnTo>
                      <a:pt x="11374930" y="7832477"/>
                    </a:lnTo>
                    <a:lnTo>
                      <a:pt x="11354088" y="7801620"/>
                    </a:lnTo>
                    <a:lnTo>
                      <a:pt x="11334588" y="7773519"/>
                    </a:lnTo>
                    <a:lnTo>
                      <a:pt x="11314828" y="7752671"/>
                    </a:lnTo>
                    <a:lnTo>
                      <a:pt x="11284638" y="7747357"/>
                    </a:lnTo>
                    <a:lnTo>
                      <a:pt x="11251248" y="7761133"/>
                    </a:lnTo>
                    <a:lnTo>
                      <a:pt x="11217606" y="7777600"/>
                    </a:lnTo>
                    <a:lnTo>
                      <a:pt x="11183968" y="7794067"/>
                    </a:lnTo>
                    <a:lnTo>
                      <a:pt x="11150321" y="7812205"/>
                    </a:lnTo>
                    <a:lnTo>
                      <a:pt x="11114785" y="7818450"/>
                    </a:lnTo>
                    <a:lnTo>
                      <a:pt x="11089667" y="7819082"/>
                    </a:lnTo>
                    <a:lnTo>
                      <a:pt x="11055697" y="7825250"/>
                    </a:lnTo>
                    <a:lnTo>
                      <a:pt x="11045784" y="7844585"/>
                    </a:lnTo>
                    <a:lnTo>
                      <a:pt x="11045673" y="7872599"/>
                    </a:lnTo>
                    <a:lnTo>
                      <a:pt x="11057101" y="7893214"/>
                    </a:lnTo>
                    <a:lnTo>
                      <a:pt x="11080821" y="7903927"/>
                    </a:lnTo>
                    <a:lnTo>
                      <a:pt x="11107644" y="7913402"/>
                    </a:lnTo>
                    <a:lnTo>
                      <a:pt x="11130554" y="7924502"/>
                    </a:lnTo>
                    <a:lnTo>
                      <a:pt x="11155616" y="7942966"/>
                    </a:lnTo>
                    <a:lnTo>
                      <a:pt x="11168012" y="7968602"/>
                    </a:lnTo>
                    <a:lnTo>
                      <a:pt x="11171358" y="7997949"/>
                    </a:lnTo>
                    <a:lnTo>
                      <a:pt x="11173711" y="8027572"/>
                    </a:lnTo>
                    <a:lnTo>
                      <a:pt x="11169755" y="8057865"/>
                    </a:lnTo>
                    <a:lnTo>
                      <a:pt x="11180592" y="8085001"/>
                    </a:lnTo>
                    <a:lnTo>
                      <a:pt x="11238659" y="8162959"/>
                    </a:lnTo>
                    <a:lnTo>
                      <a:pt x="11264531" y="8184722"/>
                    </a:lnTo>
                    <a:lnTo>
                      <a:pt x="11289438" y="8192415"/>
                    </a:lnTo>
                    <a:lnTo>
                      <a:pt x="11308742" y="8207425"/>
                    </a:lnTo>
                    <a:lnTo>
                      <a:pt x="11331816" y="8258383"/>
                    </a:lnTo>
                    <a:lnTo>
                      <a:pt x="11359061" y="8271346"/>
                    </a:lnTo>
                    <a:lnTo>
                      <a:pt x="11387922" y="8252268"/>
                    </a:lnTo>
                    <a:lnTo>
                      <a:pt x="11400938" y="8225138"/>
                    </a:lnTo>
                    <a:lnTo>
                      <a:pt x="11405313" y="8193819"/>
                    </a:lnTo>
                    <a:lnTo>
                      <a:pt x="11407139" y="8163396"/>
                    </a:lnTo>
                    <a:lnTo>
                      <a:pt x="11414366" y="8137187"/>
                    </a:lnTo>
                    <a:lnTo>
                      <a:pt x="11432514" y="8120370"/>
                    </a:lnTo>
                    <a:lnTo>
                      <a:pt x="11463458" y="8129333"/>
                    </a:lnTo>
                    <a:lnTo>
                      <a:pt x="11480117" y="8161173"/>
                    </a:lnTo>
                    <a:lnTo>
                      <a:pt x="11493723" y="8196554"/>
                    </a:lnTo>
                    <a:lnTo>
                      <a:pt x="11529730" y="8268525"/>
                    </a:lnTo>
                    <a:lnTo>
                      <a:pt x="11544517" y="8315737"/>
                    </a:lnTo>
                    <a:lnTo>
                      <a:pt x="11552212" y="8365201"/>
                    </a:lnTo>
                    <a:lnTo>
                      <a:pt x="11559908" y="8414668"/>
                    </a:lnTo>
                    <a:lnTo>
                      <a:pt x="11561458" y="8465322"/>
                    </a:lnTo>
                    <a:lnTo>
                      <a:pt x="11563095" y="8529783"/>
                    </a:lnTo>
                    <a:lnTo>
                      <a:pt x="11564354" y="8577219"/>
                    </a:lnTo>
                    <a:lnTo>
                      <a:pt x="11558255" y="8633969"/>
                    </a:lnTo>
                    <a:lnTo>
                      <a:pt x="11572611" y="8679408"/>
                    </a:lnTo>
                    <a:lnTo>
                      <a:pt x="11589633" y="8713192"/>
                    </a:lnTo>
                    <a:lnTo>
                      <a:pt x="11615399" y="8738115"/>
                    </a:lnTo>
                    <a:lnTo>
                      <a:pt x="11643342" y="8759661"/>
                    </a:lnTo>
                    <a:lnTo>
                      <a:pt x="11668311" y="8780171"/>
                    </a:lnTo>
                    <a:lnTo>
                      <a:pt x="11680946" y="8807159"/>
                    </a:lnTo>
                    <a:lnTo>
                      <a:pt x="11674627" y="8845355"/>
                    </a:lnTo>
                    <a:lnTo>
                      <a:pt x="11646969" y="8855202"/>
                    </a:lnTo>
                    <a:lnTo>
                      <a:pt x="11626127" y="8876305"/>
                    </a:lnTo>
                    <a:lnTo>
                      <a:pt x="11614779" y="8903838"/>
                    </a:lnTo>
                    <a:lnTo>
                      <a:pt x="11617477" y="8945187"/>
                    </a:lnTo>
                    <a:lnTo>
                      <a:pt x="11625668" y="8970485"/>
                    </a:lnTo>
                    <a:lnTo>
                      <a:pt x="11633826" y="8995792"/>
                    </a:lnTo>
                    <a:lnTo>
                      <a:pt x="11643236" y="9022225"/>
                    </a:lnTo>
                    <a:lnTo>
                      <a:pt x="11639264" y="9048021"/>
                    </a:lnTo>
                    <a:lnTo>
                      <a:pt x="11634914" y="9076203"/>
                    </a:lnTo>
                    <a:lnTo>
                      <a:pt x="11604485" y="9130742"/>
                    </a:lnTo>
                    <a:lnTo>
                      <a:pt x="11583491" y="9184044"/>
                    </a:lnTo>
                    <a:lnTo>
                      <a:pt x="11573061" y="9210694"/>
                    </a:lnTo>
                    <a:lnTo>
                      <a:pt x="11564736" y="9237520"/>
                    </a:lnTo>
                    <a:lnTo>
                      <a:pt x="11563095" y="9260213"/>
                    </a:lnTo>
                    <a:lnTo>
                      <a:pt x="11561440" y="9282900"/>
                    </a:lnTo>
                    <a:lnTo>
                      <a:pt x="11582133" y="9313258"/>
                    </a:lnTo>
                    <a:lnTo>
                      <a:pt x="11609706" y="9325391"/>
                    </a:lnTo>
                    <a:lnTo>
                      <a:pt x="11638843" y="9317450"/>
                    </a:lnTo>
                    <a:lnTo>
                      <a:pt x="11667836" y="9295575"/>
                    </a:lnTo>
                    <a:lnTo>
                      <a:pt x="11694728" y="9271354"/>
                    </a:lnTo>
                    <a:lnTo>
                      <a:pt x="11716658" y="9237111"/>
                    </a:lnTo>
                    <a:lnTo>
                      <a:pt x="11724958" y="9215329"/>
                    </a:lnTo>
                    <a:lnTo>
                      <a:pt x="11734781" y="9189867"/>
                    </a:lnTo>
                    <a:lnTo>
                      <a:pt x="11738790" y="9154545"/>
                    </a:lnTo>
                    <a:lnTo>
                      <a:pt x="11752163" y="9130993"/>
                    </a:lnTo>
                    <a:lnTo>
                      <a:pt x="11771765" y="9114796"/>
                    </a:lnTo>
                    <a:lnTo>
                      <a:pt x="11805115" y="9107404"/>
                    </a:lnTo>
                    <a:lnTo>
                      <a:pt x="11833776" y="9133715"/>
                    </a:lnTo>
                    <a:lnTo>
                      <a:pt x="11867706" y="9155534"/>
                    </a:lnTo>
                    <a:lnTo>
                      <a:pt x="11890737" y="9182044"/>
                    </a:lnTo>
                    <a:lnTo>
                      <a:pt x="11907229" y="9212607"/>
                    </a:lnTo>
                    <a:lnTo>
                      <a:pt x="11923666" y="9243166"/>
                    </a:lnTo>
                    <a:lnTo>
                      <a:pt x="11933727" y="9276755"/>
                    </a:lnTo>
                    <a:lnTo>
                      <a:pt x="11941227" y="9311897"/>
                    </a:lnTo>
                    <a:lnTo>
                      <a:pt x="11956237" y="9382193"/>
                    </a:lnTo>
                    <a:lnTo>
                      <a:pt x="11961880" y="9457677"/>
                    </a:lnTo>
                    <a:lnTo>
                      <a:pt x="11991553" y="9521372"/>
                    </a:lnTo>
                    <a:lnTo>
                      <a:pt x="12014832" y="9571248"/>
                    </a:lnTo>
                    <a:lnTo>
                      <a:pt x="12045174" y="9615990"/>
                    </a:lnTo>
                    <a:lnTo>
                      <a:pt x="12074528" y="9661475"/>
                    </a:lnTo>
                    <a:lnTo>
                      <a:pt x="12158857" y="9624746"/>
                    </a:lnTo>
                    <a:lnTo>
                      <a:pt x="12148681" y="9594205"/>
                    </a:lnTo>
                    <a:lnTo>
                      <a:pt x="12138257" y="9563764"/>
                    </a:lnTo>
                    <a:lnTo>
                      <a:pt x="12124863" y="9534972"/>
                    </a:lnTo>
                    <a:lnTo>
                      <a:pt x="12103304" y="9488813"/>
                    </a:lnTo>
                    <a:lnTo>
                      <a:pt x="12075129" y="9447833"/>
                    </a:lnTo>
                    <a:lnTo>
                      <a:pt x="12055484" y="9400316"/>
                    </a:lnTo>
                    <a:lnTo>
                      <a:pt x="12035218" y="9351091"/>
                    </a:lnTo>
                    <a:lnTo>
                      <a:pt x="12025049" y="9300251"/>
                    </a:lnTo>
                    <a:lnTo>
                      <a:pt x="12007874" y="9250691"/>
                    </a:lnTo>
                    <a:lnTo>
                      <a:pt x="11926270" y="8982391"/>
                    </a:lnTo>
                    <a:lnTo>
                      <a:pt x="11909939" y="8951447"/>
                    </a:lnTo>
                    <a:lnTo>
                      <a:pt x="11897035" y="8926748"/>
                    </a:lnTo>
                    <a:lnTo>
                      <a:pt x="11879380" y="8905243"/>
                    </a:lnTo>
                    <a:lnTo>
                      <a:pt x="11862339" y="8884800"/>
                    </a:lnTo>
                    <a:lnTo>
                      <a:pt x="11841209" y="8859422"/>
                    </a:lnTo>
                    <a:lnTo>
                      <a:pt x="11791444" y="8749116"/>
                    </a:lnTo>
                    <a:lnTo>
                      <a:pt x="11783445" y="8716135"/>
                    </a:lnTo>
                    <a:lnTo>
                      <a:pt x="11756839" y="8606210"/>
                    </a:lnTo>
                    <a:lnTo>
                      <a:pt x="11753735" y="8491274"/>
                    </a:lnTo>
                    <a:lnTo>
                      <a:pt x="11731758" y="8378806"/>
                    </a:lnTo>
                    <a:lnTo>
                      <a:pt x="11717554" y="8337699"/>
                    </a:lnTo>
                    <a:lnTo>
                      <a:pt x="11711362" y="8314875"/>
                    </a:lnTo>
                    <a:lnTo>
                      <a:pt x="11653921" y="8154374"/>
                    </a:lnTo>
                    <a:lnTo>
                      <a:pt x="11615551" y="8016990"/>
                    </a:lnTo>
                    <a:lnTo>
                      <a:pt x="11618180" y="7844544"/>
                    </a:lnTo>
                    <a:lnTo>
                      <a:pt x="11614779" y="7717746"/>
                    </a:lnTo>
                    <a:lnTo>
                      <a:pt x="11619086" y="7688715"/>
                    </a:lnTo>
                    <a:lnTo>
                      <a:pt x="11608507" y="7589931"/>
                    </a:lnTo>
                    <a:lnTo>
                      <a:pt x="11565291" y="7513718"/>
                    </a:lnTo>
                    <a:lnTo>
                      <a:pt x="11563074" y="7429382"/>
                    </a:lnTo>
                    <a:lnTo>
                      <a:pt x="11561933" y="7383264"/>
                    </a:lnTo>
                    <a:lnTo>
                      <a:pt x="11572986" y="7353554"/>
                    </a:lnTo>
                    <a:lnTo>
                      <a:pt x="11594355" y="7313768"/>
                    </a:lnTo>
                    <a:lnTo>
                      <a:pt x="11649614" y="7211454"/>
                    </a:lnTo>
                    <a:lnTo>
                      <a:pt x="11772543" y="7230883"/>
                    </a:lnTo>
                    <a:lnTo>
                      <a:pt x="11818791" y="7141022"/>
                    </a:lnTo>
                    <a:lnTo>
                      <a:pt x="11837324" y="7105058"/>
                    </a:lnTo>
                    <a:lnTo>
                      <a:pt x="11832729" y="6976188"/>
                    </a:lnTo>
                    <a:lnTo>
                      <a:pt x="11878633" y="6972356"/>
                    </a:lnTo>
                    <a:lnTo>
                      <a:pt x="11944933" y="7023320"/>
                    </a:lnTo>
                    <a:lnTo>
                      <a:pt x="11914854" y="7099405"/>
                    </a:lnTo>
                    <a:lnTo>
                      <a:pt x="11950731" y="7121981"/>
                    </a:lnTo>
                    <a:lnTo>
                      <a:pt x="12022001" y="7144634"/>
                    </a:lnTo>
                    <a:lnTo>
                      <a:pt x="12065334" y="7082365"/>
                    </a:lnTo>
                    <a:lnTo>
                      <a:pt x="12127551" y="7064849"/>
                    </a:lnTo>
                    <a:lnTo>
                      <a:pt x="12265704" y="7025999"/>
                    </a:lnTo>
                    <a:lnTo>
                      <a:pt x="12318488" y="7018099"/>
                    </a:lnTo>
                    <a:lnTo>
                      <a:pt x="12362873" y="6994119"/>
                    </a:lnTo>
                    <a:lnTo>
                      <a:pt x="12406867" y="6970278"/>
                    </a:lnTo>
                    <a:lnTo>
                      <a:pt x="12441383" y="6931084"/>
                    </a:lnTo>
                    <a:lnTo>
                      <a:pt x="12543783" y="6830895"/>
                    </a:lnTo>
                    <a:lnTo>
                      <a:pt x="12567062" y="6808102"/>
                    </a:lnTo>
                    <a:lnTo>
                      <a:pt x="12590645" y="6791319"/>
                    </a:lnTo>
                    <a:lnTo>
                      <a:pt x="12613149" y="6772411"/>
                    </a:lnTo>
                    <a:lnTo>
                      <a:pt x="12574429" y="6770064"/>
                    </a:lnTo>
                    <a:lnTo>
                      <a:pt x="12537340" y="6767677"/>
                    </a:lnTo>
                    <a:lnTo>
                      <a:pt x="12490719" y="6765693"/>
                    </a:lnTo>
                    <a:lnTo>
                      <a:pt x="12462578" y="6764055"/>
                    </a:lnTo>
                    <a:lnTo>
                      <a:pt x="12442294" y="6753299"/>
                    </a:lnTo>
                    <a:lnTo>
                      <a:pt x="12436320" y="6726163"/>
                    </a:lnTo>
                    <a:lnTo>
                      <a:pt x="12434189" y="6696999"/>
                    </a:lnTo>
                    <a:lnTo>
                      <a:pt x="12438760" y="6644872"/>
                    </a:lnTo>
                    <a:lnTo>
                      <a:pt x="12431926" y="6605039"/>
                    </a:lnTo>
                    <a:lnTo>
                      <a:pt x="12424085" y="6567019"/>
                    </a:lnTo>
                    <a:lnTo>
                      <a:pt x="12416225" y="6529000"/>
                    </a:lnTo>
                    <a:lnTo>
                      <a:pt x="12407382" y="6492103"/>
                    </a:lnTo>
                    <a:lnTo>
                      <a:pt x="12407763" y="6452763"/>
                    </a:lnTo>
                    <a:lnTo>
                      <a:pt x="12408231" y="6408176"/>
                    </a:lnTo>
                    <a:lnTo>
                      <a:pt x="12438971" y="6369878"/>
                    </a:lnTo>
                    <a:lnTo>
                      <a:pt x="12443125" y="6326268"/>
                    </a:lnTo>
                    <a:lnTo>
                      <a:pt x="12447221" y="6283505"/>
                    </a:lnTo>
                    <a:lnTo>
                      <a:pt x="12410479" y="6190841"/>
                    </a:lnTo>
                    <a:lnTo>
                      <a:pt x="12398241" y="6145355"/>
                    </a:lnTo>
                    <a:lnTo>
                      <a:pt x="12394679" y="6107699"/>
                    </a:lnTo>
                    <a:lnTo>
                      <a:pt x="12385836" y="6058281"/>
                    </a:lnTo>
                    <a:lnTo>
                      <a:pt x="12380745" y="6016141"/>
                    </a:lnTo>
                    <a:lnTo>
                      <a:pt x="12373759" y="5973973"/>
                    </a:lnTo>
                    <a:lnTo>
                      <a:pt x="12366777" y="5931805"/>
                    </a:lnTo>
                    <a:lnTo>
                      <a:pt x="12356600" y="5889024"/>
                    </a:lnTo>
                    <a:lnTo>
                      <a:pt x="12342480" y="5858359"/>
                    </a:lnTo>
                    <a:lnTo>
                      <a:pt x="12212442" y="5851857"/>
                    </a:lnTo>
                    <a:lnTo>
                      <a:pt x="12190139" y="5851553"/>
                    </a:lnTo>
                    <a:lnTo>
                      <a:pt x="12162380" y="5840698"/>
                    </a:lnTo>
                    <a:lnTo>
                      <a:pt x="12141705" y="5816163"/>
                    </a:lnTo>
                    <a:lnTo>
                      <a:pt x="12119402" y="5797144"/>
                    </a:lnTo>
                    <a:lnTo>
                      <a:pt x="12085491" y="5791181"/>
                    </a:lnTo>
                    <a:lnTo>
                      <a:pt x="12055378" y="5786791"/>
                    </a:lnTo>
                    <a:lnTo>
                      <a:pt x="12022825" y="5768581"/>
                    </a:lnTo>
                    <a:lnTo>
                      <a:pt x="11997791" y="5748862"/>
                    </a:lnTo>
                    <a:lnTo>
                      <a:pt x="11981259" y="5700858"/>
                    </a:lnTo>
                    <a:lnTo>
                      <a:pt x="11958894" y="5689693"/>
                    </a:lnTo>
                    <a:lnTo>
                      <a:pt x="11936570" y="5678540"/>
                    </a:lnTo>
                    <a:lnTo>
                      <a:pt x="11891779" y="5686515"/>
                    </a:lnTo>
                    <a:lnTo>
                      <a:pt x="11844638" y="5695135"/>
                    </a:lnTo>
                    <a:lnTo>
                      <a:pt x="11797509" y="5703742"/>
                    </a:lnTo>
                    <a:lnTo>
                      <a:pt x="11748293" y="5713493"/>
                    </a:lnTo>
                    <a:lnTo>
                      <a:pt x="11716788" y="5701934"/>
                    </a:lnTo>
                    <a:lnTo>
                      <a:pt x="11709269" y="5667958"/>
                    </a:lnTo>
                    <a:lnTo>
                      <a:pt x="11708618" y="5643445"/>
                    </a:lnTo>
                    <a:lnTo>
                      <a:pt x="11707958" y="5618938"/>
                    </a:lnTo>
                    <a:lnTo>
                      <a:pt x="11709080" y="5594524"/>
                    </a:lnTo>
                    <a:lnTo>
                      <a:pt x="11729498" y="5579024"/>
                    </a:lnTo>
                    <a:lnTo>
                      <a:pt x="11754873" y="5550951"/>
                    </a:lnTo>
                    <a:lnTo>
                      <a:pt x="11772580" y="5516987"/>
                    </a:lnTo>
                    <a:lnTo>
                      <a:pt x="11765756" y="5484301"/>
                    </a:lnTo>
                    <a:lnTo>
                      <a:pt x="11697320" y="5464457"/>
                    </a:lnTo>
                    <a:lnTo>
                      <a:pt x="11639258" y="5459816"/>
                    </a:lnTo>
                    <a:lnTo>
                      <a:pt x="11581190" y="5455171"/>
                    </a:lnTo>
                    <a:lnTo>
                      <a:pt x="11522068" y="5454058"/>
                    </a:lnTo>
                    <a:lnTo>
                      <a:pt x="11488526" y="5457059"/>
                    </a:lnTo>
                    <a:lnTo>
                      <a:pt x="11448833" y="5466621"/>
                    </a:lnTo>
                    <a:lnTo>
                      <a:pt x="11409210" y="5469998"/>
                    </a:lnTo>
                    <a:lnTo>
                      <a:pt x="11377851" y="5426029"/>
                    </a:lnTo>
                    <a:lnTo>
                      <a:pt x="11376266" y="5391941"/>
                    </a:lnTo>
                    <a:lnTo>
                      <a:pt x="11360413" y="5360529"/>
                    </a:lnTo>
                    <a:lnTo>
                      <a:pt x="11349880" y="5339615"/>
                    </a:lnTo>
                    <a:lnTo>
                      <a:pt x="11329134" y="5300681"/>
                    </a:lnTo>
                    <a:lnTo>
                      <a:pt x="11309474" y="5275284"/>
                    </a:lnTo>
                    <a:lnTo>
                      <a:pt x="11295124" y="5258513"/>
                    </a:lnTo>
                    <a:lnTo>
                      <a:pt x="11280787" y="5241742"/>
                    </a:lnTo>
                    <a:lnTo>
                      <a:pt x="11265374" y="5217471"/>
                    </a:lnTo>
                    <a:lnTo>
                      <a:pt x="11250240" y="5172819"/>
                    </a:lnTo>
                    <a:lnTo>
                      <a:pt x="11245623" y="5143621"/>
                    </a:lnTo>
                    <a:lnTo>
                      <a:pt x="11254857" y="5117685"/>
                    </a:lnTo>
                    <a:lnTo>
                      <a:pt x="11273361" y="5093931"/>
                    </a:lnTo>
                    <a:lnTo>
                      <a:pt x="11292386" y="5070770"/>
                    </a:lnTo>
                    <a:lnTo>
                      <a:pt x="11316472" y="5050727"/>
                    </a:lnTo>
                    <a:lnTo>
                      <a:pt x="11326415" y="5030000"/>
                    </a:lnTo>
                    <a:lnTo>
                      <a:pt x="11335708" y="5010624"/>
                    </a:lnTo>
                    <a:lnTo>
                      <a:pt x="11332037" y="4972934"/>
                    </a:lnTo>
                    <a:lnTo>
                      <a:pt x="11325057" y="4936145"/>
                    </a:lnTo>
                    <a:lnTo>
                      <a:pt x="11318205" y="4899354"/>
                    </a:lnTo>
                    <a:lnTo>
                      <a:pt x="11307781" y="4863464"/>
                    </a:lnTo>
                    <a:lnTo>
                      <a:pt x="11300572" y="4843652"/>
                    </a:lnTo>
                    <a:lnTo>
                      <a:pt x="11290693" y="4820341"/>
                    </a:lnTo>
                    <a:lnTo>
                      <a:pt x="11264847" y="4803208"/>
                    </a:lnTo>
                    <a:lnTo>
                      <a:pt x="11235478" y="4799744"/>
                    </a:lnTo>
                    <a:lnTo>
                      <a:pt x="11200665" y="4798966"/>
                    </a:lnTo>
                    <a:lnTo>
                      <a:pt x="11167275" y="4794687"/>
                    </a:lnTo>
                    <a:lnTo>
                      <a:pt x="11133878" y="4790405"/>
                    </a:lnTo>
                    <a:lnTo>
                      <a:pt x="11101003" y="4783336"/>
                    </a:lnTo>
                    <a:lnTo>
                      <a:pt x="11085320" y="4759279"/>
                    </a:lnTo>
                    <a:lnTo>
                      <a:pt x="11069209" y="4720000"/>
                    </a:lnTo>
                    <a:lnTo>
                      <a:pt x="11036703" y="4710358"/>
                    </a:lnTo>
                    <a:lnTo>
                      <a:pt x="11006438" y="4735584"/>
                    </a:lnTo>
                    <a:lnTo>
                      <a:pt x="10974458" y="4744972"/>
                    </a:lnTo>
                    <a:lnTo>
                      <a:pt x="10938761" y="4730762"/>
                    </a:lnTo>
                    <a:lnTo>
                      <a:pt x="10926074" y="4690309"/>
                    </a:lnTo>
                    <a:lnTo>
                      <a:pt x="10922440" y="4658668"/>
                    </a:lnTo>
                    <a:lnTo>
                      <a:pt x="10918784" y="4627029"/>
                    </a:lnTo>
                    <a:lnTo>
                      <a:pt x="10917736" y="4594504"/>
                    </a:lnTo>
                    <a:lnTo>
                      <a:pt x="10931249" y="4560757"/>
                    </a:lnTo>
                    <a:lnTo>
                      <a:pt x="10960524" y="4541692"/>
                    </a:lnTo>
                    <a:lnTo>
                      <a:pt x="10992358" y="4533264"/>
                    </a:lnTo>
                    <a:lnTo>
                      <a:pt x="11043732" y="4534055"/>
                    </a:lnTo>
                    <a:lnTo>
                      <a:pt x="11080626" y="4542265"/>
                    </a:lnTo>
                    <a:lnTo>
                      <a:pt x="11118301" y="4528086"/>
                    </a:lnTo>
                    <a:lnTo>
                      <a:pt x="11148184" y="4467222"/>
                    </a:lnTo>
                    <a:lnTo>
                      <a:pt x="11165910" y="4447840"/>
                    </a:lnTo>
                    <a:lnTo>
                      <a:pt x="11187540" y="4424204"/>
                    </a:lnTo>
                    <a:lnTo>
                      <a:pt x="11227969" y="4421098"/>
                    </a:lnTo>
                    <a:lnTo>
                      <a:pt x="11268264" y="4371240"/>
                    </a:lnTo>
                    <a:lnTo>
                      <a:pt x="11260447" y="4324865"/>
                    </a:lnTo>
                    <a:lnTo>
                      <a:pt x="11284247" y="4290051"/>
                    </a:lnTo>
                    <a:lnTo>
                      <a:pt x="11299502" y="4267693"/>
                    </a:lnTo>
                    <a:lnTo>
                      <a:pt x="11329175" y="4240020"/>
                    </a:lnTo>
                    <a:lnTo>
                      <a:pt x="11331851" y="4211163"/>
                    </a:lnTo>
                    <a:lnTo>
                      <a:pt x="11336613" y="4159182"/>
                    </a:lnTo>
                    <a:lnTo>
                      <a:pt x="11321141" y="4101495"/>
                    </a:lnTo>
                    <a:lnTo>
                      <a:pt x="11337292" y="4050661"/>
                    </a:lnTo>
                    <a:lnTo>
                      <a:pt x="11355217" y="4033707"/>
                    </a:lnTo>
                    <a:lnTo>
                      <a:pt x="11376505" y="4029525"/>
                    </a:lnTo>
                    <a:lnTo>
                      <a:pt x="11399865" y="4024818"/>
                    </a:lnTo>
                    <a:lnTo>
                      <a:pt x="11433082" y="4009845"/>
                    </a:lnTo>
                    <a:lnTo>
                      <a:pt x="11461071" y="3996255"/>
                    </a:lnTo>
                    <a:lnTo>
                      <a:pt x="11489053" y="3982656"/>
                    </a:lnTo>
                    <a:lnTo>
                      <a:pt x="11516884" y="3968623"/>
                    </a:lnTo>
                    <a:lnTo>
                      <a:pt x="11527200" y="3948159"/>
                    </a:lnTo>
                    <a:lnTo>
                      <a:pt x="11522279" y="3906478"/>
                    </a:lnTo>
                    <a:lnTo>
                      <a:pt x="11519055" y="3885623"/>
                    </a:lnTo>
                    <a:lnTo>
                      <a:pt x="11510038" y="3849353"/>
                    </a:lnTo>
                    <a:lnTo>
                      <a:pt x="11500733" y="3806782"/>
                    </a:lnTo>
                    <a:lnTo>
                      <a:pt x="11488585" y="3779552"/>
                    </a:lnTo>
                    <a:lnTo>
                      <a:pt x="11474664" y="3762294"/>
                    </a:lnTo>
                    <a:lnTo>
                      <a:pt x="11460754" y="3745043"/>
                    </a:lnTo>
                    <a:lnTo>
                      <a:pt x="11429779" y="3735096"/>
                    </a:lnTo>
                    <a:lnTo>
                      <a:pt x="11398637" y="3729233"/>
                    </a:lnTo>
                    <a:lnTo>
                      <a:pt x="11366757" y="3740063"/>
                    </a:lnTo>
                    <a:lnTo>
                      <a:pt x="11346808" y="3725574"/>
                    </a:lnTo>
                    <a:lnTo>
                      <a:pt x="11327063" y="3709975"/>
                    </a:lnTo>
                    <a:lnTo>
                      <a:pt x="11311473" y="3657315"/>
                    </a:lnTo>
                    <a:lnTo>
                      <a:pt x="11299204" y="3603151"/>
                    </a:lnTo>
                    <a:lnTo>
                      <a:pt x="11286932" y="3548987"/>
                    </a:lnTo>
                    <a:lnTo>
                      <a:pt x="11277990" y="3493018"/>
                    </a:lnTo>
                    <a:lnTo>
                      <a:pt x="11274719" y="3471215"/>
                    </a:lnTo>
                    <a:lnTo>
                      <a:pt x="11252916" y="3441588"/>
                    </a:lnTo>
                    <a:lnTo>
                      <a:pt x="11217014" y="3425189"/>
                    </a:lnTo>
                    <a:lnTo>
                      <a:pt x="11178142" y="3412725"/>
                    </a:lnTo>
                    <a:lnTo>
                      <a:pt x="11139267" y="3400267"/>
                    </a:lnTo>
                    <a:lnTo>
                      <a:pt x="11097192" y="3392373"/>
                    </a:lnTo>
                    <a:lnTo>
                      <a:pt x="11065247" y="3382804"/>
                    </a:lnTo>
                    <a:lnTo>
                      <a:pt x="11026750" y="3371267"/>
                    </a:lnTo>
                    <a:lnTo>
                      <a:pt x="11020142" y="3351089"/>
                    </a:lnTo>
                    <a:lnTo>
                      <a:pt x="10999955" y="3332479"/>
                    </a:lnTo>
                    <a:lnTo>
                      <a:pt x="10977289" y="3313748"/>
                    </a:lnTo>
                    <a:lnTo>
                      <a:pt x="10955077" y="3306632"/>
                    </a:lnTo>
                    <a:lnTo>
                      <a:pt x="10932845" y="3299510"/>
                    </a:lnTo>
                    <a:lnTo>
                      <a:pt x="10901269" y="3293963"/>
                    </a:lnTo>
                    <a:lnTo>
                      <a:pt x="10855777" y="3291669"/>
                    </a:lnTo>
                    <a:lnTo>
                      <a:pt x="10838045" y="3266436"/>
                    </a:lnTo>
                    <a:lnTo>
                      <a:pt x="10832675" y="3227124"/>
                    </a:lnTo>
                    <a:lnTo>
                      <a:pt x="10832417" y="3203876"/>
                    </a:lnTo>
                    <a:lnTo>
                      <a:pt x="10831292" y="3180135"/>
                    </a:lnTo>
                    <a:lnTo>
                      <a:pt x="10830157" y="3156387"/>
                    </a:lnTo>
                    <a:lnTo>
                      <a:pt x="10829029" y="3132184"/>
                    </a:lnTo>
                    <a:lnTo>
                      <a:pt x="10821767" y="3110762"/>
                    </a:lnTo>
                    <a:lnTo>
                      <a:pt x="10814499" y="3089343"/>
                    </a:lnTo>
                    <a:lnTo>
                      <a:pt x="10802029" y="3071754"/>
                    </a:lnTo>
                    <a:lnTo>
                      <a:pt x="10780960" y="3059072"/>
                    </a:lnTo>
                    <a:lnTo>
                      <a:pt x="10753780" y="3054350"/>
                    </a:lnTo>
                    <a:lnTo>
                      <a:pt x="10726532" y="3055655"/>
                    </a:lnTo>
                    <a:lnTo>
                      <a:pt x="10700705" y="3050921"/>
                    </a:lnTo>
                    <a:lnTo>
                      <a:pt x="10680052" y="3023189"/>
                    </a:lnTo>
                    <a:lnTo>
                      <a:pt x="10674477" y="2973927"/>
                    </a:lnTo>
                    <a:lnTo>
                      <a:pt x="10673500" y="2923065"/>
                    </a:lnTo>
                    <a:lnTo>
                      <a:pt x="10672545" y="2872206"/>
                    </a:lnTo>
                    <a:lnTo>
                      <a:pt x="10676033" y="2820091"/>
                    </a:lnTo>
                    <a:lnTo>
                      <a:pt x="10673500" y="2787045"/>
                    </a:lnTo>
                    <a:lnTo>
                      <a:pt x="10671633" y="2764135"/>
                    </a:lnTo>
                    <a:lnTo>
                      <a:pt x="10664235" y="2737697"/>
                    </a:lnTo>
                    <a:lnTo>
                      <a:pt x="10659904" y="2714951"/>
                    </a:lnTo>
                    <a:lnTo>
                      <a:pt x="10653526" y="2681374"/>
                    </a:lnTo>
                    <a:lnTo>
                      <a:pt x="10638305" y="2646732"/>
                    </a:lnTo>
                    <a:lnTo>
                      <a:pt x="10631332" y="2612941"/>
                    </a:lnTo>
                    <a:lnTo>
                      <a:pt x="10625261" y="2583480"/>
                    </a:lnTo>
                    <a:lnTo>
                      <a:pt x="10622192" y="2552961"/>
                    </a:lnTo>
                    <a:lnTo>
                      <a:pt x="10617742" y="2523164"/>
                    </a:lnTo>
                    <a:lnTo>
                      <a:pt x="10500760" y="2482360"/>
                    </a:lnTo>
                    <a:lnTo>
                      <a:pt x="10486780" y="2442747"/>
                    </a:lnTo>
                    <a:lnTo>
                      <a:pt x="10490776" y="2415496"/>
                    </a:lnTo>
                    <a:lnTo>
                      <a:pt x="10485797" y="2389867"/>
                    </a:lnTo>
                    <a:lnTo>
                      <a:pt x="10478740" y="2354030"/>
                    </a:lnTo>
                    <a:lnTo>
                      <a:pt x="10468195" y="2320621"/>
                    </a:lnTo>
                    <a:lnTo>
                      <a:pt x="10465398" y="2283768"/>
                    </a:lnTo>
                    <a:lnTo>
                      <a:pt x="10460006" y="2213000"/>
                    </a:lnTo>
                    <a:lnTo>
                      <a:pt x="10482216" y="2144353"/>
                    </a:lnTo>
                    <a:lnTo>
                      <a:pt x="10476275" y="2074301"/>
                    </a:lnTo>
                    <a:lnTo>
                      <a:pt x="10468920" y="2053131"/>
                    </a:lnTo>
                    <a:lnTo>
                      <a:pt x="10443635" y="1915154"/>
                    </a:lnTo>
                    <a:lnTo>
                      <a:pt x="10442457" y="1884586"/>
                    </a:lnTo>
                    <a:lnTo>
                      <a:pt x="10452962" y="1864116"/>
                    </a:lnTo>
                    <a:lnTo>
                      <a:pt x="10469488" y="1848504"/>
                    </a:lnTo>
                    <a:lnTo>
                      <a:pt x="10487229" y="1833705"/>
                    </a:lnTo>
                    <a:lnTo>
                      <a:pt x="10500707" y="1814345"/>
                    </a:lnTo>
                    <a:lnTo>
                      <a:pt x="10504850" y="1785941"/>
                    </a:lnTo>
                    <a:lnTo>
                      <a:pt x="10504152" y="1756163"/>
                    </a:lnTo>
                    <a:lnTo>
                      <a:pt x="10477645" y="1727448"/>
                    </a:lnTo>
                    <a:lnTo>
                      <a:pt x="10443142" y="1709769"/>
                    </a:lnTo>
                    <a:lnTo>
                      <a:pt x="10408775" y="1687999"/>
                    </a:lnTo>
                    <a:lnTo>
                      <a:pt x="10392816" y="1672065"/>
                    </a:lnTo>
                    <a:lnTo>
                      <a:pt x="10386510" y="1644480"/>
                    </a:lnTo>
                    <a:lnTo>
                      <a:pt x="10380219" y="1616884"/>
                    </a:lnTo>
                    <a:lnTo>
                      <a:pt x="10382811" y="1576986"/>
                    </a:lnTo>
                    <a:lnTo>
                      <a:pt x="10400115" y="1515260"/>
                    </a:lnTo>
                    <a:lnTo>
                      <a:pt x="10429304" y="1489590"/>
                    </a:lnTo>
                    <a:lnTo>
                      <a:pt x="10454524" y="1479897"/>
                    </a:lnTo>
                    <a:lnTo>
                      <a:pt x="10479735" y="1470196"/>
                    </a:lnTo>
                    <a:lnTo>
                      <a:pt x="10505213" y="1459427"/>
                    </a:lnTo>
                    <a:lnTo>
                      <a:pt x="10511649" y="1421405"/>
                    </a:lnTo>
                    <a:lnTo>
                      <a:pt x="10475007" y="1391906"/>
                    </a:lnTo>
                    <a:lnTo>
                      <a:pt x="10258654" y="1410525"/>
                    </a:lnTo>
                    <a:lnTo>
                      <a:pt x="10231747" y="1412779"/>
                    </a:lnTo>
                    <a:lnTo>
                      <a:pt x="10199861" y="1425231"/>
                    </a:lnTo>
                    <a:lnTo>
                      <a:pt x="10177044" y="1439087"/>
                    </a:lnTo>
                    <a:lnTo>
                      <a:pt x="10167481" y="1513387"/>
                    </a:lnTo>
                    <a:lnTo>
                      <a:pt x="10145185" y="1544718"/>
                    </a:lnTo>
                    <a:lnTo>
                      <a:pt x="10129434" y="1558786"/>
                    </a:lnTo>
                    <a:lnTo>
                      <a:pt x="10117484" y="1579553"/>
                    </a:lnTo>
                    <a:lnTo>
                      <a:pt x="10114471" y="1610469"/>
                    </a:lnTo>
                    <a:lnTo>
                      <a:pt x="10091350" y="1625433"/>
                    </a:lnTo>
                    <a:lnTo>
                      <a:pt x="10065677" y="1633339"/>
                    </a:lnTo>
                    <a:lnTo>
                      <a:pt x="10026060" y="1621358"/>
                    </a:lnTo>
                    <a:lnTo>
                      <a:pt x="10006598" y="1612640"/>
                    </a:lnTo>
                    <a:lnTo>
                      <a:pt x="9988336" y="1597766"/>
                    </a:lnTo>
                    <a:lnTo>
                      <a:pt x="9967571" y="1581913"/>
                    </a:lnTo>
                    <a:lnTo>
                      <a:pt x="9924941" y="1592966"/>
                    </a:lnTo>
                    <a:lnTo>
                      <a:pt x="9896267" y="1606736"/>
                    </a:lnTo>
                    <a:lnTo>
                      <a:pt x="9872107" y="1625150"/>
                    </a:lnTo>
                    <a:lnTo>
                      <a:pt x="9846515" y="1637680"/>
                    </a:lnTo>
                    <a:lnTo>
                      <a:pt x="9820920" y="1650216"/>
                    </a:lnTo>
                    <a:lnTo>
                      <a:pt x="9793160" y="1657090"/>
                    </a:lnTo>
                    <a:lnTo>
                      <a:pt x="9768985" y="1647202"/>
                    </a:lnTo>
                    <a:lnTo>
                      <a:pt x="9752741" y="1626626"/>
                    </a:lnTo>
                    <a:lnTo>
                      <a:pt x="9752201" y="1585401"/>
                    </a:lnTo>
                    <a:lnTo>
                      <a:pt x="9753255" y="1551143"/>
                    </a:lnTo>
                    <a:lnTo>
                      <a:pt x="9751308" y="1517982"/>
                    </a:lnTo>
                    <a:lnTo>
                      <a:pt x="9748698" y="1472543"/>
                    </a:lnTo>
                    <a:lnTo>
                      <a:pt x="9718408" y="1430759"/>
                    </a:lnTo>
                    <a:lnTo>
                      <a:pt x="9703708" y="1388768"/>
                    </a:lnTo>
                    <a:lnTo>
                      <a:pt x="9688360" y="1344814"/>
                    </a:lnTo>
                    <a:lnTo>
                      <a:pt x="9680528" y="1296656"/>
                    </a:lnTo>
                    <a:lnTo>
                      <a:pt x="9665624" y="1252748"/>
                    </a:lnTo>
                    <a:lnTo>
                      <a:pt x="9654607" y="1220335"/>
                    </a:lnTo>
                    <a:lnTo>
                      <a:pt x="9642884" y="1187044"/>
                    </a:lnTo>
                    <a:lnTo>
                      <a:pt x="9631613" y="1153449"/>
                    </a:lnTo>
                    <a:lnTo>
                      <a:pt x="9620343" y="1119854"/>
                    </a:lnTo>
                    <a:lnTo>
                      <a:pt x="9609770" y="1086036"/>
                    </a:lnTo>
                    <a:lnTo>
                      <a:pt x="9601693" y="1052798"/>
                    </a:lnTo>
                    <a:lnTo>
                      <a:pt x="9596130" y="1029912"/>
                    </a:lnTo>
                    <a:lnTo>
                      <a:pt x="9585427" y="991115"/>
                    </a:lnTo>
                    <a:lnTo>
                      <a:pt x="9573121" y="945341"/>
                    </a:lnTo>
                    <a:lnTo>
                      <a:pt x="9560808" y="899564"/>
                    </a:lnTo>
                    <a:lnTo>
                      <a:pt x="9546874" y="847037"/>
                    </a:lnTo>
                    <a:lnTo>
                      <a:pt x="9530953" y="794358"/>
                    </a:lnTo>
                    <a:lnTo>
                      <a:pt x="9515047" y="741682"/>
                    </a:lnTo>
                    <a:lnTo>
                      <a:pt x="9497011" y="689682"/>
                    </a:lnTo>
                    <a:lnTo>
                      <a:pt x="9480636" y="646097"/>
                    </a:lnTo>
                    <a:lnTo>
                      <a:pt x="9470091" y="618049"/>
                    </a:lnTo>
                    <a:lnTo>
                      <a:pt x="9452672" y="583186"/>
                    </a:lnTo>
                    <a:lnTo>
                      <a:pt x="9435743" y="548162"/>
                    </a:lnTo>
                    <a:lnTo>
                      <a:pt x="9292316" y="577537"/>
                    </a:lnTo>
                    <a:lnTo>
                      <a:pt x="9257562" y="578083"/>
                    </a:lnTo>
                    <a:lnTo>
                      <a:pt x="9203618" y="578941"/>
                    </a:lnTo>
                    <a:lnTo>
                      <a:pt x="9145720" y="570517"/>
                    </a:lnTo>
                    <a:lnTo>
                      <a:pt x="9091615" y="567203"/>
                    </a:lnTo>
                    <a:lnTo>
                      <a:pt x="9071210" y="560403"/>
                    </a:lnTo>
                    <a:lnTo>
                      <a:pt x="8943652" y="544804"/>
                    </a:lnTo>
                    <a:lnTo>
                      <a:pt x="8823737" y="517852"/>
                    </a:lnTo>
                    <a:lnTo>
                      <a:pt x="8701236" y="477431"/>
                    </a:lnTo>
                    <a:lnTo>
                      <a:pt x="8545707" y="419410"/>
                    </a:lnTo>
                    <a:lnTo>
                      <a:pt x="8511139" y="402005"/>
                    </a:lnTo>
                    <a:lnTo>
                      <a:pt x="8495450" y="387984"/>
                    </a:lnTo>
                    <a:lnTo>
                      <a:pt x="8460879" y="365562"/>
                    </a:lnTo>
                    <a:lnTo>
                      <a:pt x="8416949" y="357735"/>
                    </a:lnTo>
                    <a:lnTo>
                      <a:pt x="8378660" y="359178"/>
                    </a:lnTo>
                    <a:lnTo>
                      <a:pt x="8337974" y="357932"/>
                    </a:lnTo>
                    <a:lnTo>
                      <a:pt x="8299977" y="361809"/>
                    </a:lnTo>
                    <a:lnTo>
                      <a:pt x="8250454" y="366821"/>
                    </a:lnTo>
                    <a:lnTo>
                      <a:pt x="8149604" y="393624"/>
                    </a:lnTo>
                    <a:lnTo>
                      <a:pt x="8049700" y="423018"/>
                    </a:lnTo>
                    <a:lnTo>
                      <a:pt x="7949793" y="452417"/>
                    </a:lnTo>
                    <a:lnTo>
                      <a:pt x="7850196" y="484521"/>
                    </a:lnTo>
                    <a:lnTo>
                      <a:pt x="7804863" y="499188"/>
                    </a:lnTo>
                    <a:lnTo>
                      <a:pt x="7758931" y="514052"/>
                    </a:lnTo>
                    <a:lnTo>
                      <a:pt x="7706370" y="518657"/>
                    </a:lnTo>
                    <a:lnTo>
                      <a:pt x="7652522" y="519593"/>
                    </a:lnTo>
                    <a:lnTo>
                      <a:pt x="7598674" y="520530"/>
                    </a:lnTo>
                    <a:lnTo>
                      <a:pt x="7543322" y="517838"/>
                    </a:lnTo>
                    <a:lnTo>
                      <a:pt x="7496097" y="518234"/>
                    </a:lnTo>
                    <a:lnTo>
                      <a:pt x="7471618" y="499194"/>
                    </a:lnTo>
                    <a:lnTo>
                      <a:pt x="7457200" y="472439"/>
                    </a:lnTo>
                    <a:lnTo>
                      <a:pt x="7439242" y="422120"/>
                    </a:lnTo>
                    <a:lnTo>
                      <a:pt x="7429410" y="383659"/>
                    </a:lnTo>
                    <a:lnTo>
                      <a:pt x="7403604" y="361809"/>
                    </a:lnTo>
                    <a:lnTo>
                      <a:pt x="7382650" y="367336"/>
                    </a:lnTo>
                    <a:lnTo>
                      <a:pt x="7295982" y="393604"/>
                    </a:lnTo>
                    <a:lnTo>
                      <a:pt x="7270861" y="378817"/>
                    </a:lnTo>
                    <a:lnTo>
                      <a:pt x="7262657" y="347571"/>
                    </a:lnTo>
                    <a:lnTo>
                      <a:pt x="7256617" y="315606"/>
                    </a:lnTo>
                    <a:lnTo>
                      <a:pt x="7247179" y="287004"/>
                    </a:lnTo>
                    <a:lnTo>
                      <a:pt x="7234346" y="268762"/>
                    </a:lnTo>
                    <a:lnTo>
                      <a:pt x="7225738" y="243002"/>
                    </a:lnTo>
                    <a:lnTo>
                      <a:pt x="7235955" y="217982"/>
                    </a:lnTo>
                    <a:lnTo>
                      <a:pt x="7248543" y="194511"/>
                    </a:lnTo>
                    <a:lnTo>
                      <a:pt x="7261125" y="171033"/>
                    </a:lnTo>
                    <a:lnTo>
                      <a:pt x="7276554" y="149236"/>
                    </a:lnTo>
                    <a:lnTo>
                      <a:pt x="7291477" y="125178"/>
                    </a:lnTo>
                    <a:lnTo>
                      <a:pt x="7264465" y="68633"/>
                    </a:lnTo>
                    <a:lnTo>
                      <a:pt x="7254639" y="43552"/>
                    </a:lnTo>
                    <a:lnTo>
                      <a:pt x="7232420" y="37770"/>
                    </a:lnTo>
                    <a:lnTo>
                      <a:pt x="7202295" y="38086"/>
                    </a:lnTo>
                    <a:lnTo>
                      <a:pt x="7172176" y="38415"/>
                    </a:lnTo>
                    <a:lnTo>
                      <a:pt x="7134485" y="43994"/>
                    </a:lnTo>
                    <a:lnTo>
                      <a:pt x="7096202" y="51684"/>
                    </a:lnTo>
                    <a:lnTo>
                      <a:pt x="7019627" y="67070"/>
                    </a:lnTo>
                    <a:lnTo>
                      <a:pt x="6943411" y="92025"/>
                    </a:lnTo>
                    <a:lnTo>
                      <a:pt x="6935939" y="124968"/>
                    </a:lnTo>
                    <a:lnTo>
                      <a:pt x="6943858" y="163224"/>
                    </a:lnTo>
                    <a:lnTo>
                      <a:pt x="6952230" y="200966"/>
                    </a:lnTo>
                    <a:lnTo>
                      <a:pt x="6949154" y="238835"/>
                    </a:lnTo>
                    <a:lnTo>
                      <a:pt x="6933697" y="253864"/>
                    </a:lnTo>
                    <a:lnTo>
                      <a:pt x="6911215" y="266599"/>
                    </a:lnTo>
                    <a:lnTo>
                      <a:pt x="6888726" y="279333"/>
                    </a:lnTo>
                    <a:lnTo>
                      <a:pt x="6859234" y="289826"/>
                    </a:lnTo>
                    <a:lnTo>
                      <a:pt x="6828243" y="297878"/>
                    </a:lnTo>
                    <a:lnTo>
                      <a:pt x="6766244" y="313996"/>
                    </a:lnTo>
                    <a:lnTo>
                      <a:pt x="6699848" y="321304"/>
                    </a:lnTo>
                    <a:lnTo>
                      <a:pt x="6678618" y="325083"/>
                    </a:lnTo>
                    <a:lnTo>
                      <a:pt x="6497715" y="357727"/>
                    </a:lnTo>
                    <a:lnTo>
                      <a:pt x="6468129" y="386594"/>
                    </a:lnTo>
                    <a:lnTo>
                      <a:pt x="6461205" y="434921"/>
                    </a:lnTo>
                    <a:lnTo>
                      <a:pt x="6460988" y="459744"/>
                    </a:lnTo>
                    <a:lnTo>
                      <a:pt x="6430447" y="473370"/>
                    </a:lnTo>
                    <a:lnTo>
                      <a:pt x="6398421" y="463826"/>
                    </a:lnTo>
                    <a:lnTo>
                      <a:pt x="6367816" y="447274"/>
                    </a:lnTo>
                    <a:lnTo>
                      <a:pt x="6337464" y="425444"/>
                    </a:lnTo>
                    <a:lnTo>
                      <a:pt x="6290813" y="384121"/>
                    </a:lnTo>
                    <a:lnTo>
                      <a:pt x="6281439" y="364533"/>
                    </a:lnTo>
                    <a:lnTo>
                      <a:pt x="6264671" y="329475"/>
                    </a:lnTo>
                    <a:lnTo>
                      <a:pt x="6257481" y="278529"/>
                    </a:lnTo>
                    <a:lnTo>
                      <a:pt x="6239275" y="236671"/>
                    </a:lnTo>
                    <a:lnTo>
                      <a:pt x="6230171" y="215745"/>
                    </a:lnTo>
                    <a:lnTo>
                      <a:pt x="6217543" y="196673"/>
                    </a:lnTo>
                    <a:lnTo>
                      <a:pt x="6184838" y="170577"/>
                    </a:lnTo>
                    <a:lnTo>
                      <a:pt x="6164104" y="163368"/>
                    </a:lnTo>
                    <a:lnTo>
                      <a:pt x="6135898" y="164582"/>
                    </a:lnTo>
                    <a:lnTo>
                      <a:pt x="6097838" y="166218"/>
                    </a:lnTo>
                    <a:lnTo>
                      <a:pt x="6046068" y="172509"/>
                    </a:lnTo>
                    <a:lnTo>
                      <a:pt x="5995801" y="171382"/>
                    </a:lnTo>
                    <a:lnTo>
                      <a:pt x="5970662" y="170788"/>
                    </a:lnTo>
                    <a:lnTo>
                      <a:pt x="5946263" y="169225"/>
                    </a:lnTo>
                    <a:lnTo>
                      <a:pt x="5923706" y="163224"/>
                    </a:lnTo>
                    <a:lnTo>
                      <a:pt x="5901159" y="157223"/>
                    </a:lnTo>
                    <a:lnTo>
                      <a:pt x="5880075" y="147910"/>
                    </a:lnTo>
                    <a:lnTo>
                      <a:pt x="5863859" y="133296"/>
                    </a:lnTo>
                    <a:lnTo>
                      <a:pt x="5844279" y="111474"/>
                    </a:lnTo>
                    <a:lnTo>
                      <a:pt x="5823598" y="89836"/>
                    </a:lnTo>
                    <a:lnTo>
                      <a:pt x="5798570" y="74813"/>
                    </a:lnTo>
                    <a:lnTo>
                      <a:pt x="5755127" y="58108"/>
                    </a:lnTo>
                    <a:lnTo>
                      <a:pt x="5711220" y="43566"/>
                    </a:lnTo>
                    <a:lnTo>
                      <a:pt x="5666630" y="31287"/>
                    </a:lnTo>
                    <a:lnTo>
                      <a:pt x="5622044" y="19000"/>
                    </a:lnTo>
                    <a:lnTo>
                      <a:pt x="5576385" y="9055"/>
                    </a:lnTo>
                    <a:lnTo>
                      <a:pt x="5530611" y="0"/>
                    </a:lnTo>
                    <a:close/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711" name="Zaporizhia¬0" descr="Zaporizhia¬0">
                <a:extLst>
                  <a:ext uri="{FF2B5EF4-FFF2-40B4-BE49-F238E27FC236}">
                    <a16:creationId xmlns:a16="http://schemas.microsoft.com/office/drawing/2014/main" id="{13553688-0570-479C-A8EA-9D6BB43FD760}"/>
                  </a:ext>
                </a:extLst>
              </p:cNvPr>
              <p:cNvSpPr/>
              <p:nvPr/>
            </p:nvSpPr>
            <p:spPr>
              <a:xfrm>
                <a:off x="48944550" y="30467668"/>
                <a:ext cx="471507" cy="456387"/>
              </a:xfrm>
              <a:custGeom>
                <a:avLst/>
                <a:gdLst/>
                <a:ahLst/>
                <a:cxnLst/>
                <a:rect l="0" t="0" r="0" b="0"/>
                <a:pathLst>
                  <a:path w="471510" h="456389">
                    <a:moveTo>
                      <a:pt x="447722" y="51982"/>
                    </a:moveTo>
                    <a:lnTo>
                      <a:pt x="435654" y="71069"/>
                    </a:lnTo>
                    <a:lnTo>
                      <a:pt x="316424" y="182817"/>
                    </a:lnTo>
                    <a:lnTo>
                      <a:pt x="351833" y="285000"/>
                    </a:lnTo>
                    <a:lnTo>
                      <a:pt x="300484" y="354630"/>
                    </a:lnTo>
                    <a:lnTo>
                      <a:pt x="238513" y="438746"/>
                    </a:lnTo>
                    <a:lnTo>
                      <a:pt x="177468" y="398367"/>
                    </a:lnTo>
                    <a:lnTo>
                      <a:pt x="119571" y="408608"/>
                    </a:lnTo>
                    <a:lnTo>
                      <a:pt x="92875" y="425571"/>
                    </a:lnTo>
                    <a:lnTo>
                      <a:pt x="67553" y="445334"/>
                    </a:lnTo>
                    <a:lnTo>
                      <a:pt x="42807" y="447371"/>
                    </a:lnTo>
                    <a:lnTo>
                      <a:pt x="13692" y="456388"/>
                    </a:lnTo>
                    <a:lnTo>
                      <a:pt x="0" y="415491"/>
                    </a:lnTo>
                    <a:lnTo>
                      <a:pt x="79707" y="381490"/>
                    </a:lnTo>
                    <a:lnTo>
                      <a:pt x="97982" y="299114"/>
                    </a:lnTo>
                    <a:lnTo>
                      <a:pt x="106403" y="256778"/>
                    </a:lnTo>
                    <a:lnTo>
                      <a:pt x="142193" y="251340"/>
                    </a:lnTo>
                    <a:lnTo>
                      <a:pt x="154729" y="272976"/>
                    </a:lnTo>
                    <a:lnTo>
                      <a:pt x="145232" y="308384"/>
                    </a:lnTo>
                    <a:lnTo>
                      <a:pt x="154967" y="335713"/>
                    </a:lnTo>
                    <a:lnTo>
                      <a:pt x="181025" y="352847"/>
                    </a:lnTo>
                    <a:lnTo>
                      <a:pt x="237642" y="330064"/>
                    </a:lnTo>
                    <a:lnTo>
                      <a:pt x="258685" y="227155"/>
                    </a:lnTo>
                    <a:lnTo>
                      <a:pt x="286101" y="188094"/>
                    </a:lnTo>
                    <a:lnTo>
                      <a:pt x="298255" y="170749"/>
                    </a:lnTo>
                    <a:lnTo>
                      <a:pt x="321125" y="156887"/>
                    </a:lnTo>
                    <a:lnTo>
                      <a:pt x="335409" y="140314"/>
                    </a:lnTo>
                    <a:lnTo>
                      <a:pt x="367283" y="103414"/>
                    </a:lnTo>
                    <a:lnTo>
                      <a:pt x="408561" y="3653"/>
                    </a:lnTo>
                    <a:lnTo>
                      <a:pt x="459823" y="0"/>
                    </a:lnTo>
                    <a:lnTo>
                      <a:pt x="471509" y="20101"/>
                    </a:lnTo>
                    <a:lnTo>
                      <a:pt x="459823" y="47821"/>
                    </a:lnTo>
                  </a:path>
                </a:pathLst>
              </a:custGeom>
              <a:solidFill>
                <a:srgbClr val="C0C0C0"/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  <p:sp>
            <p:nvSpPr>
              <p:cNvPr id="712" name="Zaporizhia¬1" descr="Zaporizhia¬1">
                <a:extLst>
                  <a:ext uri="{FF2B5EF4-FFF2-40B4-BE49-F238E27FC236}">
                    <a16:creationId xmlns:a16="http://schemas.microsoft.com/office/drawing/2014/main" id="{CF321513-FDFF-4760-A92B-197FCC9B4591}"/>
                  </a:ext>
                </a:extLst>
              </p:cNvPr>
              <p:cNvSpPr/>
              <p:nvPr/>
            </p:nvSpPr>
            <p:spPr>
              <a:xfrm>
                <a:off x="42238553" y="22332834"/>
                <a:ext cx="10583728" cy="10819270"/>
              </a:xfrm>
              <a:custGeom>
                <a:avLst/>
                <a:gdLst/>
                <a:ahLst/>
                <a:cxnLst/>
                <a:rect l="0" t="0" r="0" b="0"/>
                <a:pathLst>
                  <a:path w="10583731" h="10819271">
                    <a:moveTo>
                      <a:pt x="16914" y="3464348"/>
                    </a:moveTo>
                    <a:lnTo>
                      <a:pt x="34327" y="3499208"/>
                    </a:lnTo>
                    <a:lnTo>
                      <a:pt x="44872" y="3527256"/>
                    </a:lnTo>
                    <a:lnTo>
                      <a:pt x="61259" y="3570844"/>
                    </a:lnTo>
                    <a:lnTo>
                      <a:pt x="79282" y="3622844"/>
                    </a:lnTo>
                    <a:lnTo>
                      <a:pt x="95204" y="3675517"/>
                    </a:lnTo>
                    <a:lnTo>
                      <a:pt x="111116" y="3728199"/>
                    </a:lnTo>
                    <a:lnTo>
                      <a:pt x="125059" y="3780726"/>
                    </a:lnTo>
                    <a:lnTo>
                      <a:pt x="137372" y="3826500"/>
                    </a:lnTo>
                    <a:lnTo>
                      <a:pt x="149672" y="3872271"/>
                    </a:lnTo>
                    <a:lnTo>
                      <a:pt x="160369" y="3911075"/>
                    </a:lnTo>
                    <a:lnTo>
                      <a:pt x="165934" y="3933951"/>
                    </a:lnTo>
                    <a:lnTo>
                      <a:pt x="174012" y="3967189"/>
                    </a:lnTo>
                    <a:lnTo>
                      <a:pt x="184578" y="4001016"/>
                    </a:lnTo>
                    <a:lnTo>
                      <a:pt x="195855" y="4034611"/>
                    </a:lnTo>
                    <a:lnTo>
                      <a:pt x="207132" y="4068206"/>
                    </a:lnTo>
                    <a:lnTo>
                      <a:pt x="218852" y="4101497"/>
                    </a:lnTo>
                    <a:lnTo>
                      <a:pt x="229859" y="4133905"/>
                    </a:lnTo>
                    <a:lnTo>
                      <a:pt x="244776" y="4177812"/>
                    </a:lnTo>
                    <a:lnTo>
                      <a:pt x="252605" y="4225973"/>
                    </a:lnTo>
                    <a:lnTo>
                      <a:pt x="267944" y="4269924"/>
                    </a:lnTo>
                    <a:lnTo>
                      <a:pt x="282650" y="4311918"/>
                    </a:lnTo>
                    <a:lnTo>
                      <a:pt x="312943" y="4353705"/>
                    </a:lnTo>
                    <a:lnTo>
                      <a:pt x="315553" y="4399144"/>
                    </a:lnTo>
                    <a:lnTo>
                      <a:pt x="317466" y="4432296"/>
                    </a:lnTo>
                    <a:lnTo>
                      <a:pt x="316468" y="4466557"/>
                    </a:lnTo>
                    <a:lnTo>
                      <a:pt x="316905" y="4499802"/>
                    </a:lnTo>
                    <a:lnTo>
                      <a:pt x="326508" y="4524157"/>
                    </a:lnTo>
                    <a:lnTo>
                      <a:pt x="357411" y="4538243"/>
                    </a:lnTo>
                    <a:lnTo>
                      <a:pt x="385161" y="4531378"/>
                    </a:lnTo>
                    <a:lnTo>
                      <a:pt x="410757" y="4518842"/>
                    </a:lnTo>
                    <a:lnTo>
                      <a:pt x="436352" y="4506310"/>
                    </a:lnTo>
                    <a:lnTo>
                      <a:pt x="460515" y="4487898"/>
                    </a:lnTo>
                    <a:lnTo>
                      <a:pt x="476046" y="4471233"/>
                    </a:lnTo>
                    <a:lnTo>
                      <a:pt x="519277" y="4466424"/>
                    </a:lnTo>
                    <a:lnTo>
                      <a:pt x="552581" y="4478928"/>
                    </a:lnTo>
                    <a:lnTo>
                      <a:pt x="570840" y="4493793"/>
                    </a:lnTo>
                    <a:lnTo>
                      <a:pt x="590302" y="4502518"/>
                    </a:lnTo>
                    <a:lnTo>
                      <a:pt x="609765" y="4511243"/>
                    </a:lnTo>
                    <a:lnTo>
                      <a:pt x="655591" y="4506595"/>
                    </a:lnTo>
                    <a:lnTo>
                      <a:pt x="678716" y="4491632"/>
                    </a:lnTo>
                    <a:lnTo>
                      <a:pt x="681714" y="4460706"/>
                    </a:lnTo>
                    <a:lnTo>
                      <a:pt x="693679" y="4439945"/>
                    </a:lnTo>
                    <a:lnTo>
                      <a:pt x="709427" y="4425880"/>
                    </a:lnTo>
                    <a:lnTo>
                      <a:pt x="723600" y="4405938"/>
                    </a:lnTo>
                    <a:lnTo>
                      <a:pt x="734402" y="4338782"/>
                    </a:lnTo>
                    <a:lnTo>
                      <a:pt x="764106" y="4306393"/>
                    </a:lnTo>
                    <a:lnTo>
                      <a:pt x="795992" y="4293935"/>
                    </a:lnTo>
                    <a:lnTo>
                      <a:pt x="822899" y="4291687"/>
                    </a:lnTo>
                    <a:lnTo>
                      <a:pt x="1028285" y="4273998"/>
                    </a:lnTo>
                    <a:lnTo>
                      <a:pt x="1069265" y="4295253"/>
                    </a:lnTo>
                    <a:lnTo>
                      <a:pt x="1075891" y="4322966"/>
                    </a:lnTo>
                    <a:lnTo>
                      <a:pt x="1043986" y="4351358"/>
                    </a:lnTo>
                    <a:lnTo>
                      <a:pt x="1018766" y="4361050"/>
                    </a:lnTo>
                    <a:lnTo>
                      <a:pt x="993549" y="4370752"/>
                    </a:lnTo>
                    <a:lnTo>
                      <a:pt x="969014" y="4379840"/>
                    </a:lnTo>
                    <a:lnTo>
                      <a:pt x="947034" y="4458148"/>
                    </a:lnTo>
                    <a:lnTo>
                      <a:pt x="944464" y="4498047"/>
                    </a:lnTo>
                    <a:lnTo>
                      <a:pt x="950755" y="4525642"/>
                    </a:lnTo>
                    <a:lnTo>
                      <a:pt x="957058" y="4553228"/>
                    </a:lnTo>
                    <a:lnTo>
                      <a:pt x="973011" y="4569162"/>
                    </a:lnTo>
                    <a:lnTo>
                      <a:pt x="1007384" y="4590931"/>
                    </a:lnTo>
                    <a:lnTo>
                      <a:pt x="1041890" y="4608610"/>
                    </a:lnTo>
                    <a:lnTo>
                      <a:pt x="1068376" y="4637325"/>
                    </a:lnTo>
                    <a:lnTo>
                      <a:pt x="1069092" y="4667100"/>
                    </a:lnTo>
                    <a:lnTo>
                      <a:pt x="1064959" y="4695504"/>
                    </a:lnTo>
                    <a:lnTo>
                      <a:pt x="1051471" y="4714861"/>
                    </a:lnTo>
                    <a:lnTo>
                      <a:pt x="1033723" y="4729667"/>
                    </a:lnTo>
                    <a:lnTo>
                      <a:pt x="1017197" y="4745278"/>
                    </a:lnTo>
                    <a:lnTo>
                      <a:pt x="1006733" y="4765748"/>
                    </a:lnTo>
                    <a:lnTo>
                      <a:pt x="1007880" y="4796314"/>
                    </a:lnTo>
                    <a:lnTo>
                      <a:pt x="1031001" y="4922818"/>
                    </a:lnTo>
                    <a:lnTo>
                      <a:pt x="1039428" y="4942497"/>
                    </a:lnTo>
                    <a:lnTo>
                      <a:pt x="1046461" y="5025509"/>
                    </a:lnTo>
                    <a:lnTo>
                      <a:pt x="1024242" y="5094162"/>
                    </a:lnTo>
                    <a:lnTo>
                      <a:pt x="1029637" y="5164930"/>
                    </a:lnTo>
                    <a:lnTo>
                      <a:pt x="1032424" y="5201784"/>
                    </a:lnTo>
                    <a:lnTo>
                      <a:pt x="1042985" y="5235192"/>
                    </a:lnTo>
                    <a:lnTo>
                      <a:pt x="1050042" y="5271029"/>
                    </a:lnTo>
                    <a:lnTo>
                      <a:pt x="1055117" y="5296658"/>
                    </a:lnTo>
                    <a:lnTo>
                      <a:pt x="1051043" y="5323906"/>
                    </a:lnTo>
                    <a:lnTo>
                      <a:pt x="1055480" y="5348559"/>
                    </a:lnTo>
                    <a:lnTo>
                      <a:pt x="1172456" y="5389363"/>
                    </a:lnTo>
                    <a:lnTo>
                      <a:pt x="1186437" y="5434123"/>
                    </a:lnTo>
                    <a:lnTo>
                      <a:pt x="1189503" y="5464642"/>
                    </a:lnTo>
                    <a:lnTo>
                      <a:pt x="1195577" y="5494094"/>
                    </a:lnTo>
                    <a:lnTo>
                      <a:pt x="1202547" y="5527888"/>
                    </a:lnTo>
                    <a:lnTo>
                      <a:pt x="1217768" y="5562537"/>
                    </a:lnTo>
                    <a:lnTo>
                      <a:pt x="1224146" y="5596113"/>
                    </a:lnTo>
                    <a:lnTo>
                      <a:pt x="1228499" y="5618859"/>
                    </a:lnTo>
                    <a:lnTo>
                      <a:pt x="1235878" y="5645298"/>
                    </a:lnTo>
                    <a:lnTo>
                      <a:pt x="1237745" y="5668208"/>
                    </a:lnTo>
                    <a:lnTo>
                      <a:pt x="1240269" y="5701254"/>
                    </a:lnTo>
                    <a:lnTo>
                      <a:pt x="1236787" y="5753368"/>
                    </a:lnTo>
                    <a:lnTo>
                      <a:pt x="1237745" y="5804227"/>
                    </a:lnTo>
                    <a:lnTo>
                      <a:pt x="1238700" y="5855080"/>
                    </a:lnTo>
                    <a:lnTo>
                      <a:pt x="1244293" y="5904351"/>
                    </a:lnTo>
                    <a:lnTo>
                      <a:pt x="1264950" y="5932083"/>
                    </a:lnTo>
                    <a:lnTo>
                      <a:pt x="1290768" y="5936805"/>
                    </a:lnTo>
                    <a:lnTo>
                      <a:pt x="1318025" y="5935500"/>
                    </a:lnTo>
                    <a:lnTo>
                      <a:pt x="1345208" y="5940235"/>
                    </a:lnTo>
                    <a:lnTo>
                      <a:pt x="1366274" y="5952910"/>
                    </a:lnTo>
                    <a:lnTo>
                      <a:pt x="1378744" y="5970506"/>
                    </a:lnTo>
                    <a:lnTo>
                      <a:pt x="1386006" y="5991924"/>
                    </a:lnTo>
                    <a:lnTo>
                      <a:pt x="1393274" y="6013346"/>
                    </a:lnTo>
                    <a:lnTo>
                      <a:pt x="1394399" y="6037550"/>
                    </a:lnTo>
                    <a:lnTo>
                      <a:pt x="1395528" y="6061291"/>
                    </a:lnTo>
                    <a:lnTo>
                      <a:pt x="1396662" y="6085038"/>
                    </a:lnTo>
                    <a:lnTo>
                      <a:pt x="1396920" y="6108286"/>
                    </a:lnTo>
                    <a:lnTo>
                      <a:pt x="1402275" y="6147599"/>
                    </a:lnTo>
                    <a:lnTo>
                      <a:pt x="1420022" y="6172828"/>
                    </a:lnTo>
                    <a:lnTo>
                      <a:pt x="1465505" y="6175126"/>
                    </a:lnTo>
                    <a:lnTo>
                      <a:pt x="1497097" y="6180670"/>
                    </a:lnTo>
                    <a:lnTo>
                      <a:pt x="1519312" y="6187795"/>
                    </a:lnTo>
                    <a:lnTo>
                      <a:pt x="1541531" y="6194910"/>
                    </a:lnTo>
                    <a:lnTo>
                      <a:pt x="1564200" y="6213632"/>
                    </a:lnTo>
                    <a:lnTo>
                      <a:pt x="1584384" y="6232251"/>
                    </a:lnTo>
                    <a:lnTo>
                      <a:pt x="1590995" y="6252429"/>
                    </a:lnTo>
                    <a:lnTo>
                      <a:pt x="1629489" y="6263964"/>
                    </a:lnTo>
                    <a:lnTo>
                      <a:pt x="1661434" y="6273526"/>
                    </a:lnTo>
                    <a:lnTo>
                      <a:pt x="1703509" y="6281420"/>
                    </a:lnTo>
                    <a:lnTo>
                      <a:pt x="1742387" y="6293884"/>
                    </a:lnTo>
                    <a:lnTo>
                      <a:pt x="1781262" y="6306349"/>
                    </a:lnTo>
                    <a:lnTo>
                      <a:pt x="1817152" y="6322751"/>
                    </a:lnTo>
                    <a:lnTo>
                      <a:pt x="1838961" y="6352377"/>
                    </a:lnTo>
                    <a:lnTo>
                      <a:pt x="1842226" y="6374177"/>
                    </a:lnTo>
                    <a:lnTo>
                      <a:pt x="1851177" y="6430149"/>
                    </a:lnTo>
                    <a:lnTo>
                      <a:pt x="1863443" y="6484313"/>
                    </a:lnTo>
                    <a:lnTo>
                      <a:pt x="1875709" y="6538477"/>
                    </a:lnTo>
                    <a:lnTo>
                      <a:pt x="1891305" y="6591131"/>
                    </a:lnTo>
                    <a:lnTo>
                      <a:pt x="1911050" y="6606733"/>
                    </a:lnTo>
                    <a:lnTo>
                      <a:pt x="1931008" y="6621222"/>
                    </a:lnTo>
                    <a:lnTo>
                      <a:pt x="1962879" y="6610389"/>
                    </a:lnTo>
                    <a:lnTo>
                      <a:pt x="1994021" y="6616258"/>
                    </a:lnTo>
                    <a:lnTo>
                      <a:pt x="2024990" y="6626196"/>
                    </a:lnTo>
                    <a:lnTo>
                      <a:pt x="2038905" y="6643454"/>
                    </a:lnTo>
                    <a:lnTo>
                      <a:pt x="2052827" y="6660715"/>
                    </a:lnTo>
                    <a:lnTo>
                      <a:pt x="2064975" y="6687944"/>
                    </a:lnTo>
                    <a:lnTo>
                      <a:pt x="2074274" y="6730509"/>
                    </a:lnTo>
                    <a:lnTo>
                      <a:pt x="2083297" y="6766786"/>
                    </a:lnTo>
                    <a:lnTo>
                      <a:pt x="2086515" y="6787640"/>
                    </a:lnTo>
                    <a:lnTo>
                      <a:pt x="2089733" y="6808492"/>
                    </a:lnTo>
                    <a:lnTo>
                      <a:pt x="2085163" y="6846123"/>
                    </a:lnTo>
                    <a:lnTo>
                      <a:pt x="2053305" y="6863819"/>
                    </a:lnTo>
                    <a:lnTo>
                      <a:pt x="2025316" y="6877408"/>
                    </a:lnTo>
                    <a:lnTo>
                      <a:pt x="1997327" y="6891008"/>
                    </a:lnTo>
                    <a:lnTo>
                      <a:pt x="1968863" y="6904120"/>
                    </a:lnTo>
                    <a:lnTo>
                      <a:pt x="1940747" y="6910693"/>
                    </a:lnTo>
                    <a:lnTo>
                      <a:pt x="1919452" y="6914870"/>
                    </a:lnTo>
                    <a:lnTo>
                      <a:pt x="1901534" y="6931824"/>
                    </a:lnTo>
                    <a:lnTo>
                      <a:pt x="1885383" y="6982658"/>
                    </a:lnTo>
                    <a:lnTo>
                      <a:pt x="1900836" y="7040335"/>
                    </a:lnTo>
                    <a:lnTo>
                      <a:pt x="1896092" y="7092325"/>
                    </a:lnTo>
                    <a:lnTo>
                      <a:pt x="1893395" y="7121183"/>
                    </a:lnTo>
                    <a:lnTo>
                      <a:pt x="1863738" y="7148855"/>
                    </a:lnTo>
                    <a:lnTo>
                      <a:pt x="1848486" y="7171214"/>
                    </a:lnTo>
                    <a:lnTo>
                      <a:pt x="1824683" y="7206027"/>
                    </a:lnTo>
                    <a:lnTo>
                      <a:pt x="1832506" y="7252403"/>
                    </a:lnTo>
                    <a:lnTo>
                      <a:pt x="1803599" y="7288193"/>
                    </a:lnTo>
                    <a:lnTo>
                      <a:pt x="1751791" y="7305367"/>
                    </a:lnTo>
                    <a:lnTo>
                      <a:pt x="1730146" y="7328996"/>
                    </a:lnTo>
                    <a:lnTo>
                      <a:pt x="1712426" y="7348378"/>
                    </a:lnTo>
                    <a:lnTo>
                      <a:pt x="1698272" y="7400623"/>
                    </a:lnTo>
                    <a:lnTo>
                      <a:pt x="1644867" y="7423428"/>
                    </a:lnTo>
                    <a:lnTo>
                      <a:pt x="1607983" y="7415224"/>
                    </a:lnTo>
                    <a:lnTo>
                      <a:pt x="1573728" y="7414690"/>
                    </a:lnTo>
                    <a:lnTo>
                      <a:pt x="1540086" y="7415785"/>
                    </a:lnTo>
                    <a:lnTo>
                      <a:pt x="1509434" y="7429917"/>
                    </a:lnTo>
                    <a:lnTo>
                      <a:pt x="1482592" y="7463658"/>
                    </a:lnTo>
                    <a:lnTo>
                      <a:pt x="1483054" y="7508185"/>
                    </a:lnTo>
                    <a:lnTo>
                      <a:pt x="1486682" y="7539827"/>
                    </a:lnTo>
                    <a:lnTo>
                      <a:pt x="1490297" y="7571471"/>
                    </a:lnTo>
                    <a:lnTo>
                      <a:pt x="1495525" y="7603079"/>
                    </a:lnTo>
                    <a:lnTo>
                      <a:pt x="1521700" y="7624910"/>
                    </a:lnTo>
                    <a:lnTo>
                      <a:pt x="1554690" y="7621440"/>
                    </a:lnTo>
                    <a:lnTo>
                      <a:pt x="1586279" y="7606120"/>
                    </a:lnTo>
                    <a:lnTo>
                      <a:pt x="1621337" y="7594236"/>
                    </a:lnTo>
                    <a:lnTo>
                      <a:pt x="1649562" y="7640441"/>
                    </a:lnTo>
                    <a:lnTo>
                      <a:pt x="1665245" y="7664498"/>
                    </a:lnTo>
                    <a:lnTo>
                      <a:pt x="1698120" y="7671561"/>
                    </a:lnTo>
                    <a:lnTo>
                      <a:pt x="1731516" y="7675846"/>
                    </a:lnTo>
                    <a:lnTo>
                      <a:pt x="1764907" y="7680135"/>
                    </a:lnTo>
                    <a:lnTo>
                      <a:pt x="1799717" y="7680907"/>
                    </a:lnTo>
                    <a:lnTo>
                      <a:pt x="1829089" y="7684367"/>
                    </a:lnTo>
                    <a:lnTo>
                      <a:pt x="1854935" y="7701501"/>
                    </a:lnTo>
                    <a:lnTo>
                      <a:pt x="1864814" y="7724808"/>
                    </a:lnTo>
                    <a:lnTo>
                      <a:pt x="1872016" y="7744621"/>
                    </a:lnTo>
                    <a:lnTo>
                      <a:pt x="1882450" y="7780516"/>
                    </a:lnTo>
                    <a:lnTo>
                      <a:pt x="1889302" y="7817308"/>
                    </a:lnTo>
                    <a:lnTo>
                      <a:pt x="1896291" y="7854096"/>
                    </a:lnTo>
                    <a:lnTo>
                      <a:pt x="1899959" y="7891777"/>
                    </a:lnTo>
                    <a:lnTo>
                      <a:pt x="1890654" y="7911159"/>
                    </a:lnTo>
                    <a:lnTo>
                      <a:pt x="1880714" y="7931880"/>
                    </a:lnTo>
                    <a:lnTo>
                      <a:pt x="1856631" y="7951929"/>
                    </a:lnTo>
                    <a:lnTo>
                      <a:pt x="1837603" y="7975090"/>
                    </a:lnTo>
                    <a:lnTo>
                      <a:pt x="1819099" y="7998847"/>
                    </a:lnTo>
                    <a:lnTo>
                      <a:pt x="1809865" y="8024783"/>
                    </a:lnTo>
                    <a:lnTo>
                      <a:pt x="1814482" y="8053978"/>
                    </a:lnTo>
                    <a:lnTo>
                      <a:pt x="1829616" y="8098633"/>
                    </a:lnTo>
                    <a:lnTo>
                      <a:pt x="1845023" y="8122895"/>
                    </a:lnTo>
                    <a:lnTo>
                      <a:pt x="1859366" y="8139672"/>
                    </a:lnTo>
                    <a:lnTo>
                      <a:pt x="1873709" y="8156443"/>
                    </a:lnTo>
                    <a:lnTo>
                      <a:pt x="1893376" y="8181840"/>
                    </a:lnTo>
                    <a:lnTo>
                      <a:pt x="1902973" y="8203777"/>
                    </a:lnTo>
                    <a:lnTo>
                      <a:pt x="1924655" y="8241691"/>
                    </a:lnTo>
                    <a:lnTo>
                      <a:pt x="1940511" y="8273103"/>
                    </a:lnTo>
                    <a:lnTo>
                      <a:pt x="1942087" y="8307191"/>
                    </a:lnTo>
                    <a:lnTo>
                      <a:pt x="1960023" y="8339626"/>
                    </a:lnTo>
                    <a:lnTo>
                      <a:pt x="1993349" y="8351073"/>
                    </a:lnTo>
                    <a:lnTo>
                      <a:pt x="2032794" y="8344491"/>
                    </a:lnTo>
                    <a:lnTo>
                      <a:pt x="2067484" y="8336901"/>
                    </a:lnTo>
                    <a:lnTo>
                      <a:pt x="2145435" y="8336308"/>
                    </a:lnTo>
                    <a:lnTo>
                      <a:pt x="2203503" y="8340978"/>
                    </a:lnTo>
                    <a:lnTo>
                      <a:pt x="2261565" y="8345620"/>
                    </a:lnTo>
                    <a:lnTo>
                      <a:pt x="2318265" y="8354555"/>
                    </a:lnTo>
                    <a:lnTo>
                      <a:pt x="2338155" y="8379062"/>
                    </a:lnTo>
                    <a:lnTo>
                      <a:pt x="2329908" y="8416772"/>
                    </a:lnTo>
                    <a:lnTo>
                      <a:pt x="2308328" y="8447452"/>
                    </a:lnTo>
                    <a:lnTo>
                      <a:pt x="2276950" y="8468831"/>
                    </a:lnTo>
                    <a:lnTo>
                      <a:pt x="2272221" y="8500091"/>
                    </a:lnTo>
                    <a:lnTo>
                      <a:pt x="2272860" y="8524604"/>
                    </a:lnTo>
                    <a:lnTo>
                      <a:pt x="2273521" y="8549111"/>
                    </a:lnTo>
                    <a:lnTo>
                      <a:pt x="2275992" y="8574145"/>
                    </a:lnTo>
                    <a:lnTo>
                      <a:pt x="2312541" y="8594655"/>
                    </a:lnTo>
                    <a:lnTo>
                      <a:pt x="2361748" y="8584901"/>
                    </a:lnTo>
                    <a:lnTo>
                      <a:pt x="2408880" y="8576291"/>
                    </a:lnTo>
                    <a:lnTo>
                      <a:pt x="2456021" y="8567683"/>
                    </a:lnTo>
                    <a:lnTo>
                      <a:pt x="2500812" y="8559703"/>
                    </a:lnTo>
                    <a:lnTo>
                      <a:pt x="2523136" y="8570855"/>
                    </a:lnTo>
                    <a:lnTo>
                      <a:pt x="2545501" y="8582021"/>
                    </a:lnTo>
                    <a:lnTo>
                      <a:pt x="2562033" y="8630018"/>
                    </a:lnTo>
                    <a:lnTo>
                      <a:pt x="2587067" y="8649744"/>
                    </a:lnTo>
                    <a:lnTo>
                      <a:pt x="2604961" y="8663857"/>
                    </a:lnTo>
                    <a:lnTo>
                      <a:pt x="2634677" y="8670149"/>
                    </a:lnTo>
                    <a:lnTo>
                      <a:pt x="2665410" y="8671969"/>
                    </a:lnTo>
                    <a:lnTo>
                      <a:pt x="2697185" y="8683000"/>
                    </a:lnTo>
                    <a:lnTo>
                      <a:pt x="2716297" y="8709591"/>
                    </a:lnTo>
                    <a:lnTo>
                      <a:pt x="2738202" y="8732542"/>
                    </a:lnTo>
                    <a:lnTo>
                      <a:pt x="2776684" y="8733044"/>
                    </a:lnTo>
                    <a:lnTo>
                      <a:pt x="2894007" y="8728843"/>
                    </a:lnTo>
                    <a:lnTo>
                      <a:pt x="2920842" y="8770186"/>
                    </a:lnTo>
                    <a:lnTo>
                      <a:pt x="2931012" y="8812968"/>
                    </a:lnTo>
                    <a:lnTo>
                      <a:pt x="2938004" y="8855136"/>
                    </a:lnTo>
                    <a:lnTo>
                      <a:pt x="2944987" y="8897297"/>
                    </a:lnTo>
                    <a:lnTo>
                      <a:pt x="2950078" y="8939444"/>
                    </a:lnTo>
                    <a:lnTo>
                      <a:pt x="2955690" y="8970750"/>
                    </a:lnTo>
                    <a:lnTo>
                      <a:pt x="2957386" y="9007647"/>
                    </a:lnTo>
                    <a:lnTo>
                      <a:pt x="2974724" y="9072003"/>
                    </a:lnTo>
                    <a:lnTo>
                      <a:pt x="3011463" y="9164661"/>
                    </a:lnTo>
                    <a:lnTo>
                      <a:pt x="3007367" y="9207421"/>
                    </a:lnTo>
                    <a:lnTo>
                      <a:pt x="3003188" y="9251034"/>
                    </a:lnTo>
                    <a:lnTo>
                      <a:pt x="2972442" y="9289336"/>
                    </a:lnTo>
                    <a:lnTo>
                      <a:pt x="2972011" y="9333925"/>
                    </a:lnTo>
                    <a:lnTo>
                      <a:pt x="2971543" y="9373262"/>
                    </a:lnTo>
                    <a:lnTo>
                      <a:pt x="2980467" y="9410156"/>
                    </a:lnTo>
                    <a:lnTo>
                      <a:pt x="2988336" y="9448182"/>
                    </a:lnTo>
                    <a:lnTo>
                      <a:pt x="2996190" y="9486201"/>
                    </a:lnTo>
                    <a:lnTo>
                      <a:pt x="3002989" y="9526028"/>
                    </a:lnTo>
                    <a:lnTo>
                      <a:pt x="2999210" y="9569238"/>
                    </a:lnTo>
                    <a:lnTo>
                      <a:pt x="2998748" y="9593308"/>
                    </a:lnTo>
                    <a:lnTo>
                      <a:pt x="3002394" y="9621331"/>
                    </a:lnTo>
                    <a:lnTo>
                      <a:pt x="3015531" y="9639968"/>
                    </a:lnTo>
                    <a:lnTo>
                      <a:pt x="3054964" y="9646861"/>
                    </a:lnTo>
                    <a:lnTo>
                      <a:pt x="3084897" y="9648126"/>
                    </a:lnTo>
                    <a:lnTo>
                      <a:pt x="3138674" y="9651220"/>
                    </a:lnTo>
                    <a:lnTo>
                      <a:pt x="3177391" y="9653568"/>
                    </a:lnTo>
                    <a:lnTo>
                      <a:pt x="3200844" y="9633860"/>
                    </a:lnTo>
                    <a:lnTo>
                      <a:pt x="3223100" y="9611914"/>
                    </a:lnTo>
                    <a:lnTo>
                      <a:pt x="3241316" y="9581479"/>
                    </a:lnTo>
                    <a:lnTo>
                      <a:pt x="3283016" y="9511979"/>
                    </a:lnTo>
                    <a:lnTo>
                      <a:pt x="3297985" y="9436021"/>
                    </a:lnTo>
                    <a:lnTo>
                      <a:pt x="3344689" y="9369287"/>
                    </a:lnTo>
                    <a:lnTo>
                      <a:pt x="3364800" y="9340554"/>
                    </a:lnTo>
                    <a:lnTo>
                      <a:pt x="3393031" y="9321895"/>
                    </a:lnTo>
                    <a:lnTo>
                      <a:pt x="3415420" y="9295841"/>
                    </a:lnTo>
                    <a:lnTo>
                      <a:pt x="3465966" y="9237264"/>
                    </a:lnTo>
                    <a:lnTo>
                      <a:pt x="3514384" y="9171637"/>
                    </a:lnTo>
                    <a:lnTo>
                      <a:pt x="3540560" y="9098612"/>
                    </a:lnTo>
                    <a:lnTo>
                      <a:pt x="3567426" y="9023755"/>
                    </a:lnTo>
                    <a:lnTo>
                      <a:pt x="3518117" y="8987627"/>
                    </a:lnTo>
                    <a:lnTo>
                      <a:pt x="3499756" y="8923141"/>
                    </a:lnTo>
                    <a:lnTo>
                      <a:pt x="3491176" y="8893220"/>
                    </a:lnTo>
                    <a:lnTo>
                      <a:pt x="3487040" y="8868437"/>
                    </a:lnTo>
                    <a:lnTo>
                      <a:pt x="3467113" y="8842895"/>
                    </a:lnTo>
                    <a:lnTo>
                      <a:pt x="3451256" y="8822700"/>
                    </a:lnTo>
                    <a:lnTo>
                      <a:pt x="3415420" y="8796646"/>
                    </a:lnTo>
                    <a:lnTo>
                      <a:pt x="3367444" y="8755071"/>
                    </a:lnTo>
                    <a:lnTo>
                      <a:pt x="3371730" y="8663811"/>
                    </a:lnTo>
                    <a:lnTo>
                      <a:pt x="3390941" y="8610298"/>
                    </a:lnTo>
                    <a:lnTo>
                      <a:pt x="3401309" y="8581261"/>
                    </a:lnTo>
                    <a:lnTo>
                      <a:pt x="3418666" y="8534206"/>
                    </a:lnTo>
                    <a:lnTo>
                      <a:pt x="3458946" y="8543645"/>
                    </a:lnTo>
                    <a:lnTo>
                      <a:pt x="3457991" y="8581605"/>
                    </a:lnTo>
                    <a:lnTo>
                      <a:pt x="3457510" y="8679922"/>
                    </a:lnTo>
                    <a:lnTo>
                      <a:pt x="3483434" y="8708233"/>
                    </a:lnTo>
                    <a:lnTo>
                      <a:pt x="3498351" y="8724511"/>
                    </a:lnTo>
                    <a:lnTo>
                      <a:pt x="3523134" y="8735351"/>
                    </a:lnTo>
                    <a:lnTo>
                      <a:pt x="3539201" y="8750401"/>
                    </a:lnTo>
                    <a:lnTo>
                      <a:pt x="3552556" y="8767739"/>
                    </a:lnTo>
                    <a:lnTo>
                      <a:pt x="3564670" y="8790439"/>
                    </a:lnTo>
                    <a:lnTo>
                      <a:pt x="3582734" y="8815684"/>
                    </a:lnTo>
                    <a:lnTo>
                      <a:pt x="3593186" y="8835239"/>
                    </a:lnTo>
                    <a:lnTo>
                      <a:pt x="3605387" y="8864143"/>
                    </a:lnTo>
                    <a:lnTo>
                      <a:pt x="3626253" y="8875534"/>
                    </a:lnTo>
                    <a:lnTo>
                      <a:pt x="3657244" y="8892448"/>
                    </a:lnTo>
                    <a:lnTo>
                      <a:pt x="3736904" y="8904227"/>
                    </a:lnTo>
                    <a:lnTo>
                      <a:pt x="3773156" y="8905461"/>
                    </a:lnTo>
                    <a:lnTo>
                      <a:pt x="3788138" y="8936740"/>
                    </a:lnTo>
                    <a:lnTo>
                      <a:pt x="3767656" y="8969095"/>
                    </a:lnTo>
                    <a:lnTo>
                      <a:pt x="3725692" y="9003012"/>
                    </a:lnTo>
                    <a:lnTo>
                      <a:pt x="3714685" y="9037397"/>
                    </a:lnTo>
                    <a:lnTo>
                      <a:pt x="3710109" y="9065709"/>
                    </a:lnTo>
                    <a:lnTo>
                      <a:pt x="3722288" y="9139032"/>
                    </a:lnTo>
                    <a:lnTo>
                      <a:pt x="3726957" y="9196079"/>
                    </a:lnTo>
                    <a:lnTo>
                      <a:pt x="3724213" y="9250953"/>
                    </a:lnTo>
                    <a:lnTo>
                      <a:pt x="3722821" y="9277730"/>
                    </a:lnTo>
                    <a:lnTo>
                      <a:pt x="3716676" y="9307353"/>
                    </a:lnTo>
                    <a:lnTo>
                      <a:pt x="3717414" y="9333925"/>
                    </a:lnTo>
                    <a:lnTo>
                      <a:pt x="3725342" y="9379318"/>
                    </a:lnTo>
                    <a:lnTo>
                      <a:pt x="3746866" y="9406482"/>
                    </a:lnTo>
                    <a:lnTo>
                      <a:pt x="3781841" y="9421104"/>
                    </a:lnTo>
                    <a:lnTo>
                      <a:pt x="3811734" y="9419994"/>
                    </a:lnTo>
                    <a:lnTo>
                      <a:pt x="3837112" y="9435934"/>
                    </a:lnTo>
                    <a:lnTo>
                      <a:pt x="3855393" y="9453530"/>
                    </a:lnTo>
                    <a:lnTo>
                      <a:pt x="3882973" y="9456339"/>
                    </a:lnTo>
                    <a:lnTo>
                      <a:pt x="3912003" y="9445800"/>
                    </a:lnTo>
                    <a:lnTo>
                      <a:pt x="3956178" y="9362230"/>
                    </a:lnTo>
                    <a:lnTo>
                      <a:pt x="3989456" y="9337999"/>
                    </a:lnTo>
                    <a:lnTo>
                      <a:pt x="4020775" y="9357474"/>
                    </a:lnTo>
                    <a:lnTo>
                      <a:pt x="4008779" y="9390501"/>
                    </a:lnTo>
                    <a:lnTo>
                      <a:pt x="4000336" y="9414178"/>
                    </a:lnTo>
                    <a:lnTo>
                      <a:pt x="3962041" y="9520745"/>
                    </a:lnTo>
                    <a:lnTo>
                      <a:pt x="3926539" y="9577144"/>
                    </a:lnTo>
                    <a:lnTo>
                      <a:pt x="3820790" y="9626369"/>
                    </a:lnTo>
                    <a:lnTo>
                      <a:pt x="3785171" y="9682183"/>
                    </a:lnTo>
                    <a:lnTo>
                      <a:pt x="3814360" y="9713000"/>
                    </a:lnTo>
                    <a:lnTo>
                      <a:pt x="3793586" y="9765105"/>
                    </a:lnTo>
                    <a:lnTo>
                      <a:pt x="3721789" y="9824704"/>
                    </a:lnTo>
                    <a:lnTo>
                      <a:pt x="3711076" y="9854461"/>
                    </a:lnTo>
                    <a:lnTo>
                      <a:pt x="3701765" y="9879876"/>
                    </a:lnTo>
                    <a:lnTo>
                      <a:pt x="3668152" y="9973691"/>
                    </a:lnTo>
                    <a:lnTo>
                      <a:pt x="3614580" y="10021080"/>
                    </a:lnTo>
                    <a:lnTo>
                      <a:pt x="3575953" y="10088837"/>
                    </a:lnTo>
                    <a:lnTo>
                      <a:pt x="3536721" y="10157444"/>
                    </a:lnTo>
                    <a:lnTo>
                      <a:pt x="3527112" y="10228509"/>
                    </a:lnTo>
                    <a:lnTo>
                      <a:pt x="3460338" y="10280624"/>
                    </a:lnTo>
                    <a:lnTo>
                      <a:pt x="3397765" y="10329427"/>
                    </a:lnTo>
                    <a:lnTo>
                      <a:pt x="3354782" y="10325220"/>
                    </a:lnTo>
                    <a:lnTo>
                      <a:pt x="3287592" y="10347277"/>
                    </a:lnTo>
                    <a:lnTo>
                      <a:pt x="3208019" y="10373375"/>
                    </a:lnTo>
                    <a:lnTo>
                      <a:pt x="2994298" y="10428460"/>
                    </a:lnTo>
                    <a:lnTo>
                      <a:pt x="2943458" y="10481933"/>
                    </a:lnTo>
                    <a:lnTo>
                      <a:pt x="2953414" y="10513900"/>
                    </a:lnTo>
                    <a:lnTo>
                      <a:pt x="2974749" y="10541780"/>
                    </a:lnTo>
                    <a:lnTo>
                      <a:pt x="2923369" y="10588500"/>
                    </a:lnTo>
                    <a:lnTo>
                      <a:pt x="2890084" y="10572389"/>
                    </a:lnTo>
                    <a:lnTo>
                      <a:pt x="2840094" y="10607078"/>
                    </a:lnTo>
                    <a:lnTo>
                      <a:pt x="2827729" y="10654040"/>
                    </a:lnTo>
                    <a:lnTo>
                      <a:pt x="2814151" y="10670659"/>
                    </a:lnTo>
                    <a:lnTo>
                      <a:pt x="2793852" y="10677803"/>
                    </a:lnTo>
                    <a:lnTo>
                      <a:pt x="2763844" y="10689790"/>
                    </a:lnTo>
                    <a:lnTo>
                      <a:pt x="2747430" y="10712272"/>
                    </a:lnTo>
                    <a:lnTo>
                      <a:pt x="2723121" y="10730851"/>
                    </a:lnTo>
                    <a:lnTo>
                      <a:pt x="2717779" y="10760309"/>
                    </a:lnTo>
                    <a:lnTo>
                      <a:pt x="2737095" y="10811190"/>
                    </a:lnTo>
                    <a:lnTo>
                      <a:pt x="2758350" y="10814759"/>
                    </a:lnTo>
                    <a:lnTo>
                      <a:pt x="2796562" y="10819270"/>
                    </a:lnTo>
                    <a:lnTo>
                      <a:pt x="2838426" y="10801925"/>
                    </a:lnTo>
                    <a:lnTo>
                      <a:pt x="2870867" y="10771958"/>
                    </a:lnTo>
                    <a:lnTo>
                      <a:pt x="2910818" y="10753972"/>
                    </a:lnTo>
                    <a:lnTo>
                      <a:pt x="2930631" y="10745048"/>
                    </a:lnTo>
                    <a:lnTo>
                      <a:pt x="2953243" y="10740928"/>
                    </a:lnTo>
                    <a:lnTo>
                      <a:pt x="2973391" y="10729493"/>
                    </a:lnTo>
                    <a:lnTo>
                      <a:pt x="3000425" y="10710743"/>
                    </a:lnTo>
                    <a:lnTo>
                      <a:pt x="3082504" y="10668284"/>
                    </a:lnTo>
                    <a:lnTo>
                      <a:pt x="3159144" y="10645795"/>
                    </a:lnTo>
                    <a:lnTo>
                      <a:pt x="3226383" y="10609795"/>
                    </a:lnTo>
                    <a:lnTo>
                      <a:pt x="3349867" y="10543656"/>
                    </a:lnTo>
                    <a:lnTo>
                      <a:pt x="3450150" y="10448273"/>
                    </a:lnTo>
                    <a:lnTo>
                      <a:pt x="3518831" y="10325514"/>
                    </a:lnTo>
                    <a:lnTo>
                      <a:pt x="3782712" y="9853524"/>
                    </a:lnTo>
                    <a:lnTo>
                      <a:pt x="3794218" y="9832868"/>
                    </a:lnTo>
                    <a:lnTo>
                      <a:pt x="3812844" y="9815477"/>
                    </a:lnTo>
                    <a:lnTo>
                      <a:pt x="3826238" y="9796393"/>
                    </a:lnTo>
                    <a:lnTo>
                      <a:pt x="3853895" y="9756910"/>
                    </a:lnTo>
                    <a:lnTo>
                      <a:pt x="3877460" y="9709939"/>
                    </a:lnTo>
                    <a:lnTo>
                      <a:pt x="3902407" y="9668537"/>
                    </a:lnTo>
                    <a:lnTo>
                      <a:pt x="3967011" y="9561378"/>
                    </a:lnTo>
                    <a:lnTo>
                      <a:pt x="4077739" y="9342300"/>
                    </a:lnTo>
                    <a:lnTo>
                      <a:pt x="4154045" y="9257753"/>
                    </a:lnTo>
                    <a:lnTo>
                      <a:pt x="4214652" y="9190597"/>
                    </a:lnTo>
                    <a:lnTo>
                      <a:pt x="4293084" y="9142988"/>
                    </a:lnTo>
                    <a:lnTo>
                      <a:pt x="4353995" y="9075491"/>
                    </a:lnTo>
                    <a:lnTo>
                      <a:pt x="4417148" y="9005399"/>
                    </a:lnTo>
                    <a:lnTo>
                      <a:pt x="4448268" y="8899558"/>
                    </a:lnTo>
                    <a:lnTo>
                      <a:pt x="4522658" y="8841537"/>
                    </a:lnTo>
                    <a:lnTo>
                      <a:pt x="4568342" y="8805830"/>
                    </a:lnTo>
                    <a:lnTo>
                      <a:pt x="4627988" y="8804512"/>
                    </a:lnTo>
                    <a:lnTo>
                      <a:pt x="4681801" y="8789847"/>
                    </a:lnTo>
                    <a:lnTo>
                      <a:pt x="4722097" y="8778877"/>
                    </a:lnTo>
                    <a:lnTo>
                      <a:pt x="4769492" y="8757334"/>
                    </a:lnTo>
                    <a:lnTo>
                      <a:pt x="4805580" y="8736796"/>
                    </a:lnTo>
                    <a:lnTo>
                      <a:pt x="4831625" y="8721966"/>
                    </a:lnTo>
                    <a:lnTo>
                      <a:pt x="4977259" y="8631171"/>
                    </a:lnTo>
                    <a:lnTo>
                      <a:pt x="4996635" y="8615957"/>
                    </a:lnTo>
                    <a:lnTo>
                      <a:pt x="5017772" y="8599418"/>
                    </a:lnTo>
                    <a:lnTo>
                      <a:pt x="5069105" y="8566391"/>
                    </a:lnTo>
                    <a:lnTo>
                      <a:pt x="5098151" y="8529202"/>
                    </a:lnTo>
                    <a:lnTo>
                      <a:pt x="5132028" y="8478362"/>
                    </a:lnTo>
                    <a:lnTo>
                      <a:pt x="5152632" y="8447418"/>
                    </a:lnTo>
                    <a:lnTo>
                      <a:pt x="5169855" y="8414561"/>
                    </a:lnTo>
                    <a:lnTo>
                      <a:pt x="5194589" y="8385868"/>
                    </a:lnTo>
                    <a:lnTo>
                      <a:pt x="5210067" y="8367891"/>
                    </a:lnTo>
                    <a:lnTo>
                      <a:pt x="5229672" y="8351653"/>
                    </a:lnTo>
                    <a:lnTo>
                      <a:pt x="5243563" y="8332817"/>
                    </a:lnTo>
                    <a:lnTo>
                      <a:pt x="5306805" y="8247467"/>
                    </a:lnTo>
                    <a:lnTo>
                      <a:pt x="5335548" y="8192255"/>
                    </a:lnTo>
                    <a:lnTo>
                      <a:pt x="5416309" y="8116545"/>
                    </a:lnTo>
                    <a:lnTo>
                      <a:pt x="5434419" y="8099545"/>
                    </a:lnTo>
                    <a:lnTo>
                      <a:pt x="5460976" y="8075400"/>
                    </a:lnTo>
                    <a:lnTo>
                      <a:pt x="5481598" y="8062145"/>
                    </a:lnTo>
                    <a:lnTo>
                      <a:pt x="5499996" y="8050279"/>
                    </a:lnTo>
                    <a:lnTo>
                      <a:pt x="5523812" y="8050577"/>
                    </a:lnTo>
                    <a:lnTo>
                      <a:pt x="5542806" y="8036299"/>
                    </a:lnTo>
                    <a:lnTo>
                      <a:pt x="5569198" y="8016486"/>
                    </a:lnTo>
                    <a:lnTo>
                      <a:pt x="5586794" y="7982569"/>
                    </a:lnTo>
                    <a:lnTo>
                      <a:pt x="5614895" y="7961485"/>
                    </a:lnTo>
                    <a:lnTo>
                      <a:pt x="5657742" y="7929350"/>
                    </a:lnTo>
                    <a:lnTo>
                      <a:pt x="5703727" y="7919574"/>
                    </a:lnTo>
                    <a:lnTo>
                      <a:pt x="5750915" y="7897554"/>
                    </a:lnTo>
                    <a:lnTo>
                      <a:pt x="5775527" y="7886165"/>
                    </a:lnTo>
                    <a:lnTo>
                      <a:pt x="5799842" y="7871289"/>
                    </a:lnTo>
                    <a:lnTo>
                      <a:pt x="5824367" y="7859469"/>
                    </a:lnTo>
                    <a:lnTo>
                      <a:pt x="5873422" y="7835840"/>
                    </a:lnTo>
                    <a:lnTo>
                      <a:pt x="5917456" y="7797544"/>
                    </a:lnTo>
                    <a:lnTo>
                      <a:pt x="5969912" y="7779223"/>
                    </a:lnTo>
                    <a:lnTo>
                      <a:pt x="6002502" y="7767788"/>
                    </a:lnTo>
                    <a:lnTo>
                      <a:pt x="6050335" y="7776507"/>
                    </a:lnTo>
                    <a:lnTo>
                      <a:pt x="6084169" y="7776507"/>
                    </a:lnTo>
                    <a:lnTo>
                      <a:pt x="6130615" y="7776507"/>
                    </a:lnTo>
                    <a:lnTo>
                      <a:pt x="6184820" y="7763407"/>
                    </a:lnTo>
                    <a:lnTo>
                      <a:pt x="6231068" y="7757460"/>
                    </a:lnTo>
                    <a:lnTo>
                      <a:pt x="6268889" y="7752574"/>
                    </a:lnTo>
                    <a:lnTo>
                      <a:pt x="6306133" y="7756570"/>
                    </a:lnTo>
                    <a:lnTo>
                      <a:pt x="6343960" y="7753383"/>
                    </a:lnTo>
                    <a:lnTo>
                      <a:pt x="6411544" y="7747771"/>
                    </a:lnTo>
                    <a:lnTo>
                      <a:pt x="6467866" y="7682652"/>
                    </a:lnTo>
                    <a:lnTo>
                      <a:pt x="6531664" y="7677214"/>
                    </a:lnTo>
                    <a:lnTo>
                      <a:pt x="6568821" y="7673980"/>
                    </a:lnTo>
                    <a:lnTo>
                      <a:pt x="6642953" y="7750660"/>
                    </a:lnTo>
                    <a:lnTo>
                      <a:pt x="6746578" y="7750660"/>
                    </a:lnTo>
                    <a:lnTo>
                      <a:pt x="6845366" y="7750660"/>
                    </a:lnTo>
                    <a:lnTo>
                      <a:pt x="6943729" y="7634199"/>
                    </a:lnTo>
                    <a:lnTo>
                      <a:pt x="7041747" y="7726181"/>
                    </a:lnTo>
                    <a:lnTo>
                      <a:pt x="7055347" y="7745225"/>
                    </a:lnTo>
                    <a:lnTo>
                      <a:pt x="7070645" y="7768176"/>
                    </a:lnTo>
                    <a:lnTo>
                      <a:pt x="7075026" y="7793170"/>
                    </a:lnTo>
                    <a:lnTo>
                      <a:pt x="7089351" y="7815956"/>
                    </a:lnTo>
                    <a:lnTo>
                      <a:pt x="7101973" y="7835933"/>
                    </a:lnTo>
                    <a:lnTo>
                      <a:pt x="7121274" y="7848087"/>
                    </a:lnTo>
                    <a:lnTo>
                      <a:pt x="7132877" y="7867639"/>
                    </a:lnTo>
                    <a:lnTo>
                      <a:pt x="7142364" y="7887874"/>
                    </a:lnTo>
                    <a:lnTo>
                      <a:pt x="7148643" y="7944366"/>
                    </a:lnTo>
                    <a:lnTo>
                      <a:pt x="7123668" y="7978882"/>
                    </a:lnTo>
                    <a:lnTo>
                      <a:pt x="7139667" y="8022700"/>
                    </a:lnTo>
                    <a:lnTo>
                      <a:pt x="7180347" y="8013395"/>
                    </a:lnTo>
                    <a:lnTo>
                      <a:pt x="7171969" y="7951296"/>
                    </a:lnTo>
                    <a:lnTo>
                      <a:pt x="7209039" y="7919332"/>
                    </a:lnTo>
                    <a:lnTo>
                      <a:pt x="7244402" y="7924771"/>
                    </a:lnTo>
                    <a:lnTo>
                      <a:pt x="7259024" y="7967150"/>
                    </a:lnTo>
                    <a:lnTo>
                      <a:pt x="7238197" y="7988110"/>
                    </a:lnTo>
                    <a:lnTo>
                      <a:pt x="7233522" y="8026789"/>
                    </a:lnTo>
                    <a:lnTo>
                      <a:pt x="7281168" y="7974160"/>
                    </a:lnTo>
                    <a:lnTo>
                      <a:pt x="7266720" y="7911761"/>
                    </a:lnTo>
                    <a:lnTo>
                      <a:pt x="7301527" y="7854034"/>
                    </a:lnTo>
                    <a:lnTo>
                      <a:pt x="7325460" y="7814381"/>
                    </a:lnTo>
                    <a:lnTo>
                      <a:pt x="7352835" y="7769456"/>
                    </a:lnTo>
                    <a:lnTo>
                      <a:pt x="7383147" y="7734339"/>
                    </a:lnTo>
                    <a:lnTo>
                      <a:pt x="7408398" y="7705057"/>
                    </a:lnTo>
                    <a:lnTo>
                      <a:pt x="7456938" y="7660765"/>
                    </a:lnTo>
                    <a:lnTo>
                      <a:pt x="7475634" y="7629604"/>
                    </a:lnTo>
                    <a:lnTo>
                      <a:pt x="7494963" y="7601891"/>
                    </a:lnTo>
                    <a:lnTo>
                      <a:pt x="7511554" y="7577021"/>
                    </a:lnTo>
                    <a:lnTo>
                      <a:pt x="7532936" y="7545402"/>
                    </a:lnTo>
                    <a:lnTo>
                      <a:pt x="7551809" y="7528953"/>
                    </a:lnTo>
                    <a:lnTo>
                      <a:pt x="7619690" y="7469487"/>
                    </a:lnTo>
                    <a:lnTo>
                      <a:pt x="7686083" y="7421409"/>
                    </a:lnTo>
                    <a:lnTo>
                      <a:pt x="7770801" y="7387492"/>
                    </a:lnTo>
                    <a:lnTo>
                      <a:pt x="7820060" y="7367766"/>
                    </a:lnTo>
                    <a:lnTo>
                      <a:pt x="7896111" y="7354802"/>
                    </a:lnTo>
                    <a:lnTo>
                      <a:pt x="7934025" y="7337166"/>
                    </a:lnTo>
                    <a:lnTo>
                      <a:pt x="7986294" y="7312805"/>
                    </a:lnTo>
                    <a:lnTo>
                      <a:pt x="8078124" y="7240589"/>
                    </a:lnTo>
                    <a:lnTo>
                      <a:pt x="8124453" y="7232425"/>
                    </a:lnTo>
                    <a:lnTo>
                      <a:pt x="8184161" y="7221887"/>
                    </a:lnTo>
                    <a:lnTo>
                      <a:pt x="8285175" y="7260911"/>
                    </a:lnTo>
                    <a:lnTo>
                      <a:pt x="8339361" y="7239231"/>
                    </a:lnTo>
                    <a:lnTo>
                      <a:pt x="8376720" y="7224268"/>
                    </a:lnTo>
                    <a:lnTo>
                      <a:pt x="8379489" y="7179976"/>
                    </a:lnTo>
                    <a:lnTo>
                      <a:pt x="8403292" y="7153537"/>
                    </a:lnTo>
                    <a:lnTo>
                      <a:pt x="8431253" y="7134196"/>
                    </a:lnTo>
                    <a:lnTo>
                      <a:pt x="8465608" y="7129480"/>
                    </a:lnTo>
                    <a:lnTo>
                      <a:pt x="8487079" y="7126454"/>
                    </a:lnTo>
                    <a:lnTo>
                      <a:pt x="8508024" y="7134490"/>
                    </a:lnTo>
                    <a:lnTo>
                      <a:pt x="8546328" y="7154638"/>
                    </a:lnTo>
                    <a:lnTo>
                      <a:pt x="8609528" y="7169267"/>
                    </a:lnTo>
                    <a:lnTo>
                      <a:pt x="8710402" y="7119279"/>
                    </a:lnTo>
                    <a:lnTo>
                      <a:pt x="8812709" y="7152179"/>
                    </a:lnTo>
                    <a:lnTo>
                      <a:pt x="8929136" y="7189585"/>
                    </a:lnTo>
                    <a:lnTo>
                      <a:pt x="8942865" y="7209983"/>
                    </a:lnTo>
                    <a:lnTo>
                      <a:pt x="9011302" y="7307239"/>
                    </a:lnTo>
                    <a:lnTo>
                      <a:pt x="9027781" y="7330742"/>
                    </a:lnTo>
                    <a:lnTo>
                      <a:pt x="9057472" y="7342391"/>
                    </a:lnTo>
                    <a:lnTo>
                      <a:pt x="9073868" y="7367087"/>
                    </a:lnTo>
                    <a:lnTo>
                      <a:pt x="9140475" y="7466935"/>
                    </a:lnTo>
                    <a:lnTo>
                      <a:pt x="9120185" y="7563931"/>
                    </a:lnTo>
                    <a:lnTo>
                      <a:pt x="9072516" y="7669056"/>
                    </a:lnTo>
                    <a:lnTo>
                      <a:pt x="9062610" y="7690984"/>
                    </a:lnTo>
                    <a:lnTo>
                      <a:pt x="9044416" y="7712027"/>
                    </a:lnTo>
                    <a:lnTo>
                      <a:pt x="9033071" y="7732978"/>
                    </a:lnTo>
                    <a:lnTo>
                      <a:pt x="9012120" y="7771363"/>
                    </a:lnTo>
                    <a:lnTo>
                      <a:pt x="9023167" y="7814551"/>
                    </a:lnTo>
                    <a:lnTo>
                      <a:pt x="8997702" y="7849960"/>
                    </a:lnTo>
                    <a:lnTo>
                      <a:pt x="8961754" y="7876439"/>
                    </a:lnTo>
                    <a:lnTo>
                      <a:pt x="8922553" y="7817658"/>
                    </a:lnTo>
                    <a:lnTo>
                      <a:pt x="8910399" y="7840438"/>
                    </a:lnTo>
                    <a:lnTo>
                      <a:pt x="8934624" y="7877586"/>
                    </a:lnTo>
                    <a:lnTo>
                      <a:pt x="8958260" y="7888044"/>
                    </a:lnTo>
                    <a:lnTo>
                      <a:pt x="9006502" y="7896593"/>
                    </a:lnTo>
                    <a:lnTo>
                      <a:pt x="9050964" y="7853107"/>
                    </a:lnTo>
                    <a:lnTo>
                      <a:pt x="9155283" y="7543315"/>
                    </a:lnTo>
                    <a:lnTo>
                      <a:pt x="9184048" y="7475902"/>
                    </a:lnTo>
                    <a:lnTo>
                      <a:pt x="9201650" y="7434674"/>
                    </a:lnTo>
                    <a:lnTo>
                      <a:pt x="9202291" y="7386345"/>
                    </a:lnTo>
                    <a:lnTo>
                      <a:pt x="9218058" y="7345324"/>
                    </a:lnTo>
                    <a:lnTo>
                      <a:pt x="9246444" y="7271449"/>
                    </a:lnTo>
                    <a:lnTo>
                      <a:pt x="9315618" y="7178829"/>
                    </a:lnTo>
                    <a:lnTo>
                      <a:pt x="9324151" y="7105928"/>
                    </a:lnTo>
                    <a:lnTo>
                      <a:pt x="9313829" y="7075244"/>
                    </a:lnTo>
                    <a:lnTo>
                      <a:pt x="9289390" y="7060616"/>
                    </a:lnTo>
                    <a:lnTo>
                      <a:pt x="9294230" y="7025675"/>
                    </a:lnTo>
                    <a:lnTo>
                      <a:pt x="9332910" y="6996561"/>
                    </a:lnTo>
                    <a:lnTo>
                      <a:pt x="9365342" y="7019307"/>
                    </a:lnTo>
                    <a:lnTo>
                      <a:pt x="9397604" y="7005277"/>
                    </a:lnTo>
                    <a:lnTo>
                      <a:pt x="9440109" y="6986738"/>
                    </a:lnTo>
                    <a:lnTo>
                      <a:pt x="9468381" y="6887619"/>
                    </a:lnTo>
                    <a:lnTo>
                      <a:pt x="9520018" y="6848852"/>
                    </a:lnTo>
                    <a:lnTo>
                      <a:pt x="9572982" y="6809152"/>
                    </a:lnTo>
                    <a:lnTo>
                      <a:pt x="9623912" y="6813025"/>
                    </a:lnTo>
                    <a:lnTo>
                      <a:pt x="9658763" y="6791721"/>
                    </a:lnTo>
                    <a:lnTo>
                      <a:pt x="9702965" y="6764690"/>
                    </a:lnTo>
                    <a:lnTo>
                      <a:pt x="9724427" y="6718782"/>
                    </a:lnTo>
                    <a:lnTo>
                      <a:pt x="9774377" y="6693789"/>
                    </a:lnTo>
                    <a:lnTo>
                      <a:pt x="9804509" y="6678745"/>
                    </a:lnTo>
                    <a:lnTo>
                      <a:pt x="9836185" y="6668885"/>
                    </a:lnTo>
                    <a:lnTo>
                      <a:pt x="9865516" y="6651627"/>
                    </a:lnTo>
                    <a:lnTo>
                      <a:pt x="9891115" y="6636490"/>
                    </a:lnTo>
                    <a:lnTo>
                      <a:pt x="9914543" y="6618429"/>
                    </a:lnTo>
                    <a:lnTo>
                      <a:pt x="9940327" y="6604017"/>
                    </a:lnTo>
                    <a:lnTo>
                      <a:pt x="9885918" y="6504724"/>
                    </a:lnTo>
                    <a:lnTo>
                      <a:pt x="9836953" y="6408150"/>
                    </a:lnTo>
                    <a:lnTo>
                      <a:pt x="9816620" y="6355778"/>
                    </a:lnTo>
                    <a:lnTo>
                      <a:pt x="9826027" y="6319269"/>
                    </a:lnTo>
                    <a:lnTo>
                      <a:pt x="9912571" y="6233147"/>
                    </a:lnTo>
                    <a:lnTo>
                      <a:pt x="9931695" y="6214174"/>
                    </a:lnTo>
                    <a:lnTo>
                      <a:pt x="9952568" y="6200039"/>
                    </a:lnTo>
                    <a:lnTo>
                      <a:pt x="9970124" y="6184437"/>
                    </a:lnTo>
                    <a:lnTo>
                      <a:pt x="9984014" y="6165607"/>
                    </a:lnTo>
                    <a:lnTo>
                      <a:pt x="10004974" y="6154001"/>
                    </a:lnTo>
                    <a:lnTo>
                      <a:pt x="10032352" y="6139419"/>
                    </a:lnTo>
                    <a:lnTo>
                      <a:pt x="10086675" y="6174664"/>
                    </a:lnTo>
                    <a:lnTo>
                      <a:pt x="10119863" y="6185075"/>
                    </a:lnTo>
                    <a:lnTo>
                      <a:pt x="10144191" y="6168965"/>
                    </a:lnTo>
                    <a:lnTo>
                      <a:pt x="10208112" y="6126884"/>
                    </a:lnTo>
                    <a:lnTo>
                      <a:pt x="10223243" y="6099381"/>
                    </a:lnTo>
                    <a:lnTo>
                      <a:pt x="10216726" y="6066097"/>
                    </a:lnTo>
                    <a:lnTo>
                      <a:pt x="10196274" y="6040594"/>
                    </a:lnTo>
                    <a:lnTo>
                      <a:pt x="10175637" y="6016413"/>
                    </a:lnTo>
                    <a:lnTo>
                      <a:pt x="10154981" y="5992222"/>
                    </a:lnTo>
                    <a:lnTo>
                      <a:pt x="10134455" y="5969225"/>
                    </a:lnTo>
                    <a:lnTo>
                      <a:pt x="10125314" y="5941599"/>
                    </a:lnTo>
                    <a:lnTo>
                      <a:pt x="10133090" y="5914844"/>
                    </a:lnTo>
                    <a:lnTo>
                      <a:pt x="10161002" y="5892507"/>
                    </a:lnTo>
                    <a:lnTo>
                      <a:pt x="10186520" y="5870868"/>
                    </a:lnTo>
                    <a:lnTo>
                      <a:pt x="10211151" y="5849146"/>
                    </a:lnTo>
                    <a:lnTo>
                      <a:pt x="10227156" y="5827302"/>
                    </a:lnTo>
                    <a:lnTo>
                      <a:pt x="10228688" y="5804221"/>
                    </a:lnTo>
                    <a:lnTo>
                      <a:pt x="10215634" y="5781522"/>
                    </a:lnTo>
                    <a:lnTo>
                      <a:pt x="10197378" y="5766552"/>
                    </a:lnTo>
                    <a:lnTo>
                      <a:pt x="10176995" y="5753889"/>
                    </a:lnTo>
                    <a:lnTo>
                      <a:pt x="10156618" y="5741239"/>
                    </a:lnTo>
                    <a:lnTo>
                      <a:pt x="10134089" y="5730306"/>
                    </a:lnTo>
                    <a:lnTo>
                      <a:pt x="10115789" y="5714444"/>
                    </a:lnTo>
                    <a:lnTo>
                      <a:pt x="10092070" y="5693961"/>
                    </a:lnTo>
                    <a:lnTo>
                      <a:pt x="10068815" y="5660800"/>
                    </a:lnTo>
                    <a:lnTo>
                      <a:pt x="10047775" y="5636914"/>
                    </a:lnTo>
                    <a:lnTo>
                      <a:pt x="10012546" y="5651964"/>
                    </a:lnTo>
                    <a:lnTo>
                      <a:pt x="9989887" y="5685841"/>
                    </a:lnTo>
                    <a:lnTo>
                      <a:pt x="9983847" y="5714444"/>
                    </a:lnTo>
                    <a:lnTo>
                      <a:pt x="9932966" y="5665774"/>
                    </a:lnTo>
                    <a:lnTo>
                      <a:pt x="9872145" y="5624502"/>
                    </a:lnTo>
                    <a:lnTo>
                      <a:pt x="9820626" y="5590665"/>
                    </a:lnTo>
                    <a:lnTo>
                      <a:pt x="9789899" y="5458602"/>
                    </a:lnTo>
                    <a:lnTo>
                      <a:pt x="9782544" y="5435605"/>
                    </a:lnTo>
                    <a:lnTo>
                      <a:pt x="9770657" y="5398627"/>
                    </a:lnTo>
                    <a:lnTo>
                      <a:pt x="9758292" y="5360720"/>
                    </a:lnTo>
                    <a:lnTo>
                      <a:pt x="9741734" y="5324064"/>
                    </a:lnTo>
                    <a:lnTo>
                      <a:pt x="9725171" y="5287419"/>
                    </a:lnTo>
                    <a:lnTo>
                      <a:pt x="9704565" y="5253077"/>
                    </a:lnTo>
                    <a:lnTo>
                      <a:pt x="9680529" y="5222055"/>
                    </a:lnTo>
                    <a:lnTo>
                      <a:pt x="9659947" y="5195486"/>
                    </a:lnTo>
                    <a:lnTo>
                      <a:pt x="9553517" y="5136699"/>
                    </a:lnTo>
                    <a:lnTo>
                      <a:pt x="9518660" y="5122756"/>
                    </a:lnTo>
                    <a:lnTo>
                      <a:pt x="9485936" y="5109625"/>
                    </a:lnTo>
                    <a:lnTo>
                      <a:pt x="9451374" y="5104645"/>
                    </a:lnTo>
                    <a:lnTo>
                      <a:pt x="9422086" y="5083313"/>
                    </a:lnTo>
                    <a:lnTo>
                      <a:pt x="9401957" y="5068567"/>
                    </a:lnTo>
                    <a:lnTo>
                      <a:pt x="9389393" y="5049098"/>
                    </a:lnTo>
                    <a:lnTo>
                      <a:pt x="9373118" y="5032988"/>
                    </a:lnTo>
                    <a:lnTo>
                      <a:pt x="9338916" y="4999148"/>
                    </a:lnTo>
                    <a:lnTo>
                      <a:pt x="9307228" y="4975137"/>
                    </a:lnTo>
                    <a:lnTo>
                      <a:pt x="9286066" y="4929611"/>
                    </a:lnTo>
                    <a:lnTo>
                      <a:pt x="9292872" y="4909206"/>
                    </a:lnTo>
                    <a:lnTo>
                      <a:pt x="9326268" y="4892423"/>
                    </a:lnTo>
                    <a:lnTo>
                      <a:pt x="9351355" y="4890168"/>
                    </a:lnTo>
                    <a:lnTo>
                      <a:pt x="9376461" y="4887905"/>
                    </a:lnTo>
                    <a:lnTo>
                      <a:pt x="9406059" y="4889186"/>
                    </a:lnTo>
                    <a:lnTo>
                      <a:pt x="9435691" y="4888807"/>
                    </a:lnTo>
                    <a:lnTo>
                      <a:pt x="9465302" y="4888407"/>
                    </a:lnTo>
                    <a:lnTo>
                      <a:pt x="9494940" y="4887409"/>
                    </a:lnTo>
                    <a:lnTo>
                      <a:pt x="9521376" y="4882001"/>
                    </a:lnTo>
                    <a:lnTo>
                      <a:pt x="9547824" y="4876594"/>
                    </a:lnTo>
                    <a:lnTo>
                      <a:pt x="9571115" y="4866716"/>
                    </a:lnTo>
                    <a:lnTo>
                      <a:pt x="9586674" y="4849359"/>
                    </a:lnTo>
                    <a:lnTo>
                      <a:pt x="9596850" y="4821521"/>
                    </a:lnTo>
                    <a:lnTo>
                      <a:pt x="9593216" y="4758006"/>
                    </a:lnTo>
                    <a:lnTo>
                      <a:pt x="9583970" y="4694298"/>
                    </a:lnTo>
                    <a:lnTo>
                      <a:pt x="9574706" y="4630590"/>
                    </a:lnTo>
                    <a:lnTo>
                      <a:pt x="9558918" y="4566139"/>
                    </a:lnTo>
                    <a:lnTo>
                      <a:pt x="9545889" y="4539232"/>
                    </a:lnTo>
                    <a:lnTo>
                      <a:pt x="9530095" y="4506567"/>
                    </a:lnTo>
                    <a:lnTo>
                      <a:pt x="9504242" y="4488512"/>
                    </a:lnTo>
                    <a:lnTo>
                      <a:pt x="9488758" y="4467143"/>
                    </a:lnTo>
                    <a:lnTo>
                      <a:pt x="9476554" y="4444273"/>
                    </a:lnTo>
                    <a:lnTo>
                      <a:pt x="9476492" y="4416566"/>
                    </a:lnTo>
                    <a:lnTo>
                      <a:pt x="9494202" y="4380091"/>
                    </a:lnTo>
                    <a:lnTo>
                      <a:pt x="9506784" y="4359388"/>
                    </a:lnTo>
                    <a:lnTo>
                      <a:pt x="9551923" y="4337883"/>
                    </a:lnTo>
                    <a:lnTo>
                      <a:pt x="9577174" y="4335207"/>
                    </a:lnTo>
                    <a:lnTo>
                      <a:pt x="9608459" y="4374650"/>
                    </a:lnTo>
                    <a:lnTo>
                      <a:pt x="9632941" y="4382854"/>
                    </a:lnTo>
                    <a:lnTo>
                      <a:pt x="9662707" y="4364238"/>
                    </a:lnTo>
                    <a:lnTo>
                      <a:pt x="9683264" y="4376008"/>
                    </a:lnTo>
                    <a:lnTo>
                      <a:pt x="9699430" y="4396202"/>
                    </a:lnTo>
                    <a:lnTo>
                      <a:pt x="9710921" y="4420690"/>
                    </a:lnTo>
                    <a:lnTo>
                      <a:pt x="9753901" y="4428637"/>
                    </a:lnTo>
                    <a:lnTo>
                      <a:pt x="9797520" y="4433139"/>
                    </a:lnTo>
                    <a:lnTo>
                      <a:pt x="9841164" y="4437632"/>
                    </a:lnTo>
                    <a:lnTo>
                      <a:pt x="9885906" y="4438047"/>
                    </a:lnTo>
                    <a:lnTo>
                      <a:pt x="9926567" y="4428380"/>
                    </a:lnTo>
                    <a:lnTo>
                      <a:pt x="10038026" y="4391138"/>
                    </a:lnTo>
                    <a:lnTo>
                      <a:pt x="10055960" y="4369202"/>
                    </a:lnTo>
                    <a:lnTo>
                      <a:pt x="10068022" y="4346847"/>
                    </a:lnTo>
                    <a:lnTo>
                      <a:pt x="10056748" y="4295116"/>
                    </a:lnTo>
                    <a:lnTo>
                      <a:pt x="10055960" y="4269909"/>
                    </a:lnTo>
                    <a:lnTo>
                      <a:pt x="10055229" y="4246195"/>
                    </a:lnTo>
                    <a:lnTo>
                      <a:pt x="10065082" y="4223744"/>
                    </a:lnTo>
                    <a:lnTo>
                      <a:pt x="10077733" y="4203262"/>
                    </a:lnTo>
                    <a:lnTo>
                      <a:pt x="10090358" y="4182779"/>
                    </a:lnTo>
                    <a:lnTo>
                      <a:pt x="10105917" y="4163289"/>
                    </a:lnTo>
                    <a:lnTo>
                      <a:pt x="10114450" y="4143414"/>
                    </a:lnTo>
                    <a:lnTo>
                      <a:pt x="10129475" y="4108433"/>
                    </a:lnTo>
                    <a:lnTo>
                      <a:pt x="10133314" y="4075862"/>
                    </a:lnTo>
                    <a:lnTo>
                      <a:pt x="10144370" y="4048195"/>
                    </a:lnTo>
                    <a:lnTo>
                      <a:pt x="10157784" y="4022206"/>
                    </a:lnTo>
                    <a:lnTo>
                      <a:pt x="10179934" y="4000747"/>
                    </a:lnTo>
                    <a:lnTo>
                      <a:pt x="10215101" y="3984270"/>
                    </a:lnTo>
                    <a:lnTo>
                      <a:pt x="10236328" y="3983743"/>
                    </a:lnTo>
                    <a:lnTo>
                      <a:pt x="10272232" y="3997869"/>
                    </a:lnTo>
                    <a:lnTo>
                      <a:pt x="10302041" y="4017462"/>
                    </a:lnTo>
                    <a:lnTo>
                      <a:pt x="10339124" y="4060712"/>
                    </a:lnTo>
                    <a:lnTo>
                      <a:pt x="10356413" y="4099141"/>
                    </a:lnTo>
                    <a:lnTo>
                      <a:pt x="10368809" y="4135256"/>
                    </a:lnTo>
                    <a:lnTo>
                      <a:pt x="10393713" y="4123056"/>
                    </a:lnTo>
                    <a:lnTo>
                      <a:pt x="10433798" y="4100229"/>
                    </a:lnTo>
                    <a:lnTo>
                      <a:pt x="10451781" y="4078125"/>
                    </a:lnTo>
                    <a:lnTo>
                      <a:pt x="10456370" y="4054573"/>
                    </a:lnTo>
                    <a:lnTo>
                      <a:pt x="10441617" y="4031325"/>
                    </a:lnTo>
                    <a:lnTo>
                      <a:pt x="10438176" y="4008752"/>
                    </a:lnTo>
                    <a:lnTo>
                      <a:pt x="10433376" y="3977254"/>
                    </a:lnTo>
                    <a:lnTo>
                      <a:pt x="10436005" y="3935033"/>
                    </a:lnTo>
                    <a:lnTo>
                      <a:pt x="10446343" y="3895860"/>
                    </a:lnTo>
                    <a:lnTo>
                      <a:pt x="10456686" y="3856681"/>
                    </a:lnTo>
                    <a:lnTo>
                      <a:pt x="10474248" y="3819939"/>
                    </a:lnTo>
                    <a:lnTo>
                      <a:pt x="10498029" y="3797919"/>
                    </a:lnTo>
                    <a:lnTo>
                      <a:pt x="10506779" y="3773229"/>
                    </a:lnTo>
                    <a:lnTo>
                      <a:pt x="10491096" y="3737820"/>
                    </a:lnTo>
                    <a:lnTo>
                      <a:pt x="10496678" y="3709509"/>
                    </a:lnTo>
                    <a:lnTo>
                      <a:pt x="10502730" y="3678630"/>
                    </a:lnTo>
                    <a:lnTo>
                      <a:pt x="10523138" y="3649773"/>
                    </a:lnTo>
                    <a:lnTo>
                      <a:pt x="10542913" y="3621096"/>
                    </a:lnTo>
                    <a:lnTo>
                      <a:pt x="10562714" y="3592421"/>
                    </a:lnTo>
                    <a:lnTo>
                      <a:pt x="10582359" y="3563927"/>
                    </a:lnTo>
                    <a:lnTo>
                      <a:pt x="10583730" y="3531327"/>
                    </a:lnTo>
                    <a:lnTo>
                      <a:pt x="10539050" y="3514147"/>
                    </a:lnTo>
                    <a:lnTo>
                      <a:pt x="10508218" y="3535612"/>
                    </a:lnTo>
                    <a:lnTo>
                      <a:pt x="10480356" y="3534043"/>
                    </a:lnTo>
                    <a:lnTo>
                      <a:pt x="10431472" y="3531281"/>
                    </a:lnTo>
                    <a:lnTo>
                      <a:pt x="10379568" y="3502080"/>
                    </a:lnTo>
                    <a:lnTo>
                      <a:pt x="10310326" y="3504117"/>
                    </a:lnTo>
                    <a:lnTo>
                      <a:pt x="10295381" y="3557165"/>
                    </a:lnTo>
                    <a:lnTo>
                      <a:pt x="10267377" y="3584456"/>
                    </a:lnTo>
                    <a:lnTo>
                      <a:pt x="10234176" y="3578928"/>
                    </a:lnTo>
                    <a:lnTo>
                      <a:pt x="10226226" y="3557211"/>
                    </a:lnTo>
                    <a:lnTo>
                      <a:pt x="10207548" y="3525582"/>
                    </a:lnTo>
                    <a:lnTo>
                      <a:pt x="10193657" y="3498576"/>
                    </a:lnTo>
                    <a:lnTo>
                      <a:pt x="10178402" y="3472838"/>
                    </a:lnTo>
                    <a:lnTo>
                      <a:pt x="10163160" y="3447091"/>
                    </a:lnTo>
                    <a:lnTo>
                      <a:pt x="10145710" y="3422742"/>
                    </a:lnTo>
                    <a:lnTo>
                      <a:pt x="10125358" y="3406188"/>
                    </a:lnTo>
                    <a:lnTo>
                      <a:pt x="10092076" y="3379196"/>
                    </a:lnTo>
                    <a:lnTo>
                      <a:pt x="10052891" y="3359346"/>
                    </a:lnTo>
                    <a:lnTo>
                      <a:pt x="10019262" y="3332735"/>
                    </a:lnTo>
                    <a:lnTo>
                      <a:pt x="9991970" y="3311057"/>
                    </a:lnTo>
                    <a:lnTo>
                      <a:pt x="9975227" y="3278240"/>
                    </a:lnTo>
                    <a:lnTo>
                      <a:pt x="9951253" y="3256563"/>
                    </a:lnTo>
                    <a:lnTo>
                      <a:pt x="9928470" y="3235908"/>
                    </a:lnTo>
                    <a:lnTo>
                      <a:pt x="9900460" y="3220179"/>
                    </a:lnTo>
                    <a:lnTo>
                      <a:pt x="9877801" y="3199439"/>
                    </a:lnTo>
                    <a:lnTo>
                      <a:pt x="9834492" y="3159691"/>
                    </a:lnTo>
                    <a:lnTo>
                      <a:pt x="9812434" y="3081521"/>
                    </a:lnTo>
                    <a:lnTo>
                      <a:pt x="9771705" y="3045731"/>
                    </a:lnTo>
                    <a:lnTo>
                      <a:pt x="9737406" y="3015599"/>
                    </a:lnTo>
                    <a:lnTo>
                      <a:pt x="9715411" y="3014933"/>
                    </a:lnTo>
                    <a:lnTo>
                      <a:pt x="9694171" y="3006287"/>
                    </a:lnTo>
                    <a:lnTo>
                      <a:pt x="9673825" y="2995920"/>
                    </a:lnTo>
                    <a:lnTo>
                      <a:pt x="9649244" y="2970403"/>
                    </a:lnTo>
                    <a:lnTo>
                      <a:pt x="9635273" y="2950995"/>
                    </a:lnTo>
                    <a:lnTo>
                      <a:pt x="9618002" y="2920593"/>
                    </a:lnTo>
                    <a:lnTo>
                      <a:pt x="9571593" y="2929950"/>
                    </a:lnTo>
                    <a:lnTo>
                      <a:pt x="9493973" y="2983000"/>
                    </a:lnTo>
                    <a:lnTo>
                      <a:pt x="9475180" y="3002211"/>
                    </a:lnTo>
                    <a:lnTo>
                      <a:pt x="9452236" y="3028005"/>
                    </a:lnTo>
                    <a:lnTo>
                      <a:pt x="9424690" y="3052589"/>
                    </a:lnTo>
                    <a:lnTo>
                      <a:pt x="9392212" y="3056618"/>
                    </a:lnTo>
                    <a:lnTo>
                      <a:pt x="9373295" y="3014920"/>
                    </a:lnTo>
                    <a:lnTo>
                      <a:pt x="9342776" y="2976220"/>
                    </a:lnTo>
                    <a:lnTo>
                      <a:pt x="9310598" y="2938280"/>
                    </a:lnTo>
                    <a:lnTo>
                      <a:pt x="9278408" y="2900346"/>
                    </a:lnTo>
                    <a:lnTo>
                      <a:pt x="9245473" y="2862709"/>
                    </a:lnTo>
                    <a:lnTo>
                      <a:pt x="9220821" y="2824023"/>
                    </a:lnTo>
                    <a:lnTo>
                      <a:pt x="9205963" y="2800691"/>
                    </a:lnTo>
                    <a:lnTo>
                      <a:pt x="9192766" y="2774806"/>
                    </a:lnTo>
                    <a:lnTo>
                      <a:pt x="9177295" y="2751935"/>
                    </a:lnTo>
                    <a:lnTo>
                      <a:pt x="9151240" y="2721546"/>
                    </a:lnTo>
                    <a:lnTo>
                      <a:pt x="9120197" y="2716104"/>
                    </a:lnTo>
                    <a:lnTo>
                      <a:pt x="9079691" y="2739028"/>
                    </a:lnTo>
                    <a:lnTo>
                      <a:pt x="9037201" y="2760092"/>
                    </a:lnTo>
                    <a:lnTo>
                      <a:pt x="9015952" y="2770631"/>
                    </a:lnTo>
                    <a:lnTo>
                      <a:pt x="8993879" y="2779679"/>
                    </a:lnTo>
                    <a:lnTo>
                      <a:pt x="8955376" y="2792196"/>
                    </a:lnTo>
                    <a:lnTo>
                      <a:pt x="8927018" y="2790013"/>
                    </a:lnTo>
                    <a:lnTo>
                      <a:pt x="8906899" y="2746381"/>
                    </a:lnTo>
                    <a:lnTo>
                      <a:pt x="8917075" y="2708052"/>
                    </a:lnTo>
                    <a:lnTo>
                      <a:pt x="8925660" y="2674398"/>
                    </a:lnTo>
                    <a:lnTo>
                      <a:pt x="8934255" y="2640744"/>
                    </a:lnTo>
                    <a:lnTo>
                      <a:pt x="8941858" y="2610830"/>
                    </a:lnTo>
                    <a:lnTo>
                      <a:pt x="8931102" y="2592786"/>
                    </a:lnTo>
                    <a:lnTo>
                      <a:pt x="8874854" y="2588532"/>
                    </a:lnTo>
                    <a:lnTo>
                      <a:pt x="8841430" y="2585163"/>
                    </a:lnTo>
                    <a:lnTo>
                      <a:pt x="8826717" y="2563196"/>
                    </a:lnTo>
                    <a:lnTo>
                      <a:pt x="8815487" y="2538379"/>
                    </a:lnTo>
                    <a:lnTo>
                      <a:pt x="8804241" y="2513568"/>
                    </a:lnTo>
                    <a:lnTo>
                      <a:pt x="8795997" y="2485862"/>
                    </a:lnTo>
                    <a:lnTo>
                      <a:pt x="8801379" y="2460678"/>
                    </a:lnTo>
                    <a:lnTo>
                      <a:pt x="8888636" y="2448992"/>
                    </a:lnTo>
                    <a:lnTo>
                      <a:pt x="8920219" y="2425486"/>
                    </a:lnTo>
                    <a:lnTo>
                      <a:pt x="8926925" y="2402193"/>
                    </a:lnTo>
                    <a:lnTo>
                      <a:pt x="8883294" y="2380846"/>
                    </a:lnTo>
                    <a:lnTo>
                      <a:pt x="8848130" y="2375154"/>
                    </a:lnTo>
                    <a:lnTo>
                      <a:pt x="8812954" y="2369470"/>
                    </a:lnTo>
                    <a:lnTo>
                      <a:pt x="8776274" y="2361918"/>
                    </a:lnTo>
                    <a:lnTo>
                      <a:pt x="8741879" y="2319711"/>
                    </a:lnTo>
                    <a:lnTo>
                      <a:pt x="8733638" y="2277622"/>
                    </a:lnTo>
                    <a:lnTo>
                      <a:pt x="8724352" y="2235059"/>
                    </a:lnTo>
                    <a:lnTo>
                      <a:pt x="8715072" y="2192496"/>
                    </a:lnTo>
                    <a:lnTo>
                      <a:pt x="8705503" y="2149959"/>
                    </a:lnTo>
                    <a:lnTo>
                      <a:pt x="8680826" y="2120803"/>
                    </a:lnTo>
                    <a:lnTo>
                      <a:pt x="8662464" y="2099078"/>
                    </a:lnTo>
                    <a:lnTo>
                      <a:pt x="8639371" y="2078760"/>
                    </a:lnTo>
                    <a:lnTo>
                      <a:pt x="8619617" y="2058230"/>
                    </a:lnTo>
                    <a:lnTo>
                      <a:pt x="8606244" y="1984307"/>
                    </a:lnTo>
                    <a:lnTo>
                      <a:pt x="8601937" y="1922210"/>
                    </a:lnTo>
                    <a:lnTo>
                      <a:pt x="8597631" y="1860113"/>
                    </a:lnTo>
                    <a:lnTo>
                      <a:pt x="8591907" y="1798410"/>
                    </a:lnTo>
                    <a:lnTo>
                      <a:pt x="8558166" y="1781640"/>
                    </a:lnTo>
                    <a:lnTo>
                      <a:pt x="8500598" y="1805955"/>
                    </a:lnTo>
                    <a:lnTo>
                      <a:pt x="8475433" y="1809312"/>
                    </a:lnTo>
                    <a:lnTo>
                      <a:pt x="8443891" y="1813553"/>
                    </a:lnTo>
                    <a:lnTo>
                      <a:pt x="8406920" y="1812451"/>
                    </a:lnTo>
                    <a:lnTo>
                      <a:pt x="8374782" y="1802512"/>
                    </a:lnTo>
                    <a:lnTo>
                      <a:pt x="8344148" y="1790682"/>
                    </a:lnTo>
                    <a:lnTo>
                      <a:pt x="8318348" y="1770818"/>
                    </a:lnTo>
                    <a:lnTo>
                      <a:pt x="8299968" y="1742664"/>
                    </a:lnTo>
                    <a:lnTo>
                      <a:pt x="8291786" y="1721666"/>
                    </a:lnTo>
                    <a:lnTo>
                      <a:pt x="8303946" y="1683073"/>
                    </a:lnTo>
                    <a:lnTo>
                      <a:pt x="8318705" y="1647269"/>
                    </a:lnTo>
                    <a:lnTo>
                      <a:pt x="8325815" y="1610727"/>
                    </a:lnTo>
                    <a:lnTo>
                      <a:pt x="8331380" y="1573841"/>
                    </a:lnTo>
                    <a:lnTo>
                      <a:pt x="8328425" y="1538796"/>
                    </a:lnTo>
                    <a:lnTo>
                      <a:pt x="8313580" y="1507352"/>
                    </a:lnTo>
                    <a:lnTo>
                      <a:pt x="8288446" y="1514585"/>
                    </a:lnTo>
                    <a:lnTo>
                      <a:pt x="8258092" y="1522743"/>
                    </a:lnTo>
                    <a:lnTo>
                      <a:pt x="8213840" y="1531105"/>
                    </a:lnTo>
                    <a:lnTo>
                      <a:pt x="8188905" y="1534542"/>
                    </a:lnTo>
                    <a:lnTo>
                      <a:pt x="8163961" y="1537272"/>
                    </a:lnTo>
                    <a:lnTo>
                      <a:pt x="8114085" y="1542746"/>
                    </a:lnTo>
                    <a:lnTo>
                      <a:pt x="8064221" y="1545397"/>
                    </a:lnTo>
                    <a:lnTo>
                      <a:pt x="8012978" y="1553594"/>
                    </a:lnTo>
                    <a:lnTo>
                      <a:pt x="7981671" y="1558600"/>
                    </a:lnTo>
                    <a:lnTo>
                      <a:pt x="7950200" y="1567260"/>
                    </a:lnTo>
                    <a:lnTo>
                      <a:pt x="7919126" y="1575365"/>
                    </a:lnTo>
                    <a:lnTo>
                      <a:pt x="7888046" y="1583463"/>
                    </a:lnTo>
                    <a:lnTo>
                      <a:pt x="7856553" y="1590881"/>
                    </a:lnTo>
                    <a:lnTo>
                      <a:pt x="7825275" y="1595762"/>
                    </a:lnTo>
                    <a:lnTo>
                      <a:pt x="7797624" y="1600068"/>
                    </a:lnTo>
                    <a:lnTo>
                      <a:pt x="7771052" y="1600610"/>
                    </a:lnTo>
                    <a:lnTo>
                      <a:pt x="7743664" y="1601203"/>
                    </a:lnTo>
                    <a:lnTo>
                      <a:pt x="7716261" y="1601797"/>
                    </a:lnTo>
                    <a:lnTo>
                      <a:pt x="7688911" y="1602839"/>
                    </a:lnTo>
                    <a:lnTo>
                      <a:pt x="7660686" y="1610727"/>
                    </a:lnTo>
                    <a:lnTo>
                      <a:pt x="7632716" y="1590024"/>
                    </a:lnTo>
                    <a:lnTo>
                      <a:pt x="7630304" y="1569080"/>
                    </a:lnTo>
                    <a:lnTo>
                      <a:pt x="7616717" y="1545859"/>
                    </a:lnTo>
                    <a:lnTo>
                      <a:pt x="7598120" y="1535914"/>
                    </a:lnTo>
                    <a:lnTo>
                      <a:pt x="7568404" y="1529081"/>
                    </a:lnTo>
                    <a:lnTo>
                      <a:pt x="7540988" y="1530473"/>
                    </a:lnTo>
                    <a:lnTo>
                      <a:pt x="7512215" y="1534548"/>
                    </a:lnTo>
                    <a:lnTo>
                      <a:pt x="7485426" y="1545450"/>
                    </a:lnTo>
                    <a:lnTo>
                      <a:pt x="7462100" y="1564483"/>
                    </a:lnTo>
                    <a:lnTo>
                      <a:pt x="7454978" y="1597497"/>
                    </a:lnTo>
                    <a:lnTo>
                      <a:pt x="7442017" y="1634837"/>
                    </a:lnTo>
                    <a:lnTo>
                      <a:pt x="7425374" y="1663776"/>
                    </a:lnTo>
                    <a:lnTo>
                      <a:pt x="7391298" y="1672039"/>
                    </a:lnTo>
                    <a:lnTo>
                      <a:pt x="7356072" y="1679992"/>
                    </a:lnTo>
                    <a:lnTo>
                      <a:pt x="7323355" y="1685539"/>
                    </a:lnTo>
                    <a:lnTo>
                      <a:pt x="7296336" y="1685736"/>
                    </a:lnTo>
                    <a:lnTo>
                      <a:pt x="7259433" y="1673292"/>
                    </a:lnTo>
                    <a:lnTo>
                      <a:pt x="7229286" y="1655236"/>
                    </a:lnTo>
                    <a:lnTo>
                      <a:pt x="7197301" y="1623718"/>
                    </a:lnTo>
                    <a:lnTo>
                      <a:pt x="7184743" y="1600841"/>
                    </a:lnTo>
                    <a:lnTo>
                      <a:pt x="7161498" y="1598486"/>
                    </a:lnTo>
                    <a:lnTo>
                      <a:pt x="7122390" y="1594529"/>
                    </a:lnTo>
                    <a:lnTo>
                      <a:pt x="7078433" y="1603076"/>
                    </a:lnTo>
                    <a:lnTo>
                      <a:pt x="7041800" y="1584880"/>
                    </a:lnTo>
                    <a:lnTo>
                      <a:pt x="7039670" y="1546583"/>
                    </a:lnTo>
                    <a:lnTo>
                      <a:pt x="7033878" y="1491325"/>
                    </a:lnTo>
                    <a:lnTo>
                      <a:pt x="7027931" y="1453879"/>
                    </a:lnTo>
                    <a:lnTo>
                      <a:pt x="7022747" y="1417574"/>
                    </a:lnTo>
                    <a:lnTo>
                      <a:pt x="6981556" y="1404161"/>
                    </a:lnTo>
                    <a:lnTo>
                      <a:pt x="6927181" y="1404153"/>
                    </a:lnTo>
                    <a:lnTo>
                      <a:pt x="6900280" y="1417588"/>
                    </a:lnTo>
                    <a:lnTo>
                      <a:pt x="6891812" y="1454975"/>
                    </a:lnTo>
                    <a:lnTo>
                      <a:pt x="6883959" y="1478795"/>
                    </a:lnTo>
                    <a:lnTo>
                      <a:pt x="6876089" y="1502616"/>
                    </a:lnTo>
                    <a:lnTo>
                      <a:pt x="6865888" y="1525315"/>
                    </a:lnTo>
                    <a:lnTo>
                      <a:pt x="6836098" y="1545081"/>
                    </a:lnTo>
                    <a:lnTo>
                      <a:pt x="6791806" y="1552599"/>
                    </a:lnTo>
                    <a:lnTo>
                      <a:pt x="6746578" y="1556325"/>
                    </a:lnTo>
                    <a:lnTo>
                      <a:pt x="6701343" y="1560051"/>
                    </a:lnTo>
                    <a:lnTo>
                      <a:pt x="6655920" y="1559814"/>
                    </a:lnTo>
                    <a:lnTo>
                      <a:pt x="6633682" y="1557683"/>
                    </a:lnTo>
                    <a:lnTo>
                      <a:pt x="6624157" y="1523679"/>
                    </a:lnTo>
                    <a:lnTo>
                      <a:pt x="6578290" y="1507780"/>
                    </a:lnTo>
                    <a:lnTo>
                      <a:pt x="6555510" y="1496562"/>
                    </a:lnTo>
                    <a:lnTo>
                      <a:pt x="6559687" y="1462215"/>
                    </a:lnTo>
                    <a:lnTo>
                      <a:pt x="6552081" y="1436627"/>
                    </a:lnTo>
                    <a:lnTo>
                      <a:pt x="6508555" y="1424388"/>
                    </a:lnTo>
                    <a:lnTo>
                      <a:pt x="6504469" y="1348216"/>
                    </a:lnTo>
                    <a:lnTo>
                      <a:pt x="6519925" y="1325899"/>
                    </a:lnTo>
                    <a:lnTo>
                      <a:pt x="6542553" y="1337334"/>
                    </a:lnTo>
                    <a:lnTo>
                      <a:pt x="6562211" y="1355866"/>
                    </a:lnTo>
                    <a:lnTo>
                      <a:pt x="6580024" y="1378639"/>
                    </a:lnTo>
                    <a:lnTo>
                      <a:pt x="6598320" y="1395825"/>
                    </a:lnTo>
                    <a:lnTo>
                      <a:pt x="6619562" y="1400791"/>
                    </a:lnTo>
                    <a:lnTo>
                      <a:pt x="6642550" y="1375716"/>
                    </a:lnTo>
                    <a:lnTo>
                      <a:pt x="6659783" y="1294362"/>
                    </a:lnTo>
                    <a:lnTo>
                      <a:pt x="6677934" y="1237660"/>
                    </a:lnTo>
                    <a:lnTo>
                      <a:pt x="6709858" y="1164588"/>
                    </a:lnTo>
                    <a:lnTo>
                      <a:pt x="6704156" y="1136863"/>
                    </a:lnTo>
                    <a:lnTo>
                      <a:pt x="6696252" y="1116979"/>
                    </a:lnTo>
                    <a:lnTo>
                      <a:pt x="6689546" y="1094378"/>
                    </a:lnTo>
                    <a:lnTo>
                      <a:pt x="6692066" y="1063414"/>
                    </a:lnTo>
                    <a:lnTo>
                      <a:pt x="6709858" y="1020403"/>
                    </a:lnTo>
                    <a:lnTo>
                      <a:pt x="6657470" y="1001127"/>
                    </a:lnTo>
                    <a:lnTo>
                      <a:pt x="6632303" y="1019045"/>
                    </a:lnTo>
                    <a:lnTo>
                      <a:pt x="6619488" y="1042529"/>
                    </a:lnTo>
                    <a:lnTo>
                      <a:pt x="6596940" y="1050331"/>
                    </a:lnTo>
                    <a:lnTo>
                      <a:pt x="6580743" y="1015517"/>
                    </a:lnTo>
                    <a:lnTo>
                      <a:pt x="6572455" y="991840"/>
                    </a:lnTo>
                    <a:lnTo>
                      <a:pt x="6561401" y="969543"/>
                    </a:lnTo>
                    <a:lnTo>
                      <a:pt x="6537270" y="954295"/>
                    </a:lnTo>
                    <a:lnTo>
                      <a:pt x="6493567" y="952396"/>
                    </a:lnTo>
                    <a:lnTo>
                      <a:pt x="6498677" y="925832"/>
                    </a:lnTo>
                    <a:lnTo>
                      <a:pt x="6503024" y="889468"/>
                    </a:lnTo>
                    <a:lnTo>
                      <a:pt x="6502106" y="847491"/>
                    </a:lnTo>
                    <a:lnTo>
                      <a:pt x="6497669" y="806853"/>
                    </a:lnTo>
                    <a:lnTo>
                      <a:pt x="6493204" y="766222"/>
                    </a:lnTo>
                    <a:lnTo>
                      <a:pt x="6486008" y="727148"/>
                    </a:lnTo>
                    <a:lnTo>
                      <a:pt x="6468570" y="695704"/>
                    </a:lnTo>
                    <a:lnTo>
                      <a:pt x="6444348" y="692524"/>
                    </a:lnTo>
                    <a:lnTo>
                      <a:pt x="6420133" y="689879"/>
                    </a:lnTo>
                    <a:lnTo>
                      <a:pt x="6395914" y="687236"/>
                    </a:lnTo>
                    <a:lnTo>
                      <a:pt x="6371394" y="685013"/>
                    </a:lnTo>
                    <a:lnTo>
                      <a:pt x="6360732" y="652157"/>
                    </a:lnTo>
                    <a:lnTo>
                      <a:pt x="6375245" y="621866"/>
                    </a:lnTo>
                    <a:lnTo>
                      <a:pt x="6396444" y="594181"/>
                    </a:lnTo>
                    <a:lnTo>
                      <a:pt x="6422058" y="567947"/>
                    </a:lnTo>
                    <a:lnTo>
                      <a:pt x="6445976" y="540254"/>
                    </a:lnTo>
                    <a:lnTo>
                      <a:pt x="6464614" y="509958"/>
                    </a:lnTo>
                    <a:lnTo>
                      <a:pt x="6463290" y="479515"/>
                    </a:lnTo>
                    <a:lnTo>
                      <a:pt x="6452611" y="452523"/>
                    </a:lnTo>
                    <a:lnTo>
                      <a:pt x="6413212" y="445440"/>
                    </a:lnTo>
                    <a:lnTo>
                      <a:pt x="6388482" y="468879"/>
                    </a:lnTo>
                    <a:lnTo>
                      <a:pt x="6353194" y="503982"/>
                    </a:lnTo>
                    <a:lnTo>
                      <a:pt x="6314040" y="530738"/>
                    </a:lnTo>
                    <a:lnTo>
                      <a:pt x="6294460" y="544113"/>
                    </a:lnTo>
                    <a:lnTo>
                      <a:pt x="6273534" y="555021"/>
                    </a:lnTo>
                    <a:lnTo>
                      <a:pt x="6234848" y="566297"/>
                    </a:lnTo>
                    <a:lnTo>
                      <a:pt x="6201135" y="557941"/>
                    </a:lnTo>
                    <a:lnTo>
                      <a:pt x="6195272" y="526630"/>
                    </a:lnTo>
                    <a:lnTo>
                      <a:pt x="6196156" y="491321"/>
                    </a:lnTo>
                    <a:lnTo>
                      <a:pt x="6199783" y="460008"/>
                    </a:lnTo>
                    <a:lnTo>
                      <a:pt x="6176365" y="424705"/>
                    </a:lnTo>
                    <a:lnTo>
                      <a:pt x="6171425" y="395206"/>
                    </a:lnTo>
                    <a:lnTo>
                      <a:pt x="6173937" y="364797"/>
                    </a:lnTo>
                    <a:lnTo>
                      <a:pt x="6176470" y="334381"/>
                    </a:lnTo>
                    <a:lnTo>
                      <a:pt x="6187220" y="302931"/>
                    </a:lnTo>
                    <a:lnTo>
                      <a:pt x="6195700" y="262781"/>
                    </a:lnTo>
                    <a:lnTo>
                      <a:pt x="6188696" y="234350"/>
                    </a:lnTo>
                    <a:lnTo>
                      <a:pt x="6161900" y="215034"/>
                    </a:lnTo>
                    <a:lnTo>
                      <a:pt x="6133142" y="208372"/>
                    </a:lnTo>
                    <a:lnTo>
                      <a:pt x="6098044" y="205906"/>
                    </a:lnTo>
                    <a:lnTo>
                      <a:pt x="6062043" y="207549"/>
                    </a:lnTo>
                    <a:lnTo>
                      <a:pt x="6027043" y="213814"/>
                    </a:lnTo>
                    <a:lnTo>
                      <a:pt x="5992044" y="220058"/>
                    </a:lnTo>
                    <a:lnTo>
                      <a:pt x="5957764" y="229971"/>
                    </a:lnTo>
                    <a:lnTo>
                      <a:pt x="5923661" y="242376"/>
                    </a:lnTo>
                    <a:lnTo>
                      <a:pt x="5889579" y="254782"/>
                    </a:lnTo>
                    <a:lnTo>
                      <a:pt x="5855376" y="269889"/>
                    </a:lnTo>
                    <a:lnTo>
                      <a:pt x="5823016" y="285902"/>
                    </a:lnTo>
                    <a:lnTo>
                      <a:pt x="5790642" y="301915"/>
                    </a:lnTo>
                    <a:lnTo>
                      <a:pt x="5760337" y="319167"/>
                    </a:lnTo>
                    <a:lnTo>
                      <a:pt x="5730522" y="336228"/>
                    </a:lnTo>
                    <a:lnTo>
                      <a:pt x="5709484" y="348264"/>
                    </a:lnTo>
                    <a:lnTo>
                      <a:pt x="5670674" y="368872"/>
                    </a:lnTo>
                    <a:lnTo>
                      <a:pt x="5638835" y="356817"/>
                    </a:lnTo>
                    <a:lnTo>
                      <a:pt x="5615447" y="329250"/>
                    </a:lnTo>
                    <a:lnTo>
                      <a:pt x="5597212" y="294068"/>
                    </a:lnTo>
                    <a:lnTo>
                      <a:pt x="5579164" y="257913"/>
                    </a:lnTo>
                    <a:lnTo>
                      <a:pt x="5558145" y="229561"/>
                    </a:lnTo>
                    <a:lnTo>
                      <a:pt x="5529207" y="216531"/>
                    </a:lnTo>
                    <a:lnTo>
                      <a:pt x="5473849" y="208708"/>
                    </a:lnTo>
                    <a:lnTo>
                      <a:pt x="5431278" y="201566"/>
                    </a:lnTo>
                    <a:lnTo>
                      <a:pt x="5388695" y="194432"/>
                    </a:lnTo>
                    <a:lnTo>
                      <a:pt x="5347538" y="186096"/>
                    </a:lnTo>
                    <a:lnTo>
                      <a:pt x="5307590" y="150535"/>
                    </a:lnTo>
                    <a:lnTo>
                      <a:pt x="5287436" y="124658"/>
                    </a:lnTo>
                    <a:lnTo>
                      <a:pt x="5272131" y="102275"/>
                    </a:lnTo>
                    <a:lnTo>
                      <a:pt x="5256818" y="79891"/>
                    </a:lnTo>
                    <a:lnTo>
                      <a:pt x="5245454" y="61023"/>
                    </a:lnTo>
                    <a:lnTo>
                      <a:pt x="5217189" y="31992"/>
                    </a:lnTo>
                    <a:lnTo>
                      <a:pt x="5174196" y="19303"/>
                    </a:lnTo>
                    <a:lnTo>
                      <a:pt x="5147888" y="16368"/>
                    </a:lnTo>
                    <a:lnTo>
                      <a:pt x="5111775" y="20557"/>
                    </a:lnTo>
                    <a:lnTo>
                      <a:pt x="5059940" y="32908"/>
                    </a:lnTo>
                    <a:lnTo>
                      <a:pt x="5005189" y="45946"/>
                    </a:lnTo>
                    <a:lnTo>
                      <a:pt x="4960522" y="57032"/>
                    </a:lnTo>
                    <a:lnTo>
                      <a:pt x="4918478" y="73712"/>
                    </a:lnTo>
                    <a:lnTo>
                      <a:pt x="4876438" y="90390"/>
                    </a:lnTo>
                    <a:lnTo>
                      <a:pt x="4838087" y="112852"/>
                    </a:lnTo>
                    <a:lnTo>
                      <a:pt x="4793339" y="148525"/>
                    </a:lnTo>
                    <a:lnTo>
                      <a:pt x="4766975" y="182646"/>
                    </a:lnTo>
                    <a:lnTo>
                      <a:pt x="4756619" y="202932"/>
                    </a:lnTo>
                    <a:lnTo>
                      <a:pt x="4746253" y="223218"/>
                    </a:lnTo>
                    <a:lnTo>
                      <a:pt x="4734849" y="242548"/>
                    </a:lnTo>
                    <a:lnTo>
                      <a:pt x="4680369" y="261515"/>
                    </a:lnTo>
                    <a:lnTo>
                      <a:pt x="4656522" y="272106"/>
                    </a:lnTo>
                    <a:lnTo>
                      <a:pt x="4632834" y="275021"/>
                    </a:lnTo>
                    <a:lnTo>
                      <a:pt x="4609152" y="277935"/>
                    </a:lnTo>
                    <a:lnTo>
                      <a:pt x="4585879" y="272812"/>
                    </a:lnTo>
                    <a:lnTo>
                      <a:pt x="4552588" y="253258"/>
                    </a:lnTo>
                    <a:lnTo>
                      <a:pt x="4532902" y="237060"/>
                    </a:lnTo>
                    <a:lnTo>
                      <a:pt x="4448023" y="221720"/>
                    </a:lnTo>
                    <a:lnTo>
                      <a:pt x="4379364" y="204588"/>
                    </a:lnTo>
                    <a:lnTo>
                      <a:pt x="4310475" y="192051"/>
                    </a:lnTo>
                    <a:lnTo>
                      <a:pt x="4250284" y="181123"/>
                    </a:lnTo>
                    <a:lnTo>
                      <a:pt x="4021045" y="163059"/>
                    </a:lnTo>
                    <a:lnTo>
                      <a:pt x="3979944" y="144441"/>
                    </a:lnTo>
                    <a:lnTo>
                      <a:pt x="3903768" y="109930"/>
                    </a:lnTo>
                    <a:lnTo>
                      <a:pt x="3828406" y="64914"/>
                    </a:lnTo>
                    <a:lnTo>
                      <a:pt x="3754150" y="26103"/>
                    </a:lnTo>
                    <a:lnTo>
                      <a:pt x="3734039" y="15610"/>
                    </a:lnTo>
                    <a:lnTo>
                      <a:pt x="3702677" y="7321"/>
                    </a:lnTo>
                    <a:lnTo>
                      <a:pt x="3680694" y="5698"/>
                    </a:lnTo>
                    <a:lnTo>
                      <a:pt x="3654757" y="0"/>
                    </a:lnTo>
                    <a:lnTo>
                      <a:pt x="3456270" y="36984"/>
                    </a:lnTo>
                    <a:lnTo>
                      <a:pt x="3437434" y="47233"/>
                    </a:lnTo>
                    <a:lnTo>
                      <a:pt x="3372356" y="57561"/>
                    </a:lnTo>
                    <a:lnTo>
                      <a:pt x="3321773" y="56795"/>
                    </a:lnTo>
                    <a:lnTo>
                      <a:pt x="3268551" y="56031"/>
                    </a:lnTo>
                    <a:lnTo>
                      <a:pt x="3236851" y="51988"/>
                    </a:lnTo>
                    <a:lnTo>
                      <a:pt x="3184956" y="45828"/>
                    </a:lnTo>
                    <a:lnTo>
                      <a:pt x="3140314" y="36305"/>
                    </a:lnTo>
                    <a:lnTo>
                      <a:pt x="3099889" y="42426"/>
                    </a:lnTo>
                    <a:lnTo>
                      <a:pt x="3049126" y="50141"/>
                    </a:lnTo>
                    <a:lnTo>
                      <a:pt x="3010849" y="61096"/>
                    </a:lnTo>
                    <a:lnTo>
                      <a:pt x="2973397" y="65547"/>
                    </a:lnTo>
                    <a:lnTo>
                      <a:pt x="2935939" y="70011"/>
                    </a:lnTo>
                    <a:lnTo>
                      <a:pt x="2898202" y="67498"/>
                    </a:lnTo>
                    <a:lnTo>
                      <a:pt x="2849619" y="47873"/>
                    </a:lnTo>
                    <a:lnTo>
                      <a:pt x="2791219" y="104391"/>
                    </a:lnTo>
                    <a:lnTo>
                      <a:pt x="2759497" y="146342"/>
                    </a:lnTo>
                    <a:lnTo>
                      <a:pt x="2738084" y="177087"/>
                    </a:lnTo>
                    <a:lnTo>
                      <a:pt x="2716659" y="207833"/>
                    </a:lnTo>
                    <a:lnTo>
                      <a:pt x="2705817" y="228144"/>
                    </a:lnTo>
                    <a:lnTo>
                      <a:pt x="2689111" y="241018"/>
                    </a:lnTo>
                    <a:lnTo>
                      <a:pt x="2672405" y="253890"/>
                    </a:lnTo>
                    <a:lnTo>
                      <a:pt x="2650394" y="259873"/>
                    </a:lnTo>
                    <a:lnTo>
                      <a:pt x="2606142" y="262781"/>
                    </a:lnTo>
                    <a:lnTo>
                      <a:pt x="2561887" y="265682"/>
                    </a:lnTo>
                    <a:lnTo>
                      <a:pt x="2495293" y="264660"/>
                    </a:lnTo>
                    <a:lnTo>
                      <a:pt x="2391225" y="265497"/>
                    </a:lnTo>
                    <a:lnTo>
                      <a:pt x="2360495" y="257676"/>
                    </a:lnTo>
                    <a:lnTo>
                      <a:pt x="2345715" y="220587"/>
                    </a:lnTo>
                    <a:lnTo>
                      <a:pt x="2338512" y="186953"/>
                    </a:lnTo>
                    <a:lnTo>
                      <a:pt x="2335467" y="153964"/>
                    </a:lnTo>
                    <a:lnTo>
                      <a:pt x="2332419" y="120971"/>
                    </a:lnTo>
                    <a:lnTo>
                      <a:pt x="2333508" y="88207"/>
                    </a:lnTo>
                    <a:lnTo>
                      <a:pt x="2339554" y="57389"/>
                    </a:lnTo>
                    <a:lnTo>
                      <a:pt x="2315155" y="41700"/>
                    </a:lnTo>
                    <a:lnTo>
                      <a:pt x="2288062" y="40810"/>
                    </a:lnTo>
                    <a:lnTo>
                      <a:pt x="2262017" y="42426"/>
                    </a:lnTo>
                    <a:lnTo>
                      <a:pt x="2235988" y="44041"/>
                    </a:lnTo>
                    <a:lnTo>
                      <a:pt x="2210433" y="48545"/>
                    </a:lnTo>
                    <a:lnTo>
                      <a:pt x="2191953" y="97149"/>
                    </a:lnTo>
                    <a:lnTo>
                      <a:pt x="2201568" y="134022"/>
                    </a:lnTo>
                    <a:lnTo>
                      <a:pt x="2214411" y="170288"/>
                    </a:lnTo>
                    <a:lnTo>
                      <a:pt x="2227263" y="206546"/>
                    </a:lnTo>
                    <a:lnTo>
                      <a:pt x="2244620" y="242204"/>
                    </a:lnTo>
                    <a:lnTo>
                      <a:pt x="2253866" y="277738"/>
                    </a:lnTo>
                    <a:lnTo>
                      <a:pt x="2240775" y="310046"/>
                    </a:lnTo>
                    <a:lnTo>
                      <a:pt x="2239120" y="338293"/>
                    </a:lnTo>
                    <a:lnTo>
                      <a:pt x="2238949" y="382386"/>
                    </a:lnTo>
                    <a:lnTo>
                      <a:pt x="2236168" y="424646"/>
                    </a:lnTo>
                    <a:lnTo>
                      <a:pt x="2233424" y="466899"/>
                    </a:lnTo>
                    <a:lnTo>
                      <a:pt x="2226742" y="507062"/>
                    </a:lnTo>
                    <a:lnTo>
                      <a:pt x="2142307" y="537538"/>
                    </a:lnTo>
                    <a:lnTo>
                      <a:pt x="2129123" y="573500"/>
                    </a:lnTo>
                    <a:lnTo>
                      <a:pt x="2132131" y="622381"/>
                    </a:lnTo>
                    <a:lnTo>
                      <a:pt x="2147748" y="639553"/>
                    </a:lnTo>
                    <a:lnTo>
                      <a:pt x="2228010" y="639553"/>
                    </a:lnTo>
                    <a:lnTo>
                      <a:pt x="2247386" y="686523"/>
                    </a:lnTo>
                    <a:lnTo>
                      <a:pt x="2244667" y="749550"/>
                    </a:lnTo>
                    <a:lnTo>
                      <a:pt x="2263369" y="778291"/>
                    </a:lnTo>
                    <a:lnTo>
                      <a:pt x="2279988" y="803854"/>
                    </a:lnTo>
                    <a:lnTo>
                      <a:pt x="2303981" y="817557"/>
                    </a:lnTo>
                    <a:lnTo>
                      <a:pt x="2331384" y="825900"/>
                    </a:lnTo>
                    <a:lnTo>
                      <a:pt x="2358780" y="834242"/>
                    </a:lnTo>
                    <a:lnTo>
                      <a:pt x="2388661" y="837797"/>
                    </a:lnTo>
                    <a:lnTo>
                      <a:pt x="2415713" y="843581"/>
                    </a:lnTo>
                    <a:lnTo>
                      <a:pt x="2442766" y="849372"/>
                    </a:lnTo>
                    <a:lnTo>
                      <a:pt x="2466796" y="856956"/>
                    </a:lnTo>
                    <a:lnTo>
                      <a:pt x="2482367" y="874866"/>
                    </a:lnTo>
                    <a:lnTo>
                      <a:pt x="2495860" y="895496"/>
                    </a:lnTo>
                    <a:lnTo>
                      <a:pt x="2501513" y="924969"/>
                    </a:lnTo>
                    <a:lnTo>
                      <a:pt x="2498691" y="966002"/>
                    </a:lnTo>
                    <a:lnTo>
                      <a:pt x="2493706" y="992844"/>
                    </a:lnTo>
                    <a:lnTo>
                      <a:pt x="2484624" y="1028930"/>
                    </a:lnTo>
                    <a:lnTo>
                      <a:pt x="2472845" y="1051696"/>
                    </a:lnTo>
                    <a:lnTo>
                      <a:pt x="2435582" y="1053648"/>
                    </a:lnTo>
                    <a:lnTo>
                      <a:pt x="2398335" y="1057486"/>
                    </a:lnTo>
                    <a:lnTo>
                      <a:pt x="2362669" y="1063937"/>
                    </a:lnTo>
                    <a:lnTo>
                      <a:pt x="2326999" y="1070386"/>
                    </a:lnTo>
                    <a:lnTo>
                      <a:pt x="2291749" y="1079500"/>
                    </a:lnTo>
                    <a:lnTo>
                      <a:pt x="2256570" y="1091140"/>
                    </a:lnTo>
                    <a:lnTo>
                      <a:pt x="2236310" y="1109632"/>
                    </a:lnTo>
                    <a:lnTo>
                      <a:pt x="2219691" y="1140661"/>
                    </a:lnTo>
                    <a:lnTo>
                      <a:pt x="2204886" y="1165952"/>
                    </a:lnTo>
                    <a:lnTo>
                      <a:pt x="2166801" y="1170028"/>
                    </a:lnTo>
                    <a:lnTo>
                      <a:pt x="2143792" y="1184564"/>
                    </a:lnTo>
                    <a:lnTo>
                      <a:pt x="2127350" y="1212190"/>
                    </a:lnTo>
                    <a:lnTo>
                      <a:pt x="2120913" y="1246028"/>
                    </a:lnTo>
                    <a:lnTo>
                      <a:pt x="2117834" y="1272039"/>
                    </a:lnTo>
                    <a:lnTo>
                      <a:pt x="2114743" y="1298180"/>
                    </a:lnTo>
                    <a:lnTo>
                      <a:pt x="2117834" y="1334610"/>
                    </a:lnTo>
                    <a:lnTo>
                      <a:pt x="2126571" y="1363278"/>
                    </a:lnTo>
                    <a:lnTo>
                      <a:pt x="2153255" y="1395607"/>
                    </a:lnTo>
                    <a:lnTo>
                      <a:pt x="2182630" y="1410920"/>
                    </a:lnTo>
                    <a:lnTo>
                      <a:pt x="2223927" y="1439345"/>
                    </a:lnTo>
                    <a:lnTo>
                      <a:pt x="2278407" y="1476843"/>
                    </a:lnTo>
                    <a:lnTo>
                      <a:pt x="2338013" y="1503955"/>
                    </a:lnTo>
                    <a:lnTo>
                      <a:pt x="2396673" y="1534555"/>
                    </a:lnTo>
                    <a:lnTo>
                      <a:pt x="2418476" y="1545904"/>
                    </a:lnTo>
                    <a:lnTo>
                      <a:pt x="2441175" y="1570438"/>
                    </a:lnTo>
                    <a:lnTo>
                      <a:pt x="2455162" y="1590328"/>
                    </a:lnTo>
                    <a:lnTo>
                      <a:pt x="2457813" y="1614511"/>
                    </a:lnTo>
                    <a:lnTo>
                      <a:pt x="2449308" y="1640647"/>
                    </a:lnTo>
                    <a:lnTo>
                      <a:pt x="2436112" y="1665140"/>
                    </a:lnTo>
                    <a:lnTo>
                      <a:pt x="2422935" y="1689634"/>
                    </a:lnTo>
                    <a:lnTo>
                      <a:pt x="2405761" y="1712361"/>
                    </a:lnTo>
                    <a:lnTo>
                      <a:pt x="2392592" y="1730430"/>
                    </a:lnTo>
                    <a:lnTo>
                      <a:pt x="2385408" y="1776205"/>
                    </a:lnTo>
                    <a:lnTo>
                      <a:pt x="2402155" y="1799630"/>
                    </a:lnTo>
                    <a:lnTo>
                      <a:pt x="2410272" y="1840604"/>
                    </a:lnTo>
                    <a:lnTo>
                      <a:pt x="2400031" y="1899563"/>
                    </a:lnTo>
                    <a:lnTo>
                      <a:pt x="2394940" y="1922427"/>
                    </a:lnTo>
                    <a:lnTo>
                      <a:pt x="2384435" y="1952137"/>
                    </a:lnTo>
                    <a:lnTo>
                      <a:pt x="2422129" y="1975180"/>
                    </a:lnTo>
                    <a:lnTo>
                      <a:pt x="2452393" y="1985679"/>
                    </a:lnTo>
                    <a:lnTo>
                      <a:pt x="2481002" y="1991589"/>
                    </a:lnTo>
                    <a:lnTo>
                      <a:pt x="2522141" y="1995170"/>
                    </a:lnTo>
                    <a:lnTo>
                      <a:pt x="2543569" y="1997029"/>
                    </a:lnTo>
                    <a:lnTo>
                      <a:pt x="2565000" y="1998889"/>
                    </a:lnTo>
                    <a:lnTo>
                      <a:pt x="2586125" y="2003875"/>
                    </a:lnTo>
                    <a:lnTo>
                      <a:pt x="2602065" y="2018786"/>
                    </a:lnTo>
                    <a:lnTo>
                      <a:pt x="2602657" y="2104566"/>
                    </a:lnTo>
                    <a:lnTo>
                      <a:pt x="2583526" y="2224903"/>
                    </a:lnTo>
                    <a:lnTo>
                      <a:pt x="2559891" y="2307148"/>
                    </a:lnTo>
                    <a:lnTo>
                      <a:pt x="2552499" y="2332743"/>
                    </a:lnTo>
                    <a:lnTo>
                      <a:pt x="2535455" y="2361134"/>
                    </a:lnTo>
                    <a:lnTo>
                      <a:pt x="2529970" y="2386042"/>
                    </a:lnTo>
                    <a:lnTo>
                      <a:pt x="2512077" y="2466381"/>
                    </a:lnTo>
                    <a:lnTo>
                      <a:pt x="2512632" y="2553816"/>
                    </a:lnTo>
                    <a:lnTo>
                      <a:pt x="2483725" y="2632236"/>
                    </a:lnTo>
                    <a:lnTo>
                      <a:pt x="2462728" y="2689197"/>
                    </a:lnTo>
                    <a:lnTo>
                      <a:pt x="2428975" y="2747602"/>
                    </a:lnTo>
                    <a:lnTo>
                      <a:pt x="2418436" y="2807708"/>
                    </a:lnTo>
                    <a:lnTo>
                      <a:pt x="2438900" y="2834337"/>
                    </a:lnTo>
                    <a:lnTo>
                      <a:pt x="2464712" y="2851722"/>
                    </a:lnTo>
                    <a:lnTo>
                      <a:pt x="2487808" y="2870273"/>
                    </a:lnTo>
                    <a:lnTo>
                      <a:pt x="2510889" y="2888825"/>
                    </a:lnTo>
                    <a:lnTo>
                      <a:pt x="2532423" y="2908379"/>
                    </a:lnTo>
                    <a:lnTo>
                      <a:pt x="2548363" y="2941788"/>
                    </a:lnTo>
                    <a:lnTo>
                      <a:pt x="2544115" y="2989714"/>
                    </a:lnTo>
                    <a:lnTo>
                      <a:pt x="2535412" y="3037579"/>
                    </a:lnTo>
                    <a:lnTo>
                      <a:pt x="2526724" y="3085446"/>
                    </a:lnTo>
                    <a:lnTo>
                      <a:pt x="2512498" y="3132837"/>
                    </a:lnTo>
                    <a:lnTo>
                      <a:pt x="2501811" y="3152212"/>
                    </a:lnTo>
                    <a:lnTo>
                      <a:pt x="2471065" y="3187923"/>
                    </a:lnTo>
                    <a:lnTo>
                      <a:pt x="2421279" y="3200844"/>
                    </a:lnTo>
                    <a:lnTo>
                      <a:pt x="2335036" y="3199952"/>
                    </a:lnTo>
                    <a:lnTo>
                      <a:pt x="2230329" y="3188965"/>
                    </a:lnTo>
                    <a:lnTo>
                      <a:pt x="2125985" y="3172241"/>
                    </a:lnTo>
                    <a:lnTo>
                      <a:pt x="2021654" y="3155510"/>
                    </a:lnTo>
                    <a:lnTo>
                      <a:pt x="1918773" y="3133686"/>
                    </a:lnTo>
                    <a:lnTo>
                      <a:pt x="1843063" y="3112392"/>
                    </a:lnTo>
                    <a:lnTo>
                      <a:pt x="1773542" y="3092793"/>
                    </a:lnTo>
                    <a:lnTo>
                      <a:pt x="1709806" y="3047565"/>
                    </a:lnTo>
                    <a:lnTo>
                      <a:pt x="1644486" y="3018534"/>
                    </a:lnTo>
                    <a:lnTo>
                      <a:pt x="1596731" y="2997318"/>
                    </a:lnTo>
                    <a:lnTo>
                      <a:pt x="1544843" y="2980336"/>
                    </a:lnTo>
                    <a:lnTo>
                      <a:pt x="1490778" y="2969566"/>
                    </a:lnTo>
                    <a:lnTo>
                      <a:pt x="1436719" y="2958804"/>
                    </a:lnTo>
                    <a:lnTo>
                      <a:pt x="1381277" y="2954609"/>
                    </a:lnTo>
                    <a:lnTo>
                      <a:pt x="1328912" y="2954609"/>
                    </a:lnTo>
                    <a:lnTo>
                      <a:pt x="1302442" y="2954609"/>
                    </a:lnTo>
                    <a:lnTo>
                      <a:pt x="1263616" y="2973510"/>
                    </a:lnTo>
                    <a:lnTo>
                      <a:pt x="1226902" y="2995411"/>
                    </a:lnTo>
                    <a:lnTo>
                      <a:pt x="1190188" y="3017314"/>
                    </a:lnTo>
                    <a:lnTo>
                      <a:pt x="1155322" y="3042184"/>
                    </a:lnTo>
                    <a:lnTo>
                      <a:pt x="1133051" y="3053902"/>
                    </a:lnTo>
                    <a:lnTo>
                      <a:pt x="1068196" y="3088004"/>
                    </a:lnTo>
                    <a:lnTo>
                      <a:pt x="995533" y="3107420"/>
                    </a:lnTo>
                    <a:lnTo>
                      <a:pt x="931742" y="3145038"/>
                    </a:lnTo>
                    <a:lnTo>
                      <a:pt x="880269" y="3175427"/>
                    </a:lnTo>
                    <a:lnTo>
                      <a:pt x="813402" y="3211685"/>
                    </a:lnTo>
                    <a:lnTo>
                      <a:pt x="767132" y="3228430"/>
                    </a:lnTo>
                    <a:lnTo>
                      <a:pt x="719656" y="3236119"/>
                    </a:lnTo>
                    <a:lnTo>
                      <a:pt x="671935" y="3242965"/>
                    </a:lnTo>
                    <a:lnTo>
                      <a:pt x="624220" y="3249817"/>
                    </a:lnTo>
                    <a:lnTo>
                      <a:pt x="577147" y="3255020"/>
                    </a:lnTo>
                    <a:lnTo>
                      <a:pt x="529115" y="3263370"/>
                    </a:lnTo>
                    <a:lnTo>
                      <a:pt x="494603" y="3269363"/>
                    </a:lnTo>
                    <a:lnTo>
                      <a:pt x="458518" y="3279692"/>
                    </a:lnTo>
                    <a:lnTo>
                      <a:pt x="424381" y="3287857"/>
                    </a:lnTo>
                    <a:lnTo>
                      <a:pt x="401861" y="3293212"/>
                    </a:lnTo>
                    <a:lnTo>
                      <a:pt x="374734" y="3292657"/>
                    </a:lnTo>
                    <a:lnTo>
                      <a:pt x="350928" y="3298738"/>
                    </a:lnTo>
                    <a:lnTo>
                      <a:pt x="250019" y="3324411"/>
                    </a:lnTo>
                    <a:lnTo>
                      <a:pt x="128882" y="3380138"/>
                    </a:lnTo>
                    <a:lnTo>
                      <a:pt x="27205" y="3415713"/>
                    </a:lnTo>
                    <a:lnTo>
                      <a:pt x="0" y="3429318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/>
              </a:p>
            </p:txBody>
          </p:sp>
        </p:grpSp>
        <p:grpSp>
          <p:nvGrpSpPr>
            <p:cNvPr id="499" name="MapShapes">
              <a:extLst>
                <a:ext uri="{FF2B5EF4-FFF2-40B4-BE49-F238E27FC236}">
                  <a16:creationId xmlns:a16="http://schemas.microsoft.com/office/drawing/2014/main" id="{81CD9BB0-0BC1-4B20-B8D7-B003FE9E89F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7516" y="1181479"/>
              <a:ext cx="6191800" cy="3630256"/>
              <a:chOff x="3" y="-2"/>
              <a:chExt cx="63183906" cy="42051896"/>
            </a:xfrm>
            <a:solidFill>
              <a:schemeClr val="bg1">
                <a:lumMod val="50000"/>
              </a:schemeClr>
            </a:solidFill>
          </p:grpSpPr>
          <p:sp>
            <p:nvSpPr>
              <p:cNvPr id="637" name="Kiev¬0" descr="Kiev¬0">
                <a:extLst>
                  <a:ext uri="{FF2B5EF4-FFF2-40B4-BE49-F238E27FC236}">
                    <a16:creationId xmlns:a16="http://schemas.microsoft.com/office/drawing/2014/main" id="{74F39609-0508-4F04-B4E6-A5CC96011025}"/>
                  </a:ext>
                </a:extLst>
              </p:cNvPr>
              <p:cNvSpPr/>
              <p:nvPr/>
            </p:nvSpPr>
            <p:spPr>
              <a:xfrm>
                <a:off x="24936849" y="4598147"/>
                <a:ext cx="10009656" cy="12272982"/>
              </a:xfrm>
              <a:custGeom>
                <a:avLst/>
                <a:gdLst/>
                <a:ahLst/>
                <a:cxnLst/>
                <a:rect l="0" t="0" r="0" b="0"/>
                <a:pathLst>
                  <a:path w="10009659" h="12272988">
                    <a:moveTo>
                      <a:pt x="9957981" y="6141983"/>
                    </a:moveTo>
                    <a:lnTo>
                      <a:pt x="9907655" y="6065811"/>
                    </a:lnTo>
                    <a:lnTo>
                      <a:pt x="9805637" y="5913470"/>
                    </a:lnTo>
                    <a:lnTo>
                      <a:pt x="9832711" y="5864291"/>
                    </a:lnTo>
                    <a:lnTo>
                      <a:pt x="9866073" y="5830367"/>
                    </a:lnTo>
                    <a:lnTo>
                      <a:pt x="9899485" y="5811453"/>
                    </a:lnTo>
                    <a:lnTo>
                      <a:pt x="9906117" y="5779870"/>
                    </a:lnTo>
                    <a:lnTo>
                      <a:pt x="9888286" y="5756656"/>
                    </a:lnTo>
                    <a:lnTo>
                      <a:pt x="9860040" y="5747522"/>
                    </a:lnTo>
                    <a:lnTo>
                      <a:pt x="9831260" y="5747192"/>
                    </a:lnTo>
                    <a:lnTo>
                      <a:pt x="9787015" y="5756405"/>
                    </a:lnTo>
                    <a:lnTo>
                      <a:pt x="9757389" y="5767603"/>
                    </a:lnTo>
                    <a:lnTo>
                      <a:pt x="9732184" y="5763851"/>
                    </a:lnTo>
                    <a:lnTo>
                      <a:pt x="9698729" y="5758865"/>
                    </a:lnTo>
                    <a:lnTo>
                      <a:pt x="9678925" y="5745577"/>
                    </a:lnTo>
                    <a:lnTo>
                      <a:pt x="9662811" y="5727124"/>
                    </a:lnTo>
                    <a:lnTo>
                      <a:pt x="9646695" y="5708671"/>
                    </a:lnTo>
                    <a:lnTo>
                      <a:pt x="9634481" y="5685121"/>
                    </a:lnTo>
                    <a:lnTo>
                      <a:pt x="9616563" y="5663193"/>
                    </a:lnTo>
                    <a:lnTo>
                      <a:pt x="9608991" y="5628510"/>
                    </a:lnTo>
                    <a:lnTo>
                      <a:pt x="9630637" y="5560497"/>
                    </a:lnTo>
                    <a:lnTo>
                      <a:pt x="9617921" y="5540778"/>
                    </a:lnTo>
                    <a:lnTo>
                      <a:pt x="9603767" y="5518758"/>
                    </a:lnTo>
                    <a:lnTo>
                      <a:pt x="9571118" y="5499870"/>
                    </a:lnTo>
                    <a:lnTo>
                      <a:pt x="9540391" y="5482288"/>
                    </a:lnTo>
                    <a:lnTo>
                      <a:pt x="9509664" y="5464706"/>
                    </a:lnTo>
                    <a:lnTo>
                      <a:pt x="9480351" y="5449089"/>
                    </a:lnTo>
                    <a:lnTo>
                      <a:pt x="9472838" y="5410041"/>
                    </a:lnTo>
                    <a:lnTo>
                      <a:pt x="9489972" y="5370841"/>
                    </a:lnTo>
                    <a:lnTo>
                      <a:pt x="9510464" y="5336745"/>
                    </a:lnTo>
                    <a:lnTo>
                      <a:pt x="9530962" y="5302656"/>
                    </a:lnTo>
                    <a:lnTo>
                      <a:pt x="9555184" y="5272669"/>
                    </a:lnTo>
                    <a:lnTo>
                      <a:pt x="9589551" y="5266318"/>
                    </a:lnTo>
                    <a:lnTo>
                      <a:pt x="9613152" y="5275491"/>
                    </a:lnTo>
                    <a:lnTo>
                      <a:pt x="9635610" y="5279620"/>
                    </a:lnTo>
                    <a:lnTo>
                      <a:pt x="9657357" y="5283082"/>
                    </a:lnTo>
                    <a:lnTo>
                      <a:pt x="9685663" y="5273197"/>
                    </a:lnTo>
                    <a:lnTo>
                      <a:pt x="9698518" y="5250912"/>
                    </a:lnTo>
                    <a:lnTo>
                      <a:pt x="9698174" y="5222488"/>
                    </a:lnTo>
                    <a:lnTo>
                      <a:pt x="9700087" y="5193860"/>
                    </a:lnTo>
                    <a:lnTo>
                      <a:pt x="9732178" y="5183044"/>
                    </a:lnTo>
                    <a:lnTo>
                      <a:pt x="9750880" y="5150505"/>
                    </a:lnTo>
                    <a:lnTo>
                      <a:pt x="9743104" y="5126776"/>
                    </a:lnTo>
                    <a:lnTo>
                      <a:pt x="9732178" y="5104149"/>
                    </a:lnTo>
                    <a:lnTo>
                      <a:pt x="9721251" y="5081523"/>
                    </a:lnTo>
                    <a:lnTo>
                      <a:pt x="9707850" y="5059555"/>
                    </a:lnTo>
                    <a:lnTo>
                      <a:pt x="9698174" y="5040225"/>
                    </a:lnTo>
                    <a:lnTo>
                      <a:pt x="9639941" y="5026745"/>
                    </a:lnTo>
                    <a:lnTo>
                      <a:pt x="9586642" y="5027979"/>
                    </a:lnTo>
                    <a:lnTo>
                      <a:pt x="9533334" y="5029212"/>
                    </a:lnTo>
                    <a:lnTo>
                      <a:pt x="9474488" y="5031737"/>
                    </a:lnTo>
                    <a:lnTo>
                      <a:pt x="9445175" y="5021179"/>
                    </a:lnTo>
                    <a:lnTo>
                      <a:pt x="9409112" y="5008187"/>
                    </a:lnTo>
                    <a:lnTo>
                      <a:pt x="9387554" y="4986153"/>
                    </a:lnTo>
                    <a:lnTo>
                      <a:pt x="9370361" y="4959972"/>
                    </a:lnTo>
                    <a:lnTo>
                      <a:pt x="9353174" y="4933790"/>
                    </a:lnTo>
                    <a:lnTo>
                      <a:pt x="9340195" y="4903875"/>
                    </a:lnTo>
                    <a:lnTo>
                      <a:pt x="9321393" y="4875636"/>
                    </a:lnTo>
                    <a:lnTo>
                      <a:pt x="9302619" y="4847430"/>
                    </a:lnTo>
                    <a:lnTo>
                      <a:pt x="9282636" y="4818933"/>
                    </a:lnTo>
                    <a:lnTo>
                      <a:pt x="9262910" y="4791307"/>
                    </a:lnTo>
                    <a:lnTo>
                      <a:pt x="9231545" y="4779944"/>
                    </a:lnTo>
                    <a:lnTo>
                      <a:pt x="9205035" y="4770969"/>
                    </a:lnTo>
                    <a:lnTo>
                      <a:pt x="9182658" y="4757304"/>
                    </a:lnTo>
                    <a:lnTo>
                      <a:pt x="9160287" y="4743632"/>
                    </a:lnTo>
                    <a:lnTo>
                      <a:pt x="9141538" y="4726334"/>
                    </a:lnTo>
                    <a:lnTo>
                      <a:pt x="9124168" y="4697455"/>
                    </a:lnTo>
                    <a:lnTo>
                      <a:pt x="9111757" y="4676813"/>
                    </a:lnTo>
                    <a:lnTo>
                      <a:pt x="9105893" y="4656283"/>
                    </a:lnTo>
                    <a:lnTo>
                      <a:pt x="9088806" y="4637606"/>
                    </a:lnTo>
                    <a:lnTo>
                      <a:pt x="9068296" y="4628400"/>
                    </a:lnTo>
                    <a:lnTo>
                      <a:pt x="9018668" y="4631176"/>
                    </a:lnTo>
                    <a:lnTo>
                      <a:pt x="8970466" y="4640323"/>
                    </a:lnTo>
                    <a:lnTo>
                      <a:pt x="8922271" y="4649471"/>
                    </a:lnTo>
                    <a:lnTo>
                      <a:pt x="8875520" y="4664870"/>
                    </a:lnTo>
                    <a:lnTo>
                      <a:pt x="8846734" y="4709965"/>
                    </a:lnTo>
                    <a:lnTo>
                      <a:pt x="8867620" y="4756064"/>
                    </a:lnTo>
                    <a:lnTo>
                      <a:pt x="8850768" y="4776344"/>
                    </a:lnTo>
                    <a:lnTo>
                      <a:pt x="8823563" y="4795383"/>
                    </a:lnTo>
                    <a:lnTo>
                      <a:pt x="8811325" y="4816743"/>
                    </a:lnTo>
                    <a:lnTo>
                      <a:pt x="8818382" y="4845669"/>
                    </a:lnTo>
                    <a:lnTo>
                      <a:pt x="8829005" y="4866113"/>
                    </a:lnTo>
                    <a:lnTo>
                      <a:pt x="8806371" y="4896846"/>
                    </a:lnTo>
                    <a:lnTo>
                      <a:pt x="8782202" y="4905603"/>
                    </a:lnTo>
                    <a:lnTo>
                      <a:pt x="8761000" y="4910998"/>
                    </a:lnTo>
                    <a:lnTo>
                      <a:pt x="8754681" y="4935993"/>
                    </a:lnTo>
                    <a:lnTo>
                      <a:pt x="8720103" y="4989636"/>
                    </a:lnTo>
                    <a:lnTo>
                      <a:pt x="8699785" y="5006216"/>
                    </a:lnTo>
                    <a:lnTo>
                      <a:pt x="8674493" y="5017763"/>
                    </a:lnTo>
                    <a:lnTo>
                      <a:pt x="8637720" y="5013225"/>
                    </a:lnTo>
                    <a:lnTo>
                      <a:pt x="8597776" y="5007574"/>
                    </a:lnTo>
                    <a:lnTo>
                      <a:pt x="8557825" y="5001922"/>
                    </a:lnTo>
                    <a:lnTo>
                      <a:pt x="8514317" y="4995360"/>
                    </a:lnTo>
                    <a:lnTo>
                      <a:pt x="8479429" y="5003498"/>
                    </a:lnTo>
                    <a:lnTo>
                      <a:pt x="8457648" y="5008576"/>
                    </a:lnTo>
                    <a:lnTo>
                      <a:pt x="8444337" y="5025076"/>
                    </a:lnTo>
                    <a:lnTo>
                      <a:pt x="8431829" y="5042942"/>
                    </a:lnTo>
                    <a:lnTo>
                      <a:pt x="8419318" y="5060808"/>
                    </a:lnTo>
                    <a:lnTo>
                      <a:pt x="8408153" y="5079511"/>
                    </a:lnTo>
                    <a:lnTo>
                      <a:pt x="8370041" y="5106194"/>
                    </a:lnTo>
                    <a:lnTo>
                      <a:pt x="8338635" y="5092338"/>
                    </a:lnTo>
                    <a:lnTo>
                      <a:pt x="8313489" y="5102791"/>
                    </a:lnTo>
                    <a:lnTo>
                      <a:pt x="8286688" y="5124257"/>
                    </a:lnTo>
                    <a:lnTo>
                      <a:pt x="8263105" y="5157687"/>
                    </a:lnTo>
                    <a:lnTo>
                      <a:pt x="8244117" y="5185761"/>
                    </a:lnTo>
                    <a:lnTo>
                      <a:pt x="8226384" y="5196953"/>
                    </a:lnTo>
                    <a:lnTo>
                      <a:pt x="8189717" y="5191202"/>
                    </a:lnTo>
                    <a:lnTo>
                      <a:pt x="8153583" y="5182207"/>
                    </a:lnTo>
                    <a:lnTo>
                      <a:pt x="8115067" y="5193399"/>
                    </a:lnTo>
                    <a:lnTo>
                      <a:pt x="8098364" y="5228529"/>
                    </a:lnTo>
                    <a:lnTo>
                      <a:pt x="8065935" y="5238818"/>
                    </a:lnTo>
                    <a:lnTo>
                      <a:pt x="8035072" y="5233588"/>
                    </a:lnTo>
                    <a:lnTo>
                      <a:pt x="8001068" y="5229769"/>
                    </a:lnTo>
                    <a:lnTo>
                      <a:pt x="7970719" y="5222495"/>
                    </a:lnTo>
                    <a:lnTo>
                      <a:pt x="7916639" y="5204762"/>
                    </a:lnTo>
                    <a:lnTo>
                      <a:pt x="7875506" y="5195291"/>
                    </a:lnTo>
                    <a:lnTo>
                      <a:pt x="7854937" y="5190556"/>
                    </a:lnTo>
                    <a:lnTo>
                      <a:pt x="7833828" y="5187707"/>
                    </a:lnTo>
                    <a:lnTo>
                      <a:pt x="7800209" y="5186533"/>
                    </a:lnTo>
                    <a:lnTo>
                      <a:pt x="7781655" y="5196650"/>
                    </a:lnTo>
                    <a:lnTo>
                      <a:pt x="7759371" y="5224388"/>
                    </a:lnTo>
                    <a:lnTo>
                      <a:pt x="7737168" y="5253412"/>
                    </a:lnTo>
                    <a:lnTo>
                      <a:pt x="7710924" y="5272821"/>
                    </a:lnTo>
                    <a:lnTo>
                      <a:pt x="7683372" y="5290179"/>
                    </a:lnTo>
                    <a:lnTo>
                      <a:pt x="7651412" y="5296272"/>
                    </a:lnTo>
                    <a:lnTo>
                      <a:pt x="7614344" y="5287784"/>
                    </a:lnTo>
                    <a:lnTo>
                      <a:pt x="7576390" y="5268785"/>
                    </a:lnTo>
                    <a:lnTo>
                      <a:pt x="7522325" y="5249462"/>
                    </a:lnTo>
                    <a:lnTo>
                      <a:pt x="7484898" y="5241218"/>
                    </a:lnTo>
                    <a:lnTo>
                      <a:pt x="7449762" y="5229294"/>
                    </a:lnTo>
                    <a:lnTo>
                      <a:pt x="7409380" y="5215583"/>
                    </a:lnTo>
                    <a:lnTo>
                      <a:pt x="7371618" y="5197415"/>
                    </a:lnTo>
                    <a:lnTo>
                      <a:pt x="7330064" y="5185768"/>
                    </a:lnTo>
                    <a:lnTo>
                      <a:pt x="7305709" y="5214904"/>
                    </a:lnTo>
                    <a:lnTo>
                      <a:pt x="7265525" y="5243988"/>
                    </a:lnTo>
                    <a:lnTo>
                      <a:pt x="7245511" y="5250708"/>
                    </a:lnTo>
                    <a:lnTo>
                      <a:pt x="7213314" y="5248690"/>
                    </a:lnTo>
                    <a:lnTo>
                      <a:pt x="7191325" y="5229294"/>
                    </a:lnTo>
                    <a:lnTo>
                      <a:pt x="7172498" y="5205058"/>
                    </a:lnTo>
                    <a:lnTo>
                      <a:pt x="7153023" y="5185524"/>
                    </a:lnTo>
                    <a:lnTo>
                      <a:pt x="7127394" y="5181686"/>
                    </a:lnTo>
                    <a:lnTo>
                      <a:pt x="7085676" y="5200943"/>
                    </a:lnTo>
                    <a:lnTo>
                      <a:pt x="7055352" y="5187944"/>
                    </a:lnTo>
                    <a:lnTo>
                      <a:pt x="7037170" y="5173535"/>
                    </a:lnTo>
                    <a:lnTo>
                      <a:pt x="7021304" y="5157206"/>
                    </a:lnTo>
                    <a:lnTo>
                      <a:pt x="7005429" y="5140870"/>
                    </a:lnTo>
                    <a:lnTo>
                      <a:pt x="6992608" y="5121890"/>
                    </a:lnTo>
                    <a:lnTo>
                      <a:pt x="6991653" y="5085644"/>
                    </a:lnTo>
                    <a:lnTo>
                      <a:pt x="7010719" y="4994233"/>
                    </a:lnTo>
                    <a:lnTo>
                      <a:pt x="6998180" y="4976300"/>
                    </a:lnTo>
                    <a:lnTo>
                      <a:pt x="6958862" y="4957571"/>
                    </a:lnTo>
                    <a:lnTo>
                      <a:pt x="6912759" y="4967562"/>
                    </a:lnTo>
                    <a:lnTo>
                      <a:pt x="6890723" y="4984459"/>
                    </a:lnTo>
                    <a:lnTo>
                      <a:pt x="6858186" y="4982289"/>
                    </a:lnTo>
                    <a:lnTo>
                      <a:pt x="6802946" y="4923463"/>
                    </a:lnTo>
                    <a:lnTo>
                      <a:pt x="6754235" y="4872583"/>
                    </a:lnTo>
                    <a:lnTo>
                      <a:pt x="6701656" y="4825317"/>
                    </a:lnTo>
                    <a:lnTo>
                      <a:pt x="6712195" y="4733569"/>
                    </a:lnTo>
                    <a:lnTo>
                      <a:pt x="6737018" y="4715143"/>
                    </a:lnTo>
                    <a:lnTo>
                      <a:pt x="6781697" y="4728577"/>
                    </a:lnTo>
                    <a:lnTo>
                      <a:pt x="6807686" y="4709023"/>
                    </a:lnTo>
                    <a:lnTo>
                      <a:pt x="6818101" y="4689983"/>
                    </a:lnTo>
                    <a:lnTo>
                      <a:pt x="6847606" y="4627009"/>
                    </a:lnTo>
                    <a:lnTo>
                      <a:pt x="6853141" y="4595359"/>
                    </a:lnTo>
                    <a:lnTo>
                      <a:pt x="6849913" y="4562800"/>
                    </a:lnTo>
                    <a:lnTo>
                      <a:pt x="6846698" y="4530248"/>
                    </a:lnTo>
                    <a:lnTo>
                      <a:pt x="6835551" y="4496910"/>
                    </a:lnTo>
                    <a:lnTo>
                      <a:pt x="6822712" y="4447185"/>
                    </a:lnTo>
                    <a:lnTo>
                      <a:pt x="6812567" y="4407913"/>
                    </a:lnTo>
                    <a:lnTo>
                      <a:pt x="6782606" y="4357198"/>
                    </a:lnTo>
                    <a:lnTo>
                      <a:pt x="6751981" y="4330211"/>
                    </a:lnTo>
                    <a:lnTo>
                      <a:pt x="6728773" y="4309721"/>
                    </a:lnTo>
                    <a:lnTo>
                      <a:pt x="6643020" y="4248448"/>
                    </a:lnTo>
                    <a:lnTo>
                      <a:pt x="6628200" y="4225471"/>
                    </a:lnTo>
                    <a:lnTo>
                      <a:pt x="6649160" y="4152934"/>
                    </a:lnTo>
                    <a:lnTo>
                      <a:pt x="6623834" y="4130524"/>
                    </a:lnTo>
                    <a:lnTo>
                      <a:pt x="6602381" y="4128796"/>
                    </a:lnTo>
                    <a:lnTo>
                      <a:pt x="6580599" y="4130261"/>
                    </a:lnTo>
                    <a:lnTo>
                      <a:pt x="6558809" y="4131725"/>
                    </a:lnTo>
                    <a:lnTo>
                      <a:pt x="6536531" y="4135279"/>
                    </a:lnTo>
                    <a:lnTo>
                      <a:pt x="6496803" y="4136163"/>
                    </a:lnTo>
                    <a:lnTo>
                      <a:pt x="6470423" y="4120737"/>
                    </a:lnTo>
                    <a:lnTo>
                      <a:pt x="6458315" y="4086959"/>
                    </a:lnTo>
                    <a:lnTo>
                      <a:pt x="6467707" y="4050007"/>
                    </a:lnTo>
                    <a:lnTo>
                      <a:pt x="6473254" y="4028132"/>
                    </a:lnTo>
                    <a:lnTo>
                      <a:pt x="6500794" y="4001297"/>
                    </a:lnTo>
                    <a:lnTo>
                      <a:pt x="6433697" y="3961596"/>
                    </a:lnTo>
                    <a:lnTo>
                      <a:pt x="6421307" y="3939536"/>
                    </a:lnTo>
                    <a:lnTo>
                      <a:pt x="6424516" y="3917898"/>
                    </a:lnTo>
                    <a:lnTo>
                      <a:pt x="6426897" y="3890865"/>
                    </a:lnTo>
                    <a:lnTo>
                      <a:pt x="6363540" y="3865171"/>
                    </a:lnTo>
                    <a:lnTo>
                      <a:pt x="6319059" y="3880089"/>
                    </a:lnTo>
                    <a:lnTo>
                      <a:pt x="6301060" y="3907775"/>
                    </a:lnTo>
                    <a:lnTo>
                      <a:pt x="6277278" y="3920786"/>
                    </a:lnTo>
                    <a:lnTo>
                      <a:pt x="6254796" y="3933086"/>
                    </a:lnTo>
                    <a:lnTo>
                      <a:pt x="6227396" y="3937366"/>
                    </a:lnTo>
                    <a:lnTo>
                      <a:pt x="6198384" y="3938474"/>
                    </a:lnTo>
                    <a:lnTo>
                      <a:pt x="6169375" y="3939582"/>
                    </a:lnTo>
                    <a:lnTo>
                      <a:pt x="6139426" y="3937069"/>
                    </a:lnTo>
                    <a:lnTo>
                      <a:pt x="6108616" y="3933027"/>
                    </a:lnTo>
                    <a:lnTo>
                      <a:pt x="6046979" y="3924961"/>
                    </a:lnTo>
                    <a:lnTo>
                      <a:pt x="5985823" y="3913110"/>
                    </a:lnTo>
                    <a:lnTo>
                      <a:pt x="5945392" y="3920786"/>
                    </a:lnTo>
                    <a:lnTo>
                      <a:pt x="5918386" y="3925917"/>
                    </a:lnTo>
                    <a:lnTo>
                      <a:pt x="5896682" y="3944482"/>
                    </a:lnTo>
                    <a:lnTo>
                      <a:pt x="5874655" y="3965671"/>
                    </a:lnTo>
                    <a:lnTo>
                      <a:pt x="5852635" y="3986868"/>
                    </a:lnTo>
                    <a:lnTo>
                      <a:pt x="5830568" y="4010550"/>
                    </a:lnTo>
                    <a:lnTo>
                      <a:pt x="5802566" y="4021445"/>
                    </a:lnTo>
                    <a:lnTo>
                      <a:pt x="5784871" y="4007259"/>
                    </a:lnTo>
                    <a:lnTo>
                      <a:pt x="5743454" y="3978209"/>
                    </a:lnTo>
                    <a:lnTo>
                      <a:pt x="5700554" y="3958872"/>
                    </a:lnTo>
                    <a:lnTo>
                      <a:pt x="5679101" y="3949204"/>
                    </a:lnTo>
                    <a:lnTo>
                      <a:pt x="5657074" y="3941910"/>
                    </a:lnTo>
                    <a:lnTo>
                      <a:pt x="5618891" y="3937755"/>
                    </a:lnTo>
                    <a:lnTo>
                      <a:pt x="5591733" y="3952073"/>
                    </a:lnTo>
                    <a:lnTo>
                      <a:pt x="5577067" y="3992698"/>
                    </a:lnTo>
                    <a:lnTo>
                      <a:pt x="5563170" y="4013280"/>
                    </a:lnTo>
                    <a:lnTo>
                      <a:pt x="5549273" y="4033863"/>
                    </a:lnTo>
                    <a:lnTo>
                      <a:pt x="5532208" y="4050423"/>
                    </a:lnTo>
                    <a:lnTo>
                      <a:pt x="5496259" y="4048398"/>
                    </a:lnTo>
                    <a:lnTo>
                      <a:pt x="5473399" y="4029602"/>
                    </a:lnTo>
                    <a:lnTo>
                      <a:pt x="5455930" y="4004548"/>
                    </a:lnTo>
                    <a:lnTo>
                      <a:pt x="5439178" y="3975768"/>
                    </a:lnTo>
                    <a:lnTo>
                      <a:pt x="5418993" y="3947990"/>
                    </a:lnTo>
                    <a:lnTo>
                      <a:pt x="5393128" y="3922699"/>
                    </a:lnTo>
                    <a:lnTo>
                      <a:pt x="5353220" y="3907273"/>
                    </a:lnTo>
                    <a:lnTo>
                      <a:pt x="5316974" y="3911270"/>
                    </a:lnTo>
                    <a:lnTo>
                      <a:pt x="5282530" y="3923787"/>
                    </a:lnTo>
                    <a:lnTo>
                      <a:pt x="5250761" y="3939562"/>
                    </a:lnTo>
                    <a:lnTo>
                      <a:pt x="5220400" y="3950721"/>
                    </a:lnTo>
                    <a:lnTo>
                      <a:pt x="5187385" y="3954164"/>
                    </a:lnTo>
                    <a:lnTo>
                      <a:pt x="5166097" y="3942095"/>
                    </a:lnTo>
                    <a:lnTo>
                      <a:pt x="5153942" y="3921492"/>
                    </a:lnTo>
                    <a:lnTo>
                      <a:pt x="5149980" y="3898179"/>
                    </a:lnTo>
                    <a:lnTo>
                      <a:pt x="5162627" y="3871925"/>
                    </a:lnTo>
                    <a:lnTo>
                      <a:pt x="5178232" y="3845980"/>
                    </a:lnTo>
                    <a:lnTo>
                      <a:pt x="5193841" y="3820043"/>
                    </a:lnTo>
                    <a:lnTo>
                      <a:pt x="5212268" y="3795628"/>
                    </a:lnTo>
                    <a:lnTo>
                      <a:pt x="5232626" y="3758235"/>
                    </a:lnTo>
                    <a:lnTo>
                      <a:pt x="5243059" y="3730873"/>
                    </a:lnTo>
                    <a:lnTo>
                      <a:pt x="5253043" y="3707244"/>
                    </a:lnTo>
                    <a:lnTo>
                      <a:pt x="5276654" y="3651305"/>
                    </a:lnTo>
                    <a:lnTo>
                      <a:pt x="5287754" y="3596792"/>
                    </a:lnTo>
                    <a:lnTo>
                      <a:pt x="5296572" y="3537214"/>
                    </a:lnTo>
                    <a:lnTo>
                      <a:pt x="5310448" y="3480260"/>
                    </a:lnTo>
                    <a:lnTo>
                      <a:pt x="5299078" y="3438218"/>
                    </a:lnTo>
                    <a:lnTo>
                      <a:pt x="5255769" y="3412076"/>
                    </a:lnTo>
                    <a:lnTo>
                      <a:pt x="5218047" y="3385854"/>
                    </a:lnTo>
                    <a:lnTo>
                      <a:pt x="5177063" y="3352293"/>
                    </a:lnTo>
                    <a:lnTo>
                      <a:pt x="5134706" y="3333187"/>
                    </a:lnTo>
                    <a:lnTo>
                      <a:pt x="5102200" y="3318520"/>
                    </a:lnTo>
                    <a:lnTo>
                      <a:pt x="5042786" y="3305040"/>
                    </a:lnTo>
                    <a:lnTo>
                      <a:pt x="4987804" y="3288303"/>
                    </a:lnTo>
                    <a:lnTo>
                      <a:pt x="4960317" y="3279926"/>
                    </a:lnTo>
                    <a:lnTo>
                      <a:pt x="4934808" y="3270331"/>
                    </a:lnTo>
                    <a:lnTo>
                      <a:pt x="4912999" y="3259740"/>
                    </a:lnTo>
                    <a:lnTo>
                      <a:pt x="4891189" y="3249141"/>
                    </a:lnTo>
                    <a:lnTo>
                      <a:pt x="4865389" y="3224372"/>
                    </a:lnTo>
                    <a:lnTo>
                      <a:pt x="4851744" y="3202258"/>
                    </a:lnTo>
                    <a:lnTo>
                      <a:pt x="4849549" y="3172093"/>
                    </a:lnTo>
                    <a:lnTo>
                      <a:pt x="4853148" y="3138677"/>
                    </a:lnTo>
                    <a:lnTo>
                      <a:pt x="4856751" y="3105261"/>
                    </a:lnTo>
                    <a:lnTo>
                      <a:pt x="4865746" y="3068363"/>
                    </a:lnTo>
                    <a:lnTo>
                      <a:pt x="4874911" y="3028503"/>
                    </a:lnTo>
                    <a:lnTo>
                      <a:pt x="4884074" y="2988643"/>
                    </a:lnTo>
                    <a:lnTo>
                      <a:pt x="4893630" y="2946165"/>
                    </a:lnTo>
                    <a:lnTo>
                      <a:pt x="4896674" y="2904723"/>
                    </a:lnTo>
                    <a:lnTo>
                      <a:pt x="4899722" y="2863287"/>
                    </a:lnTo>
                    <a:lnTo>
                      <a:pt x="4896479" y="2823190"/>
                    </a:lnTo>
                    <a:lnTo>
                      <a:pt x="4881711" y="2785026"/>
                    </a:lnTo>
                    <a:lnTo>
                      <a:pt x="4871253" y="2757973"/>
                    </a:lnTo>
                    <a:lnTo>
                      <a:pt x="4857588" y="2739270"/>
                    </a:lnTo>
                    <a:lnTo>
                      <a:pt x="4842268" y="2723818"/>
                    </a:lnTo>
                    <a:lnTo>
                      <a:pt x="4826948" y="2708366"/>
                    </a:lnTo>
                    <a:lnTo>
                      <a:pt x="4809346" y="2695420"/>
                    </a:lnTo>
                    <a:lnTo>
                      <a:pt x="4790579" y="2676210"/>
                    </a:lnTo>
                    <a:lnTo>
                      <a:pt x="4771228" y="2650852"/>
                    </a:lnTo>
                    <a:lnTo>
                      <a:pt x="4747359" y="2628120"/>
                    </a:lnTo>
                    <a:lnTo>
                      <a:pt x="4715764" y="2623160"/>
                    </a:lnTo>
                    <a:lnTo>
                      <a:pt x="4684160" y="2628812"/>
                    </a:lnTo>
                    <a:lnTo>
                      <a:pt x="4651985" y="2649071"/>
                    </a:lnTo>
                    <a:lnTo>
                      <a:pt x="4619197" y="2642206"/>
                    </a:lnTo>
                    <a:lnTo>
                      <a:pt x="4589372" y="2625864"/>
                    </a:lnTo>
                    <a:lnTo>
                      <a:pt x="4567398" y="2595976"/>
                    </a:lnTo>
                    <a:lnTo>
                      <a:pt x="4544383" y="2568759"/>
                    </a:lnTo>
                    <a:lnTo>
                      <a:pt x="4500857" y="2560469"/>
                    </a:lnTo>
                    <a:lnTo>
                      <a:pt x="4445090" y="2635407"/>
                    </a:lnTo>
                    <a:lnTo>
                      <a:pt x="4396162" y="2627097"/>
                    </a:lnTo>
                    <a:lnTo>
                      <a:pt x="4366629" y="2589717"/>
                    </a:lnTo>
                    <a:lnTo>
                      <a:pt x="4358425" y="2529928"/>
                    </a:lnTo>
                    <a:lnTo>
                      <a:pt x="4353954" y="2468107"/>
                    </a:lnTo>
                    <a:lnTo>
                      <a:pt x="4349483" y="2406280"/>
                    </a:lnTo>
                    <a:lnTo>
                      <a:pt x="4349399" y="2342198"/>
                    </a:lnTo>
                    <a:lnTo>
                      <a:pt x="4351238" y="2304884"/>
                    </a:lnTo>
                    <a:lnTo>
                      <a:pt x="4353539" y="2258290"/>
                    </a:lnTo>
                    <a:lnTo>
                      <a:pt x="4353356" y="2209528"/>
                    </a:lnTo>
                    <a:lnTo>
                      <a:pt x="4355312" y="2160699"/>
                    </a:lnTo>
                    <a:lnTo>
                      <a:pt x="4357278" y="2111871"/>
                    </a:lnTo>
                    <a:lnTo>
                      <a:pt x="4361327" y="2063583"/>
                    </a:lnTo>
                    <a:lnTo>
                      <a:pt x="4371637" y="2017880"/>
                    </a:lnTo>
                    <a:lnTo>
                      <a:pt x="4392125" y="1927022"/>
                    </a:lnTo>
                    <a:lnTo>
                      <a:pt x="4414983" y="1866079"/>
                    </a:lnTo>
                    <a:lnTo>
                      <a:pt x="4426043" y="1805689"/>
                    </a:lnTo>
                    <a:lnTo>
                      <a:pt x="4431571" y="1775491"/>
                    </a:lnTo>
                    <a:lnTo>
                      <a:pt x="4433642" y="1745312"/>
                    </a:lnTo>
                    <a:lnTo>
                      <a:pt x="4431484" y="1711834"/>
                    </a:lnTo>
                    <a:lnTo>
                      <a:pt x="4429329" y="1678353"/>
                    </a:lnTo>
                    <a:lnTo>
                      <a:pt x="4423116" y="1641609"/>
                    </a:lnTo>
                    <a:lnTo>
                      <a:pt x="4409721" y="1597577"/>
                    </a:lnTo>
                    <a:lnTo>
                      <a:pt x="4399843" y="1560400"/>
                    </a:lnTo>
                    <a:lnTo>
                      <a:pt x="4393400" y="1540448"/>
                    </a:lnTo>
                    <a:lnTo>
                      <a:pt x="4386957" y="1520498"/>
                    </a:lnTo>
                    <a:lnTo>
                      <a:pt x="4367553" y="1488761"/>
                    </a:lnTo>
                    <a:lnTo>
                      <a:pt x="4372877" y="1468337"/>
                    </a:lnTo>
                    <a:lnTo>
                      <a:pt x="4394758" y="1457476"/>
                    </a:lnTo>
                    <a:lnTo>
                      <a:pt x="4421355" y="1456922"/>
                    </a:lnTo>
                    <a:lnTo>
                      <a:pt x="4452497" y="1463474"/>
                    </a:lnTo>
                    <a:lnTo>
                      <a:pt x="4484535" y="1465638"/>
                    </a:lnTo>
                    <a:lnTo>
                      <a:pt x="4514977" y="1457306"/>
                    </a:lnTo>
                    <a:lnTo>
                      <a:pt x="4526703" y="1439794"/>
                    </a:lnTo>
                    <a:lnTo>
                      <a:pt x="4528061" y="1418031"/>
                    </a:lnTo>
                    <a:lnTo>
                      <a:pt x="4515814" y="1397628"/>
                    </a:lnTo>
                    <a:lnTo>
                      <a:pt x="4506292" y="1371784"/>
                    </a:lnTo>
                    <a:lnTo>
                      <a:pt x="4499492" y="1345940"/>
                    </a:lnTo>
                    <a:lnTo>
                      <a:pt x="4498131" y="1324177"/>
                    </a:lnTo>
                    <a:lnTo>
                      <a:pt x="4468679" y="1304917"/>
                    </a:lnTo>
                    <a:lnTo>
                      <a:pt x="4454825" y="1270034"/>
                    </a:lnTo>
                    <a:lnTo>
                      <a:pt x="4428762" y="1260247"/>
                    </a:lnTo>
                    <a:lnTo>
                      <a:pt x="4375546" y="1240313"/>
                    </a:lnTo>
                    <a:lnTo>
                      <a:pt x="4297331" y="1273127"/>
                    </a:lnTo>
                    <a:lnTo>
                      <a:pt x="4253297" y="1235764"/>
                    </a:lnTo>
                    <a:lnTo>
                      <a:pt x="4216490" y="1204501"/>
                    </a:lnTo>
                    <a:lnTo>
                      <a:pt x="4255145" y="1128053"/>
                    </a:lnTo>
                    <a:lnTo>
                      <a:pt x="4183924" y="1092943"/>
                    </a:lnTo>
                    <a:lnTo>
                      <a:pt x="4126247" y="1064507"/>
                    </a:lnTo>
                    <a:lnTo>
                      <a:pt x="4063463" y="1099701"/>
                    </a:lnTo>
                    <a:lnTo>
                      <a:pt x="4005743" y="1084782"/>
                    </a:lnTo>
                    <a:lnTo>
                      <a:pt x="3979602" y="1078023"/>
                    </a:lnTo>
                    <a:lnTo>
                      <a:pt x="3953374" y="1066228"/>
                    </a:lnTo>
                    <a:lnTo>
                      <a:pt x="3930932" y="1050777"/>
                    </a:lnTo>
                    <a:lnTo>
                      <a:pt x="3757590" y="858011"/>
                    </a:lnTo>
                    <a:lnTo>
                      <a:pt x="3746958" y="816610"/>
                    </a:lnTo>
                    <a:lnTo>
                      <a:pt x="3775484" y="805261"/>
                    </a:lnTo>
                    <a:lnTo>
                      <a:pt x="3792187" y="792339"/>
                    </a:lnTo>
                    <a:lnTo>
                      <a:pt x="3796521" y="552370"/>
                    </a:lnTo>
                    <a:lnTo>
                      <a:pt x="3790829" y="524379"/>
                    </a:lnTo>
                    <a:lnTo>
                      <a:pt x="3752388" y="486592"/>
                    </a:lnTo>
                    <a:lnTo>
                      <a:pt x="3666225" y="457114"/>
                    </a:lnTo>
                    <a:lnTo>
                      <a:pt x="3616731" y="433247"/>
                    </a:lnTo>
                    <a:lnTo>
                      <a:pt x="3569946" y="410697"/>
                    </a:lnTo>
                    <a:lnTo>
                      <a:pt x="3497923" y="348404"/>
                    </a:lnTo>
                    <a:lnTo>
                      <a:pt x="3463022" y="306749"/>
                    </a:lnTo>
                    <a:lnTo>
                      <a:pt x="3438267" y="281946"/>
                    </a:lnTo>
                    <a:lnTo>
                      <a:pt x="3404920" y="229132"/>
                    </a:lnTo>
                    <a:lnTo>
                      <a:pt x="3380389" y="182779"/>
                    </a:lnTo>
                    <a:lnTo>
                      <a:pt x="3348766" y="150325"/>
                    </a:lnTo>
                    <a:lnTo>
                      <a:pt x="3273657" y="73241"/>
                    </a:lnTo>
                    <a:lnTo>
                      <a:pt x="3154216" y="52795"/>
                    </a:lnTo>
                    <a:lnTo>
                      <a:pt x="3050880" y="63273"/>
                    </a:lnTo>
                    <a:lnTo>
                      <a:pt x="2995668" y="68862"/>
                    </a:lnTo>
                    <a:lnTo>
                      <a:pt x="2940264" y="82252"/>
                    </a:lnTo>
                    <a:lnTo>
                      <a:pt x="2884940" y="83676"/>
                    </a:lnTo>
                    <a:lnTo>
                      <a:pt x="2782503" y="86331"/>
                    </a:lnTo>
                    <a:lnTo>
                      <a:pt x="2675684" y="67013"/>
                    </a:lnTo>
                    <a:lnTo>
                      <a:pt x="2572097" y="90476"/>
                    </a:lnTo>
                    <a:lnTo>
                      <a:pt x="2450631" y="98064"/>
                    </a:lnTo>
                    <a:lnTo>
                      <a:pt x="2413589" y="171557"/>
                    </a:lnTo>
                    <a:lnTo>
                      <a:pt x="2339503" y="250980"/>
                    </a:lnTo>
                    <a:lnTo>
                      <a:pt x="2280121" y="235359"/>
                    </a:lnTo>
                    <a:lnTo>
                      <a:pt x="2302135" y="196083"/>
                    </a:lnTo>
                    <a:lnTo>
                      <a:pt x="2261967" y="169368"/>
                    </a:lnTo>
                    <a:lnTo>
                      <a:pt x="2154984" y="168689"/>
                    </a:lnTo>
                    <a:lnTo>
                      <a:pt x="2145013" y="318437"/>
                    </a:lnTo>
                    <a:lnTo>
                      <a:pt x="2086502" y="348914"/>
                    </a:lnTo>
                    <a:lnTo>
                      <a:pt x="2025907" y="380454"/>
                    </a:lnTo>
                    <a:lnTo>
                      <a:pt x="2014968" y="329192"/>
                    </a:lnTo>
                    <a:lnTo>
                      <a:pt x="1943683" y="323070"/>
                    </a:lnTo>
                    <a:lnTo>
                      <a:pt x="1921814" y="321198"/>
                    </a:lnTo>
                    <a:lnTo>
                      <a:pt x="1896120" y="318204"/>
                    </a:lnTo>
                    <a:lnTo>
                      <a:pt x="1874310" y="320350"/>
                    </a:lnTo>
                    <a:lnTo>
                      <a:pt x="1789810" y="328703"/>
                    </a:lnTo>
                    <a:lnTo>
                      <a:pt x="1692746" y="372463"/>
                    </a:lnTo>
                    <a:lnTo>
                      <a:pt x="1651238" y="261862"/>
                    </a:lnTo>
                    <a:lnTo>
                      <a:pt x="1640020" y="231980"/>
                    </a:lnTo>
                    <a:lnTo>
                      <a:pt x="1642994" y="198102"/>
                    </a:lnTo>
                    <a:lnTo>
                      <a:pt x="1632198" y="169368"/>
                    </a:lnTo>
                    <a:lnTo>
                      <a:pt x="1583673" y="61572"/>
                    </a:lnTo>
                    <a:lnTo>
                      <a:pt x="1528117" y="0"/>
                    </a:lnTo>
                    <a:lnTo>
                      <a:pt x="1407061" y="37577"/>
                    </a:lnTo>
                    <a:lnTo>
                      <a:pt x="1341112" y="53754"/>
                    </a:lnTo>
                    <a:lnTo>
                      <a:pt x="1320716" y="58748"/>
                    </a:lnTo>
                    <a:lnTo>
                      <a:pt x="1260630" y="67887"/>
                    </a:lnTo>
                    <a:lnTo>
                      <a:pt x="1232278" y="87823"/>
                    </a:lnTo>
                    <a:lnTo>
                      <a:pt x="1208831" y="120339"/>
                    </a:lnTo>
                    <a:lnTo>
                      <a:pt x="1180613" y="174535"/>
                    </a:lnTo>
                    <a:lnTo>
                      <a:pt x="1187260" y="247220"/>
                    </a:lnTo>
                    <a:lnTo>
                      <a:pt x="1150686" y="272745"/>
                    </a:lnTo>
                    <a:lnTo>
                      <a:pt x="1071730" y="327812"/>
                    </a:lnTo>
                    <a:lnTo>
                      <a:pt x="961386" y="220548"/>
                    </a:lnTo>
                    <a:lnTo>
                      <a:pt x="903132" y="270025"/>
                    </a:lnTo>
                    <a:lnTo>
                      <a:pt x="885828" y="289387"/>
                    </a:lnTo>
                    <a:lnTo>
                      <a:pt x="869512" y="328152"/>
                    </a:lnTo>
                    <a:lnTo>
                      <a:pt x="870337" y="359564"/>
                    </a:lnTo>
                    <a:lnTo>
                      <a:pt x="862322" y="388362"/>
                    </a:lnTo>
                    <a:lnTo>
                      <a:pt x="850723" y="429912"/>
                    </a:lnTo>
                    <a:lnTo>
                      <a:pt x="798565" y="589034"/>
                    </a:lnTo>
                    <a:lnTo>
                      <a:pt x="760313" y="603274"/>
                    </a:lnTo>
                    <a:lnTo>
                      <a:pt x="708747" y="622465"/>
                    </a:lnTo>
                    <a:lnTo>
                      <a:pt x="633981" y="529484"/>
                    </a:lnTo>
                    <a:lnTo>
                      <a:pt x="546757" y="532543"/>
                    </a:lnTo>
                    <a:lnTo>
                      <a:pt x="383058" y="538288"/>
                    </a:lnTo>
                    <a:lnTo>
                      <a:pt x="357621" y="644544"/>
                    </a:lnTo>
                    <a:lnTo>
                      <a:pt x="301921" y="679445"/>
                    </a:lnTo>
                    <a:lnTo>
                      <a:pt x="316213" y="703213"/>
                    </a:lnTo>
                    <a:lnTo>
                      <a:pt x="339314" y="746707"/>
                    </a:lnTo>
                    <a:lnTo>
                      <a:pt x="365852" y="754256"/>
                    </a:lnTo>
                    <a:lnTo>
                      <a:pt x="400429" y="731833"/>
                    </a:lnTo>
                    <a:lnTo>
                      <a:pt x="422977" y="718890"/>
                    </a:lnTo>
                    <a:lnTo>
                      <a:pt x="439715" y="732896"/>
                    </a:lnTo>
                    <a:lnTo>
                      <a:pt x="445214" y="767324"/>
                    </a:lnTo>
                    <a:lnTo>
                      <a:pt x="444746" y="803223"/>
                    </a:lnTo>
                    <a:lnTo>
                      <a:pt x="444278" y="839123"/>
                    </a:lnTo>
                    <a:lnTo>
                      <a:pt x="438449" y="875409"/>
                    </a:lnTo>
                    <a:lnTo>
                      <a:pt x="432460" y="931889"/>
                    </a:lnTo>
                    <a:lnTo>
                      <a:pt x="438218" y="965958"/>
                    </a:lnTo>
                    <a:lnTo>
                      <a:pt x="439300" y="1004533"/>
                    </a:lnTo>
                    <a:lnTo>
                      <a:pt x="440123" y="1033543"/>
                    </a:lnTo>
                    <a:lnTo>
                      <a:pt x="422535" y="1075202"/>
                    </a:lnTo>
                    <a:lnTo>
                      <a:pt x="410737" y="1099746"/>
                    </a:lnTo>
                    <a:lnTo>
                      <a:pt x="382813" y="1157813"/>
                    </a:lnTo>
                    <a:lnTo>
                      <a:pt x="358874" y="1193722"/>
                    </a:lnTo>
                    <a:lnTo>
                      <a:pt x="329125" y="1223524"/>
                    </a:lnTo>
                    <a:lnTo>
                      <a:pt x="299369" y="1253327"/>
                    </a:lnTo>
                    <a:lnTo>
                      <a:pt x="263077" y="1277780"/>
                    </a:lnTo>
                    <a:lnTo>
                      <a:pt x="210787" y="1314658"/>
                    </a:lnTo>
                    <a:lnTo>
                      <a:pt x="177066" y="1338438"/>
                    </a:lnTo>
                    <a:lnTo>
                      <a:pt x="148305" y="1355660"/>
                    </a:lnTo>
                    <a:lnTo>
                      <a:pt x="116934" y="1366346"/>
                    </a:lnTo>
                    <a:lnTo>
                      <a:pt x="85562" y="1377030"/>
                    </a:lnTo>
                    <a:lnTo>
                      <a:pt x="51434" y="1381052"/>
                    </a:lnTo>
                    <a:lnTo>
                      <a:pt x="9477" y="1375867"/>
                    </a:lnTo>
                    <a:lnTo>
                      <a:pt x="0" y="1411821"/>
                    </a:lnTo>
                    <a:lnTo>
                      <a:pt x="33858" y="1475643"/>
                    </a:lnTo>
                    <a:lnTo>
                      <a:pt x="40763" y="1509160"/>
                    </a:lnTo>
                    <a:lnTo>
                      <a:pt x="54289" y="1553005"/>
                    </a:lnTo>
                    <a:lnTo>
                      <a:pt x="75748" y="1600081"/>
                    </a:lnTo>
                    <a:lnTo>
                      <a:pt x="81571" y="1637019"/>
                    </a:lnTo>
                    <a:lnTo>
                      <a:pt x="88695" y="1682097"/>
                    </a:lnTo>
                    <a:lnTo>
                      <a:pt x="90007" y="1731443"/>
                    </a:lnTo>
                    <a:lnTo>
                      <a:pt x="93819" y="1777120"/>
                    </a:lnTo>
                    <a:lnTo>
                      <a:pt x="96628" y="1810839"/>
                    </a:lnTo>
                    <a:lnTo>
                      <a:pt x="105730" y="1862787"/>
                    </a:lnTo>
                    <a:lnTo>
                      <a:pt x="118299" y="1914498"/>
                    </a:lnTo>
                    <a:lnTo>
                      <a:pt x="130869" y="1966209"/>
                    </a:lnTo>
                    <a:lnTo>
                      <a:pt x="146209" y="2018137"/>
                    </a:lnTo>
                    <a:lnTo>
                      <a:pt x="163183" y="2049160"/>
                    </a:lnTo>
                    <a:lnTo>
                      <a:pt x="253324" y="1914841"/>
                    </a:lnTo>
                    <a:lnTo>
                      <a:pt x="265200" y="1895459"/>
                    </a:lnTo>
                    <a:lnTo>
                      <a:pt x="320737" y="1897338"/>
                    </a:lnTo>
                    <a:lnTo>
                      <a:pt x="380525" y="1931724"/>
                    </a:lnTo>
                    <a:lnTo>
                      <a:pt x="433865" y="1972988"/>
                    </a:lnTo>
                    <a:lnTo>
                      <a:pt x="460534" y="1993617"/>
                    </a:lnTo>
                    <a:lnTo>
                      <a:pt x="485939" y="2016020"/>
                    </a:lnTo>
                    <a:lnTo>
                      <a:pt x="505955" y="2038278"/>
                    </a:lnTo>
                    <a:lnTo>
                      <a:pt x="525977" y="2060536"/>
                    </a:lnTo>
                    <a:lnTo>
                      <a:pt x="540188" y="2082444"/>
                    </a:lnTo>
                    <a:lnTo>
                      <a:pt x="560322" y="2121545"/>
                    </a:lnTo>
                    <a:lnTo>
                      <a:pt x="563785" y="2151704"/>
                    </a:lnTo>
                    <a:lnTo>
                      <a:pt x="567162" y="2174298"/>
                    </a:lnTo>
                    <a:lnTo>
                      <a:pt x="622005" y="2196312"/>
                    </a:lnTo>
                    <a:lnTo>
                      <a:pt x="667615" y="2206586"/>
                    </a:lnTo>
                    <a:lnTo>
                      <a:pt x="704546" y="2225982"/>
                    </a:lnTo>
                    <a:lnTo>
                      <a:pt x="738834" y="2248484"/>
                    </a:lnTo>
                    <a:lnTo>
                      <a:pt x="765477" y="2279658"/>
                    </a:lnTo>
                    <a:lnTo>
                      <a:pt x="775258" y="2298539"/>
                    </a:lnTo>
                    <a:lnTo>
                      <a:pt x="780718" y="2322558"/>
                    </a:lnTo>
                    <a:lnTo>
                      <a:pt x="787517" y="2352485"/>
                    </a:lnTo>
                    <a:lnTo>
                      <a:pt x="786159" y="2382407"/>
                    </a:lnTo>
                    <a:lnTo>
                      <a:pt x="776634" y="2404117"/>
                    </a:lnTo>
                    <a:lnTo>
                      <a:pt x="760392" y="2423374"/>
                    </a:lnTo>
                    <a:lnTo>
                      <a:pt x="743998" y="2442255"/>
                    </a:lnTo>
                    <a:lnTo>
                      <a:pt x="727596" y="2461137"/>
                    </a:lnTo>
                    <a:lnTo>
                      <a:pt x="711009" y="2479595"/>
                    </a:lnTo>
                    <a:lnTo>
                      <a:pt x="700464" y="2502104"/>
                    </a:lnTo>
                    <a:lnTo>
                      <a:pt x="689846" y="2546910"/>
                    </a:lnTo>
                    <a:lnTo>
                      <a:pt x="688224" y="2578275"/>
                    </a:lnTo>
                    <a:lnTo>
                      <a:pt x="686601" y="2609647"/>
                    </a:lnTo>
                    <a:lnTo>
                      <a:pt x="687379" y="2641579"/>
                    </a:lnTo>
                    <a:lnTo>
                      <a:pt x="691818" y="2672958"/>
                    </a:lnTo>
                    <a:lnTo>
                      <a:pt x="700431" y="2708834"/>
                    </a:lnTo>
                    <a:lnTo>
                      <a:pt x="705905" y="2744223"/>
                    </a:lnTo>
                    <a:lnTo>
                      <a:pt x="711379" y="2779604"/>
                    </a:lnTo>
                    <a:lnTo>
                      <a:pt x="714075" y="2814973"/>
                    </a:lnTo>
                    <a:lnTo>
                      <a:pt x="682677" y="2835074"/>
                    </a:lnTo>
                    <a:lnTo>
                      <a:pt x="664074" y="2819741"/>
                    </a:lnTo>
                    <a:lnTo>
                      <a:pt x="647422" y="2802707"/>
                    </a:lnTo>
                    <a:lnTo>
                      <a:pt x="630763" y="2785678"/>
                    </a:lnTo>
                    <a:lnTo>
                      <a:pt x="615086" y="2766012"/>
                    </a:lnTo>
                    <a:lnTo>
                      <a:pt x="547937" y="2754927"/>
                    </a:lnTo>
                    <a:lnTo>
                      <a:pt x="490106" y="2756206"/>
                    </a:lnTo>
                    <a:lnTo>
                      <a:pt x="439306" y="2760539"/>
                    </a:lnTo>
                    <a:lnTo>
                      <a:pt x="437440" y="2822663"/>
                    </a:lnTo>
                    <a:lnTo>
                      <a:pt x="430449" y="2881898"/>
                    </a:lnTo>
                    <a:lnTo>
                      <a:pt x="437948" y="2918321"/>
                    </a:lnTo>
                    <a:lnTo>
                      <a:pt x="471845" y="2922991"/>
                    </a:lnTo>
                    <a:lnTo>
                      <a:pt x="507431" y="2916370"/>
                    </a:lnTo>
                    <a:lnTo>
                      <a:pt x="539964" y="2927845"/>
                    </a:lnTo>
                    <a:lnTo>
                      <a:pt x="562004" y="2969182"/>
                    </a:lnTo>
                    <a:lnTo>
                      <a:pt x="591675" y="3004735"/>
                    </a:lnTo>
                    <a:lnTo>
                      <a:pt x="617494" y="3043460"/>
                    </a:lnTo>
                    <a:lnTo>
                      <a:pt x="663869" y="3112957"/>
                    </a:lnTo>
                    <a:lnTo>
                      <a:pt x="704144" y="3184578"/>
                    </a:lnTo>
                    <a:lnTo>
                      <a:pt x="756237" y="3250210"/>
                    </a:lnTo>
                    <a:lnTo>
                      <a:pt x="784439" y="3285704"/>
                    </a:lnTo>
                    <a:lnTo>
                      <a:pt x="822266" y="3311866"/>
                    </a:lnTo>
                    <a:lnTo>
                      <a:pt x="847365" y="3349503"/>
                    </a:lnTo>
                    <a:lnTo>
                      <a:pt x="857510" y="3390992"/>
                    </a:lnTo>
                    <a:lnTo>
                      <a:pt x="850348" y="3430265"/>
                    </a:lnTo>
                    <a:lnTo>
                      <a:pt x="841418" y="3451137"/>
                    </a:lnTo>
                    <a:lnTo>
                      <a:pt x="836485" y="3471924"/>
                    </a:lnTo>
                    <a:lnTo>
                      <a:pt x="814449" y="3564800"/>
                    </a:lnTo>
                    <a:lnTo>
                      <a:pt x="779952" y="3723816"/>
                    </a:lnTo>
                    <a:lnTo>
                      <a:pt x="773918" y="3810612"/>
                    </a:lnTo>
                    <a:lnTo>
                      <a:pt x="788987" y="3826934"/>
                    </a:lnTo>
                    <a:lnTo>
                      <a:pt x="836076" y="3821645"/>
                    </a:lnTo>
                    <a:lnTo>
                      <a:pt x="893161" y="3808152"/>
                    </a:lnTo>
                    <a:lnTo>
                      <a:pt x="946664" y="3807888"/>
                    </a:lnTo>
                    <a:lnTo>
                      <a:pt x="973413" y="3807756"/>
                    </a:lnTo>
                    <a:lnTo>
                      <a:pt x="998621" y="3811311"/>
                    </a:lnTo>
                    <a:lnTo>
                      <a:pt x="1020114" y="3820135"/>
                    </a:lnTo>
                    <a:lnTo>
                      <a:pt x="1041610" y="3828953"/>
                    </a:lnTo>
                    <a:lnTo>
                      <a:pt x="1058744" y="3843455"/>
                    </a:lnTo>
                    <a:lnTo>
                      <a:pt x="1067720" y="3866378"/>
                    </a:lnTo>
                    <a:lnTo>
                      <a:pt x="1084526" y="3909311"/>
                    </a:lnTo>
                    <a:lnTo>
                      <a:pt x="1084808" y="3951795"/>
                    </a:lnTo>
                    <a:lnTo>
                      <a:pt x="1094925" y="3995599"/>
                    </a:lnTo>
                    <a:lnTo>
                      <a:pt x="1105845" y="4042845"/>
                    </a:lnTo>
                    <a:lnTo>
                      <a:pt x="1121199" y="4091661"/>
                    </a:lnTo>
                    <a:lnTo>
                      <a:pt x="1134371" y="4138418"/>
                    </a:lnTo>
                    <a:lnTo>
                      <a:pt x="1144981" y="4176082"/>
                    </a:lnTo>
                    <a:lnTo>
                      <a:pt x="1149768" y="4205376"/>
                    </a:lnTo>
                    <a:lnTo>
                      <a:pt x="1147976" y="4229553"/>
                    </a:lnTo>
                    <a:lnTo>
                      <a:pt x="1146168" y="4253731"/>
                    </a:lnTo>
                    <a:lnTo>
                      <a:pt x="1123488" y="4288043"/>
                    </a:lnTo>
                    <a:lnTo>
                      <a:pt x="1095868" y="4320247"/>
                    </a:lnTo>
                    <a:lnTo>
                      <a:pt x="1044441" y="4341370"/>
                    </a:lnTo>
                    <a:lnTo>
                      <a:pt x="971147" y="4373731"/>
                    </a:lnTo>
                    <a:lnTo>
                      <a:pt x="923562" y="4464339"/>
                    </a:lnTo>
                    <a:lnTo>
                      <a:pt x="892342" y="4537509"/>
                    </a:lnTo>
                    <a:lnTo>
                      <a:pt x="836866" y="4585902"/>
                    </a:lnTo>
                    <a:lnTo>
                      <a:pt x="803845" y="4643054"/>
                    </a:lnTo>
                    <a:lnTo>
                      <a:pt x="777828" y="4688044"/>
                    </a:lnTo>
                    <a:lnTo>
                      <a:pt x="759508" y="4738350"/>
                    </a:lnTo>
                    <a:lnTo>
                      <a:pt x="734474" y="4784514"/>
                    </a:lnTo>
                    <a:lnTo>
                      <a:pt x="742283" y="4807253"/>
                    </a:lnTo>
                    <a:lnTo>
                      <a:pt x="764745" y="4829781"/>
                    </a:lnTo>
                    <a:lnTo>
                      <a:pt x="795681" y="4852521"/>
                    </a:lnTo>
                    <a:lnTo>
                      <a:pt x="827403" y="4874271"/>
                    </a:lnTo>
                    <a:lnTo>
                      <a:pt x="862573" y="4893712"/>
                    </a:lnTo>
                    <a:lnTo>
                      <a:pt x="875934" y="4912369"/>
                    </a:lnTo>
                    <a:lnTo>
                      <a:pt x="865680" y="4942139"/>
                    </a:lnTo>
                    <a:lnTo>
                      <a:pt x="855371" y="4982091"/>
                    </a:lnTo>
                    <a:lnTo>
                      <a:pt x="843291" y="5019827"/>
                    </a:lnTo>
                    <a:lnTo>
                      <a:pt x="831202" y="5057570"/>
                    </a:lnTo>
                    <a:lnTo>
                      <a:pt x="818083" y="5093967"/>
                    </a:lnTo>
                    <a:lnTo>
                      <a:pt x="799765" y="5119120"/>
                    </a:lnTo>
                    <a:lnTo>
                      <a:pt x="774157" y="5126994"/>
                    </a:lnTo>
                    <a:lnTo>
                      <a:pt x="743753" y="5122127"/>
                    </a:lnTo>
                    <a:lnTo>
                      <a:pt x="718145" y="5128636"/>
                    </a:lnTo>
                    <a:lnTo>
                      <a:pt x="709671" y="5197949"/>
                    </a:lnTo>
                    <a:lnTo>
                      <a:pt x="801123" y="5240176"/>
                    </a:lnTo>
                    <a:lnTo>
                      <a:pt x="821218" y="5275953"/>
                    </a:lnTo>
                    <a:lnTo>
                      <a:pt x="825661" y="5300038"/>
                    </a:lnTo>
                    <a:lnTo>
                      <a:pt x="821528" y="5324505"/>
                    </a:lnTo>
                    <a:lnTo>
                      <a:pt x="817392" y="5348978"/>
                    </a:lnTo>
                    <a:lnTo>
                      <a:pt x="804518" y="5373136"/>
                    </a:lnTo>
                    <a:lnTo>
                      <a:pt x="790240" y="5408841"/>
                    </a:lnTo>
                    <a:lnTo>
                      <a:pt x="781884" y="5429733"/>
                    </a:lnTo>
                    <a:lnTo>
                      <a:pt x="773918" y="5453725"/>
                    </a:lnTo>
                    <a:lnTo>
                      <a:pt x="760398" y="5472086"/>
                    </a:lnTo>
                    <a:lnTo>
                      <a:pt x="741274" y="5486370"/>
                    </a:lnTo>
                    <a:lnTo>
                      <a:pt x="720295" y="5490703"/>
                    </a:lnTo>
                    <a:lnTo>
                      <a:pt x="655434" y="5471176"/>
                    </a:lnTo>
                    <a:lnTo>
                      <a:pt x="635175" y="5464607"/>
                    </a:lnTo>
                    <a:lnTo>
                      <a:pt x="614328" y="5486179"/>
                    </a:lnTo>
                    <a:lnTo>
                      <a:pt x="609336" y="5513575"/>
                    </a:lnTo>
                    <a:lnTo>
                      <a:pt x="707270" y="5570706"/>
                    </a:lnTo>
                    <a:lnTo>
                      <a:pt x="701400" y="5599526"/>
                    </a:lnTo>
                    <a:lnTo>
                      <a:pt x="682718" y="5638818"/>
                    </a:lnTo>
                    <a:lnTo>
                      <a:pt x="565802" y="5650953"/>
                    </a:lnTo>
                    <a:lnTo>
                      <a:pt x="543539" y="5673745"/>
                    </a:lnTo>
                    <a:lnTo>
                      <a:pt x="541836" y="5709780"/>
                    </a:lnTo>
                    <a:lnTo>
                      <a:pt x="552205" y="5742088"/>
                    </a:lnTo>
                    <a:lnTo>
                      <a:pt x="579408" y="5752969"/>
                    </a:lnTo>
                    <a:lnTo>
                      <a:pt x="600769" y="5757784"/>
                    </a:lnTo>
                    <a:lnTo>
                      <a:pt x="637469" y="5747120"/>
                    </a:lnTo>
                    <a:lnTo>
                      <a:pt x="670438" y="5740531"/>
                    </a:lnTo>
                    <a:lnTo>
                      <a:pt x="699106" y="5729841"/>
                    </a:lnTo>
                    <a:lnTo>
                      <a:pt x="720802" y="5721769"/>
                    </a:lnTo>
                    <a:lnTo>
                      <a:pt x="740931" y="5705954"/>
                    </a:lnTo>
                    <a:lnTo>
                      <a:pt x="763037" y="5697196"/>
                    </a:lnTo>
                    <a:lnTo>
                      <a:pt x="797039" y="5683598"/>
                    </a:lnTo>
                    <a:lnTo>
                      <a:pt x="844965" y="5677405"/>
                    </a:lnTo>
                    <a:lnTo>
                      <a:pt x="899439" y="5680030"/>
                    </a:lnTo>
                    <a:lnTo>
                      <a:pt x="948022" y="5678157"/>
                    </a:lnTo>
                    <a:lnTo>
                      <a:pt x="975611" y="5687561"/>
                    </a:lnTo>
                    <a:lnTo>
                      <a:pt x="992910" y="5702637"/>
                    </a:lnTo>
                    <a:lnTo>
                      <a:pt x="1010208" y="5717719"/>
                    </a:lnTo>
                    <a:lnTo>
                      <a:pt x="1028402" y="5737458"/>
                    </a:lnTo>
                    <a:lnTo>
                      <a:pt x="1045957" y="5759769"/>
                    </a:lnTo>
                    <a:lnTo>
                      <a:pt x="1081062" y="5804390"/>
                    </a:lnTo>
                    <a:lnTo>
                      <a:pt x="1111088" y="5855606"/>
                    </a:lnTo>
                    <a:lnTo>
                      <a:pt x="1112605" y="5879466"/>
                    </a:lnTo>
                    <a:lnTo>
                      <a:pt x="1114288" y="5905925"/>
                    </a:lnTo>
                    <a:lnTo>
                      <a:pt x="1110068" y="5929931"/>
                    </a:lnTo>
                    <a:lnTo>
                      <a:pt x="1107166" y="5954279"/>
                    </a:lnTo>
                    <a:lnTo>
                      <a:pt x="1104264" y="5978627"/>
                    </a:lnTo>
                    <a:lnTo>
                      <a:pt x="1102900" y="6003931"/>
                    </a:lnTo>
                    <a:lnTo>
                      <a:pt x="1109888" y="6030450"/>
                    </a:lnTo>
                    <a:lnTo>
                      <a:pt x="1127531" y="6046152"/>
                    </a:lnTo>
                    <a:lnTo>
                      <a:pt x="1166105" y="6053401"/>
                    </a:lnTo>
                    <a:lnTo>
                      <a:pt x="1170781" y="6118327"/>
                    </a:lnTo>
                    <a:lnTo>
                      <a:pt x="1143787" y="6172418"/>
                    </a:lnTo>
                    <a:lnTo>
                      <a:pt x="1149340" y="6222236"/>
                    </a:lnTo>
                    <a:lnTo>
                      <a:pt x="1166750" y="6241434"/>
                    </a:lnTo>
                    <a:lnTo>
                      <a:pt x="1194516" y="6238546"/>
                    </a:lnTo>
                    <a:lnTo>
                      <a:pt x="1224145" y="6235835"/>
                    </a:lnTo>
                    <a:lnTo>
                      <a:pt x="1253777" y="6233124"/>
                    </a:lnTo>
                    <a:lnTo>
                      <a:pt x="1286554" y="6230513"/>
                    </a:lnTo>
                    <a:lnTo>
                      <a:pt x="1307117" y="6237193"/>
                    </a:lnTo>
                    <a:lnTo>
                      <a:pt x="1326926" y="6250311"/>
                    </a:lnTo>
                    <a:lnTo>
                      <a:pt x="1345598" y="6294384"/>
                    </a:lnTo>
                    <a:lnTo>
                      <a:pt x="1365606" y="6340568"/>
                    </a:lnTo>
                    <a:lnTo>
                      <a:pt x="1385614" y="6386759"/>
                    </a:lnTo>
                    <a:lnTo>
                      <a:pt x="1405762" y="6434797"/>
                    </a:lnTo>
                    <a:lnTo>
                      <a:pt x="1429537" y="6458908"/>
                    </a:lnTo>
                    <a:lnTo>
                      <a:pt x="1473448" y="6477399"/>
                    </a:lnTo>
                    <a:lnTo>
                      <a:pt x="1522031" y="6498352"/>
                    </a:lnTo>
                    <a:lnTo>
                      <a:pt x="1506050" y="6532105"/>
                    </a:lnTo>
                    <a:lnTo>
                      <a:pt x="1491682" y="6555437"/>
                    </a:lnTo>
                    <a:lnTo>
                      <a:pt x="1482588" y="6577247"/>
                    </a:lnTo>
                    <a:lnTo>
                      <a:pt x="1486327" y="6619942"/>
                    </a:lnTo>
                    <a:lnTo>
                      <a:pt x="1481717" y="6662894"/>
                    </a:lnTo>
                    <a:lnTo>
                      <a:pt x="1483946" y="6705102"/>
                    </a:lnTo>
                    <a:lnTo>
                      <a:pt x="1486008" y="6743913"/>
                    </a:lnTo>
                    <a:lnTo>
                      <a:pt x="1494826" y="6784781"/>
                    </a:lnTo>
                    <a:lnTo>
                      <a:pt x="1494826" y="6823441"/>
                    </a:lnTo>
                    <a:lnTo>
                      <a:pt x="1494826" y="6866690"/>
                    </a:lnTo>
                    <a:lnTo>
                      <a:pt x="1489471" y="6911661"/>
                    </a:lnTo>
                    <a:lnTo>
                      <a:pt x="1488020" y="6955379"/>
                    </a:lnTo>
                    <a:lnTo>
                      <a:pt x="1504199" y="6995252"/>
                    </a:lnTo>
                    <a:lnTo>
                      <a:pt x="1519327" y="7012075"/>
                    </a:lnTo>
                    <a:lnTo>
                      <a:pt x="1538352" y="7026109"/>
                    </a:lnTo>
                    <a:lnTo>
                      <a:pt x="1557374" y="7040150"/>
                    </a:lnTo>
                    <a:lnTo>
                      <a:pt x="1580461" y="7051915"/>
                    </a:lnTo>
                    <a:lnTo>
                      <a:pt x="1605002" y="7062836"/>
                    </a:lnTo>
                    <a:lnTo>
                      <a:pt x="1621324" y="7092763"/>
                    </a:lnTo>
                    <a:lnTo>
                      <a:pt x="1624021" y="7114751"/>
                    </a:lnTo>
                    <a:lnTo>
                      <a:pt x="1596835" y="7147172"/>
                    </a:lnTo>
                    <a:lnTo>
                      <a:pt x="1585574" y="7166336"/>
                    </a:lnTo>
                    <a:lnTo>
                      <a:pt x="1580905" y="7190572"/>
                    </a:lnTo>
                    <a:lnTo>
                      <a:pt x="1587314" y="7223342"/>
                    </a:lnTo>
                    <a:lnTo>
                      <a:pt x="1606612" y="7240134"/>
                    </a:lnTo>
                    <a:lnTo>
                      <a:pt x="1643930" y="7232780"/>
                    </a:lnTo>
                    <a:lnTo>
                      <a:pt x="1667566" y="7246464"/>
                    </a:lnTo>
                    <a:lnTo>
                      <a:pt x="1668800" y="7267463"/>
                    </a:lnTo>
                    <a:lnTo>
                      <a:pt x="1663123" y="7291606"/>
                    </a:lnTo>
                    <a:lnTo>
                      <a:pt x="1649595" y="7329435"/>
                    </a:lnTo>
                    <a:lnTo>
                      <a:pt x="1600603" y="7352220"/>
                    </a:lnTo>
                    <a:lnTo>
                      <a:pt x="1551945" y="7368879"/>
                    </a:lnTo>
                    <a:lnTo>
                      <a:pt x="1503294" y="7385544"/>
                    </a:lnTo>
                    <a:lnTo>
                      <a:pt x="1454981" y="7396116"/>
                    </a:lnTo>
                    <a:lnTo>
                      <a:pt x="1427426" y="7397296"/>
                    </a:lnTo>
                    <a:lnTo>
                      <a:pt x="1400178" y="7426921"/>
                    </a:lnTo>
                    <a:lnTo>
                      <a:pt x="1402326" y="7447774"/>
                    </a:lnTo>
                    <a:lnTo>
                      <a:pt x="1406745" y="7490983"/>
                    </a:lnTo>
                    <a:lnTo>
                      <a:pt x="1472676" y="7727206"/>
                    </a:lnTo>
                    <a:lnTo>
                      <a:pt x="1457796" y="7757536"/>
                    </a:lnTo>
                    <a:lnTo>
                      <a:pt x="1425172" y="7770014"/>
                    </a:lnTo>
                    <a:lnTo>
                      <a:pt x="1405380" y="7796011"/>
                    </a:lnTo>
                    <a:lnTo>
                      <a:pt x="1416592" y="7825932"/>
                    </a:lnTo>
                    <a:lnTo>
                      <a:pt x="1436331" y="7863992"/>
                    </a:lnTo>
                    <a:lnTo>
                      <a:pt x="1456069" y="7902057"/>
                    </a:lnTo>
                    <a:lnTo>
                      <a:pt x="1484011" y="7947674"/>
                    </a:lnTo>
                    <a:lnTo>
                      <a:pt x="1513861" y="7994570"/>
                    </a:lnTo>
                    <a:lnTo>
                      <a:pt x="1543716" y="8041473"/>
                    </a:lnTo>
                    <a:lnTo>
                      <a:pt x="1575674" y="8089095"/>
                    </a:lnTo>
                    <a:lnTo>
                      <a:pt x="1600913" y="8129232"/>
                    </a:lnTo>
                    <a:lnTo>
                      <a:pt x="1626158" y="8169369"/>
                    </a:lnTo>
                    <a:lnTo>
                      <a:pt x="1645341" y="8202587"/>
                    </a:lnTo>
                    <a:lnTo>
                      <a:pt x="1649214" y="8259283"/>
                    </a:lnTo>
                    <a:lnTo>
                      <a:pt x="1633596" y="8290148"/>
                    </a:lnTo>
                    <a:lnTo>
                      <a:pt x="1611793" y="8315577"/>
                    </a:lnTo>
                    <a:lnTo>
                      <a:pt x="1589999" y="8341014"/>
                    </a:lnTo>
                    <a:lnTo>
                      <a:pt x="1561262" y="8360410"/>
                    </a:lnTo>
                    <a:lnTo>
                      <a:pt x="1531546" y="8376790"/>
                    </a:lnTo>
                    <a:lnTo>
                      <a:pt x="1501824" y="8393172"/>
                    </a:lnTo>
                    <a:lnTo>
                      <a:pt x="1471646" y="8405821"/>
                    </a:lnTo>
                    <a:lnTo>
                      <a:pt x="1445852" y="8417594"/>
                    </a:lnTo>
                    <a:lnTo>
                      <a:pt x="1420062" y="8429366"/>
                    </a:lnTo>
                    <a:lnTo>
                      <a:pt x="1398733" y="8439997"/>
                    </a:lnTo>
                    <a:lnTo>
                      <a:pt x="1373482" y="8481459"/>
                    </a:lnTo>
                    <a:lnTo>
                      <a:pt x="1383128" y="8502609"/>
                    </a:lnTo>
                    <a:lnTo>
                      <a:pt x="1375122" y="8530493"/>
                    </a:lnTo>
                    <a:lnTo>
                      <a:pt x="1360608" y="8550764"/>
                    </a:lnTo>
                    <a:lnTo>
                      <a:pt x="1333996" y="8576380"/>
                    </a:lnTo>
                    <a:lnTo>
                      <a:pt x="1301669" y="8606663"/>
                    </a:lnTo>
                    <a:lnTo>
                      <a:pt x="1285348" y="8622985"/>
                    </a:lnTo>
                    <a:lnTo>
                      <a:pt x="1205098" y="8651547"/>
                    </a:lnTo>
                    <a:lnTo>
                      <a:pt x="1166288" y="8690359"/>
                    </a:lnTo>
                    <a:lnTo>
                      <a:pt x="1132873" y="8719825"/>
                    </a:lnTo>
                    <a:lnTo>
                      <a:pt x="1109671" y="8730681"/>
                    </a:lnTo>
                    <a:lnTo>
                      <a:pt x="1085403" y="8739959"/>
                    </a:lnTo>
                    <a:lnTo>
                      <a:pt x="1061126" y="8749245"/>
                    </a:lnTo>
                    <a:lnTo>
                      <a:pt x="1036060" y="8756229"/>
                    </a:lnTo>
                    <a:lnTo>
                      <a:pt x="1011947" y="8769887"/>
                    </a:lnTo>
                    <a:lnTo>
                      <a:pt x="982067" y="8786823"/>
                    </a:lnTo>
                    <a:lnTo>
                      <a:pt x="921729" y="8841488"/>
                    </a:lnTo>
                    <a:lnTo>
                      <a:pt x="885453" y="8866463"/>
                    </a:lnTo>
                    <a:lnTo>
                      <a:pt x="867950" y="8878498"/>
                    </a:lnTo>
                    <a:lnTo>
                      <a:pt x="836485" y="8871903"/>
                    </a:lnTo>
                    <a:lnTo>
                      <a:pt x="804499" y="8860172"/>
                    </a:lnTo>
                    <a:lnTo>
                      <a:pt x="778290" y="8875960"/>
                    </a:lnTo>
                    <a:lnTo>
                      <a:pt x="771559" y="8910879"/>
                    </a:lnTo>
                    <a:lnTo>
                      <a:pt x="743990" y="8948075"/>
                    </a:lnTo>
                    <a:lnTo>
                      <a:pt x="717533" y="8959036"/>
                    </a:lnTo>
                    <a:lnTo>
                      <a:pt x="687373" y="8936784"/>
                    </a:lnTo>
                    <a:lnTo>
                      <a:pt x="659655" y="8941269"/>
                    </a:lnTo>
                    <a:lnTo>
                      <a:pt x="631541" y="8945793"/>
                    </a:lnTo>
                    <a:lnTo>
                      <a:pt x="615832" y="8977489"/>
                    </a:lnTo>
                    <a:lnTo>
                      <a:pt x="587565" y="8988877"/>
                    </a:lnTo>
                    <a:lnTo>
                      <a:pt x="586906" y="9030121"/>
                    </a:lnTo>
                    <a:lnTo>
                      <a:pt x="601890" y="9054965"/>
                    </a:lnTo>
                    <a:lnTo>
                      <a:pt x="617494" y="9077289"/>
                    </a:lnTo>
                    <a:lnTo>
                      <a:pt x="633091" y="9099619"/>
                    </a:lnTo>
                    <a:lnTo>
                      <a:pt x="648634" y="9120598"/>
                    </a:lnTo>
                    <a:lnTo>
                      <a:pt x="650138" y="9152101"/>
                    </a:lnTo>
                    <a:lnTo>
                      <a:pt x="652051" y="9192251"/>
                    </a:lnTo>
                    <a:lnTo>
                      <a:pt x="642429" y="9236002"/>
                    </a:lnTo>
                    <a:lnTo>
                      <a:pt x="625651" y="9278597"/>
                    </a:lnTo>
                    <a:lnTo>
                      <a:pt x="608874" y="9321201"/>
                    </a:lnTo>
                    <a:lnTo>
                      <a:pt x="585100" y="9362366"/>
                    </a:lnTo>
                    <a:lnTo>
                      <a:pt x="561720" y="9394220"/>
                    </a:lnTo>
                    <a:lnTo>
                      <a:pt x="547450" y="9413668"/>
                    </a:lnTo>
                    <a:lnTo>
                      <a:pt x="530758" y="9426481"/>
                    </a:lnTo>
                    <a:lnTo>
                      <a:pt x="520918" y="9449987"/>
                    </a:lnTo>
                    <a:lnTo>
                      <a:pt x="560640" y="9453554"/>
                    </a:lnTo>
                    <a:lnTo>
                      <a:pt x="609052" y="9458421"/>
                    </a:lnTo>
                    <a:lnTo>
                      <a:pt x="648774" y="9451345"/>
                    </a:lnTo>
                    <a:lnTo>
                      <a:pt x="682994" y="9445245"/>
                    </a:lnTo>
                    <a:lnTo>
                      <a:pt x="712237" y="9431751"/>
                    </a:lnTo>
                    <a:lnTo>
                      <a:pt x="748073" y="9435022"/>
                    </a:lnTo>
                    <a:lnTo>
                      <a:pt x="764844" y="9486403"/>
                    </a:lnTo>
                    <a:lnTo>
                      <a:pt x="760313" y="9526158"/>
                    </a:lnTo>
                    <a:lnTo>
                      <a:pt x="755783" y="9565912"/>
                    </a:lnTo>
                    <a:lnTo>
                      <a:pt x="746022" y="9605388"/>
                    </a:lnTo>
                    <a:lnTo>
                      <a:pt x="727596" y="9621811"/>
                    </a:lnTo>
                    <a:lnTo>
                      <a:pt x="688224" y="9633608"/>
                    </a:lnTo>
                    <a:lnTo>
                      <a:pt x="650541" y="9648955"/>
                    </a:lnTo>
                    <a:lnTo>
                      <a:pt x="634897" y="9669538"/>
                    </a:lnTo>
                    <a:lnTo>
                      <a:pt x="631093" y="9701621"/>
                    </a:lnTo>
                    <a:lnTo>
                      <a:pt x="631059" y="9733429"/>
                    </a:lnTo>
                    <a:lnTo>
                      <a:pt x="673279" y="9756029"/>
                    </a:lnTo>
                    <a:lnTo>
                      <a:pt x="723678" y="9754565"/>
                    </a:lnTo>
                    <a:lnTo>
                      <a:pt x="769830" y="9761470"/>
                    </a:lnTo>
                    <a:lnTo>
                      <a:pt x="792906" y="9764920"/>
                    </a:lnTo>
                    <a:lnTo>
                      <a:pt x="815103" y="9770155"/>
                    </a:lnTo>
                    <a:lnTo>
                      <a:pt x="833760" y="9780509"/>
                    </a:lnTo>
                    <a:lnTo>
                      <a:pt x="852419" y="9790870"/>
                    </a:lnTo>
                    <a:lnTo>
                      <a:pt x="867336" y="9806948"/>
                    </a:lnTo>
                    <a:lnTo>
                      <a:pt x="877286" y="9829477"/>
                    </a:lnTo>
                    <a:lnTo>
                      <a:pt x="877022" y="9854505"/>
                    </a:lnTo>
                    <a:lnTo>
                      <a:pt x="865041" y="9894766"/>
                    </a:lnTo>
                    <a:lnTo>
                      <a:pt x="857553" y="9915072"/>
                    </a:lnTo>
                    <a:lnTo>
                      <a:pt x="846732" y="9935088"/>
                    </a:lnTo>
                    <a:lnTo>
                      <a:pt x="835118" y="9957339"/>
                    </a:lnTo>
                    <a:lnTo>
                      <a:pt x="821810" y="9977507"/>
                    </a:lnTo>
                    <a:lnTo>
                      <a:pt x="805746" y="10017030"/>
                    </a:lnTo>
                    <a:lnTo>
                      <a:pt x="800152" y="10053756"/>
                    </a:lnTo>
                    <a:lnTo>
                      <a:pt x="799749" y="10090635"/>
                    </a:lnTo>
                    <a:lnTo>
                      <a:pt x="799355" y="10127521"/>
                    </a:lnTo>
                    <a:lnTo>
                      <a:pt x="803746" y="10164188"/>
                    </a:lnTo>
                    <a:lnTo>
                      <a:pt x="814716" y="10192652"/>
                    </a:lnTo>
                    <a:lnTo>
                      <a:pt x="827019" y="10224597"/>
                    </a:lnTo>
                    <a:lnTo>
                      <a:pt x="848711" y="10248774"/>
                    </a:lnTo>
                    <a:lnTo>
                      <a:pt x="873205" y="10267464"/>
                    </a:lnTo>
                    <a:lnTo>
                      <a:pt x="897697" y="10286155"/>
                    </a:lnTo>
                    <a:lnTo>
                      <a:pt x="925205" y="10299541"/>
                    </a:lnTo>
                    <a:lnTo>
                      <a:pt x="952093" y="10310990"/>
                    </a:lnTo>
                    <a:lnTo>
                      <a:pt x="978988" y="10322439"/>
                    </a:lnTo>
                    <a:lnTo>
                      <a:pt x="1004695" y="10332068"/>
                    </a:lnTo>
                    <a:lnTo>
                      <a:pt x="1024188" y="10342277"/>
                    </a:lnTo>
                    <a:lnTo>
                      <a:pt x="1043675" y="10352485"/>
                    </a:lnTo>
                    <a:lnTo>
                      <a:pt x="1059550" y="10377639"/>
                    </a:lnTo>
                    <a:lnTo>
                      <a:pt x="1061541" y="10411734"/>
                    </a:lnTo>
                    <a:lnTo>
                      <a:pt x="1057532" y="10446925"/>
                    </a:lnTo>
                    <a:lnTo>
                      <a:pt x="1051393" y="10481014"/>
                    </a:lnTo>
                    <a:lnTo>
                      <a:pt x="1053517" y="10506589"/>
                    </a:lnTo>
                    <a:lnTo>
                      <a:pt x="1030222" y="10526354"/>
                    </a:lnTo>
                    <a:lnTo>
                      <a:pt x="1006499" y="10535422"/>
                    </a:lnTo>
                    <a:lnTo>
                      <a:pt x="983127" y="10545624"/>
                    </a:lnTo>
                    <a:lnTo>
                      <a:pt x="964583" y="10560587"/>
                    </a:lnTo>
                    <a:lnTo>
                      <a:pt x="956174" y="10584389"/>
                    </a:lnTo>
                    <a:lnTo>
                      <a:pt x="960719" y="10625185"/>
                    </a:lnTo>
                    <a:lnTo>
                      <a:pt x="971131" y="10649678"/>
                    </a:lnTo>
                    <a:lnTo>
                      <a:pt x="981552" y="10674179"/>
                    </a:lnTo>
                    <a:lnTo>
                      <a:pt x="995895" y="10700796"/>
                    </a:lnTo>
                    <a:lnTo>
                      <a:pt x="1010583" y="10725850"/>
                    </a:lnTo>
                    <a:lnTo>
                      <a:pt x="1039949" y="10775965"/>
                    </a:lnTo>
                    <a:lnTo>
                      <a:pt x="1070102" y="10821891"/>
                    </a:lnTo>
                    <a:lnTo>
                      <a:pt x="1066356" y="10895872"/>
                    </a:lnTo>
                    <a:lnTo>
                      <a:pt x="1063640" y="10951652"/>
                    </a:lnTo>
                    <a:lnTo>
                      <a:pt x="1053253" y="10980024"/>
                    </a:lnTo>
                    <a:lnTo>
                      <a:pt x="1025066" y="11007617"/>
                    </a:lnTo>
                    <a:lnTo>
                      <a:pt x="1006006" y="11020846"/>
                    </a:lnTo>
                    <a:lnTo>
                      <a:pt x="986110" y="11033264"/>
                    </a:lnTo>
                    <a:lnTo>
                      <a:pt x="946323" y="11058093"/>
                    </a:lnTo>
                    <a:lnTo>
                      <a:pt x="902986" y="11078545"/>
                    </a:lnTo>
                    <a:lnTo>
                      <a:pt x="868753" y="11099023"/>
                    </a:lnTo>
                    <a:lnTo>
                      <a:pt x="843291" y="11127117"/>
                    </a:lnTo>
                    <a:lnTo>
                      <a:pt x="823869" y="11161430"/>
                    </a:lnTo>
                    <a:lnTo>
                      <a:pt x="814133" y="11210707"/>
                    </a:lnTo>
                    <a:lnTo>
                      <a:pt x="815426" y="11232450"/>
                    </a:lnTo>
                    <a:lnTo>
                      <a:pt x="824910" y="11266625"/>
                    </a:lnTo>
                    <a:lnTo>
                      <a:pt x="843291" y="11288982"/>
                    </a:lnTo>
                    <a:lnTo>
                      <a:pt x="863996" y="11310659"/>
                    </a:lnTo>
                    <a:lnTo>
                      <a:pt x="882429" y="11335317"/>
                    </a:lnTo>
                    <a:lnTo>
                      <a:pt x="892258" y="11370594"/>
                    </a:lnTo>
                    <a:lnTo>
                      <a:pt x="895991" y="11397521"/>
                    </a:lnTo>
                    <a:lnTo>
                      <a:pt x="894646" y="11424322"/>
                    </a:lnTo>
                    <a:lnTo>
                      <a:pt x="896332" y="11449482"/>
                    </a:lnTo>
                    <a:lnTo>
                      <a:pt x="898022" y="11474648"/>
                    </a:lnTo>
                    <a:lnTo>
                      <a:pt x="902698" y="11498792"/>
                    </a:lnTo>
                    <a:lnTo>
                      <a:pt x="919454" y="11521577"/>
                    </a:lnTo>
                    <a:lnTo>
                      <a:pt x="938020" y="11534517"/>
                    </a:lnTo>
                    <a:lnTo>
                      <a:pt x="977720" y="11540089"/>
                    </a:lnTo>
                    <a:lnTo>
                      <a:pt x="1017389" y="11543340"/>
                    </a:lnTo>
                    <a:lnTo>
                      <a:pt x="1057058" y="11546592"/>
                    </a:lnTo>
                    <a:lnTo>
                      <a:pt x="1097114" y="11546968"/>
                    </a:lnTo>
                    <a:lnTo>
                      <a:pt x="1119404" y="11548781"/>
                    </a:lnTo>
                    <a:lnTo>
                      <a:pt x="1148283" y="11560257"/>
                    </a:lnTo>
                    <a:lnTo>
                      <a:pt x="1169420" y="11588990"/>
                    </a:lnTo>
                    <a:lnTo>
                      <a:pt x="1184696" y="11627670"/>
                    </a:lnTo>
                    <a:lnTo>
                      <a:pt x="1199415" y="11667444"/>
                    </a:lnTo>
                    <a:lnTo>
                      <a:pt x="1209644" y="11710508"/>
                    </a:lnTo>
                    <a:lnTo>
                      <a:pt x="1224139" y="11726969"/>
                    </a:lnTo>
                    <a:lnTo>
                      <a:pt x="1251712" y="11750487"/>
                    </a:lnTo>
                    <a:lnTo>
                      <a:pt x="1275460" y="11771458"/>
                    </a:lnTo>
                    <a:lnTo>
                      <a:pt x="1292153" y="11804499"/>
                    </a:lnTo>
                    <a:lnTo>
                      <a:pt x="1298990" y="11834894"/>
                    </a:lnTo>
                    <a:lnTo>
                      <a:pt x="1304345" y="11866590"/>
                    </a:lnTo>
                    <a:lnTo>
                      <a:pt x="1315274" y="11896993"/>
                    </a:lnTo>
                    <a:lnTo>
                      <a:pt x="1339140" y="11910432"/>
                    </a:lnTo>
                    <a:lnTo>
                      <a:pt x="1376480" y="11907874"/>
                    </a:lnTo>
                    <a:lnTo>
                      <a:pt x="1413743" y="11892739"/>
                    </a:lnTo>
                    <a:lnTo>
                      <a:pt x="1436331" y="11879312"/>
                    </a:lnTo>
                    <a:lnTo>
                      <a:pt x="1459452" y="11882028"/>
                    </a:lnTo>
                    <a:lnTo>
                      <a:pt x="1481221" y="11886103"/>
                    </a:lnTo>
                    <a:lnTo>
                      <a:pt x="1500255" y="11909042"/>
                    </a:lnTo>
                    <a:lnTo>
                      <a:pt x="1507436" y="11938046"/>
                    </a:lnTo>
                    <a:lnTo>
                      <a:pt x="1511141" y="11971791"/>
                    </a:lnTo>
                    <a:lnTo>
                      <a:pt x="1530498" y="11987046"/>
                    </a:lnTo>
                    <a:lnTo>
                      <a:pt x="1558751" y="11998996"/>
                    </a:lnTo>
                    <a:lnTo>
                      <a:pt x="1583094" y="12001430"/>
                    </a:lnTo>
                    <a:lnTo>
                      <a:pt x="1612084" y="11994128"/>
                    </a:lnTo>
                    <a:lnTo>
                      <a:pt x="1645803" y="11989478"/>
                    </a:lnTo>
                    <a:lnTo>
                      <a:pt x="1664416" y="12003335"/>
                    </a:lnTo>
                    <a:lnTo>
                      <a:pt x="1678883" y="12024583"/>
                    </a:lnTo>
                    <a:lnTo>
                      <a:pt x="1685249" y="12046604"/>
                    </a:lnTo>
                    <a:lnTo>
                      <a:pt x="1665027" y="12065920"/>
                    </a:lnTo>
                    <a:lnTo>
                      <a:pt x="1641729" y="12073808"/>
                    </a:lnTo>
                    <a:lnTo>
                      <a:pt x="1620282" y="12084657"/>
                    </a:lnTo>
                    <a:lnTo>
                      <a:pt x="1605976" y="12109592"/>
                    </a:lnTo>
                    <a:lnTo>
                      <a:pt x="1608543" y="12140937"/>
                    </a:lnTo>
                    <a:lnTo>
                      <a:pt x="1642005" y="12176300"/>
                    </a:lnTo>
                    <a:lnTo>
                      <a:pt x="1670614" y="12209578"/>
                    </a:lnTo>
                    <a:lnTo>
                      <a:pt x="1702934" y="12234315"/>
                    </a:lnTo>
                    <a:lnTo>
                      <a:pt x="1735832" y="12257509"/>
                    </a:lnTo>
                    <a:lnTo>
                      <a:pt x="1773417" y="12270962"/>
                    </a:lnTo>
                    <a:lnTo>
                      <a:pt x="1794823" y="12272987"/>
                    </a:lnTo>
                    <a:lnTo>
                      <a:pt x="1817191" y="12271035"/>
                    </a:lnTo>
                    <a:lnTo>
                      <a:pt x="1849329" y="12269578"/>
                    </a:lnTo>
                    <a:lnTo>
                      <a:pt x="1882989" y="12267065"/>
                    </a:lnTo>
                    <a:lnTo>
                      <a:pt x="1916484" y="12262884"/>
                    </a:lnTo>
                    <a:lnTo>
                      <a:pt x="1947140" y="12255960"/>
                    </a:lnTo>
                    <a:lnTo>
                      <a:pt x="1978325" y="12248032"/>
                    </a:lnTo>
                    <a:lnTo>
                      <a:pt x="2011703" y="12245196"/>
                    </a:lnTo>
                    <a:lnTo>
                      <a:pt x="2046966" y="12251969"/>
                    </a:lnTo>
                    <a:lnTo>
                      <a:pt x="2079808" y="12262910"/>
                    </a:lnTo>
                    <a:lnTo>
                      <a:pt x="2117796" y="12265601"/>
                    </a:lnTo>
                    <a:lnTo>
                      <a:pt x="2131156" y="12244643"/>
                    </a:lnTo>
                    <a:lnTo>
                      <a:pt x="2126019" y="12219187"/>
                    </a:lnTo>
                    <a:lnTo>
                      <a:pt x="2120518" y="12194871"/>
                    </a:lnTo>
                    <a:lnTo>
                      <a:pt x="2115012" y="12170556"/>
                    </a:lnTo>
                    <a:lnTo>
                      <a:pt x="2108159" y="12147157"/>
                    </a:lnTo>
                    <a:lnTo>
                      <a:pt x="2125523" y="12115488"/>
                    </a:lnTo>
                    <a:lnTo>
                      <a:pt x="2146365" y="12096937"/>
                    </a:lnTo>
                    <a:lnTo>
                      <a:pt x="2168264" y="12079169"/>
                    </a:lnTo>
                    <a:lnTo>
                      <a:pt x="2209186" y="12038031"/>
                    </a:lnTo>
                    <a:lnTo>
                      <a:pt x="2227619" y="12011486"/>
                    </a:lnTo>
                    <a:lnTo>
                      <a:pt x="2241574" y="11982680"/>
                    </a:lnTo>
                    <a:lnTo>
                      <a:pt x="2255530" y="11953873"/>
                    </a:lnTo>
                    <a:lnTo>
                      <a:pt x="2265970" y="11923214"/>
                    </a:lnTo>
                    <a:lnTo>
                      <a:pt x="2278301" y="11883387"/>
                    </a:lnTo>
                    <a:lnTo>
                      <a:pt x="2303183" y="11866154"/>
                    </a:lnTo>
                    <a:lnTo>
                      <a:pt x="2328626" y="11852101"/>
                    </a:lnTo>
                    <a:lnTo>
                      <a:pt x="2354070" y="11838047"/>
                    </a:lnTo>
                    <a:lnTo>
                      <a:pt x="2382632" y="11817523"/>
                    </a:lnTo>
                    <a:lnTo>
                      <a:pt x="2396635" y="11784088"/>
                    </a:lnTo>
                    <a:lnTo>
                      <a:pt x="2422388" y="11774623"/>
                    </a:lnTo>
                    <a:lnTo>
                      <a:pt x="2455633" y="11779781"/>
                    </a:lnTo>
                    <a:lnTo>
                      <a:pt x="2487770" y="11785446"/>
                    </a:lnTo>
                    <a:lnTo>
                      <a:pt x="2519905" y="11791117"/>
                    </a:lnTo>
                    <a:lnTo>
                      <a:pt x="2551187" y="11796599"/>
                    </a:lnTo>
                    <a:lnTo>
                      <a:pt x="2572103" y="11790888"/>
                    </a:lnTo>
                    <a:lnTo>
                      <a:pt x="2603385" y="11781859"/>
                    </a:lnTo>
                    <a:lnTo>
                      <a:pt x="2628952" y="11761316"/>
                    </a:lnTo>
                    <a:lnTo>
                      <a:pt x="2637479" y="11730755"/>
                    </a:lnTo>
                    <a:lnTo>
                      <a:pt x="2649633" y="11705200"/>
                    </a:lnTo>
                    <a:lnTo>
                      <a:pt x="2663003" y="11681015"/>
                    </a:lnTo>
                    <a:lnTo>
                      <a:pt x="2682509" y="11664086"/>
                    </a:lnTo>
                    <a:lnTo>
                      <a:pt x="2712200" y="11658950"/>
                    </a:lnTo>
                    <a:lnTo>
                      <a:pt x="2735941" y="11676696"/>
                    </a:lnTo>
                    <a:lnTo>
                      <a:pt x="2748055" y="11700800"/>
                    </a:lnTo>
                    <a:lnTo>
                      <a:pt x="2774773" y="11714715"/>
                    </a:lnTo>
                    <a:lnTo>
                      <a:pt x="2801977" y="11688877"/>
                    </a:lnTo>
                    <a:lnTo>
                      <a:pt x="2826112" y="11677659"/>
                    </a:lnTo>
                    <a:lnTo>
                      <a:pt x="2851286" y="11678325"/>
                    </a:lnTo>
                    <a:lnTo>
                      <a:pt x="2875424" y="11688877"/>
                    </a:lnTo>
                    <a:lnTo>
                      <a:pt x="2899978" y="11700206"/>
                    </a:lnTo>
                    <a:lnTo>
                      <a:pt x="2923601" y="11718132"/>
                    </a:lnTo>
                    <a:lnTo>
                      <a:pt x="2939355" y="11733762"/>
                    </a:lnTo>
                    <a:lnTo>
                      <a:pt x="2966473" y="11737033"/>
                    </a:lnTo>
                    <a:lnTo>
                      <a:pt x="2986965" y="11717439"/>
                    </a:lnTo>
                    <a:lnTo>
                      <a:pt x="2979160" y="11678708"/>
                    </a:lnTo>
                    <a:lnTo>
                      <a:pt x="2967918" y="11657590"/>
                    </a:lnTo>
                    <a:lnTo>
                      <a:pt x="2956678" y="11636474"/>
                    </a:lnTo>
                    <a:lnTo>
                      <a:pt x="2942604" y="11616373"/>
                    </a:lnTo>
                    <a:lnTo>
                      <a:pt x="2932106" y="11578234"/>
                    </a:lnTo>
                    <a:lnTo>
                      <a:pt x="2951088" y="11536515"/>
                    </a:lnTo>
                    <a:lnTo>
                      <a:pt x="2971998" y="11521571"/>
                    </a:lnTo>
                    <a:lnTo>
                      <a:pt x="3050896" y="11510689"/>
                    </a:lnTo>
                    <a:lnTo>
                      <a:pt x="3062917" y="11484165"/>
                    </a:lnTo>
                    <a:lnTo>
                      <a:pt x="3050037" y="11456004"/>
                    </a:lnTo>
                    <a:lnTo>
                      <a:pt x="3065859" y="11427719"/>
                    </a:lnTo>
                    <a:lnTo>
                      <a:pt x="3110672" y="11430627"/>
                    </a:lnTo>
                    <a:lnTo>
                      <a:pt x="3143389" y="11442682"/>
                    </a:lnTo>
                    <a:lnTo>
                      <a:pt x="3176097" y="11454731"/>
                    </a:lnTo>
                    <a:lnTo>
                      <a:pt x="3208520" y="11469247"/>
                    </a:lnTo>
                    <a:lnTo>
                      <a:pt x="3219955" y="11505525"/>
                    </a:lnTo>
                    <a:lnTo>
                      <a:pt x="3194729" y="11535855"/>
                    </a:lnTo>
                    <a:lnTo>
                      <a:pt x="3173310" y="11566456"/>
                    </a:lnTo>
                    <a:lnTo>
                      <a:pt x="3152877" y="11596549"/>
                    </a:lnTo>
                    <a:lnTo>
                      <a:pt x="3142056" y="11628863"/>
                    </a:lnTo>
                    <a:lnTo>
                      <a:pt x="3147463" y="11664390"/>
                    </a:lnTo>
                    <a:lnTo>
                      <a:pt x="3193101" y="11690354"/>
                    </a:lnTo>
                    <a:lnTo>
                      <a:pt x="3250846" y="11703840"/>
                    </a:lnTo>
                    <a:lnTo>
                      <a:pt x="3308582" y="11717328"/>
                    </a:lnTo>
                    <a:lnTo>
                      <a:pt x="3385123" y="11730913"/>
                    </a:lnTo>
                    <a:lnTo>
                      <a:pt x="3463035" y="11744644"/>
                    </a:lnTo>
                    <a:lnTo>
                      <a:pt x="3618848" y="11772112"/>
                    </a:lnTo>
                    <a:lnTo>
                      <a:pt x="3783338" y="11799065"/>
                    </a:lnTo>
                    <a:lnTo>
                      <a:pt x="3828929" y="11822172"/>
                    </a:lnTo>
                    <a:lnTo>
                      <a:pt x="3827437" y="11860582"/>
                    </a:lnTo>
                    <a:lnTo>
                      <a:pt x="3831902" y="11908995"/>
                    </a:lnTo>
                    <a:lnTo>
                      <a:pt x="3820765" y="11945952"/>
                    </a:lnTo>
                    <a:lnTo>
                      <a:pt x="3852242" y="11957018"/>
                    </a:lnTo>
                    <a:lnTo>
                      <a:pt x="3889945" y="11956637"/>
                    </a:lnTo>
                    <a:lnTo>
                      <a:pt x="3922780" y="11950034"/>
                    </a:lnTo>
                    <a:lnTo>
                      <a:pt x="3957594" y="11830654"/>
                    </a:lnTo>
                    <a:lnTo>
                      <a:pt x="3979524" y="11728005"/>
                    </a:lnTo>
                    <a:lnTo>
                      <a:pt x="4003033" y="11624946"/>
                    </a:lnTo>
                    <a:lnTo>
                      <a:pt x="4009135" y="11598211"/>
                    </a:lnTo>
                    <a:lnTo>
                      <a:pt x="4027388" y="11574898"/>
                    </a:lnTo>
                    <a:lnTo>
                      <a:pt x="4031595" y="11548775"/>
                    </a:lnTo>
                    <a:lnTo>
                      <a:pt x="4035614" y="11523753"/>
                    </a:lnTo>
                    <a:lnTo>
                      <a:pt x="4033905" y="11499775"/>
                    </a:lnTo>
                    <a:lnTo>
                      <a:pt x="4032953" y="11475327"/>
                    </a:lnTo>
                    <a:lnTo>
                      <a:pt x="4032005" y="11450874"/>
                    </a:lnTo>
                    <a:lnTo>
                      <a:pt x="4031629" y="11426624"/>
                    </a:lnTo>
                    <a:lnTo>
                      <a:pt x="4041111" y="11400514"/>
                    </a:lnTo>
                    <a:lnTo>
                      <a:pt x="4064775" y="11344340"/>
                    </a:lnTo>
                    <a:lnTo>
                      <a:pt x="4092283" y="11324364"/>
                    </a:lnTo>
                    <a:lnTo>
                      <a:pt x="4122725" y="11320262"/>
                    </a:lnTo>
                    <a:lnTo>
                      <a:pt x="4155892" y="11324904"/>
                    </a:lnTo>
                    <a:lnTo>
                      <a:pt x="4203300" y="11343626"/>
                    </a:lnTo>
                    <a:lnTo>
                      <a:pt x="4231499" y="11365383"/>
                    </a:lnTo>
                    <a:lnTo>
                      <a:pt x="4249229" y="11385551"/>
                    </a:lnTo>
                    <a:lnTo>
                      <a:pt x="4269165" y="11408204"/>
                    </a:lnTo>
                    <a:lnTo>
                      <a:pt x="4277494" y="11447121"/>
                    </a:lnTo>
                    <a:lnTo>
                      <a:pt x="4291397" y="11473963"/>
                    </a:lnTo>
                    <a:lnTo>
                      <a:pt x="4438547" y="11424191"/>
                    </a:lnTo>
                    <a:lnTo>
                      <a:pt x="4461420" y="11419554"/>
                    </a:lnTo>
                    <a:lnTo>
                      <a:pt x="4483757" y="11376457"/>
                    </a:lnTo>
                    <a:lnTo>
                      <a:pt x="4503585" y="11359712"/>
                    </a:lnTo>
                    <a:lnTo>
                      <a:pt x="4519640" y="11375778"/>
                    </a:lnTo>
                    <a:lnTo>
                      <a:pt x="4547747" y="11385946"/>
                    </a:lnTo>
                    <a:lnTo>
                      <a:pt x="4572951" y="11397798"/>
                    </a:lnTo>
                    <a:lnTo>
                      <a:pt x="4598165" y="11409649"/>
                    </a:lnTo>
                    <a:lnTo>
                      <a:pt x="4619479" y="11422938"/>
                    </a:lnTo>
                    <a:lnTo>
                      <a:pt x="4638241" y="11448124"/>
                    </a:lnTo>
                    <a:lnTo>
                      <a:pt x="4675444" y="11406516"/>
                    </a:lnTo>
                    <a:lnTo>
                      <a:pt x="4694008" y="11366518"/>
                    </a:lnTo>
                    <a:lnTo>
                      <a:pt x="4712580" y="11326513"/>
                    </a:lnTo>
                    <a:lnTo>
                      <a:pt x="4730241" y="11283858"/>
                    </a:lnTo>
                    <a:lnTo>
                      <a:pt x="4756581" y="11272659"/>
                    </a:lnTo>
                    <a:lnTo>
                      <a:pt x="4817786" y="11333867"/>
                    </a:lnTo>
                    <a:lnTo>
                      <a:pt x="4842104" y="11346780"/>
                    </a:lnTo>
                    <a:lnTo>
                      <a:pt x="4866927" y="11340000"/>
                    </a:lnTo>
                    <a:lnTo>
                      <a:pt x="4892600" y="11322986"/>
                    </a:lnTo>
                    <a:lnTo>
                      <a:pt x="4918530" y="11305826"/>
                    </a:lnTo>
                    <a:lnTo>
                      <a:pt x="4945558" y="11296612"/>
                    </a:lnTo>
                    <a:lnTo>
                      <a:pt x="4972853" y="11305297"/>
                    </a:lnTo>
                    <a:lnTo>
                      <a:pt x="4998687" y="11322260"/>
                    </a:lnTo>
                    <a:lnTo>
                      <a:pt x="5019960" y="11364348"/>
                    </a:lnTo>
                    <a:lnTo>
                      <a:pt x="5039503" y="11404590"/>
                    </a:lnTo>
                    <a:lnTo>
                      <a:pt x="5059049" y="11444833"/>
                    </a:lnTo>
                    <a:lnTo>
                      <a:pt x="5077014" y="11482858"/>
                    </a:lnTo>
                    <a:lnTo>
                      <a:pt x="5131962" y="11482291"/>
                    </a:lnTo>
                    <a:lnTo>
                      <a:pt x="5149406" y="11463345"/>
                    </a:lnTo>
                    <a:lnTo>
                      <a:pt x="5163281" y="11445400"/>
                    </a:lnTo>
                    <a:lnTo>
                      <a:pt x="5177150" y="11427448"/>
                    </a:lnTo>
                    <a:lnTo>
                      <a:pt x="5208165" y="11407314"/>
                    </a:lnTo>
                    <a:lnTo>
                      <a:pt x="5247010" y="11421012"/>
                    </a:lnTo>
                    <a:lnTo>
                      <a:pt x="5273938" y="11420577"/>
                    </a:lnTo>
                    <a:lnTo>
                      <a:pt x="5295221" y="11412756"/>
                    </a:lnTo>
                    <a:lnTo>
                      <a:pt x="5316500" y="11404927"/>
                    </a:lnTo>
                    <a:lnTo>
                      <a:pt x="5331941" y="11389165"/>
                    </a:lnTo>
                    <a:lnTo>
                      <a:pt x="5344185" y="11371946"/>
                    </a:lnTo>
                    <a:lnTo>
                      <a:pt x="5356432" y="11354733"/>
                    </a:lnTo>
                    <a:lnTo>
                      <a:pt x="5366463" y="11336095"/>
                    </a:lnTo>
                    <a:lnTo>
                      <a:pt x="5389922" y="11307143"/>
                    </a:lnTo>
                    <a:lnTo>
                      <a:pt x="5423083" y="11297133"/>
                    </a:lnTo>
                    <a:lnTo>
                      <a:pt x="5455614" y="11339960"/>
                    </a:lnTo>
                    <a:lnTo>
                      <a:pt x="5477675" y="11359218"/>
                    </a:lnTo>
                    <a:lnTo>
                      <a:pt x="5523777" y="11350097"/>
                    </a:lnTo>
                    <a:lnTo>
                      <a:pt x="5559155" y="11325860"/>
                    </a:lnTo>
                    <a:lnTo>
                      <a:pt x="5567260" y="11293057"/>
                    </a:lnTo>
                    <a:lnTo>
                      <a:pt x="5584471" y="11265340"/>
                    </a:lnTo>
                    <a:lnTo>
                      <a:pt x="5623024" y="11256331"/>
                    </a:lnTo>
                    <a:lnTo>
                      <a:pt x="5644790" y="11263129"/>
                    </a:lnTo>
                    <a:lnTo>
                      <a:pt x="5665979" y="11298011"/>
                    </a:lnTo>
                    <a:lnTo>
                      <a:pt x="5673353" y="11318896"/>
                    </a:lnTo>
                    <a:lnTo>
                      <a:pt x="5680732" y="11339782"/>
                    </a:lnTo>
                    <a:lnTo>
                      <a:pt x="5687615" y="11359864"/>
                    </a:lnTo>
                    <a:lnTo>
                      <a:pt x="5748163" y="11380109"/>
                    </a:lnTo>
                    <a:lnTo>
                      <a:pt x="5772652" y="11371946"/>
                    </a:lnTo>
                    <a:lnTo>
                      <a:pt x="5794731" y="11327179"/>
                    </a:lnTo>
                    <a:lnTo>
                      <a:pt x="5795171" y="11298649"/>
                    </a:lnTo>
                    <a:lnTo>
                      <a:pt x="5793048" y="11271294"/>
                    </a:lnTo>
                    <a:lnTo>
                      <a:pt x="5790933" y="11243932"/>
                    </a:lnTo>
                    <a:lnTo>
                      <a:pt x="5785860" y="11217084"/>
                    </a:lnTo>
                    <a:lnTo>
                      <a:pt x="5794406" y="11174719"/>
                    </a:lnTo>
                    <a:lnTo>
                      <a:pt x="5799835" y="11147745"/>
                    </a:lnTo>
                    <a:lnTo>
                      <a:pt x="5847286" y="11095679"/>
                    </a:lnTo>
                    <a:lnTo>
                      <a:pt x="5862420" y="11063178"/>
                    </a:lnTo>
                    <a:lnTo>
                      <a:pt x="5911388" y="10955728"/>
                    </a:lnTo>
                    <a:lnTo>
                      <a:pt x="5932531" y="10938602"/>
                    </a:lnTo>
                    <a:lnTo>
                      <a:pt x="5963691" y="10932039"/>
                    </a:lnTo>
                    <a:lnTo>
                      <a:pt x="5990282" y="10917643"/>
                    </a:lnTo>
                    <a:lnTo>
                      <a:pt x="6026066" y="10878957"/>
                    </a:lnTo>
                    <a:lnTo>
                      <a:pt x="6045516" y="10817051"/>
                    </a:lnTo>
                    <a:lnTo>
                      <a:pt x="6085492" y="10784340"/>
                    </a:lnTo>
                    <a:lnTo>
                      <a:pt x="6119074" y="10774857"/>
                    </a:lnTo>
                    <a:lnTo>
                      <a:pt x="6141687" y="10758454"/>
                    </a:lnTo>
                    <a:lnTo>
                      <a:pt x="6157580" y="10736732"/>
                    </a:lnTo>
                    <a:lnTo>
                      <a:pt x="6172795" y="10714387"/>
                    </a:lnTo>
                    <a:lnTo>
                      <a:pt x="6183969" y="10688370"/>
                    </a:lnTo>
                    <a:lnTo>
                      <a:pt x="6207909" y="10666001"/>
                    </a:lnTo>
                    <a:lnTo>
                      <a:pt x="6230779" y="10644633"/>
                    </a:lnTo>
                    <a:lnTo>
                      <a:pt x="6256579" y="10638282"/>
                    </a:lnTo>
                    <a:lnTo>
                      <a:pt x="6282720" y="10629281"/>
                    </a:lnTo>
                    <a:lnTo>
                      <a:pt x="6308870" y="10620272"/>
                    </a:lnTo>
                    <a:lnTo>
                      <a:pt x="6335492" y="10608045"/>
                    </a:lnTo>
                    <a:lnTo>
                      <a:pt x="6358892" y="10574872"/>
                    </a:lnTo>
                    <a:lnTo>
                      <a:pt x="6375214" y="10551745"/>
                    </a:lnTo>
                    <a:lnTo>
                      <a:pt x="6382546" y="10530324"/>
                    </a:lnTo>
                    <a:lnTo>
                      <a:pt x="6392893" y="10505501"/>
                    </a:lnTo>
                    <a:lnTo>
                      <a:pt x="6402992" y="10481271"/>
                    </a:lnTo>
                    <a:lnTo>
                      <a:pt x="6416808" y="10457636"/>
                    </a:lnTo>
                    <a:lnTo>
                      <a:pt x="6426903" y="10433412"/>
                    </a:lnTo>
                    <a:lnTo>
                      <a:pt x="6454077" y="10368182"/>
                    </a:lnTo>
                    <a:lnTo>
                      <a:pt x="6462445" y="10336638"/>
                    </a:lnTo>
                    <a:lnTo>
                      <a:pt x="6482671" y="10316432"/>
                    </a:lnTo>
                    <a:lnTo>
                      <a:pt x="6502899" y="10296225"/>
                    </a:lnTo>
                    <a:lnTo>
                      <a:pt x="6534091" y="10287855"/>
                    </a:lnTo>
                    <a:lnTo>
                      <a:pt x="6605091" y="10267464"/>
                    </a:lnTo>
                    <a:lnTo>
                      <a:pt x="6624132" y="10237544"/>
                    </a:lnTo>
                    <a:lnTo>
                      <a:pt x="6631372" y="10203329"/>
                    </a:lnTo>
                    <a:lnTo>
                      <a:pt x="6634128" y="10142748"/>
                    </a:lnTo>
                    <a:lnTo>
                      <a:pt x="6630048" y="10100758"/>
                    </a:lnTo>
                    <a:lnTo>
                      <a:pt x="6618058" y="10068357"/>
                    </a:lnTo>
                    <a:lnTo>
                      <a:pt x="6586053" y="10062072"/>
                    </a:lnTo>
                    <a:lnTo>
                      <a:pt x="6551225" y="10062139"/>
                    </a:lnTo>
                    <a:lnTo>
                      <a:pt x="6527834" y="10044022"/>
                    </a:lnTo>
                    <a:lnTo>
                      <a:pt x="6522175" y="10015077"/>
                    </a:lnTo>
                    <a:lnTo>
                      <a:pt x="6520764" y="9985902"/>
                    </a:lnTo>
                    <a:lnTo>
                      <a:pt x="6519344" y="9956725"/>
                    </a:lnTo>
                    <a:lnTo>
                      <a:pt x="6522774" y="9926983"/>
                    </a:lnTo>
                    <a:lnTo>
                      <a:pt x="6543358" y="9891983"/>
                    </a:lnTo>
                    <a:lnTo>
                      <a:pt x="6569130" y="9871031"/>
                    </a:lnTo>
                    <a:lnTo>
                      <a:pt x="6595575" y="9860763"/>
                    </a:lnTo>
                    <a:lnTo>
                      <a:pt x="6616845" y="9781255"/>
                    </a:lnTo>
                    <a:lnTo>
                      <a:pt x="6652465" y="9710551"/>
                    </a:lnTo>
                    <a:lnTo>
                      <a:pt x="6689427" y="9637690"/>
                    </a:lnTo>
                    <a:lnTo>
                      <a:pt x="6700592" y="9615644"/>
                    </a:lnTo>
                    <a:lnTo>
                      <a:pt x="6683989" y="9579207"/>
                    </a:lnTo>
                    <a:lnTo>
                      <a:pt x="6662374" y="9546780"/>
                    </a:lnTo>
                    <a:lnTo>
                      <a:pt x="6670448" y="9489899"/>
                    </a:lnTo>
                    <a:lnTo>
                      <a:pt x="6704601" y="9450350"/>
                    </a:lnTo>
                    <a:lnTo>
                      <a:pt x="6727515" y="9415983"/>
                    </a:lnTo>
                    <a:lnTo>
                      <a:pt x="6766253" y="9221750"/>
                    </a:lnTo>
                    <a:lnTo>
                      <a:pt x="6771041" y="9183388"/>
                    </a:lnTo>
                    <a:lnTo>
                      <a:pt x="6720027" y="9131617"/>
                    </a:lnTo>
                    <a:lnTo>
                      <a:pt x="6707351" y="9086205"/>
                    </a:lnTo>
                    <a:lnTo>
                      <a:pt x="6723003" y="9056456"/>
                    </a:lnTo>
                    <a:lnTo>
                      <a:pt x="6739753" y="9026963"/>
                    </a:lnTo>
                    <a:lnTo>
                      <a:pt x="6756505" y="8997477"/>
                    </a:lnTo>
                    <a:lnTo>
                      <a:pt x="6774020" y="8968782"/>
                    </a:lnTo>
                    <a:lnTo>
                      <a:pt x="6779198" y="8935828"/>
                    </a:lnTo>
                    <a:lnTo>
                      <a:pt x="6754632" y="8922269"/>
                    </a:lnTo>
                    <a:lnTo>
                      <a:pt x="6710216" y="8892711"/>
                    </a:lnTo>
                    <a:lnTo>
                      <a:pt x="6694868" y="8867821"/>
                    </a:lnTo>
                    <a:lnTo>
                      <a:pt x="6699532" y="8846751"/>
                    </a:lnTo>
                    <a:lnTo>
                      <a:pt x="6723431" y="8821571"/>
                    </a:lnTo>
                    <a:lnTo>
                      <a:pt x="6751454" y="8798740"/>
                    </a:lnTo>
                    <a:lnTo>
                      <a:pt x="6763751" y="8778447"/>
                    </a:lnTo>
                    <a:lnTo>
                      <a:pt x="6785747" y="8711568"/>
                    </a:lnTo>
                    <a:lnTo>
                      <a:pt x="6796450" y="8681654"/>
                    </a:lnTo>
                    <a:lnTo>
                      <a:pt x="6829530" y="8661071"/>
                    </a:lnTo>
                    <a:lnTo>
                      <a:pt x="6867794" y="8650856"/>
                    </a:lnTo>
                    <a:lnTo>
                      <a:pt x="6889371" y="8650189"/>
                    </a:lnTo>
                    <a:lnTo>
                      <a:pt x="6932541" y="8648851"/>
                    </a:lnTo>
                    <a:lnTo>
                      <a:pt x="6977822" y="8655043"/>
                    </a:lnTo>
                    <a:lnTo>
                      <a:pt x="7000912" y="8639308"/>
                    </a:lnTo>
                    <a:lnTo>
                      <a:pt x="7018660" y="8627212"/>
                    </a:lnTo>
                    <a:lnTo>
                      <a:pt x="7034659" y="8604580"/>
                    </a:lnTo>
                    <a:lnTo>
                      <a:pt x="7051237" y="8590340"/>
                    </a:lnTo>
                    <a:lnTo>
                      <a:pt x="7086519" y="8560010"/>
                    </a:lnTo>
                    <a:lnTo>
                      <a:pt x="7130045" y="8522941"/>
                    </a:lnTo>
                    <a:lnTo>
                      <a:pt x="7177735" y="8492407"/>
                    </a:lnTo>
                    <a:lnTo>
                      <a:pt x="7201588" y="8477139"/>
                    </a:lnTo>
                    <a:lnTo>
                      <a:pt x="7227605" y="8464312"/>
                    </a:lnTo>
                    <a:lnTo>
                      <a:pt x="7252546" y="8454321"/>
                    </a:lnTo>
                    <a:lnTo>
                      <a:pt x="7277496" y="8444329"/>
                    </a:lnTo>
                    <a:lnTo>
                      <a:pt x="7302655" y="8437795"/>
                    </a:lnTo>
                    <a:lnTo>
                      <a:pt x="7327360" y="8436640"/>
                    </a:lnTo>
                    <a:lnTo>
                      <a:pt x="7376049" y="8434345"/>
                    </a:lnTo>
                    <a:lnTo>
                      <a:pt x="7428182" y="8447837"/>
                    </a:lnTo>
                    <a:lnTo>
                      <a:pt x="7476985" y="8437999"/>
                    </a:lnTo>
                    <a:lnTo>
                      <a:pt x="7497923" y="8433765"/>
                    </a:lnTo>
                    <a:lnTo>
                      <a:pt x="7524356" y="8421135"/>
                    </a:lnTo>
                    <a:lnTo>
                      <a:pt x="7550432" y="8412153"/>
                    </a:lnTo>
                    <a:lnTo>
                      <a:pt x="7576508" y="8403170"/>
                    </a:lnTo>
                    <a:lnTo>
                      <a:pt x="7602131" y="8397084"/>
                    </a:lnTo>
                    <a:lnTo>
                      <a:pt x="7623878" y="8408077"/>
                    </a:lnTo>
                    <a:lnTo>
                      <a:pt x="7643335" y="8429787"/>
                    </a:lnTo>
                    <a:lnTo>
                      <a:pt x="7650680" y="8457097"/>
                    </a:lnTo>
                    <a:lnTo>
                      <a:pt x="7653808" y="8486965"/>
                    </a:lnTo>
                    <a:lnTo>
                      <a:pt x="7660627" y="8517942"/>
                    </a:lnTo>
                    <a:lnTo>
                      <a:pt x="7679633" y="8545772"/>
                    </a:lnTo>
                    <a:lnTo>
                      <a:pt x="7719097" y="8567219"/>
                    </a:lnTo>
                    <a:lnTo>
                      <a:pt x="7727999" y="8596124"/>
                    </a:lnTo>
                    <a:lnTo>
                      <a:pt x="7722815" y="8640712"/>
                    </a:lnTo>
                    <a:lnTo>
                      <a:pt x="7732703" y="8662437"/>
                    </a:lnTo>
                    <a:lnTo>
                      <a:pt x="7742429" y="8683837"/>
                    </a:lnTo>
                    <a:lnTo>
                      <a:pt x="7767938" y="8693630"/>
                    </a:lnTo>
                    <a:lnTo>
                      <a:pt x="7778945" y="8714120"/>
                    </a:lnTo>
                    <a:lnTo>
                      <a:pt x="7789933" y="8750465"/>
                    </a:lnTo>
                    <a:lnTo>
                      <a:pt x="7823829" y="8759006"/>
                    </a:lnTo>
                    <a:lnTo>
                      <a:pt x="7840073" y="8740257"/>
                    </a:lnTo>
                    <a:lnTo>
                      <a:pt x="7845673" y="8709748"/>
                    </a:lnTo>
                    <a:lnTo>
                      <a:pt x="7846953" y="8674676"/>
                    </a:lnTo>
                    <a:lnTo>
                      <a:pt x="7852029" y="8640007"/>
                    </a:lnTo>
                    <a:lnTo>
                      <a:pt x="7866354" y="8614128"/>
                    </a:lnTo>
                    <a:lnTo>
                      <a:pt x="7897279" y="8603946"/>
                    </a:lnTo>
                    <a:lnTo>
                      <a:pt x="7931202" y="8612975"/>
                    </a:lnTo>
                    <a:lnTo>
                      <a:pt x="7944206" y="8652867"/>
                    </a:lnTo>
                    <a:lnTo>
                      <a:pt x="7966648" y="8661071"/>
                    </a:lnTo>
                    <a:lnTo>
                      <a:pt x="7990746" y="8669895"/>
                    </a:lnTo>
                    <a:lnTo>
                      <a:pt x="8027435" y="8665523"/>
                    </a:lnTo>
                    <a:lnTo>
                      <a:pt x="8048262" y="8652913"/>
                    </a:lnTo>
                    <a:lnTo>
                      <a:pt x="8072446" y="8638260"/>
                    </a:lnTo>
                    <a:lnTo>
                      <a:pt x="8086942" y="8620881"/>
                    </a:lnTo>
                    <a:lnTo>
                      <a:pt x="8104792" y="8584286"/>
                    </a:lnTo>
                    <a:lnTo>
                      <a:pt x="8109467" y="8546814"/>
                    </a:lnTo>
                    <a:lnTo>
                      <a:pt x="8110509" y="8507944"/>
                    </a:lnTo>
                    <a:lnTo>
                      <a:pt x="8113873" y="8474146"/>
                    </a:lnTo>
                    <a:lnTo>
                      <a:pt x="8127156" y="8447521"/>
                    </a:lnTo>
                    <a:lnTo>
                      <a:pt x="8160060" y="8439384"/>
                    </a:lnTo>
                    <a:lnTo>
                      <a:pt x="8189729" y="8458403"/>
                    </a:lnTo>
                    <a:lnTo>
                      <a:pt x="8202727" y="8491760"/>
                    </a:lnTo>
                    <a:lnTo>
                      <a:pt x="8201970" y="8515528"/>
                    </a:lnTo>
                    <a:lnTo>
                      <a:pt x="8201204" y="8539303"/>
                    </a:lnTo>
                    <a:lnTo>
                      <a:pt x="8196628" y="8566315"/>
                    </a:lnTo>
                    <a:lnTo>
                      <a:pt x="8195161" y="8590340"/>
                    </a:lnTo>
                    <a:lnTo>
                      <a:pt x="8193704" y="8614367"/>
                    </a:lnTo>
                    <a:lnTo>
                      <a:pt x="8203328" y="8648831"/>
                    </a:lnTo>
                    <a:lnTo>
                      <a:pt x="8230586" y="8662060"/>
                    </a:lnTo>
                    <a:lnTo>
                      <a:pt x="8253654" y="8666512"/>
                    </a:lnTo>
                    <a:lnTo>
                      <a:pt x="8276729" y="8670969"/>
                    </a:lnTo>
                    <a:lnTo>
                      <a:pt x="8300696" y="8674103"/>
                    </a:lnTo>
                    <a:lnTo>
                      <a:pt x="8326521" y="8678462"/>
                    </a:lnTo>
                    <a:lnTo>
                      <a:pt x="8387621" y="8690213"/>
                    </a:lnTo>
                    <a:lnTo>
                      <a:pt x="8446799" y="8701881"/>
                    </a:lnTo>
                    <a:lnTo>
                      <a:pt x="8505980" y="8713540"/>
                    </a:lnTo>
                    <a:lnTo>
                      <a:pt x="8564128" y="8724513"/>
                    </a:lnTo>
                    <a:lnTo>
                      <a:pt x="8590198" y="8711634"/>
                    </a:lnTo>
                    <a:lnTo>
                      <a:pt x="8606600" y="8678033"/>
                    </a:lnTo>
                    <a:lnTo>
                      <a:pt x="8623628" y="8642032"/>
                    </a:lnTo>
                    <a:lnTo>
                      <a:pt x="8640657" y="8606023"/>
                    </a:lnTo>
                    <a:lnTo>
                      <a:pt x="8658507" y="8567424"/>
                    </a:lnTo>
                    <a:lnTo>
                      <a:pt x="8675318" y="8546814"/>
                    </a:lnTo>
                    <a:lnTo>
                      <a:pt x="8695974" y="8521484"/>
                    </a:lnTo>
                    <a:lnTo>
                      <a:pt x="8726323" y="8497636"/>
                    </a:lnTo>
                    <a:lnTo>
                      <a:pt x="8750129" y="8474726"/>
                    </a:lnTo>
                    <a:lnTo>
                      <a:pt x="8758947" y="8442318"/>
                    </a:lnTo>
                    <a:lnTo>
                      <a:pt x="8755564" y="8418958"/>
                    </a:lnTo>
                    <a:lnTo>
                      <a:pt x="8752175" y="8395594"/>
                    </a:lnTo>
                    <a:lnTo>
                      <a:pt x="8747599" y="8371278"/>
                    </a:lnTo>
                    <a:lnTo>
                      <a:pt x="8761341" y="8335903"/>
                    </a:lnTo>
                    <a:lnTo>
                      <a:pt x="8796210" y="8306279"/>
                    </a:lnTo>
                    <a:lnTo>
                      <a:pt x="8809973" y="8288380"/>
                    </a:lnTo>
                    <a:lnTo>
                      <a:pt x="8829963" y="8262370"/>
                    </a:lnTo>
                    <a:lnTo>
                      <a:pt x="8847267" y="8235264"/>
                    </a:lnTo>
                    <a:lnTo>
                      <a:pt x="8863015" y="8208126"/>
                    </a:lnTo>
                    <a:lnTo>
                      <a:pt x="8878769" y="8180988"/>
                    </a:lnTo>
                    <a:lnTo>
                      <a:pt x="8892065" y="8153376"/>
                    </a:lnTo>
                    <a:lnTo>
                      <a:pt x="8903825" y="8122432"/>
                    </a:lnTo>
                    <a:lnTo>
                      <a:pt x="8918717" y="8083265"/>
                    </a:lnTo>
                    <a:lnTo>
                      <a:pt x="8914609" y="8031970"/>
                    </a:lnTo>
                    <a:lnTo>
                      <a:pt x="8907899" y="7986413"/>
                    </a:lnTo>
                    <a:lnTo>
                      <a:pt x="8901199" y="7940855"/>
                    </a:lnTo>
                    <a:lnTo>
                      <a:pt x="8891928" y="7901206"/>
                    </a:lnTo>
                    <a:lnTo>
                      <a:pt x="8939569" y="7855325"/>
                    </a:lnTo>
                    <a:lnTo>
                      <a:pt x="9000532" y="7849575"/>
                    </a:lnTo>
                    <a:lnTo>
                      <a:pt x="9050718" y="7836794"/>
                    </a:lnTo>
                    <a:lnTo>
                      <a:pt x="9075815" y="7830404"/>
                    </a:lnTo>
                    <a:lnTo>
                      <a:pt x="9098480" y="7822021"/>
                    </a:lnTo>
                    <a:lnTo>
                      <a:pt x="9114649" y="7808224"/>
                    </a:lnTo>
                    <a:lnTo>
                      <a:pt x="9130822" y="7794435"/>
                    </a:lnTo>
                    <a:lnTo>
                      <a:pt x="9140471" y="7775409"/>
                    </a:lnTo>
                    <a:lnTo>
                      <a:pt x="9140490" y="7747017"/>
                    </a:lnTo>
                    <a:lnTo>
                      <a:pt x="9104284" y="7659199"/>
                    </a:lnTo>
                    <a:lnTo>
                      <a:pt x="9097993" y="7624853"/>
                    </a:lnTo>
                    <a:lnTo>
                      <a:pt x="9091404" y="7598652"/>
                    </a:lnTo>
                    <a:lnTo>
                      <a:pt x="9088806" y="7574270"/>
                    </a:lnTo>
                    <a:lnTo>
                      <a:pt x="9093097" y="7529596"/>
                    </a:lnTo>
                    <a:lnTo>
                      <a:pt x="9081194" y="7480017"/>
                    </a:lnTo>
                    <a:lnTo>
                      <a:pt x="9062538" y="7443250"/>
                    </a:lnTo>
                    <a:lnTo>
                      <a:pt x="9050718" y="7412412"/>
                    </a:lnTo>
                    <a:lnTo>
                      <a:pt x="9059595" y="7362093"/>
                    </a:lnTo>
                    <a:lnTo>
                      <a:pt x="9077052" y="7345197"/>
                    </a:lnTo>
                    <a:lnTo>
                      <a:pt x="9096970" y="7333517"/>
                    </a:lnTo>
                    <a:lnTo>
                      <a:pt x="9116885" y="7321844"/>
                    </a:lnTo>
                    <a:lnTo>
                      <a:pt x="9139467" y="7315546"/>
                    </a:lnTo>
                    <a:lnTo>
                      <a:pt x="9162259" y="7304954"/>
                    </a:lnTo>
                    <a:lnTo>
                      <a:pt x="9185051" y="7294363"/>
                    </a:lnTo>
                    <a:lnTo>
                      <a:pt x="9207329" y="7279920"/>
                    </a:lnTo>
                    <a:lnTo>
                      <a:pt x="9226190" y="7253264"/>
                    </a:lnTo>
                    <a:lnTo>
                      <a:pt x="9245045" y="7226613"/>
                    </a:lnTo>
                    <a:lnTo>
                      <a:pt x="9260247" y="7188000"/>
                    </a:lnTo>
                    <a:lnTo>
                      <a:pt x="9268352" y="7128126"/>
                    </a:lnTo>
                    <a:lnTo>
                      <a:pt x="9297652" y="7134760"/>
                    </a:lnTo>
                    <a:lnTo>
                      <a:pt x="9313837" y="7148900"/>
                    </a:lnTo>
                    <a:lnTo>
                      <a:pt x="9342564" y="7164483"/>
                    </a:lnTo>
                    <a:lnTo>
                      <a:pt x="9369009" y="7163494"/>
                    </a:lnTo>
                    <a:lnTo>
                      <a:pt x="9395897" y="7159194"/>
                    </a:lnTo>
                    <a:lnTo>
                      <a:pt x="9422224" y="7138163"/>
                    </a:lnTo>
                    <a:lnTo>
                      <a:pt x="9456061" y="7109086"/>
                    </a:lnTo>
                    <a:lnTo>
                      <a:pt x="9480193" y="7088345"/>
                    </a:lnTo>
                    <a:lnTo>
                      <a:pt x="9518687" y="7052911"/>
                    </a:lnTo>
                    <a:lnTo>
                      <a:pt x="9543116" y="7013869"/>
                    </a:lnTo>
                    <a:lnTo>
                      <a:pt x="9555330" y="6994355"/>
                    </a:lnTo>
                    <a:lnTo>
                      <a:pt x="9563791" y="6973897"/>
                    </a:lnTo>
                    <a:lnTo>
                      <a:pt x="9568690" y="6934150"/>
                    </a:lnTo>
                    <a:lnTo>
                      <a:pt x="9551280" y="6896895"/>
                    </a:lnTo>
                    <a:lnTo>
                      <a:pt x="9523790" y="6866815"/>
                    </a:lnTo>
                    <a:lnTo>
                      <a:pt x="9499872" y="6834474"/>
                    </a:lnTo>
                    <a:lnTo>
                      <a:pt x="9485982" y="6796237"/>
                    </a:lnTo>
                    <a:lnTo>
                      <a:pt x="9480695" y="6773689"/>
                    </a:lnTo>
                    <a:lnTo>
                      <a:pt x="9481520" y="6750118"/>
                    </a:lnTo>
                    <a:lnTo>
                      <a:pt x="9488701" y="6726872"/>
                    </a:lnTo>
                    <a:lnTo>
                      <a:pt x="9495894" y="6703618"/>
                    </a:lnTo>
                    <a:lnTo>
                      <a:pt x="9509580" y="6680312"/>
                    </a:lnTo>
                    <a:lnTo>
                      <a:pt x="9525427" y="6660217"/>
                    </a:lnTo>
                    <a:lnTo>
                      <a:pt x="9541281" y="6640122"/>
                    </a:lnTo>
                    <a:lnTo>
                      <a:pt x="9560514" y="6622969"/>
                    </a:lnTo>
                    <a:lnTo>
                      <a:pt x="9581195" y="6609891"/>
                    </a:lnTo>
                    <a:lnTo>
                      <a:pt x="9601882" y="6596814"/>
                    </a:lnTo>
                    <a:lnTo>
                      <a:pt x="9623428" y="6588965"/>
                    </a:lnTo>
                    <a:lnTo>
                      <a:pt x="9645126" y="6586770"/>
                    </a:lnTo>
                    <a:lnTo>
                      <a:pt x="9684258" y="6588828"/>
                    </a:lnTo>
                    <a:lnTo>
                      <a:pt x="9720253" y="6603751"/>
                    </a:lnTo>
                    <a:lnTo>
                      <a:pt x="9752583" y="6624855"/>
                    </a:lnTo>
                    <a:lnTo>
                      <a:pt x="9782999" y="6645385"/>
                    </a:lnTo>
                    <a:lnTo>
                      <a:pt x="9807122" y="6664662"/>
                    </a:lnTo>
                    <a:lnTo>
                      <a:pt x="9826029" y="6646619"/>
                    </a:lnTo>
                    <a:lnTo>
                      <a:pt x="9849014" y="6629241"/>
                    </a:lnTo>
                    <a:lnTo>
                      <a:pt x="9865611" y="6604147"/>
                    </a:lnTo>
                    <a:lnTo>
                      <a:pt x="9880438" y="6578605"/>
                    </a:lnTo>
                    <a:lnTo>
                      <a:pt x="9896930" y="6554844"/>
                    </a:lnTo>
                    <a:lnTo>
                      <a:pt x="9921881" y="6525931"/>
                    </a:lnTo>
                    <a:lnTo>
                      <a:pt x="9932128" y="6498359"/>
                    </a:lnTo>
                    <a:lnTo>
                      <a:pt x="9938894" y="6471379"/>
                    </a:lnTo>
                    <a:lnTo>
                      <a:pt x="9928079" y="6446443"/>
                    </a:lnTo>
                    <a:lnTo>
                      <a:pt x="9894038" y="6426263"/>
                    </a:lnTo>
                    <a:lnTo>
                      <a:pt x="9894233" y="6403985"/>
                    </a:lnTo>
                    <a:lnTo>
                      <a:pt x="9910089" y="6389872"/>
                    </a:lnTo>
                    <a:lnTo>
                      <a:pt x="9928039" y="6377295"/>
                    </a:lnTo>
                    <a:lnTo>
                      <a:pt x="9945997" y="6364726"/>
                    </a:lnTo>
                    <a:lnTo>
                      <a:pt x="9966678" y="6352961"/>
                    </a:lnTo>
                    <a:lnTo>
                      <a:pt x="9987157" y="6324088"/>
                    </a:lnTo>
                    <a:lnTo>
                      <a:pt x="9997954" y="6248352"/>
                    </a:lnTo>
                    <a:lnTo>
                      <a:pt x="10009658" y="6219513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38" name="Kiev City¬0" descr="Kiev City¬0">
                <a:extLst>
                  <a:ext uri="{FF2B5EF4-FFF2-40B4-BE49-F238E27FC236}">
                    <a16:creationId xmlns:a16="http://schemas.microsoft.com/office/drawing/2014/main" id="{F55C6F69-0748-4302-AC78-8DED51CF200F}"/>
                  </a:ext>
                </a:extLst>
              </p:cNvPr>
              <p:cNvSpPr/>
              <p:nvPr/>
            </p:nvSpPr>
            <p:spPr>
              <a:xfrm>
                <a:off x="28334594" y="9464853"/>
                <a:ext cx="2072942" cy="2026098"/>
              </a:xfrm>
              <a:custGeom>
                <a:avLst/>
                <a:gdLst/>
                <a:ahLst/>
                <a:cxnLst/>
                <a:rect l="0" t="0" r="0" b="0"/>
                <a:pathLst>
                  <a:path w="2072938" h="2026101">
                    <a:moveTo>
                      <a:pt x="1742749" y="0"/>
                    </a:moveTo>
                    <a:lnTo>
                      <a:pt x="1762813" y="13006"/>
                    </a:lnTo>
                    <a:lnTo>
                      <a:pt x="1800898" y="51091"/>
                    </a:lnTo>
                    <a:lnTo>
                      <a:pt x="1877070" y="105499"/>
                    </a:lnTo>
                    <a:lnTo>
                      <a:pt x="1947800" y="100058"/>
                    </a:lnTo>
                    <a:lnTo>
                      <a:pt x="2062057" y="203434"/>
                    </a:lnTo>
                    <a:lnTo>
                      <a:pt x="2067495" y="274163"/>
                    </a:lnTo>
                    <a:lnTo>
                      <a:pt x="1926034" y="366657"/>
                    </a:lnTo>
                    <a:lnTo>
                      <a:pt x="1893391" y="334012"/>
                    </a:lnTo>
                    <a:lnTo>
                      <a:pt x="1844424" y="361216"/>
                    </a:lnTo>
                    <a:lnTo>
                      <a:pt x="1844424" y="421065"/>
                    </a:lnTo>
                    <a:lnTo>
                      <a:pt x="1784576" y="470032"/>
                    </a:lnTo>
                    <a:lnTo>
                      <a:pt x="1779135" y="546203"/>
                    </a:lnTo>
                    <a:lnTo>
                      <a:pt x="1833544" y="567966"/>
                    </a:lnTo>
                    <a:lnTo>
                      <a:pt x="1844424" y="758394"/>
                    </a:lnTo>
                    <a:lnTo>
                      <a:pt x="1958680" y="791039"/>
                    </a:lnTo>
                    <a:lnTo>
                      <a:pt x="2040294" y="883532"/>
                    </a:lnTo>
                    <a:lnTo>
                      <a:pt x="2023969" y="921618"/>
                    </a:lnTo>
                    <a:lnTo>
                      <a:pt x="2072937" y="992348"/>
                    </a:lnTo>
                    <a:lnTo>
                      <a:pt x="2034852" y="1019553"/>
                    </a:lnTo>
                    <a:lnTo>
                      <a:pt x="1969563" y="1014112"/>
                    </a:lnTo>
                    <a:lnTo>
                      <a:pt x="1958680" y="1068520"/>
                    </a:lnTo>
                    <a:lnTo>
                      <a:pt x="1887950" y="1155572"/>
                    </a:lnTo>
                    <a:lnTo>
                      <a:pt x="1893391" y="1186859"/>
                    </a:lnTo>
                    <a:lnTo>
                      <a:pt x="1893391" y="1220862"/>
                    </a:lnTo>
                    <a:lnTo>
                      <a:pt x="1871628" y="1231744"/>
                    </a:lnTo>
                    <a:lnTo>
                      <a:pt x="1851223" y="1237184"/>
                    </a:lnTo>
                    <a:lnTo>
                      <a:pt x="1828102" y="1220862"/>
                    </a:lnTo>
                    <a:lnTo>
                      <a:pt x="1806339" y="1166454"/>
                    </a:lnTo>
                    <a:lnTo>
                      <a:pt x="1757372" y="1166454"/>
                    </a:lnTo>
                    <a:lnTo>
                      <a:pt x="1762813" y="1280710"/>
                    </a:lnTo>
                    <a:lnTo>
                      <a:pt x="1626790" y="1324237"/>
                    </a:lnTo>
                    <a:lnTo>
                      <a:pt x="1566943" y="1280710"/>
                    </a:lnTo>
                    <a:lnTo>
                      <a:pt x="1523417" y="1286151"/>
                    </a:lnTo>
                    <a:lnTo>
                      <a:pt x="1490771" y="1248066"/>
                    </a:lnTo>
                    <a:lnTo>
                      <a:pt x="1338430" y="1275270"/>
                    </a:lnTo>
                    <a:lnTo>
                      <a:pt x="1360872" y="1303193"/>
                    </a:lnTo>
                    <a:lnTo>
                      <a:pt x="1383314" y="1331036"/>
                    </a:lnTo>
                    <a:lnTo>
                      <a:pt x="1412010" y="1363319"/>
                    </a:lnTo>
                    <a:lnTo>
                      <a:pt x="1426849" y="1400408"/>
                    </a:lnTo>
                    <a:lnTo>
                      <a:pt x="1460850" y="1427612"/>
                    </a:lnTo>
                    <a:lnTo>
                      <a:pt x="1460850" y="1454816"/>
                    </a:lnTo>
                    <a:lnTo>
                      <a:pt x="1460850" y="1482020"/>
                    </a:lnTo>
                    <a:lnTo>
                      <a:pt x="1458134" y="1569073"/>
                    </a:lnTo>
                    <a:lnTo>
                      <a:pt x="1463575" y="1732297"/>
                    </a:lnTo>
                    <a:lnTo>
                      <a:pt x="1398286" y="1759501"/>
                    </a:lnTo>
                    <a:lnTo>
                      <a:pt x="1436371" y="1835672"/>
                    </a:lnTo>
                    <a:lnTo>
                      <a:pt x="1403725" y="1884639"/>
                    </a:lnTo>
                    <a:lnTo>
                      <a:pt x="1441812" y="1928166"/>
                    </a:lnTo>
                    <a:lnTo>
                      <a:pt x="1463575" y="1971692"/>
                    </a:lnTo>
                    <a:lnTo>
                      <a:pt x="1251384" y="2026100"/>
                    </a:lnTo>
                    <a:lnTo>
                      <a:pt x="1093601" y="1726856"/>
                    </a:lnTo>
                    <a:lnTo>
                      <a:pt x="1094280" y="1703727"/>
                    </a:lnTo>
                    <a:lnTo>
                      <a:pt x="1092243" y="1680606"/>
                    </a:lnTo>
                    <a:lnTo>
                      <a:pt x="1090197" y="1657484"/>
                    </a:lnTo>
                    <a:lnTo>
                      <a:pt x="1085444" y="1634363"/>
                    </a:lnTo>
                    <a:lnTo>
                      <a:pt x="1058239" y="1634363"/>
                    </a:lnTo>
                    <a:lnTo>
                      <a:pt x="1025593" y="1619398"/>
                    </a:lnTo>
                    <a:lnTo>
                      <a:pt x="1003824" y="1596276"/>
                    </a:lnTo>
                    <a:lnTo>
                      <a:pt x="1028312" y="1547310"/>
                    </a:lnTo>
                    <a:lnTo>
                      <a:pt x="1028312" y="1520106"/>
                    </a:lnTo>
                    <a:lnTo>
                      <a:pt x="1017429" y="1492901"/>
                    </a:lnTo>
                    <a:lnTo>
                      <a:pt x="997703" y="1461616"/>
                    </a:lnTo>
                    <a:lnTo>
                      <a:pt x="980703" y="1448010"/>
                    </a:lnTo>
                    <a:lnTo>
                      <a:pt x="963702" y="1434411"/>
                    </a:lnTo>
                    <a:lnTo>
                      <a:pt x="943976" y="1424888"/>
                    </a:lnTo>
                    <a:lnTo>
                      <a:pt x="905898" y="1430329"/>
                    </a:lnTo>
                    <a:lnTo>
                      <a:pt x="888209" y="1416731"/>
                    </a:lnTo>
                    <a:lnTo>
                      <a:pt x="873252" y="1397685"/>
                    </a:lnTo>
                    <a:lnTo>
                      <a:pt x="846047" y="1381362"/>
                    </a:lnTo>
                    <a:lnTo>
                      <a:pt x="843325" y="1350076"/>
                    </a:lnTo>
                    <a:lnTo>
                      <a:pt x="848763" y="1324237"/>
                    </a:lnTo>
                    <a:lnTo>
                      <a:pt x="837883" y="1291592"/>
                    </a:lnTo>
                    <a:lnTo>
                      <a:pt x="696422" y="1318797"/>
                    </a:lnTo>
                    <a:lnTo>
                      <a:pt x="680101" y="1248066"/>
                    </a:lnTo>
                    <a:lnTo>
                      <a:pt x="723627" y="1166454"/>
                    </a:lnTo>
                    <a:lnTo>
                      <a:pt x="565844" y="997789"/>
                    </a:lnTo>
                    <a:lnTo>
                      <a:pt x="533198" y="1019553"/>
                    </a:lnTo>
                    <a:lnTo>
                      <a:pt x="489672" y="981467"/>
                    </a:lnTo>
                    <a:lnTo>
                      <a:pt x="505994" y="943381"/>
                    </a:lnTo>
                    <a:lnTo>
                      <a:pt x="429825" y="812803"/>
                    </a:lnTo>
                    <a:lnTo>
                      <a:pt x="380857" y="807362"/>
                    </a:lnTo>
                    <a:lnTo>
                      <a:pt x="342769" y="769276"/>
                    </a:lnTo>
                    <a:lnTo>
                      <a:pt x="130581" y="801921"/>
                    </a:lnTo>
                    <a:lnTo>
                      <a:pt x="92493" y="845447"/>
                    </a:lnTo>
                    <a:lnTo>
                      <a:pt x="102018" y="867210"/>
                    </a:lnTo>
                    <a:lnTo>
                      <a:pt x="103376" y="891691"/>
                    </a:lnTo>
                    <a:lnTo>
                      <a:pt x="54409" y="899855"/>
                    </a:lnTo>
                    <a:lnTo>
                      <a:pt x="0" y="883532"/>
                    </a:lnTo>
                    <a:lnTo>
                      <a:pt x="43526" y="709427"/>
                    </a:lnTo>
                    <a:lnTo>
                      <a:pt x="54409" y="627815"/>
                    </a:lnTo>
                    <a:lnTo>
                      <a:pt x="103376" y="546203"/>
                    </a:lnTo>
                    <a:lnTo>
                      <a:pt x="119019" y="529881"/>
                    </a:lnTo>
                    <a:lnTo>
                      <a:pt x="114256" y="502677"/>
                    </a:lnTo>
                    <a:lnTo>
                      <a:pt x="96577" y="465270"/>
                    </a:lnTo>
                    <a:lnTo>
                      <a:pt x="91135" y="428544"/>
                    </a:lnTo>
                    <a:lnTo>
                      <a:pt x="114256" y="404743"/>
                    </a:lnTo>
                    <a:lnTo>
                      <a:pt x="155745" y="375494"/>
                    </a:lnTo>
                    <a:lnTo>
                      <a:pt x="175465" y="354417"/>
                    </a:lnTo>
                    <a:lnTo>
                      <a:pt x="195191" y="333333"/>
                    </a:lnTo>
                    <a:lnTo>
                      <a:pt x="212191" y="312249"/>
                    </a:lnTo>
                    <a:lnTo>
                      <a:pt x="223074" y="290486"/>
                    </a:lnTo>
                    <a:lnTo>
                      <a:pt x="233954" y="265999"/>
                    </a:lnTo>
                    <a:lnTo>
                      <a:pt x="250276" y="246960"/>
                    </a:lnTo>
                    <a:lnTo>
                      <a:pt x="282922" y="246960"/>
                    </a:lnTo>
                    <a:lnTo>
                      <a:pt x="301969" y="260558"/>
                    </a:lnTo>
                    <a:lnTo>
                      <a:pt x="331890" y="287763"/>
                    </a:lnTo>
                    <a:lnTo>
                      <a:pt x="369974" y="285045"/>
                    </a:lnTo>
                    <a:lnTo>
                      <a:pt x="353653" y="225197"/>
                    </a:lnTo>
                    <a:lnTo>
                      <a:pt x="380857" y="187111"/>
                    </a:lnTo>
                    <a:lnTo>
                      <a:pt x="261159" y="29328"/>
                    </a:lnTo>
                    <a:lnTo>
                      <a:pt x="451588" y="89176"/>
                    </a:lnTo>
                    <a:lnTo>
                      <a:pt x="500555" y="40209"/>
                    </a:lnTo>
                    <a:lnTo>
                      <a:pt x="772594" y="51091"/>
                    </a:lnTo>
                    <a:lnTo>
                      <a:pt x="788916" y="116381"/>
                    </a:lnTo>
                    <a:lnTo>
                      <a:pt x="865088" y="154466"/>
                    </a:lnTo>
                    <a:lnTo>
                      <a:pt x="984786" y="241519"/>
                    </a:lnTo>
                    <a:lnTo>
                      <a:pt x="1158890" y="372098"/>
                    </a:lnTo>
                    <a:lnTo>
                      <a:pt x="1180653" y="306809"/>
                    </a:lnTo>
                    <a:lnTo>
                      <a:pt x="1485338" y="290486"/>
                    </a:lnTo>
                    <a:lnTo>
                      <a:pt x="1507102" y="214315"/>
                    </a:lnTo>
                    <a:lnTo>
                      <a:pt x="1577832" y="149025"/>
                    </a:lnTo>
                    <a:lnTo>
                      <a:pt x="1615917" y="170788"/>
                    </a:lnTo>
                    <a:lnTo>
                      <a:pt x="1659443" y="143585"/>
                    </a:lnTo>
                    <a:lnTo>
                      <a:pt x="1645843" y="117739"/>
                    </a:lnTo>
                    <a:lnTo>
                      <a:pt x="1640396" y="83735"/>
                    </a:lnTo>
                    <a:lnTo>
                      <a:pt x="1654001" y="67413"/>
                    </a:lnTo>
                    <a:lnTo>
                      <a:pt x="1667600" y="51091"/>
                    </a:lnTo>
                    <a:lnTo>
                      <a:pt x="1685289" y="27283"/>
                    </a:lnTo>
                    <a:lnTo>
                      <a:pt x="1704327" y="13006"/>
                    </a:lnTo>
                    <a:lnTo>
                      <a:pt x="1723033" y="1530"/>
                    </a:lnTo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39" name="Chernihiv¬0" descr="Chernihiv¬0">
                <a:extLst>
                  <a:ext uri="{FF2B5EF4-FFF2-40B4-BE49-F238E27FC236}">
                    <a16:creationId xmlns:a16="http://schemas.microsoft.com/office/drawing/2014/main" id="{5B7489CD-C191-45C3-A86D-942F9C49443A}"/>
                  </a:ext>
                </a:extLst>
              </p:cNvPr>
              <p:cNvSpPr/>
              <p:nvPr/>
            </p:nvSpPr>
            <p:spPr>
              <a:xfrm>
                <a:off x="29286240" y="-2"/>
                <a:ext cx="10443917" cy="10817649"/>
              </a:xfrm>
              <a:custGeom>
                <a:avLst/>
                <a:gdLst/>
                <a:ahLst/>
                <a:cxnLst/>
                <a:rect l="0" t="0" r="0" b="0"/>
                <a:pathLst>
                  <a:path w="10443919" h="10817651">
                    <a:moveTo>
                      <a:pt x="9383300" y="21610"/>
                    </a:moveTo>
                    <a:lnTo>
                      <a:pt x="9376374" y="106282"/>
                    </a:lnTo>
                    <a:lnTo>
                      <a:pt x="9343684" y="157779"/>
                    </a:lnTo>
                    <a:lnTo>
                      <a:pt x="9322734" y="190828"/>
                    </a:lnTo>
                    <a:lnTo>
                      <a:pt x="9286472" y="202155"/>
                    </a:lnTo>
                    <a:lnTo>
                      <a:pt x="9256632" y="224429"/>
                    </a:lnTo>
                    <a:lnTo>
                      <a:pt x="9222371" y="223217"/>
                    </a:lnTo>
                    <a:lnTo>
                      <a:pt x="9187898" y="229062"/>
                    </a:lnTo>
                    <a:lnTo>
                      <a:pt x="9154623" y="236670"/>
                    </a:lnTo>
                    <a:lnTo>
                      <a:pt x="9116873" y="264533"/>
                    </a:lnTo>
                    <a:lnTo>
                      <a:pt x="9094899" y="363169"/>
                    </a:lnTo>
                    <a:lnTo>
                      <a:pt x="9055323" y="375411"/>
                    </a:lnTo>
                    <a:lnTo>
                      <a:pt x="9019025" y="375837"/>
                    </a:lnTo>
                    <a:lnTo>
                      <a:pt x="9020085" y="337155"/>
                    </a:lnTo>
                    <a:lnTo>
                      <a:pt x="8981874" y="330524"/>
                    </a:lnTo>
                    <a:lnTo>
                      <a:pt x="8910802" y="338261"/>
                    </a:lnTo>
                    <a:lnTo>
                      <a:pt x="8850741" y="408629"/>
                    </a:lnTo>
                    <a:lnTo>
                      <a:pt x="8805044" y="455663"/>
                    </a:lnTo>
                    <a:lnTo>
                      <a:pt x="8785452" y="475853"/>
                    </a:lnTo>
                    <a:lnTo>
                      <a:pt x="8754765" y="492154"/>
                    </a:lnTo>
                    <a:lnTo>
                      <a:pt x="8730239" y="505990"/>
                    </a:lnTo>
                    <a:lnTo>
                      <a:pt x="8699336" y="523460"/>
                    </a:lnTo>
                    <a:lnTo>
                      <a:pt x="8664693" y="541929"/>
                    </a:lnTo>
                    <a:lnTo>
                      <a:pt x="8636388" y="563118"/>
                    </a:lnTo>
                    <a:lnTo>
                      <a:pt x="8592775" y="595826"/>
                    </a:lnTo>
                    <a:lnTo>
                      <a:pt x="8518727" y="686598"/>
                    </a:lnTo>
                    <a:lnTo>
                      <a:pt x="8466358" y="696418"/>
                    </a:lnTo>
                    <a:lnTo>
                      <a:pt x="8361881" y="715992"/>
                    </a:lnTo>
                    <a:lnTo>
                      <a:pt x="8349385" y="582161"/>
                    </a:lnTo>
                    <a:lnTo>
                      <a:pt x="8244644" y="575360"/>
                    </a:lnTo>
                    <a:lnTo>
                      <a:pt x="8218804" y="573680"/>
                    </a:lnTo>
                    <a:lnTo>
                      <a:pt x="8189643" y="583755"/>
                    </a:lnTo>
                    <a:lnTo>
                      <a:pt x="8165756" y="591683"/>
                    </a:lnTo>
                    <a:lnTo>
                      <a:pt x="8139231" y="594976"/>
                    </a:lnTo>
                    <a:lnTo>
                      <a:pt x="8103360" y="604689"/>
                    </a:lnTo>
                    <a:lnTo>
                      <a:pt x="8080146" y="620502"/>
                    </a:lnTo>
                    <a:lnTo>
                      <a:pt x="8056938" y="627048"/>
                    </a:lnTo>
                    <a:lnTo>
                      <a:pt x="7983913" y="647578"/>
                    </a:lnTo>
                    <a:lnTo>
                      <a:pt x="7915440" y="645368"/>
                    </a:lnTo>
                    <a:lnTo>
                      <a:pt x="7840666" y="632488"/>
                    </a:lnTo>
                    <a:lnTo>
                      <a:pt x="7790381" y="618844"/>
                    </a:lnTo>
                    <a:lnTo>
                      <a:pt x="7732108" y="610661"/>
                    </a:lnTo>
                    <a:lnTo>
                      <a:pt x="7685606" y="586241"/>
                    </a:lnTo>
                    <a:lnTo>
                      <a:pt x="7644799" y="564818"/>
                    </a:lnTo>
                    <a:lnTo>
                      <a:pt x="7605775" y="537211"/>
                    </a:lnTo>
                    <a:lnTo>
                      <a:pt x="7564543" y="516871"/>
                    </a:lnTo>
                    <a:lnTo>
                      <a:pt x="7521315" y="495555"/>
                    </a:lnTo>
                    <a:lnTo>
                      <a:pt x="7476983" y="477596"/>
                    </a:lnTo>
                    <a:lnTo>
                      <a:pt x="7433971" y="455663"/>
                    </a:lnTo>
                    <a:lnTo>
                      <a:pt x="7370846" y="423443"/>
                    </a:lnTo>
                    <a:lnTo>
                      <a:pt x="7075894" y="238009"/>
                    </a:lnTo>
                    <a:lnTo>
                      <a:pt x="7020465" y="297879"/>
                    </a:lnTo>
                    <a:lnTo>
                      <a:pt x="7013752" y="329738"/>
                    </a:lnTo>
                    <a:lnTo>
                      <a:pt x="6985447" y="349121"/>
                    </a:lnTo>
                    <a:lnTo>
                      <a:pt x="6949734" y="330524"/>
                    </a:lnTo>
                    <a:lnTo>
                      <a:pt x="6927760" y="322852"/>
                    </a:lnTo>
                    <a:lnTo>
                      <a:pt x="6903703" y="318963"/>
                    </a:lnTo>
                    <a:lnTo>
                      <a:pt x="6881729" y="311481"/>
                    </a:lnTo>
                    <a:lnTo>
                      <a:pt x="6776018" y="275394"/>
                    </a:lnTo>
                    <a:lnTo>
                      <a:pt x="6696444" y="197161"/>
                    </a:lnTo>
                    <a:lnTo>
                      <a:pt x="6574318" y="248912"/>
                    </a:lnTo>
                    <a:lnTo>
                      <a:pt x="6542190" y="265362"/>
                    </a:lnTo>
                    <a:lnTo>
                      <a:pt x="6519748" y="286509"/>
                    </a:lnTo>
                    <a:lnTo>
                      <a:pt x="6511966" y="307486"/>
                    </a:lnTo>
                    <a:lnTo>
                      <a:pt x="6428268" y="469350"/>
                    </a:lnTo>
                    <a:lnTo>
                      <a:pt x="6585208" y="621118"/>
                    </a:lnTo>
                    <a:lnTo>
                      <a:pt x="6585208" y="658332"/>
                    </a:lnTo>
                    <a:lnTo>
                      <a:pt x="6585208" y="759475"/>
                    </a:lnTo>
                    <a:lnTo>
                      <a:pt x="6432398" y="775819"/>
                    </a:lnTo>
                    <a:lnTo>
                      <a:pt x="6416542" y="852840"/>
                    </a:lnTo>
                    <a:lnTo>
                      <a:pt x="6409268" y="887972"/>
                    </a:lnTo>
                    <a:lnTo>
                      <a:pt x="6437198" y="912944"/>
                    </a:lnTo>
                    <a:lnTo>
                      <a:pt x="6430141" y="948054"/>
                    </a:lnTo>
                    <a:lnTo>
                      <a:pt x="6421813" y="989647"/>
                    </a:lnTo>
                    <a:lnTo>
                      <a:pt x="6384063" y="1013917"/>
                    </a:lnTo>
                    <a:lnTo>
                      <a:pt x="6379815" y="1062311"/>
                    </a:lnTo>
                    <a:lnTo>
                      <a:pt x="6376585" y="1099292"/>
                    </a:lnTo>
                    <a:lnTo>
                      <a:pt x="6411103" y="1121225"/>
                    </a:lnTo>
                    <a:lnTo>
                      <a:pt x="6411103" y="1146643"/>
                    </a:lnTo>
                    <a:lnTo>
                      <a:pt x="6411103" y="1190340"/>
                    </a:lnTo>
                    <a:lnTo>
                      <a:pt x="6368849" y="1211487"/>
                    </a:lnTo>
                    <a:lnTo>
                      <a:pt x="6351247" y="1245938"/>
                    </a:lnTo>
                    <a:lnTo>
                      <a:pt x="6325453" y="1296520"/>
                    </a:lnTo>
                    <a:lnTo>
                      <a:pt x="6326470" y="1357580"/>
                    </a:lnTo>
                    <a:lnTo>
                      <a:pt x="6292763" y="1406441"/>
                    </a:lnTo>
                    <a:lnTo>
                      <a:pt x="6250471" y="1449500"/>
                    </a:lnTo>
                    <a:lnTo>
                      <a:pt x="6204899" y="1474069"/>
                    </a:lnTo>
                    <a:lnTo>
                      <a:pt x="6170005" y="1486120"/>
                    </a:lnTo>
                    <a:lnTo>
                      <a:pt x="6137697" y="1503016"/>
                    </a:lnTo>
                    <a:lnTo>
                      <a:pt x="6070027" y="1538423"/>
                    </a:lnTo>
                    <a:lnTo>
                      <a:pt x="6009289" y="1591279"/>
                    </a:lnTo>
                    <a:lnTo>
                      <a:pt x="5939111" y="1621353"/>
                    </a:lnTo>
                    <a:lnTo>
                      <a:pt x="5898006" y="1638972"/>
                    </a:lnTo>
                    <a:lnTo>
                      <a:pt x="5844323" y="1627771"/>
                    </a:lnTo>
                    <a:lnTo>
                      <a:pt x="5803091" y="1648557"/>
                    </a:lnTo>
                    <a:lnTo>
                      <a:pt x="5762117" y="1669215"/>
                    </a:lnTo>
                    <a:lnTo>
                      <a:pt x="5705330" y="1756990"/>
                    </a:lnTo>
                    <a:lnTo>
                      <a:pt x="5667071" y="1765534"/>
                    </a:lnTo>
                    <a:lnTo>
                      <a:pt x="5589411" y="1782834"/>
                    </a:lnTo>
                    <a:lnTo>
                      <a:pt x="5506737" y="1722284"/>
                    </a:lnTo>
                    <a:lnTo>
                      <a:pt x="5434475" y="1702965"/>
                    </a:lnTo>
                    <a:lnTo>
                      <a:pt x="5405912" y="1695336"/>
                    </a:lnTo>
                    <a:lnTo>
                      <a:pt x="5370249" y="1696163"/>
                    </a:lnTo>
                    <a:lnTo>
                      <a:pt x="5340623" y="1696163"/>
                    </a:lnTo>
                    <a:lnTo>
                      <a:pt x="5272829" y="1696163"/>
                    </a:lnTo>
                    <a:lnTo>
                      <a:pt x="5169837" y="1712508"/>
                    </a:lnTo>
                    <a:lnTo>
                      <a:pt x="5109388" y="1745131"/>
                    </a:lnTo>
                    <a:lnTo>
                      <a:pt x="5085758" y="1757883"/>
                    </a:lnTo>
                    <a:lnTo>
                      <a:pt x="5017744" y="1803449"/>
                    </a:lnTo>
                    <a:lnTo>
                      <a:pt x="4996489" y="1804979"/>
                    </a:lnTo>
                    <a:lnTo>
                      <a:pt x="4971796" y="1806765"/>
                    </a:lnTo>
                    <a:lnTo>
                      <a:pt x="4945187" y="1792738"/>
                    </a:lnTo>
                    <a:lnTo>
                      <a:pt x="4928481" y="1775056"/>
                    </a:lnTo>
                    <a:lnTo>
                      <a:pt x="4924611" y="1738627"/>
                    </a:lnTo>
                    <a:lnTo>
                      <a:pt x="4890356" y="1721008"/>
                    </a:lnTo>
                    <a:lnTo>
                      <a:pt x="4890396" y="1694803"/>
                    </a:lnTo>
                    <a:lnTo>
                      <a:pt x="4902557" y="1669619"/>
                    </a:lnTo>
                    <a:lnTo>
                      <a:pt x="4914500" y="1632404"/>
                    </a:lnTo>
                    <a:lnTo>
                      <a:pt x="4915390" y="1554405"/>
                    </a:lnTo>
                    <a:lnTo>
                      <a:pt x="4906718" y="1530219"/>
                    </a:lnTo>
                    <a:lnTo>
                      <a:pt x="4884744" y="1469010"/>
                    </a:lnTo>
                    <a:lnTo>
                      <a:pt x="4699462" y="1414453"/>
                    </a:lnTo>
                    <a:lnTo>
                      <a:pt x="4640120" y="1410522"/>
                    </a:lnTo>
                    <a:lnTo>
                      <a:pt x="4584480" y="1406844"/>
                    </a:lnTo>
                    <a:lnTo>
                      <a:pt x="4528586" y="1424186"/>
                    </a:lnTo>
                    <a:lnTo>
                      <a:pt x="4472812" y="1428205"/>
                    </a:lnTo>
                    <a:lnTo>
                      <a:pt x="4344129" y="1419578"/>
                    </a:lnTo>
                    <a:lnTo>
                      <a:pt x="4240349" y="1469138"/>
                    </a:lnTo>
                    <a:lnTo>
                      <a:pt x="4134126" y="1456769"/>
                    </a:lnTo>
                    <a:lnTo>
                      <a:pt x="4075063" y="1449862"/>
                    </a:lnTo>
                    <a:lnTo>
                      <a:pt x="4015067" y="1434623"/>
                    </a:lnTo>
                    <a:lnTo>
                      <a:pt x="3955939" y="1429565"/>
                    </a:lnTo>
                    <a:lnTo>
                      <a:pt x="3866676" y="1421935"/>
                    </a:lnTo>
                    <a:lnTo>
                      <a:pt x="3777032" y="1414284"/>
                    </a:lnTo>
                    <a:lnTo>
                      <a:pt x="3687980" y="1403721"/>
                    </a:lnTo>
                    <a:lnTo>
                      <a:pt x="3567327" y="1389439"/>
                    </a:lnTo>
                    <a:lnTo>
                      <a:pt x="3445678" y="1369652"/>
                    </a:lnTo>
                    <a:lnTo>
                      <a:pt x="3323447" y="1368356"/>
                    </a:lnTo>
                    <a:lnTo>
                      <a:pt x="3284724" y="1367953"/>
                    </a:lnTo>
                    <a:lnTo>
                      <a:pt x="3245067" y="1365635"/>
                    </a:lnTo>
                    <a:lnTo>
                      <a:pt x="3206468" y="1365635"/>
                    </a:lnTo>
                    <a:lnTo>
                      <a:pt x="3178966" y="1365635"/>
                    </a:lnTo>
                    <a:lnTo>
                      <a:pt x="3153740" y="1377877"/>
                    </a:lnTo>
                    <a:lnTo>
                      <a:pt x="3126222" y="1377877"/>
                    </a:lnTo>
                    <a:lnTo>
                      <a:pt x="3069413" y="1377877"/>
                    </a:lnTo>
                    <a:lnTo>
                      <a:pt x="3011389" y="1373733"/>
                    </a:lnTo>
                    <a:lnTo>
                      <a:pt x="2956192" y="1391480"/>
                    </a:lnTo>
                    <a:lnTo>
                      <a:pt x="2903848" y="1408290"/>
                    </a:lnTo>
                    <a:lnTo>
                      <a:pt x="2771487" y="1512983"/>
                    </a:lnTo>
                    <a:lnTo>
                      <a:pt x="2748081" y="1561504"/>
                    </a:lnTo>
                    <a:lnTo>
                      <a:pt x="2711336" y="1637717"/>
                    </a:lnTo>
                    <a:lnTo>
                      <a:pt x="2752756" y="1700329"/>
                    </a:lnTo>
                    <a:lnTo>
                      <a:pt x="2655587" y="1741050"/>
                    </a:lnTo>
                    <a:lnTo>
                      <a:pt x="2621967" y="1756374"/>
                    </a:lnTo>
                    <a:lnTo>
                      <a:pt x="2584283" y="1759094"/>
                    </a:lnTo>
                    <a:lnTo>
                      <a:pt x="2546180" y="1754057"/>
                    </a:lnTo>
                    <a:lnTo>
                      <a:pt x="2526367" y="1739690"/>
                    </a:lnTo>
                    <a:lnTo>
                      <a:pt x="2510111" y="1720881"/>
                    </a:lnTo>
                    <a:lnTo>
                      <a:pt x="2455255" y="1664858"/>
                    </a:lnTo>
                    <a:lnTo>
                      <a:pt x="2355559" y="1575276"/>
                    </a:lnTo>
                    <a:lnTo>
                      <a:pt x="2292412" y="1558784"/>
                    </a:lnTo>
                    <a:lnTo>
                      <a:pt x="2267676" y="1552323"/>
                    </a:lnTo>
                    <a:lnTo>
                      <a:pt x="2240710" y="1549496"/>
                    </a:lnTo>
                    <a:lnTo>
                      <a:pt x="2213524" y="1546542"/>
                    </a:lnTo>
                    <a:lnTo>
                      <a:pt x="2164197" y="1537594"/>
                    </a:lnTo>
                    <a:lnTo>
                      <a:pt x="1959003" y="1545671"/>
                    </a:lnTo>
                    <a:lnTo>
                      <a:pt x="1904758" y="1553343"/>
                    </a:lnTo>
                    <a:lnTo>
                      <a:pt x="1841131" y="1562355"/>
                    </a:lnTo>
                    <a:lnTo>
                      <a:pt x="1793866" y="1572619"/>
                    </a:lnTo>
                    <a:lnTo>
                      <a:pt x="1726577" y="1561504"/>
                    </a:lnTo>
                    <a:lnTo>
                      <a:pt x="1680881" y="1563863"/>
                    </a:lnTo>
                    <a:lnTo>
                      <a:pt x="1642241" y="1555234"/>
                    </a:lnTo>
                    <a:lnTo>
                      <a:pt x="1597357" y="1569665"/>
                    </a:lnTo>
                    <a:lnTo>
                      <a:pt x="1566137" y="1579697"/>
                    </a:lnTo>
                    <a:lnTo>
                      <a:pt x="1526626" y="1607751"/>
                    </a:lnTo>
                    <a:lnTo>
                      <a:pt x="1528006" y="1640034"/>
                    </a:lnTo>
                    <a:lnTo>
                      <a:pt x="1501633" y="1651596"/>
                    </a:lnTo>
                    <a:lnTo>
                      <a:pt x="1495342" y="1679842"/>
                    </a:lnTo>
                    <a:lnTo>
                      <a:pt x="1521675" y="1716078"/>
                    </a:lnTo>
                    <a:lnTo>
                      <a:pt x="1530710" y="1735609"/>
                    </a:lnTo>
                    <a:lnTo>
                      <a:pt x="1495447" y="1772632"/>
                    </a:lnTo>
                    <a:lnTo>
                      <a:pt x="1483100" y="1838985"/>
                    </a:lnTo>
                    <a:lnTo>
                      <a:pt x="1570001" y="1827211"/>
                    </a:lnTo>
                    <a:lnTo>
                      <a:pt x="1591488" y="1845297"/>
                    </a:lnTo>
                    <a:lnTo>
                      <a:pt x="1642241" y="1905634"/>
                    </a:lnTo>
                    <a:lnTo>
                      <a:pt x="1662324" y="1977151"/>
                    </a:lnTo>
                    <a:lnTo>
                      <a:pt x="1552656" y="2010455"/>
                    </a:lnTo>
                    <a:lnTo>
                      <a:pt x="1500780" y="2003568"/>
                    </a:lnTo>
                    <a:lnTo>
                      <a:pt x="1469495" y="1943720"/>
                    </a:lnTo>
                    <a:lnTo>
                      <a:pt x="1432769" y="1963209"/>
                    </a:lnTo>
                    <a:lnTo>
                      <a:pt x="1401338" y="1994791"/>
                    </a:lnTo>
                    <a:lnTo>
                      <a:pt x="1362044" y="2009009"/>
                    </a:lnTo>
                    <a:lnTo>
                      <a:pt x="1355390" y="2056467"/>
                    </a:lnTo>
                    <a:lnTo>
                      <a:pt x="1371560" y="2096062"/>
                    </a:lnTo>
                    <a:lnTo>
                      <a:pt x="1355220" y="2119461"/>
                    </a:lnTo>
                    <a:lnTo>
                      <a:pt x="1329392" y="2124626"/>
                    </a:lnTo>
                    <a:lnTo>
                      <a:pt x="1322599" y="2161352"/>
                    </a:lnTo>
                    <a:lnTo>
                      <a:pt x="1300898" y="2195845"/>
                    </a:lnTo>
                    <a:lnTo>
                      <a:pt x="1277076" y="2189342"/>
                    </a:lnTo>
                    <a:lnTo>
                      <a:pt x="1220623" y="2260987"/>
                    </a:lnTo>
                    <a:lnTo>
                      <a:pt x="1193168" y="2230850"/>
                    </a:lnTo>
                    <a:lnTo>
                      <a:pt x="1143053" y="2252485"/>
                    </a:lnTo>
                    <a:lnTo>
                      <a:pt x="1123290" y="2268552"/>
                    </a:lnTo>
                    <a:lnTo>
                      <a:pt x="1092873" y="2281580"/>
                    </a:lnTo>
                    <a:lnTo>
                      <a:pt x="1058996" y="2287404"/>
                    </a:lnTo>
                    <a:lnTo>
                      <a:pt x="1036954" y="2289211"/>
                    </a:lnTo>
                    <a:lnTo>
                      <a:pt x="1031131" y="2318455"/>
                    </a:lnTo>
                    <a:lnTo>
                      <a:pt x="1036954" y="2355860"/>
                    </a:lnTo>
                    <a:lnTo>
                      <a:pt x="1047242" y="2410268"/>
                    </a:lnTo>
                    <a:lnTo>
                      <a:pt x="1056826" y="2463464"/>
                    </a:lnTo>
                    <a:lnTo>
                      <a:pt x="1013833" y="2508202"/>
                    </a:lnTo>
                    <a:lnTo>
                      <a:pt x="957877" y="2566436"/>
                    </a:lnTo>
                    <a:lnTo>
                      <a:pt x="872412" y="2511773"/>
                    </a:lnTo>
                    <a:lnTo>
                      <a:pt x="839729" y="2546288"/>
                    </a:lnTo>
                    <a:lnTo>
                      <a:pt x="808909" y="2578848"/>
                    </a:lnTo>
                    <a:lnTo>
                      <a:pt x="813947" y="2624797"/>
                    </a:lnTo>
                    <a:lnTo>
                      <a:pt x="793477" y="2661905"/>
                    </a:lnTo>
                    <a:lnTo>
                      <a:pt x="772948" y="2699098"/>
                    </a:lnTo>
                    <a:lnTo>
                      <a:pt x="725661" y="2691978"/>
                    </a:lnTo>
                    <a:lnTo>
                      <a:pt x="705067" y="2721753"/>
                    </a:lnTo>
                    <a:lnTo>
                      <a:pt x="660841" y="2793546"/>
                    </a:lnTo>
                    <a:lnTo>
                      <a:pt x="620908" y="2876391"/>
                    </a:lnTo>
                    <a:lnTo>
                      <a:pt x="645964" y="2884659"/>
                    </a:lnTo>
                    <a:lnTo>
                      <a:pt x="554084" y="2906740"/>
                    </a:lnTo>
                    <a:lnTo>
                      <a:pt x="501250" y="2961659"/>
                    </a:lnTo>
                    <a:lnTo>
                      <a:pt x="575404" y="3012836"/>
                    </a:lnTo>
                    <a:lnTo>
                      <a:pt x="570406" y="3065884"/>
                    </a:lnTo>
                    <a:lnTo>
                      <a:pt x="568393" y="3087328"/>
                    </a:lnTo>
                    <a:lnTo>
                      <a:pt x="554472" y="3106116"/>
                    </a:lnTo>
                    <a:lnTo>
                      <a:pt x="540848" y="3143309"/>
                    </a:lnTo>
                    <a:lnTo>
                      <a:pt x="534535" y="3165774"/>
                    </a:lnTo>
                    <a:lnTo>
                      <a:pt x="494854" y="3226005"/>
                    </a:lnTo>
                    <a:lnTo>
                      <a:pt x="417107" y="3191872"/>
                    </a:lnTo>
                    <a:lnTo>
                      <a:pt x="393582" y="3218226"/>
                    </a:lnTo>
                    <a:lnTo>
                      <a:pt x="384296" y="3245940"/>
                    </a:lnTo>
                    <a:lnTo>
                      <a:pt x="399557" y="3282304"/>
                    </a:lnTo>
                    <a:lnTo>
                      <a:pt x="462698" y="3300051"/>
                    </a:lnTo>
                    <a:lnTo>
                      <a:pt x="484718" y="3317521"/>
                    </a:lnTo>
                    <a:lnTo>
                      <a:pt x="470902" y="3344087"/>
                    </a:lnTo>
                    <a:lnTo>
                      <a:pt x="450860" y="3353332"/>
                    </a:lnTo>
                    <a:lnTo>
                      <a:pt x="416341" y="3405105"/>
                    </a:lnTo>
                    <a:lnTo>
                      <a:pt x="446289" y="3494942"/>
                    </a:lnTo>
                    <a:lnTo>
                      <a:pt x="407188" y="3550115"/>
                    </a:lnTo>
                    <a:lnTo>
                      <a:pt x="378836" y="3590090"/>
                    </a:lnTo>
                    <a:lnTo>
                      <a:pt x="299942" y="3537171"/>
                    </a:lnTo>
                    <a:lnTo>
                      <a:pt x="233074" y="3586840"/>
                    </a:lnTo>
                    <a:lnTo>
                      <a:pt x="217801" y="3616955"/>
                    </a:lnTo>
                    <a:lnTo>
                      <a:pt x="240138" y="3651917"/>
                    </a:lnTo>
                    <a:lnTo>
                      <a:pt x="237152" y="3683414"/>
                    </a:lnTo>
                    <a:lnTo>
                      <a:pt x="233459" y="3722669"/>
                    </a:lnTo>
                    <a:lnTo>
                      <a:pt x="189548" y="3737525"/>
                    </a:lnTo>
                    <a:lnTo>
                      <a:pt x="185468" y="3786789"/>
                    </a:lnTo>
                    <a:lnTo>
                      <a:pt x="229146" y="3828488"/>
                    </a:lnTo>
                    <a:lnTo>
                      <a:pt x="214862" y="3883682"/>
                    </a:lnTo>
                    <a:lnTo>
                      <a:pt x="158263" y="3902406"/>
                    </a:lnTo>
                    <a:lnTo>
                      <a:pt x="155969" y="3935158"/>
                    </a:lnTo>
                    <a:lnTo>
                      <a:pt x="173227" y="3967696"/>
                    </a:lnTo>
                    <a:lnTo>
                      <a:pt x="119584" y="3983424"/>
                    </a:lnTo>
                    <a:lnTo>
                      <a:pt x="106574" y="4026184"/>
                    </a:lnTo>
                    <a:lnTo>
                      <a:pt x="93846" y="4045057"/>
                    </a:lnTo>
                    <a:lnTo>
                      <a:pt x="64068" y="4051157"/>
                    </a:lnTo>
                    <a:lnTo>
                      <a:pt x="50806" y="4071071"/>
                    </a:lnTo>
                    <a:lnTo>
                      <a:pt x="9172" y="4133491"/>
                    </a:lnTo>
                    <a:lnTo>
                      <a:pt x="50475" y="4187644"/>
                    </a:lnTo>
                    <a:lnTo>
                      <a:pt x="113379" y="4204371"/>
                    </a:lnTo>
                    <a:lnTo>
                      <a:pt x="116095" y="4235655"/>
                    </a:lnTo>
                    <a:lnTo>
                      <a:pt x="90891" y="4244602"/>
                    </a:lnTo>
                    <a:lnTo>
                      <a:pt x="71084" y="4252636"/>
                    </a:lnTo>
                    <a:lnTo>
                      <a:pt x="52171" y="4272380"/>
                    </a:lnTo>
                    <a:lnTo>
                      <a:pt x="42581" y="4298564"/>
                    </a:lnTo>
                    <a:lnTo>
                      <a:pt x="67128" y="4329509"/>
                    </a:lnTo>
                    <a:lnTo>
                      <a:pt x="128957" y="4455114"/>
                    </a:lnTo>
                    <a:lnTo>
                      <a:pt x="169317" y="4372355"/>
                    </a:lnTo>
                    <a:lnTo>
                      <a:pt x="254841" y="4415201"/>
                    </a:lnTo>
                    <a:lnTo>
                      <a:pt x="260043" y="4457452"/>
                    </a:lnTo>
                    <a:lnTo>
                      <a:pt x="218830" y="4504974"/>
                    </a:lnTo>
                    <a:lnTo>
                      <a:pt x="201789" y="4526737"/>
                    </a:lnTo>
                    <a:lnTo>
                      <a:pt x="200109" y="4557958"/>
                    </a:lnTo>
                    <a:lnTo>
                      <a:pt x="265041" y="4589434"/>
                    </a:lnTo>
                    <a:lnTo>
                      <a:pt x="280684" y="4617871"/>
                    </a:lnTo>
                    <a:lnTo>
                      <a:pt x="283211" y="4650771"/>
                    </a:lnTo>
                    <a:lnTo>
                      <a:pt x="273180" y="4723073"/>
                    </a:lnTo>
                    <a:lnTo>
                      <a:pt x="280684" y="4743009"/>
                    </a:lnTo>
                    <a:lnTo>
                      <a:pt x="300317" y="4795334"/>
                    </a:lnTo>
                    <a:lnTo>
                      <a:pt x="364018" y="4764283"/>
                    </a:lnTo>
                    <a:lnTo>
                      <a:pt x="379977" y="4843664"/>
                    </a:lnTo>
                    <a:lnTo>
                      <a:pt x="343297" y="4879369"/>
                    </a:lnTo>
                    <a:lnTo>
                      <a:pt x="310651" y="4851634"/>
                    </a:lnTo>
                    <a:lnTo>
                      <a:pt x="284761" y="4865427"/>
                    </a:lnTo>
                    <a:lnTo>
                      <a:pt x="260577" y="4891419"/>
                    </a:lnTo>
                    <a:lnTo>
                      <a:pt x="248546" y="4996112"/>
                    </a:lnTo>
                    <a:lnTo>
                      <a:pt x="276604" y="5023210"/>
                    </a:lnTo>
                    <a:lnTo>
                      <a:pt x="311457" y="5040744"/>
                    </a:lnTo>
                    <a:lnTo>
                      <a:pt x="368713" y="5029480"/>
                    </a:lnTo>
                    <a:lnTo>
                      <a:pt x="393576" y="5065376"/>
                    </a:lnTo>
                    <a:lnTo>
                      <a:pt x="406264" y="5083696"/>
                    </a:lnTo>
                    <a:lnTo>
                      <a:pt x="405929" y="5156977"/>
                    </a:lnTo>
                    <a:lnTo>
                      <a:pt x="409898" y="5182353"/>
                    </a:lnTo>
                    <a:lnTo>
                      <a:pt x="417488" y="5230981"/>
                    </a:lnTo>
                    <a:lnTo>
                      <a:pt x="486557" y="5282583"/>
                    </a:lnTo>
                    <a:lnTo>
                      <a:pt x="479270" y="5323814"/>
                    </a:lnTo>
                    <a:lnTo>
                      <a:pt x="474976" y="5348128"/>
                    </a:lnTo>
                    <a:lnTo>
                      <a:pt x="445201" y="5360795"/>
                    </a:lnTo>
                    <a:lnTo>
                      <a:pt x="437102" y="5385023"/>
                    </a:lnTo>
                    <a:lnTo>
                      <a:pt x="466409" y="5437135"/>
                    </a:lnTo>
                    <a:lnTo>
                      <a:pt x="484923" y="5458686"/>
                    </a:lnTo>
                    <a:lnTo>
                      <a:pt x="479270" y="5503360"/>
                    </a:lnTo>
                    <a:lnTo>
                      <a:pt x="361333" y="5565993"/>
                    </a:lnTo>
                    <a:lnTo>
                      <a:pt x="365693" y="5539236"/>
                    </a:lnTo>
                    <a:lnTo>
                      <a:pt x="277962" y="5648902"/>
                    </a:lnTo>
                    <a:lnTo>
                      <a:pt x="239282" y="5656255"/>
                    </a:lnTo>
                    <a:lnTo>
                      <a:pt x="179453" y="5710726"/>
                    </a:lnTo>
                    <a:lnTo>
                      <a:pt x="237964" y="5740587"/>
                    </a:lnTo>
                    <a:lnTo>
                      <a:pt x="226262" y="5812125"/>
                    </a:lnTo>
                    <a:lnTo>
                      <a:pt x="220381" y="5848192"/>
                    </a:lnTo>
                    <a:lnTo>
                      <a:pt x="164759" y="5842454"/>
                    </a:lnTo>
                    <a:lnTo>
                      <a:pt x="154174" y="5927742"/>
                    </a:lnTo>
                    <a:lnTo>
                      <a:pt x="151802" y="5952591"/>
                    </a:lnTo>
                    <a:lnTo>
                      <a:pt x="159814" y="5978739"/>
                    </a:lnTo>
                    <a:lnTo>
                      <a:pt x="170188" y="6003562"/>
                    </a:lnTo>
                    <a:lnTo>
                      <a:pt x="177304" y="6027036"/>
                    </a:lnTo>
                    <a:lnTo>
                      <a:pt x="165578" y="6055431"/>
                    </a:lnTo>
                    <a:lnTo>
                      <a:pt x="135136" y="6063762"/>
                    </a:lnTo>
                    <a:lnTo>
                      <a:pt x="103098" y="6061599"/>
                    </a:lnTo>
                    <a:lnTo>
                      <a:pt x="71956" y="6055044"/>
                    </a:lnTo>
                    <a:lnTo>
                      <a:pt x="45359" y="6055601"/>
                    </a:lnTo>
                    <a:lnTo>
                      <a:pt x="23484" y="6066461"/>
                    </a:lnTo>
                    <a:lnTo>
                      <a:pt x="18154" y="6086886"/>
                    </a:lnTo>
                    <a:lnTo>
                      <a:pt x="37558" y="6118622"/>
                    </a:lnTo>
                    <a:lnTo>
                      <a:pt x="44001" y="6138573"/>
                    </a:lnTo>
                    <a:lnTo>
                      <a:pt x="50444" y="6158525"/>
                    </a:lnTo>
                    <a:lnTo>
                      <a:pt x="55541" y="6179975"/>
                    </a:lnTo>
                    <a:lnTo>
                      <a:pt x="73717" y="6239733"/>
                    </a:lnTo>
                    <a:lnTo>
                      <a:pt x="79930" y="6276477"/>
                    </a:lnTo>
                    <a:lnTo>
                      <a:pt x="82085" y="6309958"/>
                    </a:lnTo>
                    <a:lnTo>
                      <a:pt x="84243" y="6343437"/>
                    </a:lnTo>
                    <a:lnTo>
                      <a:pt x="82150" y="6373615"/>
                    </a:lnTo>
                    <a:lnTo>
                      <a:pt x="76644" y="6403813"/>
                    </a:lnTo>
                    <a:lnTo>
                      <a:pt x="65584" y="6464202"/>
                    </a:lnTo>
                    <a:lnTo>
                      <a:pt x="42726" y="6525146"/>
                    </a:lnTo>
                    <a:lnTo>
                      <a:pt x="22238" y="6616004"/>
                    </a:lnTo>
                    <a:lnTo>
                      <a:pt x="11928" y="6661714"/>
                    </a:lnTo>
                    <a:lnTo>
                      <a:pt x="7879" y="6709994"/>
                    </a:lnTo>
                    <a:lnTo>
                      <a:pt x="5913" y="6758823"/>
                    </a:lnTo>
                    <a:lnTo>
                      <a:pt x="3950" y="6807652"/>
                    </a:lnTo>
                    <a:lnTo>
                      <a:pt x="4133" y="6856421"/>
                    </a:lnTo>
                    <a:lnTo>
                      <a:pt x="1839" y="6903007"/>
                    </a:lnTo>
                    <a:lnTo>
                      <a:pt x="0" y="6940328"/>
                    </a:lnTo>
                    <a:lnTo>
                      <a:pt x="90" y="7004404"/>
                    </a:lnTo>
                    <a:lnTo>
                      <a:pt x="4555" y="7066232"/>
                    </a:lnTo>
                    <a:lnTo>
                      <a:pt x="9026" y="7128052"/>
                    </a:lnTo>
                    <a:lnTo>
                      <a:pt x="17230" y="7187841"/>
                    </a:lnTo>
                    <a:lnTo>
                      <a:pt x="30401" y="7218573"/>
                    </a:lnTo>
                    <a:lnTo>
                      <a:pt x="77496" y="7235279"/>
                    </a:lnTo>
                    <a:lnTo>
                      <a:pt x="135136" y="7169607"/>
                    </a:lnTo>
                    <a:lnTo>
                      <a:pt x="177447" y="7159319"/>
                    </a:lnTo>
                    <a:lnTo>
                      <a:pt x="208279" y="7177864"/>
                    </a:lnTo>
                    <a:lnTo>
                      <a:pt x="228988" y="7209051"/>
                    </a:lnTo>
                    <a:lnTo>
                      <a:pt x="252090" y="7236617"/>
                    </a:lnTo>
                    <a:lnTo>
                      <a:pt x="302586" y="7247202"/>
                    </a:lnTo>
                    <a:lnTo>
                      <a:pt x="334761" y="7226936"/>
                    </a:lnTo>
                    <a:lnTo>
                      <a:pt x="366365" y="7221297"/>
                    </a:lnTo>
                    <a:lnTo>
                      <a:pt x="397960" y="7226257"/>
                    </a:lnTo>
                    <a:lnTo>
                      <a:pt x="421829" y="7248983"/>
                    </a:lnTo>
                    <a:lnTo>
                      <a:pt x="441180" y="7274341"/>
                    </a:lnTo>
                    <a:lnTo>
                      <a:pt x="459947" y="7293551"/>
                    </a:lnTo>
                    <a:lnTo>
                      <a:pt x="477549" y="7306497"/>
                    </a:lnTo>
                    <a:lnTo>
                      <a:pt x="492869" y="7321949"/>
                    </a:lnTo>
                    <a:lnTo>
                      <a:pt x="508189" y="7337401"/>
                    </a:lnTo>
                    <a:lnTo>
                      <a:pt x="521860" y="7356104"/>
                    </a:lnTo>
                    <a:lnTo>
                      <a:pt x="532312" y="7383156"/>
                    </a:lnTo>
                    <a:lnTo>
                      <a:pt x="547065" y="7421321"/>
                    </a:lnTo>
                    <a:lnTo>
                      <a:pt x="550323" y="7461418"/>
                    </a:lnTo>
                    <a:lnTo>
                      <a:pt x="547275" y="7502854"/>
                    </a:lnTo>
                    <a:lnTo>
                      <a:pt x="544231" y="7544296"/>
                    </a:lnTo>
                    <a:lnTo>
                      <a:pt x="534681" y="7586774"/>
                    </a:lnTo>
                    <a:lnTo>
                      <a:pt x="525512" y="7626634"/>
                    </a:lnTo>
                    <a:lnTo>
                      <a:pt x="516347" y="7666493"/>
                    </a:lnTo>
                    <a:lnTo>
                      <a:pt x="507352" y="7703392"/>
                    </a:lnTo>
                    <a:lnTo>
                      <a:pt x="503749" y="7736808"/>
                    </a:lnTo>
                    <a:lnTo>
                      <a:pt x="500150" y="7770224"/>
                    </a:lnTo>
                    <a:lnTo>
                      <a:pt x="502351" y="7800389"/>
                    </a:lnTo>
                    <a:lnTo>
                      <a:pt x="515990" y="7822502"/>
                    </a:lnTo>
                    <a:lnTo>
                      <a:pt x="541790" y="7847272"/>
                    </a:lnTo>
                    <a:lnTo>
                      <a:pt x="563600" y="7857871"/>
                    </a:lnTo>
                    <a:lnTo>
                      <a:pt x="585409" y="7868462"/>
                    </a:lnTo>
                    <a:lnTo>
                      <a:pt x="610924" y="7878064"/>
                    </a:lnTo>
                    <a:lnTo>
                      <a:pt x="638405" y="7886433"/>
                    </a:lnTo>
                    <a:lnTo>
                      <a:pt x="693387" y="7903171"/>
                    </a:lnTo>
                    <a:lnTo>
                      <a:pt x="752807" y="7916651"/>
                    </a:lnTo>
                    <a:lnTo>
                      <a:pt x="785307" y="7931318"/>
                    </a:lnTo>
                    <a:lnTo>
                      <a:pt x="827664" y="7950423"/>
                    </a:lnTo>
                    <a:lnTo>
                      <a:pt x="868648" y="7983985"/>
                    </a:lnTo>
                    <a:lnTo>
                      <a:pt x="906370" y="8010213"/>
                    </a:lnTo>
                    <a:lnTo>
                      <a:pt x="933190" y="8028870"/>
                    </a:lnTo>
                    <a:lnTo>
                      <a:pt x="958053" y="8067338"/>
                    </a:lnTo>
                    <a:lnTo>
                      <a:pt x="949000" y="8123124"/>
                    </a:lnTo>
                    <a:lnTo>
                      <a:pt x="938355" y="8194923"/>
                    </a:lnTo>
                    <a:lnTo>
                      <a:pt x="927261" y="8249436"/>
                    </a:lnTo>
                    <a:lnTo>
                      <a:pt x="903644" y="8305375"/>
                    </a:lnTo>
                    <a:lnTo>
                      <a:pt x="893660" y="8329004"/>
                    </a:lnTo>
                    <a:lnTo>
                      <a:pt x="883227" y="8356366"/>
                    </a:lnTo>
                    <a:lnTo>
                      <a:pt x="871001" y="8378822"/>
                    </a:lnTo>
                    <a:lnTo>
                      <a:pt x="844442" y="8418174"/>
                    </a:lnTo>
                    <a:lnTo>
                      <a:pt x="828833" y="8444111"/>
                    </a:lnTo>
                    <a:lnTo>
                      <a:pt x="813228" y="8470056"/>
                    </a:lnTo>
                    <a:lnTo>
                      <a:pt x="800581" y="8496310"/>
                    </a:lnTo>
                    <a:lnTo>
                      <a:pt x="804550" y="8519623"/>
                    </a:lnTo>
                    <a:lnTo>
                      <a:pt x="816704" y="8540232"/>
                    </a:lnTo>
                    <a:lnTo>
                      <a:pt x="837986" y="8552294"/>
                    </a:lnTo>
                    <a:lnTo>
                      <a:pt x="871001" y="8548852"/>
                    </a:lnTo>
                    <a:lnTo>
                      <a:pt x="901362" y="8537693"/>
                    </a:lnTo>
                    <a:lnTo>
                      <a:pt x="933131" y="8521918"/>
                    </a:lnTo>
                    <a:lnTo>
                      <a:pt x="967575" y="8509401"/>
                    </a:lnTo>
                    <a:lnTo>
                      <a:pt x="1003821" y="8505411"/>
                    </a:lnTo>
                    <a:lnTo>
                      <a:pt x="1024700" y="8513477"/>
                    </a:lnTo>
                    <a:lnTo>
                      <a:pt x="1058249" y="8532944"/>
                    </a:lnTo>
                    <a:lnTo>
                      <a:pt x="1080930" y="8559305"/>
                    </a:lnTo>
                    <a:lnTo>
                      <a:pt x="1098156" y="8588289"/>
                    </a:lnTo>
                    <a:lnTo>
                      <a:pt x="1113876" y="8616746"/>
                    </a:lnTo>
                    <a:lnTo>
                      <a:pt x="1134123" y="8638727"/>
                    </a:lnTo>
                    <a:lnTo>
                      <a:pt x="1163446" y="8649496"/>
                    </a:lnTo>
                    <a:lnTo>
                      <a:pt x="1199874" y="8631993"/>
                    </a:lnTo>
                    <a:lnTo>
                      <a:pt x="1213771" y="8611411"/>
                    </a:lnTo>
                    <a:lnTo>
                      <a:pt x="1227668" y="8590828"/>
                    </a:lnTo>
                    <a:lnTo>
                      <a:pt x="1238449" y="8566242"/>
                    </a:lnTo>
                    <a:lnTo>
                      <a:pt x="1253294" y="8538774"/>
                    </a:lnTo>
                    <a:lnTo>
                      <a:pt x="1288582" y="8537963"/>
                    </a:lnTo>
                    <a:lnTo>
                      <a:pt x="1329702" y="8547341"/>
                    </a:lnTo>
                    <a:lnTo>
                      <a:pt x="1351155" y="8557003"/>
                    </a:lnTo>
                    <a:lnTo>
                      <a:pt x="1394055" y="8576339"/>
                    </a:lnTo>
                    <a:lnTo>
                      <a:pt x="1435479" y="8605390"/>
                    </a:lnTo>
                    <a:lnTo>
                      <a:pt x="1453167" y="8619576"/>
                    </a:lnTo>
                    <a:lnTo>
                      <a:pt x="1481169" y="8608681"/>
                    </a:lnTo>
                    <a:lnTo>
                      <a:pt x="1503236" y="8584999"/>
                    </a:lnTo>
                    <a:lnTo>
                      <a:pt x="1525256" y="8563809"/>
                    </a:lnTo>
                    <a:lnTo>
                      <a:pt x="1547283" y="8542620"/>
                    </a:lnTo>
                    <a:lnTo>
                      <a:pt x="1568987" y="8524048"/>
                    </a:lnTo>
                    <a:lnTo>
                      <a:pt x="1595993" y="8518917"/>
                    </a:lnTo>
                    <a:lnTo>
                      <a:pt x="1636424" y="8511241"/>
                    </a:lnTo>
                    <a:lnTo>
                      <a:pt x="1697580" y="8523091"/>
                    </a:lnTo>
                    <a:lnTo>
                      <a:pt x="1759217" y="8531164"/>
                    </a:lnTo>
                    <a:lnTo>
                      <a:pt x="1790027" y="8535200"/>
                    </a:lnTo>
                    <a:lnTo>
                      <a:pt x="1819976" y="8537713"/>
                    </a:lnTo>
                    <a:lnTo>
                      <a:pt x="1848985" y="8536605"/>
                    </a:lnTo>
                    <a:lnTo>
                      <a:pt x="1877997" y="8535497"/>
                    </a:lnTo>
                    <a:lnTo>
                      <a:pt x="1905397" y="8531224"/>
                    </a:lnTo>
                    <a:lnTo>
                      <a:pt x="1927879" y="8518917"/>
                    </a:lnTo>
                    <a:lnTo>
                      <a:pt x="1951661" y="8505906"/>
                    </a:lnTo>
                    <a:lnTo>
                      <a:pt x="1969660" y="8478220"/>
                    </a:lnTo>
                    <a:lnTo>
                      <a:pt x="1995888" y="8464509"/>
                    </a:lnTo>
                    <a:lnTo>
                      <a:pt x="2068128" y="8473419"/>
                    </a:lnTo>
                    <a:lnTo>
                      <a:pt x="2078289" y="8500986"/>
                    </a:lnTo>
                    <a:lnTo>
                      <a:pt x="2070699" y="8527082"/>
                    </a:lnTo>
                    <a:lnTo>
                      <a:pt x="2077058" y="8551925"/>
                    </a:lnTo>
                    <a:lnTo>
                      <a:pt x="2148229" y="8578766"/>
                    </a:lnTo>
                    <a:lnTo>
                      <a:pt x="2123861" y="8626263"/>
                    </a:lnTo>
                    <a:lnTo>
                      <a:pt x="2118308" y="8648138"/>
                    </a:lnTo>
                    <a:lnTo>
                      <a:pt x="2108916" y="8685089"/>
                    </a:lnTo>
                    <a:lnTo>
                      <a:pt x="2111549" y="8706483"/>
                    </a:lnTo>
                    <a:lnTo>
                      <a:pt x="2130497" y="8731253"/>
                    </a:lnTo>
                    <a:lnTo>
                      <a:pt x="2167270" y="8733832"/>
                    </a:lnTo>
                    <a:lnTo>
                      <a:pt x="2209410" y="8729856"/>
                    </a:lnTo>
                    <a:lnTo>
                      <a:pt x="2231200" y="8728391"/>
                    </a:lnTo>
                    <a:lnTo>
                      <a:pt x="2252988" y="8726927"/>
                    </a:lnTo>
                    <a:lnTo>
                      <a:pt x="2274435" y="8728655"/>
                    </a:lnTo>
                    <a:lnTo>
                      <a:pt x="2299761" y="8751071"/>
                    </a:lnTo>
                    <a:lnTo>
                      <a:pt x="2283324" y="8809278"/>
                    </a:lnTo>
                    <a:lnTo>
                      <a:pt x="2293621" y="8846579"/>
                    </a:lnTo>
                    <a:lnTo>
                      <a:pt x="2379374" y="8907852"/>
                    </a:lnTo>
                    <a:lnTo>
                      <a:pt x="2402582" y="8928342"/>
                    </a:lnTo>
                    <a:lnTo>
                      <a:pt x="2433207" y="8955329"/>
                    </a:lnTo>
                    <a:lnTo>
                      <a:pt x="2463168" y="9006043"/>
                    </a:lnTo>
                    <a:lnTo>
                      <a:pt x="2473313" y="9045316"/>
                    </a:lnTo>
                    <a:lnTo>
                      <a:pt x="2486159" y="9095041"/>
                    </a:lnTo>
                    <a:lnTo>
                      <a:pt x="2497299" y="9128379"/>
                    </a:lnTo>
                    <a:lnTo>
                      <a:pt x="2500514" y="9160931"/>
                    </a:lnTo>
                    <a:lnTo>
                      <a:pt x="2503733" y="9193490"/>
                    </a:lnTo>
                    <a:lnTo>
                      <a:pt x="2498201" y="9225139"/>
                    </a:lnTo>
                    <a:lnTo>
                      <a:pt x="2476035" y="9272471"/>
                    </a:lnTo>
                    <a:lnTo>
                      <a:pt x="2458287" y="9307153"/>
                    </a:lnTo>
                    <a:lnTo>
                      <a:pt x="2432298" y="9326708"/>
                    </a:lnTo>
                    <a:lnTo>
                      <a:pt x="2399435" y="9318451"/>
                    </a:lnTo>
                    <a:lnTo>
                      <a:pt x="2374020" y="9317349"/>
                    </a:lnTo>
                    <a:lnTo>
                      <a:pt x="2346393" y="9406380"/>
                    </a:lnTo>
                    <a:lnTo>
                      <a:pt x="2404836" y="9470713"/>
                    </a:lnTo>
                    <a:lnTo>
                      <a:pt x="2453547" y="9521593"/>
                    </a:lnTo>
                    <a:lnTo>
                      <a:pt x="2501875" y="9573066"/>
                    </a:lnTo>
                    <a:lnTo>
                      <a:pt x="2531821" y="9583783"/>
                    </a:lnTo>
                    <a:lnTo>
                      <a:pt x="2563360" y="9565693"/>
                    </a:lnTo>
                    <a:lnTo>
                      <a:pt x="2609463" y="9555708"/>
                    </a:lnTo>
                    <a:lnTo>
                      <a:pt x="2636537" y="9563550"/>
                    </a:lnTo>
                    <a:lnTo>
                      <a:pt x="2661320" y="9592370"/>
                    </a:lnTo>
                    <a:lnTo>
                      <a:pt x="2642254" y="9683775"/>
                    </a:lnTo>
                    <a:lnTo>
                      <a:pt x="2643216" y="9720021"/>
                    </a:lnTo>
                    <a:lnTo>
                      <a:pt x="2656037" y="9739001"/>
                    </a:lnTo>
                    <a:lnTo>
                      <a:pt x="2671905" y="9755336"/>
                    </a:lnTo>
                    <a:lnTo>
                      <a:pt x="2687771" y="9771672"/>
                    </a:lnTo>
                    <a:lnTo>
                      <a:pt x="2705953" y="9786075"/>
                    </a:lnTo>
                    <a:lnTo>
                      <a:pt x="2736277" y="9799074"/>
                    </a:lnTo>
                    <a:lnTo>
                      <a:pt x="2765506" y="9788383"/>
                    </a:lnTo>
                    <a:lnTo>
                      <a:pt x="2793086" y="9777192"/>
                    </a:lnTo>
                    <a:lnTo>
                      <a:pt x="2813363" y="9793422"/>
                    </a:lnTo>
                    <a:lnTo>
                      <a:pt x="2831849" y="9816445"/>
                    </a:lnTo>
                    <a:lnTo>
                      <a:pt x="2852003" y="9838406"/>
                    </a:lnTo>
                    <a:lnTo>
                      <a:pt x="2880014" y="9847830"/>
                    </a:lnTo>
                    <a:lnTo>
                      <a:pt x="2916126" y="9842119"/>
                    </a:lnTo>
                    <a:lnTo>
                      <a:pt x="2943945" y="9821984"/>
                    </a:lnTo>
                    <a:lnTo>
                      <a:pt x="2969788" y="9795077"/>
                    </a:lnTo>
                    <a:lnTo>
                      <a:pt x="3022219" y="9795546"/>
                    </a:lnTo>
                    <a:lnTo>
                      <a:pt x="3059981" y="9813721"/>
                    </a:lnTo>
                    <a:lnTo>
                      <a:pt x="3100363" y="9827425"/>
                    </a:lnTo>
                    <a:lnTo>
                      <a:pt x="3135499" y="9839349"/>
                    </a:lnTo>
                    <a:lnTo>
                      <a:pt x="3172926" y="9847593"/>
                    </a:lnTo>
                    <a:lnTo>
                      <a:pt x="3207820" y="9860070"/>
                    </a:lnTo>
                    <a:lnTo>
                      <a:pt x="3245694" y="9879518"/>
                    </a:lnTo>
                    <a:lnTo>
                      <a:pt x="3285031" y="9892583"/>
                    </a:lnTo>
                    <a:lnTo>
                      <a:pt x="3317993" y="9891356"/>
                    </a:lnTo>
                    <a:lnTo>
                      <a:pt x="3348404" y="9880659"/>
                    </a:lnTo>
                    <a:lnTo>
                      <a:pt x="3387769" y="9851543"/>
                    </a:lnTo>
                    <a:lnTo>
                      <a:pt x="3409972" y="9822518"/>
                    </a:lnTo>
                    <a:lnTo>
                      <a:pt x="3432256" y="9794781"/>
                    </a:lnTo>
                    <a:lnTo>
                      <a:pt x="3450810" y="9784683"/>
                    </a:lnTo>
                    <a:lnTo>
                      <a:pt x="3484429" y="9785851"/>
                    </a:lnTo>
                    <a:lnTo>
                      <a:pt x="3505538" y="9788680"/>
                    </a:lnTo>
                    <a:lnTo>
                      <a:pt x="3526107" y="9793422"/>
                    </a:lnTo>
                    <a:lnTo>
                      <a:pt x="3567240" y="9802892"/>
                    </a:lnTo>
                    <a:lnTo>
                      <a:pt x="3607920" y="9817414"/>
                    </a:lnTo>
                    <a:lnTo>
                      <a:pt x="3651669" y="9827900"/>
                    </a:lnTo>
                    <a:lnTo>
                      <a:pt x="3685673" y="9831719"/>
                    </a:lnTo>
                    <a:lnTo>
                      <a:pt x="3716536" y="9836948"/>
                    </a:lnTo>
                    <a:lnTo>
                      <a:pt x="3748965" y="9826660"/>
                    </a:lnTo>
                    <a:lnTo>
                      <a:pt x="3765668" y="9791529"/>
                    </a:lnTo>
                    <a:lnTo>
                      <a:pt x="3787267" y="9785257"/>
                    </a:lnTo>
                    <a:lnTo>
                      <a:pt x="3821969" y="9785719"/>
                    </a:lnTo>
                    <a:lnTo>
                      <a:pt x="3858658" y="9793000"/>
                    </a:lnTo>
                    <a:lnTo>
                      <a:pt x="3894718" y="9783892"/>
                    </a:lnTo>
                    <a:lnTo>
                      <a:pt x="3913706" y="9755818"/>
                    </a:lnTo>
                    <a:lnTo>
                      <a:pt x="3937289" y="9722388"/>
                    </a:lnTo>
                    <a:lnTo>
                      <a:pt x="3964090" y="9700922"/>
                    </a:lnTo>
                    <a:lnTo>
                      <a:pt x="3989236" y="9690469"/>
                    </a:lnTo>
                    <a:lnTo>
                      <a:pt x="4020642" y="9704318"/>
                    </a:lnTo>
                    <a:lnTo>
                      <a:pt x="4042984" y="9688682"/>
                    </a:lnTo>
                    <a:lnTo>
                      <a:pt x="4069919" y="9658938"/>
                    </a:lnTo>
                    <a:lnTo>
                      <a:pt x="4082430" y="9641073"/>
                    </a:lnTo>
                    <a:lnTo>
                      <a:pt x="4094938" y="9623207"/>
                    </a:lnTo>
                    <a:lnTo>
                      <a:pt x="4108255" y="9606707"/>
                    </a:lnTo>
                    <a:lnTo>
                      <a:pt x="4130037" y="9601629"/>
                    </a:lnTo>
                    <a:lnTo>
                      <a:pt x="4164924" y="9593497"/>
                    </a:lnTo>
                    <a:lnTo>
                      <a:pt x="4208426" y="9600059"/>
                    </a:lnTo>
                    <a:lnTo>
                      <a:pt x="4248377" y="9605704"/>
                    </a:lnTo>
                    <a:lnTo>
                      <a:pt x="4288321" y="9611356"/>
                    </a:lnTo>
                    <a:lnTo>
                      <a:pt x="4325101" y="9615894"/>
                    </a:lnTo>
                    <a:lnTo>
                      <a:pt x="4350386" y="9604346"/>
                    </a:lnTo>
                    <a:lnTo>
                      <a:pt x="4370704" y="9587767"/>
                    </a:lnTo>
                    <a:lnTo>
                      <a:pt x="4405282" y="9534124"/>
                    </a:lnTo>
                    <a:lnTo>
                      <a:pt x="4411601" y="9509129"/>
                    </a:lnTo>
                    <a:lnTo>
                      <a:pt x="4432803" y="9503728"/>
                    </a:lnTo>
                    <a:lnTo>
                      <a:pt x="4456972" y="9494976"/>
                    </a:lnTo>
                    <a:lnTo>
                      <a:pt x="4475526" y="9483290"/>
                    </a:lnTo>
                    <a:lnTo>
                      <a:pt x="4468977" y="9443800"/>
                    </a:lnTo>
                    <a:lnTo>
                      <a:pt x="4461920" y="9414874"/>
                    </a:lnTo>
                    <a:lnTo>
                      <a:pt x="4474158" y="9393514"/>
                    </a:lnTo>
                    <a:lnTo>
                      <a:pt x="4501369" y="9374474"/>
                    </a:lnTo>
                    <a:lnTo>
                      <a:pt x="4518221" y="9354195"/>
                    </a:lnTo>
                    <a:lnTo>
                      <a:pt x="4497326" y="9308096"/>
                    </a:lnTo>
                    <a:lnTo>
                      <a:pt x="4513610" y="9277898"/>
                    </a:lnTo>
                    <a:lnTo>
                      <a:pt x="4572865" y="9247602"/>
                    </a:lnTo>
                    <a:lnTo>
                      <a:pt x="4621067" y="9238454"/>
                    </a:lnTo>
                    <a:lnTo>
                      <a:pt x="4669263" y="9229300"/>
                    </a:lnTo>
                    <a:lnTo>
                      <a:pt x="4718891" y="9226531"/>
                    </a:lnTo>
                    <a:lnTo>
                      <a:pt x="4739401" y="9235737"/>
                    </a:lnTo>
                    <a:lnTo>
                      <a:pt x="4756488" y="9254414"/>
                    </a:lnTo>
                    <a:lnTo>
                      <a:pt x="4762358" y="9274944"/>
                    </a:lnTo>
                    <a:lnTo>
                      <a:pt x="4774769" y="9295586"/>
                    </a:lnTo>
                    <a:lnTo>
                      <a:pt x="4792126" y="9324465"/>
                    </a:lnTo>
                    <a:lnTo>
                      <a:pt x="4810882" y="9341763"/>
                    </a:lnTo>
                    <a:lnTo>
                      <a:pt x="4833253" y="9355434"/>
                    </a:lnTo>
                    <a:lnTo>
                      <a:pt x="4855629" y="9369100"/>
                    </a:lnTo>
                    <a:lnTo>
                      <a:pt x="4882133" y="9378075"/>
                    </a:lnTo>
                    <a:lnTo>
                      <a:pt x="4913505" y="9389438"/>
                    </a:lnTo>
                    <a:lnTo>
                      <a:pt x="4933231" y="9417064"/>
                    </a:lnTo>
                    <a:lnTo>
                      <a:pt x="4953220" y="9445561"/>
                    </a:lnTo>
                    <a:lnTo>
                      <a:pt x="4971994" y="9473767"/>
                    </a:lnTo>
                    <a:lnTo>
                      <a:pt x="4990790" y="9502006"/>
                    </a:lnTo>
                    <a:lnTo>
                      <a:pt x="5003775" y="9531921"/>
                    </a:lnTo>
                    <a:lnTo>
                      <a:pt x="5020962" y="9558103"/>
                    </a:lnTo>
                    <a:lnTo>
                      <a:pt x="5038149" y="9584284"/>
                    </a:lnTo>
                    <a:lnTo>
                      <a:pt x="5059707" y="9606318"/>
                    </a:lnTo>
                    <a:lnTo>
                      <a:pt x="5095776" y="9619310"/>
                    </a:lnTo>
                    <a:lnTo>
                      <a:pt x="5125083" y="9629868"/>
                    </a:lnTo>
                    <a:lnTo>
                      <a:pt x="5183929" y="9627349"/>
                    </a:lnTo>
                    <a:lnTo>
                      <a:pt x="5237228" y="9626109"/>
                    </a:lnTo>
                    <a:lnTo>
                      <a:pt x="5290536" y="9624876"/>
                    </a:lnTo>
                    <a:lnTo>
                      <a:pt x="5339188" y="9624961"/>
                    </a:lnTo>
                    <a:lnTo>
                      <a:pt x="5358436" y="9657686"/>
                    </a:lnTo>
                    <a:lnTo>
                      <a:pt x="5371843" y="9679653"/>
                    </a:lnTo>
                    <a:lnTo>
                      <a:pt x="5382772" y="9702280"/>
                    </a:lnTo>
                    <a:lnTo>
                      <a:pt x="5393705" y="9724907"/>
                    </a:lnTo>
                    <a:lnTo>
                      <a:pt x="5401475" y="9748636"/>
                    </a:lnTo>
                    <a:lnTo>
                      <a:pt x="5397736" y="9771652"/>
                    </a:lnTo>
                    <a:lnTo>
                      <a:pt x="5362374" y="9781175"/>
                    </a:lnTo>
                    <a:lnTo>
                      <a:pt x="5349184" y="9806348"/>
                    </a:lnTo>
                    <a:lnTo>
                      <a:pt x="5348306" y="9834890"/>
                    </a:lnTo>
                    <a:lnTo>
                      <a:pt x="5341969" y="9861428"/>
                    </a:lnTo>
                    <a:lnTo>
                      <a:pt x="5327012" y="9877006"/>
                    </a:lnTo>
                    <a:lnTo>
                      <a:pt x="5297429" y="9879809"/>
                    </a:lnTo>
                    <a:lnTo>
                      <a:pt x="5263747" y="9873622"/>
                    </a:lnTo>
                    <a:lnTo>
                      <a:pt x="5240146" y="9864455"/>
                    </a:lnTo>
                    <a:lnTo>
                      <a:pt x="5205779" y="9870800"/>
                    </a:lnTo>
                    <a:lnTo>
                      <a:pt x="5181554" y="9900787"/>
                    </a:lnTo>
                    <a:lnTo>
                      <a:pt x="5161065" y="9934876"/>
                    </a:lnTo>
                    <a:lnTo>
                      <a:pt x="5140567" y="9968971"/>
                    </a:lnTo>
                    <a:lnTo>
                      <a:pt x="5123421" y="10008171"/>
                    </a:lnTo>
                    <a:lnTo>
                      <a:pt x="5122981" y="10030093"/>
                    </a:lnTo>
                    <a:lnTo>
                      <a:pt x="5160259" y="10062837"/>
                    </a:lnTo>
                    <a:lnTo>
                      <a:pt x="5190986" y="10080419"/>
                    </a:lnTo>
                    <a:lnTo>
                      <a:pt x="5221713" y="10098001"/>
                    </a:lnTo>
                    <a:lnTo>
                      <a:pt x="5254362" y="10116889"/>
                    </a:lnTo>
                    <a:lnTo>
                      <a:pt x="5268516" y="10138909"/>
                    </a:lnTo>
                    <a:lnTo>
                      <a:pt x="5281231" y="10158634"/>
                    </a:lnTo>
                    <a:lnTo>
                      <a:pt x="5259586" y="10226641"/>
                    </a:lnTo>
                    <a:lnTo>
                      <a:pt x="5267158" y="10261323"/>
                    </a:lnTo>
                    <a:lnTo>
                      <a:pt x="5285076" y="10283251"/>
                    </a:lnTo>
                    <a:lnTo>
                      <a:pt x="5297289" y="10306802"/>
                    </a:lnTo>
                    <a:lnTo>
                      <a:pt x="5313406" y="10325254"/>
                    </a:lnTo>
                    <a:lnTo>
                      <a:pt x="5329526" y="10343707"/>
                    </a:lnTo>
                    <a:lnTo>
                      <a:pt x="5349323" y="10356996"/>
                    </a:lnTo>
                    <a:lnTo>
                      <a:pt x="5382772" y="10361982"/>
                    </a:lnTo>
                    <a:lnTo>
                      <a:pt x="5407977" y="10365741"/>
                    </a:lnTo>
                    <a:lnTo>
                      <a:pt x="5437609" y="10354542"/>
                    </a:lnTo>
                    <a:lnTo>
                      <a:pt x="5467108" y="10348376"/>
                    </a:lnTo>
                    <a:lnTo>
                      <a:pt x="5496443" y="10343463"/>
                    </a:lnTo>
                    <a:lnTo>
                      <a:pt x="5524832" y="10347849"/>
                    </a:lnTo>
                    <a:lnTo>
                      <a:pt x="5551438" y="10367422"/>
                    </a:lnTo>
                    <a:lnTo>
                      <a:pt x="5554074" y="10399111"/>
                    </a:lnTo>
                    <a:lnTo>
                      <a:pt x="5516668" y="10428505"/>
                    </a:lnTo>
                    <a:lnTo>
                      <a:pt x="5483306" y="10462429"/>
                    </a:lnTo>
                    <a:lnTo>
                      <a:pt x="5460309" y="10492560"/>
                    </a:lnTo>
                    <a:lnTo>
                      <a:pt x="5558250" y="10663949"/>
                    </a:lnTo>
                    <a:lnTo>
                      <a:pt x="5608576" y="10740121"/>
                    </a:lnTo>
                    <a:lnTo>
                      <a:pt x="5660259" y="10817650"/>
                    </a:lnTo>
                    <a:lnTo>
                      <a:pt x="5665766" y="10789833"/>
                    </a:lnTo>
                    <a:lnTo>
                      <a:pt x="5679747" y="10767272"/>
                    </a:lnTo>
                    <a:lnTo>
                      <a:pt x="5692905" y="10744202"/>
                    </a:lnTo>
                    <a:lnTo>
                      <a:pt x="5706067" y="10721133"/>
                    </a:lnTo>
                    <a:lnTo>
                      <a:pt x="5717304" y="10697722"/>
                    </a:lnTo>
                    <a:lnTo>
                      <a:pt x="5717391" y="10669390"/>
                    </a:lnTo>
                    <a:lnTo>
                      <a:pt x="5740751" y="10665737"/>
                    </a:lnTo>
                    <a:lnTo>
                      <a:pt x="5781613" y="10670426"/>
                    </a:lnTo>
                    <a:lnTo>
                      <a:pt x="5822125" y="10670749"/>
                    </a:lnTo>
                    <a:lnTo>
                      <a:pt x="5862644" y="10671078"/>
                    </a:lnTo>
                    <a:lnTo>
                      <a:pt x="5901863" y="10667596"/>
                    </a:lnTo>
                    <a:lnTo>
                      <a:pt x="5936382" y="10659867"/>
                    </a:lnTo>
                    <a:lnTo>
                      <a:pt x="5969025" y="10700669"/>
                    </a:lnTo>
                    <a:lnTo>
                      <a:pt x="6000893" y="10712659"/>
                    </a:lnTo>
                    <a:lnTo>
                      <a:pt x="6029654" y="10710443"/>
                    </a:lnTo>
                    <a:lnTo>
                      <a:pt x="6054719" y="10696587"/>
                    </a:lnTo>
                    <a:lnTo>
                      <a:pt x="6079958" y="10680390"/>
                    </a:lnTo>
                    <a:lnTo>
                      <a:pt x="6102862" y="10652158"/>
                    </a:lnTo>
                    <a:lnTo>
                      <a:pt x="6124092" y="10620416"/>
                    </a:lnTo>
                    <a:lnTo>
                      <a:pt x="6145321" y="10588682"/>
                    </a:lnTo>
                    <a:lnTo>
                      <a:pt x="6165388" y="10553175"/>
                    </a:lnTo>
                    <a:lnTo>
                      <a:pt x="6186658" y="10522482"/>
                    </a:lnTo>
                    <a:lnTo>
                      <a:pt x="6207934" y="10491789"/>
                    </a:lnTo>
                    <a:lnTo>
                      <a:pt x="6230652" y="10466188"/>
                    </a:lnTo>
                    <a:lnTo>
                      <a:pt x="6256031" y="10453116"/>
                    </a:lnTo>
                    <a:lnTo>
                      <a:pt x="6275242" y="10443225"/>
                    </a:lnTo>
                    <a:lnTo>
                      <a:pt x="6314520" y="10439512"/>
                    </a:lnTo>
                    <a:lnTo>
                      <a:pt x="6356133" y="10440507"/>
                    </a:lnTo>
                    <a:lnTo>
                      <a:pt x="6377087" y="10440870"/>
                    </a:lnTo>
                    <a:lnTo>
                      <a:pt x="6399318" y="10415796"/>
                    </a:lnTo>
                    <a:lnTo>
                      <a:pt x="6414703" y="10375284"/>
                    </a:lnTo>
                    <a:lnTo>
                      <a:pt x="6428777" y="10359258"/>
                    </a:lnTo>
                    <a:lnTo>
                      <a:pt x="6494066" y="10355182"/>
                    </a:lnTo>
                    <a:lnTo>
                      <a:pt x="6534467" y="10352188"/>
                    </a:lnTo>
                    <a:lnTo>
                      <a:pt x="6570238" y="10364705"/>
                    </a:lnTo>
                    <a:lnTo>
                      <a:pt x="6595145" y="10391863"/>
                    </a:lnTo>
                    <a:lnTo>
                      <a:pt x="6615122" y="10416390"/>
                    </a:lnTo>
                    <a:lnTo>
                      <a:pt x="6643427" y="10440131"/>
                    </a:lnTo>
                    <a:lnTo>
                      <a:pt x="6666806" y="10459923"/>
                    </a:lnTo>
                    <a:lnTo>
                      <a:pt x="6688528" y="10450723"/>
                    </a:lnTo>
                    <a:lnTo>
                      <a:pt x="6700940" y="10426407"/>
                    </a:lnTo>
                    <a:lnTo>
                      <a:pt x="6718499" y="10412314"/>
                    </a:lnTo>
                    <a:lnTo>
                      <a:pt x="6752633" y="10398353"/>
                    </a:lnTo>
                    <a:lnTo>
                      <a:pt x="6771249" y="10373062"/>
                    </a:lnTo>
                    <a:lnTo>
                      <a:pt x="6786504" y="10356548"/>
                    </a:lnTo>
                    <a:lnTo>
                      <a:pt x="6806822" y="10351239"/>
                    </a:lnTo>
                    <a:lnTo>
                      <a:pt x="6833518" y="10354826"/>
                    </a:lnTo>
                    <a:lnTo>
                      <a:pt x="6899409" y="10370153"/>
                    </a:lnTo>
                    <a:lnTo>
                      <a:pt x="6929956" y="10406702"/>
                    </a:lnTo>
                    <a:lnTo>
                      <a:pt x="6938845" y="10439525"/>
                    </a:lnTo>
                    <a:lnTo>
                      <a:pt x="6947744" y="10472341"/>
                    </a:lnTo>
                    <a:lnTo>
                      <a:pt x="6953322" y="10506384"/>
                    </a:lnTo>
                    <a:lnTo>
                      <a:pt x="6965628" y="10534056"/>
                    </a:lnTo>
                    <a:lnTo>
                      <a:pt x="6987812" y="10563298"/>
                    </a:lnTo>
                    <a:lnTo>
                      <a:pt x="7023460" y="10579897"/>
                    </a:lnTo>
                    <a:lnTo>
                      <a:pt x="7132994" y="10595349"/>
                    </a:lnTo>
                    <a:lnTo>
                      <a:pt x="7240814" y="10602748"/>
                    </a:lnTo>
                    <a:lnTo>
                      <a:pt x="7348634" y="10610142"/>
                    </a:lnTo>
                    <a:lnTo>
                      <a:pt x="7454984" y="10610121"/>
                    </a:lnTo>
                    <a:lnTo>
                      <a:pt x="7488374" y="10594584"/>
                    </a:lnTo>
                    <a:lnTo>
                      <a:pt x="7504696" y="10555140"/>
                    </a:lnTo>
                    <a:lnTo>
                      <a:pt x="7531978" y="10554678"/>
                    </a:lnTo>
                    <a:lnTo>
                      <a:pt x="7590343" y="10553399"/>
                    </a:lnTo>
                    <a:lnTo>
                      <a:pt x="7614863" y="10570104"/>
                    </a:lnTo>
                    <a:lnTo>
                      <a:pt x="7626853" y="10607636"/>
                    </a:lnTo>
                    <a:lnTo>
                      <a:pt x="7642582" y="10626932"/>
                    </a:lnTo>
                    <a:lnTo>
                      <a:pt x="7694107" y="10631074"/>
                    </a:lnTo>
                    <a:lnTo>
                      <a:pt x="7744092" y="10629953"/>
                    </a:lnTo>
                    <a:lnTo>
                      <a:pt x="7794067" y="10628831"/>
                    </a:lnTo>
                    <a:lnTo>
                      <a:pt x="7842830" y="10623661"/>
                    </a:lnTo>
                    <a:lnTo>
                      <a:pt x="7851549" y="10587785"/>
                    </a:lnTo>
                    <a:lnTo>
                      <a:pt x="7866227" y="10565045"/>
                    </a:lnTo>
                    <a:lnTo>
                      <a:pt x="7886291" y="10550648"/>
                    </a:lnTo>
                    <a:lnTo>
                      <a:pt x="7908674" y="10540176"/>
                    </a:lnTo>
                    <a:lnTo>
                      <a:pt x="7931057" y="10529703"/>
                    </a:lnTo>
                    <a:lnTo>
                      <a:pt x="7956110" y="10522811"/>
                    </a:lnTo>
                    <a:lnTo>
                      <a:pt x="7979405" y="10512972"/>
                    </a:lnTo>
                    <a:lnTo>
                      <a:pt x="8013493" y="10488063"/>
                    </a:lnTo>
                    <a:lnTo>
                      <a:pt x="8058885" y="10474444"/>
                    </a:lnTo>
                    <a:lnTo>
                      <a:pt x="8097906" y="10458650"/>
                    </a:lnTo>
                    <a:lnTo>
                      <a:pt x="8131746" y="10453123"/>
                    </a:lnTo>
                    <a:lnTo>
                      <a:pt x="8163434" y="10447946"/>
                    </a:lnTo>
                    <a:lnTo>
                      <a:pt x="8197069" y="10449523"/>
                    </a:lnTo>
                    <a:lnTo>
                      <a:pt x="8229681" y="10447683"/>
                    </a:lnTo>
                    <a:lnTo>
                      <a:pt x="8262284" y="10445842"/>
                    </a:lnTo>
                    <a:lnTo>
                      <a:pt x="8294843" y="10440072"/>
                    </a:lnTo>
                    <a:lnTo>
                      <a:pt x="8323532" y="10420479"/>
                    </a:lnTo>
                    <a:lnTo>
                      <a:pt x="8342065" y="10397944"/>
                    </a:lnTo>
                    <a:lnTo>
                      <a:pt x="8348297" y="10358816"/>
                    </a:lnTo>
                    <a:lnTo>
                      <a:pt x="8357537" y="10321186"/>
                    </a:lnTo>
                    <a:lnTo>
                      <a:pt x="8367815" y="10283707"/>
                    </a:lnTo>
                    <a:lnTo>
                      <a:pt x="8382623" y="10252572"/>
                    </a:lnTo>
                    <a:lnTo>
                      <a:pt x="8405143" y="10232775"/>
                    </a:lnTo>
                    <a:lnTo>
                      <a:pt x="8459887" y="10202022"/>
                    </a:lnTo>
                    <a:lnTo>
                      <a:pt x="8523015" y="10201039"/>
                    </a:lnTo>
                    <a:lnTo>
                      <a:pt x="8577889" y="10174284"/>
                    </a:lnTo>
                    <a:lnTo>
                      <a:pt x="8586986" y="10120958"/>
                    </a:lnTo>
                    <a:lnTo>
                      <a:pt x="8599265" y="10085893"/>
                    </a:lnTo>
                    <a:lnTo>
                      <a:pt x="8613251" y="10062745"/>
                    </a:lnTo>
                    <a:lnTo>
                      <a:pt x="8627241" y="10039603"/>
                    </a:lnTo>
                    <a:lnTo>
                      <a:pt x="8660861" y="10020583"/>
                    </a:lnTo>
                    <a:lnTo>
                      <a:pt x="8700647" y="10011298"/>
                    </a:lnTo>
                    <a:lnTo>
                      <a:pt x="8723427" y="10005620"/>
                    </a:lnTo>
                    <a:lnTo>
                      <a:pt x="8746220" y="9999942"/>
                    </a:lnTo>
                    <a:lnTo>
                      <a:pt x="8771549" y="9991362"/>
                    </a:lnTo>
                    <a:lnTo>
                      <a:pt x="8798238" y="9972975"/>
                    </a:lnTo>
                    <a:lnTo>
                      <a:pt x="8816541" y="9952847"/>
                    </a:lnTo>
                    <a:lnTo>
                      <a:pt x="8824004" y="9930168"/>
                    </a:lnTo>
                    <a:lnTo>
                      <a:pt x="8830884" y="9907685"/>
                    </a:lnTo>
                    <a:lnTo>
                      <a:pt x="8837762" y="9885203"/>
                    </a:lnTo>
                    <a:lnTo>
                      <a:pt x="8844146" y="9862438"/>
                    </a:lnTo>
                    <a:lnTo>
                      <a:pt x="8856731" y="9841037"/>
                    </a:lnTo>
                    <a:lnTo>
                      <a:pt x="8870625" y="9817434"/>
                    </a:lnTo>
                    <a:lnTo>
                      <a:pt x="8890279" y="9796106"/>
                    </a:lnTo>
                    <a:lnTo>
                      <a:pt x="8908415" y="9774383"/>
                    </a:lnTo>
                    <a:lnTo>
                      <a:pt x="8926556" y="9752659"/>
                    </a:lnTo>
                    <a:lnTo>
                      <a:pt x="8943188" y="9730368"/>
                    </a:lnTo>
                    <a:lnTo>
                      <a:pt x="8949225" y="9703652"/>
                    </a:lnTo>
                    <a:lnTo>
                      <a:pt x="8949225" y="9677813"/>
                    </a:lnTo>
                    <a:lnTo>
                      <a:pt x="8952666" y="9656472"/>
                    </a:lnTo>
                    <a:lnTo>
                      <a:pt x="8953299" y="9617964"/>
                    </a:lnTo>
                    <a:lnTo>
                      <a:pt x="8973111" y="9558603"/>
                    </a:lnTo>
                    <a:lnTo>
                      <a:pt x="9017230" y="9494185"/>
                    </a:lnTo>
                    <a:lnTo>
                      <a:pt x="9042971" y="9447255"/>
                    </a:lnTo>
                    <a:lnTo>
                      <a:pt x="9066994" y="9384709"/>
                    </a:lnTo>
                    <a:lnTo>
                      <a:pt x="9083877" y="9320079"/>
                    </a:lnTo>
                    <a:lnTo>
                      <a:pt x="9100769" y="9255449"/>
                    </a:lnTo>
                    <a:lnTo>
                      <a:pt x="9111491" y="9187568"/>
                    </a:lnTo>
                    <a:lnTo>
                      <a:pt x="9109723" y="9132368"/>
                    </a:lnTo>
                    <a:lnTo>
                      <a:pt x="9097225" y="9098088"/>
                    </a:lnTo>
                    <a:lnTo>
                      <a:pt x="9086181" y="9063914"/>
                    </a:lnTo>
                    <a:lnTo>
                      <a:pt x="9082519" y="9027635"/>
                    </a:lnTo>
                    <a:lnTo>
                      <a:pt x="9103274" y="9003299"/>
                    </a:lnTo>
                    <a:lnTo>
                      <a:pt x="9140655" y="8989404"/>
                    </a:lnTo>
                    <a:lnTo>
                      <a:pt x="9161156" y="8984887"/>
                    </a:lnTo>
                    <a:lnTo>
                      <a:pt x="9184779" y="8964475"/>
                    </a:lnTo>
                    <a:lnTo>
                      <a:pt x="9185895" y="8788029"/>
                    </a:lnTo>
                    <a:lnTo>
                      <a:pt x="9185895" y="8758319"/>
                    </a:lnTo>
                    <a:lnTo>
                      <a:pt x="9210123" y="8724421"/>
                    </a:lnTo>
                    <a:lnTo>
                      <a:pt x="9245823" y="8709114"/>
                    </a:lnTo>
                    <a:lnTo>
                      <a:pt x="9275670" y="8691664"/>
                    </a:lnTo>
                    <a:lnTo>
                      <a:pt x="9304663" y="8672737"/>
                    </a:lnTo>
                    <a:lnTo>
                      <a:pt x="9322845" y="8648026"/>
                    </a:lnTo>
                    <a:lnTo>
                      <a:pt x="9325995" y="8611417"/>
                    </a:lnTo>
                    <a:lnTo>
                      <a:pt x="9324333" y="8589120"/>
                    </a:lnTo>
                    <a:lnTo>
                      <a:pt x="9324169" y="8564831"/>
                    </a:lnTo>
                    <a:lnTo>
                      <a:pt x="9316473" y="8543404"/>
                    </a:lnTo>
                    <a:lnTo>
                      <a:pt x="9293436" y="8521918"/>
                    </a:lnTo>
                    <a:lnTo>
                      <a:pt x="9260700" y="8522999"/>
                    </a:lnTo>
                    <a:lnTo>
                      <a:pt x="9239511" y="8512283"/>
                    </a:lnTo>
                    <a:lnTo>
                      <a:pt x="9223850" y="8496237"/>
                    </a:lnTo>
                    <a:lnTo>
                      <a:pt x="9210374" y="8479473"/>
                    </a:lnTo>
                    <a:lnTo>
                      <a:pt x="9196909" y="8462715"/>
                    </a:lnTo>
                    <a:lnTo>
                      <a:pt x="9184661" y="8444778"/>
                    </a:lnTo>
                    <a:lnTo>
                      <a:pt x="9168213" y="8429148"/>
                    </a:lnTo>
                    <a:lnTo>
                      <a:pt x="9162765" y="8400724"/>
                    </a:lnTo>
                    <a:lnTo>
                      <a:pt x="9158579" y="8347543"/>
                    </a:lnTo>
                    <a:lnTo>
                      <a:pt x="9157327" y="8294486"/>
                    </a:lnTo>
                    <a:lnTo>
                      <a:pt x="9156086" y="8241430"/>
                    </a:lnTo>
                    <a:lnTo>
                      <a:pt x="9157789" y="8189113"/>
                    </a:lnTo>
                    <a:lnTo>
                      <a:pt x="9168213" y="8162548"/>
                    </a:lnTo>
                    <a:lnTo>
                      <a:pt x="9219896" y="8030611"/>
                    </a:lnTo>
                    <a:lnTo>
                      <a:pt x="9230950" y="8002536"/>
                    </a:lnTo>
                    <a:lnTo>
                      <a:pt x="9225127" y="7960751"/>
                    </a:lnTo>
                    <a:lnTo>
                      <a:pt x="9232137" y="7929952"/>
                    </a:lnTo>
                    <a:lnTo>
                      <a:pt x="9239749" y="7896418"/>
                    </a:lnTo>
                    <a:lnTo>
                      <a:pt x="9282246" y="7818822"/>
                    </a:lnTo>
                    <a:lnTo>
                      <a:pt x="9331899" y="7829724"/>
                    </a:lnTo>
                    <a:lnTo>
                      <a:pt x="9362474" y="7815024"/>
                    </a:lnTo>
                    <a:lnTo>
                      <a:pt x="9370929" y="7793946"/>
                    </a:lnTo>
                    <a:lnTo>
                      <a:pt x="9374963" y="7766729"/>
                    </a:lnTo>
                    <a:lnTo>
                      <a:pt x="9378994" y="7739518"/>
                    </a:lnTo>
                    <a:lnTo>
                      <a:pt x="9378451" y="7705594"/>
                    </a:lnTo>
                    <a:lnTo>
                      <a:pt x="9376315" y="7671519"/>
                    </a:lnTo>
                    <a:lnTo>
                      <a:pt x="9372048" y="7603360"/>
                    </a:lnTo>
                    <a:lnTo>
                      <a:pt x="9361826" y="7533500"/>
                    </a:lnTo>
                    <a:lnTo>
                      <a:pt x="9368157" y="7506936"/>
                    </a:lnTo>
                    <a:lnTo>
                      <a:pt x="9373685" y="7483643"/>
                    </a:lnTo>
                    <a:lnTo>
                      <a:pt x="9392255" y="7451908"/>
                    </a:lnTo>
                    <a:lnTo>
                      <a:pt x="9402161" y="7429399"/>
                    </a:lnTo>
                    <a:lnTo>
                      <a:pt x="9359438" y="7398700"/>
                    </a:lnTo>
                    <a:lnTo>
                      <a:pt x="9328715" y="7373633"/>
                    </a:lnTo>
                    <a:lnTo>
                      <a:pt x="9297982" y="7348572"/>
                    </a:lnTo>
                    <a:lnTo>
                      <a:pt x="9270138" y="7322213"/>
                    </a:lnTo>
                    <a:lnTo>
                      <a:pt x="9268799" y="7292377"/>
                    </a:lnTo>
                    <a:lnTo>
                      <a:pt x="9279747" y="7263459"/>
                    </a:lnTo>
                    <a:lnTo>
                      <a:pt x="9296617" y="7236301"/>
                    </a:lnTo>
                    <a:lnTo>
                      <a:pt x="9331688" y="7199435"/>
                    </a:lnTo>
                    <a:lnTo>
                      <a:pt x="9360719" y="7177521"/>
                    </a:lnTo>
                    <a:lnTo>
                      <a:pt x="9379040" y="7157360"/>
                    </a:lnTo>
                    <a:lnTo>
                      <a:pt x="9475146" y="6991821"/>
                    </a:lnTo>
                    <a:lnTo>
                      <a:pt x="9463370" y="6969656"/>
                    </a:lnTo>
                    <a:lnTo>
                      <a:pt x="9372030" y="6934861"/>
                    </a:lnTo>
                    <a:lnTo>
                      <a:pt x="9336878" y="6928846"/>
                    </a:lnTo>
                    <a:lnTo>
                      <a:pt x="9310406" y="6990318"/>
                    </a:lnTo>
                    <a:lnTo>
                      <a:pt x="9290627" y="7032222"/>
                    </a:lnTo>
                    <a:lnTo>
                      <a:pt x="9270842" y="7074132"/>
                    </a:lnTo>
                    <a:lnTo>
                      <a:pt x="9250226" y="7113081"/>
                    </a:lnTo>
                    <a:lnTo>
                      <a:pt x="9214858" y="7132497"/>
                    </a:lnTo>
                    <a:lnTo>
                      <a:pt x="9132686" y="7116518"/>
                    </a:lnTo>
                    <a:lnTo>
                      <a:pt x="9052592" y="7089353"/>
                    </a:lnTo>
                    <a:lnTo>
                      <a:pt x="9012548" y="7075774"/>
                    </a:lnTo>
                    <a:lnTo>
                      <a:pt x="8972845" y="7059644"/>
                    </a:lnTo>
                    <a:lnTo>
                      <a:pt x="8941058" y="7043104"/>
                    </a:lnTo>
                    <a:lnTo>
                      <a:pt x="8909270" y="7026570"/>
                    </a:lnTo>
                    <a:lnTo>
                      <a:pt x="8885365" y="7009324"/>
                    </a:lnTo>
                    <a:lnTo>
                      <a:pt x="8878488" y="6972373"/>
                    </a:lnTo>
                    <a:lnTo>
                      <a:pt x="8900961" y="6953076"/>
                    </a:lnTo>
                    <a:lnTo>
                      <a:pt x="8920653" y="6945169"/>
                    </a:lnTo>
                    <a:lnTo>
                      <a:pt x="8940341" y="6937268"/>
                    </a:lnTo>
                    <a:lnTo>
                      <a:pt x="8961199" y="6928985"/>
                    </a:lnTo>
                    <a:lnTo>
                      <a:pt x="8979223" y="6897224"/>
                    </a:lnTo>
                    <a:lnTo>
                      <a:pt x="8965282" y="6868727"/>
                    </a:lnTo>
                    <a:lnTo>
                      <a:pt x="8941051" y="6837718"/>
                    </a:lnTo>
                    <a:lnTo>
                      <a:pt x="8868454" y="6857628"/>
                    </a:lnTo>
                    <a:lnTo>
                      <a:pt x="8827905" y="6862845"/>
                    </a:lnTo>
                    <a:lnTo>
                      <a:pt x="8795160" y="6850446"/>
                    </a:lnTo>
                    <a:lnTo>
                      <a:pt x="8762870" y="6834995"/>
                    </a:lnTo>
                    <a:lnTo>
                      <a:pt x="8730574" y="6819549"/>
                    </a:lnTo>
                    <a:lnTo>
                      <a:pt x="8699066" y="6801862"/>
                    </a:lnTo>
                    <a:lnTo>
                      <a:pt x="8675818" y="6792827"/>
                    </a:lnTo>
                    <a:lnTo>
                      <a:pt x="8625868" y="6773425"/>
                    </a:lnTo>
                    <a:lnTo>
                      <a:pt x="8568237" y="6761673"/>
                    </a:lnTo>
                    <a:lnTo>
                      <a:pt x="8515313" y="6754741"/>
                    </a:lnTo>
                    <a:lnTo>
                      <a:pt x="8527551" y="6708603"/>
                    </a:lnTo>
                    <a:lnTo>
                      <a:pt x="8545404" y="6673663"/>
                    </a:lnTo>
                    <a:lnTo>
                      <a:pt x="8565645" y="6640485"/>
                    </a:lnTo>
                    <a:lnTo>
                      <a:pt x="8588251" y="6603335"/>
                    </a:lnTo>
                    <a:lnTo>
                      <a:pt x="8622513" y="6569523"/>
                    </a:lnTo>
                    <a:lnTo>
                      <a:pt x="8639092" y="6528951"/>
                    </a:lnTo>
                    <a:lnTo>
                      <a:pt x="8639684" y="6498858"/>
                    </a:lnTo>
                    <a:lnTo>
                      <a:pt x="8590124" y="6443257"/>
                    </a:lnTo>
                    <a:lnTo>
                      <a:pt x="8611149" y="6401802"/>
                    </a:lnTo>
                    <a:lnTo>
                      <a:pt x="8614612" y="6377967"/>
                    </a:lnTo>
                    <a:lnTo>
                      <a:pt x="8618066" y="6354140"/>
                    </a:lnTo>
                    <a:lnTo>
                      <a:pt x="8613462" y="6330986"/>
                    </a:lnTo>
                    <a:lnTo>
                      <a:pt x="8594207" y="6314040"/>
                    </a:lnTo>
                    <a:lnTo>
                      <a:pt x="8615198" y="6294834"/>
                    </a:lnTo>
                    <a:lnTo>
                      <a:pt x="8636366" y="6288196"/>
                    </a:lnTo>
                    <a:lnTo>
                      <a:pt x="8657543" y="6281558"/>
                    </a:lnTo>
                    <a:lnTo>
                      <a:pt x="8683793" y="6276443"/>
                    </a:lnTo>
                    <a:lnTo>
                      <a:pt x="8711180" y="6270513"/>
                    </a:lnTo>
                    <a:lnTo>
                      <a:pt x="8738577" y="6264584"/>
                    </a:lnTo>
                    <a:lnTo>
                      <a:pt x="8767639" y="6257848"/>
                    </a:lnTo>
                    <a:lnTo>
                      <a:pt x="8791433" y="6248750"/>
                    </a:lnTo>
                    <a:lnTo>
                      <a:pt x="8815220" y="6239652"/>
                    </a:lnTo>
                    <a:lnTo>
                      <a:pt x="8834109" y="6228166"/>
                    </a:lnTo>
                    <a:lnTo>
                      <a:pt x="8854771" y="6180996"/>
                    </a:lnTo>
                    <a:lnTo>
                      <a:pt x="8843374" y="6082232"/>
                    </a:lnTo>
                    <a:lnTo>
                      <a:pt x="8828153" y="6055601"/>
                    </a:lnTo>
                    <a:lnTo>
                      <a:pt x="8841402" y="6030330"/>
                    </a:lnTo>
                    <a:lnTo>
                      <a:pt x="8869319" y="6012863"/>
                    </a:lnTo>
                    <a:lnTo>
                      <a:pt x="8904331" y="5998473"/>
                    </a:lnTo>
                    <a:lnTo>
                      <a:pt x="8940735" y="5985410"/>
                    </a:lnTo>
                    <a:lnTo>
                      <a:pt x="8971298" y="5968011"/>
                    </a:lnTo>
                    <a:lnTo>
                      <a:pt x="8990025" y="5942705"/>
                    </a:lnTo>
                    <a:lnTo>
                      <a:pt x="8980702" y="5904218"/>
                    </a:lnTo>
                    <a:lnTo>
                      <a:pt x="8969620" y="5884217"/>
                    </a:lnTo>
                    <a:lnTo>
                      <a:pt x="8958536" y="5864215"/>
                    </a:lnTo>
                    <a:lnTo>
                      <a:pt x="8947705" y="5844102"/>
                    </a:lnTo>
                    <a:lnTo>
                      <a:pt x="8954657" y="5808343"/>
                    </a:lnTo>
                    <a:lnTo>
                      <a:pt x="8990276" y="5766262"/>
                    </a:lnTo>
                    <a:lnTo>
                      <a:pt x="8995777" y="5728920"/>
                    </a:lnTo>
                    <a:lnTo>
                      <a:pt x="8976110" y="5713123"/>
                    </a:lnTo>
                    <a:lnTo>
                      <a:pt x="8954657" y="5699229"/>
                    </a:lnTo>
                    <a:lnTo>
                      <a:pt x="8933204" y="5685336"/>
                    </a:lnTo>
                    <a:lnTo>
                      <a:pt x="8909382" y="5673237"/>
                    </a:lnTo>
                    <a:lnTo>
                      <a:pt x="8897525" y="5654343"/>
                    </a:lnTo>
                    <a:lnTo>
                      <a:pt x="8894809" y="5631220"/>
                    </a:lnTo>
                    <a:lnTo>
                      <a:pt x="8906455" y="5601136"/>
                    </a:lnTo>
                    <a:lnTo>
                      <a:pt x="8925691" y="5573951"/>
                    </a:lnTo>
                    <a:lnTo>
                      <a:pt x="8934258" y="5545527"/>
                    </a:lnTo>
                    <a:lnTo>
                      <a:pt x="8940354" y="5516669"/>
                    </a:lnTo>
                    <a:lnTo>
                      <a:pt x="8933601" y="5487333"/>
                    </a:lnTo>
                    <a:lnTo>
                      <a:pt x="8909779" y="5457114"/>
                    </a:lnTo>
                    <a:lnTo>
                      <a:pt x="8844654" y="5457734"/>
                    </a:lnTo>
                    <a:lnTo>
                      <a:pt x="8819198" y="5458982"/>
                    </a:lnTo>
                    <a:lnTo>
                      <a:pt x="8799600" y="5438069"/>
                    </a:lnTo>
                    <a:lnTo>
                      <a:pt x="8802151" y="5405010"/>
                    </a:lnTo>
                    <a:lnTo>
                      <a:pt x="8791309" y="5382729"/>
                    </a:lnTo>
                    <a:lnTo>
                      <a:pt x="8776475" y="5361898"/>
                    </a:lnTo>
                    <a:lnTo>
                      <a:pt x="8761651" y="5341067"/>
                    </a:lnTo>
                    <a:lnTo>
                      <a:pt x="8742921" y="5321963"/>
                    </a:lnTo>
                    <a:lnTo>
                      <a:pt x="8731591" y="5295249"/>
                    </a:lnTo>
                    <a:lnTo>
                      <a:pt x="8731526" y="5272125"/>
                    </a:lnTo>
                    <a:lnTo>
                      <a:pt x="8737969" y="5248202"/>
                    </a:lnTo>
                    <a:lnTo>
                      <a:pt x="8747913" y="5225878"/>
                    </a:lnTo>
                    <a:lnTo>
                      <a:pt x="8757859" y="5203555"/>
                    </a:lnTo>
                    <a:lnTo>
                      <a:pt x="8771378" y="5182299"/>
                    </a:lnTo>
                    <a:lnTo>
                      <a:pt x="8783275" y="5163309"/>
                    </a:lnTo>
                    <a:lnTo>
                      <a:pt x="8834754" y="5168452"/>
                    </a:lnTo>
                    <a:lnTo>
                      <a:pt x="8882165" y="5208302"/>
                    </a:lnTo>
                    <a:lnTo>
                      <a:pt x="8885120" y="5250742"/>
                    </a:lnTo>
                    <a:lnTo>
                      <a:pt x="8900257" y="5283007"/>
                    </a:lnTo>
                    <a:lnTo>
                      <a:pt x="8918650" y="5313025"/>
                    </a:lnTo>
                    <a:lnTo>
                      <a:pt x="8955311" y="5329160"/>
                    </a:lnTo>
                    <a:lnTo>
                      <a:pt x="8981294" y="5330693"/>
                    </a:lnTo>
                    <a:lnTo>
                      <a:pt x="9019955" y="5325170"/>
                    </a:lnTo>
                    <a:lnTo>
                      <a:pt x="9047712" y="5321205"/>
                    </a:lnTo>
                    <a:lnTo>
                      <a:pt x="9073927" y="5317322"/>
                    </a:lnTo>
                    <a:lnTo>
                      <a:pt x="9098843" y="5308848"/>
                    </a:lnTo>
                    <a:lnTo>
                      <a:pt x="9123757" y="5300373"/>
                    </a:lnTo>
                    <a:lnTo>
                      <a:pt x="9146729" y="5287563"/>
                    </a:lnTo>
                    <a:lnTo>
                      <a:pt x="9168213" y="5268042"/>
                    </a:lnTo>
                    <a:lnTo>
                      <a:pt x="9178206" y="5236194"/>
                    </a:lnTo>
                    <a:lnTo>
                      <a:pt x="9172578" y="5213847"/>
                    </a:lnTo>
                    <a:lnTo>
                      <a:pt x="9164139" y="5191871"/>
                    </a:lnTo>
                    <a:lnTo>
                      <a:pt x="9155689" y="5169895"/>
                    </a:lnTo>
                    <a:lnTo>
                      <a:pt x="9145606" y="5148950"/>
                    </a:lnTo>
                    <a:lnTo>
                      <a:pt x="9145092" y="5119781"/>
                    </a:lnTo>
                    <a:lnTo>
                      <a:pt x="9157655" y="5091758"/>
                    </a:lnTo>
                    <a:lnTo>
                      <a:pt x="9181502" y="5068911"/>
                    </a:lnTo>
                    <a:lnTo>
                      <a:pt x="9198143" y="5042249"/>
                    </a:lnTo>
                    <a:lnTo>
                      <a:pt x="9172560" y="5003322"/>
                    </a:lnTo>
                    <a:lnTo>
                      <a:pt x="9139867" y="4980539"/>
                    </a:lnTo>
                    <a:lnTo>
                      <a:pt x="9111094" y="4972888"/>
                    </a:lnTo>
                    <a:lnTo>
                      <a:pt x="9110672" y="4925876"/>
                    </a:lnTo>
                    <a:lnTo>
                      <a:pt x="9109196" y="4895127"/>
                    </a:lnTo>
                    <a:lnTo>
                      <a:pt x="9105655" y="4870873"/>
                    </a:lnTo>
                    <a:lnTo>
                      <a:pt x="9102105" y="4846618"/>
                    </a:lnTo>
                    <a:lnTo>
                      <a:pt x="9098850" y="4819185"/>
                    </a:lnTo>
                    <a:lnTo>
                      <a:pt x="9111094" y="4801503"/>
                    </a:lnTo>
                    <a:lnTo>
                      <a:pt x="9134091" y="4793214"/>
                    </a:lnTo>
                    <a:lnTo>
                      <a:pt x="9189349" y="4768071"/>
                    </a:lnTo>
                    <a:lnTo>
                      <a:pt x="9202223" y="4745734"/>
                    </a:lnTo>
                    <a:lnTo>
                      <a:pt x="9196171" y="4691818"/>
                    </a:lnTo>
                    <a:lnTo>
                      <a:pt x="9184544" y="4655961"/>
                    </a:lnTo>
                    <a:lnTo>
                      <a:pt x="9172910" y="4620105"/>
                    </a:lnTo>
                    <a:lnTo>
                      <a:pt x="9158868" y="4585146"/>
                    </a:lnTo>
                    <a:lnTo>
                      <a:pt x="9155975" y="4560747"/>
                    </a:lnTo>
                    <a:lnTo>
                      <a:pt x="9213190" y="4580895"/>
                    </a:lnTo>
                    <a:lnTo>
                      <a:pt x="9262027" y="4617897"/>
                    </a:lnTo>
                    <a:lnTo>
                      <a:pt x="9319199" y="4639639"/>
                    </a:lnTo>
                    <a:lnTo>
                      <a:pt x="9397030" y="4548740"/>
                    </a:lnTo>
                    <a:lnTo>
                      <a:pt x="9382575" y="4528910"/>
                    </a:lnTo>
                    <a:lnTo>
                      <a:pt x="9377009" y="4507891"/>
                    </a:lnTo>
                    <a:lnTo>
                      <a:pt x="9348822" y="4480751"/>
                    </a:lnTo>
                    <a:lnTo>
                      <a:pt x="9270402" y="4429743"/>
                    </a:lnTo>
                    <a:lnTo>
                      <a:pt x="9261137" y="4374358"/>
                    </a:lnTo>
                    <a:lnTo>
                      <a:pt x="9246087" y="4318908"/>
                    </a:lnTo>
                    <a:lnTo>
                      <a:pt x="9253907" y="4280547"/>
                    </a:lnTo>
                    <a:lnTo>
                      <a:pt x="9285576" y="4254767"/>
                    </a:lnTo>
                    <a:lnTo>
                      <a:pt x="9340875" y="4253704"/>
                    </a:lnTo>
                    <a:lnTo>
                      <a:pt x="9379046" y="4237020"/>
                    </a:lnTo>
                    <a:lnTo>
                      <a:pt x="9373518" y="4200550"/>
                    </a:lnTo>
                    <a:lnTo>
                      <a:pt x="9345721" y="4174090"/>
                    </a:lnTo>
                    <a:lnTo>
                      <a:pt x="9320938" y="4159914"/>
                    </a:lnTo>
                    <a:lnTo>
                      <a:pt x="9297433" y="4151328"/>
                    </a:lnTo>
                    <a:lnTo>
                      <a:pt x="9291802" y="4116079"/>
                    </a:lnTo>
                    <a:lnTo>
                      <a:pt x="9294487" y="4061876"/>
                    </a:lnTo>
                    <a:lnTo>
                      <a:pt x="9294717" y="4008507"/>
                    </a:lnTo>
                    <a:lnTo>
                      <a:pt x="9294915" y="3955137"/>
                    </a:lnTo>
                    <a:lnTo>
                      <a:pt x="9292165" y="3902666"/>
                    </a:lnTo>
                    <a:lnTo>
                      <a:pt x="9278395" y="3872487"/>
                    </a:lnTo>
                    <a:lnTo>
                      <a:pt x="9228404" y="3873067"/>
                    </a:lnTo>
                    <a:lnTo>
                      <a:pt x="9203200" y="3860904"/>
                    </a:lnTo>
                    <a:lnTo>
                      <a:pt x="9196782" y="3823519"/>
                    </a:lnTo>
                    <a:lnTo>
                      <a:pt x="9196586" y="3785881"/>
                    </a:lnTo>
                    <a:lnTo>
                      <a:pt x="9200015" y="3764203"/>
                    </a:lnTo>
                    <a:lnTo>
                      <a:pt x="9217186" y="3751429"/>
                    </a:lnTo>
                    <a:lnTo>
                      <a:pt x="9231849" y="3734374"/>
                    </a:lnTo>
                    <a:lnTo>
                      <a:pt x="9253221" y="3715772"/>
                    </a:lnTo>
                    <a:lnTo>
                      <a:pt x="9268870" y="3694301"/>
                    </a:lnTo>
                    <a:lnTo>
                      <a:pt x="9283412" y="3672169"/>
                    </a:lnTo>
                    <a:lnTo>
                      <a:pt x="9289691" y="3648423"/>
                    </a:lnTo>
                    <a:lnTo>
                      <a:pt x="9285195" y="3623571"/>
                    </a:lnTo>
                    <a:lnTo>
                      <a:pt x="9261221" y="3592668"/>
                    </a:lnTo>
                    <a:lnTo>
                      <a:pt x="9229598" y="3570119"/>
                    </a:lnTo>
                    <a:lnTo>
                      <a:pt x="9198143" y="3547399"/>
                    </a:lnTo>
                    <a:lnTo>
                      <a:pt x="9136847" y="3503108"/>
                    </a:lnTo>
                    <a:lnTo>
                      <a:pt x="9095042" y="3478303"/>
                    </a:lnTo>
                    <a:lnTo>
                      <a:pt x="9063481" y="3445384"/>
                    </a:lnTo>
                    <a:lnTo>
                      <a:pt x="9047705" y="3428925"/>
                    </a:lnTo>
                    <a:lnTo>
                      <a:pt x="9034088" y="3411202"/>
                    </a:lnTo>
                    <a:lnTo>
                      <a:pt x="9022677" y="3386895"/>
                    </a:lnTo>
                    <a:lnTo>
                      <a:pt x="9011267" y="3362589"/>
                    </a:lnTo>
                    <a:lnTo>
                      <a:pt x="9001845" y="3332323"/>
                    </a:lnTo>
                    <a:lnTo>
                      <a:pt x="8992751" y="3293042"/>
                    </a:lnTo>
                    <a:lnTo>
                      <a:pt x="8977409" y="3226637"/>
                    </a:lnTo>
                    <a:lnTo>
                      <a:pt x="8958681" y="3167075"/>
                    </a:lnTo>
                    <a:lnTo>
                      <a:pt x="8956030" y="3109416"/>
                    </a:lnTo>
                    <a:lnTo>
                      <a:pt x="8954703" y="3080585"/>
                    </a:lnTo>
                    <a:lnTo>
                      <a:pt x="8958244" y="3052295"/>
                    </a:lnTo>
                    <a:lnTo>
                      <a:pt x="8966910" y="3023723"/>
                    </a:lnTo>
                    <a:lnTo>
                      <a:pt x="8975570" y="2995151"/>
                    </a:lnTo>
                    <a:lnTo>
                      <a:pt x="8989960" y="2966270"/>
                    </a:lnTo>
                    <a:lnTo>
                      <a:pt x="9013156" y="2936670"/>
                    </a:lnTo>
                    <a:lnTo>
                      <a:pt x="9039343" y="2903239"/>
                    </a:lnTo>
                    <a:lnTo>
                      <a:pt x="9064464" y="2867236"/>
                    </a:lnTo>
                    <a:lnTo>
                      <a:pt x="9098850" y="2841456"/>
                    </a:lnTo>
                    <a:lnTo>
                      <a:pt x="9124436" y="2822264"/>
                    </a:lnTo>
                    <a:lnTo>
                      <a:pt x="9147817" y="2818354"/>
                    </a:lnTo>
                    <a:lnTo>
                      <a:pt x="9165497" y="2788409"/>
                    </a:lnTo>
                    <a:lnTo>
                      <a:pt x="9176997" y="2768951"/>
                    </a:lnTo>
                    <a:lnTo>
                      <a:pt x="9179477" y="2740735"/>
                    </a:lnTo>
                    <a:lnTo>
                      <a:pt x="9183185" y="2714958"/>
                    </a:lnTo>
                    <a:lnTo>
                      <a:pt x="9186891" y="2689180"/>
                    </a:lnTo>
                    <a:lnTo>
                      <a:pt x="9191935" y="2665523"/>
                    </a:lnTo>
                    <a:lnTo>
                      <a:pt x="9210387" y="2653749"/>
                    </a:lnTo>
                    <a:lnTo>
                      <a:pt x="9244946" y="2631709"/>
                    </a:lnTo>
                    <a:lnTo>
                      <a:pt x="9283031" y="2639063"/>
                    </a:lnTo>
                    <a:lnTo>
                      <a:pt x="9317838" y="2619743"/>
                    </a:lnTo>
                    <a:lnTo>
                      <a:pt x="9313881" y="2589034"/>
                    </a:lnTo>
                    <a:lnTo>
                      <a:pt x="9301687" y="2567695"/>
                    </a:lnTo>
                    <a:lnTo>
                      <a:pt x="9302025" y="2540257"/>
                    </a:lnTo>
                    <a:lnTo>
                      <a:pt x="9312610" y="2502576"/>
                    </a:lnTo>
                    <a:lnTo>
                      <a:pt x="9357897" y="2484616"/>
                    </a:lnTo>
                    <a:lnTo>
                      <a:pt x="9409581" y="2488670"/>
                    </a:lnTo>
                    <a:lnTo>
                      <a:pt x="9455218" y="2493245"/>
                    </a:lnTo>
                    <a:lnTo>
                      <a:pt x="9500847" y="2497820"/>
                    </a:lnTo>
                    <a:lnTo>
                      <a:pt x="9539802" y="2503000"/>
                    </a:lnTo>
                    <a:lnTo>
                      <a:pt x="9549281" y="2478750"/>
                    </a:lnTo>
                    <a:lnTo>
                      <a:pt x="9557615" y="2446467"/>
                    </a:lnTo>
                    <a:lnTo>
                      <a:pt x="9601098" y="2424087"/>
                    </a:lnTo>
                    <a:lnTo>
                      <a:pt x="9649805" y="2438922"/>
                    </a:lnTo>
                    <a:lnTo>
                      <a:pt x="9674207" y="2426595"/>
                    </a:lnTo>
                    <a:lnTo>
                      <a:pt x="9682364" y="2406192"/>
                    </a:lnTo>
                    <a:lnTo>
                      <a:pt x="9737632" y="2384493"/>
                    </a:lnTo>
                    <a:lnTo>
                      <a:pt x="9781369" y="2372187"/>
                    </a:lnTo>
                    <a:lnTo>
                      <a:pt x="9822467" y="2357225"/>
                    </a:lnTo>
                    <a:lnTo>
                      <a:pt x="9882724" y="2335260"/>
                    </a:lnTo>
                    <a:lnTo>
                      <a:pt x="9910887" y="2313699"/>
                    </a:lnTo>
                    <a:lnTo>
                      <a:pt x="9948860" y="2304304"/>
                    </a:lnTo>
                    <a:lnTo>
                      <a:pt x="10029218" y="2306898"/>
                    </a:lnTo>
                    <a:lnTo>
                      <a:pt x="10056084" y="2293125"/>
                    </a:lnTo>
                    <a:lnTo>
                      <a:pt x="10070151" y="2242703"/>
                    </a:lnTo>
                    <a:lnTo>
                      <a:pt x="10064211" y="2212366"/>
                    </a:lnTo>
                    <a:lnTo>
                      <a:pt x="10049622" y="2183120"/>
                    </a:lnTo>
                    <a:lnTo>
                      <a:pt x="10035034" y="2153873"/>
                    </a:lnTo>
                    <a:lnTo>
                      <a:pt x="10012301" y="2125778"/>
                    </a:lnTo>
                    <a:lnTo>
                      <a:pt x="9987050" y="2087906"/>
                    </a:lnTo>
                    <a:lnTo>
                      <a:pt x="9970728" y="2060702"/>
                    </a:lnTo>
                    <a:lnTo>
                      <a:pt x="9990922" y="2030607"/>
                    </a:lnTo>
                    <a:lnTo>
                      <a:pt x="10021147" y="2009800"/>
                    </a:lnTo>
                    <a:lnTo>
                      <a:pt x="10037381" y="1987251"/>
                    </a:lnTo>
                    <a:lnTo>
                      <a:pt x="10046122" y="1946296"/>
                    </a:lnTo>
                    <a:lnTo>
                      <a:pt x="10041378" y="1886331"/>
                    </a:lnTo>
                    <a:lnTo>
                      <a:pt x="10037381" y="1830828"/>
                    </a:lnTo>
                    <a:lnTo>
                      <a:pt x="10033385" y="1775325"/>
                    </a:lnTo>
                    <a:lnTo>
                      <a:pt x="10030476" y="1724583"/>
                    </a:lnTo>
                    <a:lnTo>
                      <a:pt x="10045539" y="1704330"/>
                    </a:lnTo>
                    <a:lnTo>
                      <a:pt x="10082696" y="1685053"/>
                    </a:lnTo>
                    <a:lnTo>
                      <a:pt x="10111851" y="1700653"/>
                    </a:lnTo>
                    <a:lnTo>
                      <a:pt x="10121587" y="1727942"/>
                    </a:lnTo>
                    <a:lnTo>
                      <a:pt x="10123069" y="1749216"/>
                    </a:lnTo>
                    <a:lnTo>
                      <a:pt x="10171392" y="1768662"/>
                    </a:lnTo>
                    <a:lnTo>
                      <a:pt x="10228284" y="1767555"/>
                    </a:lnTo>
                    <a:lnTo>
                      <a:pt x="10282225" y="1760098"/>
                    </a:lnTo>
                    <a:lnTo>
                      <a:pt x="10336157" y="1752641"/>
                    </a:lnTo>
                    <a:lnTo>
                      <a:pt x="10387214" y="1739089"/>
                    </a:lnTo>
                    <a:lnTo>
                      <a:pt x="10414161" y="1719292"/>
                    </a:lnTo>
                    <a:lnTo>
                      <a:pt x="10419749" y="1688634"/>
                    </a:lnTo>
                    <a:lnTo>
                      <a:pt x="10428657" y="1660426"/>
                    </a:lnTo>
                    <a:lnTo>
                      <a:pt x="10434566" y="1632239"/>
                    </a:lnTo>
                    <a:lnTo>
                      <a:pt x="10440470" y="1604052"/>
                    </a:lnTo>
                    <a:lnTo>
                      <a:pt x="10443918" y="1575610"/>
                    </a:lnTo>
                    <a:lnTo>
                      <a:pt x="10440002" y="1543826"/>
                    </a:lnTo>
                    <a:lnTo>
                      <a:pt x="10414078" y="1542955"/>
                    </a:lnTo>
                    <a:lnTo>
                      <a:pt x="10302965" y="1543848"/>
                    </a:lnTo>
                    <a:lnTo>
                      <a:pt x="10284941" y="1531584"/>
                    </a:lnTo>
                    <a:lnTo>
                      <a:pt x="10268744" y="1510990"/>
                    </a:lnTo>
                    <a:lnTo>
                      <a:pt x="10256379" y="1467655"/>
                    </a:lnTo>
                    <a:lnTo>
                      <a:pt x="10247372" y="1447401"/>
                    </a:lnTo>
                    <a:lnTo>
                      <a:pt x="10217271" y="1436264"/>
                    </a:lnTo>
                    <a:lnTo>
                      <a:pt x="10203331" y="1420048"/>
                    </a:lnTo>
                    <a:lnTo>
                      <a:pt x="10180849" y="1393885"/>
                    </a:lnTo>
                    <a:lnTo>
                      <a:pt x="10165206" y="1358457"/>
                    </a:lnTo>
                    <a:lnTo>
                      <a:pt x="10142122" y="1332995"/>
                    </a:lnTo>
                    <a:lnTo>
                      <a:pt x="10079556" y="1277227"/>
                    </a:lnTo>
                    <a:lnTo>
                      <a:pt x="10062719" y="1256335"/>
                    </a:lnTo>
                    <a:lnTo>
                      <a:pt x="10022213" y="1234880"/>
                    </a:lnTo>
                    <a:lnTo>
                      <a:pt x="9992339" y="1229222"/>
                    </a:lnTo>
                    <a:lnTo>
                      <a:pt x="9961219" y="1222819"/>
                    </a:lnTo>
                    <a:lnTo>
                      <a:pt x="9930095" y="1216417"/>
                    </a:lnTo>
                    <a:lnTo>
                      <a:pt x="9898072" y="1208952"/>
                    </a:lnTo>
                    <a:lnTo>
                      <a:pt x="9871441" y="1192895"/>
                    </a:lnTo>
                    <a:lnTo>
                      <a:pt x="9867683" y="1170218"/>
                    </a:lnTo>
                    <a:lnTo>
                      <a:pt x="9866121" y="1144454"/>
                    </a:lnTo>
                    <a:lnTo>
                      <a:pt x="9860561" y="1119444"/>
                    </a:lnTo>
                    <a:lnTo>
                      <a:pt x="9854999" y="1094435"/>
                    </a:lnTo>
                    <a:lnTo>
                      <a:pt x="9844599" y="1070307"/>
                    </a:lnTo>
                    <a:lnTo>
                      <a:pt x="9838795" y="1039192"/>
                    </a:lnTo>
                    <a:lnTo>
                      <a:pt x="9834721" y="1017323"/>
                    </a:lnTo>
                    <a:lnTo>
                      <a:pt x="9840203" y="992287"/>
                    </a:lnTo>
                    <a:lnTo>
                      <a:pt x="9838795" y="969822"/>
                    </a:lnTo>
                    <a:lnTo>
                      <a:pt x="9835270" y="912312"/>
                    </a:lnTo>
                    <a:lnTo>
                      <a:pt x="9841545" y="879645"/>
                    </a:lnTo>
                    <a:lnTo>
                      <a:pt x="9860561" y="854205"/>
                    </a:lnTo>
                    <a:lnTo>
                      <a:pt x="9879574" y="828765"/>
                    </a:lnTo>
                    <a:lnTo>
                      <a:pt x="9911380" y="811061"/>
                    </a:lnTo>
                    <a:lnTo>
                      <a:pt x="9961212" y="783475"/>
                    </a:lnTo>
                    <a:lnTo>
                      <a:pt x="9989350" y="749470"/>
                    </a:lnTo>
                    <a:lnTo>
                      <a:pt x="9998959" y="715029"/>
                    </a:lnTo>
                    <a:lnTo>
                      <a:pt x="9991806" y="691500"/>
                    </a:lnTo>
                    <a:lnTo>
                      <a:pt x="9985698" y="667858"/>
                    </a:lnTo>
                    <a:lnTo>
                      <a:pt x="9979593" y="644217"/>
                    </a:lnTo>
                    <a:lnTo>
                      <a:pt x="9974350" y="621718"/>
                    </a:lnTo>
                    <a:lnTo>
                      <a:pt x="9984340" y="601208"/>
                    </a:lnTo>
                    <a:lnTo>
                      <a:pt x="9999046" y="571029"/>
                    </a:lnTo>
                    <a:lnTo>
                      <a:pt x="10012732" y="537874"/>
                    </a:lnTo>
                    <a:lnTo>
                      <a:pt x="10029224" y="508715"/>
                    </a:lnTo>
                    <a:lnTo>
                      <a:pt x="10044103" y="482362"/>
                    </a:lnTo>
                    <a:lnTo>
                      <a:pt x="10070285" y="455666"/>
                    </a:lnTo>
                    <a:lnTo>
                      <a:pt x="10082275" y="428463"/>
                    </a:lnTo>
                    <a:lnTo>
                      <a:pt x="10090773" y="409175"/>
                    </a:lnTo>
                    <a:lnTo>
                      <a:pt x="10097105" y="383829"/>
                    </a:lnTo>
                    <a:lnTo>
                      <a:pt x="10104038" y="355012"/>
                    </a:lnTo>
                    <a:lnTo>
                      <a:pt x="10110968" y="326196"/>
                    </a:lnTo>
                    <a:lnTo>
                      <a:pt x="10118223" y="293564"/>
                    </a:lnTo>
                    <a:lnTo>
                      <a:pt x="10125801" y="262519"/>
                    </a:lnTo>
                    <a:lnTo>
                      <a:pt x="10133379" y="231473"/>
                    </a:lnTo>
                    <a:lnTo>
                      <a:pt x="10141204" y="201440"/>
                    </a:lnTo>
                    <a:lnTo>
                      <a:pt x="10151638" y="175466"/>
                    </a:lnTo>
                    <a:lnTo>
                      <a:pt x="10175525" y="141904"/>
                    </a:lnTo>
                    <a:lnTo>
                      <a:pt x="10192448" y="116978"/>
                    </a:lnTo>
                    <a:lnTo>
                      <a:pt x="10178492" y="98302"/>
                    </a:lnTo>
                    <a:lnTo>
                      <a:pt x="10067014" y="27715"/>
                    </a:lnTo>
                    <a:lnTo>
                      <a:pt x="10011498" y="134150"/>
                    </a:lnTo>
                    <a:lnTo>
                      <a:pt x="9913609" y="119698"/>
                    </a:lnTo>
                    <a:lnTo>
                      <a:pt x="9856695" y="111303"/>
                    </a:lnTo>
                    <a:lnTo>
                      <a:pt x="9808664" y="85098"/>
                    </a:lnTo>
                    <a:lnTo>
                      <a:pt x="9754468" y="73451"/>
                    </a:lnTo>
                    <a:lnTo>
                      <a:pt x="9697976" y="61358"/>
                    </a:lnTo>
                    <a:lnTo>
                      <a:pt x="9637955" y="58638"/>
                    </a:lnTo>
                    <a:lnTo>
                      <a:pt x="9583080" y="39446"/>
                    </a:lnTo>
                    <a:lnTo>
                      <a:pt x="9539765" y="24293"/>
                    </a:lnTo>
                    <a:lnTo>
                      <a:pt x="9499681" y="3337"/>
                    </a:lnTo>
                    <a:lnTo>
                      <a:pt x="9452499" y="0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40" name="Sevastopol¬0" descr="Sevastopol¬0">
                <a:extLst>
                  <a:ext uri="{FF2B5EF4-FFF2-40B4-BE49-F238E27FC236}">
                    <a16:creationId xmlns:a16="http://schemas.microsoft.com/office/drawing/2014/main" id="{38381A26-FFBE-4B86-998B-7DF8879D010C}"/>
                  </a:ext>
                </a:extLst>
              </p:cNvPr>
              <p:cNvSpPr/>
              <p:nvPr/>
            </p:nvSpPr>
            <p:spPr>
              <a:xfrm>
                <a:off x="39301274" y="39580425"/>
                <a:ext cx="1922559" cy="2412948"/>
              </a:xfrm>
              <a:custGeom>
                <a:avLst/>
                <a:gdLst/>
                <a:ahLst/>
                <a:cxnLst/>
                <a:rect l="0" t="0" r="0" b="0"/>
                <a:pathLst>
                  <a:path w="1922554" h="2412945">
                    <a:moveTo>
                      <a:pt x="1317266" y="2380338"/>
                    </a:moveTo>
                    <a:lnTo>
                      <a:pt x="1318624" y="2354504"/>
                    </a:lnTo>
                    <a:lnTo>
                      <a:pt x="1351270" y="2332735"/>
                    </a:lnTo>
                    <a:lnTo>
                      <a:pt x="1397512" y="2332735"/>
                    </a:lnTo>
                    <a:lnTo>
                      <a:pt x="1389354" y="2253847"/>
                    </a:lnTo>
                    <a:lnTo>
                      <a:pt x="1441038" y="2232084"/>
                    </a:lnTo>
                    <a:lnTo>
                      <a:pt x="1492731" y="2272887"/>
                    </a:lnTo>
                    <a:lnTo>
                      <a:pt x="1615145" y="2204879"/>
                    </a:lnTo>
                    <a:lnTo>
                      <a:pt x="1892626" y="2291934"/>
                    </a:lnTo>
                    <a:lnTo>
                      <a:pt x="1922553" y="2259288"/>
                    </a:lnTo>
                    <a:lnTo>
                      <a:pt x="1821895" y="2030775"/>
                    </a:lnTo>
                    <a:lnTo>
                      <a:pt x="1857264" y="1973644"/>
                    </a:lnTo>
                    <a:lnTo>
                      <a:pt x="1819179" y="1949164"/>
                    </a:lnTo>
                    <a:lnTo>
                      <a:pt x="1756606" y="1984524"/>
                    </a:lnTo>
                    <a:lnTo>
                      <a:pt x="1745723" y="1902913"/>
                    </a:lnTo>
                    <a:lnTo>
                      <a:pt x="1704923" y="1867551"/>
                    </a:lnTo>
                    <a:lnTo>
                      <a:pt x="1743007" y="1826747"/>
                    </a:lnTo>
                    <a:lnTo>
                      <a:pt x="1710361" y="1799536"/>
                    </a:lnTo>
                    <a:lnTo>
                      <a:pt x="1685876" y="1807703"/>
                    </a:lnTo>
                    <a:lnTo>
                      <a:pt x="1620587" y="1753294"/>
                    </a:lnTo>
                    <a:lnTo>
                      <a:pt x="1626034" y="1647195"/>
                    </a:lnTo>
                    <a:lnTo>
                      <a:pt x="1582499" y="1576465"/>
                    </a:lnTo>
                    <a:lnTo>
                      <a:pt x="1560736" y="1543822"/>
                    </a:lnTo>
                    <a:lnTo>
                      <a:pt x="1558020" y="1483971"/>
                    </a:lnTo>
                    <a:lnTo>
                      <a:pt x="1574341" y="1456767"/>
                    </a:lnTo>
                    <a:lnTo>
                      <a:pt x="1571619" y="1424124"/>
                    </a:lnTo>
                    <a:lnTo>
                      <a:pt x="1490012" y="1396919"/>
                    </a:lnTo>
                    <a:lnTo>
                      <a:pt x="1490012" y="1361557"/>
                    </a:lnTo>
                    <a:lnTo>
                      <a:pt x="1451921" y="1312589"/>
                    </a:lnTo>
                    <a:lnTo>
                      <a:pt x="1397512" y="1358835"/>
                    </a:lnTo>
                    <a:lnTo>
                      <a:pt x="1367591" y="1337072"/>
                    </a:lnTo>
                    <a:lnTo>
                      <a:pt x="1332223" y="1366998"/>
                    </a:lnTo>
                    <a:lnTo>
                      <a:pt x="1288697" y="1356115"/>
                    </a:lnTo>
                    <a:lnTo>
                      <a:pt x="1231572" y="1228253"/>
                    </a:lnTo>
                    <a:lnTo>
                      <a:pt x="1261492" y="1187453"/>
                    </a:lnTo>
                    <a:lnTo>
                      <a:pt x="1237013" y="1173847"/>
                    </a:lnTo>
                    <a:lnTo>
                      <a:pt x="1283262" y="1097682"/>
                    </a:lnTo>
                    <a:lnTo>
                      <a:pt x="1307744" y="1114003"/>
                    </a:lnTo>
                    <a:lnTo>
                      <a:pt x="1405679" y="969820"/>
                    </a:lnTo>
                    <a:lnTo>
                      <a:pt x="1402960" y="915410"/>
                    </a:lnTo>
                    <a:lnTo>
                      <a:pt x="1481848" y="850121"/>
                    </a:lnTo>
                    <a:lnTo>
                      <a:pt x="1476406" y="784832"/>
                    </a:lnTo>
                    <a:lnTo>
                      <a:pt x="1405679" y="757628"/>
                    </a:lnTo>
                    <a:lnTo>
                      <a:pt x="1383922" y="746748"/>
                    </a:lnTo>
                    <a:lnTo>
                      <a:pt x="1362150" y="735865"/>
                    </a:lnTo>
                    <a:lnTo>
                      <a:pt x="1326791" y="676017"/>
                    </a:lnTo>
                    <a:lnTo>
                      <a:pt x="1299586" y="656970"/>
                    </a:lnTo>
                    <a:lnTo>
                      <a:pt x="1264224" y="714102"/>
                    </a:lnTo>
                    <a:lnTo>
                      <a:pt x="1217973" y="673292"/>
                    </a:lnTo>
                    <a:lnTo>
                      <a:pt x="1226130" y="635207"/>
                    </a:lnTo>
                    <a:lnTo>
                      <a:pt x="1160841" y="640649"/>
                    </a:lnTo>
                    <a:lnTo>
                      <a:pt x="1155400" y="692339"/>
                    </a:lnTo>
                    <a:lnTo>
                      <a:pt x="1134998" y="703222"/>
                    </a:lnTo>
                    <a:lnTo>
                      <a:pt x="891524" y="673292"/>
                    </a:lnTo>
                    <a:lnTo>
                      <a:pt x="886086" y="493746"/>
                    </a:lnTo>
                    <a:lnTo>
                      <a:pt x="1174446" y="414858"/>
                    </a:lnTo>
                    <a:lnTo>
                      <a:pt x="1169005" y="303318"/>
                    </a:lnTo>
                    <a:lnTo>
                      <a:pt x="820797" y="186345"/>
                    </a:lnTo>
                    <a:lnTo>
                      <a:pt x="799031" y="175465"/>
                    </a:lnTo>
                    <a:lnTo>
                      <a:pt x="779987" y="150977"/>
                    </a:lnTo>
                    <a:lnTo>
                      <a:pt x="760946" y="126497"/>
                    </a:lnTo>
                    <a:lnTo>
                      <a:pt x="744625" y="93851"/>
                    </a:lnTo>
                    <a:lnTo>
                      <a:pt x="740178" y="67196"/>
                    </a:lnTo>
                    <a:lnTo>
                      <a:pt x="735655" y="32395"/>
                    </a:lnTo>
                    <a:lnTo>
                      <a:pt x="731019" y="0"/>
                    </a:lnTo>
                    <a:lnTo>
                      <a:pt x="699688" y="4096"/>
                    </a:lnTo>
                    <a:lnTo>
                      <a:pt x="665333" y="19245"/>
                    </a:lnTo>
                    <a:lnTo>
                      <a:pt x="629010" y="89771"/>
                    </a:lnTo>
                    <a:lnTo>
                      <a:pt x="608307" y="130026"/>
                    </a:lnTo>
                    <a:lnTo>
                      <a:pt x="607622" y="173636"/>
                    </a:lnTo>
                    <a:lnTo>
                      <a:pt x="595000" y="216266"/>
                    </a:lnTo>
                    <a:lnTo>
                      <a:pt x="585310" y="249082"/>
                    </a:lnTo>
                    <a:lnTo>
                      <a:pt x="571879" y="281517"/>
                    </a:lnTo>
                    <a:lnTo>
                      <a:pt x="558273" y="312843"/>
                    </a:lnTo>
                    <a:lnTo>
                      <a:pt x="538888" y="349188"/>
                    </a:lnTo>
                    <a:lnTo>
                      <a:pt x="542674" y="394791"/>
                    </a:lnTo>
                    <a:lnTo>
                      <a:pt x="561377" y="425524"/>
                    </a:lnTo>
                    <a:lnTo>
                      <a:pt x="566437" y="451585"/>
                    </a:lnTo>
                    <a:lnTo>
                      <a:pt x="574976" y="495495"/>
                    </a:lnTo>
                    <a:lnTo>
                      <a:pt x="570942" y="542035"/>
                    </a:lnTo>
                    <a:lnTo>
                      <a:pt x="578675" y="586246"/>
                    </a:lnTo>
                    <a:lnTo>
                      <a:pt x="590495" y="654338"/>
                    </a:lnTo>
                    <a:lnTo>
                      <a:pt x="639422" y="712356"/>
                    </a:lnTo>
                    <a:lnTo>
                      <a:pt x="641248" y="784832"/>
                    </a:lnTo>
                    <a:lnTo>
                      <a:pt x="642138" y="819134"/>
                    </a:lnTo>
                    <a:lnTo>
                      <a:pt x="615488" y="917621"/>
                    </a:lnTo>
                    <a:lnTo>
                      <a:pt x="599080" y="948057"/>
                    </a:lnTo>
                    <a:lnTo>
                      <a:pt x="572517" y="997281"/>
                    </a:lnTo>
                    <a:lnTo>
                      <a:pt x="507228" y="1052962"/>
                    </a:lnTo>
                    <a:lnTo>
                      <a:pt x="524269" y="1115364"/>
                    </a:lnTo>
                    <a:lnTo>
                      <a:pt x="547945" y="1202205"/>
                    </a:lnTo>
                    <a:lnTo>
                      <a:pt x="630619" y="1147620"/>
                    </a:lnTo>
                    <a:lnTo>
                      <a:pt x="706537" y="1216015"/>
                    </a:lnTo>
                    <a:lnTo>
                      <a:pt x="682356" y="1276799"/>
                    </a:lnTo>
                    <a:lnTo>
                      <a:pt x="589816" y="1264043"/>
                    </a:lnTo>
                    <a:lnTo>
                      <a:pt x="546032" y="1267705"/>
                    </a:lnTo>
                    <a:lnTo>
                      <a:pt x="504292" y="1271187"/>
                    </a:lnTo>
                    <a:lnTo>
                      <a:pt x="473950" y="1291422"/>
                    </a:lnTo>
                    <a:lnTo>
                      <a:pt x="430417" y="1273141"/>
                    </a:lnTo>
                    <a:lnTo>
                      <a:pt x="407076" y="1277770"/>
                    </a:lnTo>
                    <a:lnTo>
                      <a:pt x="378179" y="1283050"/>
                    </a:lnTo>
                    <a:lnTo>
                      <a:pt x="347446" y="1294910"/>
                    </a:lnTo>
                    <a:lnTo>
                      <a:pt x="315225" y="1299164"/>
                    </a:lnTo>
                    <a:lnTo>
                      <a:pt x="284327" y="1292265"/>
                    </a:lnTo>
                    <a:lnTo>
                      <a:pt x="252230" y="1293542"/>
                    </a:lnTo>
                    <a:lnTo>
                      <a:pt x="243009" y="1329466"/>
                    </a:lnTo>
                    <a:lnTo>
                      <a:pt x="211473" y="1340473"/>
                    </a:lnTo>
                    <a:lnTo>
                      <a:pt x="189539" y="1334439"/>
                    </a:lnTo>
                    <a:lnTo>
                      <a:pt x="156847" y="1367296"/>
                    </a:lnTo>
                    <a:lnTo>
                      <a:pt x="145458" y="1397855"/>
                    </a:lnTo>
                    <a:lnTo>
                      <a:pt x="124374" y="1418682"/>
                    </a:lnTo>
                    <a:lnTo>
                      <a:pt x="103461" y="1424164"/>
                    </a:lnTo>
                    <a:lnTo>
                      <a:pt x="64868" y="1401508"/>
                    </a:lnTo>
                    <a:lnTo>
                      <a:pt x="77701" y="1359340"/>
                    </a:lnTo>
                    <a:lnTo>
                      <a:pt x="11476" y="1366992"/>
                    </a:lnTo>
                    <a:lnTo>
                      <a:pt x="0" y="1392963"/>
                    </a:lnTo>
                    <a:lnTo>
                      <a:pt x="36603" y="1516016"/>
                    </a:lnTo>
                    <a:lnTo>
                      <a:pt x="171342" y="1615479"/>
                    </a:lnTo>
                    <a:lnTo>
                      <a:pt x="254952" y="1690715"/>
                    </a:lnTo>
                    <a:lnTo>
                      <a:pt x="275270" y="1708996"/>
                    </a:lnTo>
                    <a:lnTo>
                      <a:pt x="290876" y="1734328"/>
                    </a:lnTo>
                    <a:lnTo>
                      <a:pt x="309361" y="1753288"/>
                    </a:lnTo>
                    <a:lnTo>
                      <a:pt x="324449" y="1768673"/>
                    </a:lnTo>
                    <a:lnTo>
                      <a:pt x="577147" y="1911539"/>
                    </a:lnTo>
                    <a:lnTo>
                      <a:pt x="635980" y="1922546"/>
                    </a:lnTo>
                    <a:lnTo>
                      <a:pt x="706367" y="1847608"/>
                    </a:lnTo>
                    <a:lnTo>
                      <a:pt x="751424" y="1872986"/>
                    </a:lnTo>
                    <a:lnTo>
                      <a:pt x="801750" y="1917870"/>
                    </a:lnTo>
                    <a:lnTo>
                      <a:pt x="911752" y="2101881"/>
                    </a:lnTo>
                    <a:lnTo>
                      <a:pt x="915076" y="2143199"/>
                    </a:lnTo>
                    <a:lnTo>
                      <a:pt x="884852" y="2174735"/>
                    </a:lnTo>
                    <a:lnTo>
                      <a:pt x="922812" y="2214392"/>
                    </a:lnTo>
                    <a:lnTo>
                      <a:pt x="953669" y="2246526"/>
                    </a:lnTo>
                    <a:lnTo>
                      <a:pt x="1045912" y="2250166"/>
                    </a:lnTo>
                    <a:lnTo>
                      <a:pt x="1087394" y="2271523"/>
                    </a:lnTo>
                    <a:lnTo>
                      <a:pt x="1135252" y="2296219"/>
                    </a:lnTo>
                    <a:lnTo>
                      <a:pt x="1146774" y="2349165"/>
                    </a:lnTo>
                    <a:lnTo>
                      <a:pt x="1183971" y="2380338"/>
                    </a:lnTo>
                    <a:lnTo>
                      <a:pt x="1222313" y="2403044"/>
                    </a:lnTo>
                    <a:lnTo>
                      <a:pt x="1259995" y="2412944"/>
                    </a:lnTo>
                    <a:lnTo>
                      <a:pt x="1288222" y="2408966"/>
                    </a:lnTo>
                    <a:lnTo>
                      <a:pt x="1315908" y="2407536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41" name="Republic of Crimea¬0" descr="Republic of Crimea¬0">
                <a:extLst>
                  <a:ext uri="{FF2B5EF4-FFF2-40B4-BE49-F238E27FC236}">
                    <a16:creationId xmlns:a16="http://schemas.microsoft.com/office/drawing/2014/main" id="{F5A96D6D-A541-459E-9E32-10DBA6432860}"/>
                  </a:ext>
                </a:extLst>
              </p:cNvPr>
              <p:cNvSpPr/>
              <p:nvPr/>
            </p:nvSpPr>
            <p:spPr>
              <a:xfrm>
                <a:off x="36199254" y="32301998"/>
                <a:ext cx="14566891" cy="9749896"/>
              </a:xfrm>
              <a:custGeom>
                <a:avLst/>
                <a:gdLst/>
                <a:ahLst/>
                <a:cxnLst/>
                <a:rect l="0" t="0" r="0" b="0"/>
                <a:pathLst>
                  <a:path w="14566889" h="9749892">
                    <a:moveTo>
                      <a:pt x="4074998" y="11441"/>
                    </a:moveTo>
                    <a:lnTo>
                      <a:pt x="4050667" y="39442"/>
                    </a:lnTo>
                    <a:lnTo>
                      <a:pt x="4035657" y="73149"/>
                    </a:lnTo>
                    <a:lnTo>
                      <a:pt x="4027646" y="127096"/>
                    </a:lnTo>
                    <a:lnTo>
                      <a:pt x="4033695" y="166368"/>
                    </a:lnTo>
                    <a:lnTo>
                      <a:pt x="4043868" y="204024"/>
                    </a:lnTo>
                    <a:lnTo>
                      <a:pt x="4051604" y="232463"/>
                    </a:lnTo>
                    <a:lnTo>
                      <a:pt x="4058022" y="261664"/>
                    </a:lnTo>
                    <a:lnTo>
                      <a:pt x="4066992" y="289718"/>
                    </a:lnTo>
                    <a:lnTo>
                      <a:pt x="4073494" y="310077"/>
                    </a:lnTo>
                    <a:lnTo>
                      <a:pt x="4086935" y="331629"/>
                    </a:lnTo>
                    <a:lnTo>
                      <a:pt x="4091477" y="352291"/>
                    </a:lnTo>
                    <a:lnTo>
                      <a:pt x="4092330" y="393610"/>
                    </a:lnTo>
                    <a:lnTo>
                      <a:pt x="4097573" y="445142"/>
                    </a:lnTo>
                    <a:lnTo>
                      <a:pt x="4103678" y="467208"/>
                    </a:lnTo>
                    <a:lnTo>
                      <a:pt x="4098311" y="506685"/>
                    </a:lnTo>
                    <a:lnTo>
                      <a:pt x="4060192" y="552236"/>
                    </a:lnTo>
                    <a:lnTo>
                      <a:pt x="4027370" y="574923"/>
                    </a:lnTo>
                    <a:lnTo>
                      <a:pt x="4038302" y="643343"/>
                    </a:lnTo>
                    <a:lnTo>
                      <a:pt x="4106041" y="724759"/>
                    </a:lnTo>
                    <a:lnTo>
                      <a:pt x="4095555" y="792996"/>
                    </a:lnTo>
                    <a:lnTo>
                      <a:pt x="4089307" y="833586"/>
                    </a:lnTo>
                    <a:lnTo>
                      <a:pt x="4042674" y="833673"/>
                    </a:lnTo>
                    <a:lnTo>
                      <a:pt x="4028904" y="869168"/>
                    </a:lnTo>
                    <a:lnTo>
                      <a:pt x="4022483" y="996001"/>
                    </a:lnTo>
                    <a:lnTo>
                      <a:pt x="4027205" y="1084371"/>
                    </a:lnTo>
                    <a:lnTo>
                      <a:pt x="4089264" y="1098823"/>
                    </a:lnTo>
                    <a:lnTo>
                      <a:pt x="4098271" y="1126244"/>
                    </a:lnTo>
                    <a:lnTo>
                      <a:pt x="4082501" y="1181540"/>
                    </a:lnTo>
                    <a:lnTo>
                      <a:pt x="4034768" y="1173041"/>
                    </a:lnTo>
                    <a:lnTo>
                      <a:pt x="4013941" y="1232343"/>
                    </a:lnTo>
                    <a:lnTo>
                      <a:pt x="4029540" y="1287298"/>
                    </a:lnTo>
                    <a:lnTo>
                      <a:pt x="4092665" y="1315944"/>
                    </a:lnTo>
                    <a:lnTo>
                      <a:pt x="4086036" y="1383320"/>
                    </a:lnTo>
                    <a:lnTo>
                      <a:pt x="4081441" y="1429398"/>
                    </a:lnTo>
                    <a:lnTo>
                      <a:pt x="3961702" y="1506506"/>
                    </a:lnTo>
                    <a:lnTo>
                      <a:pt x="4013941" y="1556066"/>
                    </a:lnTo>
                    <a:lnTo>
                      <a:pt x="4074554" y="1573284"/>
                    </a:lnTo>
                    <a:lnTo>
                      <a:pt x="4084337" y="1477085"/>
                    </a:lnTo>
                    <a:lnTo>
                      <a:pt x="4126840" y="1459489"/>
                    </a:lnTo>
                    <a:lnTo>
                      <a:pt x="4179208" y="1437813"/>
                    </a:lnTo>
                    <a:lnTo>
                      <a:pt x="4234461" y="1475516"/>
                    </a:lnTo>
                    <a:lnTo>
                      <a:pt x="4281900" y="1489419"/>
                    </a:lnTo>
                    <a:lnTo>
                      <a:pt x="4373721" y="1516239"/>
                    </a:lnTo>
                    <a:lnTo>
                      <a:pt x="4424381" y="1490433"/>
                    </a:lnTo>
                    <a:lnTo>
                      <a:pt x="4500897" y="1566946"/>
                    </a:lnTo>
                    <a:lnTo>
                      <a:pt x="4518366" y="1584458"/>
                    </a:lnTo>
                    <a:lnTo>
                      <a:pt x="4533925" y="1606094"/>
                    </a:lnTo>
                    <a:lnTo>
                      <a:pt x="4534898" y="1632238"/>
                    </a:lnTo>
                    <a:lnTo>
                      <a:pt x="4522229" y="1655015"/>
                    </a:lnTo>
                    <a:lnTo>
                      <a:pt x="4433475" y="1673594"/>
                    </a:lnTo>
                    <a:lnTo>
                      <a:pt x="4438197" y="1632784"/>
                    </a:lnTo>
                    <a:lnTo>
                      <a:pt x="4355353" y="1688002"/>
                    </a:lnTo>
                    <a:lnTo>
                      <a:pt x="4329506" y="1707049"/>
                    </a:lnTo>
                    <a:lnTo>
                      <a:pt x="4307368" y="1719330"/>
                    </a:lnTo>
                    <a:lnTo>
                      <a:pt x="4274124" y="1696504"/>
                    </a:lnTo>
                    <a:lnTo>
                      <a:pt x="4239738" y="1716565"/>
                    </a:lnTo>
                    <a:lnTo>
                      <a:pt x="4193239" y="1763151"/>
                    </a:lnTo>
                    <a:lnTo>
                      <a:pt x="4293294" y="1916729"/>
                    </a:lnTo>
                    <a:lnTo>
                      <a:pt x="4237022" y="1979088"/>
                    </a:lnTo>
                    <a:lnTo>
                      <a:pt x="4214323" y="1990901"/>
                    </a:lnTo>
                    <a:lnTo>
                      <a:pt x="4098199" y="2023544"/>
                    </a:lnTo>
                    <a:lnTo>
                      <a:pt x="4092922" y="1875715"/>
                    </a:lnTo>
                    <a:lnTo>
                      <a:pt x="4004425" y="1875715"/>
                    </a:lnTo>
                    <a:lnTo>
                      <a:pt x="3976712" y="1875715"/>
                    </a:lnTo>
                    <a:lnTo>
                      <a:pt x="3822241" y="1938663"/>
                    </a:lnTo>
                    <a:lnTo>
                      <a:pt x="3804475" y="1958683"/>
                    </a:lnTo>
                    <a:lnTo>
                      <a:pt x="3770815" y="1996514"/>
                    </a:lnTo>
                    <a:lnTo>
                      <a:pt x="3810561" y="2051896"/>
                    </a:lnTo>
                    <a:lnTo>
                      <a:pt x="3724228" y="2081101"/>
                    </a:lnTo>
                    <a:lnTo>
                      <a:pt x="3579661" y="2130065"/>
                    </a:lnTo>
                    <a:lnTo>
                      <a:pt x="3560576" y="2021929"/>
                    </a:lnTo>
                    <a:lnTo>
                      <a:pt x="3505237" y="2029414"/>
                    </a:lnTo>
                    <a:lnTo>
                      <a:pt x="3465702" y="2042551"/>
                    </a:lnTo>
                    <a:lnTo>
                      <a:pt x="3476668" y="2080124"/>
                    </a:lnTo>
                    <a:lnTo>
                      <a:pt x="3448106" y="2094706"/>
                    </a:lnTo>
                    <a:lnTo>
                      <a:pt x="3426640" y="2095556"/>
                    </a:lnTo>
                    <a:lnTo>
                      <a:pt x="3386897" y="2087897"/>
                    </a:lnTo>
                    <a:lnTo>
                      <a:pt x="3291681" y="2117483"/>
                    </a:lnTo>
                    <a:lnTo>
                      <a:pt x="3252660" y="2150259"/>
                    </a:lnTo>
                    <a:lnTo>
                      <a:pt x="3184565" y="2252572"/>
                    </a:lnTo>
                    <a:lnTo>
                      <a:pt x="3146137" y="2291931"/>
                    </a:lnTo>
                    <a:lnTo>
                      <a:pt x="3082683" y="2356799"/>
                    </a:lnTo>
                    <a:lnTo>
                      <a:pt x="2728602" y="2577914"/>
                    </a:lnTo>
                    <a:lnTo>
                      <a:pt x="2648310" y="2584375"/>
                    </a:lnTo>
                    <a:lnTo>
                      <a:pt x="2605118" y="2577703"/>
                    </a:lnTo>
                    <a:lnTo>
                      <a:pt x="2582338" y="2555385"/>
                    </a:lnTo>
                    <a:lnTo>
                      <a:pt x="2576001" y="2535026"/>
                    </a:lnTo>
                    <a:lnTo>
                      <a:pt x="2536645" y="2491373"/>
                    </a:lnTo>
                    <a:lnTo>
                      <a:pt x="2482065" y="2492858"/>
                    </a:lnTo>
                    <a:lnTo>
                      <a:pt x="2457881" y="2456520"/>
                    </a:lnTo>
                    <a:lnTo>
                      <a:pt x="2439600" y="2429144"/>
                    </a:lnTo>
                    <a:lnTo>
                      <a:pt x="2453673" y="2375582"/>
                    </a:lnTo>
                    <a:lnTo>
                      <a:pt x="2417077" y="2364020"/>
                    </a:lnTo>
                    <a:lnTo>
                      <a:pt x="2397268" y="2372739"/>
                    </a:lnTo>
                    <a:lnTo>
                      <a:pt x="2388508" y="2408913"/>
                    </a:lnTo>
                    <a:lnTo>
                      <a:pt x="2351915" y="2522990"/>
                    </a:lnTo>
                    <a:lnTo>
                      <a:pt x="2519344" y="2534599"/>
                    </a:lnTo>
                    <a:lnTo>
                      <a:pt x="2467403" y="2604780"/>
                    </a:lnTo>
                    <a:lnTo>
                      <a:pt x="2428171" y="2629433"/>
                    </a:lnTo>
                    <a:lnTo>
                      <a:pt x="2376863" y="2624116"/>
                    </a:lnTo>
                    <a:lnTo>
                      <a:pt x="2336819" y="2645584"/>
                    </a:lnTo>
                    <a:lnTo>
                      <a:pt x="2269703" y="2681498"/>
                    </a:lnTo>
                    <a:lnTo>
                      <a:pt x="2208712" y="2730208"/>
                    </a:lnTo>
                    <a:lnTo>
                      <a:pt x="2140955" y="2765282"/>
                    </a:lnTo>
                    <a:lnTo>
                      <a:pt x="2063248" y="2805491"/>
                    </a:lnTo>
                    <a:lnTo>
                      <a:pt x="1978918" y="2832701"/>
                    </a:lnTo>
                    <a:lnTo>
                      <a:pt x="1901561" y="2872739"/>
                    </a:lnTo>
                    <a:lnTo>
                      <a:pt x="1818670" y="2915586"/>
                    </a:lnTo>
                    <a:lnTo>
                      <a:pt x="1734083" y="2962086"/>
                    </a:lnTo>
                    <a:lnTo>
                      <a:pt x="1648560" y="3000601"/>
                    </a:lnTo>
                    <a:lnTo>
                      <a:pt x="1622887" y="3012114"/>
                    </a:lnTo>
                    <a:lnTo>
                      <a:pt x="1597127" y="3019977"/>
                    </a:lnTo>
                    <a:lnTo>
                      <a:pt x="1572391" y="3033238"/>
                    </a:lnTo>
                    <a:lnTo>
                      <a:pt x="1486399" y="3079316"/>
                    </a:lnTo>
                    <a:lnTo>
                      <a:pt x="1426806" y="3156424"/>
                    </a:lnTo>
                    <a:lnTo>
                      <a:pt x="1354758" y="3218225"/>
                    </a:lnTo>
                    <a:lnTo>
                      <a:pt x="1315011" y="3252276"/>
                    </a:lnTo>
                    <a:lnTo>
                      <a:pt x="1265879" y="3280838"/>
                    </a:lnTo>
                    <a:lnTo>
                      <a:pt x="1230979" y="3318882"/>
                    </a:lnTo>
                    <a:lnTo>
                      <a:pt x="1216778" y="3334395"/>
                    </a:lnTo>
                    <a:lnTo>
                      <a:pt x="1195490" y="3355141"/>
                    </a:lnTo>
                    <a:lnTo>
                      <a:pt x="1187453" y="3374650"/>
                    </a:lnTo>
                    <a:lnTo>
                      <a:pt x="1160373" y="3440236"/>
                    </a:lnTo>
                    <a:lnTo>
                      <a:pt x="1293552" y="3462123"/>
                    </a:lnTo>
                    <a:lnTo>
                      <a:pt x="1209216" y="3550115"/>
                    </a:lnTo>
                    <a:lnTo>
                      <a:pt x="1153536" y="3608260"/>
                    </a:lnTo>
                    <a:lnTo>
                      <a:pt x="1003315" y="3486993"/>
                    </a:lnTo>
                    <a:lnTo>
                      <a:pt x="945341" y="3525633"/>
                    </a:lnTo>
                    <a:lnTo>
                      <a:pt x="891012" y="3561847"/>
                    </a:lnTo>
                    <a:lnTo>
                      <a:pt x="893945" y="3667047"/>
                    </a:lnTo>
                    <a:lnTo>
                      <a:pt x="798438" y="3720139"/>
                    </a:lnTo>
                    <a:lnTo>
                      <a:pt x="717888" y="3764858"/>
                    </a:lnTo>
                    <a:lnTo>
                      <a:pt x="629478" y="3746624"/>
                    </a:lnTo>
                    <a:lnTo>
                      <a:pt x="567203" y="3779992"/>
                    </a:lnTo>
                    <a:lnTo>
                      <a:pt x="517382" y="3806682"/>
                    </a:lnTo>
                    <a:lnTo>
                      <a:pt x="485254" y="3852934"/>
                    </a:lnTo>
                    <a:lnTo>
                      <a:pt x="439347" y="3884727"/>
                    </a:lnTo>
                    <a:lnTo>
                      <a:pt x="369084" y="3933397"/>
                    </a:lnTo>
                    <a:lnTo>
                      <a:pt x="285514" y="3969311"/>
                    </a:lnTo>
                    <a:lnTo>
                      <a:pt x="221714" y="4027546"/>
                    </a:lnTo>
                    <a:lnTo>
                      <a:pt x="155832" y="4087651"/>
                    </a:lnTo>
                    <a:lnTo>
                      <a:pt x="78637" y="4205092"/>
                    </a:lnTo>
                    <a:lnTo>
                      <a:pt x="39452" y="4285986"/>
                    </a:lnTo>
                    <a:lnTo>
                      <a:pt x="28141" y="4328703"/>
                    </a:lnTo>
                    <a:lnTo>
                      <a:pt x="16917" y="4363687"/>
                    </a:lnTo>
                    <a:lnTo>
                      <a:pt x="2037" y="4392928"/>
                    </a:lnTo>
                    <a:lnTo>
                      <a:pt x="0" y="4432678"/>
                    </a:lnTo>
                    <a:lnTo>
                      <a:pt x="51129" y="4485844"/>
                    </a:lnTo>
                    <a:lnTo>
                      <a:pt x="62567" y="4514499"/>
                    </a:lnTo>
                    <a:lnTo>
                      <a:pt x="86116" y="4573327"/>
                    </a:lnTo>
                    <a:lnTo>
                      <a:pt x="40934" y="4658162"/>
                    </a:lnTo>
                    <a:lnTo>
                      <a:pt x="100657" y="4704928"/>
                    </a:lnTo>
                    <a:lnTo>
                      <a:pt x="150468" y="4711892"/>
                    </a:lnTo>
                    <a:lnTo>
                      <a:pt x="198586" y="4718868"/>
                    </a:lnTo>
                    <a:lnTo>
                      <a:pt x="238035" y="4748454"/>
                    </a:lnTo>
                    <a:lnTo>
                      <a:pt x="280284" y="4780164"/>
                    </a:lnTo>
                    <a:lnTo>
                      <a:pt x="283006" y="4804392"/>
                    </a:lnTo>
                    <a:lnTo>
                      <a:pt x="341412" y="4817820"/>
                    </a:lnTo>
                    <a:lnTo>
                      <a:pt x="394032" y="4829981"/>
                    </a:lnTo>
                    <a:lnTo>
                      <a:pt x="437387" y="4795462"/>
                    </a:lnTo>
                    <a:lnTo>
                      <a:pt x="493753" y="4813743"/>
                    </a:lnTo>
                    <a:lnTo>
                      <a:pt x="531840" y="4826077"/>
                    </a:lnTo>
                    <a:lnTo>
                      <a:pt x="543526" y="4859440"/>
                    </a:lnTo>
                    <a:lnTo>
                      <a:pt x="594404" y="4857269"/>
                    </a:lnTo>
                    <a:lnTo>
                      <a:pt x="629047" y="4849198"/>
                    </a:lnTo>
                    <a:lnTo>
                      <a:pt x="661014" y="4819271"/>
                    </a:lnTo>
                    <a:lnTo>
                      <a:pt x="666883" y="4783441"/>
                    </a:lnTo>
                    <a:lnTo>
                      <a:pt x="685539" y="4760695"/>
                    </a:lnTo>
                    <a:lnTo>
                      <a:pt x="719503" y="4719464"/>
                    </a:lnTo>
                    <a:lnTo>
                      <a:pt x="757675" y="4701359"/>
                    </a:lnTo>
                    <a:lnTo>
                      <a:pt x="797080" y="4669566"/>
                    </a:lnTo>
                    <a:lnTo>
                      <a:pt x="816034" y="4654218"/>
                    </a:lnTo>
                    <a:lnTo>
                      <a:pt x="829422" y="4635562"/>
                    </a:lnTo>
                    <a:lnTo>
                      <a:pt x="851489" y="4623314"/>
                    </a:lnTo>
                    <a:lnTo>
                      <a:pt x="897223" y="4597939"/>
                    </a:lnTo>
                    <a:lnTo>
                      <a:pt x="996938" y="4626806"/>
                    </a:lnTo>
                    <a:lnTo>
                      <a:pt x="1048714" y="4628756"/>
                    </a:lnTo>
                    <a:lnTo>
                      <a:pt x="1099167" y="4630669"/>
                    </a:lnTo>
                    <a:lnTo>
                      <a:pt x="1166242" y="4604488"/>
                    </a:lnTo>
                    <a:lnTo>
                      <a:pt x="1224179" y="4597477"/>
                    </a:lnTo>
                    <a:lnTo>
                      <a:pt x="1253762" y="4593815"/>
                    </a:lnTo>
                    <a:lnTo>
                      <a:pt x="1295332" y="4597009"/>
                    </a:lnTo>
                    <a:lnTo>
                      <a:pt x="1324837" y="4601545"/>
                    </a:lnTo>
                    <a:lnTo>
                      <a:pt x="1348597" y="4605201"/>
                    </a:lnTo>
                    <a:lnTo>
                      <a:pt x="1588033" y="4680613"/>
                    </a:lnTo>
                    <a:lnTo>
                      <a:pt x="1642185" y="4719715"/>
                    </a:lnTo>
                    <a:lnTo>
                      <a:pt x="1677420" y="4755294"/>
                    </a:lnTo>
                    <a:lnTo>
                      <a:pt x="1715210" y="4789258"/>
                    </a:lnTo>
                    <a:lnTo>
                      <a:pt x="1753254" y="4823516"/>
                    </a:lnTo>
                    <a:lnTo>
                      <a:pt x="1803285" y="4850848"/>
                    </a:lnTo>
                    <a:lnTo>
                      <a:pt x="1847146" y="4876310"/>
                    </a:lnTo>
                    <a:lnTo>
                      <a:pt x="1879581" y="4895137"/>
                    </a:lnTo>
                    <a:lnTo>
                      <a:pt x="2076261" y="5072645"/>
                    </a:lnTo>
                    <a:lnTo>
                      <a:pt x="2101506" y="5104823"/>
                    </a:lnTo>
                    <a:lnTo>
                      <a:pt x="2144697" y="5159911"/>
                    </a:lnTo>
                    <a:lnTo>
                      <a:pt x="2190003" y="5222943"/>
                    </a:lnTo>
                    <a:lnTo>
                      <a:pt x="2241609" y="5269405"/>
                    </a:lnTo>
                    <a:lnTo>
                      <a:pt x="2264011" y="5289599"/>
                    </a:lnTo>
                    <a:lnTo>
                      <a:pt x="2283947" y="5324242"/>
                    </a:lnTo>
                    <a:lnTo>
                      <a:pt x="2302814" y="5348293"/>
                    </a:lnTo>
                    <a:lnTo>
                      <a:pt x="2340518" y="5396418"/>
                    </a:lnTo>
                    <a:lnTo>
                      <a:pt x="2384003" y="5440747"/>
                    </a:lnTo>
                    <a:lnTo>
                      <a:pt x="2429318" y="5481597"/>
                    </a:lnTo>
                    <a:lnTo>
                      <a:pt x="2459834" y="5509059"/>
                    </a:lnTo>
                    <a:lnTo>
                      <a:pt x="2525254" y="5495748"/>
                    </a:lnTo>
                    <a:lnTo>
                      <a:pt x="2565338" y="5508801"/>
                    </a:lnTo>
                    <a:lnTo>
                      <a:pt x="2678060" y="5545354"/>
                    </a:lnTo>
                    <a:lnTo>
                      <a:pt x="2674832" y="5667691"/>
                    </a:lnTo>
                    <a:lnTo>
                      <a:pt x="2787045" y="5676106"/>
                    </a:lnTo>
                    <a:lnTo>
                      <a:pt x="2844304" y="5680360"/>
                    </a:lnTo>
                    <a:lnTo>
                      <a:pt x="2863301" y="5633898"/>
                    </a:lnTo>
                    <a:lnTo>
                      <a:pt x="2891786" y="5597218"/>
                    </a:lnTo>
                    <a:lnTo>
                      <a:pt x="2912191" y="5571371"/>
                    </a:lnTo>
                    <a:lnTo>
                      <a:pt x="2952651" y="5555512"/>
                    </a:lnTo>
                    <a:lnTo>
                      <a:pt x="2977598" y="5578686"/>
                    </a:lnTo>
                    <a:lnTo>
                      <a:pt x="3008759" y="5571371"/>
                    </a:lnTo>
                    <a:lnTo>
                      <a:pt x="3037238" y="5564699"/>
                    </a:lnTo>
                    <a:lnTo>
                      <a:pt x="3050880" y="5547010"/>
                    </a:lnTo>
                    <a:lnTo>
                      <a:pt x="3072690" y="5531929"/>
                    </a:lnTo>
                    <a:lnTo>
                      <a:pt x="3119019" y="5499872"/>
                    </a:lnTo>
                    <a:lnTo>
                      <a:pt x="3189455" y="5497708"/>
                    </a:lnTo>
                    <a:lnTo>
                      <a:pt x="3239991" y="5523765"/>
                    </a:lnTo>
                    <a:lnTo>
                      <a:pt x="3260651" y="5534388"/>
                    </a:lnTo>
                    <a:lnTo>
                      <a:pt x="3276467" y="5550842"/>
                    </a:lnTo>
                    <a:lnTo>
                      <a:pt x="3295765" y="5563207"/>
                    </a:lnTo>
                    <a:lnTo>
                      <a:pt x="3322755" y="5576298"/>
                    </a:lnTo>
                    <a:lnTo>
                      <a:pt x="3458604" y="5710023"/>
                    </a:lnTo>
                    <a:lnTo>
                      <a:pt x="3488916" y="5737315"/>
                    </a:lnTo>
                    <a:lnTo>
                      <a:pt x="3515987" y="5761670"/>
                    </a:lnTo>
                    <a:lnTo>
                      <a:pt x="3560192" y="5767663"/>
                    </a:lnTo>
                    <a:lnTo>
                      <a:pt x="3592289" y="5786282"/>
                    </a:lnTo>
                    <a:lnTo>
                      <a:pt x="3613882" y="5798824"/>
                    </a:lnTo>
                    <a:lnTo>
                      <a:pt x="3625357" y="5817521"/>
                    </a:lnTo>
                    <a:lnTo>
                      <a:pt x="3643973" y="5832531"/>
                    </a:lnTo>
                    <a:lnTo>
                      <a:pt x="3710918" y="5886642"/>
                    </a:lnTo>
                    <a:lnTo>
                      <a:pt x="3801538" y="5979511"/>
                    </a:lnTo>
                    <a:lnTo>
                      <a:pt x="3824880" y="6065121"/>
                    </a:lnTo>
                    <a:lnTo>
                      <a:pt x="3832699" y="6093727"/>
                    </a:lnTo>
                    <a:lnTo>
                      <a:pt x="3853058" y="6211301"/>
                    </a:lnTo>
                    <a:lnTo>
                      <a:pt x="3857523" y="6244673"/>
                    </a:lnTo>
                    <a:lnTo>
                      <a:pt x="3864198" y="6294828"/>
                    </a:lnTo>
                    <a:lnTo>
                      <a:pt x="3841840" y="6432971"/>
                    </a:lnTo>
                    <a:lnTo>
                      <a:pt x="3886085" y="6460939"/>
                    </a:lnTo>
                    <a:lnTo>
                      <a:pt x="3905851" y="6501110"/>
                    </a:lnTo>
                    <a:lnTo>
                      <a:pt x="3920598" y="6526104"/>
                    </a:lnTo>
                    <a:lnTo>
                      <a:pt x="3933695" y="6558874"/>
                    </a:lnTo>
                    <a:lnTo>
                      <a:pt x="3962850" y="6631648"/>
                    </a:lnTo>
                    <a:lnTo>
                      <a:pt x="4010372" y="6893821"/>
                    </a:lnTo>
                    <a:lnTo>
                      <a:pt x="3998984" y="6966933"/>
                    </a:lnTo>
                    <a:lnTo>
                      <a:pt x="3991288" y="7016328"/>
                    </a:lnTo>
                    <a:lnTo>
                      <a:pt x="3964294" y="7063807"/>
                    </a:lnTo>
                    <a:lnTo>
                      <a:pt x="3956816" y="7112477"/>
                    </a:lnTo>
                    <a:lnTo>
                      <a:pt x="3950267" y="7154980"/>
                    </a:lnTo>
                    <a:lnTo>
                      <a:pt x="3959368" y="7219847"/>
                    </a:lnTo>
                    <a:lnTo>
                      <a:pt x="3926889" y="7255296"/>
                    </a:lnTo>
                    <a:lnTo>
                      <a:pt x="3900503" y="7284088"/>
                    </a:lnTo>
                    <a:lnTo>
                      <a:pt x="3868722" y="7273754"/>
                    </a:lnTo>
                    <a:lnTo>
                      <a:pt x="3833037" y="7278424"/>
                    </a:lnTo>
                    <a:lnTo>
                      <a:pt x="3837666" y="7310819"/>
                    </a:lnTo>
                    <a:lnTo>
                      <a:pt x="3842196" y="7345620"/>
                    </a:lnTo>
                    <a:lnTo>
                      <a:pt x="3846636" y="7372269"/>
                    </a:lnTo>
                    <a:lnTo>
                      <a:pt x="3862964" y="7404915"/>
                    </a:lnTo>
                    <a:lnTo>
                      <a:pt x="3882005" y="7429401"/>
                    </a:lnTo>
                    <a:lnTo>
                      <a:pt x="3901042" y="7453889"/>
                    </a:lnTo>
                    <a:lnTo>
                      <a:pt x="3922805" y="7464769"/>
                    </a:lnTo>
                    <a:lnTo>
                      <a:pt x="4271023" y="7581742"/>
                    </a:lnTo>
                    <a:lnTo>
                      <a:pt x="4276458" y="7693282"/>
                    </a:lnTo>
                    <a:lnTo>
                      <a:pt x="3988098" y="7772170"/>
                    </a:lnTo>
                    <a:lnTo>
                      <a:pt x="3993536" y="7951716"/>
                    </a:lnTo>
                    <a:lnTo>
                      <a:pt x="4224775" y="7968041"/>
                    </a:lnTo>
                    <a:lnTo>
                      <a:pt x="4244156" y="7986399"/>
                    </a:lnTo>
                    <a:lnTo>
                      <a:pt x="4265575" y="7938120"/>
                    </a:lnTo>
                    <a:lnTo>
                      <a:pt x="4328148" y="7913631"/>
                    </a:lnTo>
                    <a:lnTo>
                      <a:pt x="4319991" y="7951716"/>
                    </a:lnTo>
                    <a:lnTo>
                      <a:pt x="4366236" y="7992526"/>
                    </a:lnTo>
                    <a:lnTo>
                      <a:pt x="4401598" y="7935394"/>
                    </a:lnTo>
                    <a:lnTo>
                      <a:pt x="4428799" y="7954441"/>
                    </a:lnTo>
                    <a:lnTo>
                      <a:pt x="4464168" y="8014289"/>
                    </a:lnTo>
                    <a:lnTo>
                      <a:pt x="4485931" y="8025172"/>
                    </a:lnTo>
                    <a:lnTo>
                      <a:pt x="4507697" y="8036046"/>
                    </a:lnTo>
                    <a:lnTo>
                      <a:pt x="4578424" y="8063256"/>
                    </a:lnTo>
                    <a:lnTo>
                      <a:pt x="4583866" y="8128545"/>
                    </a:lnTo>
                    <a:lnTo>
                      <a:pt x="4504978" y="8193834"/>
                    </a:lnTo>
                    <a:lnTo>
                      <a:pt x="4507697" y="8248244"/>
                    </a:lnTo>
                    <a:lnTo>
                      <a:pt x="4409762" y="8392421"/>
                    </a:lnTo>
                    <a:lnTo>
                      <a:pt x="4385273" y="8376099"/>
                    </a:lnTo>
                    <a:lnTo>
                      <a:pt x="4339031" y="8452271"/>
                    </a:lnTo>
                    <a:lnTo>
                      <a:pt x="4363510" y="8465877"/>
                    </a:lnTo>
                    <a:lnTo>
                      <a:pt x="4333583" y="8506677"/>
                    </a:lnTo>
                    <a:lnTo>
                      <a:pt x="4390715" y="8634539"/>
                    </a:lnTo>
                    <a:lnTo>
                      <a:pt x="4434241" y="8645422"/>
                    </a:lnTo>
                    <a:lnTo>
                      <a:pt x="4469603" y="8615496"/>
                    </a:lnTo>
                    <a:lnTo>
                      <a:pt x="4499530" y="8637259"/>
                    </a:lnTo>
                    <a:lnTo>
                      <a:pt x="4553939" y="8591013"/>
                    </a:lnTo>
                    <a:lnTo>
                      <a:pt x="4592024" y="8639981"/>
                    </a:lnTo>
                    <a:lnTo>
                      <a:pt x="4592024" y="8675343"/>
                    </a:lnTo>
                    <a:lnTo>
                      <a:pt x="4673637" y="8702548"/>
                    </a:lnTo>
                    <a:lnTo>
                      <a:pt x="4676353" y="8735191"/>
                    </a:lnTo>
                    <a:lnTo>
                      <a:pt x="4660032" y="8762395"/>
                    </a:lnTo>
                    <a:lnTo>
                      <a:pt x="4662754" y="8822246"/>
                    </a:lnTo>
                    <a:lnTo>
                      <a:pt x="4684517" y="8854889"/>
                    </a:lnTo>
                    <a:lnTo>
                      <a:pt x="4728043" y="8925619"/>
                    </a:lnTo>
                    <a:lnTo>
                      <a:pt x="4722605" y="9031718"/>
                    </a:lnTo>
                    <a:lnTo>
                      <a:pt x="4787894" y="9086127"/>
                    </a:lnTo>
                    <a:lnTo>
                      <a:pt x="4812373" y="9077960"/>
                    </a:lnTo>
                    <a:lnTo>
                      <a:pt x="4845019" y="9105165"/>
                    </a:lnTo>
                    <a:lnTo>
                      <a:pt x="4806931" y="9145975"/>
                    </a:lnTo>
                    <a:lnTo>
                      <a:pt x="4847741" y="9181337"/>
                    </a:lnTo>
                    <a:lnTo>
                      <a:pt x="4858624" y="9262948"/>
                    </a:lnTo>
                    <a:lnTo>
                      <a:pt x="4921197" y="9227588"/>
                    </a:lnTo>
                    <a:lnTo>
                      <a:pt x="4959276" y="9252068"/>
                    </a:lnTo>
                    <a:lnTo>
                      <a:pt x="4923913" y="9309193"/>
                    </a:lnTo>
                    <a:lnTo>
                      <a:pt x="5024565" y="9537712"/>
                    </a:lnTo>
                    <a:lnTo>
                      <a:pt x="4994644" y="9570358"/>
                    </a:lnTo>
                    <a:lnTo>
                      <a:pt x="4717163" y="9483303"/>
                    </a:lnTo>
                    <a:lnTo>
                      <a:pt x="4594749" y="9551311"/>
                    </a:lnTo>
                    <a:lnTo>
                      <a:pt x="4543056" y="9510508"/>
                    </a:lnTo>
                    <a:lnTo>
                      <a:pt x="4491372" y="9532264"/>
                    </a:lnTo>
                    <a:lnTo>
                      <a:pt x="4499530" y="9611159"/>
                    </a:lnTo>
                    <a:lnTo>
                      <a:pt x="4453282" y="9611159"/>
                    </a:lnTo>
                    <a:lnTo>
                      <a:pt x="4420636" y="9632922"/>
                    </a:lnTo>
                    <a:lnTo>
                      <a:pt x="4419284" y="9658762"/>
                    </a:lnTo>
                    <a:lnTo>
                      <a:pt x="4417919" y="9685973"/>
                    </a:lnTo>
                    <a:lnTo>
                      <a:pt x="4444761" y="9686429"/>
                    </a:lnTo>
                    <a:lnTo>
                      <a:pt x="4488017" y="9689672"/>
                    </a:lnTo>
                    <a:lnTo>
                      <a:pt x="4519771" y="9703646"/>
                    </a:lnTo>
                    <a:lnTo>
                      <a:pt x="4549862" y="9710446"/>
                    </a:lnTo>
                    <a:lnTo>
                      <a:pt x="4573749" y="9716290"/>
                    </a:lnTo>
                    <a:lnTo>
                      <a:pt x="4650944" y="9713103"/>
                    </a:lnTo>
                    <a:lnTo>
                      <a:pt x="4696039" y="9639321"/>
                    </a:lnTo>
                    <a:lnTo>
                      <a:pt x="4770211" y="9647873"/>
                    </a:lnTo>
                    <a:lnTo>
                      <a:pt x="4877584" y="9660244"/>
                    </a:lnTo>
                    <a:lnTo>
                      <a:pt x="4969780" y="9749891"/>
                    </a:lnTo>
                    <a:lnTo>
                      <a:pt x="5081696" y="9749891"/>
                    </a:lnTo>
                    <a:lnTo>
                      <a:pt x="5117092" y="9745972"/>
                    </a:lnTo>
                    <a:lnTo>
                      <a:pt x="5146768" y="9743408"/>
                    </a:lnTo>
                    <a:lnTo>
                      <a:pt x="5170115" y="9740360"/>
                    </a:lnTo>
                    <a:lnTo>
                      <a:pt x="5211483" y="9727983"/>
                    </a:lnTo>
                    <a:lnTo>
                      <a:pt x="5248284" y="9696366"/>
                    </a:lnTo>
                    <a:lnTo>
                      <a:pt x="5288446" y="9679155"/>
                    </a:lnTo>
                    <a:lnTo>
                      <a:pt x="5374695" y="9642214"/>
                    </a:lnTo>
                    <a:lnTo>
                      <a:pt x="5368265" y="9692388"/>
                    </a:lnTo>
                    <a:lnTo>
                      <a:pt x="5439429" y="9596183"/>
                    </a:lnTo>
                    <a:lnTo>
                      <a:pt x="5482661" y="9583086"/>
                    </a:lnTo>
                    <a:lnTo>
                      <a:pt x="5512581" y="9568721"/>
                    </a:lnTo>
                    <a:lnTo>
                      <a:pt x="5541448" y="9552663"/>
                    </a:lnTo>
                    <a:lnTo>
                      <a:pt x="5568519" y="9544583"/>
                    </a:lnTo>
                    <a:lnTo>
                      <a:pt x="5598216" y="9544887"/>
                    </a:lnTo>
                    <a:lnTo>
                      <a:pt x="5624416" y="9536342"/>
                    </a:lnTo>
                    <a:lnTo>
                      <a:pt x="5662324" y="9523837"/>
                    </a:lnTo>
                    <a:lnTo>
                      <a:pt x="5782841" y="9464669"/>
                    </a:lnTo>
                    <a:lnTo>
                      <a:pt x="5806687" y="9435675"/>
                    </a:lnTo>
                    <a:lnTo>
                      <a:pt x="5840961" y="9394068"/>
                    </a:lnTo>
                    <a:lnTo>
                      <a:pt x="5863468" y="9331793"/>
                    </a:lnTo>
                    <a:lnTo>
                      <a:pt x="5886934" y="9283340"/>
                    </a:lnTo>
                    <a:lnTo>
                      <a:pt x="5905506" y="9245122"/>
                    </a:lnTo>
                    <a:lnTo>
                      <a:pt x="5930460" y="9199723"/>
                    </a:lnTo>
                    <a:lnTo>
                      <a:pt x="5964470" y="9173161"/>
                    </a:lnTo>
                    <a:lnTo>
                      <a:pt x="5995665" y="9166445"/>
                    </a:lnTo>
                    <a:lnTo>
                      <a:pt x="6022398" y="9157431"/>
                    </a:lnTo>
                    <a:lnTo>
                      <a:pt x="6042000" y="9147320"/>
                    </a:lnTo>
                    <a:lnTo>
                      <a:pt x="6083191" y="9137963"/>
                    </a:lnTo>
                    <a:lnTo>
                      <a:pt x="6124885" y="9154542"/>
                    </a:lnTo>
                    <a:lnTo>
                      <a:pt x="6167137" y="9137789"/>
                    </a:lnTo>
                    <a:lnTo>
                      <a:pt x="6179722" y="9114926"/>
                    </a:lnTo>
                    <a:lnTo>
                      <a:pt x="6192251" y="9095668"/>
                    </a:lnTo>
                    <a:lnTo>
                      <a:pt x="6202499" y="9071142"/>
                    </a:lnTo>
                    <a:lnTo>
                      <a:pt x="6216700" y="9037054"/>
                    </a:lnTo>
                    <a:lnTo>
                      <a:pt x="6248434" y="8895851"/>
                    </a:lnTo>
                    <a:lnTo>
                      <a:pt x="6277313" y="8883439"/>
                    </a:lnTo>
                    <a:lnTo>
                      <a:pt x="6336515" y="8858061"/>
                    </a:lnTo>
                    <a:lnTo>
                      <a:pt x="6446596" y="8957571"/>
                    </a:lnTo>
                    <a:lnTo>
                      <a:pt x="6500385" y="8872556"/>
                    </a:lnTo>
                    <a:lnTo>
                      <a:pt x="6516067" y="8847779"/>
                    </a:lnTo>
                    <a:lnTo>
                      <a:pt x="6527040" y="8750901"/>
                    </a:lnTo>
                    <a:lnTo>
                      <a:pt x="6542553" y="8707974"/>
                    </a:lnTo>
                    <a:lnTo>
                      <a:pt x="6557469" y="8666736"/>
                    </a:lnTo>
                    <a:lnTo>
                      <a:pt x="6587647" y="8633287"/>
                    </a:lnTo>
                    <a:lnTo>
                      <a:pt x="6606484" y="8595075"/>
                    </a:lnTo>
                    <a:lnTo>
                      <a:pt x="6635948" y="8535141"/>
                    </a:lnTo>
                    <a:lnTo>
                      <a:pt x="6650651" y="8460885"/>
                    </a:lnTo>
                    <a:lnTo>
                      <a:pt x="6675850" y="8397850"/>
                    </a:lnTo>
                    <a:lnTo>
                      <a:pt x="6699954" y="8337612"/>
                    </a:lnTo>
                    <a:lnTo>
                      <a:pt x="6756394" y="8294179"/>
                    </a:lnTo>
                    <a:lnTo>
                      <a:pt x="6783307" y="8235984"/>
                    </a:lnTo>
                    <a:lnTo>
                      <a:pt x="6820033" y="8156879"/>
                    </a:lnTo>
                    <a:lnTo>
                      <a:pt x="6881068" y="7950807"/>
                    </a:lnTo>
                    <a:lnTo>
                      <a:pt x="6985974" y="7935382"/>
                    </a:lnTo>
                    <a:lnTo>
                      <a:pt x="7014074" y="7926880"/>
                    </a:lnTo>
                    <a:lnTo>
                      <a:pt x="7074219" y="7883519"/>
                    </a:lnTo>
                    <a:lnTo>
                      <a:pt x="7160930" y="7807139"/>
                    </a:lnTo>
                    <a:lnTo>
                      <a:pt x="7215860" y="7791199"/>
                    </a:lnTo>
                    <a:lnTo>
                      <a:pt x="7245477" y="7790005"/>
                    </a:lnTo>
                    <a:lnTo>
                      <a:pt x="7325103" y="7773522"/>
                    </a:lnTo>
                    <a:lnTo>
                      <a:pt x="7387704" y="7747679"/>
                    </a:lnTo>
                    <a:lnTo>
                      <a:pt x="7451167" y="7728632"/>
                    </a:lnTo>
                    <a:lnTo>
                      <a:pt x="7498392" y="7714431"/>
                    </a:lnTo>
                    <a:lnTo>
                      <a:pt x="7558280" y="7717749"/>
                    </a:lnTo>
                    <a:lnTo>
                      <a:pt x="7602150" y="7697344"/>
                    </a:lnTo>
                    <a:lnTo>
                      <a:pt x="7663588" y="7668744"/>
                    </a:lnTo>
                    <a:lnTo>
                      <a:pt x="7693878" y="7626623"/>
                    </a:lnTo>
                    <a:lnTo>
                      <a:pt x="7734086" y="7574930"/>
                    </a:lnTo>
                    <a:lnTo>
                      <a:pt x="7747865" y="7557250"/>
                    </a:lnTo>
                    <a:lnTo>
                      <a:pt x="7769166" y="7547477"/>
                    </a:lnTo>
                    <a:lnTo>
                      <a:pt x="7787137" y="7535487"/>
                    </a:lnTo>
                    <a:lnTo>
                      <a:pt x="7840793" y="7499657"/>
                    </a:lnTo>
                    <a:lnTo>
                      <a:pt x="7886167" y="7472065"/>
                    </a:lnTo>
                    <a:lnTo>
                      <a:pt x="7953077" y="7466115"/>
                    </a:lnTo>
                    <a:lnTo>
                      <a:pt x="8014119" y="7460760"/>
                    </a:lnTo>
                    <a:lnTo>
                      <a:pt x="8085485" y="7451027"/>
                    </a:lnTo>
                    <a:lnTo>
                      <a:pt x="8144870" y="7468831"/>
                    </a:lnTo>
                    <a:lnTo>
                      <a:pt x="8180825" y="7479627"/>
                    </a:lnTo>
                    <a:lnTo>
                      <a:pt x="8209651" y="7514481"/>
                    </a:lnTo>
                    <a:lnTo>
                      <a:pt x="8250963" y="7497393"/>
                    </a:lnTo>
                    <a:lnTo>
                      <a:pt x="8272983" y="7488299"/>
                    </a:lnTo>
                    <a:lnTo>
                      <a:pt x="8282973" y="7461861"/>
                    </a:lnTo>
                    <a:lnTo>
                      <a:pt x="8297211" y="7444345"/>
                    </a:lnTo>
                    <a:lnTo>
                      <a:pt x="8379802" y="7406056"/>
                    </a:lnTo>
                    <a:lnTo>
                      <a:pt x="8389903" y="7509557"/>
                    </a:lnTo>
                    <a:lnTo>
                      <a:pt x="8464513" y="7487878"/>
                    </a:lnTo>
                    <a:lnTo>
                      <a:pt x="8522838" y="7470955"/>
                    </a:lnTo>
                    <a:lnTo>
                      <a:pt x="8520153" y="7387775"/>
                    </a:lnTo>
                    <a:lnTo>
                      <a:pt x="8571970" y="7360016"/>
                    </a:lnTo>
                    <a:lnTo>
                      <a:pt x="8592716" y="7348878"/>
                    </a:lnTo>
                    <a:lnTo>
                      <a:pt x="8616503" y="7354193"/>
                    </a:lnTo>
                    <a:lnTo>
                      <a:pt x="8638617" y="7347774"/>
                    </a:lnTo>
                    <a:lnTo>
                      <a:pt x="8693751" y="7331751"/>
                    </a:lnTo>
                    <a:lnTo>
                      <a:pt x="8727194" y="7326139"/>
                    </a:lnTo>
                    <a:lnTo>
                      <a:pt x="8785519" y="7339617"/>
                    </a:lnTo>
                    <a:lnTo>
                      <a:pt x="8822826" y="7355855"/>
                    </a:lnTo>
                    <a:lnTo>
                      <a:pt x="8848216" y="7379701"/>
                    </a:lnTo>
                    <a:lnTo>
                      <a:pt x="8937650" y="7500500"/>
                    </a:lnTo>
                    <a:lnTo>
                      <a:pt x="8955549" y="7524604"/>
                    </a:lnTo>
                    <a:lnTo>
                      <a:pt x="8970811" y="7555033"/>
                    </a:lnTo>
                    <a:lnTo>
                      <a:pt x="9008340" y="7608342"/>
                    </a:lnTo>
                    <a:lnTo>
                      <a:pt x="9072187" y="7616031"/>
                    </a:lnTo>
                    <a:lnTo>
                      <a:pt x="9113332" y="7593970"/>
                    </a:lnTo>
                    <a:lnTo>
                      <a:pt x="9225372" y="7533949"/>
                    </a:lnTo>
                    <a:lnTo>
                      <a:pt x="9232990" y="7343524"/>
                    </a:lnTo>
                    <a:lnTo>
                      <a:pt x="9262957" y="7234879"/>
                    </a:lnTo>
                    <a:lnTo>
                      <a:pt x="9274262" y="7193905"/>
                    </a:lnTo>
                    <a:lnTo>
                      <a:pt x="9289805" y="7159854"/>
                    </a:lnTo>
                    <a:lnTo>
                      <a:pt x="9307835" y="7121981"/>
                    </a:lnTo>
                    <a:lnTo>
                      <a:pt x="9318209" y="7100137"/>
                    </a:lnTo>
                    <a:lnTo>
                      <a:pt x="9338909" y="7063534"/>
                    </a:lnTo>
                    <a:lnTo>
                      <a:pt x="9358167" y="7048531"/>
                    </a:lnTo>
                    <a:lnTo>
                      <a:pt x="9475946" y="6932786"/>
                    </a:lnTo>
                    <a:lnTo>
                      <a:pt x="9575403" y="6973422"/>
                    </a:lnTo>
                    <a:lnTo>
                      <a:pt x="9623400" y="6930194"/>
                    </a:lnTo>
                    <a:lnTo>
                      <a:pt x="9664970" y="6892748"/>
                    </a:lnTo>
                    <a:lnTo>
                      <a:pt x="9650527" y="6743340"/>
                    </a:lnTo>
                    <a:lnTo>
                      <a:pt x="9730860" y="6700323"/>
                    </a:lnTo>
                    <a:lnTo>
                      <a:pt x="9786624" y="6670439"/>
                    </a:lnTo>
                    <a:lnTo>
                      <a:pt x="9846611" y="6728243"/>
                    </a:lnTo>
                    <a:lnTo>
                      <a:pt x="9881849" y="6718002"/>
                    </a:lnTo>
                    <a:lnTo>
                      <a:pt x="9938578" y="6683446"/>
                    </a:lnTo>
                    <a:lnTo>
                      <a:pt x="9993374" y="6686420"/>
                    </a:lnTo>
                    <a:lnTo>
                      <a:pt x="10043833" y="6755361"/>
                    </a:lnTo>
                    <a:lnTo>
                      <a:pt x="10079078" y="6787375"/>
                    </a:lnTo>
                    <a:lnTo>
                      <a:pt x="10102193" y="6792816"/>
                    </a:lnTo>
                    <a:lnTo>
                      <a:pt x="10118802" y="6776702"/>
                    </a:lnTo>
                    <a:lnTo>
                      <a:pt x="10132454" y="6687185"/>
                    </a:lnTo>
                    <a:lnTo>
                      <a:pt x="10035542" y="6655389"/>
                    </a:lnTo>
                    <a:lnTo>
                      <a:pt x="10098115" y="6561578"/>
                    </a:lnTo>
                    <a:lnTo>
                      <a:pt x="10161749" y="6466117"/>
                    </a:lnTo>
                    <a:lnTo>
                      <a:pt x="10321906" y="6564046"/>
                    </a:lnTo>
                    <a:lnTo>
                      <a:pt x="10351117" y="6474525"/>
                    </a:lnTo>
                    <a:lnTo>
                      <a:pt x="10310874" y="6418079"/>
                    </a:lnTo>
                    <a:lnTo>
                      <a:pt x="10234064" y="6420631"/>
                    </a:lnTo>
                    <a:lnTo>
                      <a:pt x="10213730" y="6367075"/>
                    </a:lnTo>
                    <a:lnTo>
                      <a:pt x="10205058" y="6344329"/>
                    </a:lnTo>
                    <a:lnTo>
                      <a:pt x="10214390" y="6298679"/>
                    </a:lnTo>
                    <a:lnTo>
                      <a:pt x="10220530" y="6275939"/>
                    </a:lnTo>
                    <a:lnTo>
                      <a:pt x="10258530" y="6133371"/>
                    </a:lnTo>
                    <a:lnTo>
                      <a:pt x="10352422" y="6080711"/>
                    </a:lnTo>
                    <a:lnTo>
                      <a:pt x="10465358" y="6002542"/>
                    </a:lnTo>
                    <a:lnTo>
                      <a:pt x="10487124" y="5987445"/>
                    </a:lnTo>
                    <a:lnTo>
                      <a:pt x="10513864" y="5976695"/>
                    </a:lnTo>
                    <a:lnTo>
                      <a:pt x="10534737" y="5960374"/>
                    </a:lnTo>
                    <a:lnTo>
                      <a:pt x="10563526" y="5937892"/>
                    </a:lnTo>
                    <a:lnTo>
                      <a:pt x="10619364" y="5881861"/>
                    </a:lnTo>
                    <a:lnTo>
                      <a:pt x="10650355" y="5870596"/>
                    </a:lnTo>
                    <a:lnTo>
                      <a:pt x="10701179" y="5852191"/>
                    </a:lnTo>
                    <a:lnTo>
                      <a:pt x="10851775" y="5850877"/>
                    </a:lnTo>
                    <a:lnTo>
                      <a:pt x="10907421" y="5861081"/>
                    </a:lnTo>
                    <a:lnTo>
                      <a:pt x="11002764" y="5878503"/>
                    </a:lnTo>
                    <a:lnTo>
                      <a:pt x="11120465" y="5907028"/>
                    </a:lnTo>
                    <a:lnTo>
                      <a:pt x="11202591" y="5960374"/>
                    </a:lnTo>
                    <a:lnTo>
                      <a:pt x="11227795" y="5976782"/>
                    </a:lnTo>
                    <a:lnTo>
                      <a:pt x="11252225" y="5996462"/>
                    </a:lnTo>
                    <a:lnTo>
                      <a:pt x="11277395" y="6012064"/>
                    </a:lnTo>
                    <a:lnTo>
                      <a:pt x="11299800" y="6025998"/>
                    </a:lnTo>
                    <a:lnTo>
                      <a:pt x="11324437" y="6033523"/>
                    </a:lnTo>
                    <a:lnTo>
                      <a:pt x="11348126" y="6044710"/>
                    </a:lnTo>
                    <a:lnTo>
                      <a:pt x="11369725" y="6054905"/>
                    </a:lnTo>
                    <a:lnTo>
                      <a:pt x="11391019" y="6070975"/>
                    </a:lnTo>
                    <a:lnTo>
                      <a:pt x="11412063" y="6082788"/>
                    </a:lnTo>
                    <a:lnTo>
                      <a:pt x="11444920" y="6101280"/>
                    </a:lnTo>
                    <a:lnTo>
                      <a:pt x="11475740" y="6137538"/>
                    </a:lnTo>
                    <a:lnTo>
                      <a:pt x="11507276" y="6160324"/>
                    </a:lnTo>
                    <a:lnTo>
                      <a:pt x="11535962" y="6181064"/>
                    </a:lnTo>
                    <a:lnTo>
                      <a:pt x="11572987" y="6191182"/>
                    </a:lnTo>
                    <a:lnTo>
                      <a:pt x="11594328" y="6221530"/>
                    </a:lnTo>
                    <a:lnTo>
                      <a:pt x="11607378" y="6240062"/>
                    </a:lnTo>
                    <a:lnTo>
                      <a:pt x="11615313" y="6261695"/>
                    </a:lnTo>
                    <a:lnTo>
                      <a:pt x="11625613" y="6281381"/>
                    </a:lnTo>
                    <a:lnTo>
                      <a:pt x="11644402" y="6308288"/>
                    </a:lnTo>
                    <a:lnTo>
                      <a:pt x="11686518" y="6368089"/>
                    </a:lnTo>
                    <a:lnTo>
                      <a:pt x="11705208" y="6420671"/>
                    </a:lnTo>
                    <a:lnTo>
                      <a:pt x="11723542" y="6473167"/>
                    </a:lnTo>
                    <a:lnTo>
                      <a:pt x="11730645" y="6493486"/>
                    </a:lnTo>
                    <a:lnTo>
                      <a:pt x="11736849" y="6519034"/>
                    </a:lnTo>
                    <a:lnTo>
                      <a:pt x="11754836" y="6533015"/>
                    </a:lnTo>
                    <a:lnTo>
                      <a:pt x="11772767" y="6546955"/>
                    </a:lnTo>
                    <a:lnTo>
                      <a:pt x="11809989" y="6557972"/>
                    </a:lnTo>
                    <a:lnTo>
                      <a:pt x="11832357" y="6558861"/>
                    </a:lnTo>
                    <a:lnTo>
                      <a:pt x="12018795" y="6518355"/>
                    </a:lnTo>
                    <a:lnTo>
                      <a:pt x="12049996" y="6501690"/>
                    </a:lnTo>
                    <a:lnTo>
                      <a:pt x="12092871" y="6468662"/>
                    </a:lnTo>
                    <a:lnTo>
                      <a:pt x="12115279" y="6467726"/>
                    </a:lnTo>
                    <a:lnTo>
                      <a:pt x="12178866" y="6465087"/>
                    </a:lnTo>
                    <a:lnTo>
                      <a:pt x="12234258" y="6541049"/>
                    </a:lnTo>
                    <a:lnTo>
                      <a:pt x="12302998" y="6512610"/>
                    </a:lnTo>
                    <a:lnTo>
                      <a:pt x="12384574" y="6478863"/>
                    </a:lnTo>
                    <a:lnTo>
                      <a:pt x="12357736" y="6307943"/>
                    </a:lnTo>
                    <a:lnTo>
                      <a:pt x="12467580" y="6281381"/>
                    </a:lnTo>
                    <a:lnTo>
                      <a:pt x="12498087" y="6273980"/>
                    </a:lnTo>
                    <a:lnTo>
                      <a:pt x="12669006" y="6281579"/>
                    </a:lnTo>
                    <a:lnTo>
                      <a:pt x="12690652" y="6299060"/>
                    </a:lnTo>
                    <a:lnTo>
                      <a:pt x="12729753" y="6330683"/>
                    </a:lnTo>
                    <a:lnTo>
                      <a:pt x="12751774" y="6367841"/>
                    </a:lnTo>
                    <a:lnTo>
                      <a:pt x="12803544" y="6383396"/>
                    </a:lnTo>
                    <a:lnTo>
                      <a:pt x="12878581" y="6405878"/>
                    </a:lnTo>
                    <a:lnTo>
                      <a:pt x="12960474" y="6411156"/>
                    </a:lnTo>
                    <a:lnTo>
                      <a:pt x="13036138" y="6429641"/>
                    </a:lnTo>
                    <a:lnTo>
                      <a:pt x="13067636" y="6437337"/>
                    </a:lnTo>
                    <a:lnTo>
                      <a:pt x="13100993" y="6461050"/>
                    </a:lnTo>
                    <a:lnTo>
                      <a:pt x="13134073" y="6458204"/>
                    </a:lnTo>
                    <a:lnTo>
                      <a:pt x="13222306" y="6450639"/>
                    </a:lnTo>
                    <a:lnTo>
                      <a:pt x="13203399" y="6308077"/>
                    </a:lnTo>
                    <a:lnTo>
                      <a:pt x="13283698" y="6275939"/>
                    </a:lnTo>
                    <a:lnTo>
                      <a:pt x="13345077" y="6251327"/>
                    </a:lnTo>
                    <a:lnTo>
                      <a:pt x="13442621" y="6272076"/>
                    </a:lnTo>
                    <a:lnTo>
                      <a:pt x="13506769" y="6277297"/>
                    </a:lnTo>
                    <a:lnTo>
                      <a:pt x="13531462" y="6279297"/>
                    </a:lnTo>
                    <a:lnTo>
                      <a:pt x="13555256" y="6272153"/>
                    </a:lnTo>
                    <a:lnTo>
                      <a:pt x="13578852" y="6273223"/>
                    </a:lnTo>
                    <a:lnTo>
                      <a:pt x="13604428" y="6277812"/>
                    </a:lnTo>
                    <a:lnTo>
                      <a:pt x="13649582" y="6275939"/>
                    </a:lnTo>
                    <a:lnTo>
                      <a:pt x="13756019" y="6190667"/>
                    </a:lnTo>
                    <a:lnTo>
                      <a:pt x="13797849" y="6171198"/>
                    </a:lnTo>
                    <a:lnTo>
                      <a:pt x="13835552" y="6153649"/>
                    </a:lnTo>
                    <a:lnTo>
                      <a:pt x="13883794" y="6145736"/>
                    </a:lnTo>
                    <a:lnTo>
                      <a:pt x="13914831" y="6115431"/>
                    </a:lnTo>
                    <a:lnTo>
                      <a:pt x="13931844" y="6098775"/>
                    </a:lnTo>
                    <a:lnTo>
                      <a:pt x="13939602" y="6064389"/>
                    </a:lnTo>
                    <a:lnTo>
                      <a:pt x="13932505" y="6041984"/>
                    </a:lnTo>
                    <a:lnTo>
                      <a:pt x="13923646" y="6013977"/>
                    </a:lnTo>
                    <a:lnTo>
                      <a:pt x="13881639" y="5975204"/>
                    </a:lnTo>
                    <a:lnTo>
                      <a:pt x="13864499" y="5950849"/>
                    </a:lnTo>
                    <a:lnTo>
                      <a:pt x="13836529" y="5911062"/>
                    </a:lnTo>
                    <a:lnTo>
                      <a:pt x="13763002" y="5772069"/>
                    </a:lnTo>
                    <a:lnTo>
                      <a:pt x="13755681" y="5727777"/>
                    </a:lnTo>
                    <a:lnTo>
                      <a:pt x="13741912" y="5645230"/>
                    </a:lnTo>
                    <a:lnTo>
                      <a:pt x="13775534" y="5404008"/>
                    </a:lnTo>
                    <a:lnTo>
                      <a:pt x="13799207" y="5321076"/>
                    </a:lnTo>
                    <a:lnTo>
                      <a:pt x="13811296" y="5278611"/>
                    </a:lnTo>
                    <a:lnTo>
                      <a:pt x="13835850" y="5246483"/>
                    </a:lnTo>
                    <a:lnTo>
                      <a:pt x="13841369" y="5200020"/>
                    </a:lnTo>
                    <a:lnTo>
                      <a:pt x="13846897" y="5153856"/>
                    </a:lnTo>
                    <a:lnTo>
                      <a:pt x="13830402" y="5109353"/>
                    </a:lnTo>
                    <a:lnTo>
                      <a:pt x="13844067" y="5061275"/>
                    </a:lnTo>
                    <a:lnTo>
                      <a:pt x="13871910" y="4963858"/>
                    </a:lnTo>
                    <a:lnTo>
                      <a:pt x="14026403" y="5013207"/>
                    </a:lnTo>
                    <a:lnTo>
                      <a:pt x="14068499" y="4961985"/>
                    </a:lnTo>
                    <a:lnTo>
                      <a:pt x="14079807" y="4923132"/>
                    </a:lnTo>
                    <a:lnTo>
                      <a:pt x="14060934" y="4863706"/>
                    </a:lnTo>
                    <a:lnTo>
                      <a:pt x="13983193" y="4806416"/>
                    </a:lnTo>
                    <a:lnTo>
                      <a:pt x="14034495" y="4729395"/>
                    </a:lnTo>
                    <a:lnTo>
                      <a:pt x="14047164" y="4710388"/>
                    </a:lnTo>
                    <a:lnTo>
                      <a:pt x="14069231" y="4692154"/>
                    </a:lnTo>
                    <a:lnTo>
                      <a:pt x="14091627" y="4685863"/>
                    </a:lnTo>
                    <a:lnTo>
                      <a:pt x="14113858" y="4679624"/>
                    </a:lnTo>
                    <a:lnTo>
                      <a:pt x="14200107" y="4683401"/>
                    </a:lnTo>
                    <a:lnTo>
                      <a:pt x="14223563" y="4688579"/>
                    </a:lnTo>
                    <a:lnTo>
                      <a:pt x="14253803" y="4695214"/>
                    </a:lnTo>
                    <a:lnTo>
                      <a:pt x="14280775" y="4721395"/>
                    </a:lnTo>
                    <a:lnTo>
                      <a:pt x="14309251" y="4734830"/>
                    </a:lnTo>
                    <a:lnTo>
                      <a:pt x="14349084" y="4753573"/>
                    </a:lnTo>
                    <a:lnTo>
                      <a:pt x="14487637" y="4757998"/>
                    </a:lnTo>
                    <a:lnTo>
                      <a:pt x="14525526" y="4734830"/>
                    </a:lnTo>
                    <a:lnTo>
                      <a:pt x="14560841" y="4686244"/>
                    </a:lnTo>
                    <a:lnTo>
                      <a:pt x="14566888" y="4661802"/>
                    </a:lnTo>
                    <a:lnTo>
                      <a:pt x="14565436" y="4497645"/>
                    </a:lnTo>
                    <a:lnTo>
                      <a:pt x="14553877" y="4463470"/>
                    </a:lnTo>
                    <a:lnTo>
                      <a:pt x="14526871" y="4428319"/>
                    </a:lnTo>
                    <a:lnTo>
                      <a:pt x="14511939" y="4400218"/>
                    </a:lnTo>
                    <a:lnTo>
                      <a:pt x="14482142" y="4344324"/>
                    </a:lnTo>
                    <a:lnTo>
                      <a:pt x="14470959" y="4251957"/>
                    </a:lnTo>
                    <a:lnTo>
                      <a:pt x="14388160" y="4251957"/>
                    </a:lnTo>
                    <a:lnTo>
                      <a:pt x="14328356" y="4251957"/>
                    </a:lnTo>
                    <a:lnTo>
                      <a:pt x="14274964" y="4382833"/>
                    </a:lnTo>
                    <a:lnTo>
                      <a:pt x="14197732" y="4343093"/>
                    </a:lnTo>
                    <a:lnTo>
                      <a:pt x="14169334" y="4318775"/>
                    </a:lnTo>
                    <a:lnTo>
                      <a:pt x="14120797" y="4263305"/>
                    </a:lnTo>
                    <a:lnTo>
                      <a:pt x="14060407" y="4151641"/>
                    </a:lnTo>
                    <a:lnTo>
                      <a:pt x="13995065" y="4163544"/>
                    </a:lnTo>
                    <a:lnTo>
                      <a:pt x="13974145" y="4167330"/>
                    </a:lnTo>
                    <a:lnTo>
                      <a:pt x="13952723" y="4178253"/>
                    </a:lnTo>
                    <a:lnTo>
                      <a:pt x="13932492" y="4185307"/>
                    </a:lnTo>
                    <a:lnTo>
                      <a:pt x="13912159" y="4192451"/>
                    </a:lnTo>
                    <a:lnTo>
                      <a:pt x="13887943" y="4197846"/>
                    </a:lnTo>
                    <a:lnTo>
                      <a:pt x="13868561" y="4207073"/>
                    </a:lnTo>
                    <a:lnTo>
                      <a:pt x="13837044" y="4209702"/>
                    </a:lnTo>
                    <a:lnTo>
                      <a:pt x="13636656" y="4227391"/>
                    </a:lnTo>
                    <a:lnTo>
                      <a:pt x="13638522" y="4109730"/>
                    </a:lnTo>
                    <a:lnTo>
                      <a:pt x="13553002" y="4096897"/>
                    </a:lnTo>
                    <a:lnTo>
                      <a:pt x="13479031" y="4085843"/>
                    </a:lnTo>
                    <a:lnTo>
                      <a:pt x="13459392" y="4215829"/>
                    </a:lnTo>
                    <a:lnTo>
                      <a:pt x="13382972" y="4188032"/>
                    </a:lnTo>
                    <a:lnTo>
                      <a:pt x="13358940" y="4112626"/>
                    </a:lnTo>
                    <a:lnTo>
                      <a:pt x="13441006" y="4132135"/>
                    </a:lnTo>
                    <a:lnTo>
                      <a:pt x="13434662" y="4052013"/>
                    </a:lnTo>
                    <a:lnTo>
                      <a:pt x="13402763" y="4026083"/>
                    </a:lnTo>
                    <a:lnTo>
                      <a:pt x="13377503" y="4040358"/>
                    </a:lnTo>
                    <a:lnTo>
                      <a:pt x="13353052" y="4042482"/>
                    </a:lnTo>
                    <a:lnTo>
                      <a:pt x="13311522" y="4046010"/>
                    </a:lnTo>
                    <a:lnTo>
                      <a:pt x="13270799" y="4051154"/>
                    </a:lnTo>
                    <a:lnTo>
                      <a:pt x="13229270" y="4054729"/>
                    </a:lnTo>
                    <a:lnTo>
                      <a:pt x="13180343" y="4058890"/>
                    </a:lnTo>
                    <a:lnTo>
                      <a:pt x="13129983" y="4050990"/>
                    </a:lnTo>
                    <a:lnTo>
                      <a:pt x="13081009" y="4057445"/>
                    </a:lnTo>
                    <a:lnTo>
                      <a:pt x="13020991" y="4065401"/>
                    </a:lnTo>
                    <a:lnTo>
                      <a:pt x="12999476" y="4088138"/>
                    </a:lnTo>
                    <a:lnTo>
                      <a:pt x="12921862" y="4079211"/>
                    </a:lnTo>
                    <a:lnTo>
                      <a:pt x="12889895" y="4075509"/>
                    </a:lnTo>
                    <a:lnTo>
                      <a:pt x="12855643" y="4056261"/>
                    </a:lnTo>
                    <a:lnTo>
                      <a:pt x="12823927" y="4066970"/>
                    </a:lnTo>
                    <a:lnTo>
                      <a:pt x="12588497" y="4226585"/>
                    </a:lnTo>
                    <a:lnTo>
                      <a:pt x="12541005" y="4281580"/>
                    </a:lnTo>
                    <a:lnTo>
                      <a:pt x="12509212" y="4524037"/>
                    </a:lnTo>
                    <a:lnTo>
                      <a:pt x="12409069" y="4585205"/>
                    </a:lnTo>
                    <a:lnTo>
                      <a:pt x="12337138" y="4629199"/>
                    </a:lnTo>
                    <a:lnTo>
                      <a:pt x="12160789" y="4590823"/>
                    </a:lnTo>
                    <a:lnTo>
                      <a:pt x="12097584" y="4541676"/>
                    </a:lnTo>
                    <a:lnTo>
                      <a:pt x="12069617" y="4519913"/>
                    </a:lnTo>
                    <a:lnTo>
                      <a:pt x="12048235" y="4494457"/>
                    </a:lnTo>
                    <a:lnTo>
                      <a:pt x="12017332" y="4473671"/>
                    </a:lnTo>
                    <a:lnTo>
                      <a:pt x="11958538" y="4434095"/>
                    </a:lnTo>
                    <a:lnTo>
                      <a:pt x="11891131" y="4403660"/>
                    </a:lnTo>
                    <a:lnTo>
                      <a:pt x="11841866" y="4349892"/>
                    </a:lnTo>
                    <a:lnTo>
                      <a:pt x="11798257" y="4302370"/>
                    </a:lnTo>
                    <a:lnTo>
                      <a:pt x="11783377" y="4232535"/>
                    </a:lnTo>
                    <a:lnTo>
                      <a:pt x="11783377" y="4170344"/>
                    </a:lnTo>
                    <a:lnTo>
                      <a:pt x="11820401" y="4139018"/>
                    </a:lnTo>
                    <a:lnTo>
                      <a:pt x="11843423" y="4158995"/>
                    </a:lnTo>
                    <a:lnTo>
                      <a:pt x="11864990" y="4115938"/>
                    </a:lnTo>
                    <a:lnTo>
                      <a:pt x="11856430" y="4045799"/>
                    </a:lnTo>
                    <a:lnTo>
                      <a:pt x="11735473" y="3996497"/>
                    </a:lnTo>
                    <a:lnTo>
                      <a:pt x="11692241" y="4046565"/>
                    </a:lnTo>
                    <a:lnTo>
                      <a:pt x="11642430" y="4104335"/>
                    </a:lnTo>
                    <a:lnTo>
                      <a:pt x="11640979" y="4277630"/>
                    </a:lnTo>
                    <a:lnTo>
                      <a:pt x="11586152" y="4368936"/>
                    </a:lnTo>
                    <a:lnTo>
                      <a:pt x="11566596" y="4401582"/>
                    </a:lnTo>
                    <a:lnTo>
                      <a:pt x="11539234" y="4440299"/>
                    </a:lnTo>
                    <a:lnTo>
                      <a:pt x="11508621" y="4464149"/>
                    </a:lnTo>
                    <a:lnTo>
                      <a:pt x="11482431" y="4484638"/>
                    </a:lnTo>
                    <a:lnTo>
                      <a:pt x="11453012" y="4492157"/>
                    </a:lnTo>
                    <a:lnTo>
                      <a:pt x="11440607" y="4526719"/>
                    </a:lnTo>
                    <a:lnTo>
                      <a:pt x="11437475" y="4557836"/>
                    </a:lnTo>
                    <a:lnTo>
                      <a:pt x="11434855" y="4600339"/>
                    </a:lnTo>
                    <a:lnTo>
                      <a:pt x="11411958" y="4601316"/>
                    </a:lnTo>
                    <a:lnTo>
                      <a:pt x="11398439" y="4620574"/>
                    </a:lnTo>
                    <a:lnTo>
                      <a:pt x="11379870" y="4647049"/>
                    </a:lnTo>
                    <a:lnTo>
                      <a:pt x="11374059" y="4686371"/>
                    </a:lnTo>
                    <a:lnTo>
                      <a:pt x="11356277" y="4711706"/>
                    </a:lnTo>
                    <a:lnTo>
                      <a:pt x="11309434" y="4778480"/>
                    </a:lnTo>
                    <a:lnTo>
                      <a:pt x="11060946" y="4809260"/>
                    </a:lnTo>
                    <a:lnTo>
                      <a:pt x="10979497" y="4836839"/>
                    </a:lnTo>
                    <a:lnTo>
                      <a:pt x="10949577" y="4847003"/>
                    </a:lnTo>
                    <a:lnTo>
                      <a:pt x="10917994" y="4862646"/>
                    </a:lnTo>
                    <a:lnTo>
                      <a:pt x="10889729" y="4876288"/>
                    </a:lnTo>
                    <a:lnTo>
                      <a:pt x="10865920" y="4887763"/>
                    </a:lnTo>
                    <a:lnTo>
                      <a:pt x="10840901" y="4903235"/>
                    </a:lnTo>
                    <a:lnTo>
                      <a:pt x="10817640" y="4915734"/>
                    </a:lnTo>
                    <a:lnTo>
                      <a:pt x="10763396" y="4944765"/>
                    </a:lnTo>
                    <a:lnTo>
                      <a:pt x="10587934" y="4994966"/>
                    </a:lnTo>
                    <a:lnTo>
                      <a:pt x="10531996" y="4972859"/>
                    </a:lnTo>
                    <a:lnTo>
                      <a:pt x="10474902" y="4950336"/>
                    </a:lnTo>
                    <a:lnTo>
                      <a:pt x="10409969" y="4907747"/>
                    </a:lnTo>
                    <a:lnTo>
                      <a:pt x="10371494" y="4858609"/>
                    </a:lnTo>
                    <a:lnTo>
                      <a:pt x="10355898" y="4838712"/>
                    </a:lnTo>
                    <a:lnTo>
                      <a:pt x="10345353" y="4806240"/>
                    </a:lnTo>
                    <a:lnTo>
                      <a:pt x="10325246" y="4790594"/>
                    </a:lnTo>
                    <a:lnTo>
                      <a:pt x="10299300" y="4770403"/>
                    </a:lnTo>
                    <a:lnTo>
                      <a:pt x="10258214" y="4766748"/>
                    </a:lnTo>
                    <a:lnTo>
                      <a:pt x="10228675" y="4748435"/>
                    </a:lnTo>
                    <a:lnTo>
                      <a:pt x="10143917" y="4695806"/>
                    </a:lnTo>
                    <a:lnTo>
                      <a:pt x="10049340" y="4607988"/>
                    </a:lnTo>
                    <a:lnTo>
                      <a:pt x="9975676" y="4538960"/>
                    </a:lnTo>
                    <a:lnTo>
                      <a:pt x="9914086" y="4481196"/>
                    </a:lnTo>
                    <a:lnTo>
                      <a:pt x="9854915" y="4362645"/>
                    </a:lnTo>
                    <a:lnTo>
                      <a:pt x="9808369" y="4288684"/>
                    </a:lnTo>
                    <a:lnTo>
                      <a:pt x="9794686" y="4257225"/>
                    </a:lnTo>
                    <a:lnTo>
                      <a:pt x="9753116" y="4198190"/>
                    </a:lnTo>
                    <a:lnTo>
                      <a:pt x="9715540" y="4157761"/>
                    </a:lnTo>
                    <a:lnTo>
                      <a:pt x="9683229" y="4111854"/>
                    </a:lnTo>
                    <a:lnTo>
                      <a:pt x="9645941" y="4058853"/>
                    </a:lnTo>
                    <a:lnTo>
                      <a:pt x="9608424" y="3997433"/>
                    </a:lnTo>
                    <a:lnTo>
                      <a:pt x="9581220" y="3939108"/>
                    </a:lnTo>
                    <a:lnTo>
                      <a:pt x="9556818" y="3886829"/>
                    </a:lnTo>
                    <a:lnTo>
                      <a:pt x="9480832" y="3781456"/>
                    </a:lnTo>
                    <a:lnTo>
                      <a:pt x="9446564" y="3726923"/>
                    </a:lnTo>
                    <a:lnTo>
                      <a:pt x="9422671" y="3688962"/>
                    </a:lnTo>
                    <a:lnTo>
                      <a:pt x="9388497" y="3610496"/>
                    </a:lnTo>
                    <a:lnTo>
                      <a:pt x="9362232" y="3563692"/>
                    </a:lnTo>
                    <a:lnTo>
                      <a:pt x="9336621" y="3518002"/>
                    </a:lnTo>
                    <a:lnTo>
                      <a:pt x="9293123" y="3474135"/>
                    </a:lnTo>
                    <a:lnTo>
                      <a:pt x="9261577" y="3431756"/>
                    </a:lnTo>
                    <a:lnTo>
                      <a:pt x="9228934" y="3387932"/>
                    </a:lnTo>
                    <a:lnTo>
                      <a:pt x="9184642" y="3309553"/>
                    </a:lnTo>
                    <a:lnTo>
                      <a:pt x="9155481" y="3260374"/>
                    </a:lnTo>
                    <a:lnTo>
                      <a:pt x="9136171" y="3227775"/>
                    </a:lnTo>
                    <a:lnTo>
                      <a:pt x="9107760" y="3200183"/>
                    </a:lnTo>
                    <a:lnTo>
                      <a:pt x="9087473" y="3167881"/>
                    </a:lnTo>
                    <a:lnTo>
                      <a:pt x="9064430" y="3131325"/>
                    </a:lnTo>
                    <a:lnTo>
                      <a:pt x="9036211" y="3089665"/>
                    </a:lnTo>
                    <a:lnTo>
                      <a:pt x="9018094" y="3050905"/>
                    </a:lnTo>
                    <a:lnTo>
                      <a:pt x="8998713" y="3009373"/>
                    </a:lnTo>
                    <a:lnTo>
                      <a:pt x="8988478" y="2961763"/>
                    </a:lnTo>
                    <a:lnTo>
                      <a:pt x="8969127" y="2920321"/>
                    </a:lnTo>
                    <a:lnTo>
                      <a:pt x="8957311" y="2894989"/>
                    </a:lnTo>
                    <a:lnTo>
                      <a:pt x="8940353" y="2872587"/>
                    </a:lnTo>
                    <a:lnTo>
                      <a:pt x="8928326" y="2846874"/>
                    </a:lnTo>
                    <a:lnTo>
                      <a:pt x="8918076" y="2814439"/>
                    </a:lnTo>
                    <a:lnTo>
                      <a:pt x="8880618" y="2738143"/>
                    </a:lnTo>
                    <a:lnTo>
                      <a:pt x="8825709" y="2691978"/>
                    </a:lnTo>
                    <a:lnTo>
                      <a:pt x="8797745" y="2631957"/>
                    </a:lnTo>
                    <a:lnTo>
                      <a:pt x="8785380" y="2605518"/>
                    </a:lnTo>
                    <a:lnTo>
                      <a:pt x="8775846" y="2577219"/>
                    </a:lnTo>
                    <a:lnTo>
                      <a:pt x="8766466" y="2548988"/>
                    </a:lnTo>
                    <a:lnTo>
                      <a:pt x="8682137" y="2580273"/>
                    </a:lnTo>
                    <a:lnTo>
                      <a:pt x="8700412" y="2608098"/>
                    </a:lnTo>
                    <a:lnTo>
                      <a:pt x="8716417" y="2635343"/>
                    </a:lnTo>
                    <a:lnTo>
                      <a:pt x="8731092" y="2663251"/>
                    </a:lnTo>
                    <a:lnTo>
                      <a:pt x="8744486" y="2688713"/>
                    </a:lnTo>
                    <a:lnTo>
                      <a:pt x="8736322" y="2712212"/>
                    </a:lnTo>
                    <a:lnTo>
                      <a:pt x="8740620" y="2738065"/>
                    </a:lnTo>
                    <a:lnTo>
                      <a:pt x="8755366" y="2783244"/>
                    </a:lnTo>
                    <a:lnTo>
                      <a:pt x="8762377" y="2803348"/>
                    </a:lnTo>
                    <a:lnTo>
                      <a:pt x="8771902" y="2823750"/>
                    </a:lnTo>
                    <a:lnTo>
                      <a:pt x="8784378" y="2847169"/>
                    </a:lnTo>
                    <a:lnTo>
                      <a:pt x="8801150" y="2868894"/>
                    </a:lnTo>
                    <a:lnTo>
                      <a:pt x="8814070" y="2891764"/>
                    </a:lnTo>
                    <a:lnTo>
                      <a:pt x="8828859" y="2917822"/>
                    </a:lnTo>
                    <a:lnTo>
                      <a:pt x="8833622" y="2948040"/>
                    </a:lnTo>
                    <a:lnTo>
                      <a:pt x="8849429" y="2974736"/>
                    </a:lnTo>
                    <a:lnTo>
                      <a:pt x="8863034" y="2999215"/>
                    </a:lnTo>
                    <a:lnTo>
                      <a:pt x="8888967" y="3021995"/>
                    </a:lnTo>
                    <a:lnTo>
                      <a:pt x="8921452" y="3044450"/>
                    </a:lnTo>
                    <a:lnTo>
                      <a:pt x="8939119" y="3059425"/>
                    </a:lnTo>
                    <a:lnTo>
                      <a:pt x="8958253" y="3091709"/>
                    </a:lnTo>
                    <a:lnTo>
                      <a:pt x="8974224" y="3118702"/>
                    </a:lnTo>
                    <a:lnTo>
                      <a:pt x="8990936" y="3154492"/>
                    </a:lnTo>
                    <a:lnTo>
                      <a:pt x="8996338" y="3185560"/>
                    </a:lnTo>
                    <a:lnTo>
                      <a:pt x="9000830" y="3211537"/>
                    </a:lnTo>
                    <a:lnTo>
                      <a:pt x="8992369" y="3234745"/>
                    </a:lnTo>
                    <a:lnTo>
                      <a:pt x="9005863" y="3260374"/>
                    </a:lnTo>
                    <a:lnTo>
                      <a:pt x="9030863" y="3307897"/>
                    </a:lnTo>
                    <a:lnTo>
                      <a:pt x="9117183" y="3386705"/>
                    </a:lnTo>
                    <a:lnTo>
                      <a:pt x="9156839" y="3439920"/>
                    </a:lnTo>
                    <a:lnTo>
                      <a:pt x="9187275" y="3480776"/>
                    </a:lnTo>
                    <a:lnTo>
                      <a:pt x="9223831" y="3561702"/>
                    </a:lnTo>
                    <a:lnTo>
                      <a:pt x="9252055" y="3597703"/>
                    </a:lnTo>
                    <a:lnTo>
                      <a:pt x="9383985" y="3769091"/>
                    </a:lnTo>
                    <a:lnTo>
                      <a:pt x="9404437" y="3795188"/>
                    </a:lnTo>
                    <a:lnTo>
                      <a:pt x="9417146" y="3828089"/>
                    </a:lnTo>
                    <a:lnTo>
                      <a:pt x="9437043" y="3854785"/>
                    </a:lnTo>
                    <a:lnTo>
                      <a:pt x="9487579" y="3922619"/>
                    </a:lnTo>
                    <a:lnTo>
                      <a:pt x="9526516" y="3995223"/>
                    </a:lnTo>
                    <a:lnTo>
                      <a:pt x="9571698" y="4066976"/>
                    </a:lnTo>
                    <a:lnTo>
                      <a:pt x="9591694" y="4098810"/>
                    </a:lnTo>
                    <a:lnTo>
                      <a:pt x="9621217" y="4129199"/>
                    </a:lnTo>
                    <a:lnTo>
                      <a:pt x="9643793" y="4159470"/>
                    </a:lnTo>
                    <a:lnTo>
                      <a:pt x="9674135" y="4200212"/>
                    </a:lnTo>
                    <a:lnTo>
                      <a:pt x="9692556" y="4246082"/>
                    </a:lnTo>
                    <a:lnTo>
                      <a:pt x="9711801" y="4292767"/>
                    </a:lnTo>
                    <a:lnTo>
                      <a:pt x="9731043" y="4339453"/>
                    </a:lnTo>
                    <a:lnTo>
                      <a:pt x="9750794" y="4386625"/>
                    </a:lnTo>
                    <a:lnTo>
                      <a:pt x="9781164" y="4427429"/>
                    </a:lnTo>
                    <a:lnTo>
                      <a:pt x="9804964" y="4459306"/>
                    </a:lnTo>
                    <a:lnTo>
                      <a:pt x="9826392" y="4491571"/>
                    </a:lnTo>
                    <a:lnTo>
                      <a:pt x="9858701" y="4515839"/>
                    </a:lnTo>
                    <a:lnTo>
                      <a:pt x="9886327" y="4536541"/>
                    </a:lnTo>
                    <a:lnTo>
                      <a:pt x="9924157" y="4546829"/>
                    </a:lnTo>
                    <a:lnTo>
                      <a:pt x="9943030" y="4578406"/>
                    </a:lnTo>
                    <a:lnTo>
                      <a:pt x="9962545" y="4611142"/>
                    </a:lnTo>
                    <a:lnTo>
                      <a:pt x="9984327" y="4695425"/>
                    </a:lnTo>
                    <a:lnTo>
                      <a:pt x="10004236" y="4717147"/>
                    </a:lnTo>
                    <a:lnTo>
                      <a:pt x="10028969" y="4744181"/>
                    </a:lnTo>
                    <a:lnTo>
                      <a:pt x="10059668" y="4748389"/>
                    </a:lnTo>
                    <a:lnTo>
                      <a:pt x="10092655" y="4759315"/>
                    </a:lnTo>
                    <a:lnTo>
                      <a:pt x="10114418" y="4776998"/>
                    </a:lnTo>
                    <a:lnTo>
                      <a:pt x="10138429" y="4806497"/>
                    </a:lnTo>
                    <a:lnTo>
                      <a:pt x="10145362" y="4847853"/>
                    </a:lnTo>
                    <a:lnTo>
                      <a:pt x="10170185" y="4874930"/>
                    </a:lnTo>
                    <a:lnTo>
                      <a:pt x="10187812" y="4886750"/>
                    </a:lnTo>
                    <a:lnTo>
                      <a:pt x="10225233" y="4912720"/>
                    </a:lnTo>
                    <a:lnTo>
                      <a:pt x="10260431" y="4898184"/>
                    </a:lnTo>
                    <a:lnTo>
                      <a:pt x="10289883" y="4910298"/>
                    </a:lnTo>
                    <a:lnTo>
                      <a:pt x="10305135" y="4930486"/>
                    </a:lnTo>
                    <a:lnTo>
                      <a:pt x="10331884" y="4943366"/>
                    </a:lnTo>
                    <a:lnTo>
                      <a:pt x="10356537" y="4957902"/>
                    </a:lnTo>
                    <a:lnTo>
                      <a:pt x="10381183" y="4972444"/>
                    </a:lnTo>
                    <a:lnTo>
                      <a:pt x="10403498" y="4988892"/>
                    </a:lnTo>
                    <a:lnTo>
                      <a:pt x="10410946" y="5012311"/>
                    </a:lnTo>
                    <a:lnTo>
                      <a:pt x="10418462" y="5036030"/>
                    </a:lnTo>
                    <a:lnTo>
                      <a:pt x="10410484" y="5061743"/>
                    </a:lnTo>
                    <a:lnTo>
                      <a:pt x="10400057" y="5083038"/>
                    </a:lnTo>
                    <a:lnTo>
                      <a:pt x="10388674" y="5105794"/>
                    </a:lnTo>
                    <a:lnTo>
                      <a:pt x="10373131" y="5123907"/>
                    </a:lnTo>
                    <a:lnTo>
                      <a:pt x="10355173" y="5137454"/>
                    </a:lnTo>
                    <a:lnTo>
                      <a:pt x="10337189" y="5150988"/>
                    </a:lnTo>
                    <a:lnTo>
                      <a:pt x="10315879" y="5159527"/>
                    </a:lnTo>
                    <a:lnTo>
                      <a:pt x="10293964" y="5164652"/>
                    </a:lnTo>
                    <a:lnTo>
                      <a:pt x="10272049" y="5169777"/>
                    </a:lnTo>
                    <a:lnTo>
                      <a:pt x="10249120" y="5171234"/>
                    </a:lnTo>
                    <a:lnTo>
                      <a:pt x="10225953" y="5168735"/>
                    </a:lnTo>
                    <a:lnTo>
                      <a:pt x="10202776" y="5166233"/>
                    </a:lnTo>
                    <a:lnTo>
                      <a:pt x="10179695" y="5160364"/>
                    </a:lnTo>
                    <a:lnTo>
                      <a:pt x="10157944" y="5151047"/>
                    </a:lnTo>
                    <a:lnTo>
                      <a:pt x="10138007" y="5142508"/>
                    </a:lnTo>
                    <a:lnTo>
                      <a:pt x="10114418" y="5115684"/>
                    </a:lnTo>
                    <a:lnTo>
                      <a:pt x="10094574" y="5083621"/>
                    </a:lnTo>
                    <a:lnTo>
                      <a:pt x="10077165" y="5049809"/>
                    </a:lnTo>
                    <a:lnTo>
                      <a:pt x="10054571" y="5017749"/>
                    </a:lnTo>
                    <a:lnTo>
                      <a:pt x="10023667" y="4985956"/>
                    </a:lnTo>
                    <a:lnTo>
                      <a:pt x="9998797" y="4974223"/>
                    </a:lnTo>
                    <a:lnTo>
                      <a:pt x="9958356" y="4955139"/>
                    </a:lnTo>
                    <a:lnTo>
                      <a:pt x="9914976" y="4962103"/>
                    </a:lnTo>
                    <a:lnTo>
                      <a:pt x="9873652" y="4947019"/>
                    </a:lnTo>
                    <a:lnTo>
                      <a:pt x="9838243" y="4934095"/>
                    </a:lnTo>
                    <a:lnTo>
                      <a:pt x="9811612" y="4905533"/>
                    </a:lnTo>
                    <a:lnTo>
                      <a:pt x="9778448" y="4889887"/>
                    </a:lnTo>
                    <a:lnTo>
                      <a:pt x="9737046" y="4870335"/>
                    </a:lnTo>
                    <a:lnTo>
                      <a:pt x="9688454" y="4866642"/>
                    </a:lnTo>
                    <a:lnTo>
                      <a:pt x="9639703" y="4842287"/>
                    </a:lnTo>
                    <a:lnTo>
                      <a:pt x="9580779" y="4812782"/>
                    </a:lnTo>
                    <a:lnTo>
                      <a:pt x="9538301" y="4762797"/>
                    </a:lnTo>
                    <a:lnTo>
                      <a:pt x="9484646" y="4726663"/>
                    </a:lnTo>
                    <a:lnTo>
                      <a:pt x="9454486" y="4706385"/>
                    </a:lnTo>
                    <a:lnTo>
                      <a:pt x="9428851" y="4704478"/>
                    </a:lnTo>
                    <a:lnTo>
                      <a:pt x="9407109" y="4711700"/>
                    </a:lnTo>
                    <a:lnTo>
                      <a:pt x="9385371" y="4718927"/>
                    </a:lnTo>
                    <a:lnTo>
                      <a:pt x="9366517" y="4735125"/>
                    </a:lnTo>
                    <a:lnTo>
                      <a:pt x="9348626" y="4749787"/>
                    </a:lnTo>
                    <a:lnTo>
                      <a:pt x="9330699" y="4764453"/>
                    </a:lnTo>
                    <a:lnTo>
                      <a:pt x="9314284" y="4777677"/>
                    </a:lnTo>
                    <a:lnTo>
                      <a:pt x="9276866" y="4781745"/>
                    </a:lnTo>
                    <a:lnTo>
                      <a:pt x="9255748" y="4772288"/>
                    </a:lnTo>
                    <a:lnTo>
                      <a:pt x="9231644" y="4741630"/>
                    </a:lnTo>
                    <a:lnTo>
                      <a:pt x="9211351" y="4720208"/>
                    </a:lnTo>
                    <a:lnTo>
                      <a:pt x="9198669" y="4686752"/>
                    </a:lnTo>
                    <a:lnTo>
                      <a:pt x="9174519" y="4664093"/>
                    </a:lnTo>
                    <a:lnTo>
                      <a:pt x="9131033" y="4623376"/>
                    </a:lnTo>
                    <a:lnTo>
                      <a:pt x="9076243" y="4608419"/>
                    </a:lnTo>
                    <a:lnTo>
                      <a:pt x="9039857" y="4574322"/>
                    </a:lnTo>
                    <a:lnTo>
                      <a:pt x="9020342" y="4556047"/>
                    </a:lnTo>
                    <a:lnTo>
                      <a:pt x="9003131" y="4517197"/>
                    </a:lnTo>
                    <a:lnTo>
                      <a:pt x="9004133" y="4477655"/>
                    </a:lnTo>
                    <a:lnTo>
                      <a:pt x="8995665" y="4445710"/>
                    </a:lnTo>
                    <a:lnTo>
                      <a:pt x="8982726" y="4419262"/>
                    </a:lnTo>
                    <a:lnTo>
                      <a:pt x="8969787" y="4392811"/>
                    </a:lnTo>
                    <a:lnTo>
                      <a:pt x="8952483" y="4371879"/>
                    </a:lnTo>
                    <a:lnTo>
                      <a:pt x="8935126" y="4353973"/>
                    </a:lnTo>
                    <a:lnTo>
                      <a:pt x="8917735" y="4336061"/>
                    </a:lnTo>
                    <a:lnTo>
                      <a:pt x="8899841" y="4320288"/>
                    </a:lnTo>
                    <a:lnTo>
                      <a:pt x="8875182" y="4292442"/>
                    </a:lnTo>
                    <a:lnTo>
                      <a:pt x="8869834" y="4265563"/>
                    </a:lnTo>
                    <a:lnTo>
                      <a:pt x="8885901" y="4227432"/>
                    </a:lnTo>
                    <a:lnTo>
                      <a:pt x="8914891" y="4211960"/>
                    </a:lnTo>
                    <a:lnTo>
                      <a:pt x="8949832" y="4210428"/>
                    </a:lnTo>
                    <a:lnTo>
                      <a:pt x="9002703" y="4192510"/>
                    </a:lnTo>
                    <a:lnTo>
                      <a:pt x="9044673" y="4172120"/>
                    </a:lnTo>
                    <a:lnTo>
                      <a:pt x="9080667" y="4145865"/>
                    </a:lnTo>
                    <a:lnTo>
                      <a:pt x="9116650" y="4119603"/>
                    </a:lnTo>
                    <a:lnTo>
                      <a:pt x="9146617" y="4086417"/>
                    </a:lnTo>
                    <a:lnTo>
                      <a:pt x="9160914" y="4050649"/>
                    </a:lnTo>
                    <a:lnTo>
                      <a:pt x="9172008" y="4022908"/>
                    </a:lnTo>
                    <a:lnTo>
                      <a:pt x="9165893" y="3998819"/>
                    </a:lnTo>
                    <a:lnTo>
                      <a:pt x="9155472" y="3974477"/>
                    </a:lnTo>
                    <a:lnTo>
                      <a:pt x="9145079" y="3950128"/>
                    </a:lnTo>
                    <a:lnTo>
                      <a:pt x="9130243" y="3925661"/>
                    </a:lnTo>
                    <a:lnTo>
                      <a:pt x="9122829" y="3899662"/>
                    </a:lnTo>
                    <a:lnTo>
                      <a:pt x="9122004" y="3848652"/>
                    </a:lnTo>
                    <a:lnTo>
                      <a:pt x="9125573" y="3812610"/>
                    </a:lnTo>
                    <a:lnTo>
                      <a:pt x="9129102" y="3776569"/>
                    </a:lnTo>
                    <a:lnTo>
                      <a:pt x="9131170" y="3736590"/>
                    </a:lnTo>
                    <a:lnTo>
                      <a:pt x="9121483" y="3701079"/>
                    </a:lnTo>
                    <a:lnTo>
                      <a:pt x="9105029" y="3640714"/>
                    </a:lnTo>
                    <a:lnTo>
                      <a:pt x="9076847" y="3584736"/>
                    </a:lnTo>
                    <a:lnTo>
                      <a:pt x="9039870" y="3535130"/>
                    </a:lnTo>
                    <a:lnTo>
                      <a:pt x="9021083" y="3509885"/>
                    </a:lnTo>
                    <a:lnTo>
                      <a:pt x="8988239" y="3487232"/>
                    </a:lnTo>
                    <a:lnTo>
                      <a:pt x="8973223" y="3460319"/>
                    </a:lnTo>
                    <a:lnTo>
                      <a:pt x="8960752" y="3438112"/>
                    </a:lnTo>
                    <a:lnTo>
                      <a:pt x="8963602" y="3411516"/>
                    </a:lnTo>
                    <a:lnTo>
                      <a:pt x="8965059" y="3385511"/>
                    </a:lnTo>
                    <a:lnTo>
                      <a:pt x="8966535" y="3359500"/>
                    </a:lnTo>
                    <a:lnTo>
                      <a:pt x="8967189" y="3334798"/>
                    </a:lnTo>
                    <a:lnTo>
                      <a:pt x="8950095" y="3316138"/>
                    </a:lnTo>
                    <a:lnTo>
                      <a:pt x="8922680" y="3286258"/>
                    </a:lnTo>
                    <a:lnTo>
                      <a:pt x="8875790" y="3271465"/>
                    </a:lnTo>
                    <a:lnTo>
                      <a:pt x="8845361" y="3244050"/>
                    </a:lnTo>
                    <a:lnTo>
                      <a:pt x="8817353" y="3203538"/>
                    </a:lnTo>
                    <a:lnTo>
                      <a:pt x="8776736" y="3161590"/>
                    </a:lnTo>
                    <a:lnTo>
                      <a:pt x="8775951" y="3124807"/>
                    </a:lnTo>
                    <a:lnTo>
                      <a:pt x="8770550" y="3088986"/>
                    </a:lnTo>
                    <a:lnTo>
                      <a:pt x="8763505" y="3054182"/>
                    </a:lnTo>
                    <a:lnTo>
                      <a:pt x="8747646" y="3020417"/>
                    </a:lnTo>
                    <a:lnTo>
                      <a:pt x="8735430" y="3003336"/>
                    </a:lnTo>
                    <a:lnTo>
                      <a:pt x="8716141" y="2988335"/>
                    </a:lnTo>
                    <a:lnTo>
                      <a:pt x="8684016" y="2972547"/>
                    </a:lnTo>
                    <a:lnTo>
                      <a:pt x="8650331" y="2974193"/>
                    </a:lnTo>
                    <a:lnTo>
                      <a:pt x="8615490" y="2985610"/>
                    </a:lnTo>
                    <a:lnTo>
                      <a:pt x="8582462" y="3000263"/>
                    </a:lnTo>
                    <a:lnTo>
                      <a:pt x="8550576" y="3009035"/>
                    </a:lnTo>
                    <a:lnTo>
                      <a:pt x="8521638" y="3004657"/>
                    </a:lnTo>
                    <a:lnTo>
                      <a:pt x="8488800" y="2992323"/>
                    </a:lnTo>
                    <a:lnTo>
                      <a:pt x="8470512" y="2976733"/>
                    </a:lnTo>
                    <a:lnTo>
                      <a:pt x="8447642" y="2942803"/>
                    </a:lnTo>
                    <a:lnTo>
                      <a:pt x="8433225" y="2905363"/>
                    </a:lnTo>
                    <a:lnTo>
                      <a:pt x="8410501" y="2869356"/>
                    </a:lnTo>
                    <a:lnTo>
                      <a:pt x="8384257" y="2852312"/>
                    </a:lnTo>
                    <a:lnTo>
                      <a:pt x="8358011" y="2835272"/>
                    </a:lnTo>
                    <a:lnTo>
                      <a:pt x="8318826" y="2819914"/>
                    </a:lnTo>
                    <a:lnTo>
                      <a:pt x="8256395" y="2807422"/>
                    </a:lnTo>
                    <a:lnTo>
                      <a:pt x="8271743" y="2762668"/>
                    </a:lnTo>
                    <a:lnTo>
                      <a:pt x="8304349" y="2738651"/>
                    </a:lnTo>
                    <a:lnTo>
                      <a:pt x="8332595" y="2713571"/>
                    </a:lnTo>
                    <a:lnTo>
                      <a:pt x="8360141" y="2688115"/>
                    </a:lnTo>
                    <a:lnTo>
                      <a:pt x="8378468" y="2660138"/>
                    </a:lnTo>
                    <a:lnTo>
                      <a:pt x="8382921" y="2629241"/>
                    </a:lnTo>
                    <a:lnTo>
                      <a:pt x="8359778" y="2613518"/>
                    </a:lnTo>
                    <a:lnTo>
                      <a:pt x="8339367" y="2619744"/>
                    </a:lnTo>
                    <a:lnTo>
                      <a:pt x="8320611" y="2631762"/>
                    </a:lnTo>
                    <a:lnTo>
                      <a:pt x="8295314" y="2656920"/>
                    </a:lnTo>
                    <a:lnTo>
                      <a:pt x="8279802" y="2677101"/>
                    </a:lnTo>
                    <a:lnTo>
                      <a:pt x="8226602" y="2704628"/>
                    </a:lnTo>
                    <a:lnTo>
                      <a:pt x="8192300" y="2696508"/>
                    </a:lnTo>
                    <a:lnTo>
                      <a:pt x="8159827" y="2709515"/>
                    </a:lnTo>
                    <a:lnTo>
                      <a:pt x="8133466" y="2732555"/>
                    </a:lnTo>
                    <a:lnTo>
                      <a:pt x="8092309" y="2736065"/>
                    </a:lnTo>
                    <a:lnTo>
                      <a:pt x="8066134" y="2717245"/>
                    </a:lnTo>
                    <a:lnTo>
                      <a:pt x="8036049" y="2698632"/>
                    </a:lnTo>
                    <a:lnTo>
                      <a:pt x="8005961" y="2680022"/>
                    </a:lnTo>
                    <a:lnTo>
                      <a:pt x="7971944" y="2661781"/>
                    </a:lnTo>
                    <a:lnTo>
                      <a:pt x="7935398" y="2663270"/>
                    </a:lnTo>
                    <a:lnTo>
                      <a:pt x="7902838" y="2664538"/>
                    </a:lnTo>
                    <a:lnTo>
                      <a:pt x="7873135" y="2688819"/>
                    </a:lnTo>
                    <a:lnTo>
                      <a:pt x="7841543" y="2695916"/>
                    </a:lnTo>
                    <a:lnTo>
                      <a:pt x="7826223" y="2667756"/>
                    </a:lnTo>
                    <a:lnTo>
                      <a:pt x="7860444" y="2629579"/>
                    </a:lnTo>
                    <a:lnTo>
                      <a:pt x="7897310" y="2589817"/>
                    </a:lnTo>
                    <a:lnTo>
                      <a:pt x="7934170" y="2550055"/>
                    </a:lnTo>
                    <a:lnTo>
                      <a:pt x="7972868" y="2508799"/>
                    </a:lnTo>
                    <a:lnTo>
                      <a:pt x="7985714" y="2481002"/>
                    </a:lnTo>
                    <a:lnTo>
                      <a:pt x="7998020" y="2454482"/>
                    </a:lnTo>
                    <a:lnTo>
                      <a:pt x="7991162" y="2415713"/>
                    </a:lnTo>
                    <a:lnTo>
                      <a:pt x="7974260" y="2380093"/>
                    </a:lnTo>
                    <a:lnTo>
                      <a:pt x="7968041" y="2357220"/>
                    </a:lnTo>
                    <a:lnTo>
                      <a:pt x="7958776" y="2323303"/>
                    </a:lnTo>
                    <a:lnTo>
                      <a:pt x="7962342" y="2283733"/>
                    </a:lnTo>
                    <a:lnTo>
                      <a:pt x="7947630" y="2249763"/>
                    </a:lnTo>
                    <a:lnTo>
                      <a:pt x="7927035" y="2225712"/>
                    </a:lnTo>
                    <a:lnTo>
                      <a:pt x="7895378" y="2213170"/>
                    </a:lnTo>
                    <a:lnTo>
                      <a:pt x="7868748" y="2217126"/>
                    </a:lnTo>
                    <a:lnTo>
                      <a:pt x="7846070" y="2227256"/>
                    </a:lnTo>
                    <a:lnTo>
                      <a:pt x="7816103" y="2253999"/>
                    </a:lnTo>
                    <a:lnTo>
                      <a:pt x="7798882" y="2278444"/>
                    </a:lnTo>
                    <a:lnTo>
                      <a:pt x="7777612" y="2291937"/>
                    </a:lnTo>
                    <a:lnTo>
                      <a:pt x="7758317" y="2304178"/>
                    </a:lnTo>
                    <a:lnTo>
                      <a:pt x="7737273" y="2308684"/>
                    </a:lnTo>
                    <a:lnTo>
                      <a:pt x="7717758" y="2319142"/>
                    </a:lnTo>
                    <a:lnTo>
                      <a:pt x="7693995" y="2331851"/>
                    </a:lnTo>
                    <a:lnTo>
                      <a:pt x="7672577" y="2351403"/>
                    </a:lnTo>
                    <a:lnTo>
                      <a:pt x="7648392" y="2362668"/>
                    </a:lnTo>
                    <a:lnTo>
                      <a:pt x="7619746" y="2368578"/>
                    </a:lnTo>
                    <a:lnTo>
                      <a:pt x="7600786" y="2358588"/>
                    </a:lnTo>
                    <a:lnTo>
                      <a:pt x="7598172" y="2326983"/>
                    </a:lnTo>
                    <a:lnTo>
                      <a:pt x="7606100" y="2303143"/>
                    </a:lnTo>
                    <a:lnTo>
                      <a:pt x="7621175" y="2283774"/>
                    </a:lnTo>
                    <a:lnTo>
                      <a:pt x="7636774" y="2266007"/>
                    </a:lnTo>
                    <a:lnTo>
                      <a:pt x="7656035" y="2252343"/>
                    </a:lnTo>
                    <a:lnTo>
                      <a:pt x="7666068" y="2230726"/>
                    </a:lnTo>
                    <a:lnTo>
                      <a:pt x="7676818" y="2207496"/>
                    </a:lnTo>
                    <a:lnTo>
                      <a:pt x="7676428" y="2181842"/>
                    </a:lnTo>
                    <a:lnTo>
                      <a:pt x="7674226" y="2157276"/>
                    </a:lnTo>
                    <a:lnTo>
                      <a:pt x="7672003" y="2132710"/>
                    </a:lnTo>
                    <a:lnTo>
                      <a:pt x="7668323" y="2108454"/>
                    </a:lnTo>
                    <a:lnTo>
                      <a:pt x="7675578" y="2086545"/>
                    </a:lnTo>
                    <a:lnTo>
                      <a:pt x="7726508" y="2042157"/>
                    </a:lnTo>
                    <a:lnTo>
                      <a:pt x="7776235" y="2013099"/>
                    </a:lnTo>
                    <a:lnTo>
                      <a:pt x="7825935" y="1984037"/>
                    </a:lnTo>
                    <a:lnTo>
                      <a:pt x="7879801" y="1956113"/>
                    </a:lnTo>
                    <a:lnTo>
                      <a:pt x="7912255" y="1957331"/>
                    </a:lnTo>
                    <a:lnTo>
                      <a:pt x="7923445" y="1975312"/>
                    </a:lnTo>
                    <a:lnTo>
                      <a:pt x="7931215" y="2002687"/>
                    </a:lnTo>
                    <a:lnTo>
                      <a:pt x="7951698" y="2011734"/>
                    </a:lnTo>
                    <a:lnTo>
                      <a:pt x="7970726" y="1987299"/>
                    </a:lnTo>
                    <a:lnTo>
                      <a:pt x="7978955" y="1946405"/>
                    </a:lnTo>
                    <a:lnTo>
                      <a:pt x="7980610" y="1921126"/>
                    </a:lnTo>
                    <a:lnTo>
                      <a:pt x="7978908" y="1896120"/>
                    </a:lnTo>
                    <a:lnTo>
                      <a:pt x="7975513" y="1846110"/>
                    </a:lnTo>
                    <a:lnTo>
                      <a:pt x="7961843" y="1795189"/>
                    </a:lnTo>
                    <a:lnTo>
                      <a:pt x="7943540" y="1775063"/>
                    </a:lnTo>
                    <a:lnTo>
                      <a:pt x="7902144" y="1807880"/>
                    </a:lnTo>
                    <a:lnTo>
                      <a:pt x="7897719" y="1848814"/>
                    </a:lnTo>
                    <a:lnTo>
                      <a:pt x="7870093" y="1877079"/>
                    </a:lnTo>
                    <a:lnTo>
                      <a:pt x="7852175" y="1895400"/>
                    </a:lnTo>
                    <a:lnTo>
                      <a:pt x="7800590" y="1915700"/>
                    </a:lnTo>
                    <a:lnTo>
                      <a:pt x="7746315" y="1934204"/>
                    </a:lnTo>
                    <a:lnTo>
                      <a:pt x="7692070" y="1952708"/>
                    </a:lnTo>
                    <a:lnTo>
                      <a:pt x="7635376" y="1969507"/>
                    </a:lnTo>
                    <a:lnTo>
                      <a:pt x="7606212" y="1980456"/>
                    </a:lnTo>
                    <a:lnTo>
                      <a:pt x="7582080" y="1989317"/>
                    </a:lnTo>
                    <a:lnTo>
                      <a:pt x="7551803" y="2010376"/>
                    </a:lnTo>
                    <a:lnTo>
                      <a:pt x="7529376" y="2035277"/>
                    </a:lnTo>
                    <a:lnTo>
                      <a:pt x="7506887" y="2074834"/>
                    </a:lnTo>
                    <a:lnTo>
                      <a:pt x="7498311" y="2103357"/>
                    </a:lnTo>
                    <a:lnTo>
                      <a:pt x="7472914" y="2132797"/>
                    </a:lnTo>
                    <a:lnTo>
                      <a:pt x="7437165" y="2174239"/>
                    </a:lnTo>
                    <a:lnTo>
                      <a:pt x="7340972" y="2236040"/>
                    </a:lnTo>
                    <a:lnTo>
                      <a:pt x="7321931" y="2266094"/>
                    </a:lnTo>
                    <a:lnTo>
                      <a:pt x="7304680" y="2302265"/>
                    </a:lnTo>
                    <a:lnTo>
                      <a:pt x="7266508" y="2333169"/>
                    </a:lnTo>
                    <a:lnTo>
                      <a:pt x="7235434" y="2314209"/>
                    </a:lnTo>
                    <a:lnTo>
                      <a:pt x="7206317" y="2327306"/>
                    </a:lnTo>
                    <a:lnTo>
                      <a:pt x="7184982" y="2336908"/>
                    </a:lnTo>
                    <a:lnTo>
                      <a:pt x="7165507" y="2365393"/>
                    </a:lnTo>
                    <a:lnTo>
                      <a:pt x="7150525" y="2392148"/>
                    </a:lnTo>
                    <a:lnTo>
                      <a:pt x="7105479" y="2420776"/>
                    </a:lnTo>
                    <a:lnTo>
                      <a:pt x="7069320" y="2416866"/>
                    </a:lnTo>
                    <a:lnTo>
                      <a:pt x="7034935" y="2426599"/>
                    </a:lnTo>
                    <a:lnTo>
                      <a:pt x="7013718" y="2432549"/>
                    </a:lnTo>
                    <a:lnTo>
                      <a:pt x="6996903" y="2447847"/>
                    </a:lnTo>
                    <a:lnTo>
                      <a:pt x="6976445" y="2453803"/>
                    </a:lnTo>
                    <a:lnTo>
                      <a:pt x="6951411" y="2457456"/>
                    </a:lnTo>
                    <a:lnTo>
                      <a:pt x="6932919" y="2438840"/>
                    </a:lnTo>
                    <a:lnTo>
                      <a:pt x="6939493" y="2413378"/>
                    </a:lnTo>
                    <a:lnTo>
                      <a:pt x="6965305" y="2398545"/>
                    </a:lnTo>
                    <a:lnTo>
                      <a:pt x="6980994" y="2375331"/>
                    </a:lnTo>
                    <a:lnTo>
                      <a:pt x="6999566" y="2365387"/>
                    </a:lnTo>
                    <a:lnTo>
                      <a:pt x="7042705" y="2342278"/>
                    </a:lnTo>
                    <a:lnTo>
                      <a:pt x="7067165" y="2325256"/>
                    </a:lnTo>
                    <a:lnTo>
                      <a:pt x="7095192" y="2296706"/>
                    </a:lnTo>
                    <a:lnTo>
                      <a:pt x="7098860" y="2274258"/>
                    </a:lnTo>
                    <a:lnTo>
                      <a:pt x="7095899" y="2252752"/>
                    </a:lnTo>
                    <a:lnTo>
                      <a:pt x="7099117" y="2225027"/>
                    </a:lnTo>
                    <a:lnTo>
                      <a:pt x="7123354" y="2185838"/>
                    </a:lnTo>
                    <a:lnTo>
                      <a:pt x="7156220" y="2145841"/>
                    </a:lnTo>
                    <a:lnTo>
                      <a:pt x="7203858" y="2124211"/>
                    </a:lnTo>
                    <a:lnTo>
                      <a:pt x="7230802" y="2077023"/>
                    </a:lnTo>
                    <a:lnTo>
                      <a:pt x="7241304" y="2058665"/>
                    </a:lnTo>
                    <a:lnTo>
                      <a:pt x="7238969" y="2018540"/>
                    </a:lnTo>
                    <a:lnTo>
                      <a:pt x="7238011" y="1977817"/>
                    </a:lnTo>
                    <a:lnTo>
                      <a:pt x="7249849" y="1960051"/>
                    </a:lnTo>
                    <a:lnTo>
                      <a:pt x="7276539" y="1936861"/>
                    </a:lnTo>
                    <a:lnTo>
                      <a:pt x="7315659" y="1926105"/>
                    </a:lnTo>
                    <a:lnTo>
                      <a:pt x="7338662" y="1922921"/>
                    </a:lnTo>
                    <a:lnTo>
                      <a:pt x="7361383" y="1917883"/>
                    </a:lnTo>
                    <a:lnTo>
                      <a:pt x="7384107" y="1912844"/>
                    </a:lnTo>
                    <a:lnTo>
                      <a:pt x="7406869" y="1906525"/>
                    </a:lnTo>
                    <a:lnTo>
                      <a:pt x="7426672" y="1892036"/>
                    </a:lnTo>
                    <a:lnTo>
                      <a:pt x="7446476" y="1877553"/>
                    </a:lnTo>
                    <a:lnTo>
                      <a:pt x="7463485" y="1855024"/>
                    </a:lnTo>
                    <a:lnTo>
                      <a:pt x="7474282" y="1821306"/>
                    </a:lnTo>
                    <a:lnTo>
                      <a:pt x="7480784" y="1801080"/>
                    </a:lnTo>
                    <a:lnTo>
                      <a:pt x="7475851" y="1780629"/>
                    </a:lnTo>
                    <a:lnTo>
                      <a:pt x="7494395" y="1745518"/>
                    </a:lnTo>
                    <a:lnTo>
                      <a:pt x="7513337" y="1726394"/>
                    </a:lnTo>
                    <a:lnTo>
                      <a:pt x="7523255" y="1707049"/>
                    </a:lnTo>
                    <a:lnTo>
                      <a:pt x="7546711" y="1654990"/>
                    </a:lnTo>
                    <a:lnTo>
                      <a:pt x="7554540" y="1619997"/>
                    </a:lnTo>
                    <a:lnTo>
                      <a:pt x="7560996" y="1585599"/>
                    </a:lnTo>
                    <a:lnTo>
                      <a:pt x="7558980" y="1556469"/>
                    </a:lnTo>
                    <a:lnTo>
                      <a:pt x="7545018" y="1538383"/>
                    </a:lnTo>
                    <a:lnTo>
                      <a:pt x="7514782" y="1516537"/>
                    </a:lnTo>
                    <a:lnTo>
                      <a:pt x="7474886" y="1510165"/>
                    </a:lnTo>
                    <a:lnTo>
                      <a:pt x="7448448" y="1481261"/>
                    </a:lnTo>
                    <a:lnTo>
                      <a:pt x="7419668" y="1475352"/>
                    </a:lnTo>
                    <a:lnTo>
                      <a:pt x="7391019" y="1470465"/>
                    </a:lnTo>
                    <a:lnTo>
                      <a:pt x="7364112" y="1458137"/>
                    </a:lnTo>
                    <a:lnTo>
                      <a:pt x="7320970" y="1434002"/>
                    </a:lnTo>
                    <a:lnTo>
                      <a:pt x="7293381" y="1421411"/>
                    </a:lnTo>
                    <a:lnTo>
                      <a:pt x="7265789" y="1408822"/>
                    </a:lnTo>
                    <a:lnTo>
                      <a:pt x="7239167" y="1400795"/>
                    </a:lnTo>
                    <a:lnTo>
                      <a:pt x="7226756" y="1428210"/>
                    </a:lnTo>
                    <a:lnTo>
                      <a:pt x="7245027" y="1455883"/>
                    </a:lnTo>
                    <a:lnTo>
                      <a:pt x="7275168" y="1494305"/>
                    </a:lnTo>
                    <a:lnTo>
                      <a:pt x="7308137" y="1531435"/>
                    </a:lnTo>
                    <a:lnTo>
                      <a:pt x="7327407" y="1569671"/>
                    </a:lnTo>
                    <a:lnTo>
                      <a:pt x="7337053" y="1588790"/>
                    </a:lnTo>
                    <a:lnTo>
                      <a:pt x="7342370" y="1625439"/>
                    </a:lnTo>
                    <a:lnTo>
                      <a:pt x="7334712" y="1662165"/>
                    </a:lnTo>
                    <a:lnTo>
                      <a:pt x="7316518" y="1677128"/>
                    </a:lnTo>
                    <a:lnTo>
                      <a:pt x="7270319" y="1676741"/>
                    </a:lnTo>
                    <a:lnTo>
                      <a:pt x="7249322" y="1655399"/>
                    </a:lnTo>
                    <a:lnTo>
                      <a:pt x="7218583" y="1658081"/>
                    </a:lnTo>
                    <a:lnTo>
                      <a:pt x="7182820" y="1680275"/>
                    </a:lnTo>
                    <a:lnTo>
                      <a:pt x="7168263" y="1708407"/>
                    </a:lnTo>
                    <a:lnTo>
                      <a:pt x="7153703" y="1736542"/>
                    </a:lnTo>
                    <a:lnTo>
                      <a:pt x="7139670" y="1771740"/>
                    </a:lnTo>
                    <a:lnTo>
                      <a:pt x="7126095" y="1804984"/>
                    </a:lnTo>
                    <a:lnTo>
                      <a:pt x="7112552" y="1838222"/>
                    </a:lnTo>
                    <a:lnTo>
                      <a:pt x="7099474" y="1869588"/>
                    </a:lnTo>
                    <a:lnTo>
                      <a:pt x="7082563" y="1886588"/>
                    </a:lnTo>
                    <a:lnTo>
                      <a:pt x="7064099" y="1899754"/>
                    </a:lnTo>
                    <a:lnTo>
                      <a:pt x="7033636" y="1896870"/>
                    </a:lnTo>
                    <a:lnTo>
                      <a:pt x="7007079" y="1862280"/>
                    </a:lnTo>
                    <a:lnTo>
                      <a:pt x="6984966" y="1827913"/>
                    </a:lnTo>
                    <a:lnTo>
                      <a:pt x="6969671" y="1792737"/>
                    </a:lnTo>
                    <a:lnTo>
                      <a:pt x="6956186" y="1756841"/>
                    </a:lnTo>
                    <a:lnTo>
                      <a:pt x="6950521" y="1722540"/>
                    </a:lnTo>
                    <a:lnTo>
                      <a:pt x="6956047" y="1692079"/>
                    </a:lnTo>
                    <a:lnTo>
                      <a:pt x="6965531" y="1666155"/>
                    </a:lnTo>
                    <a:lnTo>
                      <a:pt x="6998683" y="1662370"/>
                    </a:lnTo>
                    <a:lnTo>
                      <a:pt x="7013178" y="1634954"/>
                    </a:lnTo>
                    <a:lnTo>
                      <a:pt x="6999408" y="1601418"/>
                    </a:lnTo>
                    <a:lnTo>
                      <a:pt x="6972836" y="1590966"/>
                    </a:lnTo>
                    <a:lnTo>
                      <a:pt x="6945164" y="1587351"/>
                    </a:lnTo>
                    <a:lnTo>
                      <a:pt x="6895616" y="1607756"/>
                    </a:lnTo>
                    <a:lnTo>
                      <a:pt x="6870945" y="1619278"/>
                    </a:lnTo>
                    <a:lnTo>
                      <a:pt x="6848676" y="1624462"/>
                    </a:lnTo>
                    <a:lnTo>
                      <a:pt x="6821087" y="1654600"/>
                    </a:lnTo>
                    <a:lnTo>
                      <a:pt x="6814499" y="1687580"/>
                    </a:lnTo>
                    <a:lnTo>
                      <a:pt x="6809144" y="1712491"/>
                    </a:lnTo>
                    <a:lnTo>
                      <a:pt x="6802689" y="1742588"/>
                    </a:lnTo>
                    <a:lnTo>
                      <a:pt x="6795548" y="1769833"/>
                    </a:lnTo>
                    <a:lnTo>
                      <a:pt x="6795548" y="1800901"/>
                    </a:lnTo>
                    <a:lnTo>
                      <a:pt x="6795548" y="1824853"/>
                    </a:lnTo>
                    <a:lnTo>
                      <a:pt x="6801799" y="1859424"/>
                    </a:lnTo>
                    <a:lnTo>
                      <a:pt x="6805064" y="1892036"/>
                    </a:lnTo>
                    <a:lnTo>
                      <a:pt x="6808375" y="1924648"/>
                    </a:lnTo>
                    <a:lnTo>
                      <a:pt x="6809727" y="1956541"/>
                    </a:lnTo>
                    <a:lnTo>
                      <a:pt x="6799622" y="1976372"/>
                    </a:lnTo>
                    <a:lnTo>
                      <a:pt x="6777227" y="1983593"/>
                    </a:lnTo>
                    <a:lnTo>
                      <a:pt x="6756406" y="1970310"/>
                    </a:lnTo>
                    <a:lnTo>
                      <a:pt x="6747938" y="1942362"/>
                    </a:lnTo>
                    <a:lnTo>
                      <a:pt x="6747938" y="1913232"/>
                    </a:lnTo>
                    <a:lnTo>
                      <a:pt x="6755820" y="1865973"/>
                    </a:lnTo>
                    <a:lnTo>
                      <a:pt x="6765261" y="1833277"/>
                    </a:lnTo>
                    <a:lnTo>
                      <a:pt x="6760158" y="1804984"/>
                    </a:lnTo>
                    <a:lnTo>
                      <a:pt x="6720464" y="1814680"/>
                    </a:lnTo>
                    <a:lnTo>
                      <a:pt x="6704050" y="1857269"/>
                    </a:lnTo>
                    <a:lnTo>
                      <a:pt x="6690785" y="1877079"/>
                    </a:lnTo>
                    <a:lnTo>
                      <a:pt x="6664948" y="1878431"/>
                    </a:lnTo>
                    <a:lnTo>
                      <a:pt x="6673931" y="1843221"/>
                    </a:lnTo>
                    <a:lnTo>
                      <a:pt x="6680405" y="1802116"/>
                    </a:lnTo>
                    <a:lnTo>
                      <a:pt x="6669022" y="1772338"/>
                    </a:lnTo>
                    <a:lnTo>
                      <a:pt x="6643362" y="1800770"/>
                    </a:lnTo>
                    <a:lnTo>
                      <a:pt x="6630938" y="1818590"/>
                    </a:lnTo>
                    <a:lnTo>
                      <a:pt x="6618551" y="1836402"/>
                    </a:lnTo>
                    <a:lnTo>
                      <a:pt x="6604598" y="1852125"/>
                    </a:lnTo>
                    <a:lnTo>
                      <a:pt x="6576535" y="1840353"/>
                    </a:lnTo>
                    <a:lnTo>
                      <a:pt x="6587412" y="1809706"/>
                    </a:lnTo>
                    <a:lnTo>
                      <a:pt x="6621884" y="1763160"/>
                    </a:lnTo>
                    <a:lnTo>
                      <a:pt x="6629493" y="1712109"/>
                    </a:lnTo>
                    <a:lnTo>
                      <a:pt x="6635028" y="1671687"/>
                    </a:lnTo>
                    <a:lnTo>
                      <a:pt x="6654065" y="1644476"/>
                    </a:lnTo>
                    <a:lnTo>
                      <a:pt x="6696742" y="1636129"/>
                    </a:lnTo>
                    <a:lnTo>
                      <a:pt x="6723431" y="1628155"/>
                    </a:lnTo>
                    <a:lnTo>
                      <a:pt x="6742602" y="1606035"/>
                    </a:lnTo>
                    <a:lnTo>
                      <a:pt x="6752000" y="1581912"/>
                    </a:lnTo>
                    <a:lnTo>
                      <a:pt x="6772932" y="1544439"/>
                    </a:lnTo>
                    <a:lnTo>
                      <a:pt x="6780569" y="1524778"/>
                    </a:lnTo>
                    <a:lnTo>
                      <a:pt x="6786004" y="1494857"/>
                    </a:lnTo>
                    <a:lnTo>
                      <a:pt x="6779843" y="1474211"/>
                    </a:lnTo>
                    <a:lnTo>
                      <a:pt x="6745154" y="1438005"/>
                    </a:lnTo>
                    <a:lnTo>
                      <a:pt x="6706304" y="1420744"/>
                    </a:lnTo>
                    <a:lnTo>
                      <a:pt x="6670390" y="1403725"/>
                    </a:lnTo>
                    <a:lnTo>
                      <a:pt x="6634472" y="1386703"/>
                    </a:lnTo>
                    <a:lnTo>
                      <a:pt x="6601526" y="1370313"/>
                    </a:lnTo>
                    <a:lnTo>
                      <a:pt x="6584696" y="1345239"/>
                    </a:lnTo>
                    <a:lnTo>
                      <a:pt x="6596419" y="1314651"/>
                    </a:lnTo>
                    <a:lnTo>
                      <a:pt x="6625496" y="1312596"/>
                    </a:lnTo>
                    <a:lnTo>
                      <a:pt x="6655584" y="1311777"/>
                    </a:lnTo>
                    <a:lnTo>
                      <a:pt x="6671503" y="1288920"/>
                    </a:lnTo>
                    <a:lnTo>
                      <a:pt x="6656791" y="1266344"/>
                    </a:lnTo>
                    <a:lnTo>
                      <a:pt x="6639669" y="1243924"/>
                    </a:lnTo>
                    <a:lnTo>
                      <a:pt x="6622523" y="1207089"/>
                    </a:lnTo>
                    <a:lnTo>
                      <a:pt x="6606852" y="1171727"/>
                    </a:lnTo>
                    <a:lnTo>
                      <a:pt x="6586060" y="1145288"/>
                    </a:lnTo>
                    <a:lnTo>
                      <a:pt x="6564198" y="1121739"/>
                    </a:lnTo>
                    <a:lnTo>
                      <a:pt x="6537185" y="1108983"/>
                    </a:lnTo>
                    <a:lnTo>
                      <a:pt x="6504440" y="1112639"/>
                    </a:lnTo>
                    <a:lnTo>
                      <a:pt x="6484782" y="1128365"/>
                    </a:lnTo>
                    <a:lnTo>
                      <a:pt x="6479242" y="1153328"/>
                    </a:lnTo>
                    <a:lnTo>
                      <a:pt x="6475884" y="1179286"/>
                    </a:lnTo>
                    <a:lnTo>
                      <a:pt x="6472489" y="1205250"/>
                    </a:lnTo>
                    <a:lnTo>
                      <a:pt x="6471915" y="1232163"/>
                    </a:lnTo>
                    <a:lnTo>
                      <a:pt x="6460914" y="1251375"/>
                    </a:lnTo>
                    <a:lnTo>
                      <a:pt x="6440280" y="1269702"/>
                    </a:lnTo>
                    <a:lnTo>
                      <a:pt x="6410827" y="1271141"/>
                    </a:lnTo>
                    <a:lnTo>
                      <a:pt x="6377946" y="1259538"/>
                    </a:lnTo>
                    <a:lnTo>
                      <a:pt x="6344475" y="1245366"/>
                    </a:lnTo>
                    <a:lnTo>
                      <a:pt x="6312160" y="1221221"/>
                    </a:lnTo>
                    <a:lnTo>
                      <a:pt x="6293476" y="1189850"/>
                    </a:lnTo>
                    <a:lnTo>
                      <a:pt x="6293610" y="1156165"/>
                    </a:lnTo>
                    <a:lnTo>
                      <a:pt x="6300592" y="1122570"/>
                    </a:lnTo>
                    <a:lnTo>
                      <a:pt x="6311119" y="1086383"/>
                    </a:lnTo>
                    <a:lnTo>
                      <a:pt x="6318101" y="1050072"/>
                    </a:lnTo>
                    <a:lnTo>
                      <a:pt x="6318563" y="1015237"/>
                    </a:lnTo>
                    <a:lnTo>
                      <a:pt x="6296332" y="990225"/>
                    </a:lnTo>
                    <a:lnTo>
                      <a:pt x="6273462" y="998506"/>
                    </a:lnTo>
                    <a:lnTo>
                      <a:pt x="6224513" y="1113191"/>
                    </a:lnTo>
                    <a:lnTo>
                      <a:pt x="6214721" y="1134402"/>
                    </a:lnTo>
                    <a:lnTo>
                      <a:pt x="6203007" y="1159625"/>
                    </a:lnTo>
                    <a:lnTo>
                      <a:pt x="6187523" y="1188808"/>
                    </a:lnTo>
                    <a:lnTo>
                      <a:pt x="6164473" y="1214205"/>
                    </a:lnTo>
                    <a:lnTo>
                      <a:pt x="6137191" y="1226895"/>
                    </a:lnTo>
                    <a:lnTo>
                      <a:pt x="6109385" y="1222431"/>
                    </a:lnTo>
                    <a:lnTo>
                      <a:pt x="6083443" y="1203877"/>
                    </a:lnTo>
                    <a:lnTo>
                      <a:pt x="6086859" y="1175202"/>
                    </a:lnTo>
                    <a:lnTo>
                      <a:pt x="6100933" y="1145521"/>
                    </a:lnTo>
                    <a:lnTo>
                      <a:pt x="6119040" y="1117842"/>
                    </a:lnTo>
                    <a:lnTo>
                      <a:pt x="6129034" y="1092234"/>
                    </a:lnTo>
                    <a:lnTo>
                      <a:pt x="6124218" y="1066434"/>
                    </a:lnTo>
                    <a:lnTo>
                      <a:pt x="6104545" y="1054146"/>
                    </a:lnTo>
                    <a:lnTo>
                      <a:pt x="6083588" y="1053132"/>
                    </a:lnTo>
                    <a:lnTo>
                      <a:pt x="5855937" y="1018958"/>
                    </a:lnTo>
                    <a:lnTo>
                      <a:pt x="5834286" y="1007138"/>
                    </a:lnTo>
                    <a:lnTo>
                      <a:pt x="5817087" y="986476"/>
                    </a:lnTo>
                    <a:lnTo>
                      <a:pt x="5798496" y="969820"/>
                    </a:lnTo>
                    <a:lnTo>
                      <a:pt x="5779945" y="953154"/>
                    </a:lnTo>
                    <a:lnTo>
                      <a:pt x="5760219" y="939719"/>
                    </a:lnTo>
                    <a:lnTo>
                      <a:pt x="5730490" y="943973"/>
                    </a:lnTo>
                    <a:lnTo>
                      <a:pt x="5718249" y="975258"/>
                    </a:lnTo>
                    <a:lnTo>
                      <a:pt x="5731849" y="992941"/>
                    </a:lnTo>
                    <a:lnTo>
                      <a:pt x="5750511" y="1013299"/>
                    </a:lnTo>
                    <a:lnTo>
                      <a:pt x="5772953" y="1029965"/>
                    </a:lnTo>
                    <a:lnTo>
                      <a:pt x="5788980" y="1052788"/>
                    </a:lnTo>
                    <a:lnTo>
                      <a:pt x="5804861" y="1082715"/>
                    </a:lnTo>
                    <a:lnTo>
                      <a:pt x="5822553" y="1102094"/>
                    </a:lnTo>
                    <a:lnTo>
                      <a:pt x="5844753" y="1112639"/>
                    </a:lnTo>
                    <a:lnTo>
                      <a:pt x="5875446" y="1122840"/>
                    </a:lnTo>
                    <a:lnTo>
                      <a:pt x="5989985" y="1200627"/>
                    </a:lnTo>
                    <a:lnTo>
                      <a:pt x="6006610" y="1226895"/>
                    </a:lnTo>
                    <a:lnTo>
                      <a:pt x="6028178" y="1305117"/>
                    </a:lnTo>
                    <a:lnTo>
                      <a:pt x="6033815" y="1365631"/>
                    </a:lnTo>
                    <a:lnTo>
                      <a:pt x="6039455" y="1426151"/>
                    </a:lnTo>
                    <a:lnTo>
                      <a:pt x="6040701" y="1486523"/>
                    </a:lnTo>
                    <a:lnTo>
                      <a:pt x="6014954" y="1525162"/>
                    </a:lnTo>
                    <a:lnTo>
                      <a:pt x="5982763" y="1534911"/>
                    </a:lnTo>
                    <a:lnTo>
                      <a:pt x="5949472" y="1542461"/>
                    </a:lnTo>
                    <a:lnTo>
                      <a:pt x="5916175" y="1550004"/>
                    </a:lnTo>
                    <a:lnTo>
                      <a:pt x="5881356" y="1554720"/>
                    </a:lnTo>
                    <a:lnTo>
                      <a:pt x="5859698" y="1565582"/>
                    </a:lnTo>
                    <a:lnTo>
                      <a:pt x="5837340" y="1558869"/>
                    </a:lnTo>
                    <a:lnTo>
                      <a:pt x="5810504" y="1544755"/>
                    </a:lnTo>
                    <a:lnTo>
                      <a:pt x="5780295" y="1501592"/>
                    </a:lnTo>
                    <a:lnTo>
                      <a:pt x="5756321" y="1456767"/>
                    </a:lnTo>
                    <a:lnTo>
                      <a:pt x="5732357" y="1411941"/>
                    </a:lnTo>
                    <a:lnTo>
                      <a:pt x="5714076" y="1365678"/>
                    </a:lnTo>
                    <a:lnTo>
                      <a:pt x="5740000" y="1343868"/>
                    </a:lnTo>
                    <a:lnTo>
                      <a:pt x="5773443" y="1361079"/>
                    </a:lnTo>
                    <a:lnTo>
                      <a:pt x="5807190" y="1378347"/>
                    </a:lnTo>
                    <a:lnTo>
                      <a:pt x="5843373" y="1373789"/>
                    </a:lnTo>
                    <a:lnTo>
                      <a:pt x="5861186" y="1359123"/>
                    </a:lnTo>
                    <a:lnTo>
                      <a:pt x="5908876" y="1285636"/>
                    </a:lnTo>
                    <a:lnTo>
                      <a:pt x="5907298" y="1263616"/>
                    </a:lnTo>
                    <a:lnTo>
                      <a:pt x="5860483" y="1226743"/>
                    </a:lnTo>
                    <a:lnTo>
                      <a:pt x="5807044" y="1179965"/>
                    </a:lnTo>
                    <a:lnTo>
                      <a:pt x="5754957" y="1130312"/>
                    </a:lnTo>
                    <a:lnTo>
                      <a:pt x="5702917" y="1080659"/>
                    </a:lnTo>
                    <a:lnTo>
                      <a:pt x="5651897" y="1029146"/>
                    </a:lnTo>
                    <a:lnTo>
                      <a:pt x="5616225" y="997015"/>
                    </a:lnTo>
                    <a:lnTo>
                      <a:pt x="5587070" y="970787"/>
                    </a:lnTo>
                    <a:lnTo>
                      <a:pt x="5550846" y="947836"/>
                    </a:lnTo>
                    <a:lnTo>
                      <a:pt x="5526450" y="916762"/>
                    </a:lnTo>
                    <a:lnTo>
                      <a:pt x="5499568" y="882417"/>
                    </a:lnTo>
                    <a:lnTo>
                      <a:pt x="5474146" y="841964"/>
                    </a:lnTo>
                    <a:lnTo>
                      <a:pt x="5446198" y="805222"/>
                    </a:lnTo>
                    <a:lnTo>
                      <a:pt x="5418252" y="768489"/>
                    </a:lnTo>
                    <a:lnTo>
                      <a:pt x="5387411" y="735006"/>
                    </a:lnTo>
                    <a:lnTo>
                      <a:pt x="5348263" y="712728"/>
                    </a:lnTo>
                    <a:lnTo>
                      <a:pt x="5324435" y="699197"/>
                    </a:lnTo>
                    <a:lnTo>
                      <a:pt x="5254675" y="693164"/>
                    </a:lnTo>
                    <a:lnTo>
                      <a:pt x="5195918" y="703213"/>
                    </a:lnTo>
                    <a:lnTo>
                      <a:pt x="5166547" y="708239"/>
                    </a:lnTo>
                    <a:lnTo>
                      <a:pt x="5140365" y="717128"/>
                    </a:lnTo>
                    <a:lnTo>
                      <a:pt x="5123824" y="731775"/>
                    </a:lnTo>
                    <a:lnTo>
                      <a:pt x="5109868" y="747424"/>
                    </a:lnTo>
                    <a:lnTo>
                      <a:pt x="5106243" y="779608"/>
                    </a:lnTo>
                    <a:lnTo>
                      <a:pt x="5118732" y="810849"/>
                    </a:lnTo>
                    <a:lnTo>
                      <a:pt x="5149683" y="826991"/>
                    </a:lnTo>
                    <a:lnTo>
                      <a:pt x="5189820" y="834082"/>
                    </a:lnTo>
                    <a:lnTo>
                      <a:pt x="5210891" y="835152"/>
                    </a:lnTo>
                    <a:lnTo>
                      <a:pt x="5231988" y="836218"/>
                    </a:lnTo>
                    <a:lnTo>
                      <a:pt x="5269381" y="840590"/>
                    </a:lnTo>
                    <a:lnTo>
                      <a:pt x="5299980" y="849799"/>
                    </a:lnTo>
                    <a:lnTo>
                      <a:pt x="5307412" y="880451"/>
                    </a:lnTo>
                    <a:lnTo>
                      <a:pt x="5293860" y="901799"/>
                    </a:lnTo>
                    <a:lnTo>
                      <a:pt x="5271768" y="916201"/>
                    </a:lnTo>
                    <a:lnTo>
                      <a:pt x="5247974" y="928204"/>
                    </a:lnTo>
                    <a:lnTo>
                      <a:pt x="5228571" y="943967"/>
                    </a:lnTo>
                    <a:lnTo>
                      <a:pt x="5218143" y="966561"/>
                    </a:lnTo>
                    <a:lnTo>
                      <a:pt x="5241240" y="1018905"/>
                    </a:lnTo>
                    <a:lnTo>
                      <a:pt x="5281740" y="1043812"/>
                    </a:lnTo>
                    <a:lnTo>
                      <a:pt x="5292502" y="1079987"/>
                    </a:lnTo>
                    <a:lnTo>
                      <a:pt x="5287054" y="1101750"/>
                    </a:lnTo>
                    <a:lnTo>
                      <a:pt x="5263347" y="1128780"/>
                    </a:lnTo>
                    <a:lnTo>
                      <a:pt x="5224949" y="1153433"/>
                    </a:lnTo>
                    <a:lnTo>
                      <a:pt x="5203555" y="1152571"/>
                    </a:lnTo>
                    <a:lnTo>
                      <a:pt x="5185045" y="1142559"/>
                    </a:lnTo>
                    <a:lnTo>
                      <a:pt x="5166540" y="1132541"/>
                    </a:lnTo>
                    <a:lnTo>
                      <a:pt x="5150699" y="1112676"/>
                    </a:lnTo>
                    <a:lnTo>
                      <a:pt x="5137441" y="1089508"/>
                    </a:lnTo>
                    <a:lnTo>
                      <a:pt x="5110872" y="1043167"/>
                    </a:lnTo>
                    <a:lnTo>
                      <a:pt x="5093205" y="984309"/>
                    </a:lnTo>
                    <a:lnTo>
                      <a:pt x="5077594" y="964372"/>
                    </a:lnTo>
                    <a:lnTo>
                      <a:pt x="5049196" y="939759"/>
                    </a:lnTo>
                    <a:lnTo>
                      <a:pt x="5007397" y="947942"/>
                    </a:lnTo>
                    <a:lnTo>
                      <a:pt x="4995974" y="982051"/>
                    </a:lnTo>
                    <a:lnTo>
                      <a:pt x="4988793" y="1014552"/>
                    </a:lnTo>
                    <a:lnTo>
                      <a:pt x="4943013" y="1037943"/>
                    </a:lnTo>
                    <a:lnTo>
                      <a:pt x="4907564" y="1043260"/>
                    </a:lnTo>
                    <a:lnTo>
                      <a:pt x="4890734" y="1058177"/>
                    </a:lnTo>
                    <a:lnTo>
                      <a:pt x="4868121" y="1066387"/>
                    </a:lnTo>
                    <a:lnTo>
                      <a:pt x="4862764" y="1036163"/>
                    </a:lnTo>
                    <a:lnTo>
                      <a:pt x="4875600" y="1009209"/>
                    </a:lnTo>
                    <a:lnTo>
                      <a:pt x="4851797" y="965730"/>
                    </a:lnTo>
                    <a:lnTo>
                      <a:pt x="4881680" y="937828"/>
                    </a:lnTo>
                    <a:lnTo>
                      <a:pt x="4900764" y="920846"/>
                    </a:lnTo>
                    <a:lnTo>
                      <a:pt x="4919653" y="902202"/>
                    </a:lnTo>
                    <a:lnTo>
                      <a:pt x="4928121" y="874191"/>
                    </a:lnTo>
                    <a:lnTo>
                      <a:pt x="4921169" y="833791"/>
                    </a:lnTo>
                    <a:lnTo>
                      <a:pt x="4914646" y="811265"/>
                    </a:lnTo>
                    <a:lnTo>
                      <a:pt x="4885801" y="784826"/>
                    </a:lnTo>
                    <a:lnTo>
                      <a:pt x="4851164" y="763060"/>
                    </a:lnTo>
                    <a:lnTo>
                      <a:pt x="4824487" y="739961"/>
                    </a:lnTo>
                    <a:lnTo>
                      <a:pt x="4804907" y="718836"/>
                    </a:lnTo>
                    <a:lnTo>
                      <a:pt x="4789233" y="696407"/>
                    </a:lnTo>
                    <a:lnTo>
                      <a:pt x="4773557" y="673983"/>
                    </a:lnTo>
                    <a:lnTo>
                      <a:pt x="4761982" y="650078"/>
                    </a:lnTo>
                    <a:lnTo>
                      <a:pt x="4768062" y="617643"/>
                    </a:lnTo>
                    <a:lnTo>
                      <a:pt x="4795010" y="594264"/>
                    </a:lnTo>
                    <a:lnTo>
                      <a:pt x="4817371" y="558626"/>
                    </a:lnTo>
                    <a:lnTo>
                      <a:pt x="4816081" y="523239"/>
                    </a:lnTo>
                    <a:lnTo>
                      <a:pt x="4810996" y="488299"/>
                    </a:lnTo>
                    <a:lnTo>
                      <a:pt x="4805911" y="453358"/>
                    </a:lnTo>
                    <a:lnTo>
                      <a:pt x="4798175" y="417931"/>
                    </a:lnTo>
                    <a:lnTo>
                      <a:pt x="4791949" y="393089"/>
                    </a:lnTo>
                    <a:lnTo>
                      <a:pt x="4773287" y="368734"/>
                    </a:lnTo>
                    <a:lnTo>
                      <a:pt x="4729931" y="367624"/>
                    </a:lnTo>
                    <a:lnTo>
                      <a:pt x="4703539" y="353637"/>
                    </a:lnTo>
                    <a:lnTo>
                      <a:pt x="4663532" y="315215"/>
                    </a:lnTo>
                    <a:lnTo>
                      <a:pt x="4632827" y="321007"/>
                    </a:lnTo>
                    <a:lnTo>
                      <a:pt x="4627407" y="359255"/>
                    </a:lnTo>
                    <a:lnTo>
                      <a:pt x="4634917" y="418690"/>
                    </a:lnTo>
                    <a:lnTo>
                      <a:pt x="4634185" y="474706"/>
                    </a:lnTo>
                    <a:lnTo>
                      <a:pt x="4633857" y="502713"/>
                    </a:lnTo>
                    <a:lnTo>
                      <a:pt x="4631705" y="530386"/>
                    </a:lnTo>
                    <a:lnTo>
                      <a:pt x="4624663" y="553594"/>
                    </a:lnTo>
                    <a:lnTo>
                      <a:pt x="4617619" y="576808"/>
                    </a:lnTo>
                    <a:lnTo>
                      <a:pt x="4605536" y="595749"/>
                    </a:lnTo>
                    <a:lnTo>
                      <a:pt x="4586576" y="608003"/>
                    </a:lnTo>
                    <a:lnTo>
                      <a:pt x="4561588" y="608201"/>
                    </a:lnTo>
                    <a:lnTo>
                      <a:pt x="4525792" y="585645"/>
                    </a:lnTo>
                    <a:lnTo>
                      <a:pt x="4523755" y="553219"/>
                    </a:lnTo>
                    <a:lnTo>
                      <a:pt x="4500882" y="537279"/>
                    </a:lnTo>
                    <a:lnTo>
                      <a:pt x="4476660" y="520442"/>
                    </a:lnTo>
                    <a:lnTo>
                      <a:pt x="4439034" y="511386"/>
                    </a:lnTo>
                    <a:lnTo>
                      <a:pt x="4412472" y="496469"/>
                    </a:lnTo>
                    <a:lnTo>
                      <a:pt x="4391775" y="484823"/>
                    </a:lnTo>
                    <a:lnTo>
                      <a:pt x="4357557" y="450034"/>
                    </a:lnTo>
                    <a:lnTo>
                      <a:pt x="4328142" y="412139"/>
                    </a:lnTo>
                    <a:lnTo>
                      <a:pt x="4298730" y="374240"/>
                    </a:lnTo>
                    <a:lnTo>
                      <a:pt x="4274204" y="333483"/>
                    </a:lnTo>
                    <a:lnTo>
                      <a:pt x="4269653" y="310123"/>
                    </a:lnTo>
                    <a:lnTo>
                      <a:pt x="4264211" y="282029"/>
                    </a:lnTo>
                    <a:lnTo>
                      <a:pt x="4272883" y="254694"/>
                    </a:lnTo>
                    <a:lnTo>
                      <a:pt x="4281894" y="228513"/>
                    </a:lnTo>
                    <a:lnTo>
                      <a:pt x="4266936" y="199817"/>
                    </a:lnTo>
                    <a:lnTo>
                      <a:pt x="4242448" y="178318"/>
                    </a:lnTo>
                    <a:lnTo>
                      <a:pt x="4213885" y="160498"/>
                    </a:lnTo>
                    <a:lnTo>
                      <a:pt x="4187499" y="140971"/>
                    </a:lnTo>
                    <a:lnTo>
                      <a:pt x="4169535" y="117459"/>
                    </a:lnTo>
                    <a:lnTo>
                      <a:pt x="4166276" y="85694"/>
                    </a:lnTo>
                    <a:lnTo>
                      <a:pt x="4183999" y="66210"/>
                    </a:lnTo>
                    <a:lnTo>
                      <a:pt x="4157197" y="16820"/>
                    </a:lnTo>
                    <a:lnTo>
                      <a:pt x="4133633" y="1358"/>
                    </a:lnTo>
                    <a:lnTo>
                      <a:pt x="4094187" y="0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42" name="Cherkasy¬0" descr="Cherkasy¬0">
                <a:extLst>
                  <a:ext uri="{FF2B5EF4-FFF2-40B4-BE49-F238E27FC236}">
                    <a16:creationId xmlns:a16="http://schemas.microsoft.com/office/drawing/2014/main" id="{D9808D9A-FEFA-4360-965C-715A7E223AE6}"/>
                  </a:ext>
                </a:extLst>
              </p:cNvPr>
              <p:cNvSpPr/>
              <p:nvPr/>
            </p:nvSpPr>
            <p:spPr>
              <a:xfrm>
                <a:off x="26075645" y="11184910"/>
                <a:ext cx="11443953" cy="9460175"/>
              </a:xfrm>
              <a:custGeom>
                <a:avLst/>
                <a:gdLst/>
                <a:ahLst/>
                <a:cxnLst/>
                <a:rect l="0" t="0" r="0" b="0"/>
                <a:pathLst>
                  <a:path w="11443951" h="9460179">
                    <a:moveTo>
                      <a:pt x="1697177" y="9453385"/>
                    </a:moveTo>
                    <a:lnTo>
                      <a:pt x="1763828" y="9457460"/>
                    </a:lnTo>
                    <a:lnTo>
                      <a:pt x="1829117" y="9460178"/>
                    </a:lnTo>
                    <a:lnTo>
                      <a:pt x="1860278" y="9432736"/>
                    </a:lnTo>
                    <a:lnTo>
                      <a:pt x="1880807" y="9409852"/>
                    </a:lnTo>
                    <a:lnTo>
                      <a:pt x="1901336" y="9386968"/>
                    </a:lnTo>
                    <a:lnTo>
                      <a:pt x="1920153" y="9363840"/>
                    </a:lnTo>
                    <a:lnTo>
                      <a:pt x="1955915" y="9328808"/>
                    </a:lnTo>
                    <a:lnTo>
                      <a:pt x="1982816" y="9301036"/>
                    </a:lnTo>
                    <a:lnTo>
                      <a:pt x="2009726" y="9273259"/>
                    </a:lnTo>
                    <a:lnTo>
                      <a:pt x="2041327" y="9244405"/>
                    </a:lnTo>
                    <a:lnTo>
                      <a:pt x="2069871" y="9237105"/>
                    </a:lnTo>
                    <a:lnTo>
                      <a:pt x="2102514" y="9241180"/>
                    </a:lnTo>
                    <a:lnTo>
                      <a:pt x="2135160" y="9245256"/>
                    </a:lnTo>
                    <a:lnTo>
                      <a:pt x="2159007" y="9277775"/>
                    </a:lnTo>
                    <a:lnTo>
                      <a:pt x="2169170" y="9296948"/>
                    </a:lnTo>
                    <a:lnTo>
                      <a:pt x="2179325" y="9316112"/>
                    </a:lnTo>
                    <a:lnTo>
                      <a:pt x="2204533" y="9341832"/>
                    </a:lnTo>
                    <a:lnTo>
                      <a:pt x="2227297" y="9353894"/>
                    </a:lnTo>
                    <a:lnTo>
                      <a:pt x="2261664" y="9349989"/>
                    </a:lnTo>
                    <a:lnTo>
                      <a:pt x="2292211" y="9331860"/>
                    </a:lnTo>
                    <a:lnTo>
                      <a:pt x="2327065" y="9288322"/>
                    </a:lnTo>
                    <a:lnTo>
                      <a:pt x="2342524" y="9250130"/>
                    </a:lnTo>
                    <a:lnTo>
                      <a:pt x="2364206" y="9232496"/>
                    </a:lnTo>
                    <a:lnTo>
                      <a:pt x="2388462" y="9217743"/>
                    </a:lnTo>
                    <a:lnTo>
                      <a:pt x="2414005" y="9203088"/>
                    </a:lnTo>
                    <a:lnTo>
                      <a:pt x="2439541" y="9188435"/>
                    </a:lnTo>
                    <a:lnTo>
                      <a:pt x="2466337" y="9174519"/>
                    </a:lnTo>
                    <a:lnTo>
                      <a:pt x="2489886" y="9165148"/>
                    </a:lnTo>
                    <a:lnTo>
                      <a:pt x="2517382" y="9152763"/>
                    </a:lnTo>
                    <a:lnTo>
                      <a:pt x="2543284" y="9142376"/>
                    </a:lnTo>
                    <a:lnTo>
                      <a:pt x="2579787" y="9130037"/>
                    </a:lnTo>
                    <a:lnTo>
                      <a:pt x="2621440" y="9122743"/>
                    </a:lnTo>
                    <a:lnTo>
                      <a:pt x="2661559" y="9113318"/>
                    </a:lnTo>
                    <a:lnTo>
                      <a:pt x="2701674" y="9103888"/>
                    </a:lnTo>
                    <a:lnTo>
                      <a:pt x="2740841" y="9092327"/>
                    </a:lnTo>
                    <a:lnTo>
                      <a:pt x="2760852" y="9077950"/>
                    </a:lnTo>
                    <a:lnTo>
                      <a:pt x="2777220" y="9060052"/>
                    </a:lnTo>
                    <a:lnTo>
                      <a:pt x="2790732" y="9033283"/>
                    </a:lnTo>
                    <a:lnTo>
                      <a:pt x="2797578" y="9009943"/>
                    </a:lnTo>
                    <a:lnTo>
                      <a:pt x="2802828" y="8984599"/>
                    </a:lnTo>
                    <a:lnTo>
                      <a:pt x="2803922" y="8957297"/>
                    </a:lnTo>
                    <a:lnTo>
                      <a:pt x="2805742" y="8931049"/>
                    </a:lnTo>
                    <a:lnTo>
                      <a:pt x="2807556" y="8904807"/>
                    </a:lnTo>
                    <a:lnTo>
                      <a:pt x="2810821" y="8879311"/>
                    </a:lnTo>
                    <a:lnTo>
                      <a:pt x="2820700" y="8854878"/>
                    </a:lnTo>
                    <a:lnTo>
                      <a:pt x="2843312" y="8837526"/>
                    </a:lnTo>
                    <a:lnTo>
                      <a:pt x="2879704" y="8828702"/>
                    </a:lnTo>
                    <a:lnTo>
                      <a:pt x="2900763" y="8826658"/>
                    </a:lnTo>
                    <a:lnTo>
                      <a:pt x="2922715" y="8826316"/>
                    </a:lnTo>
                    <a:lnTo>
                      <a:pt x="2966632" y="8825623"/>
                    </a:lnTo>
                    <a:lnTo>
                      <a:pt x="3012936" y="8831123"/>
                    </a:lnTo>
                    <a:lnTo>
                      <a:pt x="3035614" y="8834480"/>
                    </a:lnTo>
                    <a:lnTo>
                      <a:pt x="3064632" y="8854990"/>
                    </a:lnTo>
                    <a:lnTo>
                      <a:pt x="3075059" y="8875282"/>
                    </a:lnTo>
                    <a:lnTo>
                      <a:pt x="3085483" y="8895575"/>
                    </a:lnTo>
                    <a:lnTo>
                      <a:pt x="3095219" y="8918585"/>
                    </a:lnTo>
                    <a:lnTo>
                      <a:pt x="3141461" y="8926195"/>
                    </a:lnTo>
                    <a:lnTo>
                      <a:pt x="3175537" y="8922620"/>
                    </a:lnTo>
                    <a:lnTo>
                      <a:pt x="3209721" y="8920167"/>
                    </a:lnTo>
                    <a:lnTo>
                      <a:pt x="3243902" y="8917713"/>
                    </a:lnTo>
                    <a:lnTo>
                      <a:pt x="3277813" y="8915544"/>
                    </a:lnTo>
                    <a:lnTo>
                      <a:pt x="3311730" y="8914726"/>
                    </a:lnTo>
                    <a:lnTo>
                      <a:pt x="3346999" y="8913876"/>
                    </a:lnTo>
                    <a:lnTo>
                      <a:pt x="3373320" y="8912042"/>
                    </a:lnTo>
                    <a:lnTo>
                      <a:pt x="3413370" y="8903812"/>
                    </a:lnTo>
                    <a:lnTo>
                      <a:pt x="3435509" y="8887523"/>
                    </a:lnTo>
                    <a:lnTo>
                      <a:pt x="3449446" y="8861703"/>
                    </a:lnTo>
                    <a:lnTo>
                      <a:pt x="3454227" y="8820848"/>
                    </a:lnTo>
                    <a:lnTo>
                      <a:pt x="3454555" y="8794495"/>
                    </a:lnTo>
                    <a:lnTo>
                      <a:pt x="3454555" y="8761025"/>
                    </a:lnTo>
                    <a:lnTo>
                      <a:pt x="3457445" y="8728381"/>
                    </a:lnTo>
                    <a:lnTo>
                      <a:pt x="3459823" y="8687579"/>
                    </a:lnTo>
                    <a:lnTo>
                      <a:pt x="3455914" y="8657650"/>
                    </a:lnTo>
                    <a:lnTo>
                      <a:pt x="3444274" y="8638842"/>
                    </a:lnTo>
                    <a:lnTo>
                      <a:pt x="3411854" y="8629649"/>
                    </a:lnTo>
                    <a:lnTo>
                      <a:pt x="3381109" y="8618206"/>
                    </a:lnTo>
                    <a:lnTo>
                      <a:pt x="3350410" y="8605774"/>
                    </a:lnTo>
                    <a:lnTo>
                      <a:pt x="3327466" y="8589822"/>
                    </a:lnTo>
                    <a:lnTo>
                      <a:pt x="3317178" y="8566516"/>
                    </a:lnTo>
                    <a:lnTo>
                      <a:pt x="3324681" y="8545576"/>
                    </a:lnTo>
                    <a:lnTo>
                      <a:pt x="3353957" y="8510854"/>
                    </a:lnTo>
                    <a:lnTo>
                      <a:pt x="3381096" y="8480828"/>
                    </a:lnTo>
                    <a:lnTo>
                      <a:pt x="3408233" y="8450795"/>
                    </a:lnTo>
                    <a:lnTo>
                      <a:pt x="3437186" y="8421620"/>
                    </a:lnTo>
                    <a:lnTo>
                      <a:pt x="3467454" y="8415201"/>
                    </a:lnTo>
                    <a:lnTo>
                      <a:pt x="3490603" y="8413144"/>
                    </a:lnTo>
                    <a:lnTo>
                      <a:pt x="3515755" y="8401932"/>
                    </a:lnTo>
                    <a:lnTo>
                      <a:pt x="3527398" y="8379490"/>
                    </a:lnTo>
                    <a:lnTo>
                      <a:pt x="3546131" y="8326139"/>
                    </a:lnTo>
                    <a:lnTo>
                      <a:pt x="3555200" y="8286318"/>
                    </a:lnTo>
                    <a:lnTo>
                      <a:pt x="3564270" y="8246498"/>
                    </a:lnTo>
                    <a:lnTo>
                      <a:pt x="3573640" y="8206031"/>
                    </a:lnTo>
                    <a:lnTo>
                      <a:pt x="3575804" y="8174594"/>
                    </a:lnTo>
                    <a:lnTo>
                      <a:pt x="3572709" y="8153200"/>
                    </a:lnTo>
                    <a:lnTo>
                      <a:pt x="3566366" y="8127552"/>
                    </a:lnTo>
                    <a:lnTo>
                      <a:pt x="3547530" y="8109020"/>
                    </a:lnTo>
                    <a:lnTo>
                      <a:pt x="3538879" y="8079568"/>
                    </a:lnTo>
                    <a:lnTo>
                      <a:pt x="3546758" y="8049949"/>
                    </a:lnTo>
                    <a:lnTo>
                      <a:pt x="3580135" y="8029175"/>
                    </a:lnTo>
                    <a:lnTo>
                      <a:pt x="3615048" y="8010195"/>
                    </a:lnTo>
                    <a:lnTo>
                      <a:pt x="3649954" y="7991209"/>
                    </a:lnTo>
                    <a:lnTo>
                      <a:pt x="3686690" y="7973714"/>
                    </a:lnTo>
                    <a:lnTo>
                      <a:pt x="3718096" y="7952885"/>
                    </a:lnTo>
                    <a:lnTo>
                      <a:pt x="3730666" y="7914979"/>
                    </a:lnTo>
                    <a:lnTo>
                      <a:pt x="3748274" y="7876788"/>
                    </a:lnTo>
                    <a:lnTo>
                      <a:pt x="3775550" y="7863294"/>
                    </a:lnTo>
                    <a:lnTo>
                      <a:pt x="3812276" y="7853778"/>
                    </a:lnTo>
                    <a:lnTo>
                      <a:pt x="3832846" y="7848819"/>
                    </a:lnTo>
                    <a:lnTo>
                      <a:pt x="3870766" y="7830656"/>
                    </a:lnTo>
                    <a:lnTo>
                      <a:pt x="3889800" y="7820520"/>
                    </a:lnTo>
                    <a:lnTo>
                      <a:pt x="3909486" y="7809032"/>
                    </a:lnTo>
                    <a:lnTo>
                      <a:pt x="3929249" y="7796647"/>
                    </a:lnTo>
                    <a:lnTo>
                      <a:pt x="3951232" y="7801519"/>
                    </a:lnTo>
                    <a:lnTo>
                      <a:pt x="3972564" y="7810818"/>
                    </a:lnTo>
                    <a:lnTo>
                      <a:pt x="3994541" y="7819774"/>
                    </a:lnTo>
                    <a:lnTo>
                      <a:pt x="4022930" y="7815877"/>
                    </a:lnTo>
                    <a:lnTo>
                      <a:pt x="4055923" y="7807350"/>
                    </a:lnTo>
                    <a:lnTo>
                      <a:pt x="4093831" y="7819774"/>
                    </a:lnTo>
                    <a:lnTo>
                      <a:pt x="4113538" y="7834772"/>
                    </a:lnTo>
                    <a:lnTo>
                      <a:pt x="4133984" y="7851022"/>
                    </a:lnTo>
                    <a:lnTo>
                      <a:pt x="4155046" y="7860578"/>
                    </a:lnTo>
                    <a:lnTo>
                      <a:pt x="4179178" y="7858685"/>
                    </a:lnTo>
                    <a:lnTo>
                      <a:pt x="4204364" y="7848872"/>
                    </a:lnTo>
                    <a:lnTo>
                      <a:pt x="4221693" y="7832015"/>
                    </a:lnTo>
                    <a:lnTo>
                      <a:pt x="4243456" y="7832015"/>
                    </a:lnTo>
                    <a:lnTo>
                      <a:pt x="4254122" y="7857873"/>
                    </a:lnTo>
                    <a:lnTo>
                      <a:pt x="4270878" y="7885051"/>
                    </a:lnTo>
                    <a:lnTo>
                      <a:pt x="4291066" y="7904104"/>
                    </a:lnTo>
                    <a:lnTo>
                      <a:pt x="4340073" y="7908944"/>
                    </a:lnTo>
                    <a:lnTo>
                      <a:pt x="4376753" y="7898662"/>
                    </a:lnTo>
                    <a:lnTo>
                      <a:pt x="4413443" y="7888381"/>
                    </a:lnTo>
                    <a:lnTo>
                      <a:pt x="4450005" y="7872501"/>
                    </a:lnTo>
                    <a:lnTo>
                      <a:pt x="4466531" y="7856494"/>
                    </a:lnTo>
                    <a:lnTo>
                      <a:pt x="4499168" y="7853989"/>
                    </a:lnTo>
                    <a:lnTo>
                      <a:pt x="4529110" y="7867165"/>
                    </a:lnTo>
                    <a:lnTo>
                      <a:pt x="4553583" y="7886417"/>
                    </a:lnTo>
                    <a:lnTo>
                      <a:pt x="4575346" y="7880975"/>
                    </a:lnTo>
                    <a:lnTo>
                      <a:pt x="4612178" y="7876873"/>
                    </a:lnTo>
                    <a:lnTo>
                      <a:pt x="4635776" y="7872765"/>
                    </a:lnTo>
                    <a:lnTo>
                      <a:pt x="4656960" y="7868736"/>
                    </a:lnTo>
                    <a:lnTo>
                      <a:pt x="4678140" y="7864699"/>
                    </a:lnTo>
                    <a:lnTo>
                      <a:pt x="4719529" y="7859212"/>
                    </a:lnTo>
                    <a:lnTo>
                      <a:pt x="4740846" y="7857959"/>
                    </a:lnTo>
                    <a:lnTo>
                      <a:pt x="4771216" y="7872817"/>
                    </a:lnTo>
                    <a:lnTo>
                      <a:pt x="4799732" y="7889153"/>
                    </a:lnTo>
                    <a:lnTo>
                      <a:pt x="4831637" y="7894021"/>
                    </a:lnTo>
                    <a:lnTo>
                      <a:pt x="4860984" y="7894574"/>
                    </a:lnTo>
                    <a:lnTo>
                      <a:pt x="4890359" y="7895036"/>
                    </a:lnTo>
                    <a:lnTo>
                      <a:pt x="4935963" y="7902296"/>
                    </a:lnTo>
                    <a:lnTo>
                      <a:pt x="4965139" y="7911226"/>
                    </a:lnTo>
                    <a:lnTo>
                      <a:pt x="4992930" y="7923137"/>
                    </a:lnTo>
                    <a:lnTo>
                      <a:pt x="5020720" y="7935046"/>
                    </a:lnTo>
                    <a:lnTo>
                      <a:pt x="5048188" y="7949430"/>
                    </a:lnTo>
                    <a:lnTo>
                      <a:pt x="5075898" y="7963939"/>
                    </a:lnTo>
                    <a:lnTo>
                      <a:pt x="5099023" y="7987068"/>
                    </a:lnTo>
                    <a:lnTo>
                      <a:pt x="5119809" y="8006786"/>
                    </a:lnTo>
                    <a:lnTo>
                      <a:pt x="5145237" y="8017299"/>
                    </a:lnTo>
                    <a:lnTo>
                      <a:pt x="5173833" y="8012907"/>
                    </a:lnTo>
                    <a:lnTo>
                      <a:pt x="5200675" y="8004202"/>
                    </a:lnTo>
                    <a:lnTo>
                      <a:pt x="5233510" y="8005276"/>
                    </a:lnTo>
                    <a:lnTo>
                      <a:pt x="5263664" y="8010677"/>
                    </a:lnTo>
                    <a:lnTo>
                      <a:pt x="5292174" y="8014265"/>
                    </a:lnTo>
                    <a:lnTo>
                      <a:pt x="5320683" y="8017860"/>
                    </a:lnTo>
                    <a:lnTo>
                      <a:pt x="5348269" y="8020853"/>
                    </a:lnTo>
                    <a:lnTo>
                      <a:pt x="5396728" y="7999611"/>
                    </a:lnTo>
                    <a:lnTo>
                      <a:pt x="5427024" y="7972942"/>
                    </a:lnTo>
                    <a:lnTo>
                      <a:pt x="5458120" y="7947618"/>
                    </a:lnTo>
                    <a:lnTo>
                      <a:pt x="5489203" y="7922292"/>
                    </a:lnTo>
                    <a:lnTo>
                      <a:pt x="5520138" y="7897700"/>
                    </a:lnTo>
                    <a:lnTo>
                      <a:pt x="5558771" y="7885051"/>
                    </a:lnTo>
                    <a:lnTo>
                      <a:pt x="5593783" y="7878733"/>
                    </a:lnTo>
                    <a:lnTo>
                      <a:pt x="5627133" y="7880481"/>
                    </a:lnTo>
                    <a:lnTo>
                      <a:pt x="5660787" y="7882333"/>
                    </a:lnTo>
                    <a:lnTo>
                      <a:pt x="5682543" y="7878245"/>
                    </a:lnTo>
                    <a:lnTo>
                      <a:pt x="5707032" y="7872811"/>
                    </a:lnTo>
                    <a:lnTo>
                      <a:pt x="5730562" y="7871070"/>
                    </a:lnTo>
                    <a:lnTo>
                      <a:pt x="5752865" y="7877057"/>
                    </a:lnTo>
                    <a:lnTo>
                      <a:pt x="5775043" y="7885051"/>
                    </a:lnTo>
                    <a:lnTo>
                      <a:pt x="5797225" y="7893038"/>
                    </a:lnTo>
                    <a:lnTo>
                      <a:pt x="5818579" y="7902746"/>
                    </a:lnTo>
                    <a:lnTo>
                      <a:pt x="5840335" y="7909531"/>
                    </a:lnTo>
                    <a:lnTo>
                      <a:pt x="5870256" y="7909531"/>
                    </a:lnTo>
                    <a:lnTo>
                      <a:pt x="5898825" y="7901374"/>
                    </a:lnTo>
                    <a:lnTo>
                      <a:pt x="5945377" y="7902600"/>
                    </a:lnTo>
                    <a:lnTo>
                      <a:pt x="5970907" y="7910890"/>
                    </a:lnTo>
                    <a:lnTo>
                      <a:pt x="5996444" y="7919187"/>
                    </a:lnTo>
                    <a:lnTo>
                      <a:pt x="6021431" y="7930984"/>
                    </a:lnTo>
                    <a:lnTo>
                      <a:pt x="6044828" y="7947221"/>
                    </a:lnTo>
                    <a:lnTo>
                      <a:pt x="6060685" y="7981620"/>
                    </a:lnTo>
                    <a:lnTo>
                      <a:pt x="6074882" y="8016936"/>
                    </a:lnTo>
                    <a:lnTo>
                      <a:pt x="6085316" y="8035586"/>
                    </a:lnTo>
                    <a:lnTo>
                      <a:pt x="6108279" y="8044185"/>
                    </a:lnTo>
                    <a:lnTo>
                      <a:pt x="6124126" y="8019329"/>
                    </a:lnTo>
                    <a:lnTo>
                      <a:pt x="6130522" y="7992871"/>
                    </a:lnTo>
                    <a:lnTo>
                      <a:pt x="6142289" y="7972090"/>
                    </a:lnTo>
                    <a:lnTo>
                      <a:pt x="6164052" y="7972090"/>
                    </a:lnTo>
                    <a:lnTo>
                      <a:pt x="6185893" y="7989224"/>
                    </a:lnTo>
                    <a:lnTo>
                      <a:pt x="6212939" y="7993049"/>
                    </a:lnTo>
                    <a:lnTo>
                      <a:pt x="6240224" y="7988420"/>
                    </a:lnTo>
                    <a:lnTo>
                      <a:pt x="6262651" y="7966446"/>
                    </a:lnTo>
                    <a:lnTo>
                      <a:pt x="6287812" y="7942348"/>
                    </a:lnTo>
                    <a:lnTo>
                      <a:pt x="6315029" y="7928571"/>
                    </a:lnTo>
                    <a:lnTo>
                      <a:pt x="6342714" y="7917162"/>
                    </a:lnTo>
                    <a:lnTo>
                      <a:pt x="6371674" y="7918216"/>
                    </a:lnTo>
                    <a:lnTo>
                      <a:pt x="6402087" y="7935370"/>
                    </a:lnTo>
                    <a:lnTo>
                      <a:pt x="6445371" y="7927271"/>
                    </a:lnTo>
                    <a:lnTo>
                      <a:pt x="6471453" y="7914971"/>
                    </a:lnTo>
                    <a:lnTo>
                      <a:pt x="6497536" y="7902665"/>
                    </a:lnTo>
                    <a:lnTo>
                      <a:pt x="6524074" y="7888816"/>
                    </a:lnTo>
                    <a:lnTo>
                      <a:pt x="6548184" y="7861105"/>
                    </a:lnTo>
                    <a:lnTo>
                      <a:pt x="6555070" y="7840311"/>
                    </a:lnTo>
                    <a:lnTo>
                      <a:pt x="6562589" y="7819756"/>
                    </a:lnTo>
                    <a:lnTo>
                      <a:pt x="6570099" y="7799205"/>
                    </a:lnTo>
                    <a:lnTo>
                      <a:pt x="6577593" y="7779197"/>
                    </a:lnTo>
                    <a:lnTo>
                      <a:pt x="6584352" y="7758547"/>
                    </a:lnTo>
                    <a:lnTo>
                      <a:pt x="6593992" y="7720126"/>
                    </a:lnTo>
                    <a:lnTo>
                      <a:pt x="6599198" y="7682713"/>
                    </a:lnTo>
                    <a:lnTo>
                      <a:pt x="6606115" y="7645650"/>
                    </a:lnTo>
                    <a:lnTo>
                      <a:pt x="6615531" y="7620865"/>
                    </a:lnTo>
                    <a:lnTo>
                      <a:pt x="6627397" y="7599512"/>
                    </a:lnTo>
                    <a:lnTo>
                      <a:pt x="6645241" y="7580491"/>
                    </a:lnTo>
                    <a:lnTo>
                      <a:pt x="6663240" y="7562678"/>
                    </a:lnTo>
                    <a:lnTo>
                      <a:pt x="6681245" y="7544859"/>
                    </a:lnTo>
                    <a:lnTo>
                      <a:pt x="6699632" y="7528919"/>
                    </a:lnTo>
                    <a:lnTo>
                      <a:pt x="6725019" y="7512584"/>
                    </a:lnTo>
                    <a:lnTo>
                      <a:pt x="6752456" y="7498860"/>
                    </a:lnTo>
                    <a:lnTo>
                      <a:pt x="6775689" y="7477355"/>
                    </a:lnTo>
                    <a:lnTo>
                      <a:pt x="6785661" y="7454601"/>
                    </a:lnTo>
                    <a:lnTo>
                      <a:pt x="6792460" y="7429376"/>
                    </a:lnTo>
                    <a:lnTo>
                      <a:pt x="6799260" y="7404158"/>
                    </a:lnTo>
                    <a:lnTo>
                      <a:pt x="6802407" y="7376412"/>
                    </a:lnTo>
                    <a:lnTo>
                      <a:pt x="6804701" y="7354570"/>
                    </a:lnTo>
                    <a:lnTo>
                      <a:pt x="6809746" y="7306547"/>
                    </a:lnTo>
                    <a:lnTo>
                      <a:pt x="6794913" y="7220614"/>
                    </a:lnTo>
                    <a:lnTo>
                      <a:pt x="6791102" y="7139656"/>
                    </a:lnTo>
                    <a:lnTo>
                      <a:pt x="6789195" y="7099176"/>
                    </a:lnTo>
                    <a:lnTo>
                      <a:pt x="6790073" y="7059949"/>
                    </a:lnTo>
                    <a:lnTo>
                      <a:pt x="6797902" y="7028122"/>
                    </a:lnTo>
                    <a:lnTo>
                      <a:pt x="6805737" y="6996290"/>
                    </a:lnTo>
                    <a:lnTo>
                      <a:pt x="6819969" y="6970668"/>
                    </a:lnTo>
                    <a:lnTo>
                      <a:pt x="6845508" y="6958751"/>
                    </a:lnTo>
                    <a:lnTo>
                      <a:pt x="6879512" y="6956033"/>
                    </a:lnTo>
                    <a:lnTo>
                      <a:pt x="6898823" y="6968049"/>
                    </a:lnTo>
                    <a:lnTo>
                      <a:pt x="6919714" y="6979413"/>
                    </a:lnTo>
                    <a:lnTo>
                      <a:pt x="6942085" y="6988678"/>
                    </a:lnTo>
                    <a:lnTo>
                      <a:pt x="6964450" y="6997938"/>
                    </a:lnTo>
                    <a:lnTo>
                      <a:pt x="6987081" y="7005363"/>
                    </a:lnTo>
                    <a:lnTo>
                      <a:pt x="7008732" y="7011800"/>
                    </a:lnTo>
                    <a:lnTo>
                      <a:pt x="7042817" y="7016601"/>
                    </a:lnTo>
                    <a:lnTo>
                      <a:pt x="7078021" y="7015157"/>
                    </a:lnTo>
                    <a:lnTo>
                      <a:pt x="7112109" y="7014518"/>
                    </a:lnTo>
                    <a:lnTo>
                      <a:pt x="7137155" y="7015994"/>
                    </a:lnTo>
                    <a:lnTo>
                      <a:pt x="7164103" y="7024323"/>
                    </a:lnTo>
                    <a:lnTo>
                      <a:pt x="7189639" y="7026757"/>
                    </a:lnTo>
                    <a:lnTo>
                      <a:pt x="7215182" y="7029198"/>
                    </a:lnTo>
                    <a:lnTo>
                      <a:pt x="7240393" y="7026230"/>
                    </a:lnTo>
                    <a:lnTo>
                      <a:pt x="7263092" y="7007718"/>
                    </a:lnTo>
                    <a:lnTo>
                      <a:pt x="7276474" y="6971545"/>
                    </a:lnTo>
                    <a:lnTo>
                      <a:pt x="7276691" y="6949227"/>
                    </a:lnTo>
                    <a:lnTo>
                      <a:pt x="7276890" y="6926911"/>
                    </a:lnTo>
                    <a:lnTo>
                      <a:pt x="7275215" y="6903822"/>
                    </a:lnTo>
                    <a:lnTo>
                      <a:pt x="7291865" y="6877718"/>
                    </a:lnTo>
                    <a:lnTo>
                      <a:pt x="7318859" y="6874415"/>
                    </a:lnTo>
                    <a:lnTo>
                      <a:pt x="7345695" y="6874613"/>
                    </a:lnTo>
                    <a:lnTo>
                      <a:pt x="7374521" y="6872226"/>
                    </a:lnTo>
                    <a:lnTo>
                      <a:pt x="7403694" y="6866263"/>
                    </a:lnTo>
                    <a:lnTo>
                      <a:pt x="7438839" y="6868750"/>
                    </a:lnTo>
                    <a:lnTo>
                      <a:pt x="7479076" y="6874660"/>
                    </a:lnTo>
                    <a:lnTo>
                      <a:pt x="7503846" y="6878511"/>
                    </a:lnTo>
                    <a:lnTo>
                      <a:pt x="7529935" y="6888541"/>
                    </a:lnTo>
                    <a:lnTo>
                      <a:pt x="7556646" y="6901117"/>
                    </a:lnTo>
                    <a:lnTo>
                      <a:pt x="7584099" y="6912513"/>
                    </a:lnTo>
                    <a:lnTo>
                      <a:pt x="7615167" y="6923792"/>
                    </a:lnTo>
                    <a:lnTo>
                      <a:pt x="7648830" y="6933624"/>
                    </a:lnTo>
                    <a:lnTo>
                      <a:pt x="7682028" y="6943800"/>
                    </a:lnTo>
                    <a:lnTo>
                      <a:pt x="7715238" y="6953970"/>
                    </a:lnTo>
                    <a:lnTo>
                      <a:pt x="7747441" y="6964126"/>
                    </a:lnTo>
                    <a:lnTo>
                      <a:pt x="7777244" y="6977804"/>
                    </a:lnTo>
                    <a:lnTo>
                      <a:pt x="7833011" y="7015888"/>
                    </a:lnTo>
                    <a:lnTo>
                      <a:pt x="7888778" y="7052616"/>
                    </a:lnTo>
                    <a:lnTo>
                      <a:pt x="7916054" y="7082563"/>
                    </a:lnTo>
                    <a:lnTo>
                      <a:pt x="7925504" y="7101576"/>
                    </a:lnTo>
                    <a:lnTo>
                      <a:pt x="7934955" y="7120597"/>
                    </a:lnTo>
                    <a:lnTo>
                      <a:pt x="7941661" y="7142333"/>
                    </a:lnTo>
                    <a:lnTo>
                      <a:pt x="7947267" y="7164149"/>
                    </a:lnTo>
                    <a:lnTo>
                      <a:pt x="7958485" y="7207774"/>
                    </a:lnTo>
                    <a:lnTo>
                      <a:pt x="7963682" y="7253424"/>
                    </a:lnTo>
                    <a:lnTo>
                      <a:pt x="7970388" y="7289287"/>
                    </a:lnTo>
                    <a:lnTo>
                      <a:pt x="7982412" y="7312673"/>
                    </a:lnTo>
                    <a:lnTo>
                      <a:pt x="8004622" y="7331192"/>
                    </a:lnTo>
                    <a:lnTo>
                      <a:pt x="8028878" y="7340979"/>
                    </a:lnTo>
                    <a:lnTo>
                      <a:pt x="8061868" y="7334218"/>
                    </a:lnTo>
                    <a:lnTo>
                      <a:pt x="8084651" y="7304251"/>
                    </a:lnTo>
                    <a:lnTo>
                      <a:pt x="8100954" y="7266957"/>
                    </a:lnTo>
                    <a:lnTo>
                      <a:pt x="8118655" y="7245761"/>
                    </a:lnTo>
                    <a:lnTo>
                      <a:pt x="8136443" y="7234253"/>
                    </a:lnTo>
                    <a:lnTo>
                      <a:pt x="8165645" y="7210721"/>
                    </a:lnTo>
                    <a:lnTo>
                      <a:pt x="8186670" y="7176389"/>
                    </a:lnTo>
                    <a:lnTo>
                      <a:pt x="8203915" y="7138983"/>
                    </a:lnTo>
                    <a:lnTo>
                      <a:pt x="8213865" y="7115182"/>
                    </a:lnTo>
                    <a:lnTo>
                      <a:pt x="8237002" y="7090510"/>
                    </a:lnTo>
                    <a:lnTo>
                      <a:pt x="8260116" y="7085255"/>
                    </a:lnTo>
                    <a:lnTo>
                      <a:pt x="8283231" y="7080012"/>
                    </a:lnTo>
                    <a:lnTo>
                      <a:pt x="8312144" y="7078678"/>
                    </a:lnTo>
                    <a:lnTo>
                      <a:pt x="8343088" y="7073014"/>
                    </a:lnTo>
                    <a:lnTo>
                      <a:pt x="8374029" y="7067355"/>
                    </a:lnTo>
                    <a:lnTo>
                      <a:pt x="8407862" y="7058202"/>
                    </a:lnTo>
                    <a:lnTo>
                      <a:pt x="8438304" y="7040369"/>
                    </a:lnTo>
                    <a:lnTo>
                      <a:pt x="8468739" y="7022536"/>
                    </a:lnTo>
                    <a:lnTo>
                      <a:pt x="8496958" y="6995088"/>
                    </a:lnTo>
                    <a:lnTo>
                      <a:pt x="8518550" y="6953317"/>
                    </a:lnTo>
                    <a:lnTo>
                      <a:pt x="8560718" y="6964205"/>
                    </a:lnTo>
                    <a:lnTo>
                      <a:pt x="8586577" y="6976444"/>
                    </a:lnTo>
                    <a:lnTo>
                      <a:pt x="8594682" y="6996796"/>
                    </a:lnTo>
                    <a:lnTo>
                      <a:pt x="8582494" y="7019972"/>
                    </a:lnTo>
                    <a:lnTo>
                      <a:pt x="8599801" y="7050505"/>
                    </a:lnTo>
                    <a:lnTo>
                      <a:pt x="8627381" y="7049892"/>
                    </a:lnTo>
                    <a:lnTo>
                      <a:pt x="8655407" y="7037988"/>
                    </a:lnTo>
                    <a:lnTo>
                      <a:pt x="8683681" y="7018270"/>
                    </a:lnTo>
                    <a:lnTo>
                      <a:pt x="8711711" y="7000925"/>
                    </a:lnTo>
                    <a:lnTo>
                      <a:pt x="8736946" y="6991349"/>
                    </a:lnTo>
                    <a:lnTo>
                      <a:pt x="8754254" y="7011306"/>
                    </a:lnTo>
                    <a:lnTo>
                      <a:pt x="8756554" y="7032185"/>
                    </a:lnTo>
                    <a:lnTo>
                      <a:pt x="8767065" y="7056903"/>
                    </a:lnTo>
                    <a:lnTo>
                      <a:pt x="8789653" y="7067369"/>
                    </a:lnTo>
                    <a:lnTo>
                      <a:pt x="8817800" y="7071662"/>
                    </a:lnTo>
                    <a:lnTo>
                      <a:pt x="8846890" y="7073066"/>
                    </a:lnTo>
                    <a:lnTo>
                      <a:pt x="8878376" y="7065523"/>
                    </a:lnTo>
                    <a:lnTo>
                      <a:pt x="8906706" y="7044266"/>
                    </a:lnTo>
                    <a:lnTo>
                      <a:pt x="8921130" y="7001861"/>
                    </a:lnTo>
                    <a:lnTo>
                      <a:pt x="8933424" y="6957405"/>
                    </a:lnTo>
                    <a:lnTo>
                      <a:pt x="8945709" y="6912949"/>
                    </a:lnTo>
                    <a:lnTo>
                      <a:pt x="8955569" y="6867015"/>
                    </a:lnTo>
                    <a:lnTo>
                      <a:pt x="8951928" y="6840352"/>
                    </a:lnTo>
                    <a:lnTo>
                      <a:pt x="8925257" y="6817304"/>
                    </a:lnTo>
                    <a:lnTo>
                      <a:pt x="8901479" y="6794894"/>
                    </a:lnTo>
                    <a:lnTo>
                      <a:pt x="8927983" y="6723450"/>
                    </a:lnTo>
                    <a:lnTo>
                      <a:pt x="8956545" y="6658161"/>
                    </a:lnTo>
                    <a:lnTo>
                      <a:pt x="8989104" y="6655622"/>
                    </a:lnTo>
                    <a:lnTo>
                      <a:pt x="9012191" y="6649556"/>
                    </a:lnTo>
                    <a:lnTo>
                      <a:pt x="9034075" y="6639116"/>
                    </a:lnTo>
                    <a:lnTo>
                      <a:pt x="9055962" y="6628683"/>
                    </a:lnTo>
                    <a:lnTo>
                      <a:pt x="9075623" y="6613969"/>
                    </a:lnTo>
                    <a:lnTo>
                      <a:pt x="9103445" y="6596954"/>
                    </a:lnTo>
                    <a:lnTo>
                      <a:pt x="9122960" y="6572263"/>
                    </a:lnTo>
                    <a:lnTo>
                      <a:pt x="9133375" y="6550704"/>
                    </a:lnTo>
                    <a:lnTo>
                      <a:pt x="9143786" y="6529146"/>
                    </a:lnTo>
                    <a:lnTo>
                      <a:pt x="9152716" y="6505997"/>
                    </a:lnTo>
                    <a:lnTo>
                      <a:pt x="9169230" y="6483232"/>
                    </a:lnTo>
                    <a:lnTo>
                      <a:pt x="9188295" y="6460724"/>
                    </a:lnTo>
                    <a:lnTo>
                      <a:pt x="9205271" y="6433302"/>
                    </a:lnTo>
                    <a:lnTo>
                      <a:pt x="9214796" y="6411327"/>
                    </a:lnTo>
                    <a:lnTo>
                      <a:pt x="9224501" y="6390198"/>
                    </a:lnTo>
                    <a:lnTo>
                      <a:pt x="9234209" y="6369067"/>
                    </a:lnTo>
                    <a:lnTo>
                      <a:pt x="9243839" y="6348518"/>
                    </a:lnTo>
                    <a:lnTo>
                      <a:pt x="9258511" y="6330349"/>
                    </a:lnTo>
                    <a:lnTo>
                      <a:pt x="9270805" y="6313268"/>
                    </a:lnTo>
                    <a:lnTo>
                      <a:pt x="9289793" y="6292269"/>
                    </a:lnTo>
                    <a:lnTo>
                      <a:pt x="9331226" y="6303718"/>
                    </a:lnTo>
                    <a:lnTo>
                      <a:pt x="9355082" y="6315392"/>
                    </a:lnTo>
                    <a:lnTo>
                      <a:pt x="9378941" y="6327071"/>
                    </a:lnTo>
                    <a:lnTo>
                      <a:pt x="9404180" y="6338731"/>
                    </a:lnTo>
                    <a:lnTo>
                      <a:pt x="9428529" y="6339878"/>
                    </a:lnTo>
                    <a:lnTo>
                      <a:pt x="9448314" y="6327592"/>
                    </a:lnTo>
                    <a:lnTo>
                      <a:pt x="9453786" y="6297342"/>
                    </a:lnTo>
                    <a:lnTo>
                      <a:pt x="9444100" y="6268159"/>
                    </a:lnTo>
                    <a:lnTo>
                      <a:pt x="9435335" y="6247385"/>
                    </a:lnTo>
                    <a:lnTo>
                      <a:pt x="9446605" y="6216777"/>
                    </a:lnTo>
                    <a:lnTo>
                      <a:pt x="9461181" y="6201141"/>
                    </a:lnTo>
                    <a:lnTo>
                      <a:pt x="9475748" y="6185491"/>
                    </a:lnTo>
                    <a:lnTo>
                      <a:pt x="9490488" y="6169690"/>
                    </a:lnTo>
                    <a:lnTo>
                      <a:pt x="9531905" y="6169855"/>
                    </a:lnTo>
                    <a:lnTo>
                      <a:pt x="9568632" y="6133134"/>
                    </a:lnTo>
                    <a:lnTo>
                      <a:pt x="9590395" y="6101848"/>
                    </a:lnTo>
                    <a:lnTo>
                      <a:pt x="9621680" y="6108654"/>
                    </a:lnTo>
                    <a:lnTo>
                      <a:pt x="9640727" y="6118177"/>
                    </a:lnTo>
                    <a:lnTo>
                      <a:pt x="9648013" y="6148230"/>
                    </a:lnTo>
                    <a:lnTo>
                      <a:pt x="9641598" y="6186058"/>
                    </a:lnTo>
                    <a:lnTo>
                      <a:pt x="9638001" y="6218828"/>
                    </a:lnTo>
                    <a:lnTo>
                      <a:pt x="9660893" y="6230020"/>
                    </a:lnTo>
                    <a:lnTo>
                      <a:pt x="9683112" y="6243013"/>
                    </a:lnTo>
                    <a:lnTo>
                      <a:pt x="9703287" y="6256915"/>
                    </a:lnTo>
                    <a:lnTo>
                      <a:pt x="9704500" y="6278057"/>
                    </a:lnTo>
                    <a:lnTo>
                      <a:pt x="9701334" y="6307670"/>
                    </a:lnTo>
                    <a:lnTo>
                      <a:pt x="9712828" y="6332625"/>
                    </a:lnTo>
                    <a:lnTo>
                      <a:pt x="9745762" y="6345128"/>
                    </a:lnTo>
                    <a:lnTo>
                      <a:pt x="9780814" y="6354848"/>
                    </a:lnTo>
                    <a:lnTo>
                      <a:pt x="9815866" y="6364576"/>
                    </a:lnTo>
                    <a:lnTo>
                      <a:pt x="9852779" y="6371785"/>
                    </a:lnTo>
                    <a:lnTo>
                      <a:pt x="9902301" y="6363672"/>
                    </a:lnTo>
                    <a:lnTo>
                      <a:pt x="9922065" y="6343460"/>
                    </a:lnTo>
                    <a:lnTo>
                      <a:pt x="9939964" y="6322204"/>
                    </a:lnTo>
                    <a:lnTo>
                      <a:pt x="9957861" y="6300955"/>
                    </a:lnTo>
                    <a:lnTo>
                      <a:pt x="9973438" y="6278071"/>
                    </a:lnTo>
                    <a:lnTo>
                      <a:pt x="9999812" y="6262354"/>
                    </a:lnTo>
                    <a:lnTo>
                      <a:pt x="10023364" y="6273929"/>
                    </a:lnTo>
                    <a:lnTo>
                      <a:pt x="10035174" y="6292283"/>
                    </a:lnTo>
                    <a:lnTo>
                      <a:pt x="10035636" y="6326056"/>
                    </a:lnTo>
                    <a:lnTo>
                      <a:pt x="10033019" y="6355462"/>
                    </a:lnTo>
                    <a:lnTo>
                      <a:pt x="10031090" y="6384776"/>
                    </a:lnTo>
                    <a:lnTo>
                      <a:pt x="10029187" y="6414091"/>
                    </a:lnTo>
                    <a:lnTo>
                      <a:pt x="10028297" y="6444052"/>
                    </a:lnTo>
                    <a:lnTo>
                      <a:pt x="10031090" y="6469106"/>
                    </a:lnTo>
                    <a:lnTo>
                      <a:pt x="10068992" y="6539367"/>
                    </a:lnTo>
                    <a:lnTo>
                      <a:pt x="10108621" y="6591527"/>
                    </a:lnTo>
                    <a:lnTo>
                      <a:pt x="10148258" y="6643679"/>
                    </a:lnTo>
                    <a:lnTo>
                      <a:pt x="10191995" y="6696069"/>
                    </a:lnTo>
                    <a:lnTo>
                      <a:pt x="10206556" y="6719382"/>
                    </a:lnTo>
                    <a:lnTo>
                      <a:pt x="10223181" y="6745999"/>
                    </a:lnTo>
                    <a:lnTo>
                      <a:pt x="10229782" y="6787468"/>
                    </a:lnTo>
                    <a:lnTo>
                      <a:pt x="10233760" y="6829563"/>
                    </a:lnTo>
                    <a:lnTo>
                      <a:pt x="10237735" y="6871652"/>
                    </a:lnTo>
                    <a:lnTo>
                      <a:pt x="10238886" y="6915369"/>
                    </a:lnTo>
                    <a:lnTo>
                      <a:pt x="10243282" y="6945178"/>
                    </a:lnTo>
                    <a:lnTo>
                      <a:pt x="10267764" y="6964225"/>
                    </a:lnTo>
                    <a:lnTo>
                      <a:pt x="10294876" y="6967133"/>
                    </a:lnTo>
                    <a:lnTo>
                      <a:pt x="10330421" y="6969468"/>
                    </a:lnTo>
                    <a:lnTo>
                      <a:pt x="10356174" y="6966941"/>
                    </a:lnTo>
                    <a:lnTo>
                      <a:pt x="10372853" y="6947705"/>
                    </a:lnTo>
                    <a:lnTo>
                      <a:pt x="10377593" y="6918159"/>
                    </a:lnTo>
                    <a:lnTo>
                      <a:pt x="10376579" y="6883965"/>
                    </a:lnTo>
                    <a:lnTo>
                      <a:pt x="10374449" y="6849506"/>
                    </a:lnTo>
                    <a:lnTo>
                      <a:pt x="10378710" y="6820496"/>
                    </a:lnTo>
                    <a:lnTo>
                      <a:pt x="10394265" y="6802353"/>
                    </a:lnTo>
                    <a:lnTo>
                      <a:pt x="10413966" y="6790897"/>
                    </a:lnTo>
                    <a:lnTo>
                      <a:pt x="10448668" y="6799635"/>
                    </a:lnTo>
                    <a:lnTo>
                      <a:pt x="10481491" y="6821544"/>
                    </a:lnTo>
                    <a:lnTo>
                      <a:pt x="10498994" y="6836363"/>
                    </a:lnTo>
                    <a:lnTo>
                      <a:pt x="10516503" y="6851174"/>
                    </a:lnTo>
                    <a:lnTo>
                      <a:pt x="10535584" y="6866125"/>
                    </a:lnTo>
                    <a:lnTo>
                      <a:pt x="10557483" y="6875807"/>
                    </a:lnTo>
                    <a:lnTo>
                      <a:pt x="10579392" y="6885489"/>
                    </a:lnTo>
                    <a:lnTo>
                      <a:pt x="10603694" y="6890250"/>
                    </a:lnTo>
                    <a:lnTo>
                      <a:pt x="10633655" y="6882607"/>
                    </a:lnTo>
                    <a:lnTo>
                      <a:pt x="10661288" y="6875562"/>
                    </a:lnTo>
                    <a:lnTo>
                      <a:pt x="10681476" y="6846756"/>
                    </a:lnTo>
                    <a:lnTo>
                      <a:pt x="10701670" y="6829563"/>
                    </a:lnTo>
                    <a:lnTo>
                      <a:pt x="10729935" y="6805439"/>
                    </a:lnTo>
                    <a:lnTo>
                      <a:pt x="10766642" y="6774147"/>
                    </a:lnTo>
                    <a:lnTo>
                      <a:pt x="10781922" y="6738428"/>
                    </a:lnTo>
                    <a:lnTo>
                      <a:pt x="10800309" y="6695437"/>
                    </a:lnTo>
                    <a:lnTo>
                      <a:pt x="10804113" y="6664736"/>
                    </a:lnTo>
                    <a:lnTo>
                      <a:pt x="10823873" y="6642651"/>
                    </a:lnTo>
                    <a:lnTo>
                      <a:pt x="10847211" y="6640494"/>
                    </a:lnTo>
                    <a:lnTo>
                      <a:pt x="10880146" y="6648889"/>
                    </a:lnTo>
                    <a:lnTo>
                      <a:pt x="10907052" y="6660899"/>
                    </a:lnTo>
                    <a:lnTo>
                      <a:pt x="10943531" y="6677162"/>
                    </a:lnTo>
                    <a:lnTo>
                      <a:pt x="10973582" y="6702129"/>
                    </a:lnTo>
                    <a:lnTo>
                      <a:pt x="11006352" y="6724822"/>
                    </a:lnTo>
                    <a:lnTo>
                      <a:pt x="11027563" y="6740618"/>
                    </a:lnTo>
                    <a:lnTo>
                      <a:pt x="11045798" y="6762908"/>
                    </a:lnTo>
                    <a:lnTo>
                      <a:pt x="11068116" y="6778532"/>
                    </a:lnTo>
                    <a:lnTo>
                      <a:pt x="11104498" y="6790581"/>
                    </a:lnTo>
                    <a:lnTo>
                      <a:pt x="11157549" y="6803230"/>
                    </a:lnTo>
                    <a:lnTo>
                      <a:pt x="11184539" y="6791477"/>
                    </a:lnTo>
                    <a:lnTo>
                      <a:pt x="11223985" y="6696260"/>
                    </a:lnTo>
                    <a:lnTo>
                      <a:pt x="11301475" y="6655148"/>
                    </a:lnTo>
                    <a:lnTo>
                      <a:pt x="11332800" y="6643210"/>
                    </a:lnTo>
                    <a:lnTo>
                      <a:pt x="11336499" y="6592378"/>
                    </a:lnTo>
                    <a:lnTo>
                      <a:pt x="11360473" y="6567765"/>
                    </a:lnTo>
                    <a:lnTo>
                      <a:pt x="11403952" y="6560412"/>
                    </a:lnTo>
                    <a:lnTo>
                      <a:pt x="11435662" y="6553844"/>
                    </a:lnTo>
                    <a:lnTo>
                      <a:pt x="11443950" y="6479775"/>
                    </a:lnTo>
                    <a:lnTo>
                      <a:pt x="11347770" y="6448694"/>
                    </a:lnTo>
                    <a:lnTo>
                      <a:pt x="11316572" y="6382561"/>
                    </a:lnTo>
                    <a:lnTo>
                      <a:pt x="11293364" y="6320839"/>
                    </a:lnTo>
                    <a:lnTo>
                      <a:pt x="11270162" y="6259117"/>
                    </a:lnTo>
                    <a:lnTo>
                      <a:pt x="11247956" y="6196921"/>
                    </a:lnTo>
                    <a:lnTo>
                      <a:pt x="11240902" y="6171194"/>
                    </a:lnTo>
                    <a:lnTo>
                      <a:pt x="11240359" y="6148732"/>
                    </a:lnTo>
                    <a:lnTo>
                      <a:pt x="11236831" y="6125313"/>
                    </a:lnTo>
                    <a:lnTo>
                      <a:pt x="11238697" y="6101485"/>
                    </a:lnTo>
                    <a:lnTo>
                      <a:pt x="11239615" y="6077724"/>
                    </a:lnTo>
                    <a:lnTo>
                      <a:pt x="11241671" y="6041993"/>
                    </a:lnTo>
                    <a:lnTo>
                      <a:pt x="11243289" y="6007621"/>
                    </a:lnTo>
                    <a:lnTo>
                      <a:pt x="11242502" y="5951511"/>
                    </a:lnTo>
                    <a:lnTo>
                      <a:pt x="11231997" y="5892514"/>
                    </a:lnTo>
                    <a:lnTo>
                      <a:pt x="11215827" y="5836608"/>
                    </a:lnTo>
                    <a:lnTo>
                      <a:pt x="11199655" y="5780703"/>
                    </a:lnTo>
                    <a:lnTo>
                      <a:pt x="11176614" y="5727384"/>
                    </a:lnTo>
                    <a:lnTo>
                      <a:pt x="11153255" y="5699229"/>
                    </a:lnTo>
                    <a:lnTo>
                      <a:pt x="11129830" y="5674189"/>
                    </a:lnTo>
                    <a:lnTo>
                      <a:pt x="11100507" y="5650810"/>
                    </a:lnTo>
                    <a:lnTo>
                      <a:pt x="11071650" y="5631216"/>
                    </a:lnTo>
                    <a:lnTo>
                      <a:pt x="11072366" y="5602607"/>
                    </a:lnTo>
                    <a:lnTo>
                      <a:pt x="11087370" y="5578720"/>
                    </a:lnTo>
                    <a:lnTo>
                      <a:pt x="11115207" y="5512410"/>
                    </a:lnTo>
                    <a:lnTo>
                      <a:pt x="11128298" y="5434095"/>
                    </a:lnTo>
                    <a:lnTo>
                      <a:pt x="11154613" y="5371417"/>
                    </a:lnTo>
                    <a:lnTo>
                      <a:pt x="11166854" y="5353736"/>
                    </a:lnTo>
                    <a:lnTo>
                      <a:pt x="11175405" y="5332045"/>
                    </a:lnTo>
                    <a:lnTo>
                      <a:pt x="11183333" y="5304512"/>
                    </a:lnTo>
                    <a:lnTo>
                      <a:pt x="11189975" y="5277565"/>
                    </a:lnTo>
                    <a:lnTo>
                      <a:pt x="11196622" y="5250618"/>
                    </a:lnTo>
                    <a:lnTo>
                      <a:pt x="11201431" y="5224581"/>
                    </a:lnTo>
                    <a:lnTo>
                      <a:pt x="11204938" y="5201393"/>
                    </a:lnTo>
                    <a:lnTo>
                      <a:pt x="11219018" y="5145119"/>
                    </a:lnTo>
                    <a:lnTo>
                      <a:pt x="11228100" y="5080126"/>
                    </a:lnTo>
                    <a:lnTo>
                      <a:pt x="11230065" y="5028805"/>
                    </a:lnTo>
                    <a:lnTo>
                      <a:pt x="11228059" y="4981045"/>
                    </a:lnTo>
                    <a:lnTo>
                      <a:pt x="11226056" y="4933277"/>
                    </a:lnTo>
                    <a:lnTo>
                      <a:pt x="11219223" y="4889237"/>
                    </a:lnTo>
                    <a:lnTo>
                      <a:pt x="11209022" y="4846384"/>
                    </a:lnTo>
                    <a:lnTo>
                      <a:pt x="11188617" y="4760663"/>
                    </a:lnTo>
                    <a:lnTo>
                      <a:pt x="11153636" y="4679367"/>
                    </a:lnTo>
                    <a:lnTo>
                      <a:pt x="11112445" y="4577060"/>
                    </a:lnTo>
                    <a:lnTo>
                      <a:pt x="11091559" y="4525192"/>
                    </a:lnTo>
                    <a:lnTo>
                      <a:pt x="11077929" y="4460615"/>
                    </a:lnTo>
                    <a:lnTo>
                      <a:pt x="11044439" y="4415202"/>
                    </a:lnTo>
                    <a:lnTo>
                      <a:pt x="10978719" y="4326085"/>
                    </a:lnTo>
                    <a:lnTo>
                      <a:pt x="10912885" y="4244789"/>
                    </a:lnTo>
                    <a:lnTo>
                      <a:pt x="10839047" y="4162202"/>
                    </a:lnTo>
                    <a:lnTo>
                      <a:pt x="10820679" y="4141651"/>
                    </a:lnTo>
                    <a:lnTo>
                      <a:pt x="10798876" y="4092282"/>
                    </a:lnTo>
                    <a:lnTo>
                      <a:pt x="10799602" y="4064267"/>
                    </a:lnTo>
                    <a:lnTo>
                      <a:pt x="10833950" y="3984568"/>
                    </a:lnTo>
                    <a:lnTo>
                      <a:pt x="10895032" y="3913521"/>
                    </a:lnTo>
                    <a:lnTo>
                      <a:pt x="10939699" y="3838471"/>
                    </a:lnTo>
                    <a:lnTo>
                      <a:pt x="10946504" y="3818073"/>
                    </a:lnTo>
                    <a:lnTo>
                      <a:pt x="10976360" y="3788884"/>
                    </a:lnTo>
                    <a:lnTo>
                      <a:pt x="10999552" y="3773189"/>
                    </a:lnTo>
                    <a:lnTo>
                      <a:pt x="11022742" y="3757486"/>
                    </a:lnTo>
                    <a:lnTo>
                      <a:pt x="11048005" y="3744310"/>
                    </a:lnTo>
                    <a:lnTo>
                      <a:pt x="11086164" y="3720733"/>
                    </a:lnTo>
                    <a:lnTo>
                      <a:pt x="11099329" y="3697789"/>
                    </a:lnTo>
                    <a:lnTo>
                      <a:pt x="11105645" y="3673889"/>
                    </a:lnTo>
                    <a:lnTo>
                      <a:pt x="11111964" y="3649995"/>
                    </a:lnTo>
                    <a:lnTo>
                      <a:pt x="11110789" y="3624407"/>
                    </a:lnTo>
                    <a:lnTo>
                      <a:pt x="11107003" y="3599083"/>
                    </a:lnTo>
                    <a:lnTo>
                      <a:pt x="11099435" y="3548427"/>
                    </a:lnTo>
                    <a:lnTo>
                      <a:pt x="11079333" y="3496630"/>
                    </a:lnTo>
                    <a:lnTo>
                      <a:pt x="11077082" y="3448098"/>
                    </a:lnTo>
                    <a:lnTo>
                      <a:pt x="11054721" y="3415837"/>
                    </a:lnTo>
                    <a:lnTo>
                      <a:pt x="11019232" y="3396883"/>
                    </a:lnTo>
                    <a:lnTo>
                      <a:pt x="10985947" y="3376004"/>
                    </a:lnTo>
                    <a:lnTo>
                      <a:pt x="10953211" y="3355402"/>
                    </a:lnTo>
                    <a:lnTo>
                      <a:pt x="10926192" y="3328606"/>
                    </a:lnTo>
                    <a:lnTo>
                      <a:pt x="10908420" y="3291674"/>
                    </a:lnTo>
                    <a:lnTo>
                      <a:pt x="10898033" y="3259037"/>
                    </a:lnTo>
                    <a:lnTo>
                      <a:pt x="10901930" y="3216954"/>
                    </a:lnTo>
                    <a:lnTo>
                      <a:pt x="10905701" y="3176059"/>
                    </a:lnTo>
                    <a:lnTo>
                      <a:pt x="10909462" y="3135164"/>
                    </a:lnTo>
                    <a:lnTo>
                      <a:pt x="10913096" y="3095667"/>
                    </a:lnTo>
                    <a:lnTo>
                      <a:pt x="10901620" y="3069960"/>
                    </a:lnTo>
                    <a:lnTo>
                      <a:pt x="10871355" y="3047135"/>
                    </a:lnTo>
                    <a:lnTo>
                      <a:pt x="10843004" y="3041438"/>
                    </a:lnTo>
                    <a:lnTo>
                      <a:pt x="10809133" y="3029158"/>
                    </a:lnTo>
                    <a:lnTo>
                      <a:pt x="10752891" y="3008786"/>
                    </a:lnTo>
                    <a:lnTo>
                      <a:pt x="10687134" y="2987241"/>
                    </a:lnTo>
                    <a:lnTo>
                      <a:pt x="10621420" y="2963867"/>
                    </a:lnTo>
                    <a:lnTo>
                      <a:pt x="10555710" y="2940489"/>
                    </a:lnTo>
                    <a:lnTo>
                      <a:pt x="10490123" y="2915619"/>
                    </a:lnTo>
                    <a:lnTo>
                      <a:pt x="10436433" y="2884973"/>
                    </a:lnTo>
                    <a:lnTo>
                      <a:pt x="10422493" y="2867602"/>
                    </a:lnTo>
                    <a:lnTo>
                      <a:pt x="10430300" y="2794346"/>
                    </a:lnTo>
                    <a:lnTo>
                      <a:pt x="10436433" y="2721749"/>
                    </a:lnTo>
                    <a:lnTo>
                      <a:pt x="10439500" y="2685452"/>
                    </a:lnTo>
                    <a:lnTo>
                      <a:pt x="10442699" y="2648671"/>
                    </a:lnTo>
                    <a:lnTo>
                      <a:pt x="10441875" y="2619733"/>
                    </a:lnTo>
                    <a:lnTo>
                      <a:pt x="10441050" y="2590802"/>
                    </a:lnTo>
                    <a:lnTo>
                      <a:pt x="10436204" y="2568715"/>
                    </a:lnTo>
                    <a:lnTo>
                      <a:pt x="10406974" y="2548218"/>
                    </a:lnTo>
                    <a:lnTo>
                      <a:pt x="10289961" y="2454175"/>
                    </a:lnTo>
                    <a:lnTo>
                      <a:pt x="10267408" y="2451635"/>
                    </a:lnTo>
                    <a:lnTo>
                      <a:pt x="10244650" y="2470115"/>
                    </a:lnTo>
                    <a:lnTo>
                      <a:pt x="10220611" y="2488434"/>
                    </a:lnTo>
                    <a:lnTo>
                      <a:pt x="10185900" y="2467885"/>
                    </a:lnTo>
                    <a:lnTo>
                      <a:pt x="10182123" y="2443167"/>
                    </a:lnTo>
                    <a:lnTo>
                      <a:pt x="10145012" y="2397108"/>
                    </a:lnTo>
                    <a:lnTo>
                      <a:pt x="10112751" y="2367161"/>
                    </a:lnTo>
                    <a:lnTo>
                      <a:pt x="10085500" y="2338177"/>
                    </a:lnTo>
                    <a:lnTo>
                      <a:pt x="10053777" y="2328647"/>
                    </a:lnTo>
                    <a:lnTo>
                      <a:pt x="10033816" y="2336819"/>
                    </a:lnTo>
                    <a:lnTo>
                      <a:pt x="10013854" y="2344989"/>
                    </a:lnTo>
                    <a:lnTo>
                      <a:pt x="9994265" y="2358983"/>
                    </a:lnTo>
                    <a:lnTo>
                      <a:pt x="9968679" y="2364391"/>
                    </a:lnTo>
                    <a:lnTo>
                      <a:pt x="9948233" y="2348748"/>
                    </a:lnTo>
                    <a:lnTo>
                      <a:pt x="9926359" y="2325936"/>
                    </a:lnTo>
                    <a:lnTo>
                      <a:pt x="9904484" y="2303125"/>
                    </a:lnTo>
                    <a:lnTo>
                      <a:pt x="9880914" y="2272920"/>
                    </a:lnTo>
                    <a:lnTo>
                      <a:pt x="9858351" y="2240242"/>
                    </a:lnTo>
                    <a:lnTo>
                      <a:pt x="9813222" y="2174894"/>
                    </a:lnTo>
                    <a:lnTo>
                      <a:pt x="9771404" y="2101908"/>
                    </a:lnTo>
                    <a:lnTo>
                      <a:pt x="9753619" y="2068854"/>
                    </a:lnTo>
                    <a:lnTo>
                      <a:pt x="9739669" y="2042989"/>
                    </a:lnTo>
                    <a:lnTo>
                      <a:pt x="9723348" y="2018127"/>
                    </a:lnTo>
                    <a:lnTo>
                      <a:pt x="9712809" y="1989966"/>
                    </a:lnTo>
                    <a:lnTo>
                      <a:pt x="9704980" y="1969054"/>
                    </a:lnTo>
                    <a:lnTo>
                      <a:pt x="9711423" y="1941474"/>
                    </a:lnTo>
                    <a:lnTo>
                      <a:pt x="9725050" y="1921959"/>
                    </a:lnTo>
                    <a:lnTo>
                      <a:pt x="9740724" y="1904898"/>
                    </a:lnTo>
                    <a:lnTo>
                      <a:pt x="9761064" y="1895488"/>
                    </a:lnTo>
                    <a:lnTo>
                      <a:pt x="9784898" y="1897478"/>
                    </a:lnTo>
                    <a:lnTo>
                      <a:pt x="9816480" y="1923088"/>
                    </a:lnTo>
                    <a:lnTo>
                      <a:pt x="9840959" y="1917198"/>
                    </a:lnTo>
                    <a:lnTo>
                      <a:pt x="9874675" y="1894756"/>
                    </a:lnTo>
                    <a:lnTo>
                      <a:pt x="9903743" y="1867136"/>
                    </a:lnTo>
                    <a:lnTo>
                      <a:pt x="9896265" y="1822838"/>
                    </a:lnTo>
                    <a:lnTo>
                      <a:pt x="9869655" y="1801371"/>
                    </a:lnTo>
                    <a:lnTo>
                      <a:pt x="9863792" y="1775058"/>
                    </a:lnTo>
                    <a:lnTo>
                      <a:pt x="9856096" y="1740409"/>
                    </a:lnTo>
                    <a:lnTo>
                      <a:pt x="9872523" y="1682743"/>
                    </a:lnTo>
                    <a:lnTo>
                      <a:pt x="9888271" y="1626797"/>
                    </a:lnTo>
                    <a:lnTo>
                      <a:pt x="9896147" y="1598822"/>
                    </a:lnTo>
                    <a:lnTo>
                      <a:pt x="9903328" y="1571018"/>
                    </a:lnTo>
                    <a:lnTo>
                      <a:pt x="9907318" y="1546545"/>
                    </a:lnTo>
                    <a:lnTo>
                      <a:pt x="9911309" y="1522071"/>
                    </a:lnTo>
                    <a:lnTo>
                      <a:pt x="9905960" y="1486696"/>
                    </a:lnTo>
                    <a:lnTo>
                      <a:pt x="9895251" y="1464589"/>
                    </a:lnTo>
                    <a:lnTo>
                      <a:pt x="9850280" y="1439292"/>
                    </a:lnTo>
                    <a:lnTo>
                      <a:pt x="9806825" y="1415523"/>
                    </a:lnTo>
                    <a:lnTo>
                      <a:pt x="9768576" y="1384679"/>
                    </a:lnTo>
                    <a:lnTo>
                      <a:pt x="9749458" y="1369260"/>
                    </a:lnTo>
                    <a:lnTo>
                      <a:pt x="9731599" y="1352113"/>
                    </a:lnTo>
                    <a:lnTo>
                      <a:pt x="9716889" y="1332995"/>
                    </a:lnTo>
                    <a:lnTo>
                      <a:pt x="9702183" y="1313876"/>
                    </a:lnTo>
                    <a:lnTo>
                      <a:pt x="9690643" y="1291665"/>
                    </a:lnTo>
                    <a:lnTo>
                      <a:pt x="9682888" y="1267705"/>
                    </a:lnTo>
                    <a:lnTo>
                      <a:pt x="9666989" y="1218712"/>
                    </a:lnTo>
                    <a:lnTo>
                      <a:pt x="9656785" y="1161989"/>
                    </a:lnTo>
                    <a:lnTo>
                      <a:pt x="9633921" y="1115363"/>
                    </a:lnTo>
                    <a:lnTo>
                      <a:pt x="9595827" y="1037827"/>
                    </a:lnTo>
                    <a:lnTo>
                      <a:pt x="9565017" y="1032478"/>
                    </a:lnTo>
                    <a:lnTo>
                      <a:pt x="9509290" y="1074580"/>
                    </a:lnTo>
                    <a:lnTo>
                      <a:pt x="9487018" y="1066396"/>
                    </a:lnTo>
                    <a:lnTo>
                      <a:pt x="9348276" y="1016064"/>
                    </a:lnTo>
                    <a:lnTo>
                      <a:pt x="9323069" y="996832"/>
                    </a:lnTo>
                    <a:lnTo>
                      <a:pt x="9323394" y="963739"/>
                    </a:lnTo>
                    <a:lnTo>
                      <a:pt x="9319382" y="932249"/>
                    </a:lnTo>
                    <a:lnTo>
                      <a:pt x="9311550" y="901807"/>
                    </a:lnTo>
                    <a:lnTo>
                      <a:pt x="9303752" y="871371"/>
                    </a:lnTo>
                    <a:lnTo>
                      <a:pt x="9291830" y="841925"/>
                    </a:lnTo>
                    <a:lnTo>
                      <a:pt x="9280268" y="814761"/>
                    </a:lnTo>
                    <a:lnTo>
                      <a:pt x="9257147" y="760432"/>
                    </a:lnTo>
                    <a:lnTo>
                      <a:pt x="9233998" y="716016"/>
                    </a:lnTo>
                    <a:lnTo>
                      <a:pt x="9242184" y="693698"/>
                    </a:lnTo>
                    <a:lnTo>
                      <a:pt x="9388572" y="647323"/>
                    </a:lnTo>
                    <a:lnTo>
                      <a:pt x="9412207" y="639290"/>
                    </a:lnTo>
                    <a:lnTo>
                      <a:pt x="9420201" y="588812"/>
                    </a:lnTo>
                    <a:lnTo>
                      <a:pt x="9416241" y="544356"/>
                    </a:lnTo>
                    <a:lnTo>
                      <a:pt x="9401324" y="512793"/>
                    </a:lnTo>
                    <a:lnTo>
                      <a:pt x="9346918" y="467908"/>
                    </a:lnTo>
                    <a:lnTo>
                      <a:pt x="9301333" y="488722"/>
                    </a:lnTo>
                    <a:lnTo>
                      <a:pt x="9270746" y="514152"/>
                    </a:lnTo>
                    <a:lnTo>
                      <a:pt x="9240159" y="539582"/>
                    </a:lnTo>
                    <a:lnTo>
                      <a:pt x="9207370" y="565948"/>
                    </a:lnTo>
                    <a:lnTo>
                      <a:pt x="9182333" y="563119"/>
                    </a:lnTo>
                    <a:lnTo>
                      <a:pt x="9157934" y="551921"/>
                    </a:lnTo>
                    <a:lnTo>
                      <a:pt x="9143728" y="495910"/>
                    </a:lnTo>
                    <a:lnTo>
                      <a:pt x="9129945" y="466701"/>
                    </a:lnTo>
                    <a:lnTo>
                      <a:pt x="9114322" y="448862"/>
                    </a:lnTo>
                    <a:lnTo>
                      <a:pt x="9098698" y="431030"/>
                    </a:lnTo>
                    <a:lnTo>
                      <a:pt x="9061280" y="420299"/>
                    </a:lnTo>
                    <a:lnTo>
                      <a:pt x="9019084" y="416376"/>
                    </a:lnTo>
                    <a:lnTo>
                      <a:pt x="8997349" y="412136"/>
                    </a:lnTo>
                    <a:lnTo>
                      <a:pt x="8975604" y="407895"/>
                    </a:lnTo>
                    <a:lnTo>
                      <a:pt x="8954328" y="400469"/>
                    </a:lnTo>
                    <a:lnTo>
                      <a:pt x="8933418" y="380855"/>
                    </a:lnTo>
                    <a:lnTo>
                      <a:pt x="8919627" y="353902"/>
                    </a:lnTo>
                    <a:lnTo>
                      <a:pt x="8920008" y="320750"/>
                    </a:lnTo>
                    <a:lnTo>
                      <a:pt x="8915741" y="288362"/>
                    </a:lnTo>
                    <a:lnTo>
                      <a:pt x="8890720" y="257313"/>
                    </a:lnTo>
                    <a:lnTo>
                      <a:pt x="8873574" y="244836"/>
                    </a:lnTo>
                    <a:lnTo>
                      <a:pt x="8856427" y="232358"/>
                    </a:lnTo>
                    <a:lnTo>
                      <a:pt x="8837591" y="219967"/>
                    </a:lnTo>
                    <a:lnTo>
                      <a:pt x="8825009" y="187671"/>
                    </a:lnTo>
                    <a:lnTo>
                      <a:pt x="8820526" y="156424"/>
                    </a:lnTo>
                    <a:lnTo>
                      <a:pt x="8813785" y="125923"/>
                    </a:lnTo>
                    <a:lnTo>
                      <a:pt x="8801209" y="104331"/>
                    </a:lnTo>
                    <a:lnTo>
                      <a:pt x="8789238" y="84329"/>
                    </a:lnTo>
                    <a:lnTo>
                      <a:pt x="8760433" y="70275"/>
                    </a:lnTo>
                    <a:lnTo>
                      <a:pt x="8728268" y="73903"/>
                    </a:lnTo>
                    <a:lnTo>
                      <a:pt x="8699469" y="85687"/>
                    </a:lnTo>
                    <a:lnTo>
                      <a:pt x="8672265" y="63924"/>
                    </a:lnTo>
                    <a:lnTo>
                      <a:pt x="8638921" y="55061"/>
                    </a:lnTo>
                    <a:lnTo>
                      <a:pt x="8613775" y="38086"/>
                    </a:lnTo>
                    <a:lnTo>
                      <a:pt x="8581439" y="16981"/>
                    </a:lnTo>
                    <a:lnTo>
                      <a:pt x="8545451" y="2058"/>
                    </a:lnTo>
                    <a:lnTo>
                      <a:pt x="8506318" y="0"/>
                    </a:lnTo>
                    <a:lnTo>
                      <a:pt x="8484621" y="2196"/>
                    </a:lnTo>
                    <a:lnTo>
                      <a:pt x="8463075" y="10044"/>
                    </a:lnTo>
                    <a:lnTo>
                      <a:pt x="8442394" y="23121"/>
                    </a:lnTo>
                    <a:lnTo>
                      <a:pt x="8421703" y="36200"/>
                    </a:lnTo>
                    <a:lnTo>
                      <a:pt x="8402467" y="53353"/>
                    </a:lnTo>
                    <a:lnTo>
                      <a:pt x="8386620" y="73448"/>
                    </a:lnTo>
                    <a:lnTo>
                      <a:pt x="8370773" y="93542"/>
                    </a:lnTo>
                    <a:lnTo>
                      <a:pt x="8357087" y="116848"/>
                    </a:lnTo>
                    <a:lnTo>
                      <a:pt x="8349900" y="140096"/>
                    </a:lnTo>
                    <a:lnTo>
                      <a:pt x="8342704" y="163349"/>
                    </a:lnTo>
                    <a:lnTo>
                      <a:pt x="8341888" y="186919"/>
                    </a:lnTo>
                    <a:lnTo>
                      <a:pt x="8347181" y="209467"/>
                    </a:lnTo>
                    <a:lnTo>
                      <a:pt x="8361065" y="247705"/>
                    </a:lnTo>
                    <a:lnTo>
                      <a:pt x="8384983" y="280046"/>
                    </a:lnTo>
                    <a:lnTo>
                      <a:pt x="8412467" y="310126"/>
                    </a:lnTo>
                    <a:lnTo>
                      <a:pt x="8426342" y="327536"/>
                    </a:lnTo>
                    <a:lnTo>
                      <a:pt x="8427430" y="367250"/>
                    </a:lnTo>
                    <a:lnTo>
                      <a:pt x="8416513" y="407585"/>
                    </a:lnTo>
                    <a:lnTo>
                      <a:pt x="8404306" y="427099"/>
                    </a:lnTo>
                    <a:lnTo>
                      <a:pt x="8379880" y="466135"/>
                    </a:lnTo>
                    <a:lnTo>
                      <a:pt x="8341392" y="501575"/>
                    </a:lnTo>
                    <a:lnTo>
                      <a:pt x="8317254" y="522316"/>
                    </a:lnTo>
                    <a:lnTo>
                      <a:pt x="8283417" y="551393"/>
                    </a:lnTo>
                    <a:lnTo>
                      <a:pt x="8257090" y="572418"/>
                    </a:lnTo>
                    <a:lnTo>
                      <a:pt x="8230202" y="576724"/>
                    </a:lnTo>
                    <a:lnTo>
                      <a:pt x="8203763" y="577720"/>
                    </a:lnTo>
                    <a:lnTo>
                      <a:pt x="8175030" y="562130"/>
                    </a:lnTo>
                    <a:lnTo>
                      <a:pt x="8158845" y="547990"/>
                    </a:lnTo>
                    <a:lnTo>
                      <a:pt x="8141792" y="527757"/>
                    </a:lnTo>
                    <a:lnTo>
                      <a:pt x="8121440" y="601224"/>
                    </a:lnTo>
                    <a:lnTo>
                      <a:pt x="8106237" y="639844"/>
                    </a:lnTo>
                    <a:lnTo>
                      <a:pt x="8087383" y="666494"/>
                    </a:lnTo>
                    <a:lnTo>
                      <a:pt x="8068522" y="693151"/>
                    </a:lnTo>
                    <a:lnTo>
                      <a:pt x="8046244" y="707594"/>
                    </a:lnTo>
                    <a:lnTo>
                      <a:pt x="8023452" y="718185"/>
                    </a:lnTo>
                    <a:lnTo>
                      <a:pt x="8000659" y="728776"/>
                    </a:lnTo>
                    <a:lnTo>
                      <a:pt x="7978078" y="735075"/>
                    </a:lnTo>
                    <a:lnTo>
                      <a:pt x="7958163" y="746748"/>
                    </a:lnTo>
                    <a:lnTo>
                      <a:pt x="7938238" y="758427"/>
                    </a:lnTo>
                    <a:lnTo>
                      <a:pt x="7920788" y="775324"/>
                    </a:lnTo>
                    <a:lnTo>
                      <a:pt x="7910553" y="805238"/>
                    </a:lnTo>
                    <a:lnTo>
                      <a:pt x="7923731" y="856480"/>
                    </a:lnTo>
                    <a:lnTo>
                      <a:pt x="7942393" y="893247"/>
                    </a:lnTo>
                    <a:lnTo>
                      <a:pt x="7949999" y="924935"/>
                    </a:lnTo>
                    <a:lnTo>
                      <a:pt x="7947999" y="968633"/>
                    </a:lnTo>
                    <a:lnTo>
                      <a:pt x="7952591" y="1011882"/>
                    </a:lnTo>
                    <a:lnTo>
                      <a:pt x="7959186" y="1038084"/>
                    </a:lnTo>
                    <a:lnTo>
                      <a:pt x="7963604" y="1062314"/>
                    </a:lnTo>
                    <a:lnTo>
                      <a:pt x="7996374" y="1153172"/>
                    </a:lnTo>
                    <a:lnTo>
                      <a:pt x="8001661" y="1188639"/>
                    </a:lnTo>
                    <a:lnTo>
                      <a:pt x="7992015" y="1207665"/>
                    </a:lnTo>
                    <a:lnTo>
                      <a:pt x="7975842" y="1221455"/>
                    </a:lnTo>
                    <a:lnTo>
                      <a:pt x="7959673" y="1235252"/>
                    </a:lnTo>
                    <a:lnTo>
                      <a:pt x="7937004" y="1243627"/>
                    </a:lnTo>
                    <a:lnTo>
                      <a:pt x="7911911" y="1250018"/>
                    </a:lnTo>
                    <a:lnTo>
                      <a:pt x="7861725" y="1262805"/>
                    </a:lnTo>
                    <a:lnTo>
                      <a:pt x="7800761" y="1268556"/>
                    </a:lnTo>
                    <a:lnTo>
                      <a:pt x="7758212" y="1294909"/>
                    </a:lnTo>
                    <a:lnTo>
                      <a:pt x="7762392" y="1354085"/>
                    </a:lnTo>
                    <a:lnTo>
                      <a:pt x="7769092" y="1399643"/>
                    </a:lnTo>
                    <a:lnTo>
                      <a:pt x="7775792" y="1445200"/>
                    </a:lnTo>
                    <a:lnTo>
                      <a:pt x="7779901" y="1496496"/>
                    </a:lnTo>
                    <a:lnTo>
                      <a:pt x="7765018" y="1535662"/>
                    </a:lnTo>
                    <a:lnTo>
                      <a:pt x="7753257" y="1566605"/>
                    </a:lnTo>
                    <a:lnTo>
                      <a:pt x="7739962" y="1594212"/>
                    </a:lnTo>
                    <a:lnTo>
                      <a:pt x="7724208" y="1621357"/>
                    </a:lnTo>
                    <a:lnTo>
                      <a:pt x="7708460" y="1648495"/>
                    </a:lnTo>
                    <a:lnTo>
                      <a:pt x="7691146" y="1675600"/>
                    </a:lnTo>
                    <a:lnTo>
                      <a:pt x="7671160" y="1701603"/>
                    </a:lnTo>
                    <a:lnTo>
                      <a:pt x="7657403" y="1719509"/>
                    </a:lnTo>
                    <a:lnTo>
                      <a:pt x="7622534" y="1749126"/>
                    </a:lnTo>
                    <a:lnTo>
                      <a:pt x="7614035" y="1770976"/>
                    </a:lnTo>
                    <a:lnTo>
                      <a:pt x="7613368" y="1808823"/>
                    </a:lnTo>
                    <a:lnTo>
                      <a:pt x="7616751" y="1832183"/>
                    </a:lnTo>
                    <a:lnTo>
                      <a:pt x="7620140" y="1855549"/>
                    </a:lnTo>
                    <a:lnTo>
                      <a:pt x="7621532" y="1878123"/>
                    </a:lnTo>
                    <a:lnTo>
                      <a:pt x="7587503" y="1910867"/>
                    </a:lnTo>
                    <a:lnTo>
                      <a:pt x="7557167" y="1934713"/>
                    </a:lnTo>
                    <a:lnTo>
                      <a:pt x="7536505" y="1960045"/>
                    </a:lnTo>
                    <a:lnTo>
                      <a:pt x="7519693" y="1980655"/>
                    </a:lnTo>
                    <a:lnTo>
                      <a:pt x="7501840" y="2019254"/>
                    </a:lnTo>
                    <a:lnTo>
                      <a:pt x="7484812" y="2055262"/>
                    </a:lnTo>
                    <a:lnTo>
                      <a:pt x="7467786" y="2091263"/>
                    </a:lnTo>
                    <a:lnTo>
                      <a:pt x="7451384" y="2124864"/>
                    </a:lnTo>
                    <a:lnTo>
                      <a:pt x="7433128" y="2136875"/>
                    </a:lnTo>
                    <a:lnTo>
                      <a:pt x="7367166" y="2126771"/>
                    </a:lnTo>
                    <a:lnTo>
                      <a:pt x="7307985" y="2115110"/>
                    </a:lnTo>
                    <a:lnTo>
                      <a:pt x="7248808" y="2103444"/>
                    </a:lnTo>
                    <a:lnTo>
                      <a:pt x="7187707" y="2091693"/>
                    </a:lnTo>
                    <a:lnTo>
                      <a:pt x="7161880" y="2087333"/>
                    </a:lnTo>
                    <a:lnTo>
                      <a:pt x="7137915" y="2084200"/>
                    </a:lnTo>
                    <a:lnTo>
                      <a:pt x="7114837" y="2079742"/>
                    </a:lnTo>
                    <a:lnTo>
                      <a:pt x="7091763" y="2075284"/>
                    </a:lnTo>
                    <a:lnTo>
                      <a:pt x="7069783" y="2068576"/>
                    </a:lnTo>
                    <a:lnTo>
                      <a:pt x="7055914" y="2048252"/>
                    </a:lnTo>
                    <a:lnTo>
                      <a:pt x="7056348" y="2003571"/>
                    </a:lnTo>
                    <a:lnTo>
                      <a:pt x="7057805" y="1979546"/>
                    </a:lnTo>
                    <a:lnTo>
                      <a:pt x="7062391" y="1952534"/>
                    </a:lnTo>
                    <a:lnTo>
                      <a:pt x="7063148" y="1928759"/>
                    </a:lnTo>
                    <a:lnTo>
                      <a:pt x="7063920" y="1904991"/>
                    </a:lnTo>
                    <a:lnTo>
                      <a:pt x="7050906" y="1871633"/>
                    </a:lnTo>
                    <a:lnTo>
                      <a:pt x="7021237" y="1852614"/>
                    </a:lnTo>
                    <a:lnTo>
                      <a:pt x="6988343" y="1860752"/>
                    </a:lnTo>
                    <a:lnTo>
                      <a:pt x="6975060" y="1887375"/>
                    </a:lnTo>
                    <a:lnTo>
                      <a:pt x="6971696" y="1921175"/>
                    </a:lnTo>
                    <a:lnTo>
                      <a:pt x="6970660" y="1960045"/>
                    </a:lnTo>
                    <a:lnTo>
                      <a:pt x="6965985" y="1997517"/>
                    </a:lnTo>
                    <a:lnTo>
                      <a:pt x="6948125" y="2034112"/>
                    </a:lnTo>
                    <a:lnTo>
                      <a:pt x="6933636" y="2051489"/>
                    </a:lnTo>
                    <a:lnTo>
                      <a:pt x="6909455" y="2066136"/>
                    </a:lnTo>
                    <a:lnTo>
                      <a:pt x="6888628" y="2078752"/>
                    </a:lnTo>
                    <a:lnTo>
                      <a:pt x="6851939" y="2083126"/>
                    </a:lnTo>
                    <a:lnTo>
                      <a:pt x="6827841" y="2074302"/>
                    </a:lnTo>
                    <a:lnTo>
                      <a:pt x="6805393" y="2066097"/>
                    </a:lnTo>
                    <a:lnTo>
                      <a:pt x="6792389" y="2026205"/>
                    </a:lnTo>
                    <a:lnTo>
                      <a:pt x="6758472" y="2017176"/>
                    </a:lnTo>
                    <a:lnTo>
                      <a:pt x="6727546" y="2027359"/>
                    </a:lnTo>
                    <a:lnTo>
                      <a:pt x="6713222" y="2053238"/>
                    </a:lnTo>
                    <a:lnTo>
                      <a:pt x="6708143" y="2087901"/>
                    </a:lnTo>
                    <a:lnTo>
                      <a:pt x="6706865" y="2122978"/>
                    </a:lnTo>
                    <a:lnTo>
                      <a:pt x="6701272" y="2153480"/>
                    </a:lnTo>
                    <a:lnTo>
                      <a:pt x="6685022" y="2172235"/>
                    </a:lnTo>
                    <a:lnTo>
                      <a:pt x="6651126" y="2163696"/>
                    </a:lnTo>
                    <a:lnTo>
                      <a:pt x="6647635" y="2141332"/>
                    </a:lnTo>
                    <a:lnTo>
                      <a:pt x="6629124" y="2106861"/>
                    </a:lnTo>
                    <a:lnTo>
                      <a:pt x="6603622" y="2097068"/>
                    </a:lnTo>
                    <a:lnTo>
                      <a:pt x="6593886" y="2075666"/>
                    </a:lnTo>
                    <a:lnTo>
                      <a:pt x="6584002" y="2053943"/>
                    </a:lnTo>
                    <a:lnTo>
                      <a:pt x="6589192" y="2009355"/>
                    </a:lnTo>
                    <a:lnTo>
                      <a:pt x="6580290" y="1980450"/>
                    </a:lnTo>
                    <a:lnTo>
                      <a:pt x="6556382" y="1971117"/>
                    </a:lnTo>
                    <a:lnTo>
                      <a:pt x="6531323" y="1945082"/>
                    </a:lnTo>
                    <a:lnTo>
                      <a:pt x="6517764" y="1915556"/>
                    </a:lnTo>
                    <a:lnTo>
                      <a:pt x="6512235" y="1884843"/>
                    </a:lnTo>
                    <a:lnTo>
                      <a:pt x="6508202" y="1856670"/>
                    </a:lnTo>
                    <a:lnTo>
                      <a:pt x="6497319" y="1830112"/>
                    </a:lnTo>
                    <a:lnTo>
                      <a:pt x="6463321" y="1810321"/>
                    </a:lnTo>
                    <a:lnTo>
                      <a:pt x="6437694" y="1816407"/>
                    </a:lnTo>
                    <a:lnTo>
                      <a:pt x="6411625" y="1825383"/>
                    </a:lnTo>
                    <a:lnTo>
                      <a:pt x="6385549" y="1834360"/>
                    </a:lnTo>
                    <a:lnTo>
                      <a:pt x="6359122" y="1846995"/>
                    </a:lnTo>
                    <a:lnTo>
                      <a:pt x="6338172" y="1851228"/>
                    </a:lnTo>
                    <a:lnTo>
                      <a:pt x="6289375" y="1861068"/>
                    </a:lnTo>
                    <a:lnTo>
                      <a:pt x="6237241" y="1847576"/>
                    </a:lnTo>
                    <a:lnTo>
                      <a:pt x="6188553" y="1849864"/>
                    </a:lnTo>
                    <a:lnTo>
                      <a:pt x="6163847" y="1851032"/>
                    </a:lnTo>
                    <a:lnTo>
                      <a:pt x="6138680" y="1857560"/>
                    </a:lnTo>
                    <a:lnTo>
                      <a:pt x="6113739" y="1867551"/>
                    </a:lnTo>
                    <a:lnTo>
                      <a:pt x="6088798" y="1877535"/>
                    </a:lnTo>
                    <a:lnTo>
                      <a:pt x="6062775" y="1890370"/>
                    </a:lnTo>
                    <a:lnTo>
                      <a:pt x="6038934" y="1905637"/>
                    </a:lnTo>
                    <a:lnTo>
                      <a:pt x="5991238" y="1936170"/>
                    </a:lnTo>
                    <a:lnTo>
                      <a:pt x="5947712" y="1973241"/>
                    </a:lnTo>
                    <a:lnTo>
                      <a:pt x="5912430" y="2003571"/>
                    </a:lnTo>
                    <a:lnTo>
                      <a:pt x="5895858" y="2017809"/>
                    </a:lnTo>
                    <a:lnTo>
                      <a:pt x="5879852" y="2040443"/>
                    </a:lnTo>
                    <a:lnTo>
                      <a:pt x="5862105" y="2052539"/>
                    </a:lnTo>
                    <a:lnTo>
                      <a:pt x="5839008" y="2068274"/>
                    </a:lnTo>
                    <a:lnTo>
                      <a:pt x="5793740" y="2062081"/>
                    </a:lnTo>
                    <a:lnTo>
                      <a:pt x="5750570" y="2063420"/>
                    </a:lnTo>
                    <a:lnTo>
                      <a:pt x="5728978" y="2064093"/>
                    </a:lnTo>
                    <a:lnTo>
                      <a:pt x="5690717" y="2074302"/>
                    </a:lnTo>
                    <a:lnTo>
                      <a:pt x="5657643" y="2094885"/>
                    </a:lnTo>
                    <a:lnTo>
                      <a:pt x="5649913" y="2116470"/>
                    </a:lnTo>
                    <a:lnTo>
                      <a:pt x="5624944" y="2191677"/>
                    </a:lnTo>
                    <a:lnTo>
                      <a:pt x="5612644" y="2211963"/>
                    </a:lnTo>
                    <a:lnTo>
                      <a:pt x="5584624" y="2234802"/>
                    </a:lnTo>
                    <a:lnTo>
                      <a:pt x="5560725" y="2259982"/>
                    </a:lnTo>
                    <a:lnTo>
                      <a:pt x="5556061" y="2281052"/>
                    </a:lnTo>
                    <a:lnTo>
                      <a:pt x="5571400" y="2305940"/>
                    </a:lnTo>
                    <a:lnTo>
                      <a:pt x="5615825" y="2335500"/>
                    </a:lnTo>
                    <a:lnTo>
                      <a:pt x="5640391" y="2349058"/>
                    </a:lnTo>
                    <a:lnTo>
                      <a:pt x="5635213" y="2382013"/>
                    </a:lnTo>
                    <a:lnTo>
                      <a:pt x="5617698" y="2410707"/>
                    </a:lnTo>
                    <a:lnTo>
                      <a:pt x="5600945" y="2440194"/>
                    </a:lnTo>
                    <a:lnTo>
                      <a:pt x="5584187" y="2469679"/>
                    </a:lnTo>
                    <a:lnTo>
                      <a:pt x="5568544" y="2499435"/>
                    </a:lnTo>
                    <a:lnTo>
                      <a:pt x="5569660" y="2535404"/>
                    </a:lnTo>
                    <a:lnTo>
                      <a:pt x="5633523" y="2580954"/>
                    </a:lnTo>
                    <a:lnTo>
                      <a:pt x="5627452" y="2634981"/>
                    </a:lnTo>
                    <a:lnTo>
                      <a:pt x="5598164" y="2815015"/>
                    </a:lnTo>
                    <a:lnTo>
                      <a:pt x="5565788" y="2863579"/>
                    </a:lnTo>
                    <a:lnTo>
                      <a:pt x="5531641" y="2903129"/>
                    </a:lnTo>
                    <a:lnTo>
                      <a:pt x="5523415" y="2944828"/>
                    </a:lnTo>
                    <a:lnTo>
                      <a:pt x="5535855" y="2975093"/>
                    </a:lnTo>
                    <a:lnTo>
                      <a:pt x="5554505" y="3009775"/>
                    </a:lnTo>
                    <a:lnTo>
                      <a:pt x="5550614" y="3050921"/>
                    </a:lnTo>
                    <a:lnTo>
                      <a:pt x="5513655" y="3123776"/>
                    </a:lnTo>
                    <a:lnTo>
                      <a:pt x="5478038" y="3194486"/>
                    </a:lnTo>
                    <a:lnTo>
                      <a:pt x="5456768" y="3273994"/>
                    </a:lnTo>
                    <a:lnTo>
                      <a:pt x="5430329" y="3284262"/>
                    </a:lnTo>
                    <a:lnTo>
                      <a:pt x="5404542" y="3305214"/>
                    </a:lnTo>
                    <a:lnTo>
                      <a:pt x="5390115" y="3329760"/>
                    </a:lnTo>
                    <a:lnTo>
                      <a:pt x="5380537" y="3369956"/>
                    </a:lnTo>
                    <a:lnTo>
                      <a:pt x="5381954" y="3399132"/>
                    </a:lnTo>
                    <a:lnTo>
                      <a:pt x="5383374" y="3428307"/>
                    </a:lnTo>
                    <a:lnTo>
                      <a:pt x="5389017" y="3457253"/>
                    </a:lnTo>
                    <a:lnTo>
                      <a:pt x="5412417" y="3475388"/>
                    </a:lnTo>
                    <a:lnTo>
                      <a:pt x="5447240" y="3475303"/>
                    </a:lnTo>
                    <a:lnTo>
                      <a:pt x="5479250" y="3481582"/>
                    </a:lnTo>
                    <a:lnTo>
                      <a:pt x="5489405" y="3502507"/>
                    </a:lnTo>
                    <a:lnTo>
                      <a:pt x="5495327" y="3555979"/>
                    </a:lnTo>
                    <a:lnTo>
                      <a:pt x="5493488" y="3596365"/>
                    </a:lnTo>
                    <a:lnTo>
                      <a:pt x="5489473" y="3635382"/>
                    </a:lnTo>
                    <a:lnTo>
                      <a:pt x="5481182" y="3666159"/>
                    </a:lnTo>
                    <a:lnTo>
                      <a:pt x="5395290" y="3701086"/>
                    </a:lnTo>
                    <a:lnTo>
                      <a:pt x="5364098" y="3709455"/>
                    </a:lnTo>
                    <a:lnTo>
                      <a:pt x="5343870" y="3729661"/>
                    </a:lnTo>
                    <a:lnTo>
                      <a:pt x="5323644" y="3749869"/>
                    </a:lnTo>
                    <a:lnTo>
                      <a:pt x="5315276" y="3781411"/>
                    </a:lnTo>
                    <a:lnTo>
                      <a:pt x="5288102" y="3846641"/>
                    </a:lnTo>
                    <a:lnTo>
                      <a:pt x="5278007" y="3870865"/>
                    </a:lnTo>
                    <a:lnTo>
                      <a:pt x="5264191" y="3894502"/>
                    </a:lnTo>
                    <a:lnTo>
                      <a:pt x="5254092" y="3918732"/>
                    </a:lnTo>
                    <a:lnTo>
                      <a:pt x="5243745" y="3943555"/>
                    </a:lnTo>
                    <a:lnTo>
                      <a:pt x="5236413" y="3964974"/>
                    </a:lnTo>
                    <a:lnTo>
                      <a:pt x="5220091" y="3988096"/>
                    </a:lnTo>
                    <a:lnTo>
                      <a:pt x="5196691" y="4021276"/>
                    </a:lnTo>
                    <a:lnTo>
                      <a:pt x="5170069" y="4033501"/>
                    </a:lnTo>
                    <a:lnTo>
                      <a:pt x="5143919" y="4042510"/>
                    </a:lnTo>
                    <a:lnTo>
                      <a:pt x="5117778" y="4051513"/>
                    </a:lnTo>
                    <a:lnTo>
                      <a:pt x="5091978" y="4057864"/>
                    </a:lnTo>
                    <a:lnTo>
                      <a:pt x="5069108" y="4079232"/>
                    </a:lnTo>
                    <a:lnTo>
                      <a:pt x="5045168" y="4101601"/>
                    </a:lnTo>
                    <a:lnTo>
                      <a:pt x="5033994" y="4127618"/>
                    </a:lnTo>
                    <a:lnTo>
                      <a:pt x="5018779" y="4149961"/>
                    </a:lnTo>
                    <a:lnTo>
                      <a:pt x="5002886" y="4171685"/>
                    </a:lnTo>
                    <a:lnTo>
                      <a:pt x="4980273" y="4188087"/>
                    </a:lnTo>
                    <a:lnTo>
                      <a:pt x="4946691" y="4197570"/>
                    </a:lnTo>
                    <a:lnTo>
                      <a:pt x="4906715" y="4230282"/>
                    </a:lnTo>
                    <a:lnTo>
                      <a:pt x="4887265" y="4292188"/>
                    </a:lnTo>
                    <a:lnTo>
                      <a:pt x="4851481" y="4330872"/>
                    </a:lnTo>
                    <a:lnTo>
                      <a:pt x="4824890" y="4345270"/>
                    </a:lnTo>
                    <a:lnTo>
                      <a:pt x="4793730" y="4351839"/>
                    </a:lnTo>
                    <a:lnTo>
                      <a:pt x="4772587" y="4368958"/>
                    </a:lnTo>
                    <a:lnTo>
                      <a:pt x="4723619" y="4476409"/>
                    </a:lnTo>
                    <a:lnTo>
                      <a:pt x="4708485" y="4508910"/>
                    </a:lnTo>
                    <a:lnTo>
                      <a:pt x="4661028" y="4560976"/>
                    </a:lnTo>
                    <a:lnTo>
                      <a:pt x="4655605" y="4587948"/>
                    </a:lnTo>
                    <a:lnTo>
                      <a:pt x="4647053" y="4630315"/>
                    </a:lnTo>
                    <a:lnTo>
                      <a:pt x="4652132" y="4657163"/>
                    </a:lnTo>
                    <a:lnTo>
                      <a:pt x="4654247" y="4684525"/>
                    </a:lnTo>
                    <a:lnTo>
                      <a:pt x="4656370" y="4711880"/>
                    </a:lnTo>
                    <a:lnTo>
                      <a:pt x="4655930" y="4740410"/>
                    </a:lnTo>
                    <a:lnTo>
                      <a:pt x="4633851" y="4785176"/>
                    </a:lnTo>
                    <a:lnTo>
                      <a:pt x="4609362" y="4793334"/>
                    </a:lnTo>
                    <a:lnTo>
                      <a:pt x="4563120" y="4782459"/>
                    </a:lnTo>
                    <a:lnTo>
                      <a:pt x="4541931" y="4753013"/>
                    </a:lnTo>
                    <a:lnTo>
                      <a:pt x="4534552" y="4732127"/>
                    </a:lnTo>
                    <a:lnTo>
                      <a:pt x="4527178" y="4711240"/>
                    </a:lnTo>
                    <a:lnTo>
                      <a:pt x="4519613" y="4690038"/>
                    </a:lnTo>
                    <a:lnTo>
                      <a:pt x="4484223" y="4669554"/>
                    </a:lnTo>
                    <a:lnTo>
                      <a:pt x="4445670" y="4678569"/>
                    </a:lnTo>
                    <a:lnTo>
                      <a:pt x="4428459" y="4706280"/>
                    </a:lnTo>
                    <a:lnTo>
                      <a:pt x="4420354" y="4739085"/>
                    </a:lnTo>
                    <a:lnTo>
                      <a:pt x="4399896" y="4759330"/>
                    </a:lnTo>
                    <a:lnTo>
                      <a:pt x="4338874" y="4772441"/>
                    </a:lnTo>
                    <a:lnTo>
                      <a:pt x="4316813" y="4753185"/>
                    </a:lnTo>
                    <a:lnTo>
                      <a:pt x="4297267" y="4718264"/>
                    </a:lnTo>
                    <a:lnTo>
                      <a:pt x="4264540" y="4709967"/>
                    </a:lnTo>
                    <a:lnTo>
                      <a:pt x="4239388" y="4734843"/>
                    </a:lnTo>
                    <a:lnTo>
                      <a:pt x="4217631" y="4767957"/>
                    </a:lnTo>
                    <a:lnTo>
                      <a:pt x="4205384" y="4785169"/>
                    </a:lnTo>
                    <a:lnTo>
                      <a:pt x="4193140" y="4802389"/>
                    </a:lnTo>
                    <a:lnTo>
                      <a:pt x="4177699" y="4818151"/>
                    </a:lnTo>
                    <a:lnTo>
                      <a:pt x="4156420" y="4825979"/>
                    </a:lnTo>
                    <a:lnTo>
                      <a:pt x="4135137" y="4833800"/>
                    </a:lnTo>
                    <a:lnTo>
                      <a:pt x="4108209" y="4834242"/>
                    </a:lnTo>
                    <a:lnTo>
                      <a:pt x="4069364" y="4820539"/>
                    </a:lnTo>
                    <a:lnTo>
                      <a:pt x="4038349" y="4840672"/>
                    </a:lnTo>
                    <a:lnTo>
                      <a:pt x="4024480" y="4858623"/>
                    </a:lnTo>
                    <a:lnTo>
                      <a:pt x="4010605" y="4876568"/>
                    </a:lnTo>
                    <a:lnTo>
                      <a:pt x="3993161" y="4895515"/>
                    </a:lnTo>
                    <a:lnTo>
                      <a:pt x="3957833" y="4902149"/>
                    </a:lnTo>
                    <a:lnTo>
                      <a:pt x="3920242" y="4858056"/>
                    </a:lnTo>
                    <a:lnTo>
                      <a:pt x="3900702" y="4817815"/>
                    </a:lnTo>
                    <a:lnTo>
                      <a:pt x="3881159" y="4777578"/>
                    </a:lnTo>
                    <a:lnTo>
                      <a:pt x="3859886" y="4735483"/>
                    </a:lnTo>
                    <a:lnTo>
                      <a:pt x="3834052" y="4718522"/>
                    </a:lnTo>
                    <a:lnTo>
                      <a:pt x="3806757" y="4709835"/>
                    </a:lnTo>
                    <a:lnTo>
                      <a:pt x="3779729" y="4719055"/>
                    </a:lnTo>
                    <a:lnTo>
                      <a:pt x="3753799" y="4736209"/>
                    </a:lnTo>
                    <a:lnTo>
                      <a:pt x="3728126" y="4753217"/>
                    </a:lnTo>
                    <a:lnTo>
                      <a:pt x="3703303" y="4760003"/>
                    </a:lnTo>
                    <a:lnTo>
                      <a:pt x="3678985" y="4747090"/>
                    </a:lnTo>
                    <a:lnTo>
                      <a:pt x="3617780" y="4685883"/>
                    </a:lnTo>
                    <a:lnTo>
                      <a:pt x="3591440" y="4697081"/>
                    </a:lnTo>
                    <a:lnTo>
                      <a:pt x="3573779" y="4739737"/>
                    </a:lnTo>
                    <a:lnTo>
                      <a:pt x="3555207" y="4779735"/>
                    </a:lnTo>
                    <a:lnTo>
                      <a:pt x="3536643" y="4819740"/>
                    </a:lnTo>
                    <a:lnTo>
                      <a:pt x="3516573" y="4857192"/>
                    </a:lnTo>
                    <a:lnTo>
                      <a:pt x="3484476" y="4855913"/>
                    </a:lnTo>
                    <a:lnTo>
                      <a:pt x="3459364" y="4822872"/>
                    </a:lnTo>
                    <a:lnTo>
                      <a:pt x="3434150" y="4811021"/>
                    </a:lnTo>
                    <a:lnTo>
                      <a:pt x="3408946" y="4799177"/>
                    </a:lnTo>
                    <a:lnTo>
                      <a:pt x="3380839" y="4789007"/>
                    </a:lnTo>
                    <a:lnTo>
                      <a:pt x="3364778" y="4772935"/>
                    </a:lnTo>
                    <a:lnTo>
                      <a:pt x="3344956" y="4789680"/>
                    </a:lnTo>
                    <a:lnTo>
                      <a:pt x="3335050" y="4825490"/>
                    </a:lnTo>
                    <a:lnTo>
                      <a:pt x="3299746" y="4837414"/>
                    </a:lnTo>
                    <a:lnTo>
                      <a:pt x="3158096" y="4889784"/>
                    </a:lnTo>
                    <a:lnTo>
                      <a:pt x="3138693" y="4860345"/>
                    </a:lnTo>
                    <a:lnTo>
                      <a:pt x="3130364" y="4821435"/>
                    </a:lnTo>
                    <a:lnTo>
                      <a:pt x="3110428" y="4798774"/>
                    </a:lnTo>
                    <a:lnTo>
                      <a:pt x="3092698" y="4778608"/>
                    </a:lnTo>
                    <a:lnTo>
                      <a:pt x="3064499" y="4756851"/>
                    </a:lnTo>
                    <a:lnTo>
                      <a:pt x="3032891" y="4744367"/>
                    </a:lnTo>
                    <a:lnTo>
                      <a:pt x="2999579" y="4733347"/>
                    </a:lnTo>
                    <a:lnTo>
                      <a:pt x="2968275" y="4733617"/>
                    </a:lnTo>
                    <a:lnTo>
                      <a:pt x="2940398" y="4747090"/>
                    </a:lnTo>
                    <a:lnTo>
                      <a:pt x="2908096" y="4797884"/>
                    </a:lnTo>
                    <a:lnTo>
                      <a:pt x="2892828" y="4839848"/>
                    </a:lnTo>
                    <a:lnTo>
                      <a:pt x="2893204" y="4864097"/>
                    </a:lnTo>
                    <a:lnTo>
                      <a:pt x="2894152" y="4888552"/>
                    </a:lnTo>
                    <a:lnTo>
                      <a:pt x="2895104" y="4912998"/>
                    </a:lnTo>
                    <a:lnTo>
                      <a:pt x="2896813" y="4936978"/>
                    </a:lnTo>
                    <a:lnTo>
                      <a:pt x="2892794" y="4961998"/>
                    </a:lnTo>
                    <a:lnTo>
                      <a:pt x="2888587" y="4988121"/>
                    </a:lnTo>
                    <a:lnTo>
                      <a:pt x="2870334" y="5011434"/>
                    </a:lnTo>
                    <a:lnTo>
                      <a:pt x="2864232" y="5038170"/>
                    </a:lnTo>
                    <a:lnTo>
                      <a:pt x="2840723" y="5141228"/>
                    </a:lnTo>
                    <a:lnTo>
                      <a:pt x="2818793" y="5243879"/>
                    </a:lnTo>
                    <a:lnTo>
                      <a:pt x="2793501" y="5346936"/>
                    </a:lnTo>
                    <a:lnTo>
                      <a:pt x="2770216" y="5366755"/>
                    </a:lnTo>
                    <a:lnTo>
                      <a:pt x="2732296" y="5370059"/>
                    </a:lnTo>
                    <a:lnTo>
                      <a:pt x="2695002" y="5367783"/>
                    </a:lnTo>
                    <a:lnTo>
                      <a:pt x="2693101" y="5322218"/>
                    </a:lnTo>
                    <a:lnTo>
                      <a:pt x="2688636" y="5273806"/>
                    </a:lnTo>
                    <a:lnTo>
                      <a:pt x="2690128" y="5235397"/>
                    </a:lnTo>
                    <a:lnTo>
                      <a:pt x="2644537" y="5212288"/>
                    </a:lnTo>
                    <a:lnTo>
                      <a:pt x="2480047" y="5185335"/>
                    </a:lnTo>
                    <a:lnTo>
                      <a:pt x="2324234" y="5157867"/>
                    </a:lnTo>
                    <a:lnTo>
                      <a:pt x="2246322" y="5144136"/>
                    </a:lnTo>
                    <a:lnTo>
                      <a:pt x="2169781" y="5130551"/>
                    </a:lnTo>
                    <a:lnTo>
                      <a:pt x="2112045" y="5117065"/>
                    </a:lnTo>
                    <a:lnTo>
                      <a:pt x="2054294" y="5103579"/>
                    </a:lnTo>
                    <a:lnTo>
                      <a:pt x="2014432" y="5089966"/>
                    </a:lnTo>
                    <a:lnTo>
                      <a:pt x="2001838" y="5059643"/>
                    </a:lnTo>
                    <a:lnTo>
                      <a:pt x="2008662" y="5025929"/>
                    </a:lnTo>
                    <a:lnTo>
                      <a:pt x="2023796" y="4994987"/>
                    </a:lnTo>
                    <a:lnTo>
                      <a:pt x="2055928" y="4949080"/>
                    </a:lnTo>
                    <a:lnTo>
                      <a:pt x="2081148" y="4918750"/>
                    </a:lnTo>
                    <a:lnTo>
                      <a:pt x="2082115" y="4885828"/>
                    </a:lnTo>
                    <a:lnTo>
                      <a:pt x="2037296" y="4867956"/>
                    </a:lnTo>
                    <a:lnTo>
                      <a:pt x="2004588" y="4855907"/>
                    </a:lnTo>
                    <a:lnTo>
                      <a:pt x="1971871" y="4843850"/>
                    </a:lnTo>
                    <a:lnTo>
                      <a:pt x="1938564" y="4834598"/>
                    </a:lnTo>
                    <a:lnTo>
                      <a:pt x="1911236" y="4869229"/>
                    </a:lnTo>
                    <a:lnTo>
                      <a:pt x="1924116" y="4897388"/>
                    </a:lnTo>
                    <a:lnTo>
                      <a:pt x="1912095" y="4923914"/>
                    </a:lnTo>
                    <a:lnTo>
                      <a:pt x="1833197" y="4934795"/>
                    </a:lnTo>
                    <a:lnTo>
                      <a:pt x="1812287" y="4949738"/>
                    </a:lnTo>
                    <a:lnTo>
                      <a:pt x="1793305" y="4991458"/>
                    </a:lnTo>
                    <a:lnTo>
                      <a:pt x="1795113" y="5017772"/>
                    </a:lnTo>
                    <a:lnTo>
                      <a:pt x="1817877" y="5049698"/>
                    </a:lnTo>
                    <a:lnTo>
                      <a:pt x="1829117" y="5070815"/>
                    </a:lnTo>
                    <a:lnTo>
                      <a:pt x="1840353" y="5091931"/>
                    </a:lnTo>
                    <a:lnTo>
                      <a:pt x="1849243" y="5114513"/>
                    </a:lnTo>
                    <a:lnTo>
                      <a:pt x="1837281" y="5145627"/>
                    </a:lnTo>
                    <a:lnTo>
                      <a:pt x="1810498" y="5150494"/>
                    </a:lnTo>
                    <a:lnTo>
                      <a:pt x="1784800" y="5131355"/>
                    </a:lnTo>
                    <a:lnTo>
                      <a:pt x="1761177" y="5113431"/>
                    </a:lnTo>
                    <a:lnTo>
                      <a:pt x="1736623" y="5102101"/>
                    </a:lnTo>
                    <a:lnTo>
                      <a:pt x="1712485" y="5091548"/>
                    </a:lnTo>
                    <a:lnTo>
                      <a:pt x="1687311" y="5090890"/>
                    </a:lnTo>
                    <a:lnTo>
                      <a:pt x="1663176" y="5102101"/>
                    </a:lnTo>
                    <a:lnTo>
                      <a:pt x="1653651" y="5121140"/>
                    </a:lnTo>
                    <a:lnTo>
                      <a:pt x="1609254" y="5114025"/>
                    </a:lnTo>
                    <a:lnTo>
                      <a:pt x="1597140" y="5089921"/>
                    </a:lnTo>
                    <a:lnTo>
                      <a:pt x="1573399" y="5072173"/>
                    </a:lnTo>
                    <a:lnTo>
                      <a:pt x="1543708" y="5077311"/>
                    </a:lnTo>
                    <a:lnTo>
                      <a:pt x="1524202" y="5094240"/>
                    </a:lnTo>
                    <a:lnTo>
                      <a:pt x="1510832" y="5118423"/>
                    </a:lnTo>
                    <a:lnTo>
                      <a:pt x="1498678" y="5143978"/>
                    </a:lnTo>
                    <a:lnTo>
                      <a:pt x="1490151" y="5174539"/>
                    </a:lnTo>
                    <a:lnTo>
                      <a:pt x="1470022" y="5193235"/>
                    </a:lnTo>
                    <a:lnTo>
                      <a:pt x="1437262" y="5204836"/>
                    </a:lnTo>
                    <a:lnTo>
                      <a:pt x="1412386" y="5209822"/>
                    </a:lnTo>
                    <a:lnTo>
                      <a:pt x="1381104" y="5204315"/>
                    </a:lnTo>
                    <a:lnTo>
                      <a:pt x="1348969" y="5198671"/>
                    </a:lnTo>
                    <a:lnTo>
                      <a:pt x="1316832" y="5192998"/>
                    </a:lnTo>
                    <a:lnTo>
                      <a:pt x="1283587" y="5187848"/>
                    </a:lnTo>
                    <a:lnTo>
                      <a:pt x="1257834" y="5197311"/>
                    </a:lnTo>
                    <a:lnTo>
                      <a:pt x="1243831" y="5230748"/>
                    </a:lnTo>
                    <a:lnTo>
                      <a:pt x="1215263" y="5251270"/>
                    </a:lnTo>
                    <a:lnTo>
                      <a:pt x="1189825" y="5265324"/>
                    </a:lnTo>
                    <a:lnTo>
                      <a:pt x="1164382" y="5279379"/>
                    </a:lnTo>
                    <a:lnTo>
                      <a:pt x="1142495" y="5286937"/>
                    </a:lnTo>
                    <a:lnTo>
                      <a:pt x="1127169" y="5336437"/>
                    </a:lnTo>
                    <a:lnTo>
                      <a:pt x="1116729" y="5367098"/>
                    </a:lnTo>
                    <a:lnTo>
                      <a:pt x="1102773" y="5395904"/>
                    </a:lnTo>
                    <a:lnTo>
                      <a:pt x="1088818" y="5424709"/>
                    </a:lnTo>
                    <a:lnTo>
                      <a:pt x="1070385" y="5451255"/>
                    </a:lnTo>
                    <a:lnTo>
                      <a:pt x="1040207" y="5481597"/>
                    </a:lnTo>
                    <a:lnTo>
                      <a:pt x="1018267" y="5501046"/>
                    </a:lnTo>
                    <a:lnTo>
                      <a:pt x="996851" y="5519274"/>
                    </a:lnTo>
                    <a:lnTo>
                      <a:pt x="978995" y="5542805"/>
                    </a:lnTo>
                    <a:lnTo>
                      <a:pt x="976211" y="5583779"/>
                    </a:lnTo>
                    <a:lnTo>
                      <a:pt x="981711" y="5608095"/>
                    </a:lnTo>
                    <a:lnTo>
                      <a:pt x="987218" y="5632410"/>
                    </a:lnTo>
                    <a:lnTo>
                      <a:pt x="992349" y="5657874"/>
                    </a:lnTo>
                    <a:lnTo>
                      <a:pt x="978995" y="5678826"/>
                    </a:lnTo>
                    <a:lnTo>
                      <a:pt x="957871" y="5680816"/>
                    </a:lnTo>
                    <a:lnTo>
                      <a:pt x="924586" y="5670667"/>
                    </a:lnTo>
                    <a:lnTo>
                      <a:pt x="892185" y="5658974"/>
                    </a:lnTo>
                    <a:lnTo>
                      <a:pt x="856460" y="5657959"/>
                    </a:lnTo>
                    <a:lnTo>
                      <a:pt x="823935" y="5665227"/>
                    </a:lnTo>
                    <a:lnTo>
                      <a:pt x="793276" y="5673931"/>
                    </a:lnTo>
                    <a:lnTo>
                      <a:pt x="761290" y="5678382"/>
                    </a:lnTo>
                    <a:lnTo>
                      <a:pt x="727358" y="5681548"/>
                    </a:lnTo>
                    <a:lnTo>
                      <a:pt x="694913" y="5682821"/>
                    </a:lnTo>
                    <a:lnTo>
                      <a:pt x="656022" y="5686218"/>
                    </a:lnTo>
                    <a:lnTo>
                      <a:pt x="634616" y="5684199"/>
                    </a:lnTo>
                    <a:lnTo>
                      <a:pt x="597031" y="5670733"/>
                    </a:lnTo>
                    <a:lnTo>
                      <a:pt x="564133" y="5647539"/>
                    </a:lnTo>
                    <a:lnTo>
                      <a:pt x="531813" y="5622801"/>
                    </a:lnTo>
                    <a:lnTo>
                      <a:pt x="503204" y="5589530"/>
                    </a:lnTo>
                    <a:lnTo>
                      <a:pt x="475723" y="5560486"/>
                    </a:lnTo>
                    <a:lnTo>
                      <a:pt x="467559" y="5533283"/>
                    </a:lnTo>
                    <a:lnTo>
                      <a:pt x="469380" y="5512014"/>
                    </a:lnTo>
                    <a:lnTo>
                      <a:pt x="491418" y="5491853"/>
                    </a:lnTo>
                    <a:lnTo>
                      <a:pt x="514428" y="5482211"/>
                    </a:lnTo>
                    <a:lnTo>
                      <a:pt x="536932" y="5477509"/>
                    </a:lnTo>
                    <a:lnTo>
                      <a:pt x="545248" y="5450009"/>
                    </a:lnTo>
                    <a:lnTo>
                      <a:pt x="532842" y="5427184"/>
                    </a:lnTo>
                    <a:lnTo>
                      <a:pt x="515801" y="5407300"/>
                    </a:lnTo>
                    <a:lnTo>
                      <a:pt x="487778" y="5395997"/>
                    </a:lnTo>
                    <a:lnTo>
                      <a:pt x="453954" y="5412227"/>
                    </a:lnTo>
                    <a:lnTo>
                      <a:pt x="433251" y="5415695"/>
                    </a:lnTo>
                    <a:lnTo>
                      <a:pt x="406642" y="5408751"/>
                    </a:lnTo>
                    <a:lnTo>
                      <a:pt x="372340" y="5385022"/>
                    </a:lnTo>
                    <a:lnTo>
                      <a:pt x="337006" y="5401852"/>
                    </a:lnTo>
                    <a:lnTo>
                      <a:pt x="315209" y="5421742"/>
                    </a:lnTo>
                    <a:lnTo>
                      <a:pt x="293421" y="5441639"/>
                    </a:lnTo>
                    <a:lnTo>
                      <a:pt x="273497" y="5464550"/>
                    </a:lnTo>
                    <a:lnTo>
                      <a:pt x="270325" y="5491115"/>
                    </a:lnTo>
                    <a:lnTo>
                      <a:pt x="282250" y="5508867"/>
                    </a:lnTo>
                    <a:lnTo>
                      <a:pt x="300509" y="5521445"/>
                    </a:lnTo>
                    <a:lnTo>
                      <a:pt x="320651" y="5533283"/>
                    </a:lnTo>
                    <a:lnTo>
                      <a:pt x="340792" y="5545119"/>
                    </a:lnTo>
                    <a:lnTo>
                      <a:pt x="362831" y="5555936"/>
                    </a:lnTo>
                    <a:lnTo>
                      <a:pt x="381865" y="5567285"/>
                    </a:lnTo>
                    <a:lnTo>
                      <a:pt x="400897" y="5578635"/>
                    </a:lnTo>
                    <a:lnTo>
                      <a:pt x="426750" y="5606729"/>
                    </a:lnTo>
                    <a:lnTo>
                      <a:pt x="435192" y="5644017"/>
                    </a:lnTo>
                    <a:lnTo>
                      <a:pt x="424033" y="5670660"/>
                    </a:lnTo>
                    <a:lnTo>
                      <a:pt x="392166" y="5687833"/>
                    </a:lnTo>
                    <a:lnTo>
                      <a:pt x="379571" y="5705627"/>
                    </a:lnTo>
                    <a:lnTo>
                      <a:pt x="373286" y="5741786"/>
                    </a:lnTo>
                    <a:lnTo>
                      <a:pt x="390029" y="5778117"/>
                    </a:lnTo>
                    <a:lnTo>
                      <a:pt x="400357" y="5796662"/>
                    </a:lnTo>
                    <a:lnTo>
                      <a:pt x="414121" y="5815314"/>
                    </a:lnTo>
                    <a:lnTo>
                      <a:pt x="431227" y="5852455"/>
                    </a:lnTo>
                    <a:lnTo>
                      <a:pt x="426750" y="5889650"/>
                    </a:lnTo>
                    <a:lnTo>
                      <a:pt x="405858" y="5903890"/>
                    </a:lnTo>
                    <a:lnTo>
                      <a:pt x="372415" y="5915252"/>
                    </a:lnTo>
                    <a:lnTo>
                      <a:pt x="342414" y="5929102"/>
                    </a:lnTo>
                    <a:lnTo>
                      <a:pt x="312422" y="5942945"/>
                    </a:lnTo>
                    <a:lnTo>
                      <a:pt x="286336" y="5958364"/>
                    </a:lnTo>
                    <a:lnTo>
                      <a:pt x="281208" y="5982144"/>
                    </a:lnTo>
                    <a:lnTo>
                      <a:pt x="286253" y="6005623"/>
                    </a:lnTo>
                    <a:lnTo>
                      <a:pt x="292128" y="6025868"/>
                    </a:lnTo>
                    <a:lnTo>
                      <a:pt x="302931" y="6066289"/>
                    </a:lnTo>
                    <a:lnTo>
                      <a:pt x="307039" y="6087069"/>
                    </a:lnTo>
                    <a:lnTo>
                      <a:pt x="305687" y="6112723"/>
                    </a:lnTo>
                    <a:lnTo>
                      <a:pt x="276083" y="6137494"/>
                    </a:lnTo>
                    <a:lnTo>
                      <a:pt x="255362" y="6145368"/>
                    </a:lnTo>
                    <a:lnTo>
                      <a:pt x="234640" y="6153250"/>
                    </a:lnTo>
                    <a:lnTo>
                      <a:pt x="212580" y="6159751"/>
                    </a:lnTo>
                    <a:lnTo>
                      <a:pt x="192023" y="6169413"/>
                    </a:lnTo>
                    <a:lnTo>
                      <a:pt x="173016" y="6184773"/>
                    </a:lnTo>
                    <a:lnTo>
                      <a:pt x="150773" y="6197831"/>
                    </a:lnTo>
                    <a:lnTo>
                      <a:pt x="115258" y="6216098"/>
                    </a:lnTo>
                    <a:lnTo>
                      <a:pt x="80380" y="6236319"/>
                    </a:lnTo>
                    <a:lnTo>
                      <a:pt x="38197" y="6273962"/>
                    </a:lnTo>
                    <a:lnTo>
                      <a:pt x="16778" y="6305994"/>
                    </a:lnTo>
                    <a:lnTo>
                      <a:pt x="6443" y="6341236"/>
                    </a:lnTo>
                    <a:lnTo>
                      <a:pt x="0" y="6377602"/>
                    </a:lnTo>
                    <a:lnTo>
                      <a:pt x="2013" y="6413696"/>
                    </a:lnTo>
                    <a:lnTo>
                      <a:pt x="14607" y="6448694"/>
                    </a:lnTo>
                    <a:lnTo>
                      <a:pt x="28073" y="6472153"/>
                    </a:lnTo>
                    <a:lnTo>
                      <a:pt x="47384" y="6493249"/>
                    </a:lnTo>
                    <a:lnTo>
                      <a:pt x="71739" y="6505819"/>
                    </a:lnTo>
                    <a:lnTo>
                      <a:pt x="99610" y="6514017"/>
                    </a:lnTo>
                    <a:lnTo>
                      <a:pt x="130017" y="6512045"/>
                    </a:lnTo>
                    <a:lnTo>
                      <a:pt x="160152" y="6511260"/>
                    </a:lnTo>
                    <a:lnTo>
                      <a:pt x="190277" y="6510482"/>
                    </a:lnTo>
                    <a:lnTo>
                      <a:pt x="219618" y="6511062"/>
                    </a:lnTo>
                    <a:lnTo>
                      <a:pt x="244479" y="6523508"/>
                    </a:lnTo>
                    <a:lnTo>
                      <a:pt x="274598" y="6558947"/>
                    </a:lnTo>
                    <a:lnTo>
                      <a:pt x="288005" y="6588797"/>
                    </a:lnTo>
                    <a:lnTo>
                      <a:pt x="301415" y="6618638"/>
                    </a:lnTo>
                    <a:lnTo>
                      <a:pt x="310896" y="6651066"/>
                    </a:lnTo>
                    <a:lnTo>
                      <a:pt x="297530" y="6671767"/>
                    </a:lnTo>
                    <a:lnTo>
                      <a:pt x="263308" y="6678915"/>
                    </a:lnTo>
                    <a:lnTo>
                      <a:pt x="228374" y="6686381"/>
                    </a:lnTo>
                    <a:lnTo>
                      <a:pt x="202311" y="6701687"/>
                    </a:lnTo>
                    <a:lnTo>
                      <a:pt x="190817" y="6722350"/>
                    </a:lnTo>
                    <a:lnTo>
                      <a:pt x="194153" y="6756103"/>
                    </a:lnTo>
                    <a:lnTo>
                      <a:pt x="199219" y="6785555"/>
                    </a:lnTo>
                    <a:lnTo>
                      <a:pt x="187164" y="6806864"/>
                    </a:lnTo>
                    <a:lnTo>
                      <a:pt x="166951" y="6820027"/>
                    </a:lnTo>
                    <a:lnTo>
                      <a:pt x="148004" y="6834819"/>
                    </a:lnTo>
                    <a:lnTo>
                      <a:pt x="147008" y="6864510"/>
                    </a:lnTo>
                    <a:lnTo>
                      <a:pt x="172365" y="6877633"/>
                    </a:lnTo>
                    <a:lnTo>
                      <a:pt x="200952" y="6893480"/>
                    </a:lnTo>
                    <a:lnTo>
                      <a:pt x="229549" y="6909321"/>
                    </a:lnTo>
                    <a:lnTo>
                      <a:pt x="262087" y="6927016"/>
                    </a:lnTo>
                    <a:lnTo>
                      <a:pt x="279847" y="6957411"/>
                    </a:lnTo>
                    <a:lnTo>
                      <a:pt x="300584" y="6970344"/>
                    </a:lnTo>
                    <a:lnTo>
                      <a:pt x="326520" y="6955605"/>
                    </a:lnTo>
                    <a:lnTo>
                      <a:pt x="356019" y="6957411"/>
                    </a:lnTo>
                    <a:lnTo>
                      <a:pt x="386572" y="6964191"/>
                    </a:lnTo>
                    <a:lnTo>
                      <a:pt x="402270" y="6979168"/>
                    </a:lnTo>
                    <a:lnTo>
                      <a:pt x="417959" y="6994152"/>
                    </a:lnTo>
                    <a:lnTo>
                      <a:pt x="434070" y="7017749"/>
                    </a:lnTo>
                    <a:lnTo>
                      <a:pt x="449871" y="7058064"/>
                    </a:lnTo>
                    <a:lnTo>
                      <a:pt x="460859" y="7082312"/>
                    </a:lnTo>
                    <a:lnTo>
                      <a:pt x="468825" y="7104543"/>
                    </a:lnTo>
                    <a:lnTo>
                      <a:pt x="466195" y="7130153"/>
                    </a:lnTo>
                    <a:lnTo>
                      <a:pt x="436352" y="7156050"/>
                    </a:lnTo>
                    <a:lnTo>
                      <a:pt x="414502" y="7168237"/>
                    </a:lnTo>
                    <a:lnTo>
                      <a:pt x="392662" y="7180426"/>
                    </a:lnTo>
                    <a:lnTo>
                      <a:pt x="371906" y="7192361"/>
                    </a:lnTo>
                    <a:lnTo>
                      <a:pt x="390175" y="7278426"/>
                    </a:lnTo>
                    <a:lnTo>
                      <a:pt x="397700" y="7311887"/>
                    </a:lnTo>
                    <a:lnTo>
                      <a:pt x="418586" y="7331461"/>
                    </a:lnTo>
                    <a:lnTo>
                      <a:pt x="439471" y="7351042"/>
                    </a:lnTo>
                    <a:lnTo>
                      <a:pt x="473587" y="7356140"/>
                    </a:lnTo>
                    <a:lnTo>
                      <a:pt x="545090" y="7372271"/>
                    </a:lnTo>
                    <a:lnTo>
                      <a:pt x="557935" y="7399884"/>
                    </a:lnTo>
                    <a:lnTo>
                      <a:pt x="562769" y="7422597"/>
                    </a:lnTo>
                    <a:lnTo>
                      <a:pt x="567597" y="7445309"/>
                    </a:lnTo>
                    <a:lnTo>
                      <a:pt x="571454" y="7470000"/>
                    </a:lnTo>
                    <a:lnTo>
                      <a:pt x="576930" y="7494264"/>
                    </a:lnTo>
                    <a:lnTo>
                      <a:pt x="584532" y="7524614"/>
                    </a:lnTo>
                    <a:lnTo>
                      <a:pt x="592163" y="7554810"/>
                    </a:lnTo>
                    <a:lnTo>
                      <a:pt x="596851" y="7591228"/>
                    </a:lnTo>
                    <a:lnTo>
                      <a:pt x="595902" y="7641475"/>
                    </a:lnTo>
                    <a:lnTo>
                      <a:pt x="599496" y="7689196"/>
                    </a:lnTo>
                    <a:lnTo>
                      <a:pt x="601291" y="7713057"/>
                    </a:lnTo>
                    <a:lnTo>
                      <a:pt x="604125" y="7736739"/>
                    </a:lnTo>
                    <a:lnTo>
                      <a:pt x="613901" y="7774955"/>
                    </a:lnTo>
                    <a:lnTo>
                      <a:pt x="630777" y="7796653"/>
                    </a:lnTo>
                    <a:lnTo>
                      <a:pt x="665209" y="7811499"/>
                    </a:lnTo>
                    <a:lnTo>
                      <a:pt x="720936" y="7815996"/>
                    </a:lnTo>
                    <a:lnTo>
                      <a:pt x="777677" y="7815692"/>
                    </a:lnTo>
                    <a:lnTo>
                      <a:pt x="834421" y="7815362"/>
                    </a:lnTo>
                    <a:lnTo>
                      <a:pt x="892033" y="7809764"/>
                    </a:lnTo>
                    <a:lnTo>
                      <a:pt x="931379" y="7804811"/>
                    </a:lnTo>
                    <a:lnTo>
                      <a:pt x="943627" y="7827932"/>
                    </a:lnTo>
                    <a:lnTo>
                      <a:pt x="948941" y="7851654"/>
                    </a:lnTo>
                    <a:lnTo>
                      <a:pt x="951704" y="7882722"/>
                    </a:lnTo>
                    <a:lnTo>
                      <a:pt x="982396" y="7904868"/>
                    </a:lnTo>
                    <a:lnTo>
                      <a:pt x="1017061" y="7915585"/>
                    </a:lnTo>
                    <a:lnTo>
                      <a:pt x="1044284" y="7932673"/>
                    </a:lnTo>
                    <a:lnTo>
                      <a:pt x="1049716" y="7958511"/>
                    </a:lnTo>
                    <a:lnTo>
                      <a:pt x="1028021" y="7987793"/>
                    </a:lnTo>
                    <a:lnTo>
                      <a:pt x="1002504" y="7997494"/>
                    </a:lnTo>
                    <a:lnTo>
                      <a:pt x="978995" y="8008843"/>
                    </a:lnTo>
                    <a:lnTo>
                      <a:pt x="955477" y="8020187"/>
                    </a:lnTo>
                    <a:lnTo>
                      <a:pt x="933990" y="8033970"/>
                    </a:lnTo>
                    <a:lnTo>
                      <a:pt x="920502" y="8057811"/>
                    </a:lnTo>
                    <a:lnTo>
                      <a:pt x="915064" y="8080933"/>
                    </a:lnTo>
                    <a:lnTo>
                      <a:pt x="916422" y="8104054"/>
                    </a:lnTo>
                    <a:lnTo>
                      <a:pt x="918540" y="8125481"/>
                    </a:lnTo>
                    <a:lnTo>
                      <a:pt x="934102" y="8161186"/>
                    </a:lnTo>
                    <a:lnTo>
                      <a:pt x="955530" y="8192736"/>
                    </a:lnTo>
                    <a:lnTo>
                      <a:pt x="997347" y="8232741"/>
                    </a:lnTo>
                    <a:lnTo>
                      <a:pt x="1032182" y="8253621"/>
                    </a:lnTo>
                    <a:lnTo>
                      <a:pt x="1064683" y="8275442"/>
                    </a:lnTo>
                    <a:lnTo>
                      <a:pt x="1085574" y="8289800"/>
                    </a:lnTo>
                    <a:lnTo>
                      <a:pt x="1109071" y="8304613"/>
                    </a:lnTo>
                    <a:lnTo>
                      <a:pt x="1132688" y="8316246"/>
                    </a:lnTo>
                    <a:lnTo>
                      <a:pt x="1155369" y="8324714"/>
                    </a:lnTo>
                    <a:lnTo>
                      <a:pt x="1178911" y="8331737"/>
                    </a:lnTo>
                    <a:lnTo>
                      <a:pt x="1202060" y="8339367"/>
                    </a:lnTo>
                    <a:lnTo>
                      <a:pt x="1225206" y="8347004"/>
                    </a:lnTo>
                    <a:lnTo>
                      <a:pt x="1248501" y="8354734"/>
                    </a:lnTo>
                    <a:lnTo>
                      <a:pt x="1271433" y="8362496"/>
                    </a:lnTo>
                    <a:lnTo>
                      <a:pt x="1299751" y="8403872"/>
                    </a:lnTo>
                    <a:lnTo>
                      <a:pt x="1288809" y="8435554"/>
                    </a:lnTo>
                    <a:lnTo>
                      <a:pt x="1283677" y="8479469"/>
                    </a:lnTo>
                    <a:lnTo>
                      <a:pt x="1281113" y="8501424"/>
                    </a:lnTo>
                    <a:lnTo>
                      <a:pt x="1280670" y="8526162"/>
                    </a:lnTo>
                    <a:lnTo>
                      <a:pt x="1285038" y="8555641"/>
                    </a:lnTo>
                    <a:lnTo>
                      <a:pt x="1289404" y="8585120"/>
                    </a:lnTo>
                    <a:lnTo>
                      <a:pt x="1298675" y="8619242"/>
                    </a:lnTo>
                    <a:lnTo>
                      <a:pt x="1317681" y="8659016"/>
                    </a:lnTo>
                    <a:lnTo>
                      <a:pt x="1332105" y="8691040"/>
                    </a:lnTo>
                    <a:lnTo>
                      <a:pt x="1349503" y="8724925"/>
                    </a:lnTo>
                    <a:lnTo>
                      <a:pt x="1369365" y="8754233"/>
                    </a:lnTo>
                    <a:lnTo>
                      <a:pt x="1402011" y="8795036"/>
                    </a:lnTo>
                    <a:lnTo>
                      <a:pt x="1433296" y="8834480"/>
                    </a:lnTo>
                    <a:lnTo>
                      <a:pt x="1460553" y="8868403"/>
                    </a:lnTo>
                    <a:lnTo>
                      <a:pt x="1472742" y="8890253"/>
                    </a:lnTo>
                    <a:lnTo>
                      <a:pt x="1484936" y="8912101"/>
                    </a:lnTo>
                    <a:lnTo>
                      <a:pt x="1495308" y="8936233"/>
                    </a:lnTo>
                    <a:lnTo>
                      <a:pt x="1500566" y="8967208"/>
                    </a:lnTo>
                    <a:lnTo>
                      <a:pt x="1505384" y="8992262"/>
                    </a:lnTo>
                    <a:lnTo>
                      <a:pt x="1510265" y="9018662"/>
                    </a:lnTo>
                    <a:lnTo>
                      <a:pt x="1511663" y="9047784"/>
                    </a:lnTo>
                    <a:lnTo>
                      <a:pt x="1503921" y="9077976"/>
                    </a:lnTo>
                    <a:lnTo>
                      <a:pt x="1490421" y="9105161"/>
                    </a:lnTo>
                    <a:lnTo>
                      <a:pt x="1476927" y="9132345"/>
                    </a:lnTo>
                    <a:lnTo>
                      <a:pt x="1457217" y="9155817"/>
                    </a:lnTo>
                    <a:lnTo>
                      <a:pt x="1436021" y="9159568"/>
                    </a:lnTo>
                    <a:lnTo>
                      <a:pt x="1406991" y="9172053"/>
                    </a:lnTo>
                    <a:lnTo>
                      <a:pt x="1397934" y="9209902"/>
                    </a:lnTo>
                    <a:lnTo>
                      <a:pt x="1387020" y="9248217"/>
                    </a:lnTo>
                    <a:lnTo>
                      <a:pt x="1372097" y="9265673"/>
                    </a:lnTo>
                    <a:lnTo>
                      <a:pt x="1353899" y="9286936"/>
                    </a:lnTo>
                    <a:lnTo>
                      <a:pt x="1320115" y="9310217"/>
                    </a:lnTo>
                    <a:lnTo>
                      <a:pt x="1295924" y="9336404"/>
                    </a:lnTo>
                    <a:lnTo>
                      <a:pt x="1273616" y="9363047"/>
                    </a:lnTo>
                    <a:lnTo>
                      <a:pt x="1266543" y="9394090"/>
                    </a:lnTo>
                    <a:lnTo>
                      <a:pt x="1280961" y="9430257"/>
                    </a:lnTo>
                    <a:lnTo>
                      <a:pt x="1328115" y="9435276"/>
                    </a:lnTo>
                    <a:lnTo>
                      <a:pt x="1359849" y="9423458"/>
                    </a:lnTo>
                    <a:lnTo>
                      <a:pt x="1391584" y="9411632"/>
                    </a:lnTo>
                    <a:lnTo>
                      <a:pt x="1422317" y="9395039"/>
                    </a:lnTo>
                    <a:lnTo>
                      <a:pt x="1472267" y="9368456"/>
                    </a:lnTo>
                    <a:lnTo>
                      <a:pt x="1506336" y="9350749"/>
                    </a:lnTo>
                    <a:lnTo>
                      <a:pt x="1539395" y="9345921"/>
                    </a:lnTo>
                    <a:lnTo>
                      <a:pt x="1571877" y="9344596"/>
                    </a:lnTo>
                    <a:lnTo>
                      <a:pt x="1604851" y="9355404"/>
                    </a:lnTo>
                    <a:lnTo>
                      <a:pt x="1638688" y="9381283"/>
                    </a:lnTo>
                    <a:lnTo>
                      <a:pt x="1661499" y="9399360"/>
                    </a:lnTo>
                    <a:lnTo>
                      <a:pt x="1683898" y="9420338"/>
                    </a:lnTo>
                    <a:lnTo>
                      <a:pt x="1699903" y="9445214"/>
                    </a:lnTo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43" name="Donetsk¬0" descr="Donetsk¬0">
                <a:extLst>
                  <a:ext uri="{FF2B5EF4-FFF2-40B4-BE49-F238E27FC236}">
                    <a16:creationId xmlns:a16="http://schemas.microsoft.com/office/drawing/2014/main" id="{E219A629-7B2E-4668-853B-14367058DBBD}"/>
                  </a:ext>
                </a:extLst>
              </p:cNvPr>
              <p:cNvSpPr/>
              <p:nvPr/>
            </p:nvSpPr>
            <p:spPr>
              <a:xfrm>
                <a:off x="50391081" y="16540820"/>
                <a:ext cx="8864890" cy="12419157"/>
              </a:xfrm>
              <a:custGeom>
                <a:avLst/>
                <a:gdLst/>
                <a:ahLst/>
                <a:cxnLst/>
                <a:rect l="0" t="0" r="0" b="0"/>
                <a:pathLst>
                  <a:path w="8864896" h="12419153">
                    <a:moveTo>
                      <a:pt x="8795733" y="7136010"/>
                    </a:moveTo>
                    <a:lnTo>
                      <a:pt x="8813382" y="7077519"/>
                    </a:lnTo>
                    <a:lnTo>
                      <a:pt x="8830894" y="7020533"/>
                    </a:lnTo>
                    <a:lnTo>
                      <a:pt x="8848704" y="6962563"/>
                    </a:lnTo>
                    <a:lnTo>
                      <a:pt x="8864467" y="6906447"/>
                    </a:lnTo>
                    <a:lnTo>
                      <a:pt x="8864895" y="6865473"/>
                    </a:lnTo>
                    <a:lnTo>
                      <a:pt x="8855227" y="6840860"/>
                    </a:lnTo>
                    <a:lnTo>
                      <a:pt x="8823322" y="6826207"/>
                    </a:lnTo>
                    <a:lnTo>
                      <a:pt x="8795535" y="6808341"/>
                    </a:lnTo>
                    <a:lnTo>
                      <a:pt x="8768305" y="6788834"/>
                    </a:lnTo>
                    <a:lnTo>
                      <a:pt x="8752021" y="6765284"/>
                    </a:lnTo>
                    <a:lnTo>
                      <a:pt x="8753367" y="6733529"/>
                    </a:lnTo>
                    <a:lnTo>
                      <a:pt x="8761695" y="6700587"/>
                    </a:lnTo>
                    <a:lnTo>
                      <a:pt x="8771177" y="6668536"/>
                    </a:lnTo>
                    <a:lnTo>
                      <a:pt x="8779207" y="6635602"/>
                    </a:lnTo>
                    <a:lnTo>
                      <a:pt x="8787244" y="6602659"/>
                    </a:lnTo>
                    <a:lnTo>
                      <a:pt x="8794195" y="6568841"/>
                    </a:lnTo>
                    <a:lnTo>
                      <a:pt x="8796893" y="6534943"/>
                    </a:lnTo>
                    <a:lnTo>
                      <a:pt x="8799020" y="6507634"/>
                    </a:lnTo>
                    <a:lnTo>
                      <a:pt x="8792800" y="6477811"/>
                    </a:lnTo>
                    <a:lnTo>
                      <a:pt x="8772634" y="6456088"/>
                    </a:lnTo>
                    <a:lnTo>
                      <a:pt x="8747916" y="6446532"/>
                    </a:lnTo>
                    <a:lnTo>
                      <a:pt x="8727179" y="6438513"/>
                    </a:lnTo>
                    <a:lnTo>
                      <a:pt x="8693513" y="6427486"/>
                    </a:lnTo>
                    <a:lnTo>
                      <a:pt x="8657887" y="6418371"/>
                    </a:lnTo>
                    <a:lnTo>
                      <a:pt x="8633659" y="6412528"/>
                    </a:lnTo>
                    <a:lnTo>
                      <a:pt x="8524277" y="6386130"/>
                    </a:lnTo>
                    <a:lnTo>
                      <a:pt x="8454371" y="6373230"/>
                    </a:lnTo>
                    <a:lnTo>
                      <a:pt x="8384744" y="6369002"/>
                    </a:lnTo>
                    <a:lnTo>
                      <a:pt x="8315118" y="6364768"/>
                    </a:lnTo>
                    <a:lnTo>
                      <a:pt x="8244877" y="6369787"/>
                    </a:lnTo>
                    <a:lnTo>
                      <a:pt x="8133107" y="6378518"/>
                    </a:lnTo>
                    <a:lnTo>
                      <a:pt x="8081767" y="6376732"/>
                    </a:lnTo>
                    <a:lnTo>
                      <a:pt x="7968522" y="6232983"/>
                    </a:lnTo>
                    <a:lnTo>
                      <a:pt x="7953192" y="6213567"/>
                    </a:lnTo>
                    <a:lnTo>
                      <a:pt x="7949397" y="6191435"/>
                    </a:lnTo>
                    <a:lnTo>
                      <a:pt x="7953558" y="6167692"/>
                    </a:lnTo>
                    <a:lnTo>
                      <a:pt x="7957750" y="6143945"/>
                    </a:lnTo>
                    <a:lnTo>
                      <a:pt x="7969638" y="6119042"/>
                    </a:lnTo>
                    <a:lnTo>
                      <a:pt x="7983479" y="6094239"/>
                    </a:lnTo>
                    <a:lnTo>
                      <a:pt x="8011173" y="6044631"/>
                    </a:lnTo>
                    <a:lnTo>
                      <a:pt x="8048052" y="5996561"/>
                    </a:lnTo>
                    <a:lnTo>
                      <a:pt x="8055580" y="5962302"/>
                    </a:lnTo>
                    <a:lnTo>
                      <a:pt x="8051531" y="5938625"/>
                    </a:lnTo>
                    <a:lnTo>
                      <a:pt x="8032071" y="5916315"/>
                    </a:lnTo>
                    <a:lnTo>
                      <a:pt x="8009325" y="5898371"/>
                    </a:lnTo>
                    <a:lnTo>
                      <a:pt x="7986586" y="5880418"/>
                    </a:lnTo>
                    <a:lnTo>
                      <a:pt x="7960975" y="5866318"/>
                    </a:lnTo>
                    <a:lnTo>
                      <a:pt x="7851506" y="5800904"/>
                    </a:lnTo>
                    <a:lnTo>
                      <a:pt x="7772608" y="5763115"/>
                    </a:lnTo>
                    <a:lnTo>
                      <a:pt x="7672000" y="5729705"/>
                    </a:lnTo>
                    <a:lnTo>
                      <a:pt x="7649726" y="5722313"/>
                    </a:lnTo>
                    <a:lnTo>
                      <a:pt x="7624431" y="5719081"/>
                    </a:lnTo>
                    <a:lnTo>
                      <a:pt x="7602634" y="5710660"/>
                    </a:lnTo>
                    <a:lnTo>
                      <a:pt x="7556851" y="5693025"/>
                    </a:lnTo>
                    <a:lnTo>
                      <a:pt x="7513411" y="5669460"/>
                    </a:lnTo>
                    <a:lnTo>
                      <a:pt x="7467969" y="5650817"/>
                    </a:lnTo>
                    <a:lnTo>
                      <a:pt x="7447270" y="5642323"/>
                    </a:lnTo>
                    <a:lnTo>
                      <a:pt x="7398200" y="5626198"/>
                    </a:lnTo>
                    <a:lnTo>
                      <a:pt x="7352348" y="5605926"/>
                    </a:lnTo>
                    <a:lnTo>
                      <a:pt x="7329429" y="5595789"/>
                    </a:lnTo>
                    <a:lnTo>
                      <a:pt x="7307191" y="5584901"/>
                    </a:lnTo>
                    <a:lnTo>
                      <a:pt x="7272372" y="5561661"/>
                    </a:lnTo>
                    <a:lnTo>
                      <a:pt x="7255778" y="5536560"/>
                    </a:lnTo>
                    <a:lnTo>
                      <a:pt x="7254909" y="5491366"/>
                    </a:lnTo>
                    <a:lnTo>
                      <a:pt x="7262586" y="5464465"/>
                    </a:lnTo>
                    <a:lnTo>
                      <a:pt x="7270251" y="5437571"/>
                    </a:lnTo>
                    <a:lnTo>
                      <a:pt x="7279733" y="5410611"/>
                    </a:lnTo>
                    <a:lnTo>
                      <a:pt x="7262283" y="5344299"/>
                    </a:lnTo>
                    <a:lnTo>
                      <a:pt x="7233205" y="5298438"/>
                    </a:lnTo>
                    <a:lnTo>
                      <a:pt x="7217696" y="5250915"/>
                    </a:lnTo>
                    <a:lnTo>
                      <a:pt x="7205176" y="5212513"/>
                    </a:lnTo>
                    <a:lnTo>
                      <a:pt x="7197567" y="5171182"/>
                    </a:lnTo>
                    <a:lnTo>
                      <a:pt x="7187769" y="5131217"/>
                    </a:lnTo>
                    <a:lnTo>
                      <a:pt x="7177971" y="5091252"/>
                    </a:lnTo>
                    <a:lnTo>
                      <a:pt x="7165898" y="5052303"/>
                    </a:lnTo>
                    <a:lnTo>
                      <a:pt x="7145601" y="5016961"/>
                    </a:lnTo>
                    <a:lnTo>
                      <a:pt x="7049967" y="5016703"/>
                    </a:lnTo>
                    <a:lnTo>
                      <a:pt x="6963975" y="5034729"/>
                    </a:lnTo>
                    <a:lnTo>
                      <a:pt x="6880365" y="5046883"/>
                    </a:lnTo>
                    <a:lnTo>
                      <a:pt x="6816059" y="5056194"/>
                    </a:lnTo>
                    <a:lnTo>
                      <a:pt x="6749105" y="5048208"/>
                    </a:lnTo>
                    <a:lnTo>
                      <a:pt x="6684495" y="5045523"/>
                    </a:lnTo>
                    <a:lnTo>
                      <a:pt x="6648106" y="5019553"/>
                    </a:lnTo>
                    <a:lnTo>
                      <a:pt x="6627667" y="4961280"/>
                    </a:lnTo>
                    <a:lnTo>
                      <a:pt x="6619674" y="4910698"/>
                    </a:lnTo>
                    <a:lnTo>
                      <a:pt x="6602887" y="4859178"/>
                    </a:lnTo>
                    <a:lnTo>
                      <a:pt x="6593616" y="4830741"/>
                    </a:lnTo>
                    <a:lnTo>
                      <a:pt x="6586690" y="4805622"/>
                    </a:lnTo>
                    <a:lnTo>
                      <a:pt x="6581121" y="4774850"/>
                    </a:lnTo>
                    <a:lnTo>
                      <a:pt x="6597629" y="4758355"/>
                    </a:lnTo>
                    <a:lnTo>
                      <a:pt x="6653675" y="4748338"/>
                    </a:lnTo>
                    <a:lnTo>
                      <a:pt x="6706540" y="4747639"/>
                    </a:lnTo>
                    <a:lnTo>
                      <a:pt x="6751151" y="4735406"/>
                    </a:lnTo>
                    <a:lnTo>
                      <a:pt x="6773450" y="4729279"/>
                    </a:lnTo>
                    <a:lnTo>
                      <a:pt x="6793982" y="4719979"/>
                    </a:lnTo>
                    <a:lnTo>
                      <a:pt x="6809634" y="4705477"/>
                    </a:lnTo>
                    <a:lnTo>
                      <a:pt x="6825280" y="4690974"/>
                    </a:lnTo>
                    <a:lnTo>
                      <a:pt x="6836504" y="4671731"/>
                    </a:lnTo>
                    <a:lnTo>
                      <a:pt x="6840913" y="4644270"/>
                    </a:lnTo>
                    <a:lnTo>
                      <a:pt x="6845558" y="4615430"/>
                    </a:lnTo>
                    <a:lnTo>
                      <a:pt x="6837000" y="4583142"/>
                    </a:lnTo>
                    <a:lnTo>
                      <a:pt x="6823233" y="4553135"/>
                    </a:lnTo>
                    <a:lnTo>
                      <a:pt x="6809454" y="4523129"/>
                    </a:lnTo>
                    <a:lnTo>
                      <a:pt x="6790652" y="4495740"/>
                    </a:lnTo>
                    <a:lnTo>
                      <a:pt x="6774275" y="4474247"/>
                    </a:lnTo>
                    <a:lnTo>
                      <a:pt x="6744026" y="4434572"/>
                    </a:lnTo>
                    <a:lnTo>
                      <a:pt x="6688705" y="4420940"/>
                    </a:lnTo>
                    <a:lnTo>
                      <a:pt x="6658648" y="4383113"/>
                    </a:lnTo>
                    <a:lnTo>
                      <a:pt x="6641886" y="4361942"/>
                    </a:lnTo>
                    <a:lnTo>
                      <a:pt x="6637849" y="4339836"/>
                    </a:lnTo>
                    <a:lnTo>
                      <a:pt x="6635530" y="4316458"/>
                    </a:lnTo>
                    <a:lnTo>
                      <a:pt x="6633223" y="4293086"/>
                    </a:lnTo>
                    <a:lnTo>
                      <a:pt x="6632219" y="4268321"/>
                    </a:lnTo>
                    <a:lnTo>
                      <a:pt x="6623283" y="4245733"/>
                    </a:lnTo>
                    <a:lnTo>
                      <a:pt x="6608623" y="4208624"/>
                    </a:lnTo>
                    <a:lnTo>
                      <a:pt x="6576526" y="4184822"/>
                    </a:lnTo>
                    <a:lnTo>
                      <a:pt x="6562077" y="4145076"/>
                    </a:lnTo>
                    <a:lnTo>
                      <a:pt x="6541669" y="4136911"/>
                    </a:lnTo>
                    <a:lnTo>
                      <a:pt x="6511668" y="4168355"/>
                    </a:lnTo>
                    <a:lnTo>
                      <a:pt x="6489989" y="4191326"/>
                    </a:lnTo>
                    <a:lnTo>
                      <a:pt x="6466908" y="4212317"/>
                    </a:lnTo>
                    <a:lnTo>
                      <a:pt x="6439616" y="4222019"/>
                    </a:lnTo>
                    <a:lnTo>
                      <a:pt x="6408381" y="4213089"/>
                    </a:lnTo>
                    <a:lnTo>
                      <a:pt x="6392866" y="4175939"/>
                    </a:lnTo>
                    <a:lnTo>
                      <a:pt x="6352434" y="4173480"/>
                    </a:lnTo>
                    <a:lnTo>
                      <a:pt x="6315618" y="4173098"/>
                    </a:lnTo>
                    <a:lnTo>
                      <a:pt x="6283235" y="4164121"/>
                    </a:lnTo>
                    <a:lnTo>
                      <a:pt x="6252130" y="4151961"/>
                    </a:lnTo>
                    <a:lnTo>
                      <a:pt x="6227301" y="4132764"/>
                    </a:lnTo>
                    <a:lnTo>
                      <a:pt x="6212505" y="4104272"/>
                    </a:lnTo>
                    <a:lnTo>
                      <a:pt x="6203997" y="4078137"/>
                    </a:lnTo>
                    <a:lnTo>
                      <a:pt x="6207773" y="4042386"/>
                    </a:lnTo>
                    <a:lnTo>
                      <a:pt x="6208424" y="4015862"/>
                    </a:lnTo>
                    <a:lnTo>
                      <a:pt x="6209553" y="3970529"/>
                    </a:lnTo>
                    <a:lnTo>
                      <a:pt x="6216920" y="3921693"/>
                    </a:lnTo>
                    <a:lnTo>
                      <a:pt x="6231542" y="3878483"/>
                    </a:lnTo>
                    <a:lnTo>
                      <a:pt x="6244131" y="3852295"/>
                    </a:lnTo>
                    <a:lnTo>
                      <a:pt x="6256601" y="3807945"/>
                    </a:lnTo>
                    <a:lnTo>
                      <a:pt x="6257370" y="3767623"/>
                    </a:lnTo>
                    <a:lnTo>
                      <a:pt x="6256025" y="3735664"/>
                    </a:lnTo>
                    <a:lnTo>
                      <a:pt x="6231145" y="3714495"/>
                    </a:lnTo>
                    <a:lnTo>
                      <a:pt x="6198713" y="3708493"/>
                    </a:lnTo>
                    <a:lnTo>
                      <a:pt x="6166256" y="3703019"/>
                    </a:lnTo>
                    <a:lnTo>
                      <a:pt x="6133793" y="3697539"/>
                    </a:lnTo>
                    <a:lnTo>
                      <a:pt x="6101795" y="3691643"/>
                    </a:lnTo>
                    <a:lnTo>
                      <a:pt x="6076488" y="3669009"/>
                    </a:lnTo>
                    <a:lnTo>
                      <a:pt x="6056806" y="3637643"/>
                    </a:lnTo>
                    <a:lnTo>
                      <a:pt x="6060806" y="3596999"/>
                    </a:lnTo>
                    <a:lnTo>
                      <a:pt x="6069369" y="3574075"/>
                    </a:lnTo>
                    <a:lnTo>
                      <a:pt x="6077840" y="3550677"/>
                    </a:lnTo>
                    <a:lnTo>
                      <a:pt x="6086299" y="3527272"/>
                    </a:lnTo>
                    <a:lnTo>
                      <a:pt x="6095290" y="3504070"/>
                    </a:lnTo>
                    <a:lnTo>
                      <a:pt x="6099600" y="3481306"/>
                    </a:lnTo>
                    <a:lnTo>
                      <a:pt x="6103916" y="3458540"/>
                    </a:lnTo>
                    <a:lnTo>
                      <a:pt x="6103302" y="3437160"/>
                    </a:lnTo>
                    <a:lnTo>
                      <a:pt x="6092810" y="3418733"/>
                    </a:lnTo>
                    <a:lnTo>
                      <a:pt x="6081741" y="3399291"/>
                    </a:lnTo>
                    <a:lnTo>
                      <a:pt x="6035213" y="3298996"/>
                    </a:lnTo>
                    <a:lnTo>
                      <a:pt x="6035052" y="3273512"/>
                    </a:lnTo>
                    <a:lnTo>
                      <a:pt x="6048242" y="3251216"/>
                    </a:lnTo>
                    <a:lnTo>
                      <a:pt x="6050642" y="3229664"/>
                    </a:lnTo>
                    <a:lnTo>
                      <a:pt x="6053600" y="3202374"/>
                    </a:lnTo>
                    <a:lnTo>
                      <a:pt x="6032789" y="3153175"/>
                    </a:lnTo>
                    <a:lnTo>
                      <a:pt x="6028869" y="3124929"/>
                    </a:lnTo>
                    <a:lnTo>
                      <a:pt x="6024510" y="3093498"/>
                    </a:lnTo>
                    <a:lnTo>
                      <a:pt x="6015047" y="2978794"/>
                    </a:lnTo>
                    <a:lnTo>
                      <a:pt x="6024783" y="2952183"/>
                    </a:lnTo>
                    <a:lnTo>
                      <a:pt x="6038103" y="2915819"/>
                    </a:lnTo>
                    <a:lnTo>
                      <a:pt x="6055721" y="2895315"/>
                    </a:lnTo>
                    <a:lnTo>
                      <a:pt x="6076476" y="2877377"/>
                    </a:lnTo>
                    <a:lnTo>
                      <a:pt x="6097225" y="2859432"/>
                    </a:lnTo>
                    <a:lnTo>
                      <a:pt x="6120492" y="2845055"/>
                    </a:lnTo>
                    <a:lnTo>
                      <a:pt x="6145842" y="2818887"/>
                    </a:lnTo>
                    <a:lnTo>
                      <a:pt x="6171602" y="2792303"/>
                    </a:lnTo>
                    <a:lnTo>
                      <a:pt x="6229415" y="2709286"/>
                    </a:lnTo>
                    <a:lnTo>
                      <a:pt x="6239703" y="2670626"/>
                    </a:lnTo>
                    <a:lnTo>
                      <a:pt x="6219295" y="2643422"/>
                    </a:lnTo>
                    <a:lnTo>
                      <a:pt x="6193833" y="2638173"/>
                    </a:lnTo>
                    <a:lnTo>
                      <a:pt x="6115878" y="2656599"/>
                    </a:lnTo>
                    <a:lnTo>
                      <a:pt x="6098242" y="2673344"/>
                    </a:lnTo>
                    <a:lnTo>
                      <a:pt x="6081604" y="2631136"/>
                    </a:lnTo>
                    <a:lnTo>
                      <a:pt x="6079136" y="2574197"/>
                    </a:lnTo>
                    <a:lnTo>
                      <a:pt x="6092828" y="2542765"/>
                    </a:lnTo>
                    <a:lnTo>
                      <a:pt x="6105231" y="2514386"/>
                    </a:lnTo>
                    <a:lnTo>
                      <a:pt x="6131604" y="2490658"/>
                    </a:lnTo>
                    <a:lnTo>
                      <a:pt x="6148589" y="2465228"/>
                    </a:lnTo>
                    <a:lnTo>
                      <a:pt x="6163863" y="2442371"/>
                    </a:lnTo>
                    <a:lnTo>
                      <a:pt x="6182305" y="2402649"/>
                    </a:lnTo>
                    <a:lnTo>
                      <a:pt x="6192115" y="2363219"/>
                    </a:lnTo>
                    <a:lnTo>
                      <a:pt x="6199216" y="2324176"/>
                    </a:lnTo>
                    <a:lnTo>
                      <a:pt x="6195904" y="2287997"/>
                    </a:lnTo>
                    <a:lnTo>
                      <a:pt x="6178516" y="2258478"/>
                    </a:lnTo>
                    <a:lnTo>
                      <a:pt x="6155386" y="2232639"/>
                    </a:lnTo>
                    <a:lnTo>
                      <a:pt x="6130916" y="2206794"/>
                    </a:lnTo>
                    <a:lnTo>
                      <a:pt x="6120027" y="2180948"/>
                    </a:lnTo>
                    <a:lnTo>
                      <a:pt x="6128187" y="2152385"/>
                    </a:lnTo>
                    <a:lnTo>
                      <a:pt x="6136633" y="2133089"/>
                    </a:lnTo>
                    <a:lnTo>
                      <a:pt x="6148589" y="2112651"/>
                    </a:lnTo>
                    <a:lnTo>
                      <a:pt x="6141793" y="2078932"/>
                    </a:lnTo>
                    <a:lnTo>
                      <a:pt x="6115233" y="2048978"/>
                    </a:lnTo>
                    <a:lnTo>
                      <a:pt x="6069698" y="2045139"/>
                    </a:lnTo>
                    <a:lnTo>
                      <a:pt x="6028888" y="2038129"/>
                    </a:lnTo>
                    <a:lnTo>
                      <a:pt x="5989895" y="2030480"/>
                    </a:lnTo>
                    <a:lnTo>
                      <a:pt x="5961791" y="2015851"/>
                    </a:lnTo>
                    <a:lnTo>
                      <a:pt x="5952725" y="1990521"/>
                    </a:lnTo>
                    <a:lnTo>
                      <a:pt x="5953314" y="1958602"/>
                    </a:lnTo>
                    <a:lnTo>
                      <a:pt x="5957742" y="1922871"/>
                    </a:lnTo>
                    <a:lnTo>
                      <a:pt x="5955423" y="1891228"/>
                    </a:lnTo>
                    <a:lnTo>
                      <a:pt x="5953420" y="1863555"/>
                    </a:lnTo>
                    <a:lnTo>
                      <a:pt x="5942847" y="1812228"/>
                    </a:lnTo>
                    <a:lnTo>
                      <a:pt x="5928212" y="1762008"/>
                    </a:lnTo>
                    <a:lnTo>
                      <a:pt x="5913583" y="1711787"/>
                    </a:lnTo>
                    <a:lnTo>
                      <a:pt x="5895166" y="1663276"/>
                    </a:lnTo>
                    <a:lnTo>
                      <a:pt x="5877890" y="1639586"/>
                    </a:lnTo>
                    <a:lnTo>
                      <a:pt x="5832956" y="1637040"/>
                    </a:lnTo>
                    <a:lnTo>
                      <a:pt x="5795290" y="1599126"/>
                    </a:lnTo>
                    <a:lnTo>
                      <a:pt x="5747305" y="1597425"/>
                    </a:lnTo>
                    <a:lnTo>
                      <a:pt x="5722494" y="1596534"/>
                    </a:lnTo>
                    <a:lnTo>
                      <a:pt x="5695618" y="1603716"/>
                    </a:lnTo>
                    <a:lnTo>
                      <a:pt x="5671136" y="1601501"/>
                    </a:lnTo>
                    <a:lnTo>
                      <a:pt x="5642909" y="1598974"/>
                    </a:lnTo>
                    <a:lnTo>
                      <a:pt x="5613757" y="1586193"/>
                    </a:lnTo>
                    <a:lnTo>
                      <a:pt x="5585442" y="1582454"/>
                    </a:lnTo>
                    <a:lnTo>
                      <a:pt x="5530239" y="1575121"/>
                    </a:lnTo>
                    <a:lnTo>
                      <a:pt x="5473604" y="1575061"/>
                    </a:lnTo>
                    <a:lnTo>
                      <a:pt x="5418141" y="1568855"/>
                    </a:lnTo>
                    <a:lnTo>
                      <a:pt x="5384692" y="1565116"/>
                    </a:lnTo>
                    <a:lnTo>
                      <a:pt x="5351615" y="1553871"/>
                    </a:lnTo>
                    <a:lnTo>
                      <a:pt x="5317483" y="1555251"/>
                    </a:lnTo>
                    <a:lnTo>
                      <a:pt x="5290155" y="1540313"/>
                    </a:lnTo>
                    <a:lnTo>
                      <a:pt x="5283272" y="1511685"/>
                    </a:lnTo>
                    <a:lnTo>
                      <a:pt x="5265803" y="1487244"/>
                    </a:lnTo>
                    <a:lnTo>
                      <a:pt x="5245395" y="1476363"/>
                    </a:lnTo>
                    <a:lnTo>
                      <a:pt x="5189628" y="1480437"/>
                    </a:lnTo>
                    <a:lnTo>
                      <a:pt x="5168841" y="1460370"/>
                    </a:lnTo>
                    <a:lnTo>
                      <a:pt x="5174664" y="1436193"/>
                    </a:lnTo>
                    <a:lnTo>
                      <a:pt x="5184189" y="1412424"/>
                    </a:lnTo>
                    <a:lnTo>
                      <a:pt x="5193826" y="1388657"/>
                    </a:lnTo>
                    <a:lnTo>
                      <a:pt x="5207289" y="1364816"/>
                    </a:lnTo>
                    <a:lnTo>
                      <a:pt x="5228565" y="1350380"/>
                    </a:lnTo>
                    <a:lnTo>
                      <a:pt x="5256278" y="1359375"/>
                    </a:lnTo>
                    <a:lnTo>
                      <a:pt x="5285231" y="1367757"/>
                    </a:lnTo>
                    <a:lnTo>
                      <a:pt x="5304883" y="1336821"/>
                    </a:lnTo>
                    <a:lnTo>
                      <a:pt x="5297224" y="1308601"/>
                    </a:lnTo>
                    <a:lnTo>
                      <a:pt x="5301143" y="1283204"/>
                    </a:lnTo>
                    <a:lnTo>
                      <a:pt x="5336236" y="1286171"/>
                    </a:lnTo>
                    <a:lnTo>
                      <a:pt x="5358275" y="1284562"/>
                    </a:lnTo>
                    <a:lnTo>
                      <a:pt x="5380320" y="1282961"/>
                    </a:lnTo>
                    <a:lnTo>
                      <a:pt x="5401460" y="1279102"/>
                    </a:lnTo>
                    <a:lnTo>
                      <a:pt x="5422575" y="1246754"/>
                    </a:lnTo>
                    <a:lnTo>
                      <a:pt x="5425241" y="1219109"/>
                    </a:lnTo>
                    <a:lnTo>
                      <a:pt x="5422196" y="1189345"/>
                    </a:lnTo>
                    <a:lnTo>
                      <a:pt x="5419158" y="1159588"/>
                    </a:lnTo>
                    <a:lnTo>
                      <a:pt x="5410631" y="1126958"/>
                    </a:lnTo>
                    <a:lnTo>
                      <a:pt x="5399078" y="1095493"/>
                    </a:lnTo>
                    <a:lnTo>
                      <a:pt x="5375967" y="1032565"/>
                    </a:lnTo>
                    <a:lnTo>
                      <a:pt x="5341377" y="972070"/>
                    </a:lnTo>
                    <a:lnTo>
                      <a:pt x="5318829" y="933629"/>
                    </a:lnTo>
                    <a:lnTo>
                      <a:pt x="5292176" y="910210"/>
                    </a:lnTo>
                    <a:lnTo>
                      <a:pt x="5279501" y="874215"/>
                    </a:lnTo>
                    <a:lnTo>
                      <a:pt x="5291252" y="853849"/>
                    </a:lnTo>
                    <a:lnTo>
                      <a:pt x="5306582" y="835694"/>
                    </a:lnTo>
                    <a:lnTo>
                      <a:pt x="5321917" y="817538"/>
                    </a:lnTo>
                    <a:lnTo>
                      <a:pt x="5341104" y="802020"/>
                    </a:lnTo>
                    <a:lnTo>
                      <a:pt x="5371254" y="769705"/>
                    </a:lnTo>
                    <a:lnTo>
                      <a:pt x="5373381" y="740668"/>
                    </a:lnTo>
                    <a:lnTo>
                      <a:pt x="5371874" y="711921"/>
                    </a:lnTo>
                    <a:lnTo>
                      <a:pt x="5370348" y="683166"/>
                    </a:lnTo>
                    <a:lnTo>
                      <a:pt x="5364674" y="654598"/>
                    </a:lnTo>
                    <a:lnTo>
                      <a:pt x="5367787" y="631667"/>
                    </a:lnTo>
                    <a:lnTo>
                      <a:pt x="5376791" y="566141"/>
                    </a:lnTo>
                    <a:lnTo>
                      <a:pt x="5388276" y="496689"/>
                    </a:lnTo>
                    <a:lnTo>
                      <a:pt x="5407233" y="433075"/>
                    </a:lnTo>
                    <a:lnTo>
                      <a:pt x="5383557" y="433859"/>
                    </a:lnTo>
                    <a:lnTo>
                      <a:pt x="5208721" y="419879"/>
                    </a:lnTo>
                    <a:lnTo>
                      <a:pt x="5086279" y="532380"/>
                    </a:lnTo>
                    <a:lnTo>
                      <a:pt x="5039690" y="537228"/>
                    </a:lnTo>
                    <a:lnTo>
                      <a:pt x="4972680" y="489112"/>
                    </a:lnTo>
                    <a:lnTo>
                      <a:pt x="4939187" y="466003"/>
                    </a:lnTo>
                    <a:lnTo>
                      <a:pt x="4904014" y="449410"/>
                    </a:lnTo>
                    <a:lnTo>
                      <a:pt x="4868829" y="432817"/>
                    </a:lnTo>
                    <a:lnTo>
                      <a:pt x="4830896" y="421804"/>
                    </a:lnTo>
                    <a:lnTo>
                      <a:pt x="4765275" y="403160"/>
                    </a:lnTo>
                    <a:lnTo>
                      <a:pt x="4741512" y="387735"/>
                    </a:lnTo>
                    <a:lnTo>
                      <a:pt x="4725997" y="365589"/>
                    </a:lnTo>
                    <a:lnTo>
                      <a:pt x="4768202" y="255177"/>
                    </a:lnTo>
                    <a:lnTo>
                      <a:pt x="4774788" y="234502"/>
                    </a:lnTo>
                    <a:lnTo>
                      <a:pt x="4898061" y="228996"/>
                    </a:lnTo>
                    <a:lnTo>
                      <a:pt x="4928490" y="223615"/>
                    </a:lnTo>
                    <a:lnTo>
                      <a:pt x="4929892" y="172418"/>
                    </a:lnTo>
                    <a:lnTo>
                      <a:pt x="4902377" y="156544"/>
                    </a:lnTo>
                    <a:lnTo>
                      <a:pt x="4792201" y="147469"/>
                    </a:lnTo>
                    <a:lnTo>
                      <a:pt x="4769287" y="113823"/>
                    </a:lnTo>
                    <a:lnTo>
                      <a:pt x="4744359" y="79205"/>
                    </a:lnTo>
                    <a:lnTo>
                      <a:pt x="4716286" y="50873"/>
                    </a:lnTo>
                    <a:lnTo>
                      <a:pt x="4688207" y="22542"/>
                    </a:lnTo>
                    <a:lnTo>
                      <a:pt x="4657071" y="0"/>
                    </a:lnTo>
                    <a:lnTo>
                      <a:pt x="4631950" y="548"/>
                    </a:lnTo>
                    <a:lnTo>
                      <a:pt x="4609179" y="25002"/>
                    </a:lnTo>
                    <a:lnTo>
                      <a:pt x="4605682" y="49363"/>
                    </a:lnTo>
                    <a:lnTo>
                      <a:pt x="4602036" y="73990"/>
                    </a:lnTo>
                    <a:lnTo>
                      <a:pt x="4598383" y="98614"/>
                    </a:lnTo>
                    <a:lnTo>
                      <a:pt x="4593813" y="123266"/>
                    </a:lnTo>
                    <a:lnTo>
                      <a:pt x="4410252" y="154242"/>
                    </a:lnTo>
                    <a:lnTo>
                      <a:pt x="4372344" y="157467"/>
                    </a:lnTo>
                    <a:lnTo>
                      <a:pt x="4331193" y="151743"/>
                    </a:lnTo>
                    <a:lnTo>
                      <a:pt x="4287828" y="142003"/>
                    </a:lnTo>
                    <a:lnTo>
                      <a:pt x="4244476" y="132254"/>
                    </a:lnTo>
                    <a:lnTo>
                      <a:pt x="4199660" y="118207"/>
                    </a:lnTo>
                    <a:lnTo>
                      <a:pt x="4154534" y="102552"/>
                    </a:lnTo>
                    <a:lnTo>
                      <a:pt x="4109408" y="86902"/>
                    </a:lnTo>
                    <a:lnTo>
                      <a:pt x="4064437" y="69452"/>
                    </a:lnTo>
                    <a:lnTo>
                      <a:pt x="4021228" y="54949"/>
                    </a:lnTo>
                    <a:lnTo>
                      <a:pt x="3978018" y="40441"/>
                    </a:lnTo>
                    <a:lnTo>
                      <a:pt x="3936420" y="28603"/>
                    </a:lnTo>
                    <a:lnTo>
                      <a:pt x="3898817" y="22304"/>
                    </a:lnTo>
                    <a:lnTo>
                      <a:pt x="3848023" y="13790"/>
                    </a:lnTo>
                    <a:lnTo>
                      <a:pt x="3768877" y="18289"/>
                    </a:lnTo>
                    <a:lnTo>
                      <a:pt x="3716545" y="19588"/>
                    </a:lnTo>
                    <a:lnTo>
                      <a:pt x="3679004" y="26769"/>
                    </a:lnTo>
                    <a:lnTo>
                      <a:pt x="3616279" y="30126"/>
                    </a:lnTo>
                    <a:lnTo>
                      <a:pt x="3573764" y="22219"/>
                    </a:lnTo>
                    <a:lnTo>
                      <a:pt x="3530206" y="37268"/>
                    </a:lnTo>
                    <a:lnTo>
                      <a:pt x="3520551" y="69636"/>
                    </a:lnTo>
                    <a:lnTo>
                      <a:pt x="3428606" y="223212"/>
                    </a:lnTo>
                    <a:lnTo>
                      <a:pt x="3396900" y="248101"/>
                    </a:lnTo>
                    <a:lnTo>
                      <a:pt x="3419063" y="265149"/>
                    </a:lnTo>
                    <a:lnTo>
                      <a:pt x="3439068" y="272581"/>
                    </a:lnTo>
                    <a:lnTo>
                      <a:pt x="3459067" y="280020"/>
                    </a:lnTo>
                    <a:lnTo>
                      <a:pt x="3484529" y="286522"/>
                    </a:lnTo>
                    <a:lnTo>
                      <a:pt x="3509798" y="291628"/>
                    </a:lnTo>
                    <a:lnTo>
                      <a:pt x="3535062" y="296725"/>
                    </a:lnTo>
                    <a:lnTo>
                      <a:pt x="3560121" y="300379"/>
                    </a:lnTo>
                    <a:lnTo>
                      <a:pt x="3583251" y="302509"/>
                    </a:lnTo>
                    <a:lnTo>
                      <a:pt x="3606375" y="304639"/>
                    </a:lnTo>
                    <a:lnTo>
                      <a:pt x="3640377" y="303867"/>
                    </a:lnTo>
                    <a:lnTo>
                      <a:pt x="3663581" y="301356"/>
                    </a:lnTo>
                    <a:lnTo>
                      <a:pt x="3694922" y="290091"/>
                    </a:lnTo>
                    <a:lnTo>
                      <a:pt x="3717904" y="298427"/>
                    </a:lnTo>
                    <a:lnTo>
                      <a:pt x="3749914" y="337403"/>
                    </a:lnTo>
                    <a:lnTo>
                      <a:pt x="3778142" y="382037"/>
                    </a:lnTo>
                    <a:lnTo>
                      <a:pt x="3802246" y="426283"/>
                    </a:lnTo>
                    <a:lnTo>
                      <a:pt x="3731559" y="486995"/>
                    </a:lnTo>
                    <a:lnTo>
                      <a:pt x="3656698" y="535098"/>
                    </a:lnTo>
                    <a:lnTo>
                      <a:pt x="3581844" y="583202"/>
                    </a:lnTo>
                    <a:lnTo>
                      <a:pt x="3500974" y="631053"/>
                    </a:lnTo>
                    <a:lnTo>
                      <a:pt x="3475791" y="645279"/>
                    </a:lnTo>
                    <a:lnTo>
                      <a:pt x="3400645" y="687487"/>
                    </a:lnTo>
                    <a:lnTo>
                      <a:pt x="3342447" y="724530"/>
                    </a:lnTo>
                    <a:lnTo>
                      <a:pt x="3282643" y="758171"/>
                    </a:lnTo>
                    <a:lnTo>
                      <a:pt x="3252809" y="774942"/>
                    </a:lnTo>
                    <a:lnTo>
                      <a:pt x="3212806" y="776854"/>
                    </a:lnTo>
                    <a:lnTo>
                      <a:pt x="3186072" y="797615"/>
                    </a:lnTo>
                    <a:lnTo>
                      <a:pt x="3160226" y="817743"/>
                    </a:lnTo>
                    <a:lnTo>
                      <a:pt x="3138119" y="847564"/>
                    </a:lnTo>
                    <a:lnTo>
                      <a:pt x="3108533" y="862904"/>
                    </a:lnTo>
                    <a:lnTo>
                      <a:pt x="3072374" y="881694"/>
                    </a:lnTo>
                    <a:lnTo>
                      <a:pt x="3035762" y="896380"/>
                    </a:lnTo>
                    <a:lnTo>
                      <a:pt x="2999721" y="917320"/>
                    </a:lnTo>
                    <a:lnTo>
                      <a:pt x="2947885" y="947425"/>
                    </a:lnTo>
                    <a:lnTo>
                      <a:pt x="2917543" y="971760"/>
                    </a:lnTo>
                    <a:lnTo>
                      <a:pt x="2900428" y="993490"/>
                    </a:lnTo>
                    <a:lnTo>
                      <a:pt x="2883313" y="1015207"/>
                    </a:lnTo>
                    <a:lnTo>
                      <a:pt x="2880020" y="1051973"/>
                    </a:lnTo>
                    <a:lnTo>
                      <a:pt x="2884987" y="1086142"/>
                    </a:lnTo>
                    <a:lnTo>
                      <a:pt x="2885923" y="1121180"/>
                    </a:lnTo>
                    <a:lnTo>
                      <a:pt x="2865063" y="1160790"/>
                    </a:lnTo>
                    <a:lnTo>
                      <a:pt x="2848468" y="1175370"/>
                    </a:lnTo>
                    <a:lnTo>
                      <a:pt x="2824538" y="1181576"/>
                    </a:lnTo>
                    <a:lnTo>
                      <a:pt x="2797054" y="1185277"/>
                    </a:lnTo>
                    <a:lnTo>
                      <a:pt x="2768746" y="1190097"/>
                    </a:lnTo>
                    <a:lnTo>
                      <a:pt x="2743743" y="1202218"/>
                    </a:lnTo>
                    <a:lnTo>
                      <a:pt x="2724966" y="1227437"/>
                    </a:lnTo>
                    <a:lnTo>
                      <a:pt x="2660536" y="1331327"/>
                    </a:lnTo>
                    <a:lnTo>
                      <a:pt x="2661677" y="1370455"/>
                    </a:lnTo>
                    <a:lnTo>
                      <a:pt x="2688236" y="1385227"/>
                    </a:lnTo>
                    <a:lnTo>
                      <a:pt x="2717927" y="1398740"/>
                    </a:lnTo>
                    <a:lnTo>
                      <a:pt x="2722219" y="1442458"/>
                    </a:lnTo>
                    <a:lnTo>
                      <a:pt x="2705172" y="1469345"/>
                    </a:lnTo>
                    <a:lnTo>
                      <a:pt x="2704558" y="1499478"/>
                    </a:lnTo>
                    <a:lnTo>
                      <a:pt x="2716979" y="1527242"/>
                    </a:lnTo>
                    <a:lnTo>
                      <a:pt x="2732947" y="1553332"/>
                    </a:lnTo>
                    <a:lnTo>
                      <a:pt x="2746732" y="1578372"/>
                    </a:lnTo>
                    <a:lnTo>
                      <a:pt x="2753057" y="1603631"/>
                    </a:lnTo>
                    <a:lnTo>
                      <a:pt x="2745808" y="1629285"/>
                    </a:lnTo>
                    <a:lnTo>
                      <a:pt x="2718144" y="1655902"/>
                    </a:lnTo>
                    <a:lnTo>
                      <a:pt x="2676442" y="1664601"/>
                    </a:lnTo>
                    <a:lnTo>
                      <a:pt x="2647414" y="1662700"/>
                    </a:lnTo>
                    <a:lnTo>
                      <a:pt x="2618380" y="1660809"/>
                    </a:lnTo>
                    <a:lnTo>
                      <a:pt x="2589117" y="1655915"/>
                    </a:lnTo>
                    <a:lnTo>
                      <a:pt x="2535756" y="1670483"/>
                    </a:lnTo>
                    <a:lnTo>
                      <a:pt x="2484236" y="1732693"/>
                    </a:lnTo>
                    <a:lnTo>
                      <a:pt x="2405302" y="1768799"/>
                    </a:lnTo>
                    <a:lnTo>
                      <a:pt x="2392081" y="1815511"/>
                    </a:lnTo>
                    <a:lnTo>
                      <a:pt x="2379275" y="1868409"/>
                    </a:lnTo>
                    <a:lnTo>
                      <a:pt x="2356325" y="1911619"/>
                    </a:lnTo>
                    <a:lnTo>
                      <a:pt x="2312799" y="1900737"/>
                    </a:lnTo>
                    <a:lnTo>
                      <a:pt x="2291950" y="1907306"/>
                    </a:lnTo>
                    <a:lnTo>
                      <a:pt x="2275666" y="1930665"/>
                    </a:lnTo>
                    <a:lnTo>
                      <a:pt x="2268733" y="1963304"/>
                    </a:lnTo>
                    <a:lnTo>
                      <a:pt x="2271449" y="1991094"/>
                    </a:lnTo>
                    <a:lnTo>
                      <a:pt x="2274717" y="2019077"/>
                    </a:lnTo>
                    <a:lnTo>
                      <a:pt x="2277979" y="2047052"/>
                    </a:lnTo>
                    <a:lnTo>
                      <a:pt x="2281328" y="2075990"/>
                    </a:lnTo>
                    <a:lnTo>
                      <a:pt x="2281514" y="2097965"/>
                    </a:lnTo>
                    <a:lnTo>
                      <a:pt x="2281514" y="2119945"/>
                    </a:lnTo>
                    <a:lnTo>
                      <a:pt x="2263828" y="2138774"/>
                    </a:lnTo>
                    <a:lnTo>
                      <a:pt x="2240170" y="2145784"/>
                    </a:lnTo>
                    <a:lnTo>
                      <a:pt x="2211316" y="2153526"/>
                    </a:lnTo>
                    <a:lnTo>
                      <a:pt x="2179498" y="2160537"/>
                    </a:lnTo>
                    <a:lnTo>
                      <a:pt x="2149100" y="2164006"/>
                    </a:lnTo>
                    <a:lnTo>
                      <a:pt x="2120122" y="2162509"/>
                    </a:lnTo>
                    <a:lnTo>
                      <a:pt x="2095162" y="2153731"/>
                    </a:lnTo>
                    <a:lnTo>
                      <a:pt x="2069688" y="2134566"/>
                    </a:lnTo>
                    <a:lnTo>
                      <a:pt x="2052635" y="2110330"/>
                    </a:lnTo>
                    <a:lnTo>
                      <a:pt x="2038037" y="2085718"/>
                    </a:lnTo>
                    <a:lnTo>
                      <a:pt x="2022584" y="2063797"/>
                    </a:lnTo>
                    <a:lnTo>
                      <a:pt x="1999081" y="2050522"/>
                    </a:lnTo>
                    <a:lnTo>
                      <a:pt x="1963232" y="2050356"/>
                    </a:lnTo>
                    <a:lnTo>
                      <a:pt x="1923353" y="2058007"/>
                    </a:lnTo>
                    <a:lnTo>
                      <a:pt x="1907459" y="2072119"/>
                    </a:lnTo>
                    <a:lnTo>
                      <a:pt x="1891076" y="2096138"/>
                    </a:lnTo>
                    <a:lnTo>
                      <a:pt x="1889469" y="2127088"/>
                    </a:lnTo>
                    <a:lnTo>
                      <a:pt x="1887063" y="2156455"/>
                    </a:lnTo>
                    <a:lnTo>
                      <a:pt x="1884620" y="2185816"/>
                    </a:lnTo>
                    <a:lnTo>
                      <a:pt x="1880521" y="2213487"/>
                    </a:lnTo>
                    <a:lnTo>
                      <a:pt x="1859859" y="2232627"/>
                    </a:lnTo>
                    <a:lnTo>
                      <a:pt x="1819117" y="2236419"/>
                    </a:lnTo>
                    <a:lnTo>
                      <a:pt x="1794567" y="2224461"/>
                    </a:lnTo>
                    <a:lnTo>
                      <a:pt x="1769991" y="2212512"/>
                    </a:lnTo>
                    <a:lnTo>
                      <a:pt x="1745633" y="2196037"/>
                    </a:lnTo>
                    <a:lnTo>
                      <a:pt x="1707930" y="2190260"/>
                    </a:lnTo>
                    <a:lnTo>
                      <a:pt x="1690027" y="2210368"/>
                    </a:lnTo>
                    <a:lnTo>
                      <a:pt x="1674872" y="2233985"/>
                    </a:lnTo>
                    <a:lnTo>
                      <a:pt x="1659697" y="2257601"/>
                    </a:lnTo>
                    <a:lnTo>
                      <a:pt x="1646904" y="2285332"/>
                    </a:lnTo>
                    <a:lnTo>
                      <a:pt x="1636784" y="2341442"/>
                    </a:lnTo>
                    <a:lnTo>
                      <a:pt x="1651121" y="2362044"/>
                    </a:lnTo>
                    <a:lnTo>
                      <a:pt x="1674121" y="2375248"/>
                    </a:lnTo>
                    <a:lnTo>
                      <a:pt x="1702076" y="2383604"/>
                    </a:lnTo>
                    <a:lnTo>
                      <a:pt x="1729640" y="2392533"/>
                    </a:lnTo>
                    <a:lnTo>
                      <a:pt x="1758135" y="2401238"/>
                    </a:lnTo>
                    <a:lnTo>
                      <a:pt x="1770078" y="2421688"/>
                    </a:lnTo>
                    <a:lnTo>
                      <a:pt x="1764962" y="2456748"/>
                    </a:lnTo>
                    <a:lnTo>
                      <a:pt x="1753428" y="2487289"/>
                    </a:lnTo>
                    <a:lnTo>
                      <a:pt x="1729268" y="2512824"/>
                    </a:lnTo>
                    <a:lnTo>
                      <a:pt x="1686517" y="2492301"/>
                    </a:lnTo>
                    <a:lnTo>
                      <a:pt x="1660156" y="2461990"/>
                    </a:lnTo>
                    <a:lnTo>
                      <a:pt x="1634062" y="2442099"/>
                    </a:lnTo>
                    <a:lnTo>
                      <a:pt x="1606851" y="2431212"/>
                    </a:lnTo>
                    <a:lnTo>
                      <a:pt x="1571963" y="2418761"/>
                    </a:lnTo>
                    <a:lnTo>
                      <a:pt x="1504786" y="2380477"/>
                    </a:lnTo>
                    <a:lnTo>
                      <a:pt x="1469470" y="2361847"/>
                    </a:lnTo>
                    <a:lnTo>
                      <a:pt x="1437020" y="2344719"/>
                    </a:lnTo>
                    <a:lnTo>
                      <a:pt x="1406386" y="2325601"/>
                    </a:lnTo>
                    <a:lnTo>
                      <a:pt x="1375628" y="2310155"/>
                    </a:lnTo>
                    <a:lnTo>
                      <a:pt x="1344852" y="2294718"/>
                    </a:lnTo>
                    <a:lnTo>
                      <a:pt x="1314419" y="2282754"/>
                    </a:lnTo>
                    <a:lnTo>
                      <a:pt x="1284489" y="2276153"/>
                    </a:lnTo>
                    <a:lnTo>
                      <a:pt x="1254556" y="2269558"/>
                    </a:lnTo>
                    <a:lnTo>
                      <a:pt x="1224654" y="2269465"/>
                    </a:lnTo>
                    <a:lnTo>
                      <a:pt x="1194715" y="2278877"/>
                    </a:lnTo>
                    <a:lnTo>
                      <a:pt x="1164766" y="2288287"/>
                    </a:lnTo>
                    <a:lnTo>
                      <a:pt x="1134390" y="2306167"/>
                    </a:lnTo>
                    <a:lnTo>
                      <a:pt x="1103586" y="2338724"/>
                    </a:lnTo>
                    <a:lnTo>
                      <a:pt x="1079699" y="2363963"/>
                    </a:lnTo>
                    <a:lnTo>
                      <a:pt x="1064689" y="2398190"/>
                    </a:lnTo>
                    <a:lnTo>
                      <a:pt x="1036932" y="2420336"/>
                    </a:lnTo>
                    <a:lnTo>
                      <a:pt x="959105" y="2419505"/>
                    </a:lnTo>
                    <a:lnTo>
                      <a:pt x="883652" y="2424927"/>
                    </a:lnTo>
                    <a:lnTo>
                      <a:pt x="827463" y="2405373"/>
                    </a:lnTo>
                    <a:lnTo>
                      <a:pt x="779981" y="2388839"/>
                    </a:lnTo>
                    <a:lnTo>
                      <a:pt x="746141" y="2361417"/>
                    </a:lnTo>
                    <a:lnTo>
                      <a:pt x="703684" y="2338724"/>
                    </a:lnTo>
                    <a:lnTo>
                      <a:pt x="654546" y="2332684"/>
                    </a:lnTo>
                    <a:lnTo>
                      <a:pt x="613408" y="2330745"/>
                    </a:lnTo>
                    <a:lnTo>
                      <a:pt x="582622" y="2344166"/>
                    </a:lnTo>
                    <a:lnTo>
                      <a:pt x="563253" y="2366674"/>
                    </a:lnTo>
                    <a:lnTo>
                      <a:pt x="555762" y="2397821"/>
                    </a:lnTo>
                    <a:lnTo>
                      <a:pt x="556763" y="2433936"/>
                    </a:lnTo>
                    <a:lnTo>
                      <a:pt x="562763" y="2471104"/>
                    </a:lnTo>
                    <a:lnTo>
                      <a:pt x="578638" y="2548897"/>
                    </a:lnTo>
                    <a:lnTo>
                      <a:pt x="589316" y="2603477"/>
                    </a:lnTo>
                    <a:lnTo>
                      <a:pt x="609811" y="2661091"/>
                    </a:lnTo>
                    <a:lnTo>
                      <a:pt x="635196" y="2732460"/>
                    </a:lnTo>
                    <a:lnTo>
                      <a:pt x="643208" y="2773381"/>
                    </a:lnTo>
                    <a:lnTo>
                      <a:pt x="642457" y="2814791"/>
                    </a:lnTo>
                    <a:lnTo>
                      <a:pt x="641713" y="2856201"/>
                    </a:lnTo>
                    <a:lnTo>
                      <a:pt x="632352" y="2897565"/>
                    </a:lnTo>
                    <a:lnTo>
                      <a:pt x="627488" y="2967134"/>
                    </a:lnTo>
                    <a:lnTo>
                      <a:pt x="622052" y="3050104"/>
                    </a:lnTo>
                    <a:lnTo>
                      <a:pt x="634569" y="3093063"/>
                    </a:lnTo>
                    <a:lnTo>
                      <a:pt x="649257" y="3118117"/>
                    </a:lnTo>
                    <a:lnTo>
                      <a:pt x="663950" y="3143171"/>
                    </a:lnTo>
                    <a:lnTo>
                      <a:pt x="679574" y="3169050"/>
                    </a:lnTo>
                    <a:lnTo>
                      <a:pt x="683261" y="3190206"/>
                    </a:lnTo>
                    <a:lnTo>
                      <a:pt x="694532" y="3280299"/>
                    </a:lnTo>
                    <a:lnTo>
                      <a:pt x="711823" y="3311262"/>
                    </a:lnTo>
                    <a:lnTo>
                      <a:pt x="752289" y="3326997"/>
                    </a:lnTo>
                    <a:lnTo>
                      <a:pt x="779605" y="3320463"/>
                    </a:lnTo>
                    <a:lnTo>
                      <a:pt x="807039" y="3312628"/>
                    </a:lnTo>
                    <a:lnTo>
                      <a:pt x="834473" y="3304792"/>
                    </a:lnTo>
                    <a:lnTo>
                      <a:pt x="860980" y="3296272"/>
                    </a:lnTo>
                    <a:lnTo>
                      <a:pt x="887292" y="3294940"/>
                    </a:lnTo>
                    <a:lnTo>
                      <a:pt x="906807" y="3308295"/>
                    </a:lnTo>
                    <a:lnTo>
                      <a:pt x="916732" y="3330558"/>
                    </a:lnTo>
                    <a:lnTo>
                      <a:pt x="921296" y="3354788"/>
                    </a:lnTo>
                    <a:lnTo>
                      <a:pt x="908596" y="3372345"/>
                    </a:lnTo>
                    <a:lnTo>
                      <a:pt x="886266" y="3371546"/>
                    </a:lnTo>
                    <a:lnTo>
                      <a:pt x="866881" y="3383350"/>
                    </a:lnTo>
                    <a:lnTo>
                      <a:pt x="847586" y="3398012"/>
                    </a:lnTo>
                    <a:lnTo>
                      <a:pt x="834501" y="3428546"/>
                    </a:lnTo>
                    <a:lnTo>
                      <a:pt x="830346" y="3450824"/>
                    </a:lnTo>
                    <a:lnTo>
                      <a:pt x="830160" y="3482650"/>
                    </a:lnTo>
                    <a:lnTo>
                      <a:pt x="763507" y="3503055"/>
                    </a:lnTo>
                    <a:lnTo>
                      <a:pt x="753278" y="3550261"/>
                    </a:lnTo>
                    <a:lnTo>
                      <a:pt x="753991" y="3592824"/>
                    </a:lnTo>
                    <a:lnTo>
                      <a:pt x="754689" y="3635388"/>
                    </a:lnTo>
                    <a:lnTo>
                      <a:pt x="758878" y="3680438"/>
                    </a:lnTo>
                    <a:lnTo>
                      <a:pt x="770313" y="3704365"/>
                    </a:lnTo>
                    <a:lnTo>
                      <a:pt x="812059" y="3690205"/>
                    </a:lnTo>
                    <a:lnTo>
                      <a:pt x="857492" y="3691017"/>
                    </a:lnTo>
                    <a:lnTo>
                      <a:pt x="900891" y="3689400"/>
                    </a:lnTo>
                    <a:lnTo>
                      <a:pt x="930880" y="3674668"/>
                    </a:lnTo>
                    <a:lnTo>
                      <a:pt x="940343" y="3652674"/>
                    </a:lnTo>
                    <a:lnTo>
                      <a:pt x="949793" y="3630686"/>
                    </a:lnTo>
                    <a:lnTo>
                      <a:pt x="956261" y="3600666"/>
                    </a:lnTo>
                    <a:lnTo>
                      <a:pt x="960742" y="3571061"/>
                    </a:lnTo>
                    <a:lnTo>
                      <a:pt x="969702" y="3511859"/>
                    </a:lnTo>
                    <a:lnTo>
                      <a:pt x="970667" y="3451766"/>
                    </a:lnTo>
                    <a:lnTo>
                      <a:pt x="993577" y="3435009"/>
                    </a:lnTo>
                    <a:lnTo>
                      <a:pt x="1043692" y="3427115"/>
                    </a:lnTo>
                    <a:lnTo>
                      <a:pt x="1095403" y="3422802"/>
                    </a:lnTo>
                    <a:lnTo>
                      <a:pt x="1147112" y="3418489"/>
                    </a:lnTo>
                    <a:lnTo>
                      <a:pt x="1200777" y="3418007"/>
                    </a:lnTo>
                    <a:lnTo>
                      <a:pt x="1224623" y="3421443"/>
                    </a:lnTo>
                    <a:lnTo>
                      <a:pt x="1251859" y="3457933"/>
                    </a:lnTo>
                    <a:lnTo>
                      <a:pt x="1262326" y="3523579"/>
                    </a:lnTo>
                    <a:lnTo>
                      <a:pt x="1266791" y="3584667"/>
                    </a:lnTo>
                    <a:lnTo>
                      <a:pt x="1271240" y="3645756"/>
                    </a:lnTo>
                    <a:lnTo>
                      <a:pt x="1270620" y="3702346"/>
                    </a:lnTo>
                    <a:lnTo>
                      <a:pt x="1240259" y="3715715"/>
                    </a:lnTo>
                    <a:lnTo>
                      <a:pt x="1126220" y="3754987"/>
                    </a:lnTo>
                    <a:lnTo>
                      <a:pt x="1121774" y="3789056"/>
                    </a:lnTo>
                    <a:lnTo>
                      <a:pt x="1149856" y="3872607"/>
                    </a:lnTo>
                    <a:lnTo>
                      <a:pt x="1151167" y="3908397"/>
                    </a:lnTo>
                    <a:lnTo>
                      <a:pt x="1061393" y="3958723"/>
                    </a:lnTo>
                    <a:lnTo>
                      <a:pt x="1061861" y="3993815"/>
                    </a:lnTo>
                    <a:lnTo>
                      <a:pt x="1065489" y="4025372"/>
                    </a:lnTo>
                    <a:lnTo>
                      <a:pt x="1069234" y="4056928"/>
                    </a:lnTo>
                    <a:lnTo>
                      <a:pt x="1070202" y="4095805"/>
                    </a:lnTo>
                    <a:lnTo>
                      <a:pt x="1051883" y="4138270"/>
                    </a:lnTo>
                    <a:lnTo>
                      <a:pt x="1072155" y="4163521"/>
                    </a:lnTo>
                    <a:lnTo>
                      <a:pt x="1102333" y="4175584"/>
                    </a:lnTo>
                    <a:lnTo>
                      <a:pt x="1126694" y="4192678"/>
                    </a:lnTo>
                    <a:lnTo>
                      <a:pt x="1104134" y="4223054"/>
                    </a:lnTo>
                    <a:lnTo>
                      <a:pt x="1073079" y="4243913"/>
                    </a:lnTo>
                    <a:lnTo>
                      <a:pt x="1039636" y="4257967"/>
                    </a:lnTo>
                    <a:lnTo>
                      <a:pt x="1006147" y="4270747"/>
                    </a:lnTo>
                    <a:lnTo>
                      <a:pt x="975559" y="4278431"/>
                    </a:lnTo>
                    <a:lnTo>
                      <a:pt x="967560" y="4305569"/>
                    </a:lnTo>
                    <a:lnTo>
                      <a:pt x="964341" y="4350882"/>
                    </a:lnTo>
                    <a:lnTo>
                      <a:pt x="987528" y="4389100"/>
                    </a:lnTo>
                    <a:lnTo>
                      <a:pt x="994764" y="4433431"/>
                    </a:lnTo>
                    <a:lnTo>
                      <a:pt x="1000659" y="4469603"/>
                    </a:lnTo>
                    <a:lnTo>
                      <a:pt x="1012438" y="4563246"/>
                    </a:lnTo>
                    <a:lnTo>
                      <a:pt x="1012438" y="4600737"/>
                    </a:lnTo>
                    <a:lnTo>
                      <a:pt x="1012438" y="4641224"/>
                    </a:lnTo>
                    <a:lnTo>
                      <a:pt x="1000026" y="4672754"/>
                    </a:lnTo>
                    <a:lnTo>
                      <a:pt x="992033" y="4704112"/>
                    </a:lnTo>
                    <a:lnTo>
                      <a:pt x="984052" y="4735465"/>
                    </a:lnTo>
                    <a:lnTo>
                      <a:pt x="980691" y="4766427"/>
                    </a:lnTo>
                    <a:lnTo>
                      <a:pt x="996129" y="4808846"/>
                    </a:lnTo>
                    <a:lnTo>
                      <a:pt x="1011086" y="4833325"/>
                    </a:lnTo>
                    <a:lnTo>
                      <a:pt x="1032849" y="4836043"/>
                    </a:lnTo>
                    <a:lnTo>
                      <a:pt x="1072155" y="4813034"/>
                    </a:lnTo>
                    <a:lnTo>
                      <a:pt x="1099505" y="4806122"/>
                    </a:lnTo>
                    <a:lnTo>
                      <a:pt x="1126846" y="4799211"/>
                    </a:lnTo>
                    <a:lnTo>
                      <a:pt x="1154934" y="4798703"/>
                    </a:lnTo>
                    <a:lnTo>
                      <a:pt x="1179184" y="4830946"/>
                    </a:lnTo>
                    <a:lnTo>
                      <a:pt x="1183602" y="4859125"/>
                    </a:lnTo>
                    <a:lnTo>
                      <a:pt x="1182468" y="4880935"/>
                    </a:lnTo>
                    <a:lnTo>
                      <a:pt x="1217712" y="4879873"/>
                    </a:lnTo>
                    <a:lnTo>
                      <a:pt x="1272124" y="4883270"/>
                    </a:lnTo>
                    <a:lnTo>
                      <a:pt x="1304888" y="4898616"/>
                    </a:lnTo>
                    <a:lnTo>
                      <a:pt x="1322577" y="5008791"/>
                    </a:lnTo>
                    <a:lnTo>
                      <a:pt x="1325274" y="5038124"/>
                    </a:lnTo>
                    <a:lnTo>
                      <a:pt x="1340517" y="5064603"/>
                    </a:lnTo>
                    <a:lnTo>
                      <a:pt x="1345701" y="5093125"/>
                    </a:lnTo>
                    <a:lnTo>
                      <a:pt x="1350203" y="5117480"/>
                    </a:lnTo>
                    <a:lnTo>
                      <a:pt x="1347915" y="5144600"/>
                    </a:lnTo>
                    <a:lnTo>
                      <a:pt x="1351133" y="5169297"/>
                    </a:lnTo>
                    <a:lnTo>
                      <a:pt x="1356572" y="5210014"/>
                    </a:lnTo>
                    <a:lnTo>
                      <a:pt x="1367635" y="5252010"/>
                    </a:lnTo>
                    <a:lnTo>
                      <a:pt x="1374264" y="5293070"/>
                    </a:lnTo>
                    <a:lnTo>
                      <a:pt x="1382759" y="5345948"/>
                    </a:lnTo>
                    <a:lnTo>
                      <a:pt x="1397642" y="5415788"/>
                    </a:lnTo>
                    <a:lnTo>
                      <a:pt x="1390585" y="5468541"/>
                    </a:lnTo>
                    <a:lnTo>
                      <a:pt x="1386319" y="5500513"/>
                    </a:lnTo>
                    <a:lnTo>
                      <a:pt x="1375529" y="5519671"/>
                    </a:lnTo>
                    <a:lnTo>
                      <a:pt x="1345788" y="5545267"/>
                    </a:lnTo>
                    <a:lnTo>
                      <a:pt x="1306255" y="5554229"/>
                    </a:lnTo>
                    <a:lnTo>
                      <a:pt x="1264751" y="5558726"/>
                    </a:lnTo>
                    <a:lnTo>
                      <a:pt x="1225327" y="5566059"/>
                    </a:lnTo>
                    <a:lnTo>
                      <a:pt x="1193357" y="5586879"/>
                    </a:lnTo>
                    <a:lnTo>
                      <a:pt x="1181035" y="5617057"/>
                    </a:lnTo>
                    <a:lnTo>
                      <a:pt x="1196628" y="5716734"/>
                    </a:lnTo>
                    <a:lnTo>
                      <a:pt x="1206196" y="5804043"/>
                    </a:lnTo>
                    <a:lnTo>
                      <a:pt x="1232799" y="5891565"/>
                    </a:lnTo>
                    <a:lnTo>
                      <a:pt x="1239007" y="5911962"/>
                    </a:lnTo>
                    <a:lnTo>
                      <a:pt x="1254643" y="5931945"/>
                    </a:lnTo>
                    <a:lnTo>
                      <a:pt x="1260004" y="5954130"/>
                    </a:lnTo>
                    <a:lnTo>
                      <a:pt x="1265762" y="5978102"/>
                    </a:lnTo>
                    <a:lnTo>
                      <a:pt x="1272937" y="6024214"/>
                    </a:lnTo>
                    <a:lnTo>
                      <a:pt x="1273603" y="6069745"/>
                    </a:lnTo>
                    <a:lnTo>
                      <a:pt x="1274065" y="6092511"/>
                    </a:lnTo>
                    <a:lnTo>
                      <a:pt x="1272602" y="6115666"/>
                    </a:lnTo>
                    <a:lnTo>
                      <a:pt x="1263737" y="6154405"/>
                    </a:lnTo>
                    <a:lnTo>
                      <a:pt x="1245047" y="6181285"/>
                    </a:lnTo>
                    <a:lnTo>
                      <a:pt x="1193382" y="6229712"/>
                    </a:lnTo>
                    <a:lnTo>
                      <a:pt x="1152547" y="6262897"/>
                    </a:lnTo>
                    <a:lnTo>
                      <a:pt x="1132130" y="6279490"/>
                    </a:lnTo>
                    <a:lnTo>
                      <a:pt x="1111139" y="6295053"/>
                    </a:lnTo>
                    <a:lnTo>
                      <a:pt x="1092706" y="6305057"/>
                    </a:lnTo>
                    <a:lnTo>
                      <a:pt x="1074251" y="6315069"/>
                    </a:lnTo>
                    <a:lnTo>
                      <a:pt x="1047812" y="6314581"/>
                    </a:lnTo>
                    <a:lnTo>
                      <a:pt x="1023122" y="6303529"/>
                    </a:lnTo>
                    <a:lnTo>
                      <a:pt x="997006" y="6294308"/>
                    </a:lnTo>
                    <a:lnTo>
                      <a:pt x="973008" y="6281936"/>
                    </a:lnTo>
                    <a:lnTo>
                      <a:pt x="951539" y="6270890"/>
                    </a:lnTo>
                    <a:lnTo>
                      <a:pt x="928545" y="6250782"/>
                    </a:lnTo>
                    <a:lnTo>
                      <a:pt x="906351" y="6242492"/>
                    </a:lnTo>
                    <a:lnTo>
                      <a:pt x="884886" y="6234479"/>
                    </a:lnTo>
                    <a:lnTo>
                      <a:pt x="846181" y="6228050"/>
                    </a:lnTo>
                    <a:lnTo>
                      <a:pt x="809777" y="6218005"/>
                    </a:lnTo>
                    <a:lnTo>
                      <a:pt x="773373" y="6207967"/>
                    </a:lnTo>
                    <a:lnTo>
                      <a:pt x="739766" y="6193630"/>
                    </a:lnTo>
                    <a:lnTo>
                      <a:pt x="726806" y="6171762"/>
                    </a:lnTo>
                    <a:lnTo>
                      <a:pt x="717290" y="6117354"/>
                    </a:lnTo>
                    <a:lnTo>
                      <a:pt x="698137" y="6088791"/>
                    </a:lnTo>
                    <a:lnTo>
                      <a:pt x="675556" y="6077843"/>
                    </a:lnTo>
                    <a:lnTo>
                      <a:pt x="650633" y="6071110"/>
                    </a:lnTo>
                    <a:lnTo>
                      <a:pt x="625714" y="6064370"/>
                    </a:lnTo>
                    <a:lnTo>
                      <a:pt x="598540" y="6062181"/>
                    </a:lnTo>
                    <a:lnTo>
                      <a:pt x="570381" y="6053423"/>
                    </a:lnTo>
                    <a:lnTo>
                      <a:pt x="546277" y="6045944"/>
                    </a:lnTo>
                    <a:lnTo>
                      <a:pt x="525252" y="6034621"/>
                    </a:lnTo>
                    <a:lnTo>
                      <a:pt x="503734" y="6026219"/>
                    </a:lnTo>
                    <a:lnTo>
                      <a:pt x="482213" y="6017818"/>
                    </a:lnTo>
                    <a:lnTo>
                      <a:pt x="460459" y="6012086"/>
                    </a:lnTo>
                    <a:lnTo>
                      <a:pt x="434361" y="6016697"/>
                    </a:lnTo>
                    <a:lnTo>
                      <a:pt x="394410" y="6023799"/>
                    </a:lnTo>
                    <a:lnTo>
                      <a:pt x="355380" y="6047264"/>
                    </a:lnTo>
                    <a:lnTo>
                      <a:pt x="317382" y="6053423"/>
                    </a:lnTo>
                    <a:lnTo>
                      <a:pt x="288820" y="6049347"/>
                    </a:lnTo>
                    <a:lnTo>
                      <a:pt x="264232" y="6046076"/>
                    </a:lnTo>
                    <a:lnTo>
                      <a:pt x="228969" y="6053423"/>
                    </a:lnTo>
                    <a:lnTo>
                      <a:pt x="196010" y="6069852"/>
                    </a:lnTo>
                    <a:lnTo>
                      <a:pt x="175921" y="6083350"/>
                    </a:lnTo>
                    <a:lnTo>
                      <a:pt x="159649" y="6109882"/>
                    </a:lnTo>
                    <a:lnTo>
                      <a:pt x="154710" y="6139454"/>
                    </a:lnTo>
                    <a:lnTo>
                      <a:pt x="154158" y="6171762"/>
                    </a:lnTo>
                    <a:lnTo>
                      <a:pt x="153563" y="6204070"/>
                    </a:lnTo>
                    <a:lnTo>
                      <a:pt x="158245" y="6239314"/>
                    </a:lnTo>
                    <a:lnTo>
                      <a:pt x="162322" y="6275137"/>
                    </a:lnTo>
                    <a:lnTo>
                      <a:pt x="166371" y="6310961"/>
                    </a:lnTo>
                    <a:lnTo>
                      <a:pt x="170164" y="6346877"/>
                    </a:lnTo>
                    <a:lnTo>
                      <a:pt x="167764" y="6383953"/>
                    </a:lnTo>
                    <a:lnTo>
                      <a:pt x="165370" y="6421030"/>
                    </a:lnTo>
                    <a:lnTo>
                      <a:pt x="156459" y="6458053"/>
                    </a:lnTo>
                    <a:lnTo>
                      <a:pt x="136476" y="6494128"/>
                    </a:lnTo>
                    <a:lnTo>
                      <a:pt x="162452" y="6541479"/>
                    </a:lnTo>
                    <a:lnTo>
                      <a:pt x="176647" y="6570041"/>
                    </a:lnTo>
                    <a:lnTo>
                      <a:pt x="154031" y="6639631"/>
                    </a:lnTo>
                    <a:lnTo>
                      <a:pt x="154158" y="6676397"/>
                    </a:lnTo>
                    <a:lnTo>
                      <a:pt x="211414" y="6681924"/>
                    </a:lnTo>
                    <a:lnTo>
                      <a:pt x="246348" y="6685921"/>
                    </a:lnTo>
                    <a:lnTo>
                      <a:pt x="268415" y="6692719"/>
                    </a:lnTo>
                    <a:lnTo>
                      <a:pt x="290494" y="6699519"/>
                    </a:lnTo>
                    <a:lnTo>
                      <a:pt x="305141" y="6722641"/>
                    </a:lnTo>
                    <a:lnTo>
                      <a:pt x="314235" y="6756400"/>
                    </a:lnTo>
                    <a:lnTo>
                      <a:pt x="322821" y="6783848"/>
                    </a:lnTo>
                    <a:lnTo>
                      <a:pt x="331428" y="6811302"/>
                    </a:lnTo>
                    <a:lnTo>
                      <a:pt x="345582" y="6845834"/>
                    </a:lnTo>
                    <a:lnTo>
                      <a:pt x="375872" y="6892663"/>
                    </a:lnTo>
                    <a:lnTo>
                      <a:pt x="356958" y="6903315"/>
                    </a:lnTo>
                    <a:lnTo>
                      <a:pt x="318620" y="6909224"/>
                    </a:lnTo>
                    <a:lnTo>
                      <a:pt x="294258" y="6910741"/>
                    </a:lnTo>
                    <a:lnTo>
                      <a:pt x="269779" y="6911710"/>
                    </a:lnTo>
                    <a:lnTo>
                      <a:pt x="245294" y="6912679"/>
                    </a:lnTo>
                    <a:lnTo>
                      <a:pt x="220114" y="6912995"/>
                    </a:lnTo>
                    <a:lnTo>
                      <a:pt x="199049" y="6913068"/>
                    </a:lnTo>
                    <a:lnTo>
                      <a:pt x="177983" y="6913135"/>
                    </a:lnTo>
                    <a:lnTo>
                      <a:pt x="151445" y="6913068"/>
                    </a:lnTo>
                    <a:lnTo>
                      <a:pt x="135124" y="6951154"/>
                    </a:lnTo>
                    <a:lnTo>
                      <a:pt x="106127" y="6956977"/>
                    </a:lnTo>
                    <a:lnTo>
                      <a:pt x="67026" y="6952810"/>
                    </a:lnTo>
                    <a:lnTo>
                      <a:pt x="38541" y="6947079"/>
                    </a:lnTo>
                    <a:lnTo>
                      <a:pt x="12697" y="6970200"/>
                    </a:lnTo>
                    <a:lnTo>
                      <a:pt x="726" y="7017684"/>
                    </a:lnTo>
                    <a:lnTo>
                      <a:pt x="456" y="7049096"/>
                    </a:lnTo>
                    <a:lnTo>
                      <a:pt x="0" y="7080500"/>
                    </a:lnTo>
                    <a:lnTo>
                      <a:pt x="5113" y="7111259"/>
                    </a:lnTo>
                    <a:lnTo>
                      <a:pt x="128318" y="7145665"/>
                    </a:lnTo>
                    <a:lnTo>
                      <a:pt x="144171" y="7177465"/>
                    </a:lnTo>
                    <a:lnTo>
                      <a:pt x="153532" y="7201899"/>
                    </a:lnTo>
                    <a:lnTo>
                      <a:pt x="159597" y="7227275"/>
                    </a:lnTo>
                    <a:lnTo>
                      <a:pt x="165680" y="7252660"/>
                    </a:lnTo>
                    <a:lnTo>
                      <a:pt x="168483" y="7279158"/>
                    </a:lnTo>
                    <a:lnTo>
                      <a:pt x="160949" y="7299372"/>
                    </a:lnTo>
                    <a:lnTo>
                      <a:pt x="175782" y="7330816"/>
                    </a:lnTo>
                    <a:lnTo>
                      <a:pt x="178749" y="7365861"/>
                    </a:lnTo>
                    <a:lnTo>
                      <a:pt x="173183" y="7402747"/>
                    </a:lnTo>
                    <a:lnTo>
                      <a:pt x="166080" y="7439289"/>
                    </a:lnTo>
                    <a:lnTo>
                      <a:pt x="151315" y="7475093"/>
                    </a:lnTo>
                    <a:lnTo>
                      <a:pt x="141899" y="7504764"/>
                    </a:lnTo>
                    <a:lnTo>
                      <a:pt x="143725" y="7527121"/>
                    </a:lnTo>
                    <a:lnTo>
                      <a:pt x="154878" y="7550532"/>
                    </a:lnTo>
                    <a:lnTo>
                      <a:pt x="178625" y="7572771"/>
                    </a:lnTo>
                    <a:lnTo>
                      <a:pt x="206078" y="7589567"/>
                    </a:lnTo>
                    <a:lnTo>
                      <a:pt x="254295" y="7604471"/>
                    </a:lnTo>
                    <a:lnTo>
                      <a:pt x="291251" y="7605559"/>
                    </a:lnTo>
                    <a:lnTo>
                      <a:pt x="322802" y="7601332"/>
                    </a:lnTo>
                    <a:lnTo>
                      <a:pt x="347970" y="7597969"/>
                    </a:lnTo>
                    <a:lnTo>
                      <a:pt x="405529" y="7573661"/>
                    </a:lnTo>
                    <a:lnTo>
                      <a:pt x="426176" y="7578211"/>
                    </a:lnTo>
                    <a:lnTo>
                      <a:pt x="444999" y="7652133"/>
                    </a:lnTo>
                    <a:lnTo>
                      <a:pt x="449306" y="7714230"/>
                    </a:lnTo>
                    <a:lnTo>
                      <a:pt x="453613" y="7776329"/>
                    </a:lnTo>
                    <a:lnTo>
                      <a:pt x="456400" y="7839244"/>
                    </a:lnTo>
                    <a:lnTo>
                      <a:pt x="486746" y="7870780"/>
                    </a:lnTo>
                    <a:lnTo>
                      <a:pt x="509833" y="7891100"/>
                    </a:lnTo>
                    <a:lnTo>
                      <a:pt x="528194" y="7912823"/>
                    </a:lnTo>
                    <a:lnTo>
                      <a:pt x="552872" y="7941979"/>
                    </a:lnTo>
                    <a:lnTo>
                      <a:pt x="562440" y="7984510"/>
                    </a:lnTo>
                    <a:lnTo>
                      <a:pt x="571720" y="8027073"/>
                    </a:lnTo>
                    <a:lnTo>
                      <a:pt x="581000" y="8069643"/>
                    </a:lnTo>
                    <a:lnTo>
                      <a:pt x="589242" y="8111725"/>
                    </a:lnTo>
                    <a:lnTo>
                      <a:pt x="611163" y="8138612"/>
                    </a:lnTo>
                    <a:lnTo>
                      <a:pt x="660323" y="8161484"/>
                    </a:lnTo>
                    <a:lnTo>
                      <a:pt x="695499" y="8167175"/>
                    </a:lnTo>
                    <a:lnTo>
                      <a:pt x="730672" y="8172866"/>
                    </a:lnTo>
                    <a:lnTo>
                      <a:pt x="764595" y="8176104"/>
                    </a:lnTo>
                    <a:lnTo>
                      <a:pt x="772502" y="8210615"/>
                    </a:lnTo>
                    <a:lnTo>
                      <a:pt x="736005" y="8241012"/>
                    </a:lnTo>
                    <a:lnTo>
                      <a:pt x="648748" y="8252698"/>
                    </a:lnTo>
                    <a:lnTo>
                      <a:pt x="643347" y="8277884"/>
                    </a:lnTo>
                    <a:lnTo>
                      <a:pt x="651610" y="8305590"/>
                    </a:lnTo>
                    <a:lnTo>
                      <a:pt x="662862" y="8330399"/>
                    </a:lnTo>
                    <a:lnTo>
                      <a:pt x="674099" y="8355216"/>
                    </a:lnTo>
                    <a:lnTo>
                      <a:pt x="688805" y="8377177"/>
                    </a:lnTo>
                    <a:lnTo>
                      <a:pt x="722229" y="8380560"/>
                    </a:lnTo>
                    <a:lnTo>
                      <a:pt x="763420" y="8377968"/>
                    </a:lnTo>
                    <a:lnTo>
                      <a:pt x="789220" y="8402850"/>
                    </a:lnTo>
                    <a:lnTo>
                      <a:pt x="781602" y="8432765"/>
                    </a:lnTo>
                    <a:lnTo>
                      <a:pt x="773029" y="8466418"/>
                    </a:lnTo>
                    <a:lnTo>
                      <a:pt x="764437" y="8500072"/>
                    </a:lnTo>
                    <a:lnTo>
                      <a:pt x="754267" y="8538402"/>
                    </a:lnTo>
                    <a:lnTo>
                      <a:pt x="759424" y="8571153"/>
                    </a:lnTo>
                    <a:lnTo>
                      <a:pt x="786172" y="8586723"/>
                    </a:lnTo>
                    <a:lnTo>
                      <a:pt x="821997" y="8577959"/>
                    </a:lnTo>
                    <a:lnTo>
                      <a:pt x="863321" y="8562645"/>
                    </a:lnTo>
                    <a:lnTo>
                      <a:pt x="884570" y="8552112"/>
                    </a:lnTo>
                    <a:lnTo>
                      <a:pt x="927060" y="8531049"/>
                    </a:lnTo>
                    <a:lnTo>
                      <a:pt x="967566" y="8508118"/>
                    </a:lnTo>
                    <a:lnTo>
                      <a:pt x="998609" y="8513560"/>
                    </a:lnTo>
                    <a:lnTo>
                      <a:pt x="1017451" y="8533239"/>
                    </a:lnTo>
                    <a:lnTo>
                      <a:pt x="1040145" y="8566820"/>
                    </a:lnTo>
                    <a:lnTo>
                      <a:pt x="1053325" y="8592705"/>
                    </a:lnTo>
                    <a:lnTo>
                      <a:pt x="1068192" y="8616043"/>
                    </a:lnTo>
                    <a:lnTo>
                      <a:pt x="1092848" y="8654723"/>
                    </a:lnTo>
                    <a:lnTo>
                      <a:pt x="1125777" y="8692367"/>
                    </a:lnTo>
                    <a:lnTo>
                      <a:pt x="1157973" y="8730300"/>
                    </a:lnTo>
                    <a:lnTo>
                      <a:pt x="1190151" y="8768234"/>
                    </a:lnTo>
                    <a:lnTo>
                      <a:pt x="1220667" y="8806940"/>
                    </a:lnTo>
                    <a:lnTo>
                      <a:pt x="1239580" y="8848640"/>
                    </a:lnTo>
                    <a:lnTo>
                      <a:pt x="1272053" y="8844617"/>
                    </a:lnTo>
                    <a:lnTo>
                      <a:pt x="1299598" y="8820019"/>
                    </a:lnTo>
                    <a:lnTo>
                      <a:pt x="1322549" y="8794231"/>
                    </a:lnTo>
                    <a:lnTo>
                      <a:pt x="1341348" y="8775021"/>
                    </a:lnTo>
                    <a:lnTo>
                      <a:pt x="1418962" y="8721972"/>
                    </a:lnTo>
                    <a:lnTo>
                      <a:pt x="1446334" y="8708537"/>
                    </a:lnTo>
                    <a:lnTo>
                      <a:pt x="1482642" y="8743016"/>
                    </a:lnTo>
                    <a:lnTo>
                      <a:pt x="1496607" y="8762425"/>
                    </a:lnTo>
                    <a:lnTo>
                      <a:pt x="1521194" y="8787940"/>
                    </a:lnTo>
                    <a:lnTo>
                      <a:pt x="1541540" y="8798307"/>
                    </a:lnTo>
                    <a:lnTo>
                      <a:pt x="1562785" y="8806947"/>
                    </a:lnTo>
                    <a:lnTo>
                      <a:pt x="1584775" y="8807613"/>
                    </a:lnTo>
                    <a:lnTo>
                      <a:pt x="1619074" y="8837751"/>
                    </a:lnTo>
                    <a:lnTo>
                      <a:pt x="1659803" y="8873542"/>
                    </a:lnTo>
                    <a:lnTo>
                      <a:pt x="1681854" y="8951711"/>
                    </a:lnTo>
                    <a:lnTo>
                      <a:pt x="1725169" y="8991453"/>
                    </a:lnTo>
                    <a:lnTo>
                      <a:pt x="1747828" y="9012201"/>
                    </a:lnTo>
                    <a:lnTo>
                      <a:pt x="1775845" y="9027922"/>
                    </a:lnTo>
                    <a:lnTo>
                      <a:pt x="1798622" y="9048584"/>
                    </a:lnTo>
                    <a:lnTo>
                      <a:pt x="1822596" y="9070261"/>
                    </a:lnTo>
                    <a:lnTo>
                      <a:pt x="1839339" y="9103071"/>
                    </a:lnTo>
                    <a:lnTo>
                      <a:pt x="1866631" y="9124755"/>
                    </a:lnTo>
                    <a:lnTo>
                      <a:pt x="1900259" y="9151366"/>
                    </a:lnTo>
                    <a:lnTo>
                      <a:pt x="1939445" y="9171216"/>
                    </a:lnTo>
                    <a:lnTo>
                      <a:pt x="1972726" y="9198202"/>
                    </a:lnTo>
                    <a:lnTo>
                      <a:pt x="1993085" y="9214762"/>
                    </a:lnTo>
                    <a:lnTo>
                      <a:pt x="2010523" y="9239111"/>
                    </a:lnTo>
                    <a:lnTo>
                      <a:pt x="2025771" y="9264852"/>
                    </a:lnTo>
                    <a:lnTo>
                      <a:pt x="2041032" y="9290596"/>
                    </a:lnTo>
                    <a:lnTo>
                      <a:pt x="2054917" y="9317602"/>
                    </a:lnTo>
                    <a:lnTo>
                      <a:pt x="2067939" y="9339663"/>
                    </a:lnTo>
                    <a:lnTo>
                      <a:pt x="2073719" y="9361044"/>
                    </a:lnTo>
                    <a:lnTo>
                      <a:pt x="2101940" y="9377747"/>
                    </a:lnTo>
                    <a:lnTo>
                      <a:pt x="2135104" y="9358242"/>
                    </a:lnTo>
                    <a:lnTo>
                      <a:pt x="2145448" y="9308378"/>
                    </a:lnTo>
                    <a:lnTo>
                      <a:pt x="2226937" y="9294094"/>
                    </a:lnTo>
                    <a:lnTo>
                      <a:pt x="2278841" y="9323301"/>
                    </a:lnTo>
                    <a:lnTo>
                      <a:pt x="2327719" y="9326064"/>
                    </a:lnTo>
                    <a:lnTo>
                      <a:pt x="2355593" y="9327636"/>
                    </a:lnTo>
                    <a:lnTo>
                      <a:pt x="2386419" y="9306167"/>
                    </a:lnTo>
                    <a:lnTo>
                      <a:pt x="2416129" y="9311100"/>
                    </a:lnTo>
                    <a:lnTo>
                      <a:pt x="2429703" y="9355947"/>
                    </a:lnTo>
                    <a:lnTo>
                      <a:pt x="2410083" y="9384435"/>
                    </a:lnTo>
                    <a:lnTo>
                      <a:pt x="2390282" y="9413119"/>
                    </a:lnTo>
                    <a:lnTo>
                      <a:pt x="2370501" y="9441793"/>
                    </a:lnTo>
                    <a:lnTo>
                      <a:pt x="2350117" y="9470644"/>
                    </a:lnTo>
                    <a:lnTo>
                      <a:pt x="2344040" y="9501529"/>
                    </a:lnTo>
                    <a:lnTo>
                      <a:pt x="2338478" y="9529834"/>
                    </a:lnTo>
                    <a:lnTo>
                      <a:pt x="2354160" y="9565243"/>
                    </a:lnTo>
                    <a:lnTo>
                      <a:pt x="2345392" y="9589939"/>
                    </a:lnTo>
                    <a:lnTo>
                      <a:pt x="2321617" y="9611959"/>
                    </a:lnTo>
                    <a:lnTo>
                      <a:pt x="2304055" y="9648695"/>
                    </a:lnTo>
                    <a:lnTo>
                      <a:pt x="2293711" y="9687874"/>
                    </a:lnTo>
                    <a:lnTo>
                      <a:pt x="2283362" y="9727053"/>
                    </a:lnTo>
                    <a:lnTo>
                      <a:pt x="2280751" y="9769274"/>
                    </a:lnTo>
                    <a:lnTo>
                      <a:pt x="2285551" y="9800773"/>
                    </a:lnTo>
                    <a:lnTo>
                      <a:pt x="2288980" y="9823348"/>
                    </a:lnTo>
                    <a:lnTo>
                      <a:pt x="2303745" y="9846593"/>
                    </a:lnTo>
                    <a:lnTo>
                      <a:pt x="2299150" y="9870145"/>
                    </a:lnTo>
                    <a:lnTo>
                      <a:pt x="2281173" y="9892243"/>
                    </a:lnTo>
                    <a:lnTo>
                      <a:pt x="2241088" y="9915070"/>
                    </a:lnTo>
                    <a:lnTo>
                      <a:pt x="2216172" y="9927270"/>
                    </a:lnTo>
                    <a:lnTo>
                      <a:pt x="2203770" y="9891161"/>
                    </a:lnTo>
                    <a:lnTo>
                      <a:pt x="2186493" y="9852732"/>
                    </a:lnTo>
                    <a:lnTo>
                      <a:pt x="2161763" y="9823894"/>
                    </a:lnTo>
                    <a:lnTo>
                      <a:pt x="2136065" y="9798252"/>
                    </a:lnTo>
                    <a:lnTo>
                      <a:pt x="2103149" y="9781527"/>
                    </a:lnTo>
                    <a:lnTo>
                      <a:pt x="2062476" y="9776284"/>
                    </a:lnTo>
                    <a:lnTo>
                      <a:pt x="2041516" y="9783071"/>
                    </a:lnTo>
                    <a:lnTo>
                      <a:pt x="2016228" y="9803495"/>
                    </a:lnTo>
                    <a:lnTo>
                      <a:pt x="1997277" y="9826387"/>
                    </a:lnTo>
                    <a:lnTo>
                      <a:pt x="1980682" y="9867876"/>
                    </a:lnTo>
                    <a:lnTo>
                      <a:pt x="1976838" y="9900453"/>
                    </a:lnTo>
                    <a:lnTo>
                      <a:pt x="1961818" y="9935434"/>
                    </a:lnTo>
                    <a:lnTo>
                      <a:pt x="1953286" y="9955303"/>
                    </a:lnTo>
                    <a:lnTo>
                      <a:pt x="1937733" y="9974799"/>
                    </a:lnTo>
                    <a:lnTo>
                      <a:pt x="1925095" y="9995282"/>
                    </a:lnTo>
                    <a:lnTo>
                      <a:pt x="1912451" y="10015758"/>
                    </a:lnTo>
                    <a:lnTo>
                      <a:pt x="1902610" y="10038209"/>
                    </a:lnTo>
                    <a:lnTo>
                      <a:pt x="1903335" y="10061932"/>
                    </a:lnTo>
                    <a:lnTo>
                      <a:pt x="1904123" y="10087137"/>
                    </a:lnTo>
                    <a:lnTo>
                      <a:pt x="1915397" y="10138867"/>
                    </a:lnTo>
                    <a:lnTo>
                      <a:pt x="1903335" y="10161222"/>
                    </a:lnTo>
                    <a:lnTo>
                      <a:pt x="1885389" y="10183159"/>
                    </a:lnTo>
                    <a:lnTo>
                      <a:pt x="1773935" y="10220394"/>
                    </a:lnTo>
                    <a:lnTo>
                      <a:pt x="1748269" y="10226514"/>
                    </a:lnTo>
                    <a:lnTo>
                      <a:pt x="1688527" y="10229652"/>
                    </a:lnTo>
                    <a:lnTo>
                      <a:pt x="1644895" y="10225153"/>
                    </a:lnTo>
                    <a:lnTo>
                      <a:pt x="1601258" y="10220657"/>
                    </a:lnTo>
                    <a:lnTo>
                      <a:pt x="1558283" y="10212704"/>
                    </a:lnTo>
                    <a:lnTo>
                      <a:pt x="1546799" y="10188216"/>
                    </a:lnTo>
                    <a:lnTo>
                      <a:pt x="1530632" y="10168028"/>
                    </a:lnTo>
                    <a:lnTo>
                      <a:pt x="1510069" y="10156252"/>
                    </a:lnTo>
                    <a:lnTo>
                      <a:pt x="1480316" y="10174868"/>
                    </a:lnTo>
                    <a:lnTo>
                      <a:pt x="1455828" y="10166670"/>
                    </a:lnTo>
                    <a:lnTo>
                      <a:pt x="1424549" y="10127221"/>
                    </a:lnTo>
                    <a:lnTo>
                      <a:pt x="1399298" y="10129903"/>
                    </a:lnTo>
                    <a:lnTo>
                      <a:pt x="1354147" y="10151409"/>
                    </a:lnTo>
                    <a:lnTo>
                      <a:pt x="1341571" y="10172111"/>
                    </a:lnTo>
                    <a:lnTo>
                      <a:pt x="1328815" y="10193130"/>
                    </a:lnTo>
                    <a:lnTo>
                      <a:pt x="1323888" y="10222437"/>
                    </a:lnTo>
                    <a:lnTo>
                      <a:pt x="1328381" y="10248482"/>
                    </a:lnTo>
                    <a:lnTo>
                      <a:pt x="1351611" y="10280526"/>
                    </a:lnTo>
                    <a:lnTo>
                      <a:pt x="1377463" y="10298587"/>
                    </a:lnTo>
                    <a:lnTo>
                      <a:pt x="1393252" y="10331252"/>
                    </a:lnTo>
                    <a:lnTo>
                      <a:pt x="1406287" y="10358159"/>
                    </a:lnTo>
                    <a:lnTo>
                      <a:pt x="1422081" y="10422614"/>
                    </a:lnTo>
                    <a:lnTo>
                      <a:pt x="1431345" y="10486312"/>
                    </a:lnTo>
                    <a:lnTo>
                      <a:pt x="1440610" y="10550020"/>
                    </a:lnTo>
                    <a:lnTo>
                      <a:pt x="1444244" y="10613542"/>
                    </a:lnTo>
                    <a:lnTo>
                      <a:pt x="1434043" y="10641379"/>
                    </a:lnTo>
                    <a:lnTo>
                      <a:pt x="1418484" y="10658730"/>
                    </a:lnTo>
                    <a:lnTo>
                      <a:pt x="1395193" y="10668614"/>
                    </a:lnTo>
                    <a:lnTo>
                      <a:pt x="1368751" y="10674022"/>
                    </a:lnTo>
                    <a:lnTo>
                      <a:pt x="1342309" y="10679432"/>
                    </a:lnTo>
                    <a:lnTo>
                      <a:pt x="1312677" y="10680446"/>
                    </a:lnTo>
                    <a:lnTo>
                      <a:pt x="1283060" y="10680821"/>
                    </a:lnTo>
                    <a:lnTo>
                      <a:pt x="1253434" y="10681218"/>
                    </a:lnTo>
                    <a:lnTo>
                      <a:pt x="1223829" y="10679925"/>
                    </a:lnTo>
                    <a:lnTo>
                      <a:pt x="1198724" y="10682182"/>
                    </a:lnTo>
                    <a:lnTo>
                      <a:pt x="1173625" y="10684437"/>
                    </a:lnTo>
                    <a:lnTo>
                      <a:pt x="1153114" y="10690173"/>
                    </a:lnTo>
                    <a:lnTo>
                      <a:pt x="1133435" y="10721631"/>
                    </a:lnTo>
                    <a:lnTo>
                      <a:pt x="1154603" y="10767151"/>
                    </a:lnTo>
                    <a:lnTo>
                      <a:pt x="1186278" y="10791168"/>
                    </a:lnTo>
                    <a:lnTo>
                      <a:pt x="1220487" y="10825002"/>
                    </a:lnTo>
                    <a:lnTo>
                      <a:pt x="1236762" y="10841112"/>
                    </a:lnTo>
                    <a:lnTo>
                      <a:pt x="1249319" y="10860581"/>
                    </a:lnTo>
                    <a:lnTo>
                      <a:pt x="1269455" y="10875333"/>
                    </a:lnTo>
                    <a:lnTo>
                      <a:pt x="1298743" y="10896669"/>
                    </a:lnTo>
                    <a:lnTo>
                      <a:pt x="1333299" y="10901639"/>
                    </a:lnTo>
                    <a:lnTo>
                      <a:pt x="1366029" y="10914776"/>
                    </a:lnTo>
                    <a:lnTo>
                      <a:pt x="1400885" y="10928719"/>
                    </a:lnTo>
                    <a:lnTo>
                      <a:pt x="1507322" y="10987506"/>
                    </a:lnTo>
                    <a:lnTo>
                      <a:pt x="1527898" y="11014069"/>
                    </a:lnTo>
                    <a:lnTo>
                      <a:pt x="1551940" y="11045100"/>
                    </a:lnTo>
                    <a:lnTo>
                      <a:pt x="1572540" y="11079439"/>
                    </a:lnTo>
                    <a:lnTo>
                      <a:pt x="1589103" y="11116085"/>
                    </a:lnTo>
                    <a:lnTo>
                      <a:pt x="1605660" y="11152734"/>
                    </a:lnTo>
                    <a:lnTo>
                      <a:pt x="1618026" y="11190641"/>
                    </a:lnTo>
                    <a:lnTo>
                      <a:pt x="1629907" y="11227619"/>
                    </a:lnTo>
                    <a:lnTo>
                      <a:pt x="1637268" y="11250616"/>
                    </a:lnTo>
                    <a:lnTo>
                      <a:pt x="1657118" y="11375542"/>
                    </a:lnTo>
                    <a:lnTo>
                      <a:pt x="1719508" y="11416522"/>
                    </a:lnTo>
                    <a:lnTo>
                      <a:pt x="1780335" y="11457794"/>
                    </a:lnTo>
                    <a:lnTo>
                      <a:pt x="1817616" y="11507822"/>
                    </a:lnTo>
                    <a:lnTo>
                      <a:pt x="1837256" y="11477855"/>
                    </a:lnTo>
                    <a:lnTo>
                      <a:pt x="1859908" y="11443978"/>
                    </a:lnTo>
                    <a:lnTo>
                      <a:pt x="1880186" y="11423495"/>
                    </a:lnTo>
                    <a:lnTo>
                      <a:pt x="1916184" y="11452821"/>
                    </a:lnTo>
                    <a:lnTo>
                      <a:pt x="1939438" y="11485975"/>
                    </a:lnTo>
                    <a:lnTo>
                      <a:pt x="1963158" y="11506464"/>
                    </a:lnTo>
                    <a:lnTo>
                      <a:pt x="1981476" y="11522320"/>
                    </a:lnTo>
                    <a:lnTo>
                      <a:pt x="2003986" y="11533253"/>
                    </a:lnTo>
                    <a:lnTo>
                      <a:pt x="2024364" y="11545910"/>
                    </a:lnTo>
                    <a:lnTo>
                      <a:pt x="2044747" y="11558566"/>
                    </a:lnTo>
                    <a:lnTo>
                      <a:pt x="2063003" y="11573542"/>
                    </a:lnTo>
                    <a:lnTo>
                      <a:pt x="2076050" y="11596235"/>
                    </a:lnTo>
                    <a:lnTo>
                      <a:pt x="2074531" y="11619316"/>
                    </a:lnTo>
                    <a:lnTo>
                      <a:pt x="2058520" y="11641166"/>
                    </a:lnTo>
                    <a:lnTo>
                      <a:pt x="2033889" y="11662888"/>
                    </a:lnTo>
                    <a:lnTo>
                      <a:pt x="2008364" y="11684527"/>
                    </a:lnTo>
                    <a:lnTo>
                      <a:pt x="1980459" y="11706858"/>
                    </a:lnTo>
                    <a:lnTo>
                      <a:pt x="1972677" y="11733619"/>
                    </a:lnTo>
                    <a:lnTo>
                      <a:pt x="1981817" y="11761245"/>
                    </a:lnTo>
                    <a:lnTo>
                      <a:pt x="2002356" y="11784242"/>
                    </a:lnTo>
                    <a:lnTo>
                      <a:pt x="2023005" y="11808427"/>
                    </a:lnTo>
                    <a:lnTo>
                      <a:pt x="2043655" y="11832615"/>
                    </a:lnTo>
                    <a:lnTo>
                      <a:pt x="2064088" y="11858117"/>
                    </a:lnTo>
                    <a:lnTo>
                      <a:pt x="2070618" y="11891402"/>
                    </a:lnTo>
                    <a:lnTo>
                      <a:pt x="2055481" y="11918904"/>
                    </a:lnTo>
                    <a:lnTo>
                      <a:pt x="1991553" y="11960985"/>
                    </a:lnTo>
                    <a:lnTo>
                      <a:pt x="1967238" y="11977089"/>
                    </a:lnTo>
                    <a:lnTo>
                      <a:pt x="1934043" y="11966678"/>
                    </a:lnTo>
                    <a:lnTo>
                      <a:pt x="1879721" y="11931440"/>
                    </a:lnTo>
                    <a:lnTo>
                      <a:pt x="1852343" y="11946022"/>
                    </a:lnTo>
                    <a:lnTo>
                      <a:pt x="1831389" y="11957630"/>
                    </a:lnTo>
                    <a:lnTo>
                      <a:pt x="1817499" y="11976457"/>
                    </a:lnTo>
                    <a:lnTo>
                      <a:pt x="1799937" y="11992053"/>
                    </a:lnTo>
                    <a:lnTo>
                      <a:pt x="1779064" y="12006188"/>
                    </a:lnTo>
                    <a:lnTo>
                      <a:pt x="1759933" y="12025167"/>
                    </a:lnTo>
                    <a:lnTo>
                      <a:pt x="1673390" y="12111283"/>
                    </a:lnTo>
                    <a:lnTo>
                      <a:pt x="1667988" y="12132156"/>
                    </a:lnTo>
                    <a:lnTo>
                      <a:pt x="1677687" y="12186987"/>
                    </a:lnTo>
                    <a:lnTo>
                      <a:pt x="1733281" y="12296738"/>
                    </a:lnTo>
                    <a:lnTo>
                      <a:pt x="1787690" y="12396031"/>
                    </a:lnTo>
                    <a:lnTo>
                      <a:pt x="1852510" y="12362542"/>
                    </a:lnTo>
                    <a:lnTo>
                      <a:pt x="1910789" y="12344261"/>
                    </a:lnTo>
                    <a:lnTo>
                      <a:pt x="1965874" y="12315785"/>
                    </a:lnTo>
                    <a:lnTo>
                      <a:pt x="2020544" y="12287474"/>
                    </a:lnTo>
                    <a:lnTo>
                      <a:pt x="2103987" y="12272343"/>
                    </a:lnTo>
                    <a:lnTo>
                      <a:pt x="2169911" y="12238249"/>
                    </a:lnTo>
                    <a:lnTo>
                      <a:pt x="2238515" y="12202762"/>
                    </a:lnTo>
                    <a:lnTo>
                      <a:pt x="2293184" y="12137129"/>
                    </a:lnTo>
                    <a:lnTo>
                      <a:pt x="2365775" y="12111751"/>
                    </a:lnTo>
                    <a:lnTo>
                      <a:pt x="2398300" y="12100363"/>
                    </a:lnTo>
                    <a:lnTo>
                      <a:pt x="2492106" y="12078045"/>
                    </a:lnTo>
                    <a:lnTo>
                      <a:pt x="2523564" y="12085914"/>
                    </a:lnTo>
                    <a:lnTo>
                      <a:pt x="2578519" y="12099637"/>
                    </a:lnTo>
                    <a:lnTo>
                      <a:pt x="2616439" y="12168963"/>
                    </a:lnTo>
                    <a:lnTo>
                      <a:pt x="2662297" y="12198803"/>
                    </a:lnTo>
                    <a:lnTo>
                      <a:pt x="2691244" y="12217633"/>
                    </a:lnTo>
                    <a:lnTo>
                      <a:pt x="2767115" y="12234423"/>
                    </a:lnTo>
                    <a:lnTo>
                      <a:pt x="2777918" y="12266817"/>
                    </a:lnTo>
                    <a:lnTo>
                      <a:pt x="2794878" y="12317738"/>
                    </a:lnTo>
                    <a:lnTo>
                      <a:pt x="2735781" y="12358204"/>
                    </a:lnTo>
                    <a:lnTo>
                      <a:pt x="2739830" y="12400115"/>
                    </a:lnTo>
                    <a:lnTo>
                      <a:pt x="2765670" y="12419152"/>
                    </a:lnTo>
                    <a:lnTo>
                      <a:pt x="2822206" y="12397985"/>
                    </a:lnTo>
                    <a:lnTo>
                      <a:pt x="2903522" y="12228172"/>
                    </a:lnTo>
                    <a:lnTo>
                      <a:pt x="2931620" y="12174318"/>
                    </a:lnTo>
                    <a:lnTo>
                      <a:pt x="2962055" y="12115912"/>
                    </a:lnTo>
                    <a:lnTo>
                      <a:pt x="2996614" y="12040810"/>
                    </a:lnTo>
                    <a:lnTo>
                      <a:pt x="3036351" y="11989331"/>
                    </a:lnTo>
                    <a:lnTo>
                      <a:pt x="3057355" y="11962126"/>
                    </a:lnTo>
                    <a:lnTo>
                      <a:pt x="3090209" y="11945336"/>
                    </a:lnTo>
                    <a:lnTo>
                      <a:pt x="3109804" y="11915884"/>
                    </a:lnTo>
                    <a:lnTo>
                      <a:pt x="3161454" y="11838394"/>
                    </a:lnTo>
                    <a:lnTo>
                      <a:pt x="3201191" y="11750958"/>
                    </a:lnTo>
                    <a:lnTo>
                      <a:pt x="3258068" y="11677846"/>
                    </a:lnTo>
                    <a:lnTo>
                      <a:pt x="3319702" y="11598616"/>
                    </a:lnTo>
                    <a:lnTo>
                      <a:pt x="3392646" y="11529501"/>
                    </a:lnTo>
                    <a:lnTo>
                      <a:pt x="3453938" y="11450691"/>
                    </a:lnTo>
                    <a:lnTo>
                      <a:pt x="3497291" y="11394880"/>
                    </a:lnTo>
                    <a:lnTo>
                      <a:pt x="3506729" y="11330909"/>
                    </a:lnTo>
                    <a:lnTo>
                      <a:pt x="3573633" y="11291550"/>
                    </a:lnTo>
                    <a:lnTo>
                      <a:pt x="3624340" y="11261623"/>
                    </a:lnTo>
                    <a:lnTo>
                      <a:pt x="3647979" y="11271489"/>
                    </a:lnTo>
                    <a:lnTo>
                      <a:pt x="3701489" y="11279309"/>
                    </a:lnTo>
                    <a:lnTo>
                      <a:pt x="3727205" y="11283088"/>
                    </a:lnTo>
                    <a:lnTo>
                      <a:pt x="3756493" y="11279507"/>
                    </a:lnTo>
                    <a:lnTo>
                      <a:pt x="3781745" y="11286108"/>
                    </a:lnTo>
                    <a:lnTo>
                      <a:pt x="3827863" y="11298225"/>
                    </a:lnTo>
                    <a:lnTo>
                      <a:pt x="3871432" y="11332781"/>
                    </a:lnTo>
                    <a:lnTo>
                      <a:pt x="3917761" y="11343234"/>
                    </a:lnTo>
                    <a:lnTo>
                      <a:pt x="3971197" y="11355224"/>
                    </a:lnTo>
                    <a:lnTo>
                      <a:pt x="4039887" y="11342173"/>
                    </a:lnTo>
                    <a:lnTo>
                      <a:pt x="4095952" y="11348675"/>
                    </a:lnTo>
                    <a:lnTo>
                      <a:pt x="4145896" y="11354420"/>
                    </a:lnTo>
                    <a:lnTo>
                      <a:pt x="4193037" y="11376689"/>
                    </a:lnTo>
                    <a:lnTo>
                      <a:pt x="4244209" y="11374522"/>
                    </a:lnTo>
                    <a:lnTo>
                      <a:pt x="4296870" y="11372311"/>
                    </a:lnTo>
                    <a:lnTo>
                      <a:pt x="4360339" y="11346979"/>
                    </a:lnTo>
                    <a:lnTo>
                      <a:pt x="4407437" y="11324196"/>
                    </a:lnTo>
                    <a:lnTo>
                      <a:pt x="4440080" y="11316965"/>
                    </a:lnTo>
                    <a:lnTo>
                      <a:pt x="4519988" y="11275650"/>
                    </a:lnTo>
                    <a:lnTo>
                      <a:pt x="4586812" y="11240375"/>
                    </a:lnTo>
                    <a:lnTo>
                      <a:pt x="4659068" y="11227619"/>
                    </a:lnTo>
                    <a:lnTo>
                      <a:pt x="4685975" y="11222856"/>
                    </a:lnTo>
                    <a:lnTo>
                      <a:pt x="4710457" y="11231188"/>
                    </a:lnTo>
                    <a:lnTo>
                      <a:pt x="4736607" y="11228977"/>
                    </a:lnTo>
                    <a:lnTo>
                      <a:pt x="4772314" y="11221585"/>
                    </a:lnTo>
                    <a:lnTo>
                      <a:pt x="4830326" y="11233575"/>
                    </a:lnTo>
                    <a:lnTo>
                      <a:pt x="4897832" y="11270857"/>
                    </a:lnTo>
                    <a:lnTo>
                      <a:pt x="4939274" y="11288834"/>
                    </a:lnTo>
                    <a:lnTo>
                      <a:pt x="5008386" y="11253214"/>
                    </a:lnTo>
                    <a:lnTo>
                      <a:pt x="5026326" y="11239866"/>
                    </a:lnTo>
                    <a:lnTo>
                      <a:pt x="5049066" y="11241271"/>
                    </a:lnTo>
                    <a:lnTo>
                      <a:pt x="5108101" y="11263800"/>
                    </a:lnTo>
                    <a:lnTo>
                      <a:pt x="5190992" y="11322453"/>
                    </a:lnTo>
                    <a:lnTo>
                      <a:pt x="5246678" y="11320119"/>
                    </a:lnTo>
                    <a:lnTo>
                      <a:pt x="5313539" y="11317356"/>
                    </a:lnTo>
                    <a:lnTo>
                      <a:pt x="5357022" y="11216314"/>
                    </a:lnTo>
                    <a:lnTo>
                      <a:pt x="5411258" y="11237141"/>
                    </a:lnTo>
                    <a:lnTo>
                      <a:pt x="5453308" y="11269278"/>
                    </a:lnTo>
                    <a:lnTo>
                      <a:pt x="5487179" y="11312891"/>
                    </a:lnTo>
                    <a:lnTo>
                      <a:pt x="5530965" y="11344601"/>
                    </a:lnTo>
                    <a:lnTo>
                      <a:pt x="5554852" y="11361859"/>
                    </a:lnTo>
                    <a:lnTo>
                      <a:pt x="5589572" y="11372739"/>
                    </a:lnTo>
                    <a:lnTo>
                      <a:pt x="5609850" y="11394927"/>
                    </a:lnTo>
                    <a:lnTo>
                      <a:pt x="5624355" y="11418516"/>
                    </a:lnTo>
                    <a:lnTo>
                      <a:pt x="5618860" y="11533498"/>
                    </a:lnTo>
                    <a:lnTo>
                      <a:pt x="5531653" y="11540170"/>
                    </a:lnTo>
                    <a:lnTo>
                      <a:pt x="5530965" y="11616640"/>
                    </a:lnTo>
                    <a:lnTo>
                      <a:pt x="5636931" y="11577446"/>
                    </a:lnTo>
                    <a:lnTo>
                      <a:pt x="5653252" y="11502250"/>
                    </a:lnTo>
                    <a:lnTo>
                      <a:pt x="5713224" y="11435727"/>
                    </a:lnTo>
                    <a:lnTo>
                      <a:pt x="5740726" y="11412178"/>
                    </a:lnTo>
                    <a:lnTo>
                      <a:pt x="5794068" y="11347357"/>
                    </a:lnTo>
                    <a:lnTo>
                      <a:pt x="5824677" y="11288149"/>
                    </a:lnTo>
                    <a:lnTo>
                      <a:pt x="5869648" y="11241224"/>
                    </a:lnTo>
                    <a:lnTo>
                      <a:pt x="5902211" y="11207214"/>
                    </a:lnTo>
                    <a:lnTo>
                      <a:pt x="5938041" y="11186090"/>
                    </a:lnTo>
                    <a:lnTo>
                      <a:pt x="5977108" y="11160972"/>
                    </a:lnTo>
                    <a:lnTo>
                      <a:pt x="5933892" y="11038167"/>
                    </a:lnTo>
                    <a:lnTo>
                      <a:pt x="5943058" y="11062482"/>
                    </a:lnTo>
                    <a:lnTo>
                      <a:pt x="5929496" y="10935175"/>
                    </a:lnTo>
                    <a:lnTo>
                      <a:pt x="5926885" y="10910311"/>
                    </a:lnTo>
                    <a:lnTo>
                      <a:pt x="5927152" y="10884809"/>
                    </a:lnTo>
                    <a:lnTo>
                      <a:pt x="5921335" y="10860361"/>
                    </a:lnTo>
                    <a:lnTo>
                      <a:pt x="5910998" y="10816711"/>
                    </a:lnTo>
                    <a:lnTo>
                      <a:pt x="5896003" y="10782365"/>
                    </a:lnTo>
                    <a:lnTo>
                      <a:pt x="5902297" y="10735224"/>
                    </a:lnTo>
                    <a:lnTo>
                      <a:pt x="5930302" y="10524859"/>
                    </a:lnTo>
                    <a:lnTo>
                      <a:pt x="6189164" y="10493961"/>
                    </a:lnTo>
                    <a:lnTo>
                      <a:pt x="6246425" y="10391096"/>
                    </a:lnTo>
                    <a:lnTo>
                      <a:pt x="6271844" y="10345446"/>
                    </a:lnTo>
                    <a:lnTo>
                      <a:pt x="6268185" y="10279562"/>
                    </a:lnTo>
                    <a:lnTo>
                      <a:pt x="6268185" y="10249080"/>
                    </a:lnTo>
                    <a:lnTo>
                      <a:pt x="6260831" y="10195226"/>
                    </a:lnTo>
                    <a:lnTo>
                      <a:pt x="6245067" y="10169389"/>
                    </a:lnTo>
                    <a:lnTo>
                      <a:pt x="6217739" y="10144900"/>
                    </a:lnTo>
                    <a:lnTo>
                      <a:pt x="6115624" y="10161396"/>
                    </a:lnTo>
                    <a:lnTo>
                      <a:pt x="6076401" y="10162583"/>
                    </a:lnTo>
                    <a:lnTo>
                      <a:pt x="6016628" y="10164456"/>
                    </a:lnTo>
                    <a:lnTo>
                      <a:pt x="5999339" y="10195056"/>
                    </a:lnTo>
                    <a:lnTo>
                      <a:pt x="5929496" y="10166657"/>
                    </a:lnTo>
                    <a:lnTo>
                      <a:pt x="5904077" y="10159266"/>
                    </a:lnTo>
                    <a:lnTo>
                      <a:pt x="5824671" y="10066093"/>
                    </a:lnTo>
                    <a:lnTo>
                      <a:pt x="5964985" y="9912899"/>
                    </a:lnTo>
                    <a:lnTo>
                      <a:pt x="6008387" y="9847009"/>
                    </a:lnTo>
                    <a:lnTo>
                      <a:pt x="6028491" y="9816409"/>
                    </a:lnTo>
                    <a:lnTo>
                      <a:pt x="6043758" y="9775177"/>
                    </a:lnTo>
                    <a:lnTo>
                      <a:pt x="6069593" y="9749083"/>
                    </a:lnTo>
                    <a:lnTo>
                      <a:pt x="6092810" y="9725658"/>
                    </a:lnTo>
                    <a:lnTo>
                      <a:pt x="6127406" y="9703932"/>
                    </a:lnTo>
                    <a:lnTo>
                      <a:pt x="6143045" y="9674269"/>
                    </a:lnTo>
                    <a:lnTo>
                      <a:pt x="6154648" y="9642897"/>
                    </a:lnTo>
                    <a:lnTo>
                      <a:pt x="6158474" y="9438575"/>
                    </a:lnTo>
                    <a:lnTo>
                      <a:pt x="6150016" y="9374854"/>
                    </a:lnTo>
                    <a:lnTo>
                      <a:pt x="6136826" y="9315342"/>
                    </a:lnTo>
                    <a:lnTo>
                      <a:pt x="6133514" y="9253963"/>
                    </a:lnTo>
                    <a:lnTo>
                      <a:pt x="6130947" y="9205680"/>
                    </a:lnTo>
                    <a:lnTo>
                      <a:pt x="6137433" y="9156074"/>
                    </a:lnTo>
                    <a:lnTo>
                      <a:pt x="6132162" y="9107062"/>
                    </a:lnTo>
                    <a:lnTo>
                      <a:pt x="6132752" y="9080029"/>
                    </a:lnTo>
                    <a:lnTo>
                      <a:pt x="6147982" y="9026214"/>
                    </a:lnTo>
                    <a:lnTo>
                      <a:pt x="6167956" y="8988940"/>
                    </a:lnTo>
                    <a:lnTo>
                      <a:pt x="6177053" y="8946561"/>
                    </a:lnTo>
                    <a:lnTo>
                      <a:pt x="6184829" y="8910770"/>
                    </a:lnTo>
                    <a:lnTo>
                      <a:pt x="6184277" y="8871451"/>
                    </a:lnTo>
                    <a:lnTo>
                      <a:pt x="6196096" y="8836387"/>
                    </a:lnTo>
                    <a:lnTo>
                      <a:pt x="6212077" y="8788738"/>
                    </a:lnTo>
                    <a:lnTo>
                      <a:pt x="6249402" y="8772798"/>
                    </a:lnTo>
                    <a:lnTo>
                      <a:pt x="6274988" y="8734370"/>
                    </a:lnTo>
                    <a:lnTo>
                      <a:pt x="6320728" y="8665763"/>
                    </a:lnTo>
                    <a:lnTo>
                      <a:pt x="6301473" y="8579601"/>
                    </a:lnTo>
                    <a:lnTo>
                      <a:pt x="6390609" y="8530337"/>
                    </a:lnTo>
                    <a:lnTo>
                      <a:pt x="6483657" y="8478909"/>
                    </a:lnTo>
                    <a:lnTo>
                      <a:pt x="6522966" y="8532506"/>
                    </a:lnTo>
                    <a:lnTo>
                      <a:pt x="6595991" y="8516738"/>
                    </a:lnTo>
                    <a:lnTo>
                      <a:pt x="6633397" y="8508659"/>
                    </a:lnTo>
                    <a:lnTo>
                      <a:pt x="6657761" y="8462284"/>
                    </a:lnTo>
                    <a:lnTo>
                      <a:pt x="6689852" y="8443283"/>
                    </a:lnTo>
                    <a:lnTo>
                      <a:pt x="6743666" y="8411405"/>
                    </a:lnTo>
                    <a:lnTo>
                      <a:pt x="6839642" y="8440059"/>
                    </a:lnTo>
                    <a:lnTo>
                      <a:pt x="6902044" y="8439208"/>
                    </a:lnTo>
                    <a:lnTo>
                      <a:pt x="6998441" y="8445626"/>
                    </a:lnTo>
                    <a:lnTo>
                      <a:pt x="7220375" y="8415065"/>
                    </a:lnTo>
                    <a:lnTo>
                      <a:pt x="7304661" y="8368479"/>
                    </a:lnTo>
                    <a:lnTo>
                      <a:pt x="7333819" y="8352328"/>
                    </a:lnTo>
                    <a:lnTo>
                      <a:pt x="7361104" y="8327628"/>
                    </a:lnTo>
                    <a:lnTo>
                      <a:pt x="7383553" y="8303188"/>
                    </a:lnTo>
                    <a:lnTo>
                      <a:pt x="7422657" y="8260560"/>
                    </a:lnTo>
                    <a:lnTo>
                      <a:pt x="7438049" y="8204620"/>
                    </a:lnTo>
                    <a:lnTo>
                      <a:pt x="7474691" y="8159011"/>
                    </a:lnTo>
                    <a:lnTo>
                      <a:pt x="7492538" y="8136780"/>
                    </a:lnTo>
                    <a:lnTo>
                      <a:pt x="7520121" y="8119099"/>
                    </a:lnTo>
                    <a:lnTo>
                      <a:pt x="7544058" y="8104603"/>
                    </a:lnTo>
                    <a:lnTo>
                      <a:pt x="7620909" y="8058056"/>
                    </a:lnTo>
                    <a:lnTo>
                      <a:pt x="7630725" y="8095040"/>
                    </a:lnTo>
                    <a:lnTo>
                      <a:pt x="7693673" y="8134524"/>
                    </a:lnTo>
                    <a:lnTo>
                      <a:pt x="7738012" y="8162321"/>
                    </a:lnTo>
                    <a:lnTo>
                      <a:pt x="7789736" y="8158628"/>
                    </a:lnTo>
                    <a:lnTo>
                      <a:pt x="7818813" y="8108685"/>
                    </a:lnTo>
                    <a:lnTo>
                      <a:pt x="7845205" y="8063372"/>
                    </a:lnTo>
                    <a:lnTo>
                      <a:pt x="7850098" y="7914643"/>
                    </a:lnTo>
                    <a:lnTo>
                      <a:pt x="7855542" y="7857049"/>
                    </a:lnTo>
                    <a:lnTo>
                      <a:pt x="7865446" y="7751374"/>
                    </a:lnTo>
                    <a:lnTo>
                      <a:pt x="7912203" y="7658582"/>
                    </a:lnTo>
                    <a:lnTo>
                      <a:pt x="7950749" y="7561881"/>
                    </a:lnTo>
                    <a:lnTo>
                      <a:pt x="8008563" y="7416807"/>
                    </a:lnTo>
                    <a:lnTo>
                      <a:pt x="8008780" y="7255159"/>
                    </a:lnTo>
                    <a:lnTo>
                      <a:pt x="8188787" y="7191907"/>
                    </a:lnTo>
                    <a:lnTo>
                      <a:pt x="8307335" y="7150207"/>
                    </a:lnTo>
                    <a:lnTo>
                      <a:pt x="8451568" y="7180004"/>
                    </a:lnTo>
                    <a:lnTo>
                      <a:pt x="8573725" y="7189191"/>
                    </a:lnTo>
                    <a:lnTo>
                      <a:pt x="8601444" y="7191315"/>
                    </a:lnTo>
                    <a:lnTo>
                      <a:pt x="8632177" y="7204154"/>
                    </a:lnTo>
                    <a:lnTo>
                      <a:pt x="8659419" y="7204154"/>
                    </a:lnTo>
                    <a:lnTo>
                      <a:pt x="8706939" y="7192251"/>
                    </a:lnTo>
                    <a:lnTo>
                      <a:pt x="8727427" y="7187831"/>
                    </a:lnTo>
                    <a:lnTo>
                      <a:pt x="8764789" y="7186315"/>
                    </a:lnTo>
                    <a:lnTo>
                      <a:pt x="8788633" y="7186473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44" name="Luhansk¬0" descr="Luhansk¬0">
                <a:extLst>
                  <a:ext uri="{FF2B5EF4-FFF2-40B4-BE49-F238E27FC236}">
                    <a16:creationId xmlns:a16="http://schemas.microsoft.com/office/drawing/2014/main" id="{544C819A-5D84-4B0C-B95B-C37D26C6FF62}"/>
                  </a:ext>
                </a:extLst>
              </p:cNvPr>
              <p:cNvSpPr/>
              <p:nvPr/>
            </p:nvSpPr>
            <p:spPr>
              <a:xfrm>
                <a:off x="55014319" y="12099178"/>
                <a:ext cx="8169590" cy="11878962"/>
              </a:xfrm>
              <a:custGeom>
                <a:avLst/>
                <a:gdLst/>
                <a:ahLst/>
                <a:cxnLst/>
                <a:rect l="0" t="0" r="0" b="0"/>
                <a:pathLst>
                  <a:path w="8169587" h="11878959">
                    <a:moveTo>
                      <a:pt x="1518165" y="32025"/>
                    </a:moveTo>
                    <a:lnTo>
                      <a:pt x="1463849" y="92091"/>
                    </a:lnTo>
                    <a:lnTo>
                      <a:pt x="1394768" y="88201"/>
                    </a:lnTo>
                    <a:lnTo>
                      <a:pt x="1336917" y="84949"/>
                    </a:lnTo>
                    <a:lnTo>
                      <a:pt x="1222406" y="29051"/>
                    </a:lnTo>
                    <a:lnTo>
                      <a:pt x="1173051" y="65079"/>
                    </a:lnTo>
                    <a:lnTo>
                      <a:pt x="1158299" y="130830"/>
                    </a:lnTo>
                    <a:lnTo>
                      <a:pt x="1179178" y="179249"/>
                    </a:lnTo>
                    <a:lnTo>
                      <a:pt x="1186663" y="225579"/>
                    </a:lnTo>
                    <a:lnTo>
                      <a:pt x="1191388" y="255289"/>
                    </a:lnTo>
                    <a:lnTo>
                      <a:pt x="1192064" y="290552"/>
                    </a:lnTo>
                    <a:lnTo>
                      <a:pt x="1193466" y="320796"/>
                    </a:lnTo>
                    <a:lnTo>
                      <a:pt x="1194848" y="350783"/>
                    </a:lnTo>
                    <a:lnTo>
                      <a:pt x="1204764" y="378560"/>
                    </a:lnTo>
                    <a:lnTo>
                      <a:pt x="1209787" y="409207"/>
                    </a:lnTo>
                    <a:lnTo>
                      <a:pt x="1206600" y="467691"/>
                    </a:lnTo>
                    <a:lnTo>
                      <a:pt x="1219213" y="526313"/>
                    </a:lnTo>
                    <a:lnTo>
                      <a:pt x="1209787" y="586030"/>
                    </a:lnTo>
                    <a:lnTo>
                      <a:pt x="1198222" y="659227"/>
                    </a:lnTo>
                    <a:lnTo>
                      <a:pt x="1060754" y="841365"/>
                    </a:lnTo>
                    <a:lnTo>
                      <a:pt x="973107" y="787339"/>
                    </a:lnTo>
                    <a:lnTo>
                      <a:pt x="946585" y="745943"/>
                    </a:lnTo>
                    <a:lnTo>
                      <a:pt x="930945" y="731573"/>
                    </a:lnTo>
                    <a:lnTo>
                      <a:pt x="875811" y="716081"/>
                    </a:lnTo>
                    <a:lnTo>
                      <a:pt x="798110" y="784643"/>
                    </a:lnTo>
                    <a:lnTo>
                      <a:pt x="756835" y="814543"/>
                    </a:lnTo>
                    <a:lnTo>
                      <a:pt x="707616" y="850122"/>
                    </a:lnTo>
                    <a:lnTo>
                      <a:pt x="648655" y="866214"/>
                    </a:lnTo>
                    <a:lnTo>
                      <a:pt x="611293" y="919284"/>
                    </a:lnTo>
                    <a:lnTo>
                      <a:pt x="605005" y="947786"/>
                    </a:lnTo>
                    <a:lnTo>
                      <a:pt x="621581" y="986294"/>
                    </a:lnTo>
                    <a:lnTo>
                      <a:pt x="648017" y="1036257"/>
                    </a:lnTo>
                    <a:lnTo>
                      <a:pt x="680120" y="1096951"/>
                    </a:lnTo>
                    <a:lnTo>
                      <a:pt x="716416" y="1155677"/>
                    </a:lnTo>
                    <a:lnTo>
                      <a:pt x="808515" y="1200839"/>
                    </a:lnTo>
                    <a:lnTo>
                      <a:pt x="816682" y="1234849"/>
                    </a:lnTo>
                    <a:lnTo>
                      <a:pt x="784077" y="1261500"/>
                    </a:lnTo>
                    <a:lnTo>
                      <a:pt x="754416" y="1266663"/>
                    </a:lnTo>
                    <a:lnTo>
                      <a:pt x="732464" y="1263082"/>
                    </a:lnTo>
                    <a:lnTo>
                      <a:pt x="679593" y="1267739"/>
                    </a:lnTo>
                    <a:lnTo>
                      <a:pt x="636327" y="1277023"/>
                    </a:lnTo>
                    <a:lnTo>
                      <a:pt x="597694" y="1293333"/>
                    </a:lnTo>
                    <a:lnTo>
                      <a:pt x="578378" y="1301492"/>
                    </a:lnTo>
                    <a:lnTo>
                      <a:pt x="544643" y="1323261"/>
                    </a:lnTo>
                    <a:lnTo>
                      <a:pt x="517767" y="1349805"/>
                    </a:lnTo>
                    <a:lnTo>
                      <a:pt x="513340" y="1384468"/>
                    </a:lnTo>
                    <a:lnTo>
                      <a:pt x="531335" y="1396266"/>
                    </a:lnTo>
                    <a:lnTo>
                      <a:pt x="575854" y="1425535"/>
                    </a:lnTo>
                    <a:lnTo>
                      <a:pt x="616713" y="1456557"/>
                    </a:lnTo>
                    <a:lnTo>
                      <a:pt x="657560" y="1487580"/>
                    </a:lnTo>
                    <a:lnTo>
                      <a:pt x="695375" y="1520666"/>
                    </a:lnTo>
                    <a:lnTo>
                      <a:pt x="690972" y="1555256"/>
                    </a:lnTo>
                    <a:lnTo>
                      <a:pt x="625289" y="1590730"/>
                    </a:lnTo>
                    <a:lnTo>
                      <a:pt x="589918" y="1610983"/>
                    </a:lnTo>
                    <a:lnTo>
                      <a:pt x="577292" y="1632555"/>
                    </a:lnTo>
                    <a:lnTo>
                      <a:pt x="567743" y="1656507"/>
                    </a:lnTo>
                    <a:lnTo>
                      <a:pt x="558193" y="1680461"/>
                    </a:lnTo>
                    <a:lnTo>
                      <a:pt x="550826" y="1707019"/>
                    </a:lnTo>
                    <a:lnTo>
                      <a:pt x="545983" y="1729956"/>
                    </a:lnTo>
                    <a:lnTo>
                      <a:pt x="502742" y="1723895"/>
                    </a:lnTo>
                    <a:lnTo>
                      <a:pt x="476604" y="1714998"/>
                    </a:lnTo>
                    <a:lnTo>
                      <a:pt x="450485" y="1706101"/>
                    </a:lnTo>
                    <a:lnTo>
                      <a:pt x="425792" y="1697858"/>
                    </a:lnTo>
                    <a:lnTo>
                      <a:pt x="395896" y="1715572"/>
                    </a:lnTo>
                    <a:lnTo>
                      <a:pt x="310152" y="1836628"/>
                    </a:lnTo>
                    <a:lnTo>
                      <a:pt x="305228" y="1860535"/>
                    </a:lnTo>
                    <a:lnTo>
                      <a:pt x="309098" y="1882515"/>
                    </a:lnTo>
                    <a:lnTo>
                      <a:pt x="315721" y="1907444"/>
                    </a:lnTo>
                    <a:lnTo>
                      <a:pt x="336507" y="1919025"/>
                    </a:lnTo>
                    <a:lnTo>
                      <a:pt x="387096" y="1890205"/>
                    </a:lnTo>
                    <a:lnTo>
                      <a:pt x="419485" y="1878222"/>
                    </a:lnTo>
                    <a:lnTo>
                      <a:pt x="452277" y="1868052"/>
                    </a:lnTo>
                    <a:lnTo>
                      <a:pt x="481900" y="1866628"/>
                    </a:lnTo>
                    <a:lnTo>
                      <a:pt x="505173" y="1878222"/>
                    </a:lnTo>
                    <a:lnTo>
                      <a:pt x="518673" y="1895038"/>
                    </a:lnTo>
                    <a:lnTo>
                      <a:pt x="531019" y="1925824"/>
                    </a:lnTo>
                    <a:lnTo>
                      <a:pt x="534455" y="1953272"/>
                    </a:lnTo>
                    <a:lnTo>
                      <a:pt x="528179" y="1993363"/>
                    </a:lnTo>
                    <a:lnTo>
                      <a:pt x="515398" y="2018180"/>
                    </a:lnTo>
                    <a:lnTo>
                      <a:pt x="511963" y="2045528"/>
                    </a:lnTo>
                    <a:lnTo>
                      <a:pt x="508000" y="2077170"/>
                    </a:lnTo>
                    <a:lnTo>
                      <a:pt x="517984" y="2115481"/>
                    </a:lnTo>
                    <a:lnTo>
                      <a:pt x="525562" y="2152979"/>
                    </a:lnTo>
                    <a:lnTo>
                      <a:pt x="533152" y="2190478"/>
                    </a:lnTo>
                    <a:lnTo>
                      <a:pt x="538876" y="2227778"/>
                    </a:lnTo>
                    <a:lnTo>
                      <a:pt x="524210" y="2256354"/>
                    </a:lnTo>
                    <a:lnTo>
                      <a:pt x="488808" y="2282416"/>
                    </a:lnTo>
                    <a:lnTo>
                      <a:pt x="467408" y="2305294"/>
                    </a:lnTo>
                    <a:lnTo>
                      <a:pt x="454838" y="2325725"/>
                    </a:lnTo>
                    <a:lnTo>
                      <a:pt x="442274" y="2346157"/>
                    </a:lnTo>
                    <a:lnTo>
                      <a:pt x="437158" y="2380134"/>
                    </a:lnTo>
                    <a:lnTo>
                      <a:pt x="439856" y="2409066"/>
                    </a:lnTo>
                    <a:lnTo>
                      <a:pt x="439868" y="2432813"/>
                    </a:lnTo>
                    <a:lnTo>
                      <a:pt x="426257" y="2452223"/>
                    </a:lnTo>
                    <a:lnTo>
                      <a:pt x="395691" y="2478919"/>
                    </a:lnTo>
                    <a:lnTo>
                      <a:pt x="349312" y="2486187"/>
                    </a:lnTo>
                    <a:lnTo>
                      <a:pt x="324241" y="2517512"/>
                    </a:lnTo>
                    <a:lnTo>
                      <a:pt x="343843" y="2562100"/>
                    </a:lnTo>
                    <a:lnTo>
                      <a:pt x="347868" y="2602039"/>
                    </a:lnTo>
                    <a:lnTo>
                      <a:pt x="356884" y="2633134"/>
                    </a:lnTo>
                    <a:lnTo>
                      <a:pt x="376064" y="2661478"/>
                    </a:lnTo>
                    <a:lnTo>
                      <a:pt x="400286" y="2686395"/>
                    </a:lnTo>
                    <a:lnTo>
                      <a:pt x="405855" y="2724262"/>
                    </a:lnTo>
                    <a:lnTo>
                      <a:pt x="381931" y="2731852"/>
                    </a:lnTo>
                    <a:lnTo>
                      <a:pt x="350088" y="2731068"/>
                    </a:lnTo>
                    <a:lnTo>
                      <a:pt x="371215" y="2801778"/>
                    </a:lnTo>
                    <a:lnTo>
                      <a:pt x="389533" y="2850760"/>
                    </a:lnTo>
                    <a:lnTo>
                      <a:pt x="398705" y="2875253"/>
                    </a:lnTo>
                    <a:lnTo>
                      <a:pt x="405377" y="2898763"/>
                    </a:lnTo>
                    <a:lnTo>
                      <a:pt x="409042" y="2938781"/>
                    </a:lnTo>
                    <a:lnTo>
                      <a:pt x="392262" y="2963657"/>
                    </a:lnTo>
                    <a:lnTo>
                      <a:pt x="360506" y="2981385"/>
                    </a:lnTo>
                    <a:lnTo>
                      <a:pt x="313234" y="2999765"/>
                    </a:lnTo>
                    <a:lnTo>
                      <a:pt x="287518" y="3026230"/>
                    </a:lnTo>
                    <a:lnTo>
                      <a:pt x="268437" y="3045869"/>
                    </a:lnTo>
                    <a:lnTo>
                      <a:pt x="258205" y="3068365"/>
                    </a:lnTo>
                    <a:lnTo>
                      <a:pt x="252159" y="3092879"/>
                    </a:lnTo>
                    <a:lnTo>
                      <a:pt x="246113" y="3117392"/>
                    </a:lnTo>
                    <a:lnTo>
                      <a:pt x="244265" y="3143790"/>
                    </a:lnTo>
                    <a:lnTo>
                      <a:pt x="243992" y="3169049"/>
                    </a:lnTo>
                    <a:lnTo>
                      <a:pt x="243533" y="3194308"/>
                    </a:lnTo>
                    <a:lnTo>
                      <a:pt x="244457" y="3219255"/>
                    </a:lnTo>
                    <a:lnTo>
                      <a:pt x="242640" y="3241138"/>
                    </a:lnTo>
                    <a:lnTo>
                      <a:pt x="240904" y="3263020"/>
                    </a:lnTo>
                    <a:lnTo>
                      <a:pt x="226318" y="3295545"/>
                    </a:lnTo>
                    <a:lnTo>
                      <a:pt x="205929" y="3303816"/>
                    </a:lnTo>
                    <a:lnTo>
                      <a:pt x="180479" y="3307120"/>
                    </a:lnTo>
                    <a:lnTo>
                      <a:pt x="155588" y="3311868"/>
                    </a:lnTo>
                    <a:lnTo>
                      <a:pt x="130715" y="3316617"/>
                    </a:lnTo>
                    <a:lnTo>
                      <a:pt x="106623" y="3322730"/>
                    </a:lnTo>
                    <a:lnTo>
                      <a:pt x="90302" y="3336355"/>
                    </a:lnTo>
                    <a:lnTo>
                      <a:pt x="79084" y="3359371"/>
                    </a:lnTo>
                    <a:lnTo>
                      <a:pt x="21407" y="3438860"/>
                    </a:lnTo>
                    <a:lnTo>
                      <a:pt x="47880" y="3479873"/>
                    </a:lnTo>
                    <a:lnTo>
                      <a:pt x="77441" y="3506115"/>
                    </a:lnTo>
                    <a:lnTo>
                      <a:pt x="97105" y="3532224"/>
                    </a:lnTo>
                    <a:lnTo>
                      <a:pt x="117339" y="3569274"/>
                    </a:lnTo>
                    <a:lnTo>
                      <a:pt x="122945" y="3593431"/>
                    </a:lnTo>
                    <a:lnTo>
                      <a:pt x="128557" y="3617588"/>
                    </a:lnTo>
                    <a:lnTo>
                      <a:pt x="131465" y="3644956"/>
                    </a:lnTo>
                    <a:lnTo>
                      <a:pt x="132470" y="3672319"/>
                    </a:lnTo>
                    <a:lnTo>
                      <a:pt x="134473" y="3727057"/>
                    </a:lnTo>
                    <a:lnTo>
                      <a:pt x="128898" y="3781438"/>
                    </a:lnTo>
                    <a:lnTo>
                      <a:pt x="120229" y="3815145"/>
                    </a:lnTo>
                    <a:lnTo>
                      <a:pt x="112849" y="3843820"/>
                    </a:lnTo>
                    <a:lnTo>
                      <a:pt x="95734" y="3883838"/>
                    </a:lnTo>
                    <a:lnTo>
                      <a:pt x="88944" y="3922595"/>
                    </a:lnTo>
                    <a:lnTo>
                      <a:pt x="84541" y="3961196"/>
                    </a:lnTo>
                    <a:lnTo>
                      <a:pt x="93340" y="3995535"/>
                    </a:lnTo>
                    <a:lnTo>
                      <a:pt x="120229" y="4023254"/>
                    </a:lnTo>
                    <a:lnTo>
                      <a:pt x="156537" y="4034340"/>
                    </a:lnTo>
                    <a:lnTo>
                      <a:pt x="178718" y="4035494"/>
                    </a:lnTo>
                    <a:lnTo>
                      <a:pt x="200887" y="4036649"/>
                    </a:lnTo>
                    <a:lnTo>
                      <a:pt x="223267" y="4037644"/>
                    </a:lnTo>
                    <a:lnTo>
                      <a:pt x="244010" y="4050457"/>
                    </a:lnTo>
                    <a:lnTo>
                      <a:pt x="260332" y="4070862"/>
                    </a:lnTo>
                    <a:lnTo>
                      <a:pt x="276653" y="4091267"/>
                    </a:lnTo>
                    <a:lnTo>
                      <a:pt x="283450" y="4117106"/>
                    </a:lnTo>
                    <a:lnTo>
                      <a:pt x="290252" y="4142951"/>
                    </a:lnTo>
                    <a:lnTo>
                      <a:pt x="288994" y="4166311"/>
                    </a:lnTo>
                    <a:lnTo>
                      <a:pt x="272095" y="4182863"/>
                    </a:lnTo>
                    <a:lnTo>
                      <a:pt x="252165" y="4198718"/>
                    </a:lnTo>
                    <a:lnTo>
                      <a:pt x="232234" y="4214579"/>
                    </a:lnTo>
                    <a:lnTo>
                      <a:pt x="209867" y="4229338"/>
                    </a:lnTo>
                    <a:lnTo>
                      <a:pt x="196398" y="4247686"/>
                    </a:lnTo>
                    <a:lnTo>
                      <a:pt x="216806" y="4295293"/>
                    </a:lnTo>
                    <a:lnTo>
                      <a:pt x="158608" y="4331361"/>
                    </a:lnTo>
                    <a:lnTo>
                      <a:pt x="113116" y="4361071"/>
                    </a:lnTo>
                    <a:lnTo>
                      <a:pt x="65820" y="4380987"/>
                    </a:lnTo>
                    <a:lnTo>
                      <a:pt x="36035" y="4387834"/>
                    </a:lnTo>
                    <a:lnTo>
                      <a:pt x="0" y="4431380"/>
                    </a:lnTo>
                    <a:lnTo>
                      <a:pt x="33815" y="4441674"/>
                    </a:lnTo>
                    <a:lnTo>
                      <a:pt x="64952" y="4464196"/>
                    </a:lnTo>
                    <a:lnTo>
                      <a:pt x="93024" y="4492528"/>
                    </a:lnTo>
                    <a:lnTo>
                      <a:pt x="121097" y="4520860"/>
                    </a:lnTo>
                    <a:lnTo>
                      <a:pt x="146032" y="4555476"/>
                    </a:lnTo>
                    <a:lnTo>
                      <a:pt x="155588" y="4575498"/>
                    </a:lnTo>
                    <a:lnTo>
                      <a:pt x="279121" y="4598197"/>
                    </a:lnTo>
                    <a:lnTo>
                      <a:pt x="302494" y="4601343"/>
                    </a:lnTo>
                    <a:lnTo>
                      <a:pt x="317922" y="4654155"/>
                    </a:lnTo>
                    <a:lnTo>
                      <a:pt x="274799" y="4670649"/>
                    </a:lnTo>
                    <a:lnTo>
                      <a:pt x="162539" y="4667015"/>
                    </a:lnTo>
                    <a:lnTo>
                      <a:pt x="144940" y="4696830"/>
                    </a:lnTo>
                    <a:lnTo>
                      <a:pt x="102729" y="4807242"/>
                    </a:lnTo>
                    <a:lnTo>
                      <a:pt x="118257" y="4829388"/>
                    </a:lnTo>
                    <a:lnTo>
                      <a:pt x="142013" y="4844821"/>
                    </a:lnTo>
                    <a:lnTo>
                      <a:pt x="207634" y="4863457"/>
                    </a:lnTo>
                    <a:lnTo>
                      <a:pt x="245573" y="4874471"/>
                    </a:lnTo>
                    <a:lnTo>
                      <a:pt x="280746" y="4891063"/>
                    </a:lnTo>
                    <a:lnTo>
                      <a:pt x="315925" y="4907656"/>
                    </a:lnTo>
                    <a:lnTo>
                      <a:pt x="349418" y="4930765"/>
                    </a:lnTo>
                    <a:lnTo>
                      <a:pt x="405886" y="4971317"/>
                    </a:lnTo>
                    <a:lnTo>
                      <a:pt x="452475" y="4983577"/>
                    </a:lnTo>
                    <a:lnTo>
                      <a:pt x="579990" y="4866576"/>
                    </a:lnTo>
                    <a:lnTo>
                      <a:pt x="760351" y="4875526"/>
                    </a:lnTo>
                    <a:lnTo>
                      <a:pt x="784027" y="4874742"/>
                    </a:lnTo>
                    <a:lnTo>
                      <a:pt x="765070" y="4938349"/>
                    </a:lnTo>
                    <a:lnTo>
                      <a:pt x="753592" y="5007807"/>
                    </a:lnTo>
                    <a:lnTo>
                      <a:pt x="744575" y="5073327"/>
                    </a:lnTo>
                    <a:lnTo>
                      <a:pt x="741444" y="5096265"/>
                    </a:lnTo>
                    <a:lnTo>
                      <a:pt x="747149" y="5124834"/>
                    </a:lnTo>
                    <a:lnTo>
                      <a:pt x="748662" y="5153581"/>
                    </a:lnTo>
                    <a:lnTo>
                      <a:pt x="750193" y="5182328"/>
                    </a:lnTo>
                    <a:lnTo>
                      <a:pt x="748079" y="5211365"/>
                    </a:lnTo>
                    <a:lnTo>
                      <a:pt x="729630" y="5231111"/>
                    </a:lnTo>
                    <a:lnTo>
                      <a:pt x="698705" y="5259205"/>
                    </a:lnTo>
                    <a:lnTo>
                      <a:pt x="683382" y="5277361"/>
                    </a:lnTo>
                    <a:lnTo>
                      <a:pt x="668046" y="5295516"/>
                    </a:lnTo>
                    <a:lnTo>
                      <a:pt x="656301" y="5315881"/>
                    </a:lnTo>
                    <a:lnTo>
                      <a:pt x="668970" y="5351869"/>
                    </a:lnTo>
                    <a:lnTo>
                      <a:pt x="688430" y="5363028"/>
                    </a:lnTo>
                    <a:lnTo>
                      <a:pt x="718171" y="5413731"/>
                    </a:lnTo>
                    <a:lnTo>
                      <a:pt x="752761" y="5474231"/>
                    </a:lnTo>
                    <a:lnTo>
                      <a:pt x="775866" y="5537154"/>
                    </a:lnTo>
                    <a:lnTo>
                      <a:pt x="787425" y="5568617"/>
                    </a:lnTo>
                    <a:lnTo>
                      <a:pt x="795952" y="5601249"/>
                    </a:lnTo>
                    <a:lnTo>
                      <a:pt x="798997" y="5631012"/>
                    </a:lnTo>
                    <a:lnTo>
                      <a:pt x="802041" y="5660768"/>
                    </a:lnTo>
                    <a:lnTo>
                      <a:pt x="799456" y="5688421"/>
                    </a:lnTo>
                    <a:lnTo>
                      <a:pt x="788114" y="5711266"/>
                    </a:lnTo>
                    <a:lnTo>
                      <a:pt x="757108" y="5724620"/>
                    </a:lnTo>
                    <a:lnTo>
                      <a:pt x="735069" y="5726223"/>
                    </a:lnTo>
                    <a:lnTo>
                      <a:pt x="713024" y="5727825"/>
                    </a:lnTo>
                    <a:lnTo>
                      <a:pt x="689899" y="5726183"/>
                    </a:lnTo>
                    <a:lnTo>
                      <a:pt x="674012" y="5750260"/>
                    </a:lnTo>
                    <a:lnTo>
                      <a:pt x="681683" y="5778487"/>
                    </a:lnTo>
                    <a:lnTo>
                      <a:pt x="675234" y="5802394"/>
                    </a:lnTo>
                    <a:lnTo>
                      <a:pt x="647180" y="5805454"/>
                    </a:lnTo>
                    <a:lnTo>
                      <a:pt x="618958" y="5796617"/>
                    </a:lnTo>
                    <a:lnTo>
                      <a:pt x="592262" y="5798318"/>
                    </a:lnTo>
                    <a:lnTo>
                      <a:pt x="570614" y="5830324"/>
                    </a:lnTo>
                    <a:lnTo>
                      <a:pt x="560983" y="5854091"/>
                    </a:lnTo>
                    <a:lnTo>
                      <a:pt x="551340" y="5877859"/>
                    </a:lnTo>
                    <a:lnTo>
                      <a:pt x="545629" y="5902036"/>
                    </a:lnTo>
                    <a:lnTo>
                      <a:pt x="566428" y="5922098"/>
                    </a:lnTo>
                    <a:lnTo>
                      <a:pt x="622195" y="5918022"/>
                    </a:lnTo>
                    <a:lnTo>
                      <a:pt x="642591" y="5928904"/>
                    </a:lnTo>
                    <a:lnTo>
                      <a:pt x="660059" y="5953344"/>
                    </a:lnTo>
                    <a:lnTo>
                      <a:pt x="666949" y="5981973"/>
                    </a:lnTo>
                    <a:lnTo>
                      <a:pt x="682036" y="6007798"/>
                    </a:lnTo>
                    <a:lnTo>
                      <a:pt x="728409" y="5995539"/>
                    </a:lnTo>
                    <a:lnTo>
                      <a:pt x="761486" y="6006777"/>
                    </a:lnTo>
                    <a:lnTo>
                      <a:pt x="794935" y="6010516"/>
                    </a:lnTo>
                    <a:lnTo>
                      <a:pt x="850404" y="6016722"/>
                    </a:lnTo>
                    <a:lnTo>
                      <a:pt x="907027" y="6016788"/>
                    </a:lnTo>
                    <a:lnTo>
                      <a:pt x="962236" y="6024121"/>
                    </a:lnTo>
                    <a:lnTo>
                      <a:pt x="990551" y="6027861"/>
                    </a:lnTo>
                    <a:lnTo>
                      <a:pt x="1019709" y="6040635"/>
                    </a:lnTo>
                    <a:lnTo>
                      <a:pt x="1047924" y="6043160"/>
                    </a:lnTo>
                    <a:lnTo>
                      <a:pt x="1072413" y="6045370"/>
                    </a:lnTo>
                    <a:lnTo>
                      <a:pt x="1099282" y="6038189"/>
                    </a:lnTo>
                    <a:lnTo>
                      <a:pt x="1124105" y="6039085"/>
                    </a:lnTo>
                    <a:lnTo>
                      <a:pt x="1172090" y="6040787"/>
                    </a:lnTo>
                    <a:lnTo>
                      <a:pt x="1209750" y="6078701"/>
                    </a:lnTo>
                    <a:lnTo>
                      <a:pt x="1254677" y="6081253"/>
                    </a:lnTo>
                    <a:lnTo>
                      <a:pt x="1271960" y="6104941"/>
                    </a:lnTo>
                    <a:lnTo>
                      <a:pt x="1290384" y="6153447"/>
                    </a:lnTo>
                    <a:lnTo>
                      <a:pt x="1305006" y="6203675"/>
                    </a:lnTo>
                    <a:lnTo>
                      <a:pt x="1319635" y="6253895"/>
                    </a:lnTo>
                    <a:lnTo>
                      <a:pt x="1330214" y="6305216"/>
                    </a:lnTo>
                    <a:lnTo>
                      <a:pt x="1332211" y="6332888"/>
                    </a:lnTo>
                    <a:lnTo>
                      <a:pt x="1334524" y="6364536"/>
                    </a:lnTo>
                    <a:lnTo>
                      <a:pt x="1330084" y="6400261"/>
                    </a:lnTo>
                    <a:lnTo>
                      <a:pt x="1329513" y="6432188"/>
                    </a:lnTo>
                    <a:lnTo>
                      <a:pt x="1338592" y="6457512"/>
                    </a:lnTo>
                    <a:lnTo>
                      <a:pt x="1366683" y="6472139"/>
                    </a:lnTo>
                    <a:lnTo>
                      <a:pt x="1405688" y="6479790"/>
                    </a:lnTo>
                    <a:lnTo>
                      <a:pt x="1446492" y="6486800"/>
                    </a:lnTo>
                    <a:lnTo>
                      <a:pt x="1492021" y="6490639"/>
                    </a:lnTo>
                    <a:lnTo>
                      <a:pt x="1510420" y="6505635"/>
                    </a:lnTo>
                    <a:lnTo>
                      <a:pt x="1525383" y="6535563"/>
                    </a:lnTo>
                    <a:lnTo>
                      <a:pt x="1513421" y="6574756"/>
                    </a:lnTo>
                    <a:lnTo>
                      <a:pt x="1504981" y="6594046"/>
                    </a:lnTo>
                    <a:lnTo>
                      <a:pt x="1496821" y="6622615"/>
                    </a:lnTo>
                    <a:lnTo>
                      <a:pt x="1507704" y="6648454"/>
                    </a:lnTo>
                    <a:lnTo>
                      <a:pt x="1532186" y="6674300"/>
                    </a:lnTo>
                    <a:lnTo>
                      <a:pt x="1555310" y="6700145"/>
                    </a:lnTo>
                    <a:lnTo>
                      <a:pt x="1572692" y="6729664"/>
                    </a:lnTo>
                    <a:lnTo>
                      <a:pt x="1576003" y="6765837"/>
                    </a:lnTo>
                    <a:lnTo>
                      <a:pt x="1568909" y="6804878"/>
                    </a:lnTo>
                    <a:lnTo>
                      <a:pt x="1559105" y="6844310"/>
                    </a:lnTo>
                    <a:lnTo>
                      <a:pt x="1540651" y="6884038"/>
                    </a:lnTo>
                    <a:lnTo>
                      <a:pt x="1525383" y="6906895"/>
                    </a:lnTo>
                    <a:lnTo>
                      <a:pt x="1508404" y="6932325"/>
                    </a:lnTo>
                    <a:lnTo>
                      <a:pt x="1482025" y="6956054"/>
                    </a:lnTo>
                    <a:lnTo>
                      <a:pt x="1469616" y="6984425"/>
                    </a:lnTo>
                    <a:lnTo>
                      <a:pt x="1455924" y="7015856"/>
                    </a:lnTo>
                    <a:lnTo>
                      <a:pt x="1458392" y="7072797"/>
                    </a:lnTo>
                    <a:lnTo>
                      <a:pt x="1462813" y="7106846"/>
                    </a:lnTo>
                    <a:lnTo>
                      <a:pt x="1492685" y="7098253"/>
                    </a:lnTo>
                    <a:lnTo>
                      <a:pt x="1570652" y="7079834"/>
                    </a:lnTo>
                    <a:lnTo>
                      <a:pt x="1596114" y="7085077"/>
                    </a:lnTo>
                    <a:lnTo>
                      <a:pt x="1616522" y="7112287"/>
                    </a:lnTo>
                    <a:lnTo>
                      <a:pt x="1606228" y="7150946"/>
                    </a:lnTo>
                    <a:lnTo>
                      <a:pt x="1548421" y="7233962"/>
                    </a:lnTo>
                    <a:lnTo>
                      <a:pt x="1522661" y="7260547"/>
                    </a:lnTo>
                    <a:lnTo>
                      <a:pt x="1497311" y="7286709"/>
                    </a:lnTo>
                    <a:lnTo>
                      <a:pt x="1474044" y="7301093"/>
                    </a:lnTo>
                    <a:lnTo>
                      <a:pt x="1453295" y="7319038"/>
                    </a:lnTo>
                    <a:lnTo>
                      <a:pt x="1432539" y="7336974"/>
                    </a:lnTo>
                    <a:lnTo>
                      <a:pt x="1414922" y="7357479"/>
                    </a:lnTo>
                    <a:lnTo>
                      <a:pt x="1401602" y="7393842"/>
                    </a:lnTo>
                    <a:lnTo>
                      <a:pt x="1391866" y="7420453"/>
                    </a:lnTo>
                    <a:lnTo>
                      <a:pt x="1401143" y="7535159"/>
                    </a:lnTo>
                    <a:lnTo>
                      <a:pt x="1405694" y="7566590"/>
                    </a:lnTo>
                    <a:lnTo>
                      <a:pt x="1409607" y="7594836"/>
                    </a:lnTo>
                    <a:lnTo>
                      <a:pt x="1430431" y="7644033"/>
                    </a:lnTo>
                    <a:lnTo>
                      <a:pt x="1427454" y="7671323"/>
                    </a:lnTo>
                    <a:lnTo>
                      <a:pt x="1425061" y="7692875"/>
                    </a:lnTo>
                    <a:lnTo>
                      <a:pt x="1411852" y="7715173"/>
                    </a:lnTo>
                    <a:lnTo>
                      <a:pt x="1409775" y="7737972"/>
                    </a:lnTo>
                    <a:lnTo>
                      <a:pt x="1458566" y="7840951"/>
                    </a:lnTo>
                    <a:lnTo>
                      <a:pt x="1469622" y="7860392"/>
                    </a:lnTo>
                    <a:lnTo>
                      <a:pt x="1480109" y="7878819"/>
                    </a:lnTo>
                    <a:lnTo>
                      <a:pt x="1480735" y="7900193"/>
                    </a:lnTo>
                    <a:lnTo>
                      <a:pt x="1476425" y="7922965"/>
                    </a:lnTo>
                    <a:lnTo>
                      <a:pt x="1472115" y="7945731"/>
                    </a:lnTo>
                    <a:lnTo>
                      <a:pt x="1463124" y="7968931"/>
                    </a:lnTo>
                    <a:lnTo>
                      <a:pt x="1454659" y="7992330"/>
                    </a:lnTo>
                    <a:lnTo>
                      <a:pt x="1446194" y="8015730"/>
                    </a:lnTo>
                    <a:lnTo>
                      <a:pt x="1437606" y="8038660"/>
                    </a:lnTo>
                    <a:lnTo>
                      <a:pt x="1433612" y="8079304"/>
                    </a:lnTo>
                    <a:lnTo>
                      <a:pt x="1453301" y="8110670"/>
                    </a:lnTo>
                    <a:lnTo>
                      <a:pt x="1478614" y="8133303"/>
                    </a:lnTo>
                    <a:lnTo>
                      <a:pt x="1510612" y="8139198"/>
                    </a:lnTo>
                    <a:lnTo>
                      <a:pt x="1543069" y="8144672"/>
                    </a:lnTo>
                    <a:lnTo>
                      <a:pt x="1575538" y="8150153"/>
                    </a:lnTo>
                    <a:lnTo>
                      <a:pt x="1607964" y="8156154"/>
                    </a:lnTo>
                    <a:lnTo>
                      <a:pt x="1632850" y="8177317"/>
                    </a:lnTo>
                    <a:lnTo>
                      <a:pt x="1634201" y="8209282"/>
                    </a:lnTo>
                    <a:lnTo>
                      <a:pt x="1633439" y="8249598"/>
                    </a:lnTo>
                    <a:lnTo>
                      <a:pt x="1624683" y="8280692"/>
                    </a:lnTo>
                    <a:lnTo>
                      <a:pt x="1612863" y="8306987"/>
                    </a:lnTo>
                    <a:lnTo>
                      <a:pt x="1593739" y="8363346"/>
                    </a:lnTo>
                    <a:lnTo>
                      <a:pt x="1586384" y="8412188"/>
                    </a:lnTo>
                    <a:lnTo>
                      <a:pt x="1585237" y="8457522"/>
                    </a:lnTo>
                    <a:lnTo>
                      <a:pt x="1584580" y="8484047"/>
                    </a:lnTo>
                    <a:lnTo>
                      <a:pt x="1580816" y="8519797"/>
                    </a:lnTo>
                    <a:lnTo>
                      <a:pt x="1589330" y="8545933"/>
                    </a:lnTo>
                    <a:lnTo>
                      <a:pt x="1604113" y="8574423"/>
                    </a:lnTo>
                    <a:lnTo>
                      <a:pt x="1628943" y="8593614"/>
                    </a:lnTo>
                    <a:lnTo>
                      <a:pt x="1660060" y="8605782"/>
                    </a:lnTo>
                    <a:lnTo>
                      <a:pt x="1692437" y="8614751"/>
                    </a:lnTo>
                    <a:lnTo>
                      <a:pt x="1729253" y="8615134"/>
                    </a:lnTo>
                    <a:lnTo>
                      <a:pt x="1756625" y="8612582"/>
                    </a:lnTo>
                    <a:lnTo>
                      <a:pt x="1782093" y="8642549"/>
                    </a:lnTo>
                    <a:lnTo>
                      <a:pt x="1802042" y="8664259"/>
                    </a:lnTo>
                    <a:lnTo>
                      <a:pt x="1830084" y="8658824"/>
                    </a:lnTo>
                    <a:lnTo>
                      <a:pt x="1855968" y="8644461"/>
                    </a:lnTo>
                    <a:lnTo>
                      <a:pt x="1888487" y="8610016"/>
                    </a:lnTo>
                    <a:lnTo>
                      <a:pt x="1905596" y="8581650"/>
                    </a:lnTo>
                    <a:lnTo>
                      <a:pt x="1938840" y="8586729"/>
                    </a:lnTo>
                    <a:lnTo>
                      <a:pt x="1953289" y="8626469"/>
                    </a:lnTo>
                    <a:lnTo>
                      <a:pt x="1985380" y="8650277"/>
                    </a:lnTo>
                    <a:lnTo>
                      <a:pt x="2000046" y="8687387"/>
                    </a:lnTo>
                    <a:lnTo>
                      <a:pt x="2008988" y="8709974"/>
                    </a:lnTo>
                    <a:lnTo>
                      <a:pt x="2009961" y="8734739"/>
                    </a:lnTo>
                    <a:lnTo>
                      <a:pt x="2012287" y="8758117"/>
                    </a:lnTo>
                    <a:lnTo>
                      <a:pt x="2014594" y="8781489"/>
                    </a:lnTo>
                    <a:lnTo>
                      <a:pt x="2018643" y="8803597"/>
                    </a:lnTo>
                    <a:lnTo>
                      <a:pt x="2035411" y="8824766"/>
                    </a:lnTo>
                    <a:lnTo>
                      <a:pt x="2065462" y="8862595"/>
                    </a:lnTo>
                    <a:lnTo>
                      <a:pt x="2120783" y="8876226"/>
                    </a:lnTo>
                    <a:lnTo>
                      <a:pt x="2151026" y="8915900"/>
                    </a:lnTo>
                    <a:lnTo>
                      <a:pt x="2167403" y="8937393"/>
                    </a:lnTo>
                    <a:lnTo>
                      <a:pt x="2186217" y="8964788"/>
                    </a:lnTo>
                    <a:lnTo>
                      <a:pt x="2199990" y="8994788"/>
                    </a:lnTo>
                    <a:lnTo>
                      <a:pt x="2213769" y="9024796"/>
                    </a:lnTo>
                    <a:lnTo>
                      <a:pt x="2222321" y="9057083"/>
                    </a:lnTo>
                    <a:lnTo>
                      <a:pt x="2217670" y="9085924"/>
                    </a:lnTo>
                    <a:lnTo>
                      <a:pt x="2213254" y="9113385"/>
                    </a:lnTo>
                    <a:lnTo>
                      <a:pt x="2202043" y="9132629"/>
                    </a:lnTo>
                    <a:lnTo>
                      <a:pt x="2186391" y="9147131"/>
                    </a:lnTo>
                    <a:lnTo>
                      <a:pt x="2170739" y="9161634"/>
                    </a:lnTo>
                    <a:lnTo>
                      <a:pt x="2150207" y="9170939"/>
                    </a:lnTo>
                    <a:lnTo>
                      <a:pt x="2127902" y="9177059"/>
                    </a:lnTo>
                    <a:lnTo>
                      <a:pt x="2083284" y="9189292"/>
                    </a:lnTo>
                    <a:lnTo>
                      <a:pt x="2030438" y="9189992"/>
                    </a:lnTo>
                    <a:lnTo>
                      <a:pt x="1986447" y="9196098"/>
                    </a:lnTo>
                    <a:lnTo>
                      <a:pt x="1957878" y="9216503"/>
                    </a:lnTo>
                    <a:lnTo>
                      <a:pt x="1963446" y="9247275"/>
                    </a:lnTo>
                    <a:lnTo>
                      <a:pt x="1970373" y="9272401"/>
                    </a:lnTo>
                    <a:lnTo>
                      <a:pt x="1979644" y="9300831"/>
                    </a:lnTo>
                    <a:lnTo>
                      <a:pt x="1996431" y="9352351"/>
                    </a:lnTo>
                    <a:lnTo>
                      <a:pt x="2004424" y="9402934"/>
                    </a:lnTo>
                    <a:lnTo>
                      <a:pt x="2019090" y="9454540"/>
                    </a:lnTo>
                    <a:lnTo>
                      <a:pt x="2051478" y="9486755"/>
                    </a:lnTo>
                    <a:lnTo>
                      <a:pt x="2125861" y="9489855"/>
                    </a:lnTo>
                    <a:lnTo>
                      <a:pt x="2192809" y="9497847"/>
                    </a:lnTo>
                    <a:lnTo>
                      <a:pt x="2257122" y="9488542"/>
                    </a:lnTo>
                    <a:lnTo>
                      <a:pt x="2340732" y="9476382"/>
                    </a:lnTo>
                    <a:lnTo>
                      <a:pt x="2426724" y="9458358"/>
                    </a:lnTo>
                    <a:lnTo>
                      <a:pt x="2511481" y="9453174"/>
                    </a:lnTo>
                    <a:lnTo>
                      <a:pt x="2542655" y="9493958"/>
                    </a:lnTo>
                    <a:lnTo>
                      <a:pt x="2554728" y="9532907"/>
                    </a:lnTo>
                    <a:lnTo>
                      <a:pt x="2564526" y="9572872"/>
                    </a:lnTo>
                    <a:lnTo>
                      <a:pt x="2574324" y="9612837"/>
                    </a:lnTo>
                    <a:lnTo>
                      <a:pt x="2581933" y="9654166"/>
                    </a:lnTo>
                    <a:lnTo>
                      <a:pt x="2594453" y="9692569"/>
                    </a:lnTo>
                    <a:lnTo>
                      <a:pt x="2609962" y="9740091"/>
                    </a:lnTo>
                    <a:lnTo>
                      <a:pt x="2639039" y="9785960"/>
                    </a:lnTo>
                    <a:lnTo>
                      <a:pt x="2658375" y="9832672"/>
                    </a:lnTo>
                    <a:lnTo>
                      <a:pt x="2647008" y="9879224"/>
                    </a:lnTo>
                    <a:lnTo>
                      <a:pt x="2639337" y="9906118"/>
                    </a:lnTo>
                    <a:lnTo>
                      <a:pt x="2631672" y="9933019"/>
                    </a:lnTo>
                    <a:lnTo>
                      <a:pt x="2626253" y="9959340"/>
                    </a:lnTo>
                    <a:lnTo>
                      <a:pt x="2636584" y="9990349"/>
                    </a:lnTo>
                    <a:lnTo>
                      <a:pt x="2666548" y="10014935"/>
                    </a:lnTo>
                    <a:lnTo>
                      <a:pt x="2706186" y="10037450"/>
                    </a:lnTo>
                    <a:lnTo>
                      <a:pt x="2729111" y="10047580"/>
                    </a:lnTo>
                    <a:lnTo>
                      <a:pt x="2774950" y="10067853"/>
                    </a:lnTo>
                    <a:lnTo>
                      <a:pt x="2824033" y="10083977"/>
                    </a:lnTo>
                    <a:lnTo>
                      <a:pt x="2844726" y="10092471"/>
                    </a:lnTo>
                    <a:lnTo>
                      <a:pt x="2890174" y="10111115"/>
                    </a:lnTo>
                    <a:lnTo>
                      <a:pt x="2933607" y="10134678"/>
                    </a:lnTo>
                    <a:lnTo>
                      <a:pt x="2979384" y="10152319"/>
                    </a:lnTo>
                    <a:lnTo>
                      <a:pt x="3001194" y="10160734"/>
                    </a:lnTo>
                    <a:lnTo>
                      <a:pt x="3026482" y="10163966"/>
                    </a:lnTo>
                    <a:lnTo>
                      <a:pt x="3048763" y="10171360"/>
                    </a:lnTo>
                    <a:lnTo>
                      <a:pt x="3149371" y="10204768"/>
                    </a:lnTo>
                    <a:lnTo>
                      <a:pt x="3228262" y="10242558"/>
                    </a:lnTo>
                    <a:lnTo>
                      <a:pt x="3320802" y="10297856"/>
                    </a:lnTo>
                    <a:lnTo>
                      <a:pt x="3363342" y="10322079"/>
                    </a:lnTo>
                    <a:lnTo>
                      <a:pt x="3386088" y="10340024"/>
                    </a:lnTo>
                    <a:lnTo>
                      <a:pt x="3408828" y="10357975"/>
                    </a:lnTo>
                    <a:lnTo>
                      <a:pt x="3428275" y="10380279"/>
                    </a:lnTo>
                    <a:lnTo>
                      <a:pt x="3432330" y="10403955"/>
                    </a:lnTo>
                    <a:lnTo>
                      <a:pt x="3424808" y="10438215"/>
                    </a:lnTo>
                    <a:lnTo>
                      <a:pt x="3387930" y="10486286"/>
                    </a:lnTo>
                    <a:lnTo>
                      <a:pt x="3360242" y="10535892"/>
                    </a:lnTo>
                    <a:lnTo>
                      <a:pt x="3346401" y="10560696"/>
                    </a:lnTo>
                    <a:lnTo>
                      <a:pt x="3334476" y="10585598"/>
                    </a:lnTo>
                    <a:lnTo>
                      <a:pt x="3330321" y="10609347"/>
                    </a:lnTo>
                    <a:lnTo>
                      <a:pt x="3326142" y="10633088"/>
                    </a:lnTo>
                    <a:lnTo>
                      <a:pt x="3329862" y="10655220"/>
                    </a:lnTo>
                    <a:lnTo>
                      <a:pt x="3345278" y="10674636"/>
                    </a:lnTo>
                    <a:lnTo>
                      <a:pt x="3451380" y="10809291"/>
                    </a:lnTo>
                    <a:lnTo>
                      <a:pt x="3499830" y="10820957"/>
                    </a:lnTo>
                    <a:lnTo>
                      <a:pt x="3621634" y="10811434"/>
                    </a:lnTo>
                    <a:lnTo>
                      <a:pt x="3691874" y="10806422"/>
                    </a:lnTo>
                    <a:lnTo>
                      <a:pt x="3761507" y="10810655"/>
                    </a:lnTo>
                    <a:lnTo>
                      <a:pt x="3831128" y="10814883"/>
                    </a:lnTo>
                    <a:lnTo>
                      <a:pt x="3901027" y="10827783"/>
                    </a:lnTo>
                    <a:lnTo>
                      <a:pt x="4010422" y="10854175"/>
                    </a:lnTo>
                    <a:lnTo>
                      <a:pt x="4034638" y="10860025"/>
                    </a:lnTo>
                    <a:lnTo>
                      <a:pt x="4070270" y="10869139"/>
                    </a:lnTo>
                    <a:lnTo>
                      <a:pt x="4103936" y="10880166"/>
                    </a:lnTo>
                    <a:lnTo>
                      <a:pt x="4124679" y="10888186"/>
                    </a:lnTo>
                    <a:lnTo>
                      <a:pt x="4149397" y="10897742"/>
                    </a:lnTo>
                    <a:lnTo>
                      <a:pt x="4169563" y="10919472"/>
                    </a:lnTo>
                    <a:lnTo>
                      <a:pt x="4175801" y="10949287"/>
                    </a:lnTo>
                    <a:lnTo>
                      <a:pt x="4173650" y="10976597"/>
                    </a:lnTo>
                    <a:lnTo>
                      <a:pt x="4170952" y="11010494"/>
                    </a:lnTo>
                    <a:lnTo>
                      <a:pt x="4164001" y="11044313"/>
                    </a:lnTo>
                    <a:lnTo>
                      <a:pt x="4155964" y="11077255"/>
                    </a:lnTo>
                    <a:lnTo>
                      <a:pt x="4147933" y="11110189"/>
                    </a:lnTo>
                    <a:lnTo>
                      <a:pt x="4138452" y="11142248"/>
                    </a:lnTo>
                    <a:lnTo>
                      <a:pt x="4130130" y="11175190"/>
                    </a:lnTo>
                    <a:lnTo>
                      <a:pt x="4128765" y="11206937"/>
                    </a:lnTo>
                    <a:lnTo>
                      <a:pt x="4145062" y="11230487"/>
                    </a:lnTo>
                    <a:lnTo>
                      <a:pt x="4172285" y="11249995"/>
                    </a:lnTo>
                    <a:lnTo>
                      <a:pt x="4200079" y="11267860"/>
                    </a:lnTo>
                    <a:lnTo>
                      <a:pt x="4231990" y="11282515"/>
                    </a:lnTo>
                    <a:lnTo>
                      <a:pt x="4241652" y="11307126"/>
                    </a:lnTo>
                    <a:lnTo>
                      <a:pt x="4241199" y="11348100"/>
                    </a:lnTo>
                    <a:lnTo>
                      <a:pt x="4225460" y="11404216"/>
                    </a:lnTo>
                    <a:lnTo>
                      <a:pt x="4207651" y="11462186"/>
                    </a:lnTo>
                    <a:lnTo>
                      <a:pt x="4190138" y="11519172"/>
                    </a:lnTo>
                    <a:lnTo>
                      <a:pt x="4172490" y="11577663"/>
                    </a:lnTo>
                    <a:lnTo>
                      <a:pt x="4165483" y="11628134"/>
                    </a:lnTo>
                    <a:lnTo>
                      <a:pt x="4206324" y="11628398"/>
                    </a:lnTo>
                    <a:lnTo>
                      <a:pt x="4250339" y="11630765"/>
                    </a:lnTo>
                    <a:lnTo>
                      <a:pt x="4270220" y="11641732"/>
                    </a:lnTo>
                    <a:lnTo>
                      <a:pt x="4348008" y="11684790"/>
                    </a:lnTo>
                    <a:lnTo>
                      <a:pt x="4414832" y="11791701"/>
                    </a:lnTo>
                    <a:lnTo>
                      <a:pt x="4509617" y="11795440"/>
                    </a:lnTo>
                    <a:lnTo>
                      <a:pt x="4552337" y="11797141"/>
                    </a:lnTo>
                    <a:lnTo>
                      <a:pt x="4704761" y="11739501"/>
                    </a:lnTo>
                    <a:lnTo>
                      <a:pt x="4761260" y="11727426"/>
                    </a:lnTo>
                    <a:lnTo>
                      <a:pt x="4823309" y="11714124"/>
                    </a:lnTo>
                    <a:lnTo>
                      <a:pt x="4888310" y="11694656"/>
                    </a:lnTo>
                    <a:lnTo>
                      <a:pt x="4951686" y="11692065"/>
                    </a:lnTo>
                    <a:lnTo>
                      <a:pt x="5004352" y="11689941"/>
                    </a:lnTo>
                    <a:lnTo>
                      <a:pt x="5058073" y="11703243"/>
                    </a:lnTo>
                    <a:lnTo>
                      <a:pt x="5110826" y="11701581"/>
                    </a:lnTo>
                    <a:lnTo>
                      <a:pt x="5167139" y="11699840"/>
                    </a:lnTo>
                    <a:lnTo>
                      <a:pt x="5224103" y="11690237"/>
                    </a:lnTo>
                    <a:lnTo>
                      <a:pt x="5280844" y="11696147"/>
                    </a:lnTo>
                    <a:lnTo>
                      <a:pt x="5406194" y="11709153"/>
                    </a:lnTo>
                    <a:lnTo>
                      <a:pt x="5414107" y="11804534"/>
                    </a:lnTo>
                    <a:lnTo>
                      <a:pt x="5474004" y="11817203"/>
                    </a:lnTo>
                    <a:lnTo>
                      <a:pt x="5543451" y="11831909"/>
                    </a:lnTo>
                    <a:lnTo>
                      <a:pt x="5626894" y="11755950"/>
                    </a:lnTo>
                    <a:lnTo>
                      <a:pt x="5692986" y="11761430"/>
                    </a:lnTo>
                    <a:lnTo>
                      <a:pt x="5716538" y="11763428"/>
                    </a:lnTo>
                    <a:lnTo>
                      <a:pt x="5763766" y="11790631"/>
                    </a:lnTo>
                    <a:lnTo>
                      <a:pt x="5788205" y="11800880"/>
                    </a:lnTo>
                    <a:lnTo>
                      <a:pt x="5891064" y="11843853"/>
                    </a:lnTo>
                    <a:lnTo>
                      <a:pt x="6002133" y="11760415"/>
                    </a:lnTo>
                    <a:lnTo>
                      <a:pt x="6130975" y="11765512"/>
                    </a:lnTo>
                    <a:lnTo>
                      <a:pt x="6255935" y="11770445"/>
                    </a:lnTo>
                    <a:lnTo>
                      <a:pt x="6433493" y="11871862"/>
                    </a:lnTo>
                    <a:lnTo>
                      <a:pt x="6567606" y="11877052"/>
                    </a:lnTo>
                    <a:lnTo>
                      <a:pt x="6617209" y="11878958"/>
                    </a:lnTo>
                    <a:lnTo>
                      <a:pt x="6704850" y="11834072"/>
                    </a:lnTo>
                    <a:lnTo>
                      <a:pt x="6733537" y="11794075"/>
                    </a:lnTo>
                    <a:lnTo>
                      <a:pt x="6750286" y="11770781"/>
                    </a:lnTo>
                    <a:lnTo>
                      <a:pt x="6781614" y="11722539"/>
                    </a:lnTo>
                    <a:lnTo>
                      <a:pt x="6798829" y="11702947"/>
                    </a:lnTo>
                    <a:lnTo>
                      <a:pt x="6921203" y="11564248"/>
                    </a:lnTo>
                    <a:lnTo>
                      <a:pt x="6815070" y="11481404"/>
                    </a:lnTo>
                    <a:lnTo>
                      <a:pt x="6820595" y="11360175"/>
                    </a:lnTo>
                    <a:lnTo>
                      <a:pt x="6824973" y="11264747"/>
                    </a:lnTo>
                    <a:lnTo>
                      <a:pt x="6907325" y="11171278"/>
                    </a:lnTo>
                    <a:lnTo>
                      <a:pt x="6904931" y="11081330"/>
                    </a:lnTo>
                    <a:lnTo>
                      <a:pt x="6904329" y="11059995"/>
                    </a:lnTo>
                    <a:lnTo>
                      <a:pt x="6894643" y="11038911"/>
                    </a:lnTo>
                    <a:lnTo>
                      <a:pt x="6888609" y="11018765"/>
                    </a:lnTo>
                    <a:lnTo>
                      <a:pt x="6875897" y="10976642"/>
                    </a:lnTo>
                    <a:lnTo>
                      <a:pt x="6838281" y="10924912"/>
                    </a:lnTo>
                    <a:lnTo>
                      <a:pt x="6748711" y="10805129"/>
                    </a:lnTo>
                    <a:lnTo>
                      <a:pt x="6751241" y="10783452"/>
                    </a:lnTo>
                    <a:lnTo>
                      <a:pt x="6768449" y="10756710"/>
                    </a:lnTo>
                    <a:lnTo>
                      <a:pt x="6956785" y="10701583"/>
                    </a:lnTo>
                    <a:lnTo>
                      <a:pt x="6993347" y="10700481"/>
                    </a:lnTo>
                    <a:lnTo>
                      <a:pt x="7020763" y="10699585"/>
                    </a:lnTo>
                    <a:lnTo>
                      <a:pt x="7048011" y="10706818"/>
                    </a:lnTo>
                    <a:lnTo>
                      <a:pt x="7074961" y="10707280"/>
                    </a:lnTo>
                    <a:lnTo>
                      <a:pt x="7087710" y="10681521"/>
                    </a:lnTo>
                    <a:lnTo>
                      <a:pt x="7070539" y="10663240"/>
                    </a:lnTo>
                    <a:lnTo>
                      <a:pt x="7059997" y="10643349"/>
                    </a:lnTo>
                    <a:lnTo>
                      <a:pt x="7049710" y="10623796"/>
                    </a:lnTo>
                    <a:lnTo>
                      <a:pt x="7030114" y="10609426"/>
                    </a:lnTo>
                    <a:lnTo>
                      <a:pt x="7021910" y="10588942"/>
                    </a:lnTo>
                    <a:lnTo>
                      <a:pt x="7007567" y="10553105"/>
                    </a:lnTo>
                    <a:lnTo>
                      <a:pt x="7015076" y="10518383"/>
                    </a:lnTo>
                    <a:lnTo>
                      <a:pt x="7006953" y="10481485"/>
                    </a:lnTo>
                    <a:lnTo>
                      <a:pt x="6998290" y="10459933"/>
                    </a:lnTo>
                    <a:lnTo>
                      <a:pt x="6959724" y="10265132"/>
                    </a:lnTo>
                    <a:lnTo>
                      <a:pt x="7107610" y="10268146"/>
                    </a:lnTo>
                    <a:lnTo>
                      <a:pt x="7144333" y="10161836"/>
                    </a:lnTo>
                    <a:lnTo>
                      <a:pt x="7154230" y="10132977"/>
                    </a:lnTo>
                    <a:lnTo>
                      <a:pt x="7153772" y="10105007"/>
                    </a:lnTo>
                    <a:lnTo>
                      <a:pt x="7160655" y="10076148"/>
                    </a:lnTo>
                    <a:lnTo>
                      <a:pt x="7182799" y="9983483"/>
                    </a:lnTo>
                    <a:lnTo>
                      <a:pt x="7237890" y="9873091"/>
                    </a:lnTo>
                    <a:lnTo>
                      <a:pt x="7299394" y="9800026"/>
                    </a:lnTo>
                    <a:lnTo>
                      <a:pt x="7341648" y="9749912"/>
                    </a:lnTo>
                    <a:lnTo>
                      <a:pt x="7439280" y="9742981"/>
                    </a:lnTo>
                    <a:lnTo>
                      <a:pt x="7495264" y="9698010"/>
                    </a:lnTo>
                    <a:lnTo>
                      <a:pt x="7533854" y="9661282"/>
                    </a:lnTo>
                    <a:lnTo>
                      <a:pt x="7576233" y="9589325"/>
                    </a:lnTo>
                    <a:lnTo>
                      <a:pt x="7614072" y="9389415"/>
                    </a:lnTo>
                    <a:lnTo>
                      <a:pt x="7530629" y="9359322"/>
                    </a:lnTo>
                    <a:lnTo>
                      <a:pt x="7504615" y="9349588"/>
                    </a:lnTo>
                    <a:lnTo>
                      <a:pt x="7458199" y="9355075"/>
                    </a:lnTo>
                    <a:lnTo>
                      <a:pt x="7353288" y="9386018"/>
                    </a:lnTo>
                    <a:lnTo>
                      <a:pt x="7326598" y="9404206"/>
                    </a:lnTo>
                    <a:lnTo>
                      <a:pt x="7299518" y="9422698"/>
                    </a:lnTo>
                    <a:lnTo>
                      <a:pt x="7271594" y="9448030"/>
                    </a:lnTo>
                    <a:lnTo>
                      <a:pt x="7242268" y="9462697"/>
                    </a:lnTo>
                    <a:lnTo>
                      <a:pt x="7145772" y="9265134"/>
                    </a:lnTo>
                    <a:lnTo>
                      <a:pt x="6995902" y="9356262"/>
                    </a:lnTo>
                    <a:lnTo>
                      <a:pt x="6959346" y="9264111"/>
                    </a:lnTo>
                    <a:lnTo>
                      <a:pt x="6956084" y="9206558"/>
                    </a:lnTo>
                    <a:lnTo>
                      <a:pt x="7108075" y="9190954"/>
                    </a:lnTo>
                    <a:lnTo>
                      <a:pt x="7162013" y="9145773"/>
                    </a:lnTo>
                    <a:lnTo>
                      <a:pt x="7211957" y="9103862"/>
                    </a:lnTo>
                    <a:lnTo>
                      <a:pt x="7226970" y="9034193"/>
                    </a:lnTo>
                    <a:lnTo>
                      <a:pt x="7259948" y="8986630"/>
                    </a:lnTo>
                    <a:lnTo>
                      <a:pt x="7193726" y="8950287"/>
                    </a:lnTo>
                    <a:lnTo>
                      <a:pt x="7219957" y="8833351"/>
                    </a:lnTo>
                    <a:lnTo>
                      <a:pt x="7202817" y="8773074"/>
                    </a:lnTo>
                    <a:lnTo>
                      <a:pt x="7196361" y="8750335"/>
                    </a:lnTo>
                    <a:lnTo>
                      <a:pt x="7161374" y="8728104"/>
                    </a:lnTo>
                    <a:lnTo>
                      <a:pt x="7153852" y="8702352"/>
                    </a:lnTo>
                    <a:lnTo>
                      <a:pt x="7144513" y="8669831"/>
                    </a:lnTo>
                    <a:lnTo>
                      <a:pt x="7162528" y="8624135"/>
                    </a:lnTo>
                    <a:lnTo>
                      <a:pt x="7144333" y="8592169"/>
                    </a:lnTo>
                    <a:lnTo>
                      <a:pt x="7106760" y="8526181"/>
                    </a:lnTo>
                    <a:lnTo>
                      <a:pt x="6936867" y="8414944"/>
                    </a:lnTo>
                    <a:lnTo>
                      <a:pt x="6975668" y="8336453"/>
                    </a:lnTo>
                    <a:lnTo>
                      <a:pt x="7008273" y="8324015"/>
                    </a:lnTo>
                    <a:lnTo>
                      <a:pt x="7045040" y="8321488"/>
                    </a:lnTo>
                    <a:lnTo>
                      <a:pt x="7062931" y="8307890"/>
                    </a:lnTo>
                    <a:lnTo>
                      <a:pt x="7071308" y="8259134"/>
                    </a:lnTo>
                    <a:lnTo>
                      <a:pt x="7054937" y="8237833"/>
                    </a:lnTo>
                    <a:lnTo>
                      <a:pt x="7049114" y="8207231"/>
                    </a:lnTo>
                    <a:lnTo>
                      <a:pt x="7039720" y="8157672"/>
                    </a:lnTo>
                    <a:lnTo>
                      <a:pt x="7043719" y="8027256"/>
                    </a:lnTo>
                    <a:lnTo>
                      <a:pt x="7012397" y="7990959"/>
                    </a:lnTo>
                    <a:lnTo>
                      <a:pt x="6994370" y="7970046"/>
                    </a:lnTo>
                    <a:lnTo>
                      <a:pt x="6970316" y="7960352"/>
                    </a:lnTo>
                    <a:lnTo>
                      <a:pt x="6952544" y="7940634"/>
                    </a:lnTo>
                    <a:lnTo>
                      <a:pt x="6927764" y="7913172"/>
                    </a:lnTo>
                    <a:lnTo>
                      <a:pt x="6865107" y="7865972"/>
                    </a:lnTo>
                    <a:lnTo>
                      <a:pt x="6830126" y="7856298"/>
                    </a:lnTo>
                    <a:lnTo>
                      <a:pt x="6760289" y="7837020"/>
                    </a:lnTo>
                    <a:lnTo>
                      <a:pt x="6671792" y="7868096"/>
                    </a:lnTo>
                    <a:lnTo>
                      <a:pt x="6597533" y="7860374"/>
                    </a:lnTo>
                    <a:lnTo>
                      <a:pt x="6523534" y="7852703"/>
                    </a:lnTo>
                    <a:lnTo>
                      <a:pt x="6460028" y="7811215"/>
                    </a:lnTo>
                    <a:lnTo>
                      <a:pt x="6378538" y="7831811"/>
                    </a:lnTo>
                    <a:lnTo>
                      <a:pt x="6360561" y="7798441"/>
                    </a:lnTo>
                    <a:lnTo>
                      <a:pt x="6325152" y="7738400"/>
                    </a:lnTo>
                    <a:lnTo>
                      <a:pt x="6329574" y="7701231"/>
                    </a:lnTo>
                    <a:lnTo>
                      <a:pt x="6333102" y="7671990"/>
                    </a:lnTo>
                    <a:lnTo>
                      <a:pt x="6348103" y="7648993"/>
                    </a:lnTo>
                    <a:lnTo>
                      <a:pt x="6360859" y="7623701"/>
                    </a:lnTo>
                    <a:lnTo>
                      <a:pt x="6376963" y="7591776"/>
                    </a:lnTo>
                    <a:lnTo>
                      <a:pt x="6385849" y="7555392"/>
                    </a:lnTo>
                    <a:lnTo>
                      <a:pt x="6401662" y="7523044"/>
                    </a:lnTo>
                    <a:lnTo>
                      <a:pt x="6427800" y="7469619"/>
                    </a:lnTo>
                    <a:lnTo>
                      <a:pt x="6472095" y="7421008"/>
                    </a:lnTo>
                    <a:lnTo>
                      <a:pt x="6490073" y="7363902"/>
                    </a:lnTo>
                    <a:lnTo>
                      <a:pt x="6503052" y="7322605"/>
                    </a:lnTo>
                    <a:lnTo>
                      <a:pt x="6503889" y="7266483"/>
                    </a:lnTo>
                    <a:lnTo>
                      <a:pt x="6498239" y="7223800"/>
                    </a:lnTo>
                    <a:lnTo>
                      <a:pt x="6487437" y="7190094"/>
                    </a:lnTo>
                    <a:lnTo>
                      <a:pt x="6491437" y="7168033"/>
                    </a:lnTo>
                    <a:lnTo>
                      <a:pt x="6497892" y="7132137"/>
                    </a:lnTo>
                    <a:lnTo>
                      <a:pt x="6524043" y="7104677"/>
                    </a:lnTo>
                    <a:lnTo>
                      <a:pt x="6536321" y="7071457"/>
                    </a:lnTo>
                    <a:lnTo>
                      <a:pt x="6554980" y="7020921"/>
                    </a:lnTo>
                    <a:lnTo>
                      <a:pt x="6563612" y="6966382"/>
                    </a:lnTo>
                    <a:lnTo>
                      <a:pt x="6579847" y="6915033"/>
                    </a:lnTo>
                    <a:lnTo>
                      <a:pt x="6597068" y="6891154"/>
                    </a:lnTo>
                    <a:lnTo>
                      <a:pt x="6657331" y="6907469"/>
                    </a:lnTo>
                    <a:lnTo>
                      <a:pt x="6684585" y="6893276"/>
                    </a:lnTo>
                    <a:lnTo>
                      <a:pt x="6699288" y="6875530"/>
                    </a:lnTo>
                    <a:lnTo>
                      <a:pt x="6706227" y="6830810"/>
                    </a:lnTo>
                    <a:lnTo>
                      <a:pt x="6714512" y="6807582"/>
                    </a:lnTo>
                    <a:lnTo>
                      <a:pt x="6723013" y="6783715"/>
                    </a:lnTo>
                    <a:lnTo>
                      <a:pt x="6738014" y="6751579"/>
                    </a:lnTo>
                    <a:lnTo>
                      <a:pt x="6751241" y="6730053"/>
                    </a:lnTo>
                    <a:lnTo>
                      <a:pt x="6764760" y="6707966"/>
                    </a:lnTo>
                    <a:lnTo>
                      <a:pt x="6856227" y="6616515"/>
                    </a:lnTo>
                    <a:lnTo>
                      <a:pt x="6877733" y="6604914"/>
                    </a:lnTo>
                    <a:lnTo>
                      <a:pt x="7003257" y="6537304"/>
                    </a:lnTo>
                    <a:lnTo>
                      <a:pt x="7138300" y="6673964"/>
                    </a:lnTo>
                    <a:lnTo>
                      <a:pt x="7240904" y="6725970"/>
                    </a:lnTo>
                    <a:lnTo>
                      <a:pt x="7266410" y="6738890"/>
                    </a:lnTo>
                    <a:lnTo>
                      <a:pt x="7295059" y="6742378"/>
                    </a:lnTo>
                    <a:lnTo>
                      <a:pt x="7321154" y="6753174"/>
                    </a:lnTo>
                    <a:lnTo>
                      <a:pt x="7346275" y="6763523"/>
                    </a:lnTo>
                    <a:lnTo>
                      <a:pt x="7388194" y="6780102"/>
                    </a:lnTo>
                    <a:lnTo>
                      <a:pt x="7415015" y="6779013"/>
                    </a:lnTo>
                    <a:lnTo>
                      <a:pt x="7497980" y="6775637"/>
                    </a:lnTo>
                    <a:lnTo>
                      <a:pt x="7580617" y="6699637"/>
                    </a:lnTo>
                    <a:lnTo>
                      <a:pt x="7635367" y="6645717"/>
                    </a:lnTo>
                    <a:lnTo>
                      <a:pt x="7725476" y="6556983"/>
                    </a:lnTo>
                    <a:lnTo>
                      <a:pt x="7767216" y="6504066"/>
                    </a:lnTo>
                    <a:lnTo>
                      <a:pt x="7804026" y="6377760"/>
                    </a:lnTo>
                    <a:lnTo>
                      <a:pt x="7808448" y="6303376"/>
                    </a:lnTo>
                    <a:lnTo>
                      <a:pt x="7782608" y="6243968"/>
                    </a:lnTo>
                    <a:lnTo>
                      <a:pt x="7706098" y="6219976"/>
                    </a:lnTo>
                    <a:lnTo>
                      <a:pt x="7543038" y="6168886"/>
                    </a:lnTo>
                    <a:lnTo>
                      <a:pt x="7549239" y="6389722"/>
                    </a:lnTo>
                    <a:lnTo>
                      <a:pt x="7451738" y="6400881"/>
                    </a:lnTo>
                    <a:lnTo>
                      <a:pt x="7355074" y="6411974"/>
                    </a:lnTo>
                    <a:lnTo>
                      <a:pt x="7313632" y="6272089"/>
                    </a:lnTo>
                    <a:lnTo>
                      <a:pt x="7268109" y="6256704"/>
                    </a:lnTo>
                    <a:lnTo>
                      <a:pt x="7239633" y="6247095"/>
                    </a:lnTo>
                    <a:lnTo>
                      <a:pt x="7157635" y="6279318"/>
                    </a:lnTo>
                    <a:lnTo>
                      <a:pt x="7100807" y="6277101"/>
                    </a:lnTo>
                    <a:lnTo>
                      <a:pt x="7047552" y="6275058"/>
                    </a:lnTo>
                    <a:lnTo>
                      <a:pt x="7009204" y="6244647"/>
                    </a:lnTo>
                    <a:lnTo>
                      <a:pt x="6963420" y="6222694"/>
                    </a:lnTo>
                    <a:lnTo>
                      <a:pt x="6877143" y="6181357"/>
                    </a:lnTo>
                    <a:lnTo>
                      <a:pt x="6847595" y="6246522"/>
                    </a:lnTo>
                    <a:lnTo>
                      <a:pt x="6719950" y="6171010"/>
                    </a:lnTo>
                    <a:lnTo>
                      <a:pt x="6678297" y="6146377"/>
                    </a:lnTo>
                    <a:lnTo>
                      <a:pt x="6695424" y="6002259"/>
                    </a:lnTo>
                    <a:lnTo>
                      <a:pt x="6634256" y="5945213"/>
                    </a:lnTo>
                    <a:lnTo>
                      <a:pt x="6613308" y="5925706"/>
                    </a:lnTo>
                    <a:lnTo>
                      <a:pt x="6586904" y="5904496"/>
                    </a:lnTo>
                    <a:lnTo>
                      <a:pt x="6563525" y="5888088"/>
                    </a:lnTo>
                    <a:lnTo>
                      <a:pt x="6512818" y="5852555"/>
                    </a:lnTo>
                    <a:lnTo>
                      <a:pt x="6463550" y="5843117"/>
                    </a:lnTo>
                    <a:lnTo>
                      <a:pt x="6460152" y="5771107"/>
                    </a:lnTo>
                    <a:lnTo>
                      <a:pt x="6458583" y="5738357"/>
                    </a:lnTo>
                    <a:lnTo>
                      <a:pt x="6469206" y="5702316"/>
                    </a:lnTo>
                    <a:lnTo>
                      <a:pt x="6471035" y="5669098"/>
                    </a:lnTo>
                    <a:lnTo>
                      <a:pt x="6474384" y="5606545"/>
                    </a:lnTo>
                    <a:lnTo>
                      <a:pt x="6475215" y="5540134"/>
                    </a:lnTo>
                    <a:lnTo>
                      <a:pt x="6495523" y="5480029"/>
                    </a:lnTo>
                    <a:lnTo>
                      <a:pt x="6530634" y="5454249"/>
                    </a:lnTo>
                    <a:lnTo>
                      <a:pt x="6632557" y="5491886"/>
                    </a:lnTo>
                    <a:lnTo>
                      <a:pt x="6677782" y="5493627"/>
                    </a:lnTo>
                    <a:lnTo>
                      <a:pt x="6798841" y="5498302"/>
                    </a:lnTo>
                    <a:lnTo>
                      <a:pt x="6865963" y="5395310"/>
                    </a:lnTo>
                    <a:lnTo>
                      <a:pt x="6948463" y="5378012"/>
                    </a:lnTo>
                    <a:lnTo>
                      <a:pt x="7050187" y="5356677"/>
                    </a:lnTo>
                    <a:lnTo>
                      <a:pt x="7244346" y="5443005"/>
                    </a:lnTo>
                    <a:lnTo>
                      <a:pt x="7321154" y="5376654"/>
                    </a:lnTo>
                    <a:lnTo>
                      <a:pt x="7370378" y="5334170"/>
                    </a:lnTo>
                    <a:lnTo>
                      <a:pt x="7317154" y="5267033"/>
                    </a:lnTo>
                    <a:lnTo>
                      <a:pt x="7319802" y="5216154"/>
                    </a:lnTo>
                    <a:lnTo>
                      <a:pt x="7321978" y="5175199"/>
                    </a:lnTo>
                    <a:lnTo>
                      <a:pt x="7344253" y="5134621"/>
                    </a:lnTo>
                    <a:lnTo>
                      <a:pt x="7363334" y="5099173"/>
                    </a:lnTo>
                    <a:lnTo>
                      <a:pt x="7385522" y="5057921"/>
                    </a:lnTo>
                    <a:lnTo>
                      <a:pt x="7415653" y="5022877"/>
                    </a:lnTo>
                    <a:lnTo>
                      <a:pt x="7442225" y="4984917"/>
                    </a:lnTo>
                    <a:lnTo>
                      <a:pt x="7523368" y="4868958"/>
                    </a:lnTo>
                    <a:lnTo>
                      <a:pt x="7614116" y="4827027"/>
                    </a:lnTo>
                    <a:lnTo>
                      <a:pt x="7725141" y="4749604"/>
                    </a:lnTo>
                    <a:lnTo>
                      <a:pt x="7754305" y="4729284"/>
                    </a:lnTo>
                    <a:lnTo>
                      <a:pt x="7790775" y="4717296"/>
                    </a:lnTo>
                    <a:lnTo>
                      <a:pt x="7823076" y="4693830"/>
                    </a:lnTo>
                    <a:lnTo>
                      <a:pt x="7875185" y="4615688"/>
                    </a:lnTo>
                    <a:lnTo>
                      <a:pt x="7897763" y="4522937"/>
                    </a:lnTo>
                    <a:lnTo>
                      <a:pt x="7952296" y="4447636"/>
                    </a:lnTo>
                    <a:lnTo>
                      <a:pt x="8028379" y="4412888"/>
                    </a:lnTo>
                    <a:lnTo>
                      <a:pt x="8056693" y="4425490"/>
                    </a:lnTo>
                    <a:lnTo>
                      <a:pt x="8119604" y="4359224"/>
                    </a:lnTo>
                    <a:lnTo>
                      <a:pt x="8137370" y="4308411"/>
                    </a:lnTo>
                    <a:lnTo>
                      <a:pt x="8089938" y="4233934"/>
                    </a:lnTo>
                    <a:lnTo>
                      <a:pt x="8097838" y="4174237"/>
                    </a:lnTo>
                    <a:lnTo>
                      <a:pt x="8101707" y="4144890"/>
                    </a:lnTo>
                    <a:lnTo>
                      <a:pt x="8119393" y="4122230"/>
                    </a:lnTo>
                    <a:lnTo>
                      <a:pt x="8129123" y="4095343"/>
                    </a:lnTo>
                    <a:lnTo>
                      <a:pt x="8154411" y="4025338"/>
                    </a:lnTo>
                    <a:lnTo>
                      <a:pt x="8169586" y="3958010"/>
                    </a:lnTo>
                    <a:lnTo>
                      <a:pt x="8157685" y="3883151"/>
                    </a:lnTo>
                    <a:lnTo>
                      <a:pt x="8141401" y="3781057"/>
                    </a:lnTo>
                    <a:lnTo>
                      <a:pt x="8090446" y="3761714"/>
                    </a:lnTo>
                    <a:lnTo>
                      <a:pt x="8031188" y="3688648"/>
                    </a:lnTo>
                    <a:lnTo>
                      <a:pt x="8013762" y="3659235"/>
                    </a:lnTo>
                    <a:lnTo>
                      <a:pt x="7979755" y="3610241"/>
                    </a:lnTo>
                    <a:lnTo>
                      <a:pt x="7946852" y="3575644"/>
                    </a:lnTo>
                    <a:lnTo>
                      <a:pt x="7919653" y="3543105"/>
                    </a:lnTo>
                    <a:lnTo>
                      <a:pt x="7868178" y="3481535"/>
                    </a:lnTo>
                    <a:lnTo>
                      <a:pt x="7834177" y="3403624"/>
                    </a:lnTo>
                    <a:lnTo>
                      <a:pt x="7797236" y="3333637"/>
                    </a:lnTo>
                    <a:lnTo>
                      <a:pt x="7781467" y="3303796"/>
                    </a:lnTo>
                    <a:lnTo>
                      <a:pt x="7751453" y="3274145"/>
                    </a:lnTo>
                    <a:lnTo>
                      <a:pt x="7738747" y="3243862"/>
                    </a:lnTo>
                    <a:lnTo>
                      <a:pt x="7713527" y="3183631"/>
                    </a:lnTo>
                    <a:lnTo>
                      <a:pt x="7719108" y="3099407"/>
                    </a:lnTo>
                    <a:lnTo>
                      <a:pt x="7734654" y="3037111"/>
                    </a:lnTo>
                    <a:lnTo>
                      <a:pt x="7810110" y="2754171"/>
                    </a:lnTo>
                    <a:lnTo>
                      <a:pt x="7972742" y="2856352"/>
                    </a:lnTo>
                    <a:lnTo>
                      <a:pt x="8044781" y="2692982"/>
                    </a:lnTo>
                    <a:lnTo>
                      <a:pt x="8056985" y="2665311"/>
                    </a:lnTo>
                    <a:lnTo>
                      <a:pt x="8064370" y="2642208"/>
                    </a:lnTo>
                    <a:lnTo>
                      <a:pt x="8061102" y="2611371"/>
                    </a:lnTo>
                    <a:lnTo>
                      <a:pt x="8057276" y="2574960"/>
                    </a:lnTo>
                    <a:lnTo>
                      <a:pt x="8033389" y="2541999"/>
                    </a:lnTo>
                    <a:lnTo>
                      <a:pt x="8024385" y="2506631"/>
                    </a:lnTo>
                    <a:lnTo>
                      <a:pt x="7970950" y="2483127"/>
                    </a:lnTo>
                    <a:lnTo>
                      <a:pt x="7945401" y="2498730"/>
                    </a:lnTo>
                    <a:lnTo>
                      <a:pt x="7893807" y="2493031"/>
                    </a:lnTo>
                    <a:lnTo>
                      <a:pt x="7845512" y="2487697"/>
                    </a:lnTo>
                    <a:lnTo>
                      <a:pt x="7815722" y="2460367"/>
                    </a:lnTo>
                    <a:lnTo>
                      <a:pt x="7774106" y="2442706"/>
                    </a:lnTo>
                    <a:lnTo>
                      <a:pt x="7722890" y="2420963"/>
                    </a:lnTo>
                    <a:lnTo>
                      <a:pt x="7591066" y="2420685"/>
                    </a:lnTo>
                    <a:lnTo>
                      <a:pt x="7538790" y="2441348"/>
                    </a:lnTo>
                    <a:lnTo>
                      <a:pt x="7476301" y="2478966"/>
                    </a:lnTo>
                    <a:lnTo>
                      <a:pt x="7422195" y="2547994"/>
                    </a:lnTo>
                    <a:lnTo>
                      <a:pt x="7381776" y="2622148"/>
                    </a:lnTo>
                    <a:lnTo>
                      <a:pt x="7322518" y="2660337"/>
                    </a:lnTo>
                    <a:lnTo>
                      <a:pt x="7282092" y="2686395"/>
                    </a:lnTo>
                    <a:lnTo>
                      <a:pt x="7236700" y="2698403"/>
                    </a:lnTo>
                    <a:lnTo>
                      <a:pt x="7193304" y="2716105"/>
                    </a:lnTo>
                    <a:lnTo>
                      <a:pt x="7085720" y="2759993"/>
                    </a:lnTo>
                    <a:lnTo>
                      <a:pt x="6936011" y="2801819"/>
                    </a:lnTo>
                    <a:lnTo>
                      <a:pt x="6823330" y="2758273"/>
                    </a:lnTo>
                    <a:lnTo>
                      <a:pt x="6797527" y="2724842"/>
                    </a:lnTo>
                    <a:lnTo>
                      <a:pt x="6738225" y="2619766"/>
                    </a:lnTo>
                    <a:lnTo>
                      <a:pt x="6715870" y="2601848"/>
                    </a:lnTo>
                    <a:lnTo>
                      <a:pt x="6698612" y="2587971"/>
                    </a:lnTo>
                    <a:lnTo>
                      <a:pt x="6507504" y="2506229"/>
                    </a:lnTo>
                    <a:lnTo>
                      <a:pt x="6480560" y="2499831"/>
                    </a:lnTo>
                    <a:lnTo>
                      <a:pt x="6401625" y="2481128"/>
                    </a:lnTo>
                    <a:lnTo>
                      <a:pt x="6353461" y="2525426"/>
                    </a:lnTo>
                    <a:lnTo>
                      <a:pt x="6272442" y="2430466"/>
                    </a:lnTo>
                    <a:lnTo>
                      <a:pt x="6210046" y="2357269"/>
                    </a:lnTo>
                    <a:lnTo>
                      <a:pt x="6204347" y="2257232"/>
                    </a:lnTo>
                    <a:lnTo>
                      <a:pt x="6184032" y="2167943"/>
                    </a:lnTo>
                    <a:lnTo>
                      <a:pt x="6169025" y="2101466"/>
                    </a:lnTo>
                    <a:lnTo>
                      <a:pt x="6134690" y="2037008"/>
                    </a:lnTo>
                    <a:lnTo>
                      <a:pt x="6120104" y="1970716"/>
                    </a:lnTo>
                    <a:lnTo>
                      <a:pt x="6111770" y="1932735"/>
                    </a:lnTo>
                    <a:lnTo>
                      <a:pt x="6102754" y="1888088"/>
                    </a:lnTo>
                    <a:lnTo>
                      <a:pt x="6086097" y="1852384"/>
                    </a:lnTo>
                    <a:lnTo>
                      <a:pt x="6074575" y="1831721"/>
                    </a:lnTo>
                    <a:lnTo>
                      <a:pt x="5998413" y="1809002"/>
                    </a:lnTo>
                    <a:lnTo>
                      <a:pt x="5923428" y="1823353"/>
                    </a:lnTo>
                    <a:lnTo>
                      <a:pt x="5854868" y="1804774"/>
                    </a:lnTo>
                    <a:lnTo>
                      <a:pt x="5746298" y="1775336"/>
                    </a:lnTo>
                    <a:lnTo>
                      <a:pt x="5729338" y="1664606"/>
                    </a:lnTo>
                    <a:lnTo>
                      <a:pt x="5616830" y="1678278"/>
                    </a:lnTo>
                    <a:lnTo>
                      <a:pt x="5489656" y="1693750"/>
                    </a:lnTo>
                    <a:lnTo>
                      <a:pt x="5447990" y="1820945"/>
                    </a:lnTo>
                    <a:lnTo>
                      <a:pt x="5272702" y="1814298"/>
                    </a:lnTo>
                    <a:lnTo>
                      <a:pt x="5236996" y="1812952"/>
                    </a:lnTo>
                    <a:lnTo>
                      <a:pt x="5196024" y="1793952"/>
                    </a:lnTo>
                    <a:lnTo>
                      <a:pt x="5162519" y="1783011"/>
                    </a:lnTo>
                    <a:lnTo>
                      <a:pt x="5126478" y="1771173"/>
                    </a:lnTo>
                    <a:lnTo>
                      <a:pt x="5083163" y="1763926"/>
                    </a:lnTo>
                    <a:lnTo>
                      <a:pt x="5049627" y="1746285"/>
                    </a:lnTo>
                    <a:lnTo>
                      <a:pt x="4898052" y="1666566"/>
                    </a:lnTo>
                    <a:lnTo>
                      <a:pt x="4905872" y="1614367"/>
                    </a:lnTo>
                    <a:lnTo>
                      <a:pt x="4871443" y="1464722"/>
                    </a:lnTo>
                    <a:lnTo>
                      <a:pt x="4867474" y="1428489"/>
                    </a:lnTo>
                    <a:lnTo>
                      <a:pt x="4843767" y="1362731"/>
                    </a:lnTo>
                    <a:lnTo>
                      <a:pt x="4801431" y="1313547"/>
                    </a:lnTo>
                    <a:lnTo>
                      <a:pt x="4789829" y="1260696"/>
                    </a:lnTo>
                    <a:lnTo>
                      <a:pt x="4770103" y="1170965"/>
                    </a:lnTo>
                    <a:lnTo>
                      <a:pt x="4799987" y="1110496"/>
                    </a:lnTo>
                    <a:lnTo>
                      <a:pt x="4706857" y="1051222"/>
                    </a:lnTo>
                    <a:lnTo>
                      <a:pt x="4678258" y="1033052"/>
                    </a:lnTo>
                    <a:lnTo>
                      <a:pt x="4637485" y="1034899"/>
                    </a:lnTo>
                    <a:lnTo>
                      <a:pt x="4528890" y="1026636"/>
                    </a:lnTo>
                    <a:lnTo>
                      <a:pt x="4508779" y="1095321"/>
                    </a:lnTo>
                    <a:lnTo>
                      <a:pt x="4457942" y="1165478"/>
                    </a:lnTo>
                    <a:lnTo>
                      <a:pt x="4434093" y="1198360"/>
                    </a:lnTo>
                    <a:lnTo>
                      <a:pt x="4327147" y="1335825"/>
                    </a:lnTo>
                    <a:lnTo>
                      <a:pt x="4304240" y="1351824"/>
                    </a:lnTo>
                    <a:lnTo>
                      <a:pt x="4220754" y="1410017"/>
                    </a:lnTo>
                    <a:lnTo>
                      <a:pt x="4118273" y="1361558"/>
                    </a:lnTo>
                    <a:lnTo>
                      <a:pt x="4026756" y="1395350"/>
                    </a:lnTo>
                    <a:lnTo>
                      <a:pt x="3959176" y="1420305"/>
                    </a:lnTo>
                    <a:lnTo>
                      <a:pt x="3911948" y="1430547"/>
                    </a:lnTo>
                    <a:lnTo>
                      <a:pt x="3839047" y="1421195"/>
                    </a:lnTo>
                    <a:lnTo>
                      <a:pt x="3765172" y="1370038"/>
                    </a:lnTo>
                    <a:lnTo>
                      <a:pt x="3731506" y="1159127"/>
                    </a:lnTo>
                    <a:lnTo>
                      <a:pt x="3643177" y="1102912"/>
                    </a:lnTo>
                    <a:lnTo>
                      <a:pt x="3510217" y="1018326"/>
                    </a:lnTo>
                    <a:lnTo>
                      <a:pt x="3242816" y="1033646"/>
                    </a:lnTo>
                    <a:lnTo>
                      <a:pt x="3187508" y="1002254"/>
                    </a:lnTo>
                    <a:lnTo>
                      <a:pt x="3129918" y="969523"/>
                    </a:lnTo>
                    <a:lnTo>
                      <a:pt x="3107811" y="880578"/>
                    </a:lnTo>
                    <a:lnTo>
                      <a:pt x="3055572" y="840396"/>
                    </a:lnTo>
                    <a:lnTo>
                      <a:pt x="3030451" y="821053"/>
                    </a:lnTo>
                    <a:lnTo>
                      <a:pt x="2988668" y="811740"/>
                    </a:lnTo>
                    <a:lnTo>
                      <a:pt x="2965804" y="790062"/>
                    </a:lnTo>
                    <a:lnTo>
                      <a:pt x="2894180" y="722267"/>
                    </a:lnTo>
                    <a:lnTo>
                      <a:pt x="2985530" y="562150"/>
                    </a:lnTo>
                    <a:lnTo>
                      <a:pt x="2933161" y="520747"/>
                    </a:lnTo>
                    <a:lnTo>
                      <a:pt x="2890993" y="527718"/>
                    </a:lnTo>
                    <a:lnTo>
                      <a:pt x="2866294" y="609053"/>
                    </a:lnTo>
                    <a:lnTo>
                      <a:pt x="2794416" y="630921"/>
                    </a:lnTo>
                    <a:lnTo>
                      <a:pt x="2737328" y="648305"/>
                    </a:lnTo>
                    <a:lnTo>
                      <a:pt x="2681183" y="586010"/>
                    </a:lnTo>
                    <a:lnTo>
                      <a:pt x="2612151" y="588754"/>
                    </a:lnTo>
                    <a:lnTo>
                      <a:pt x="2570833" y="590389"/>
                    </a:lnTo>
                    <a:lnTo>
                      <a:pt x="2518935" y="622698"/>
                    </a:lnTo>
                    <a:lnTo>
                      <a:pt x="2478851" y="636362"/>
                    </a:lnTo>
                    <a:lnTo>
                      <a:pt x="2438345" y="650178"/>
                    </a:lnTo>
                    <a:lnTo>
                      <a:pt x="2399662" y="653872"/>
                    </a:lnTo>
                    <a:lnTo>
                      <a:pt x="2357791" y="660849"/>
                    </a:lnTo>
                    <a:lnTo>
                      <a:pt x="2290422" y="668710"/>
                    </a:lnTo>
                    <a:lnTo>
                      <a:pt x="2212039" y="636125"/>
                    </a:lnTo>
                    <a:lnTo>
                      <a:pt x="2183390" y="527289"/>
                    </a:lnTo>
                    <a:lnTo>
                      <a:pt x="2118395" y="492178"/>
                    </a:lnTo>
                    <a:lnTo>
                      <a:pt x="2008312" y="432653"/>
                    </a:lnTo>
                    <a:lnTo>
                      <a:pt x="1906079" y="596767"/>
                    </a:lnTo>
                    <a:lnTo>
                      <a:pt x="1791953" y="406484"/>
                    </a:lnTo>
                    <a:lnTo>
                      <a:pt x="1780090" y="374775"/>
                    </a:lnTo>
                    <a:lnTo>
                      <a:pt x="1767893" y="340073"/>
                    </a:lnTo>
                    <a:lnTo>
                      <a:pt x="1760662" y="307190"/>
                    </a:lnTo>
                    <a:lnTo>
                      <a:pt x="1741196" y="218331"/>
                    </a:lnTo>
                    <a:lnTo>
                      <a:pt x="1723219" y="0"/>
                    </a:lnTo>
                    <a:lnTo>
                      <a:pt x="1585200" y="21552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45" name="Mykolaiv¬0" descr="Mykolaiv¬0">
                <a:extLst>
                  <a:ext uri="{FF2B5EF4-FFF2-40B4-BE49-F238E27FC236}">
                    <a16:creationId xmlns:a16="http://schemas.microsoft.com/office/drawing/2014/main" id="{A1D8F948-DB10-467D-A0D4-22D385603F80}"/>
                  </a:ext>
                </a:extLst>
              </p:cNvPr>
              <p:cNvSpPr/>
              <p:nvPr/>
            </p:nvSpPr>
            <p:spPr>
              <a:xfrm>
                <a:off x="28231274" y="21837305"/>
                <a:ext cx="10273523" cy="8536778"/>
              </a:xfrm>
              <a:custGeom>
                <a:avLst/>
                <a:gdLst/>
                <a:ahLst/>
                <a:cxnLst/>
                <a:rect l="0" t="0" r="0" b="0"/>
                <a:pathLst>
                  <a:path w="10273523" h="8536773">
                    <a:moveTo>
                      <a:pt x="320942" y="502597"/>
                    </a:moveTo>
                    <a:lnTo>
                      <a:pt x="314142" y="525718"/>
                    </a:lnTo>
                    <a:lnTo>
                      <a:pt x="308701" y="554281"/>
                    </a:lnTo>
                    <a:lnTo>
                      <a:pt x="305405" y="575260"/>
                    </a:lnTo>
                    <a:lnTo>
                      <a:pt x="308766" y="601060"/>
                    </a:lnTo>
                    <a:lnTo>
                      <a:pt x="395753" y="633177"/>
                    </a:lnTo>
                    <a:lnTo>
                      <a:pt x="384873" y="701184"/>
                    </a:lnTo>
                    <a:lnTo>
                      <a:pt x="353591" y="718863"/>
                    </a:lnTo>
                    <a:lnTo>
                      <a:pt x="330470" y="702627"/>
                    </a:lnTo>
                    <a:lnTo>
                      <a:pt x="301520" y="691956"/>
                    </a:lnTo>
                    <a:lnTo>
                      <a:pt x="273338" y="699818"/>
                    </a:lnTo>
                    <a:lnTo>
                      <a:pt x="248686" y="735358"/>
                    </a:lnTo>
                    <a:lnTo>
                      <a:pt x="229812" y="754225"/>
                    </a:lnTo>
                    <a:lnTo>
                      <a:pt x="188733" y="736110"/>
                    </a:lnTo>
                    <a:lnTo>
                      <a:pt x="158338" y="746055"/>
                    </a:lnTo>
                    <a:lnTo>
                      <a:pt x="125078" y="762391"/>
                    </a:lnTo>
                    <a:lnTo>
                      <a:pt x="89551" y="777085"/>
                    </a:lnTo>
                    <a:lnTo>
                      <a:pt x="54505" y="793941"/>
                    </a:lnTo>
                    <a:lnTo>
                      <a:pt x="24420" y="815440"/>
                    </a:lnTo>
                    <a:lnTo>
                      <a:pt x="0" y="840229"/>
                    </a:lnTo>
                    <a:lnTo>
                      <a:pt x="2657" y="872566"/>
                    </a:lnTo>
                    <a:lnTo>
                      <a:pt x="50437" y="880980"/>
                    </a:lnTo>
                    <a:lnTo>
                      <a:pt x="74752" y="891611"/>
                    </a:lnTo>
                    <a:lnTo>
                      <a:pt x="71416" y="942873"/>
                    </a:lnTo>
                    <a:lnTo>
                      <a:pt x="64446" y="971733"/>
                    </a:lnTo>
                    <a:lnTo>
                      <a:pt x="66588" y="1003144"/>
                    </a:lnTo>
                    <a:lnTo>
                      <a:pt x="71369" y="1040596"/>
                    </a:lnTo>
                    <a:lnTo>
                      <a:pt x="69314" y="1061635"/>
                    </a:lnTo>
                    <a:lnTo>
                      <a:pt x="41238" y="1088323"/>
                    </a:lnTo>
                    <a:lnTo>
                      <a:pt x="34820" y="1109421"/>
                    </a:lnTo>
                    <a:lnTo>
                      <a:pt x="33945" y="1131006"/>
                    </a:lnTo>
                    <a:lnTo>
                      <a:pt x="32584" y="1162286"/>
                    </a:lnTo>
                    <a:lnTo>
                      <a:pt x="31933" y="1183283"/>
                    </a:lnTo>
                    <a:lnTo>
                      <a:pt x="34993" y="1213825"/>
                    </a:lnTo>
                    <a:lnTo>
                      <a:pt x="48372" y="1231288"/>
                    </a:lnTo>
                    <a:lnTo>
                      <a:pt x="70678" y="1238456"/>
                    </a:lnTo>
                    <a:lnTo>
                      <a:pt x="95343" y="1243561"/>
                    </a:lnTo>
                    <a:lnTo>
                      <a:pt x="119453" y="1246958"/>
                    </a:lnTo>
                    <a:lnTo>
                      <a:pt x="142767" y="1252062"/>
                    </a:lnTo>
                    <a:lnTo>
                      <a:pt x="164464" y="1260977"/>
                    </a:lnTo>
                    <a:lnTo>
                      <a:pt x="185362" y="1280089"/>
                    </a:lnTo>
                    <a:lnTo>
                      <a:pt x="203975" y="1303745"/>
                    </a:lnTo>
                    <a:lnTo>
                      <a:pt x="221543" y="1328919"/>
                    </a:lnTo>
                    <a:lnTo>
                      <a:pt x="238097" y="1354752"/>
                    </a:lnTo>
                    <a:lnTo>
                      <a:pt x="255665" y="1379917"/>
                    </a:lnTo>
                    <a:lnTo>
                      <a:pt x="275081" y="1403652"/>
                    </a:lnTo>
                    <a:lnTo>
                      <a:pt x="299684" y="1424947"/>
                    </a:lnTo>
                    <a:lnTo>
                      <a:pt x="315103" y="1439601"/>
                    </a:lnTo>
                    <a:lnTo>
                      <a:pt x="335279" y="1496469"/>
                    </a:lnTo>
                    <a:lnTo>
                      <a:pt x="336504" y="1586925"/>
                    </a:lnTo>
                    <a:lnTo>
                      <a:pt x="342717" y="1630194"/>
                    </a:lnTo>
                    <a:lnTo>
                      <a:pt x="348915" y="1673338"/>
                    </a:lnTo>
                    <a:lnTo>
                      <a:pt x="360080" y="1718097"/>
                    </a:lnTo>
                    <a:lnTo>
                      <a:pt x="367196" y="1760773"/>
                    </a:lnTo>
                    <a:lnTo>
                      <a:pt x="379865" y="1836865"/>
                    </a:lnTo>
                    <a:lnTo>
                      <a:pt x="383329" y="1913801"/>
                    </a:lnTo>
                    <a:lnTo>
                      <a:pt x="397120" y="1990651"/>
                    </a:lnTo>
                    <a:lnTo>
                      <a:pt x="403148" y="2024207"/>
                    </a:lnTo>
                    <a:lnTo>
                      <a:pt x="407082" y="2049306"/>
                    </a:lnTo>
                    <a:lnTo>
                      <a:pt x="414365" y="2089773"/>
                    </a:lnTo>
                    <a:lnTo>
                      <a:pt x="425689" y="2118507"/>
                    </a:lnTo>
                    <a:lnTo>
                      <a:pt x="443223" y="2143476"/>
                    </a:lnTo>
                    <a:lnTo>
                      <a:pt x="459690" y="2156593"/>
                    </a:lnTo>
                    <a:lnTo>
                      <a:pt x="476157" y="2169710"/>
                    </a:lnTo>
                    <a:lnTo>
                      <a:pt x="498760" y="2184845"/>
                    </a:lnTo>
                    <a:lnTo>
                      <a:pt x="530420" y="2204200"/>
                    </a:lnTo>
                    <a:lnTo>
                      <a:pt x="552183" y="2206918"/>
                    </a:lnTo>
                    <a:lnTo>
                      <a:pt x="589056" y="2221454"/>
                    </a:lnTo>
                    <a:lnTo>
                      <a:pt x="622006" y="2245341"/>
                    </a:lnTo>
                    <a:lnTo>
                      <a:pt x="662360" y="2250444"/>
                    </a:lnTo>
                    <a:lnTo>
                      <a:pt x="676287" y="2313684"/>
                    </a:lnTo>
                    <a:lnTo>
                      <a:pt x="679044" y="2354360"/>
                    </a:lnTo>
                    <a:lnTo>
                      <a:pt x="674607" y="2381024"/>
                    </a:lnTo>
                    <a:lnTo>
                      <a:pt x="670155" y="2407680"/>
                    </a:lnTo>
                    <a:lnTo>
                      <a:pt x="646038" y="2431349"/>
                    </a:lnTo>
                    <a:lnTo>
                      <a:pt x="620139" y="2447876"/>
                    </a:lnTo>
                    <a:lnTo>
                      <a:pt x="601210" y="2474671"/>
                    </a:lnTo>
                    <a:lnTo>
                      <a:pt x="599793" y="2530643"/>
                    </a:lnTo>
                    <a:lnTo>
                      <a:pt x="613268" y="2550243"/>
                    </a:lnTo>
                    <a:lnTo>
                      <a:pt x="630374" y="2569493"/>
                    </a:lnTo>
                    <a:lnTo>
                      <a:pt x="654202" y="2575527"/>
                    </a:lnTo>
                    <a:lnTo>
                      <a:pt x="681444" y="2590960"/>
                    </a:lnTo>
                    <a:lnTo>
                      <a:pt x="721147" y="2631933"/>
                    </a:lnTo>
                    <a:lnTo>
                      <a:pt x="739242" y="2663892"/>
                    </a:lnTo>
                    <a:lnTo>
                      <a:pt x="735806" y="2697949"/>
                    </a:lnTo>
                    <a:lnTo>
                      <a:pt x="725174" y="2727414"/>
                    </a:lnTo>
                    <a:lnTo>
                      <a:pt x="699936" y="2769595"/>
                    </a:lnTo>
                    <a:lnTo>
                      <a:pt x="679723" y="2797347"/>
                    </a:lnTo>
                    <a:lnTo>
                      <a:pt x="681397" y="2832610"/>
                    </a:lnTo>
                    <a:lnTo>
                      <a:pt x="689332" y="2872099"/>
                    </a:lnTo>
                    <a:lnTo>
                      <a:pt x="697722" y="2892458"/>
                    </a:lnTo>
                    <a:lnTo>
                      <a:pt x="706109" y="2912810"/>
                    </a:lnTo>
                    <a:lnTo>
                      <a:pt x="714822" y="2933413"/>
                    </a:lnTo>
                    <a:lnTo>
                      <a:pt x="732166" y="2974584"/>
                    </a:lnTo>
                    <a:lnTo>
                      <a:pt x="725243" y="3027198"/>
                    </a:lnTo>
                    <a:lnTo>
                      <a:pt x="739890" y="3047518"/>
                    </a:lnTo>
                    <a:lnTo>
                      <a:pt x="842249" y="3087542"/>
                    </a:lnTo>
                    <a:lnTo>
                      <a:pt x="869104" y="3101926"/>
                    </a:lnTo>
                    <a:lnTo>
                      <a:pt x="894829" y="3127553"/>
                    </a:lnTo>
                    <a:lnTo>
                      <a:pt x="919553" y="3160634"/>
                    </a:lnTo>
                    <a:lnTo>
                      <a:pt x="943915" y="3175380"/>
                    </a:lnTo>
                    <a:lnTo>
                      <a:pt x="1000665" y="3150346"/>
                    </a:lnTo>
                    <a:lnTo>
                      <a:pt x="1063296" y="3150814"/>
                    </a:lnTo>
                    <a:lnTo>
                      <a:pt x="1123460" y="3137294"/>
                    </a:lnTo>
                    <a:lnTo>
                      <a:pt x="1168347" y="3186261"/>
                    </a:lnTo>
                    <a:lnTo>
                      <a:pt x="1205074" y="3198501"/>
                    </a:lnTo>
                    <a:lnTo>
                      <a:pt x="1253000" y="3174865"/>
                    </a:lnTo>
                    <a:lnTo>
                      <a:pt x="1279885" y="3154975"/>
                    </a:lnTo>
                    <a:lnTo>
                      <a:pt x="1306773" y="3135091"/>
                    </a:lnTo>
                    <a:lnTo>
                      <a:pt x="1330192" y="3112556"/>
                    </a:lnTo>
                    <a:lnTo>
                      <a:pt x="1334294" y="3091044"/>
                    </a:lnTo>
                    <a:lnTo>
                      <a:pt x="1364664" y="3085517"/>
                    </a:lnTo>
                    <a:lnTo>
                      <a:pt x="1401772" y="3093425"/>
                    </a:lnTo>
                    <a:lnTo>
                      <a:pt x="1409173" y="3116163"/>
                    </a:lnTo>
                    <a:lnTo>
                      <a:pt x="1424065" y="3138652"/>
                    </a:lnTo>
                    <a:lnTo>
                      <a:pt x="1441270" y="3152667"/>
                    </a:lnTo>
                    <a:lnTo>
                      <a:pt x="1484089" y="3153161"/>
                    </a:lnTo>
                    <a:lnTo>
                      <a:pt x="1530164" y="3152257"/>
                    </a:lnTo>
                    <a:lnTo>
                      <a:pt x="1576236" y="3151355"/>
                    </a:lnTo>
                    <a:lnTo>
                      <a:pt x="1625333" y="3149316"/>
                    </a:lnTo>
                    <a:lnTo>
                      <a:pt x="1652578" y="3154975"/>
                    </a:lnTo>
                    <a:lnTo>
                      <a:pt x="1687947" y="3235221"/>
                    </a:lnTo>
                    <a:lnTo>
                      <a:pt x="1678896" y="3266850"/>
                    </a:lnTo>
                    <a:lnTo>
                      <a:pt x="1653778" y="3275517"/>
                    </a:lnTo>
                    <a:lnTo>
                      <a:pt x="1659152" y="3309375"/>
                    </a:lnTo>
                    <a:lnTo>
                      <a:pt x="1677070" y="3326357"/>
                    </a:lnTo>
                    <a:lnTo>
                      <a:pt x="1694988" y="3343339"/>
                    </a:lnTo>
                    <a:lnTo>
                      <a:pt x="1715750" y="3357339"/>
                    </a:lnTo>
                    <a:lnTo>
                      <a:pt x="1743652" y="3340767"/>
                    </a:lnTo>
                    <a:lnTo>
                      <a:pt x="1754172" y="3321298"/>
                    </a:lnTo>
                    <a:lnTo>
                      <a:pt x="1768627" y="3282448"/>
                    </a:lnTo>
                    <a:lnTo>
                      <a:pt x="1776363" y="3244745"/>
                    </a:lnTo>
                    <a:lnTo>
                      <a:pt x="1782629" y="3207457"/>
                    </a:lnTo>
                    <a:lnTo>
                      <a:pt x="1784080" y="3174569"/>
                    </a:lnTo>
                    <a:lnTo>
                      <a:pt x="1834642" y="3142557"/>
                    </a:lnTo>
                    <a:lnTo>
                      <a:pt x="1878630" y="3135930"/>
                    </a:lnTo>
                    <a:lnTo>
                      <a:pt x="1920540" y="3127770"/>
                    </a:lnTo>
                    <a:lnTo>
                      <a:pt x="1956014" y="3120839"/>
                    </a:lnTo>
                    <a:lnTo>
                      <a:pt x="1991528" y="3109193"/>
                    </a:lnTo>
                    <a:lnTo>
                      <a:pt x="2027997" y="3104643"/>
                    </a:lnTo>
                    <a:lnTo>
                      <a:pt x="2038862" y="3141244"/>
                    </a:lnTo>
                    <a:lnTo>
                      <a:pt x="2058454" y="3175248"/>
                    </a:lnTo>
                    <a:lnTo>
                      <a:pt x="2063366" y="3202577"/>
                    </a:lnTo>
                    <a:lnTo>
                      <a:pt x="2067672" y="3224340"/>
                    </a:lnTo>
                    <a:lnTo>
                      <a:pt x="2090886" y="3257961"/>
                    </a:lnTo>
                    <a:lnTo>
                      <a:pt x="2085150" y="3280516"/>
                    </a:lnTo>
                    <a:lnTo>
                      <a:pt x="2067145" y="3293990"/>
                    </a:lnTo>
                    <a:lnTo>
                      <a:pt x="2051121" y="3308676"/>
                    </a:lnTo>
                    <a:lnTo>
                      <a:pt x="2035094" y="3323363"/>
                    </a:lnTo>
                    <a:lnTo>
                      <a:pt x="2020791" y="3339427"/>
                    </a:lnTo>
                    <a:lnTo>
                      <a:pt x="2018475" y="3360359"/>
                    </a:lnTo>
                    <a:lnTo>
                      <a:pt x="2076642" y="3364996"/>
                    </a:lnTo>
                    <a:lnTo>
                      <a:pt x="2137956" y="3370517"/>
                    </a:lnTo>
                    <a:lnTo>
                      <a:pt x="2189857" y="3372613"/>
                    </a:lnTo>
                    <a:lnTo>
                      <a:pt x="2212259" y="3410831"/>
                    </a:lnTo>
                    <a:lnTo>
                      <a:pt x="2221142" y="3441979"/>
                    </a:lnTo>
                    <a:lnTo>
                      <a:pt x="2230028" y="3473126"/>
                    </a:lnTo>
                    <a:lnTo>
                      <a:pt x="2237913" y="3505316"/>
                    </a:lnTo>
                    <a:lnTo>
                      <a:pt x="2324519" y="3548078"/>
                    </a:lnTo>
                    <a:lnTo>
                      <a:pt x="2338843" y="3588840"/>
                    </a:lnTo>
                    <a:lnTo>
                      <a:pt x="2332236" y="3754484"/>
                    </a:lnTo>
                    <a:lnTo>
                      <a:pt x="2324519" y="3788831"/>
                    </a:lnTo>
                    <a:lnTo>
                      <a:pt x="2301398" y="3801070"/>
                    </a:lnTo>
                    <a:lnTo>
                      <a:pt x="2278267" y="3813312"/>
                    </a:lnTo>
                    <a:lnTo>
                      <a:pt x="2276909" y="3840522"/>
                    </a:lnTo>
                    <a:lnTo>
                      <a:pt x="2283715" y="3867719"/>
                    </a:lnTo>
                    <a:lnTo>
                      <a:pt x="2280518" y="3906115"/>
                    </a:lnTo>
                    <a:lnTo>
                      <a:pt x="2273303" y="3946305"/>
                    </a:lnTo>
                    <a:lnTo>
                      <a:pt x="2268990" y="3967144"/>
                    </a:lnTo>
                    <a:lnTo>
                      <a:pt x="2263800" y="4000317"/>
                    </a:lnTo>
                    <a:lnTo>
                      <a:pt x="2246443" y="4053644"/>
                    </a:lnTo>
                    <a:lnTo>
                      <a:pt x="2227942" y="4105756"/>
                    </a:lnTo>
                    <a:lnTo>
                      <a:pt x="2209450" y="4157867"/>
                    </a:lnTo>
                    <a:lnTo>
                      <a:pt x="2188809" y="4208004"/>
                    </a:lnTo>
                    <a:lnTo>
                      <a:pt x="2286434" y="4594070"/>
                    </a:lnTo>
                    <a:lnTo>
                      <a:pt x="2392533" y="4970841"/>
                    </a:lnTo>
                    <a:lnTo>
                      <a:pt x="2459199" y="4983767"/>
                    </a:lnTo>
                    <a:lnTo>
                      <a:pt x="2529356" y="4988524"/>
                    </a:lnTo>
                    <a:lnTo>
                      <a:pt x="2595200" y="5002129"/>
                    </a:lnTo>
                    <a:lnTo>
                      <a:pt x="2637455" y="5019300"/>
                    </a:lnTo>
                    <a:lnTo>
                      <a:pt x="2702657" y="5025759"/>
                    </a:lnTo>
                    <a:lnTo>
                      <a:pt x="2753835" y="5022060"/>
                    </a:lnTo>
                    <a:lnTo>
                      <a:pt x="2800592" y="5022528"/>
                    </a:lnTo>
                    <a:lnTo>
                      <a:pt x="2834041" y="5027585"/>
                    </a:lnTo>
                    <a:lnTo>
                      <a:pt x="2862346" y="5116215"/>
                    </a:lnTo>
                    <a:lnTo>
                      <a:pt x="2871322" y="5138149"/>
                    </a:lnTo>
                    <a:lnTo>
                      <a:pt x="2927629" y="5118264"/>
                    </a:lnTo>
                    <a:lnTo>
                      <a:pt x="2963050" y="5100833"/>
                    </a:lnTo>
                    <a:lnTo>
                      <a:pt x="2999178" y="5085098"/>
                    </a:lnTo>
                    <a:lnTo>
                      <a:pt x="3035303" y="5069371"/>
                    </a:lnTo>
                    <a:lnTo>
                      <a:pt x="3071729" y="5055862"/>
                    </a:lnTo>
                    <a:lnTo>
                      <a:pt x="3113435" y="5048377"/>
                    </a:lnTo>
                    <a:lnTo>
                      <a:pt x="3299827" y="5010925"/>
                    </a:lnTo>
                    <a:lnTo>
                      <a:pt x="3324265" y="5008929"/>
                    </a:lnTo>
                    <a:lnTo>
                      <a:pt x="3349625" y="5040933"/>
                    </a:lnTo>
                    <a:lnTo>
                      <a:pt x="3386305" y="5141888"/>
                    </a:lnTo>
                    <a:lnTo>
                      <a:pt x="3399079" y="5183033"/>
                    </a:lnTo>
                    <a:lnTo>
                      <a:pt x="3377930" y="5216277"/>
                    </a:lnTo>
                    <a:lnTo>
                      <a:pt x="3362973" y="5233457"/>
                    </a:lnTo>
                    <a:lnTo>
                      <a:pt x="3348748" y="5251047"/>
                    </a:lnTo>
                    <a:lnTo>
                      <a:pt x="3334522" y="5268634"/>
                    </a:lnTo>
                    <a:lnTo>
                      <a:pt x="3320647" y="5286791"/>
                    </a:lnTo>
                    <a:lnTo>
                      <a:pt x="3302496" y="5300015"/>
                    </a:lnTo>
                    <a:lnTo>
                      <a:pt x="3263212" y="5313031"/>
                    </a:lnTo>
                    <a:lnTo>
                      <a:pt x="3239929" y="5319052"/>
                    </a:lnTo>
                    <a:lnTo>
                      <a:pt x="3216650" y="5325080"/>
                    </a:lnTo>
                    <a:lnTo>
                      <a:pt x="3195765" y="5333002"/>
                    </a:lnTo>
                    <a:lnTo>
                      <a:pt x="3193852" y="5378481"/>
                    </a:lnTo>
                    <a:lnTo>
                      <a:pt x="3182435" y="5417976"/>
                    </a:lnTo>
                    <a:lnTo>
                      <a:pt x="3181440" y="5452356"/>
                    </a:lnTo>
                    <a:lnTo>
                      <a:pt x="3183102" y="5485727"/>
                    </a:lnTo>
                    <a:lnTo>
                      <a:pt x="3198825" y="5511478"/>
                    </a:lnTo>
                    <a:lnTo>
                      <a:pt x="3234491" y="5525802"/>
                    </a:lnTo>
                    <a:lnTo>
                      <a:pt x="3275140" y="5534614"/>
                    </a:lnTo>
                    <a:lnTo>
                      <a:pt x="3303802" y="5539467"/>
                    </a:lnTo>
                    <a:lnTo>
                      <a:pt x="3328343" y="5550291"/>
                    </a:lnTo>
                    <a:lnTo>
                      <a:pt x="3352887" y="5561112"/>
                    </a:lnTo>
                    <a:lnTo>
                      <a:pt x="3373782" y="5577554"/>
                    </a:lnTo>
                    <a:lnTo>
                      <a:pt x="3400431" y="5610138"/>
                    </a:lnTo>
                    <a:lnTo>
                      <a:pt x="3443812" y="5610430"/>
                    </a:lnTo>
                    <a:lnTo>
                      <a:pt x="3466551" y="5595749"/>
                    </a:lnTo>
                    <a:lnTo>
                      <a:pt x="3490209" y="5582928"/>
                    </a:lnTo>
                    <a:lnTo>
                      <a:pt x="3513863" y="5570107"/>
                    </a:lnTo>
                    <a:lnTo>
                      <a:pt x="3537803" y="5559865"/>
                    </a:lnTo>
                    <a:lnTo>
                      <a:pt x="3566378" y="5563890"/>
                    </a:lnTo>
                    <a:lnTo>
                      <a:pt x="3592798" y="5587346"/>
                    </a:lnTo>
                    <a:lnTo>
                      <a:pt x="3587824" y="5618460"/>
                    </a:lnTo>
                    <a:lnTo>
                      <a:pt x="3586804" y="5641417"/>
                    </a:lnTo>
                    <a:lnTo>
                      <a:pt x="3602927" y="5674875"/>
                    </a:lnTo>
                    <a:lnTo>
                      <a:pt x="3627335" y="5695023"/>
                    </a:lnTo>
                    <a:lnTo>
                      <a:pt x="3645440" y="5707683"/>
                    </a:lnTo>
                    <a:lnTo>
                      <a:pt x="3661591" y="5723031"/>
                    </a:lnTo>
                    <a:lnTo>
                      <a:pt x="3677748" y="5738375"/>
                    </a:lnTo>
                    <a:lnTo>
                      <a:pt x="3691390" y="5756433"/>
                    </a:lnTo>
                    <a:lnTo>
                      <a:pt x="3702397" y="5778798"/>
                    </a:lnTo>
                    <a:lnTo>
                      <a:pt x="3709166" y="5812957"/>
                    </a:lnTo>
                    <a:lnTo>
                      <a:pt x="3714673" y="5853457"/>
                    </a:lnTo>
                    <a:lnTo>
                      <a:pt x="3732318" y="5879455"/>
                    </a:lnTo>
                    <a:lnTo>
                      <a:pt x="3760943" y="5888081"/>
                    </a:lnTo>
                    <a:lnTo>
                      <a:pt x="3788178" y="5882153"/>
                    </a:lnTo>
                    <a:lnTo>
                      <a:pt x="3811206" y="5883529"/>
                    </a:lnTo>
                    <a:lnTo>
                      <a:pt x="3833828" y="5885880"/>
                    </a:lnTo>
                    <a:lnTo>
                      <a:pt x="3851160" y="5900223"/>
                    </a:lnTo>
                    <a:lnTo>
                      <a:pt x="3862899" y="5931139"/>
                    </a:lnTo>
                    <a:lnTo>
                      <a:pt x="3872337" y="5971428"/>
                    </a:lnTo>
                    <a:lnTo>
                      <a:pt x="3858685" y="6002462"/>
                    </a:lnTo>
                    <a:lnTo>
                      <a:pt x="3823640" y="6021847"/>
                    </a:lnTo>
                    <a:lnTo>
                      <a:pt x="3804686" y="6044161"/>
                    </a:lnTo>
                    <a:lnTo>
                      <a:pt x="3811011" y="6071493"/>
                    </a:lnTo>
                    <a:lnTo>
                      <a:pt x="3818520" y="6116442"/>
                    </a:lnTo>
                    <a:lnTo>
                      <a:pt x="3826725" y="6143172"/>
                    </a:lnTo>
                    <a:lnTo>
                      <a:pt x="3826173" y="6166452"/>
                    </a:lnTo>
                    <a:lnTo>
                      <a:pt x="3824061" y="6189244"/>
                    </a:lnTo>
                    <a:lnTo>
                      <a:pt x="3811966" y="6208948"/>
                    </a:lnTo>
                    <a:lnTo>
                      <a:pt x="3786727" y="6224935"/>
                    </a:lnTo>
                    <a:lnTo>
                      <a:pt x="3763606" y="6234460"/>
                    </a:lnTo>
                    <a:lnTo>
                      <a:pt x="3741837" y="6246698"/>
                    </a:lnTo>
                    <a:lnTo>
                      <a:pt x="3739930" y="6279198"/>
                    </a:lnTo>
                    <a:lnTo>
                      <a:pt x="3736494" y="6317673"/>
                    </a:lnTo>
                    <a:lnTo>
                      <a:pt x="3728238" y="6354155"/>
                    </a:lnTo>
                    <a:lnTo>
                      <a:pt x="3719987" y="6390646"/>
                    </a:lnTo>
                    <a:lnTo>
                      <a:pt x="3706251" y="6424761"/>
                    </a:lnTo>
                    <a:lnTo>
                      <a:pt x="3684712" y="6450732"/>
                    </a:lnTo>
                    <a:lnTo>
                      <a:pt x="3598615" y="6484736"/>
                    </a:lnTo>
                    <a:lnTo>
                      <a:pt x="3577655" y="6519509"/>
                    </a:lnTo>
                    <a:lnTo>
                      <a:pt x="3582780" y="6545691"/>
                    </a:lnTo>
                    <a:lnTo>
                      <a:pt x="3570455" y="6570430"/>
                    </a:lnTo>
                    <a:lnTo>
                      <a:pt x="3434032" y="6582293"/>
                    </a:lnTo>
                    <a:lnTo>
                      <a:pt x="3401644" y="6579859"/>
                    </a:lnTo>
                    <a:lnTo>
                      <a:pt x="3376082" y="6580216"/>
                    </a:lnTo>
                    <a:lnTo>
                      <a:pt x="3353470" y="6580414"/>
                    </a:lnTo>
                    <a:lnTo>
                      <a:pt x="3331059" y="6584029"/>
                    </a:lnTo>
                    <a:lnTo>
                      <a:pt x="3308651" y="6587641"/>
                    </a:lnTo>
                    <a:lnTo>
                      <a:pt x="3286082" y="6594295"/>
                    </a:lnTo>
                    <a:lnTo>
                      <a:pt x="3268492" y="6605792"/>
                    </a:lnTo>
                    <a:lnTo>
                      <a:pt x="3234485" y="6574517"/>
                    </a:lnTo>
                    <a:lnTo>
                      <a:pt x="3173258" y="6562105"/>
                    </a:lnTo>
                    <a:lnTo>
                      <a:pt x="3137731" y="6637936"/>
                    </a:lnTo>
                    <a:lnTo>
                      <a:pt x="3128299" y="6660074"/>
                    </a:lnTo>
                    <a:lnTo>
                      <a:pt x="3090404" y="6676672"/>
                    </a:lnTo>
                    <a:lnTo>
                      <a:pt x="3063069" y="6670244"/>
                    </a:lnTo>
                    <a:lnTo>
                      <a:pt x="3007336" y="6677893"/>
                    </a:lnTo>
                    <a:lnTo>
                      <a:pt x="2896198" y="6693920"/>
                    </a:lnTo>
                    <a:lnTo>
                      <a:pt x="2875397" y="6705098"/>
                    </a:lnTo>
                    <a:lnTo>
                      <a:pt x="2881260" y="6737570"/>
                    </a:lnTo>
                    <a:lnTo>
                      <a:pt x="2892499" y="6788218"/>
                    </a:lnTo>
                    <a:lnTo>
                      <a:pt x="2899938" y="6830427"/>
                    </a:lnTo>
                    <a:lnTo>
                      <a:pt x="2912117" y="6871038"/>
                    </a:lnTo>
                    <a:lnTo>
                      <a:pt x="2924299" y="6911656"/>
                    </a:lnTo>
                    <a:lnTo>
                      <a:pt x="2941135" y="6950624"/>
                    </a:lnTo>
                    <a:lnTo>
                      <a:pt x="2967890" y="6974415"/>
                    </a:lnTo>
                    <a:lnTo>
                      <a:pt x="2986996" y="6991409"/>
                    </a:lnTo>
                    <a:lnTo>
                      <a:pt x="3018045" y="7006590"/>
                    </a:lnTo>
                    <a:lnTo>
                      <a:pt x="3039979" y="7020663"/>
                    </a:lnTo>
                    <a:lnTo>
                      <a:pt x="3071391" y="7040476"/>
                    </a:lnTo>
                    <a:lnTo>
                      <a:pt x="3091263" y="7058103"/>
                    </a:lnTo>
                    <a:lnTo>
                      <a:pt x="3143387" y="7094026"/>
                    </a:lnTo>
                    <a:lnTo>
                      <a:pt x="3161537" y="7122344"/>
                    </a:lnTo>
                    <a:lnTo>
                      <a:pt x="3174640" y="7152602"/>
                    </a:lnTo>
                    <a:lnTo>
                      <a:pt x="3187737" y="7182852"/>
                    </a:lnTo>
                    <a:lnTo>
                      <a:pt x="3196478" y="7215891"/>
                    </a:lnTo>
                    <a:lnTo>
                      <a:pt x="3214080" y="7250534"/>
                    </a:lnTo>
                    <a:lnTo>
                      <a:pt x="3225654" y="7273302"/>
                    </a:lnTo>
                    <a:lnTo>
                      <a:pt x="3257876" y="7289524"/>
                    </a:lnTo>
                    <a:lnTo>
                      <a:pt x="3290255" y="7309027"/>
                    </a:lnTo>
                    <a:lnTo>
                      <a:pt x="3322703" y="7329206"/>
                    </a:lnTo>
                    <a:lnTo>
                      <a:pt x="3350298" y="7354128"/>
                    </a:lnTo>
                    <a:lnTo>
                      <a:pt x="3367785" y="7385196"/>
                    </a:lnTo>
                    <a:lnTo>
                      <a:pt x="3378324" y="7424899"/>
                    </a:lnTo>
                    <a:lnTo>
                      <a:pt x="3375952" y="7455843"/>
                    </a:lnTo>
                    <a:lnTo>
                      <a:pt x="3375952" y="7509359"/>
                    </a:lnTo>
                    <a:lnTo>
                      <a:pt x="3386686" y="7564230"/>
                    </a:lnTo>
                    <a:lnTo>
                      <a:pt x="3394996" y="7610987"/>
                    </a:lnTo>
                    <a:lnTo>
                      <a:pt x="3394996" y="7638191"/>
                    </a:lnTo>
                    <a:lnTo>
                      <a:pt x="3387347" y="7675479"/>
                    </a:lnTo>
                    <a:lnTo>
                      <a:pt x="3378160" y="7712441"/>
                    </a:lnTo>
                    <a:lnTo>
                      <a:pt x="3371869" y="7751090"/>
                    </a:lnTo>
                    <a:lnTo>
                      <a:pt x="3369230" y="7788111"/>
                    </a:lnTo>
                    <a:lnTo>
                      <a:pt x="3379276" y="7817545"/>
                    </a:lnTo>
                    <a:lnTo>
                      <a:pt x="3389548" y="7844941"/>
                    </a:lnTo>
                    <a:lnTo>
                      <a:pt x="3399830" y="7872335"/>
                    </a:lnTo>
                    <a:lnTo>
                      <a:pt x="3411259" y="7897865"/>
                    </a:lnTo>
                    <a:lnTo>
                      <a:pt x="3412679" y="7927910"/>
                    </a:lnTo>
                    <a:lnTo>
                      <a:pt x="3400788" y="7969585"/>
                    </a:lnTo>
                    <a:lnTo>
                      <a:pt x="3389548" y="7990483"/>
                    </a:lnTo>
                    <a:lnTo>
                      <a:pt x="3378324" y="8011384"/>
                    </a:lnTo>
                    <a:lnTo>
                      <a:pt x="3368774" y="8031522"/>
                    </a:lnTo>
                    <a:lnTo>
                      <a:pt x="3397715" y="8171390"/>
                    </a:lnTo>
                    <a:lnTo>
                      <a:pt x="3402515" y="8194424"/>
                    </a:lnTo>
                    <a:lnTo>
                      <a:pt x="3404264" y="8222611"/>
                    </a:lnTo>
                    <a:lnTo>
                      <a:pt x="3409953" y="8244843"/>
                    </a:lnTo>
                    <a:lnTo>
                      <a:pt x="3415447" y="8266302"/>
                    </a:lnTo>
                    <a:lnTo>
                      <a:pt x="3424938" y="8294461"/>
                    </a:lnTo>
                    <a:lnTo>
                      <a:pt x="3431722" y="8323731"/>
                    </a:lnTo>
                    <a:lnTo>
                      <a:pt x="3438773" y="8378943"/>
                    </a:lnTo>
                    <a:lnTo>
                      <a:pt x="3441241" y="8409425"/>
                    </a:lnTo>
                    <a:lnTo>
                      <a:pt x="3494968" y="8408612"/>
                    </a:lnTo>
                    <a:lnTo>
                      <a:pt x="3581047" y="8464175"/>
                    </a:lnTo>
                    <a:lnTo>
                      <a:pt x="3633028" y="8480155"/>
                    </a:lnTo>
                    <a:lnTo>
                      <a:pt x="3691325" y="8498092"/>
                    </a:lnTo>
                    <a:lnTo>
                      <a:pt x="3745713" y="8494861"/>
                    </a:lnTo>
                    <a:lnTo>
                      <a:pt x="3804416" y="8503276"/>
                    </a:lnTo>
                    <a:lnTo>
                      <a:pt x="3848450" y="8509521"/>
                    </a:lnTo>
                    <a:lnTo>
                      <a:pt x="3890082" y="8528357"/>
                    </a:lnTo>
                    <a:lnTo>
                      <a:pt x="3933630" y="8534564"/>
                    </a:lnTo>
                    <a:lnTo>
                      <a:pt x="3960152" y="8536772"/>
                    </a:lnTo>
                    <a:lnTo>
                      <a:pt x="3985530" y="8532441"/>
                    </a:lnTo>
                    <a:lnTo>
                      <a:pt x="4007083" y="8522323"/>
                    </a:lnTo>
                    <a:lnTo>
                      <a:pt x="4048717" y="8504173"/>
                    </a:lnTo>
                    <a:lnTo>
                      <a:pt x="4089527" y="8467617"/>
                    </a:lnTo>
                    <a:lnTo>
                      <a:pt x="4121339" y="8455667"/>
                    </a:lnTo>
                    <a:lnTo>
                      <a:pt x="4160679" y="8440921"/>
                    </a:lnTo>
                    <a:lnTo>
                      <a:pt x="4200293" y="8437947"/>
                    </a:lnTo>
                    <a:lnTo>
                      <a:pt x="4238312" y="8417589"/>
                    </a:lnTo>
                    <a:lnTo>
                      <a:pt x="4303418" y="8382688"/>
                    </a:lnTo>
                    <a:lnTo>
                      <a:pt x="4265516" y="8342393"/>
                    </a:lnTo>
                    <a:lnTo>
                      <a:pt x="4295446" y="8295168"/>
                    </a:lnTo>
                    <a:lnTo>
                      <a:pt x="4317802" y="8259846"/>
                    </a:lnTo>
                    <a:lnTo>
                      <a:pt x="4387766" y="8234725"/>
                    </a:lnTo>
                    <a:lnTo>
                      <a:pt x="4423299" y="8189075"/>
                    </a:lnTo>
                    <a:lnTo>
                      <a:pt x="4449211" y="8155791"/>
                    </a:lnTo>
                    <a:lnTo>
                      <a:pt x="4460686" y="8100151"/>
                    </a:lnTo>
                    <a:lnTo>
                      <a:pt x="4479072" y="8061214"/>
                    </a:lnTo>
                    <a:lnTo>
                      <a:pt x="4494929" y="8027631"/>
                    </a:lnTo>
                    <a:lnTo>
                      <a:pt x="4518729" y="8001155"/>
                    </a:lnTo>
                    <a:lnTo>
                      <a:pt x="4536198" y="7968720"/>
                    </a:lnTo>
                    <a:lnTo>
                      <a:pt x="4554646" y="7919793"/>
                    </a:lnTo>
                    <a:lnTo>
                      <a:pt x="4556069" y="7893267"/>
                    </a:lnTo>
                    <a:lnTo>
                      <a:pt x="4546191" y="7871551"/>
                    </a:lnTo>
                    <a:lnTo>
                      <a:pt x="4491611" y="7854082"/>
                    </a:lnTo>
                    <a:lnTo>
                      <a:pt x="4464407" y="7837547"/>
                    </a:lnTo>
                    <a:lnTo>
                      <a:pt x="4430108" y="7813660"/>
                    </a:lnTo>
                    <a:lnTo>
                      <a:pt x="4327919" y="7742501"/>
                    </a:lnTo>
                    <a:lnTo>
                      <a:pt x="4376121" y="7679851"/>
                    </a:lnTo>
                    <a:lnTo>
                      <a:pt x="4352572" y="7578341"/>
                    </a:lnTo>
                    <a:lnTo>
                      <a:pt x="4347341" y="7555728"/>
                    </a:lnTo>
                    <a:lnTo>
                      <a:pt x="4330805" y="7538303"/>
                    </a:lnTo>
                    <a:lnTo>
                      <a:pt x="4326731" y="7515777"/>
                    </a:lnTo>
                    <a:lnTo>
                      <a:pt x="4356652" y="7504888"/>
                    </a:lnTo>
                    <a:lnTo>
                      <a:pt x="4439859" y="7553260"/>
                    </a:lnTo>
                    <a:lnTo>
                      <a:pt x="4394736" y="7667517"/>
                    </a:lnTo>
                    <a:lnTo>
                      <a:pt x="4442346" y="7713002"/>
                    </a:lnTo>
                    <a:lnTo>
                      <a:pt x="4487335" y="7728638"/>
                    </a:lnTo>
                    <a:lnTo>
                      <a:pt x="4507635" y="7745642"/>
                    </a:lnTo>
                    <a:lnTo>
                      <a:pt x="4565334" y="7802132"/>
                    </a:lnTo>
                    <a:lnTo>
                      <a:pt x="4646017" y="7847534"/>
                    </a:lnTo>
                    <a:lnTo>
                      <a:pt x="4644678" y="7703012"/>
                    </a:lnTo>
                    <a:lnTo>
                      <a:pt x="4632775" y="7662670"/>
                    </a:lnTo>
                    <a:lnTo>
                      <a:pt x="4638216" y="7642272"/>
                    </a:lnTo>
                    <a:lnTo>
                      <a:pt x="4663889" y="7628114"/>
                    </a:lnTo>
                    <a:lnTo>
                      <a:pt x="4696045" y="7626372"/>
                    </a:lnTo>
                    <a:lnTo>
                      <a:pt x="4719827" y="7612345"/>
                    </a:lnTo>
                    <a:lnTo>
                      <a:pt x="4780545" y="7576555"/>
                    </a:lnTo>
                    <a:lnTo>
                      <a:pt x="4836189" y="7533581"/>
                    </a:lnTo>
                    <a:lnTo>
                      <a:pt x="4861288" y="7464084"/>
                    </a:lnTo>
                    <a:lnTo>
                      <a:pt x="4873020" y="7431565"/>
                    </a:lnTo>
                    <a:lnTo>
                      <a:pt x="4871405" y="7387273"/>
                    </a:lnTo>
                    <a:lnTo>
                      <a:pt x="4888492" y="7357985"/>
                    </a:lnTo>
                    <a:lnTo>
                      <a:pt x="4926471" y="7367212"/>
                    </a:lnTo>
                    <a:lnTo>
                      <a:pt x="4938989" y="7408701"/>
                    </a:lnTo>
                    <a:lnTo>
                      <a:pt x="4933376" y="7442321"/>
                    </a:lnTo>
                    <a:lnTo>
                      <a:pt x="4920028" y="7522319"/>
                    </a:lnTo>
                    <a:lnTo>
                      <a:pt x="4821526" y="7603204"/>
                    </a:lnTo>
                    <a:lnTo>
                      <a:pt x="4774236" y="7664035"/>
                    </a:lnTo>
                    <a:lnTo>
                      <a:pt x="4700253" y="7759207"/>
                    </a:lnTo>
                    <a:lnTo>
                      <a:pt x="4748138" y="7812423"/>
                    </a:lnTo>
                    <a:lnTo>
                      <a:pt x="4718469" y="7897983"/>
                    </a:lnTo>
                    <a:lnTo>
                      <a:pt x="4692365" y="7973265"/>
                    </a:lnTo>
                    <a:lnTo>
                      <a:pt x="4615430" y="8006253"/>
                    </a:lnTo>
                    <a:lnTo>
                      <a:pt x="4600129" y="8050334"/>
                    </a:lnTo>
                    <a:lnTo>
                      <a:pt x="4588501" y="8083907"/>
                    </a:lnTo>
                    <a:lnTo>
                      <a:pt x="4601192" y="8128540"/>
                    </a:lnTo>
                    <a:lnTo>
                      <a:pt x="4587884" y="8160507"/>
                    </a:lnTo>
                    <a:lnTo>
                      <a:pt x="4578663" y="8182651"/>
                    </a:lnTo>
                    <a:lnTo>
                      <a:pt x="4555198" y="8197782"/>
                    </a:lnTo>
                    <a:lnTo>
                      <a:pt x="4545723" y="8218996"/>
                    </a:lnTo>
                    <a:lnTo>
                      <a:pt x="4478347" y="8247646"/>
                    </a:lnTo>
                    <a:lnTo>
                      <a:pt x="4444219" y="8284881"/>
                    </a:lnTo>
                    <a:lnTo>
                      <a:pt x="4419054" y="8370699"/>
                    </a:lnTo>
                    <a:lnTo>
                      <a:pt x="4466834" y="8391742"/>
                    </a:lnTo>
                    <a:lnTo>
                      <a:pt x="4523219" y="8416646"/>
                    </a:lnTo>
                    <a:lnTo>
                      <a:pt x="4588318" y="8388465"/>
                    </a:lnTo>
                    <a:lnTo>
                      <a:pt x="4670865" y="8437987"/>
                    </a:lnTo>
                    <a:lnTo>
                      <a:pt x="4695500" y="8450266"/>
                    </a:lnTo>
                    <a:lnTo>
                      <a:pt x="4712224" y="8485761"/>
                    </a:lnTo>
                    <a:lnTo>
                      <a:pt x="4798002" y="8526484"/>
                    </a:lnTo>
                    <a:lnTo>
                      <a:pt x="4823210" y="8495113"/>
                    </a:lnTo>
                    <a:lnTo>
                      <a:pt x="4840145" y="8448229"/>
                    </a:lnTo>
                    <a:lnTo>
                      <a:pt x="4850051" y="8366959"/>
                    </a:lnTo>
                    <a:lnTo>
                      <a:pt x="4876257" y="8333253"/>
                    </a:lnTo>
                    <a:lnTo>
                      <a:pt x="4905710" y="8295419"/>
                    </a:lnTo>
                    <a:lnTo>
                      <a:pt x="4980881" y="8263669"/>
                    </a:lnTo>
                    <a:lnTo>
                      <a:pt x="5028602" y="8259800"/>
                    </a:lnTo>
                    <a:lnTo>
                      <a:pt x="5074797" y="8256061"/>
                    </a:lnTo>
                    <a:lnTo>
                      <a:pt x="5233076" y="8316376"/>
                    </a:lnTo>
                    <a:lnTo>
                      <a:pt x="5276152" y="8341410"/>
                    </a:lnTo>
                    <a:lnTo>
                      <a:pt x="5306885" y="8359264"/>
                    </a:lnTo>
                    <a:lnTo>
                      <a:pt x="5337169" y="8384853"/>
                    </a:lnTo>
                    <a:lnTo>
                      <a:pt x="5370004" y="8398542"/>
                    </a:lnTo>
                    <a:lnTo>
                      <a:pt x="5421161" y="8419837"/>
                    </a:lnTo>
                    <a:lnTo>
                      <a:pt x="5448796" y="8397884"/>
                    </a:lnTo>
                    <a:lnTo>
                      <a:pt x="5491070" y="8406703"/>
                    </a:lnTo>
                    <a:lnTo>
                      <a:pt x="5534490" y="8415756"/>
                    </a:lnTo>
                    <a:lnTo>
                      <a:pt x="5570426" y="8455543"/>
                    </a:lnTo>
                    <a:lnTo>
                      <a:pt x="5617564" y="8461109"/>
                    </a:lnTo>
                    <a:lnTo>
                      <a:pt x="5772032" y="8405084"/>
                    </a:lnTo>
                    <a:lnTo>
                      <a:pt x="5794387" y="8393103"/>
                    </a:lnTo>
                    <a:lnTo>
                      <a:pt x="5813605" y="8382853"/>
                    </a:lnTo>
                    <a:lnTo>
                      <a:pt x="5831709" y="8367086"/>
                    </a:lnTo>
                    <a:lnTo>
                      <a:pt x="5851513" y="8359093"/>
                    </a:lnTo>
                    <a:lnTo>
                      <a:pt x="5909627" y="8335885"/>
                    </a:lnTo>
                    <a:lnTo>
                      <a:pt x="5976228" y="8296650"/>
                    </a:lnTo>
                    <a:lnTo>
                      <a:pt x="5980739" y="8225796"/>
                    </a:lnTo>
                    <a:lnTo>
                      <a:pt x="5859168" y="7993286"/>
                    </a:lnTo>
                    <a:lnTo>
                      <a:pt x="5983793" y="7949930"/>
                    </a:lnTo>
                    <a:lnTo>
                      <a:pt x="5963053" y="7847664"/>
                    </a:lnTo>
                    <a:lnTo>
                      <a:pt x="5952083" y="7793593"/>
                    </a:lnTo>
                    <a:lnTo>
                      <a:pt x="5924203" y="7735361"/>
                    </a:lnTo>
                    <a:lnTo>
                      <a:pt x="5881440" y="7699397"/>
                    </a:lnTo>
                    <a:lnTo>
                      <a:pt x="5862526" y="7687243"/>
                    </a:lnTo>
                    <a:lnTo>
                      <a:pt x="5786143" y="7598699"/>
                    </a:lnTo>
                    <a:lnTo>
                      <a:pt x="5796090" y="7469228"/>
                    </a:lnTo>
                    <a:lnTo>
                      <a:pt x="5843355" y="7382474"/>
                    </a:lnTo>
                    <a:lnTo>
                      <a:pt x="5905419" y="7268769"/>
                    </a:lnTo>
                    <a:lnTo>
                      <a:pt x="6024687" y="7274586"/>
                    </a:lnTo>
                    <a:lnTo>
                      <a:pt x="6074591" y="7219249"/>
                    </a:lnTo>
                    <a:lnTo>
                      <a:pt x="6110086" y="7179884"/>
                    </a:lnTo>
                    <a:lnTo>
                      <a:pt x="6204998" y="6893607"/>
                    </a:lnTo>
                    <a:lnTo>
                      <a:pt x="6198366" y="6843834"/>
                    </a:lnTo>
                    <a:lnTo>
                      <a:pt x="6176897" y="6811870"/>
                    </a:lnTo>
                    <a:lnTo>
                      <a:pt x="6114715" y="6814803"/>
                    </a:lnTo>
                    <a:lnTo>
                      <a:pt x="6083685" y="6852506"/>
                    </a:lnTo>
                    <a:lnTo>
                      <a:pt x="6039222" y="6864239"/>
                    </a:lnTo>
                    <a:lnTo>
                      <a:pt x="6012489" y="6871336"/>
                    </a:lnTo>
                    <a:lnTo>
                      <a:pt x="5973893" y="6858713"/>
                    </a:lnTo>
                    <a:lnTo>
                      <a:pt x="5954896" y="6839753"/>
                    </a:lnTo>
                    <a:lnTo>
                      <a:pt x="5865205" y="6749976"/>
                    </a:lnTo>
                    <a:lnTo>
                      <a:pt x="6001051" y="6593300"/>
                    </a:lnTo>
                    <a:lnTo>
                      <a:pt x="6056905" y="6521463"/>
                    </a:lnTo>
                    <a:lnTo>
                      <a:pt x="6071447" y="6502766"/>
                    </a:lnTo>
                    <a:lnTo>
                      <a:pt x="6096989" y="6457404"/>
                    </a:lnTo>
                    <a:lnTo>
                      <a:pt x="6085474" y="6434417"/>
                    </a:lnTo>
                    <a:lnTo>
                      <a:pt x="6049215" y="6361897"/>
                    </a:lnTo>
                    <a:lnTo>
                      <a:pt x="5937973" y="6498425"/>
                    </a:lnTo>
                    <a:lnTo>
                      <a:pt x="5895045" y="6503789"/>
                    </a:lnTo>
                    <a:lnTo>
                      <a:pt x="5848756" y="6500127"/>
                    </a:lnTo>
                    <a:lnTo>
                      <a:pt x="5795284" y="6491244"/>
                    </a:lnTo>
                    <a:lnTo>
                      <a:pt x="5772671" y="6478919"/>
                    </a:lnTo>
                    <a:lnTo>
                      <a:pt x="5749503" y="6452096"/>
                    </a:lnTo>
                    <a:lnTo>
                      <a:pt x="5734072" y="6434200"/>
                    </a:lnTo>
                    <a:lnTo>
                      <a:pt x="5730714" y="6408142"/>
                    </a:lnTo>
                    <a:lnTo>
                      <a:pt x="5723657" y="6386807"/>
                    </a:lnTo>
                    <a:lnTo>
                      <a:pt x="5659648" y="6194803"/>
                    </a:lnTo>
                    <a:lnTo>
                      <a:pt x="5874891" y="6102654"/>
                    </a:lnTo>
                    <a:lnTo>
                      <a:pt x="5831114" y="5977384"/>
                    </a:lnTo>
                    <a:lnTo>
                      <a:pt x="5772842" y="5810504"/>
                    </a:lnTo>
                    <a:lnTo>
                      <a:pt x="5666743" y="5890844"/>
                    </a:lnTo>
                    <a:lnTo>
                      <a:pt x="5631163" y="5808725"/>
                    </a:lnTo>
                    <a:lnTo>
                      <a:pt x="5597035" y="5729954"/>
                    </a:lnTo>
                    <a:lnTo>
                      <a:pt x="5715797" y="5625012"/>
                    </a:lnTo>
                    <a:lnTo>
                      <a:pt x="5631163" y="5482276"/>
                    </a:lnTo>
                    <a:lnTo>
                      <a:pt x="5588918" y="5410994"/>
                    </a:lnTo>
                    <a:lnTo>
                      <a:pt x="5526872" y="5417111"/>
                    </a:lnTo>
                    <a:lnTo>
                      <a:pt x="5458423" y="5396582"/>
                    </a:lnTo>
                    <a:lnTo>
                      <a:pt x="5426373" y="5386933"/>
                    </a:lnTo>
                    <a:lnTo>
                      <a:pt x="5352259" y="5331247"/>
                    </a:lnTo>
                    <a:lnTo>
                      <a:pt x="5333284" y="5302731"/>
                    </a:lnTo>
                    <a:lnTo>
                      <a:pt x="5292074" y="5240924"/>
                    </a:lnTo>
                    <a:lnTo>
                      <a:pt x="5322081" y="5110984"/>
                    </a:lnTo>
                    <a:lnTo>
                      <a:pt x="5408092" y="5108222"/>
                    </a:lnTo>
                    <a:lnTo>
                      <a:pt x="5423331" y="5161223"/>
                    </a:lnTo>
                    <a:lnTo>
                      <a:pt x="5392855" y="5227833"/>
                    </a:lnTo>
                    <a:lnTo>
                      <a:pt x="5404014" y="5268720"/>
                    </a:lnTo>
                    <a:lnTo>
                      <a:pt x="5432856" y="5374475"/>
                    </a:lnTo>
                    <a:lnTo>
                      <a:pt x="5641070" y="5361682"/>
                    </a:lnTo>
                    <a:lnTo>
                      <a:pt x="5697810" y="5430587"/>
                    </a:lnTo>
                    <a:lnTo>
                      <a:pt x="5761788" y="5508287"/>
                    </a:lnTo>
                    <a:lnTo>
                      <a:pt x="5692760" y="5623356"/>
                    </a:lnTo>
                    <a:lnTo>
                      <a:pt x="5710058" y="5712148"/>
                    </a:lnTo>
                    <a:lnTo>
                      <a:pt x="5730801" y="5818842"/>
                    </a:lnTo>
                    <a:lnTo>
                      <a:pt x="5837110" y="5785898"/>
                    </a:lnTo>
                    <a:lnTo>
                      <a:pt x="5880081" y="5848167"/>
                    </a:lnTo>
                    <a:lnTo>
                      <a:pt x="5902266" y="5862281"/>
                    </a:lnTo>
                    <a:lnTo>
                      <a:pt x="5909925" y="5899643"/>
                    </a:lnTo>
                    <a:lnTo>
                      <a:pt x="5915450" y="5924339"/>
                    </a:lnTo>
                    <a:lnTo>
                      <a:pt x="5942865" y="6047736"/>
                    </a:lnTo>
                    <a:lnTo>
                      <a:pt x="5906005" y="6140996"/>
                    </a:lnTo>
                    <a:lnTo>
                      <a:pt x="5850161" y="6249423"/>
                    </a:lnTo>
                    <a:lnTo>
                      <a:pt x="5836602" y="6275735"/>
                    </a:lnTo>
                    <a:lnTo>
                      <a:pt x="5825204" y="6296648"/>
                    </a:lnTo>
                    <a:lnTo>
                      <a:pt x="5821592" y="6326960"/>
                    </a:lnTo>
                    <a:lnTo>
                      <a:pt x="5831709" y="6375115"/>
                    </a:lnTo>
                    <a:lnTo>
                      <a:pt x="5885607" y="6386807"/>
                    </a:lnTo>
                    <a:lnTo>
                      <a:pt x="5927691" y="6388165"/>
                    </a:lnTo>
                    <a:lnTo>
                      <a:pt x="5956424" y="6370656"/>
                    </a:lnTo>
                    <a:lnTo>
                      <a:pt x="6000967" y="6353141"/>
                    </a:lnTo>
                    <a:lnTo>
                      <a:pt x="6033784" y="6347365"/>
                    </a:lnTo>
                    <a:lnTo>
                      <a:pt x="6076380" y="6339877"/>
                    </a:lnTo>
                    <a:lnTo>
                      <a:pt x="6152294" y="6342726"/>
                    </a:lnTo>
                    <a:lnTo>
                      <a:pt x="6187489" y="6369128"/>
                    </a:lnTo>
                    <a:lnTo>
                      <a:pt x="6339957" y="6483421"/>
                    </a:lnTo>
                    <a:lnTo>
                      <a:pt x="5952514" y="6585440"/>
                    </a:lnTo>
                    <a:lnTo>
                      <a:pt x="6067791" y="6755423"/>
                    </a:lnTo>
                    <a:lnTo>
                      <a:pt x="6147274" y="6797288"/>
                    </a:lnTo>
                    <a:lnTo>
                      <a:pt x="6261407" y="6696081"/>
                    </a:lnTo>
                    <a:lnTo>
                      <a:pt x="6315345" y="6792144"/>
                    </a:lnTo>
                    <a:lnTo>
                      <a:pt x="6327586" y="6835459"/>
                    </a:lnTo>
                    <a:lnTo>
                      <a:pt x="6327586" y="6900661"/>
                    </a:lnTo>
                    <a:lnTo>
                      <a:pt x="6234327" y="7238123"/>
                    </a:lnTo>
                    <a:lnTo>
                      <a:pt x="6202446" y="7279097"/>
                    </a:lnTo>
                    <a:lnTo>
                      <a:pt x="6147188" y="7350165"/>
                    </a:lnTo>
                    <a:lnTo>
                      <a:pt x="6085644" y="7359898"/>
                    </a:lnTo>
                    <a:lnTo>
                      <a:pt x="6062346" y="7461362"/>
                    </a:lnTo>
                    <a:lnTo>
                      <a:pt x="6054570" y="7495152"/>
                    </a:lnTo>
                    <a:lnTo>
                      <a:pt x="6053463" y="7633305"/>
                    </a:lnTo>
                    <a:lnTo>
                      <a:pt x="6058275" y="7669470"/>
                    </a:lnTo>
                    <a:lnTo>
                      <a:pt x="6109109" y="7810336"/>
                    </a:lnTo>
                    <a:lnTo>
                      <a:pt x="6125301" y="7834638"/>
                    </a:lnTo>
                    <a:lnTo>
                      <a:pt x="6147749" y="7855704"/>
                    </a:lnTo>
                    <a:lnTo>
                      <a:pt x="6163010" y="7876226"/>
                    </a:lnTo>
                    <a:lnTo>
                      <a:pt x="6196862" y="7877467"/>
                    </a:lnTo>
                    <a:lnTo>
                      <a:pt x="6237901" y="7884623"/>
                    </a:lnTo>
                    <a:lnTo>
                      <a:pt x="6269103" y="7889826"/>
                    </a:lnTo>
                    <a:lnTo>
                      <a:pt x="6303891" y="7895630"/>
                    </a:lnTo>
                    <a:lnTo>
                      <a:pt x="6338460" y="7898743"/>
                    </a:lnTo>
                    <a:lnTo>
                      <a:pt x="6373844" y="7885748"/>
                    </a:lnTo>
                    <a:lnTo>
                      <a:pt x="6397631" y="7863223"/>
                    </a:lnTo>
                    <a:lnTo>
                      <a:pt x="6411928" y="7843583"/>
                    </a:lnTo>
                    <a:lnTo>
                      <a:pt x="6426225" y="7823950"/>
                    </a:lnTo>
                    <a:lnTo>
                      <a:pt x="6440674" y="7803031"/>
                    </a:lnTo>
                    <a:lnTo>
                      <a:pt x="6465057" y="7780759"/>
                    </a:lnTo>
                    <a:lnTo>
                      <a:pt x="6489722" y="7772732"/>
                    </a:lnTo>
                    <a:lnTo>
                      <a:pt x="6513937" y="7770134"/>
                    </a:lnTo>
                    <a:lnTo>
                      <a:pt x="6538153" y="7767535"/>
                    </a:lnTo>
                    <a:lnTo>
                      <a:pt x="6563215" y="7770069"/>
                    </a:lnTo>
                    <a:lnTo>
                      <a:pt x="6586798" y="7780192"/>
                    </a:lnTo>
                    <a:lnTo>
                      <a:pt x="6609153" y="7805496"/>
                    </a:lnTo>
                    <a:lnTo>
                      <a:pt x="6632113" y="7832700"/>
                    </a:lnTo>
                    <a:lnTo>
                      <a:pt x="6652214" y="7848271"/>
                    </a:lnTo>
                    <a:lnTo>
                      <a:pt x="6678935" y="7845568"/>
                    </a:lnTo>
                    <a:lnTo>
                      <a:pt x="6705724" y="7839506"/>
                    </a:lnTo>
                    <a:lnTo>
                      <a:pt x="6732519" y="7833438"/>
                    </a:lnTo>
                    <a:lnTo>
                      <a:pt x="6758477" y="7824425"/>
                    </a:lnTo>
                    <a:lnTo>
                      <a:pt x="6807774" y="7810376"/>
                    </a:lnTo>
                    <a:lnTo>
                      <a:pt x="6837589" y="7798585"/>
                    </a:lnTo>
                    <a:lnTo>
                      <a:pt x="6862149" y="7785097"/>
                    </a:lnTo>
                    <a:lnTo>
                      <a:pt x="6886708" y="7771606"/>
                    </a:lnTo>
                    <a:lnTo>
                      <a:pt x="6906512" y="7756172"/>
                    </a:lnTo>
                    <a:lnTo>
                      <a:pt x="6923364" y="7737491"/>
                    </a:lnTo>
                    <a:lnTo>
                      <a:pt x="6957054" y="7700122"/>
                    </a:lnTo>
                    <a:lnTo>
                      <a:pt x="6977987" y="7651294"/>
                    </a:lnTo>
                    <a:lnTo>
                      <a:pt x="6999526" y="7582424"/>
                    </a:lnTo>
                    <a:lnTo>
                      <a:pt x="7010791" y="7542650"/>
                    </a:lnTo>
                    <a:lnTo>
                      <a:pt x="7017215" y="7522574"/>
                    </a:lnTo>
                    <a:lnTo>
                      <a:pt x="7023636" y="7502507"/>
                    </a:lnTo>
                    <a:lnTo>
                      <a:pt x="7031540" y="7481838"/>
                    </a:lnTo>
                    <a:lnTo>
                      <a:pt x="7057892" y="7455334"/>
                    </a:lnTo>
                    <a:lnTo>
                      <a:pt x="7089949" y="7444932"/>
                    </a:lnTo>
                    <a:lnTo>
                      <a:pt x="7121947" y="7438247"/>
                    </a:lnTo>
                    <a:lnTo>
                      <a:pt x="7153948" y="7431553"/>
                    </a:lnTo>
                    <a:lnTo>
                      <a:pt x="7186222" y="7429072"/>
                    </a:lnTo>
                    <a:lnTo>
                      <a:pt x="7239016" y="7452860"/>
                    </a:lnTo>
                    <a:lnTo>
                      <a:pt x="7274970" y="7470040"/>
                    </a:lnTo>
                    <a:lnTo>
                      <a:pt x="7311017" y="7484489"/>
                    </a:lnTo>
                    <a:lnTo>
                      <a:pt x="7335248" y="7494185"/>
                    </a:lnTo>
                    <a:lnTo>
                      <a:pt x="7364747" y="7505027"/>
                    </a:lnTo>
                    <a:lnTo>
                      <a:pt x="7389906" y="7511700"/>
                    </a:lnTo>
                    <a:lnTo>
                      <a:pt x="7410645" y="7517228"/>
                    </a:lnTo>
                    <a:lnTo>
                      <a:pt x="7432839" y="7517827"/>
                    </a:lnTo>
                    <a:lnTo>
                      <a:pt x="7453837" y="7522583"/>
                    </a:lnTo>
                    <a:lnTo>
                      <a:pt x="7489602" y="7530682"/>
                    </a:lnTo>
                    <a:lnTo>
                      <a:pt x="7521842" y="7521222"/>
                    </a:lnTo>
                    <a:lnTo>
                      <a:pt x="7541819" y="7488241"/>
                    </a:lnTo>
                    <a:lnTo>
                      <a:pt x="7553130" y="7450494"/>
                    </a:lnTo>
                    <a:lnTo>
                      <a:pt x="7565830" y="7394659"/>
                    </a:lnTo>
                    <a:lnTo>
                      <a:pt x="7577615" y="7359359"/>
                    </a:lnTo>
                    <a:lnTo>
                      <a:pt x="7590858" y="7323646"/>
                    </a:lnTo>
                    <a:lnTo>
                      <a:pt x="7607902" y="7297127"/>
                    </a:lnTo>
                    <a:lnTo>
                      <a:pt x="7629302" y="7284545"/>
                    </a:lnTo>
                    <a:lnTo>
                      <a:pt x="7700163" y="7264227"/>
                    </a:lnTo>
                    <a:lnTo>
                      <a:pt x="7753080" y="7253260"/>
                    </a:lnTo>
                    <a:lnTo>
                      <a:pt x="7779538" y="7247778"/>
                    </a:lnTo>
                    <a:lnTo>
                      <a:pt x="7806770" y="7243394"/>
                    </a:lnTo>
                    <a:lnTo>
                      <a:pt x="7829252" y="7242377"/>
                    </a:lnTo>
                    <a:lnTo>
                      <a:pt x="7851735" y="7241369"/>
                    </a:lnTo>
                    <a:lnTo>
                      <a:pt x="7879578" y="7251902"/>
                    </a:lnTo>
                    <a:lnTo>
                      <a:pt x="7902513" y="7274744"/>
                    </a:lnTo>
                    <a:lnTo>
                      <a:pt x="7901822" y="7307858"/>
                    </a:lnTo>
                    <a:lnTo>
                      <a:pt x="7914946" y="7330796"/>
                    </a:lnTo>
                    <a:lnTo>
                      <a:pt x="7932421" y="7351787"/>
                    </a:lnTo>
                    <a:lnTo>
                      <a:pt x="7968199" y="7358763"/>
                    </a:lnTo>
                    <a:lnTo>
                      <a:pt x="7993518" y="7355604"/>
                    </a:lnTo>
                    <a:lnTo>
                      <a:pt x="8031919" y="7345753"/>
                    </a:lnTo>
                    <a:lnTo>
                      <a:pt x="8063061" y="7337779"/>
                    </a:lnTo>
                    <a:lnTo>
                      <a:pt x="8087506" y="7330433"/>
                    </a:lnTo>
                    <a:lnTo>
                      <a:pt x="8106733" y="7321271"/>
                    </a:lnTo>
                    <a:lnTo>
                      <a:pt x="8125957" y="7312112"/>
                    </a:lnTo>
                    <a:lnTo>
                      <a:pt x="8150259" y="7288628"/>
                    </a:lnTo>
                    <a:lnTo>
                      <a:pt x="8164246" y="7257402"/>
                    </a:lnTo>
                    <a:lnTo>
                      <a:pt x="8166581" y="7235577"/>
                    </a:lnTo>
                    <a:lnTo>
                      <a:pt x="8168915" y="7213755"/>
                    </a:lnTo>
                    <a:lnTo>
                      <a:pt x="8169238" y="7187270"/>
                    </a:lnTo>
                    <a:lnTo>
                      <a:pt x="8166581" y="7153967"/>
                    </a:lnTo>
                    <a:lnTo>
                      <a:pt x="8157400" y="7114180"/>
                    </a:lnTo>
                    <a:lnTo>
                      <a:pt x="8181631" y="7096076"/>
                    </a:lnTo>
                    <a:lnTo>
                      <a:pt x="8209639" y="7096513"/>
                    </a:lnTo>
                    <a:lnTo>
                      <a:pt x="8233228" y="7139003"/>
                    </a:lnTo>
                    <a:lnTo>
                      <a:pt x="8261245" y="7148314"/>
                    </a:lnTo>
                    <a:lnTo>
                      <a:pt x="8285262" y="7142662"/>
                    </a:lnTo>
                    <a:lnTo>
                      <a:pt x="8307704" y="7149337"/>
                    </a:lnTo>
                    <a:lnTo>
                      <a:pt x="8311570" y="7178619"/>
                    </a:lnTo>
                    <a:lnTo>
                      <a:pt x="8322655" y="7204205"/>
                    </a:lnTo>
                    <a:lnTo>
                      <a:pt x="8358374" y="7202934"/>
                    </a:lnTo>
                    <a:lnTo>
                      <a:pt x="8401081" y="7193000"/>
                    </a:lnTo>
                    <a:lnTo>
                      <a:pt x="8423663" y="7185252"/>
                    </a:lnTo>
                    <a:lnTo>
                      <a:pt x="8446238" y="7177503"/>
                    </a:lnTo>
                    <a:lnTo>
                      <a:pt x="8468370" y="7169491"/>
                    </a:lnTo>
                    <a:lnTo>
                      <a:pt x="8506811" y="7162927"/>
                    </a:lnTo>
                    <a:lnTo>
                      <a:pt x="8532472" y="7175730"/>
                    </a:lnTo>
                    <a:lnTo>
                      <a:pt x="8543804" y="7197731"/>
                    </a:lnTo>
                    <a:lnTo>
                      <a:pt x="8564668" y="7210853"/>
                    </a:lnTo>
                    <a:lnTo>
                      <a:pt x="8590964" y="7219256"/>
                    </a:lnTo>
                    <a:lnTo>
                      <a:pt x="8618739" y="7226102"/>
                    </a:lnTo>
                    <a:lnTo>
                      <a:pt x="8649776" y="7229069"/>
                    </a:lnTo>
                    <a:lnTo>
                      <a:pt x="8667139" y="7245102"/>
                    </a:lnTo>
                    <a:lnTo>
                      <a:pt x="8690744" y="7266890"/>
                    </a:lnTo>
                    <a:lnTo>
                      <a:pt x="8702998" y="7302181"/>
                    </a:lnTo>
                    <a:lnTo>
                      <a:pt x="8720184" y="7329429"/>
                    </a:lnTo>
                    <a:lnTo>
                      <a:pt x="8738261" y="7354478"/>
                    </a:lnTo>
                    <a:lnTo>
                      <a:pt x="8764671" y="7369671"/>
                    </a:lnTo>
                    <a:lnTo>
                      <a:pt x="8803159" y="7370239"/>
                    </a:lnTo>
                    <a:lnTo>
                      <a:pt x="9004455" y="7338948"/>
                    </a:lnTo>
                    <a:lnTo>
                      <a:pt x="9054189" y="7331342"/>
                    </a:lnTo>
                    <a:lnTo>
                      <a:pt x="9106263" y="7354134"/>
                    </a:lnTo>
                    <a:lnTo>
                      <a:pt x="9155441" y="7356633"/>
                    </a:lnTo>
                    <a:lnTo>
                      <a:pt x="9193454" y="7342423"/>
                    </a:lnTo>
                    <a:lnTo>
                      <a:pt x="9212573" y="7325348"/>
                    </a:lnTo>
                    <a:lnTo>
                      <a:pt x="9231685" y="7308273"/>
                    </a:lnTo>
                    <a:lnTo>
                      <a:pt x="9250229" y="7288938"/>
                    </a:lnTo>
                    <a:lnTo>
                      <a:pt x="9293439" y="7267070"/>
                    </a:lnTo>
                    <a:lnTo>
                      <a:pt x="9323009" y="7258602"/>
                    </a:lnTo>
                    <a:lnTo>
                      <a:pt x="9352673" y="7253260"/>
                    </a:lnTo>
                    <a:lnTo>
                      <a:pt x="9382324" y="7247911"/>
                    </a:lnTo>
                    <a:lnTo>
                      <a:pt x="9412464" y="7246380"/>
                    </a:lnTo>
                    <a:lnTo>
                      <a:pt x="9441080" y="7243735"/>
                    </a:lnTo>
                    <a:lnTo>
                      <a:pt x="9469701" y="7241090"/>
                    </a:lnTo>
                    <a:lnTo>
                      <a:pt x="9496627" y="7238138"/>
                    </a:lnTo>
                    <a:lnTo>
                      <a:pt x="9519974" y="7232855"/>
                    </a:lnTo>
                    <a:lnTo>
                      <a:pt x="9543318" y="7227565"/>
                    </a:lnTo>
                    <a:lnTo>
                      <a:pt x="9563271" y="7218921"/>
                    </a:lnTo>
                    <a:lnTo>
                      <a:pt x="9586621" y="7160766"/>
                    </a:lnTo>
                    <a:lnTo>
                      <a:pt x="9563184" y="7143084"/>
                    </a:lnTo>
                    <a:lnTo>
                      <a:pt x="9536296" y="7152602"/>
                    </a:lnTo>
                    <a:lnTo>
                      <a:pt x="9506797" y="7155833"/>
                    </a:lnTo>
                    <a:lnTo>
                      <a:pt x="9487328" y="7144442"/>
                    </a:lnTo>
                    <a:lnTo>
                      <a:pt x="9472755" y="7110692"/>
                    </a:lnTo>
                    <a:lnTo>
                      <a:pt x="9420470" y="7118235"/>
                    </a:lnTo>
                    <a:lnTo>
                      <a:pt x="9337399" y="7139509"/>
                    </a:lnTo>
                    <a:lnTo>
                      <a:pt x="9260173" y="7141719"/>
                    </a:lnTo>
                    <a:lnTo>
                      <a:pt x="9221567" y="7142826"/>
                    </a:lnTo>
                    <a:lnTo>
                      <a:pt x="9184221" y="7139986"/>
                    </a:lnTo>
                    <a:lnTo>
                      <a:pt x="9155441" y="7128120"/>
                    </a:lnTo>
                    <a:lnTo>
                      <a:pt x="9128156" y="7114047"/>
                    </a:lnTo>
                    <a:lnTo>
                      <a:pt x="9109277" y="7093226"/>
                    </a:lnTo>
                    <a:lnTo>
                      <a:pt x="9101032" y="7064189"/>
                    </a:lnTo>
                    <a:lnTo>
                      <a:pt x="9114638" y="7041068"/>
                    </a:lnTo>
                    <a:lnTo>
                      <a:pt x="9132320" y="7022021"/>
                    </a:lnTo>
                    <a:lnTo>
                      <a:pt x="9194099" y="7022061"/>
                    </a:lnTo>
                    <a:lnTo>
                      <a:pt x="9255525" y="7011873"/>
                    </a:lnTo>
                    <a:lnTo>
                      <a:pt x="9315946" y="7000258"/>
                    </a:lnTo>
                    <a:lnTo>
                      <a:pt x="9376370" y="6988646"/>
                    </a:lnTo>
                    <a:lnTo>
                      <a:pt x="9436640" y="6976393"/>
                    </a:lnTo>
                    <a:lnTo>
                      <a:pt x="9498211" y="6971696"/>
                    </a:lnTo>
                    <a:lnTo>
                      <a:pt x="9533400" y="6946153"/>
                    </a:lnTo>
                    <a:lnTo>
                      <a:pt x="9552617" y="6920006"/>
                    </a:lnTo>
                    <a:lnTo>
                      <a:pt x="9571834" y="6893865"/>
                    </a:lnTo>
                    <a:lnTo>
                      <a:pt x="9590382" y="6865770"/>
                    </a:lnTo>
                    <a:lnTo>
                      <a:pt x="9618777" y="6833850"/>
                    </a:lnTo>
                    <a:lnTo>
                      <a:pt x="9645126" y="6822824"/>
                    </a:lnTo>
                    <a:lnTo>
                      <a:pt x="9673673" y="6815271"/>
                    </a:lnTo>
                    <a:lnTo>
                      <a:pt x="9702223" y="6807721"/>
                    </a:lnTo>
                    <a:lnTo>
                      <a:pt x="9732125" y="6803479"/>
                    </a:lnTo>
                    <a:lnTo>
                      <a:pt x="9758009" y="6797591"/>
                    </a:lnTo>
                    <a:lnTo>
                      <a:pt x="9814666" y="6798481"/>
                    </a:lnTo>
                    <a:lnTo>
                      <a:pt x="9835539" y="6794872"/>
                    </a:lnTo>
                    <a:lnTo>
                      <a:pt x="9847390" y="6759433"/>
                    </a:lnTo>
                    <a:lnTo>
                      <a:pt x="9837288" y="6721500"/>
                    </a:lnTo>
                    <a:lnTo>
                      <a:pt x="9809696" y="6698298"/>
                    </a:lnTo>
                    <a:lnTo>
                      <a:pt x="9756815" y="6692816"/>
                    </a:lnTo>
                    <a:lnTo>
                      <a:pt x="9699730" y="6707057"/>
                    </a:lnTo>
                    <a:lnTo>
                      <a:pt x="9649194" y="6698298"/>
                    </a:lnTo>
                    <a:lnTo>
                      <a:pt x="9631046" y="6686631"/>
                    </a:lnTo>
                    <a:lnTo>
                      <a:pt x="9618219" y="6639629"/>
                    </a:lnTo>
                    <a:lnTo>
                      <a:pt x="9612468" y="6592206"/>
                    </a:lnTo>
                    <a:lnTo>
                      <a:pt x="9606716" y="6544776"/>
                    </a:lnTo>
                    <a:lnTo>
                      <a:pt x="9607752" y="6496797"/>
                    </a:lnTo>
                    <a:lnTo>
                      <a:pt x="9621475" y="6471466"/>
                    </a:lnTo>
                    <a:lnTo>
                      <a:pt x="9651910" y="6448022"/>
                    </a:lnTo>
                    <a:lnTo>
                      <a:pt x="9686172" y="6431573"/>
                    </a:lnTo>
                    <a:lnTo>
                      <a:pt x="9731056" y="6457882"/>
                    </a:lnTo>
                    <a:lnTo>
                      <a:pt x="9739604" y="6501197"/>
                    </a:lnTo>
                    <a:lnTo>
                      <a:pt x="9771608" y="6526916"/>
                    </a:lnTo>
                    <a:lnTo>
                      <a:pt x="9803448" y="6552506"/>
                    </a:lnTo>
                    <a:lnTo>
                      <a:pt x="9841278" y="6575627"/>
                    </a:lnTo>
                    <a:lnTo>
                      <a:pt x="9874985" y="6599005"/>
                    </a:lnTo>
                    <a:lnTo>
                      <a:pt x="9877701" y="6556837"/>
                    </a:lnTo>
                    <a:lnTo>
                      <a:pt x="9883505" y="6530423"/>
                    </a:lnTo>
                    <a:lnTo>
                      <a:pt x="9921596" y="6489108"/>
                    </a:lnTo>
                    <a:lnTo>
                      <a:pt x="9955237" y="6448022"/>
                    </a:lnTo>
                    <a:lnTo>
                      <a:pt x="9972055" y="6427478"/>
                    </a:lnTo>
                    <a:lnTo>
                      <a:pt x="9988383" y="6406685"/>
                    </a:lnTo>
                    <a:lnTo>
                      <a:pt x="9998763" y="6388171"/>
                    </a:lnTo>
                    <a:lnTo>
                      <a:pt x="10009144" y="6369667"/>
                    </a:lnTo>
                    <a:lnTo>
                      <a:pt x="10008285" y="6340565"/>
                    </a:lnTo>
                    <a:lnTo>
                      <a:pt x="9999489" y="6318886"/>
                    </a:lnTo>
                    <a:lnTo>
                      <a:pt x="9866226" y="6188395"/>
                    </a:lnTo>
                    <a:lnTo>
                      <a:pt x="9836897" y="6170541"/>
                    </a:lnTo>
                    <a:lnTo>
                      <a:pt x="9814285" y="6156725"/>
                    </a:lnTo>
                    <a:lnTo>
                      <a:pt x="9638140" y="6041616"/>
                    </a:lnTo>
                    <a:lnTo>
                      <a:pt x="9586792" y="6033926"/>
                    </a:lnTo>
                    <a:lnTo>
                      <a:pt x="9554484" y="6056626"/>
                    </a:lnTo>
                    <a:lnTo>
                      <a:pt x="9524048" y="6048127"/>
                    </a:lnTo>
                    <a:lnTo>
                      <a:pt x="9507048" y="6025375"/>
                    </a:lnTo>
                    <a:lnTo>
                      <a:pt x="9505696" y="5994707"/>
                    </a:lnTo>
                    <a:lnTo>
                      <a:pt x="9505011" y="5963791"/>
                    </a:lnTo>
                    <a:lnTo>
                      <a:pt x="9500459" y="5940965"/>
                    </a:lnTo>
                    <a:lnTo>
                      <a:pt x="9489796" y="5921074"/>
                    </a:lnTo>
                    <a:lnTo>
                      <a:pt x="9487328" y="5897141"/>
                    </a:lnTo>
                    <a:lnTo>
                      <a:pt x="9491089" y="5875273"/>
                    </a:lnTo>
                    <a:lnTo>
                      <a:pt x="9510458" y="5846229"/>
                    </a:lnTo>
                    <a:lnTo>
                      <a:pt x="9530854" y="5818253"/>
                    </a:lnTo>
                    <a:lnTo>
                      <a:pt x="9551253" y="5790273"/>
                    </a:lnTo>
                    <a:lnTo>
                      <a:pt x="9573273" y="5763100"/>
                    </a:lnTo>
                    <a:lnTo>
                      <a:pt x="9585263" y="5740716"/>
                    </a:lnTo>
                    <a:lnTo>
                      <a:pt x="9598056" y="5716786"/>
                    </a:lnTo>
                    <a:lnTo>
                      <a:pt x="9604012" y="5689628"/>
                    </a:lnTo>
                    <a:lnTo>
                      <a:pt x="9615184" y="5665905"/>
                    </a:lnTo>
                    <a:lnTo>
                      <a:pt x="9629000" y="5636453"/>
                    </a:lnTo>
                    <a:lnTo>
                      <a:pt x="9644816" y="5607463"/>
                    </a:lnTo>
                    <a:lnTo>
                      <a:pt x="9657352" y="5577495"/>
                    </a:lnTo>
                    <a:lnTo>
                      <a:pt x="9675329" y="5534562"/>
                    </a:lnTo>
                    <a:lnTo>
                      <a:pt x="9678349" y="5477390"/>
                    </a:lnTo>
                    <a:lnTo>
                      <a:pt x="9706319" y="5440115"/>
                    </a:lnTo>
                    <a:lnTo>
                      <a:pt x="9747808" y="5460724"/>
                    </a:lnTo>
                    <a:lnTo>
                      <a:pt x="9754608" y="5493032"/>
                    </a:lnTo>
                    <a:lnTo>
                      <a:pt x="9777050" y="5509481"/>
                    </a:lnTo>
                    <a:lnTo>
                      <a:pt x="9813138" y="5514572"/>
                    </a:lnTo>
                    <a:lnTo>
                      <a:pt x="9839623" y="5517645"/>
                    </a:lnTo>
                    <a:lnTo>
                      <a:pt x="9866108" y="5520711"/>
                    </a:lnTo>
                    <a:lnTo>
                      <a:pt x="9894537" y="5523679"/>
                    </a:lnTo>
                    <a:lnTo>
                      <a:pt x="9922591" y="5513571"/>
                    </a:lnTo>
                    <a:lnTo>
                      <a:pt x="9950118" y="5490515"/>
                    </a:lnTo>
                    <a:lnTo>
                      <a:pt x="10008648" y="5429539"/>
                    </a:lnTo>
                    <a:lnTo>
                      <a:pt x="10031357" y="5375750"/>
                    </a:lnTo>
                    <a:lnTo>
                      <a:pt x="10058611" y="5350346"/>
                    </a:lnTo>
                    <a:lnTo>
                      <a:pt x="10087431" y="5331154"/>
                    </a:lnTo>
                    <a:lnTo>
                      <a:pt x="10127726" y="5342341"/>
                    </a:lnTo>
                    <a:lnTo>
                      <a:pt x="10153123" y="5359400"/>
                    </a:lnTo>
                    <a:lnTo>
                      <a:pt x="10187834" y="5391156"/>
                    </a:lnTo>
                    <a:lnTo>
                      <a:pt x="10209597" y="5393872"/>
                    </a:lnTo>
                    <a:lnTo>
                      <a:pt x="10233561" y="5366767"/>
                    </a:lnTo>
                    <a:lnTo>
                      <a:pt x="10239518" y="5339463"/>
                    </a:lnTo>
                    <a:lnTo>
                      <a:pt x="10245471" y="5312153"/>
                    </a:lnTo>
                    <a:lnTo>
                      <a:pt x="10251678" y="5279780"/>
                    </a:lnTo>
                    <a:lnTo>
                      <a:pt x="10273522" y="5253769"/>
                    </a:lnTo>
                    <a:lnTo>
                      <a:pt x="10261281" y="5214001"/>
                    </a:lnTo>
                    <a:lnTo>
                      <a:pt x="10233410" y="5172798"/>
                    </a:lnTo>
                    <a:lnTo>
                      <a:pt x="10208230" y="5131349"/>
                    </a:lnTo>
                    <a:lnTo>
                      <a:pt x="10183059" y="5089907"/>
                    </a:lnTo>
                    <a:lnTo>
                      <a:pt x="10160459" y="5048235"/>
                    </a:lnTo>
                    <a:lnTo>
                      <a:pt x="10156546" y="5008935"/>
                    </a:lnTo>
                    <a:lnTo>
                      <a:pt x="10152041" y="4963536"/>
                    </a:lnTo>
                    <a:lnTo>
                      <a:pt x="10159560" y="4924729"/>
                    </a:lnTo>
                    <a:lnTo>
                      <a:pt x="10171509" y="4881079"/>
                    </a:lnTo>
                    <a:lnTo>
                      <a:pt x="10179028" y="4853487"/>
                    </a:lnTo>
                    <a:lnTo>
                      <a:pt x="10191645" y="4830186"/>
                    </a:lnTo>
                    <a:lnTo>
                      <a:pt x="10201430" y="4803543"/>
                    </a:lnTo>
                    <a:lnTo>
                      <a:pt x="10215538" y="4765160"/>
                    </a:lnTo>
                    <a:lnTo>
                      <a:pt x="10222706" y="4731057"/>
                    </a:lnTo>
                    <a:lnTo>
                      <a:pt x="10224554" y="4700166"/>
                    </a:lnTo>
                    <a:lnTo>
                      <a:pt x="10226405" y="4669278"/>
                    </a:lnTo>
                    <a:lnTo>
                      <a:pt x="10222313" y="4641162"/>
                    </a:lnTo>
                    <a:lnTo>
                      <a:pt x="10215035" y="4613114"/>
                    </a:lnTo>
                    <a:lnTo>
                      <a:pt x="10200475" y="4557018"/>
                    </a:lnTo>
                    <a:lnTo>
                      <a:pt x="10171193" y="4502122"/>
                    </a:lnTo>
                    <a:lnTo>
                      <a:pt x="10138866" y="4429485"/>
                    </a:lnTo>
                    <a:lnTo>
                      <a:pt x="10129252" y="4407889"/>
                    </a:lnTo>
                    <a:lnTo>
                      <a:pt x="10095340" y="4402283"/>
                    </a:lnTo>
                    <a:lnTo>
                      <a:pt x="10057188" y="4407902"/>
                    </a:lnTo>
                    <a:lnTo>
                      <a:pt x="10011690" y="4407464"/>
                    </a:lnTo>
                    <a:lnTo>
                      <a:pt x="9981763" y="4401899"/>
                    </a:lnTo>
                    <a:lnTo>
                      <a:pt x="9953879" y="4399564"/>
                    </a:lnTo>
                    <a:lnTo>
                      <a:pt x="9926179" y="4389540"/>
                    </a:lnTo>
                    <a:lnTo>
                      <a:pt x="9905405" y="4363340"/>
                    </a:lnTo>
                    <a:lnTo>
                      <a:pt x="9891306" y="4327476"/>
                    </a:lnTo>
                    <a:lnTo>
                      <a:pt x="9879791" y="4290210"/>
                    </a:lnTo>
                    <a:lnTo>
                      <a:pt x="9876455" y="4248838"/>
                    </a:lnTo>
                    <a:lnTo>
                      <a:pt x="9879065" y="4226818"/>
                    </a:lnTo>
                    <a:lnTo>
                      <a:pt x="9889031" y="4207951"/>
                    </a:lnTo>
                    <a:lnTo>
                      <a:pt x="9922591" y="4194172"/>
                    </a:lnTo>
                    <a:lnTo>
                      <a:pt x="9956403" y="4183081"/>
                    </a:lnTo>
                    <a:lnTo>
                      <a:pt x="9972898" y="4151539"/>
                    </a:lnTo>
                    <a:lnTo>
                      <a:pt x="9969199" y="4129181"/>
                    </a:lnTo>
                    <a:lnTo>
                      <a:pt x="9965770" y="4087785"/>
                    </a:lnTo>
                    <a:lnTo>
                      <a:pt x="9981084" y="4055436"/>
                    </a:lnTo>
                    <a:lnTo>
                      <a:pt x="10015507" y="4073631"/>
                    </a:lnTo>
                    <a:lnTo>
                      <a:pt x="10034963" y="4124756"/>
                    </a:lnTo>
                    <a:lnTo>
                      <a:pt x="10050453" y="4171051"/>
                    </a:lnTo>
                    <a:lnTo>
                      <a:pt x="10065947" y="4217355"/>
                    </a:lnTo>
                    <a:lnTo>
                      <a:pt x="10078501" y="4258066"/>
                    </a:lnTo>
                    <a:lnTo>
                      <a:pt x="10105669" y="4267470"/>
                    </a:lnTo>
                    <a:lnTo>
                      <a:pt x="10133127" y="4269367"/>
                    </a:lnTo>
                    <a:lnTo>
                      <a:pt x="10160629" y="4267628"/>
                    </a:lnTo>
                    <a:lnTo>
                      <a:pt x="10188129" y="4265886"/>
                    </a:lnTo>
                    <a:lnTo>
                      <a:pt x="10214654" y="4261039"/>
                    </a:lnTo>
                    <a:lnTo>
                      <a:pt x="10236802" y="4254029"/>
                    </a:lnTo>
                    <a:lnTo>
                      <a:pt x="10251092" y="4235050"/>
                    </a:lnTo>
                    <a:lnTo>
                      <a:pt x="10249719" y="4207719"/>
                    </a:lnTo>
                    <a:lnTo>
                      <a:pt x="10238160" y="4176493"/>
                    </a:lnTo>
                    <a:lnTo>
                      <a:pt x="10226353" y="4145350"/>
                    </a:lnTo>
                    <a:lnTo>
                      <a:pt x="10210270" y="4113907"/>
                    </a:lnTo>
                    <a:lnTo>
                      <a:pt x="10206701" y="4042175"/>
                    </a:lnTo>
                    <a:lnTo>
                      <a:pt x="10236036" y="3988281"/>
                    </a:lnTo>
                    <a:lnTo>
                      <a:pt x="10228635" y="3930300"/>
                    </a:lnTo>
                    <a:lnTo>
                      <a:pt x="10225317" y="3904221"/>
                    </a:lnTo>
                    <a:lnTo>
                      <a:pt x="10212279" y="3880394"/>
                    </a:lnTo>
                    <a:lnTo>
                      <a:pt x="10200072" y="3856852"/>
                    </a:lnTo>
                    <a:lnTo>
                      <a:pt x="10187865" y="3833307"/>
                    </a:lnTo>
                    <a:lnTo>
                      <a:pt x="10176904" y="3809289"/>
                    </a:lnTo>
                    <a:lnTo>
                      <a:pt x="10175587" y="3782038"/>
                    </a:lnTo>
                    <a:lnTo>
                      <a:pt x="10187260" y="3745034"/>
                    </a:lnTo>
                    <a:lnTo>
                      <a:pt x="10197356" y="3726272"/>
                    </a:lnTo>
                    <a:lnTo>
                      <a:pt x="10207445" y="3707503"/>
                    </a:lnTo>
                    <a:lnTo>
                      <a:pt x="10204156" y="3669141"/>
                    </a:lnTo>
                    <a:lnTo>
                      <a:pt x="10181112" y="3625145"/>
                    </a:lnTo>
                    <a:lnTo>
                      <a:pt x="10129171" y="3601977"/>
                    </a:lnTo>
                    <a:lnTo>
                      <a:pt x="10099421" y="3561690"/>
                    </a:lnTo>
                    <a:lnTo>
                      <a:pt x="10092872" y="3498312"/>
                    </a:lnTo>
                    <a:lnTo>
                      <a:pt x="10090407" y="3439610"/>
                    </a:lnTo>
                    <a:lnTo>
                      <a:pt x="10102140" y="3376703"/>
                    </a:lnTo>
                    <a:lnTo>
                      <a:pt x="10057036" y="3365649"/>
                    </a:lnTo>
                    <a:lnTo>
                      <a:pt x="10011352" y="3358118"/>
                    </a:lnTo>
                    <a:lnTo>
                      <a:pt x="9964753" y="3352216"/>
                    </a:lnTo>
                    <a:lnTo>
                      <a:pt x="9918161" y="3346314"/>
                    </a:lnTo>
                    <a:lnTo>
                      <a:pt x="9870644" y="3341683"/>
                    </a:lnTo>
                    <a:lnTo>
                      <a:pt x="9824659" y="3335893"/>
                    </a:lnTo>
                    <a:lnTo>
                      <a:pt x="9794494" y="3328256"/>
                    </a:lnTo>
                    <a:lnTo>
                      <a:pt x="9765047" y="3310885"/>
                    </a:lnTo>
                    <a:lnTo>
                      <a:pt x="9749845" y="3284203"/>
                    </a:lnTo>
                    <a:lnTo>
                      <a:pt x="9749021" y="3261285"/>
                    </a:lnTo>
                    <a:lnTo>
                      <a:pt x="9767528" y="3224354"/>
                    </a:lnTo>
                    <a:lnTo>
                      <a:pt x="9793167" y="3190627"/>
                    </a:lnTo>
                    <a:lnTo>
                      <a:pt x="9808335" y="3175386"/>
                    </a:lnTo>
                    <a:lnTo>
                      <a:pt x="9823503" y="3160151"/>
                    </a:lnTo>
                    <a:lnTo>
                      <a:pt x="9839021" y="3145940"/>
                    </a:lnTo>
                    <a:lnTo>
                      <a:pt x="9861978" y="3115063"/>
                    </a:lnTo>
                    <a:lnTo>
                      <a:pt x="9869543" y="3080175"/>
                    </a:lnTo>
                    <a:lnTo>
                      <a:pt x="9869543" y="3047129"/>
                    </a:lnTo>
                    <a:lnTo>
                      <a:pt x="9862514" y="3015117"/>
                    </a:lnTo>
                    <a:lnTo>
                      <a:pt x="9851861" y="2983599"/>
                    </a:lnTo>
                    <a:lnTo>
                      <a:pt x="9841204" y="2952090"/>
                    </a:lnTo>
                    <a:lnTo>
                      <a:pt x="9826920" y="2921640"/>
                    </a:lnTo>
                    <a:lnTo>
                      <a:pt x="9811054" y="2891106"/>
                    </a:lnTo>
                    <a:lnTo>
                      <a:pt x="9779319" y="2830038"/>
                    </a:lnTo>
                    <a:lnTo>
                      <a:pt x="9742643" y="2769324"/>
                    </a:lnTo>
                    <a:lnTo>
                      <a:pt x="9722641" y="2708843"/>
                    </a:lnTo>
                    <a:lnTo>
                      <a:pt x="9740308" y="2687475"/>
                    </a:lnTo>
                    <a:lnTo>
                      <a:pt x="9759367" y="2677556"/>
                    </a:lnTo>
                    <a:lnTo>
                      <a:pt x="9778420" y="2667637"/>
                    </a:lnTo>
                    <a:lnTo>
                      <a:pt x="9802375" y="2658458"/>
                    </a:lnTo>
                    <a:lnTo>
                      <a:pt x="9827375" y="2650353"/>
                    </a:lnTo>
                    <a:lnTo>
                      <a:pt x="9877379" y="2634135"/>
                    </a:lnTo>
                    <a:lnTo>
                      <a:pt x="9929028" y="2622925"/>
                    </a:lnTo>
                    <a:lnTo>
                      <a:pt x="9951833" y="2617662"/>
                    </a:lnTo>
                    <a:lnTo>
                      <a:pt x="9976697" y="2618177"/>
                    </a:lnTo>
                    <a:lnTo>
                      <a:pt x="10023568" y="2617115"/>
                    </a:lnTo>
                    <a:lnTo>
                      <a:pt x="10051814" y="2614991"/>
                    </a:lnTo>
                    <a:lnTo>
                      <a:pt x="10080051" y="2612855"/>
                    </a:lnTo>
                    <a:lnTo>
                      <a:pt x="10107600" y="2608422"/>
                    </a:lnTo>
                    <a:lnTo>
                      <a:pt x="10107489" y="2571425"/>
                    </a:lnTo>
                    <a:lnTo>
                      <a:pt x="10118843" y="2496527"/>
                    </a:lnTo>
                    <a:lnTo>
                      <a:pt x="10071109" y="2463585"/>
                    </a:lnTo>
                    <a:lnTo>
                      <a:pt x="10027748" y="2440715"/>
                    </a:lnTo>
                    <a:lnTo>
                      <a:pt x="9998763" y="2412323"/>
                    </a:lnTo>
                    <a:lnTo>
                      <a:pt x="9987710" y="2392854"/>
                    </a:lnTo>
                    <a:lnTo>
                      <a:pt x="10011005" y="2281698"/>
                    </a:lnTo>
                    <a:lnTo>
                      <a:pt x="10008279" y="2243659"/>
                    </a:lnTo>
                    <a:lnTo>
                      <a:pt x="10002847" y="2185168"/>
                    </a:lnTo>
                    <a:lnTo>
                      <a:pt x="9998763" y="2125320"/>
                    </a:lnTo>
                    <a:lnTo>
                      <a:pt x="9994345" y="2063519"/>
                    </a:lnTo>
                    <a:lnTo>
                      <a:pt x="10001058" y="2039395"/>
                    </a:lnTo>
                    <a:lnTo>
                      <a:pt x="10018220" y="2001777"/>
                    </a:lnTo>
                    <a:lnTo>
                      <a:pt x="10035484" y="1949855"/>
                    </a:lnTo>
                    <a:lnTo>
                      <a:pt x="10038842" y="1927565"/>
                    </a:lnTo>
                    <a:lnTo>
                      <a:pt x="10034442" y="1903678"/>
                    </a:lnTo>
                    <a:lnTo>
                      <a:pt x="10031409" y="1879126"/>
                    </a:lnTo>
                    <a:lnTo>
                      <a:pt x="10028374" y="1854572"/>
                    </a:lnTo>
                    <a:lnTo>
                      <a:pt x="10026297" y="1829518"/>
                    </a:lnTo>
                    <a:lnTo>
                      <a:pt x="10034126" y="1808395"/>
                    </a:lnTo>
                    <a:lnTo>
                      <a:pt x="10047929" y="1787950"/>
                    </a:lnTo>
                    <a:lnTo>
                      <a:pt x="10072015" y="1760826"/>
                    </a:lnTo>
                    <a:lnTo>
                      <a:pt x="10089899" y="1741747"/>
                    </a:lnTo>
                    <a:lnTo>
                      <a:pt x="10086020" y="1704967"/>
                    </a:lnTo>
                    <a:lnTo>
                      <a:pt x="10079010" y="1677816"/>
                    </a:lnTo>
                    <a:lnTo>
                      <a:pt x="10072005" y="1650664"/>
                    </a:lnTo>
                    <a:lnTo>
                      <a:pt x="10064034" y="1624727"/>
                    </a:lnTo>
                    <a:lnTo>
                      <a:pt x="10035893" y="1618771"/>
                    </a:lnTo>
                    <a:lnTo>
                      <a:pt x="10014704" y="1623797"/>
                    </a:lnTo>
                    <a:lnTo>
                      <a:pt x="9993316" y="1628848"/>
                    </a:lnTo>
                    <a:lnTo>
                      <a:pt x="9971943" y="1633907"/>
                    </a:lnTo>
                    <a:lnTo>
                      <a:pt x="9949387" y="1637903"/>
                    </a:lnTo>
                    <a:lnTo>
                      <a:pt x="9925311" y="1635648"/>
                    </a:lnTo>
                    <a:lnTo>
                      <a:pt x="9902186" y="1622048"/>
                    </a:lnTo>
                    <a:lnTo>
                      <a:pt x="9884507" y="1603003"/>
                    </a:lnTo>
                    <a:lnTo>
                      <a:pt x="9898019" y="1541083"/>
                    </a:lnTo>
                    <a:lnTo>
                      <a:pt x="9915792" y="1496910"/>
                    </a:lnTo>
                    <a:lnTo>
                      <a:pt x="9933561" y="1452732"/>
                    </a:lnTo>
                    <a:lnTo>
                      <a:pt x="9954025" y="1408071"/>
                    </a:lnTo>
                    <a:lnTo>
                      <a:pt x="9955876" y="1378189"/>
                    </a:lnTo>
                    <a:lnTo>
                      <a:pt x="9939889" y="1362929"/>
                    </a:lnTo>
                    <a:lnTo>
                      <a:pt x="9913069" y="1359526"/>
                    </a:lnTo>
                    <a:lnTo>
                      <a:pt x="9891220" y="1337934"/>
                    </a:lnTo>
                    <a:lnTo>
                      <a:pt x="9847951" y="1319106"/>
                    </a:lnTo>
                    <a:lnTo>
                      <a:pt x="9836404" y="1289521"/>
                    </a:lnTo>
                    <a:lnTo>
                      <a:pt x="9843691" y="1253434"/>
                    </a:lnTo>
                    <a:lnTo>
                      <a:pt x="9850379" y="1216436"/>
                    </a:lnTo>
                    <a:lnTo>
                      <a:pt x="9841216" y="1176240"/>
                    </a:lnTo>
                    <a:lnTo>
                      <a:pt x="9817906" y="1152241"/>
                    </a:lnTo>
                    <a:lnTo>
                      <a:pt x="9793365" y="1124214"/>
                    </a:lnTo>
                    <a:lnTo>
                      <a:pt x="9768818" y="1096191"/>
                    </a:lnTo>
                    <a:lnTo>
                      <a:pt x="9742816" y="1064833"/>
                    </a:lnTo>
                    <a:lnTo>
                      <a:pt x="9732160" y="1030361"/>
                    </a:lnTo>
                    <a:lnTo>
                      <a:pt x="9728141" y="1000710"/>
                    </a:lnTo>
                    <a:lnTo>
                      <a:pt x="9725279" y="970236"/>
                    </a:lnTo>
                    <a:lnTo>
                      <a:pt x="9710387" y="943308"/>
                    </a:lnTo>
                    <a:lnTo>
                      <a:pt x="9675515" y="947793"/>
                    </a:lnTo>
                    <a:lnTo>
                      <a:pt x="9658762" y="965071"/>
                    </a:lnTo>
                    <a:lnTo>
                      <a:pt x="9642382" y="980029"/>
                    </a:lnTo>
                    <a:lnTo>
                      <a:pt x="9625999" y="994992"/>
                    </a:lnTo>
                    <a:lnTo>
                      <a:pt x="9597498" y="1011315"/>
                    </a:lnTo>
                    <a:lnTo>
                      <a:pt x="9567742" y="1018569"/>
                    </a:lnTo>
                    <a:lnTo>
                      <a:pt x="9543867" y="1006105"/>
                    </a:lnTo>
                    <a:lnTo>
                      <a:pt x="9518600" y="993634"/>
                    </a:lnTo>
                    <a:lnTo>
                      <a:pt x="9492652" y="980754"/>
                    </a:lnTo>
                    <a:lnTo>
                      <a:pt x="9462948" y="973869"/>
                    </a:lnTo>
                    <a:lnTo>
                      <a:pt x="9427474" y="977311"/>
                    </a:lnTo>
                    <a:lnTo>
                      <a:pt x="9397045" y="1003678"/>
                    </a:lnTo>
                    <a:lnTo>
                      <a:pt x="9381480" y="1028547"/>
                    </a:lnTo>
                    <a:lnTo>
                      <a:pt x="9374423" y="1052124"/>
                    </a:lnTo>
                    <a:lnTo>
                      <a:pt x="9367360" y="1075700"/>
                    </a:lnTo>
                    <a:lnTo>
                      <a:pt x="9368824" y="1098408"/>
                    </a:lnTo>
                    <a:lnTo>
                      <a:pt x="9377307" y="1139137"/>
                    </a:lnTo>
                    <a:lnTo>
                      <a:pt x="9388022" y="1174539"/>
                    </a:lnTo>
                    <a:lnTo>
                      <a:pt x="9390602" y="1205396"/>
                    </a:lnTo>
                    <a:lnTo>
                      <a:pt x="9372492" y="1227437"/>
                    </a:lnTo>
                    <a:lnTo>
                      <a:pt x="9343303" y="1237467"/>
                    </a:lnTo>
                    <a:lnTo>
                      <a:pt x="9313218" y="1243910"/>
                    </a:lnTo>
                    <a:lnTo>
                      <a:pt x="9283123" y="1250361"/>
                    </a:lnTo>
                    <a:lnTo>
                      <a:pt x="9252220" y="1253645"/>
                    </a:lnTo>
                    <a:lnTo>
                      <a:pt x="9227524" y="1262957"/>
                    </a:lnTo>
                    <a:lnTo>
                      <a:pt x="9220637" y="1295681"/>
                    </a:lnTo>
                    <a:lnTo>
                      <a:pt x="9210474" y="1334320"/>
                    </a:lnTo>
                    <a:lnTo>
                      <a:pt x="9193520" y="1363608"/>
                    </a:lnTo>
                    <a:lnTo>
                      <a:pt x="9161013" y="1376436"/>
                    </a:lnTo>
                    <a:lnTo>
                      <a:pt x="9122643" y="1364380"/>
                    </a:lnTo>
                    <a:lnTo>
                      <a:pt x="9103928" y="1352311"/>
                    </a:lnTo>
                    <a:lnTo>
                      <a:pt x="9073493" y="1309187"/>
                    </a:lnTo>
                    <a:lnTo>
                      <a:pt x="9055243" y="1270264"/>
                    </a:lnTo>
                    <a:lnTo>
                      <a:pt x="9035737" y="1237111"/>
                    </a:lnTo>
                    <a:lnTo>
                      <a:pt x="8993014" y="1246409"/>
                    </a:lnTo>
                    <a:lnTo>
                      <a:pt x="8972485" y="1256506"/>
                    </a:lnTo>
                    <a:lnTo>
                      <a:pt x="8935759" y="1269406"/>
                    </a:lnTo>
                    <a:lnTo>
                      <a:pt x="8903798" y="1273839"/>
                    </a:lnTo>
                    <a:lnTo>
                      <a:pt x="8871260" y="1276608"/>
                    </a:lnTo>
                    <a:lnTo>
                      <a:pt x="8839761" y="1274702"/>
                    </a:lnTo>
                    <a:lnTo>
                      <a:pt x="8796341" y="1292878"/>
                    </a:lnTo>
                    <a:lnTo>
                      <a:pt x="8772091" y="1306193"/>
                    </a:lnTo>
                    <a:lnTo>
                      <a:pt x="8747137" y="1323088"/>
                    </a:lnTo>
                    <a:lnTo>
                      <a:pt x="8724246" y="1339128"/>
                    </a:lnTo>
                    <a:lnTo>
                      <a:pt x="8701757" y="1360674"/>
                    </a:lnTo>
                    <a:lnTo>
                      <a:pt x="8692967" y="1379930"/>
                    </a:lnTo>
                    <a:lnTo>
                      <a:pt x="8684174" y="1399188"/>
                    </a:lnTo>
                    <a:lnTo>
                      <a:pt x="8676736" y="1422817"/>
                    </a:lnTo>
                    <a:lnTo>
                      <a:pt x="8673920" y="1445220"/>
                    </a:lnTo>
                    <a:lnTo>
                      <a:pt x="8671105" y="1467622"/>
                    </a:lnTo>
                    <a:lnTo>
                      <a:pt x="8671710" y="1489669"/>
                    </a:lnTo>
                    <a:lnTo>
                      <a:pt x="8684279" y="1523191"/>
                    </a:lnTo>
                    <a:lnTo>
                      <a:pt x="8714724" y="1536354"/>
                    </a:lnTo>
                    <a:lnTo>
                      <a:pt x="8796334" y="1547236"/>
                    </a:lnTo>
                    <a:lnTo>
                      <a:pt x="8792260" y="1651971"/>
                    </a:lnTo>
                    <a:lnTo>
                      <a:pt x="8747289" y="1668912"/>
                    </a:lnTo>
                    <a:lnTo>
                      <a:pt x="8709289" y="1671016"/>
                    </a:lnTo>
                    <a:lnTo>
                      <a:pt x="8671282" y="1673114"/>
                    </a:lnTo>
                    <a:lnTo>
                      <a:pt x="8631290" y="1675264"/>
                    </a:lnTo>
                    <a:lnTo>
                      <a:pt x="8615437" y="1691415"/>
                    </a:lnTo>
                    <a:lnTo>
                      <a:pt x="8599491" y="1714384"/>
                    </a:lnTo>
                    <a:lnTo>
                      <a:pt x="8596009" y="1736457"/>
                    </a:lnTo>
                    <a:lnTo>
                      <a:pt x="8601825" y="1758070"/>
                    </a:lnTo>
                    <a:lnTo>
                      <a:pt x="8610008" y="1779575"/>
                    </a:lnTo>
                    <a:lnTo>
                      <a:pt x="8626475" y="1800679"/>
                    </a:lnTo>
                    <a:lnTo>
                      <a:pt x="8637194" y="1820635"/>
                    </a:lnTo>
                    <a:lnTo>
                      <a:pt x="8648412" y="1841547"/>
                    </a:lnTo>
                    <a:lnTo>
                      <a:pt x="8635625" y="1907602"/>
                    </a:lnTo>
                    <a:lnTo>
                      <a:pt x="8638552" y="1943057"/>
                    </a:lnTo>
                    <a:lnTo>
                      <a:pt x="8680720" y="1975701"/>
                    </a:lnTo>
                    <a:lnTo>
                      <a:pt x="8679988" y="2004053"/>
                    </a:lnTo>
                    <a:lnTo>
                      <a:pt x="8660182" y="2016102"/>
                    </a:lnTo>
                    <a:lnTo>
                      <a:pt x="8636639" y="2018080"/>
                    </a:lnTo>
                    <a:lnTo>
                      <a:pt x="8614073" y="2020585"/>
                    </a:lnTo>
                    <a:lnTo>
                      <a:pt x="8591497" y="2023086"/>
                    </a:lnTo>
                    <a:lnTo>
                      <a:pt x="8570500" y="2026066"/>
                    </a:lnTo>
                    <a:lnTo>
                      <a:pt x="8558107" y="2053461"/>
                    </a:lnTo>
                    <a:lnTo>
                      <a:pt x="8560395" y="2098109"/>
                    </a:lnTo>
                    <a:lnTo>
                      <a:pt x="8561022" y="2140283"/>
                    </a:lnTo>
                    <a:lnTo>
                      <a:pt x="8561617" y="2182451"/>
                    </a:lnTo>
                    <a:lnTo>
                      <a:pt x="8560829" y="2223128"/>
                    </a:lnTo>
                    <a:lnTo>
                      <a:pt x="8431808" y="2246375"/>
                    </a:lnTo>
                    <a:lnTo>
                      <a:pt x="8314829" y="2253174"/>
                    </a:lnTo>
                    <a:lnTo>
                      <a:pt x="8278403" y="2263766"/>
                    </a:lnTo>
                    <a:lnTo>
                      <a:pt x="8213155" y="2275578"/>
                    </a:lnTo>
                    <a:lnTo>
                      <a:pt x="8163719" y="2281573"/>
                    </a:lnTo>
                    <a:lnTo>
                      <a:pt x="8116243" y="2291267"/>
                    </a:lnTo>
                    <a:lnTo>
                      <a:pt x="7973417" y="2321189"/>
                    </a:lnTo>
                    <a:lnTo>
                      <a:pt x="7943494" y="2327308"/>
                    </a:lnTo>
                    <a:lnTo>
                      <a:pt x="7913489" y="2342397"/>
                    </a:lnTo>
                    <a:lnTo>
                      <a:pt x="7880924" y="2336152"/>
                    </a:lnTo>
                    <a:lnTo>
                      <a:pt x="7860268" y="2332155"/>
                    </a:lnTo>
                    <a:lnTo>
                      <a:pt x="7798811" y="2309811"/>
                    </a:lnTo>
                    <a:lnTo>
                      <a:pt x="7739463" y="2284461"/>
                    </a:lnTo>
                    <a:lnTo>
                      <a:pt x="7680120" y="2259110"/>
                    </a:lnTo>
                    <a:lnTo>
                      <a:pt x="7622806" y="2230884"/>
                    </a:lnTo>
                    <a:lnTo>
                      <a:pt x="7593924" y="2212378"/>
                    </a:lnTo>
                    <a:lnTo>
                      <a:pt x="7506023" y="2270486"/>
                    </a:lnTo>
                    <a:lnTo>
                      <a:pt x="7470462" y="2231656"/>
                    </a:lnTo>
                    <a:lnTo>
                      <a:pt x="7422471" y="2185795"/>
                    </a:lnTo>
                    <a:lnTo>
                      <a:pt x="7368130" y="2151165"/>
                    </a:lnTo>
                    <a:lnTo>
                      <a:pt x="7340960" y="2133853"/>
                    </a:lnTo>
                    <a:lnTo>
                      <a:pt x="7312468" y="2119688"/>
                    </a:lnTo>
                    <a:lnTo>
                      <a:pt x="7285159" y="2110363"/>
                    </a:lnTo>
                    <a:lnTo>
                      <a:pt x="7257849" y="2101030"/>
                    </a:lnTo>
                    <a:lnTo>
                      <a:pt x="7231952" y="2097396"/>
                    </a:lnTo>
                    <a:lnTo>
                      <a:pt x="7210348" y="2100839"/>
                    </a:lnTo>
                    <a:lnTo>
                      <a:pt x="7140975" y="2118520"/>
                    </a:lnTo>
                    <a:lnTo>
                      <a:pt x="7077385" y="2135442"/>
                    </a:lnTo>
                    <a:lnTo>
                      <a:pt x="7060729" y="2149807"/>
                    </a:lnTo>
                    <a:lnTo>
                      <a:pt x="7042876" y="2165192"/>
                    </a:lnTo>
                    <a:lnTo>
                      <a:pt x="7032414" y="2191888"/>
                    </a:lnTo>
                    <a:lnTo>
                      <a:pt x="7019919" y="2211014"/>
                    </a:lnTo>
                    <a:lnTo>
                      <a:pt x="7003808" y="2235665"/>
                    </a:lnTo>
                    <a:lnTo>
                      <a:pt x="6984960" y="2261457"/>
                    </a:lnTo>
                    <a:lnTo>
                      <a:pt x="6970951" y="2287185"/>
                    </a:lnTo>
                    <a:lnTo>
                      <a:pt x="6946357" y="2332360"/>
                    </a:lnTo>
                    <a:lnTo>
                      <a:pt x="6927168" y="2386233"/>
                    </a:lnTo>
                    <a:lnTo>
                      <a:pt x="6898863" y="2430004"/>
                    </a:lnTo>
                    <a:lnTo>
                      <a:pt x="6884709" y="2451892"/>
                    </a:lnTo>
                    <a:lnTo>
                      <a:pt x="6867643" y="2471335"/>
                    </a:lnTo>
                    <a:lnTo>
                      <a:pt x="6847179" y="2485777"/>
                    </a:lnTo>
                    <a:lnTo>
                      <a:pt x="6826715" y="2500220"/>
                    </a:lnTo>
                    <a:lnTo>
                      <a:pt x="6802723" y="2509340"/>
                    </a:lnTo>
                    <a:lnTo>
                      <a:pt x="6772365" y="2511622"/>
                    </a:lnTo>
                    <a:lnTo>
                      <a:pt x="6720663" y="2510515"/>
                    </a:lnTo>
                    <a:lnTo>
                      <a:pt x="6689387" y="2503458"/>
                    </a:lnTo>
                    <a:lnTo>
                      <a:pt x="6658115" y="2496401"/>
                    </a:lnTo>
                    <a:lnTo>
                      <a:pt x="6628727" y="2484841"/>
                    </a:lnTo>
                    <a:lnTo>
                      <a:pt x="6600087" y="2449689"/>
                    </a:lnTo>
                    <a:lnTo>
                      <a:pt x="6589917" y="2419307"/>
                    </a:lnTo>
                    <a:lnTo>
                      <a:pt x="6579214" y="2387842"/>
                    </a:lnTo>
                    <a:lnTo>
                      <a:pt x="6568511" y="2356379"/>
                    </a:lnTo>
                    <a:lnTo>
                      <a:pt x="6556738" y="2324598"/>
                    </a:lnTo>
                    <a:lnTo>
                      <a:pt x="6537046" y="2300790"/>
                    </a:lnTo>
                    <a:lnTo>
                      <a:pt x="6518384" y="2278222"/>
                    </a:lnTo>
                    <a:lnTo>
                      <a:pt x="6481279" y="2261346"/>
                    </a:lnTo>
                    <a:lnTo>
                      <a:pt x="6442984" y="2247978"/>
                    </a:lnTo>
                    <a:lnTo>
                      <a:pt x="6425512" y="2232777"/>
                    </a:lnTo>
                    <a:lnTo>
                      <a:pt x="6408635" y="2218116"/>
                    </a:lnTo>
                    <a:lnTo>
                      <a:pt x="6397755" y="2193669"/>
                    </a:lnTo>
                    <a:lnTo>
                      <a:pt x="6376547" y="2183809"/>
                    </a:lnTo>
                    <a:lnTo>
                      <a:pt x="6345359" y="2171985"/>
                    </a:lnTo>
                    <a:lnTo>
                      <a:pt x="6312517" y="2162989"/>
                    </a:lnTo>
                    <a:lnTo>
                      <a:pt x="6279970" y="2155247"/>
                    </a:lnTo>
                    <a:lnTo>
                      <a:pt x="6235554" y="2144134"/>
                    </a:lnTo>
                    <a:lnTo>
                      <a:pt x="6206496" y="2145243"/>
                    </a:lnTo>
                    <a:lnTo>
                      <a:pt x="6188835" y="2160688"/>
                    </a:lnTo>
                    <a:lnTo>
                      <a:pt x="6171180" y="2176132"/>
                    </a:lnTo>
                    <a:lnTo>
                      <a:pt x="6165121" y="2204940"/>
                    </a:lnTo>
                    <a:lnTo>
                      <a:pt x="6164356" y="2249099"/>
                    </a:lnTo>
                    <a:lnTo>
                      <a:pt x="6032286" y="2262110"/>
                    </a:lnTo>
                    <a:lnTo>
                      <a:pt x="5919096" y="2254118"/>
                    </a:lnTo>
                    <a:lnTo>
                      <a:pt x="5803903" y="2262704"/>
                    </a:lnTo>
                    <a:lnTo>
                      <a:pt x="5774358" y="2259644"/>
                    </a:lnTo>
                    <a:lnTo>
                      <a:pt x="5756660" y="2241555"/>
                    </a:lnTo>
                    <a:lnTo>
                      <a:pt x="5758570" y="2215544"/>
                    </a:lnTo>
                    <a:lnTo>
                      <a:pt x="5761735" y="2187891"/>
                    </a:lnTo>
                    <a:lnTo>
                      <a:pt x="5764895" y="2160239"/>
                    </a:lnTo>
                    <a:lnTo>
                      <a:pt x="5770290" y="2131084"/>
                    </a:lnTo>
                    <a:lnTo>
                      <a:pt x="5773080" y="2090848"/>
                    </a:lnTo>
                    <a:lnTo>
                      <a:pt x="5760991" y="2073661"/>
                    </a:lnTo>
                    <a:lnTo>
                      <a:pt x="5748130" y="2055954"/>
                    </a:lnTo>
                    <a:lnTo>
                      <a:pt x="5735272" y="2038240"/>
                    </a:lnTo>
                    <a:lnTo>
                      <a:pt x="5721170" y="2021035"/>
                    </a:lnTo>
                    <a:lnTo>
                      <a:pt x="5718203" y="1996106"/>
                    </a:lnTo>
                    <a:lnTo>
                      <a:pt x="5725080" y="1959550"/>
                    </a:lnTo>
                    <a:lnTo>
                      <a:pt x="5738608" y="1938973"/>
                    </a:lnTo>
                    <a:lnTo>
                      <a:pt x="5752133" y="1918398"/>
                    </a:lnTo>
                    <a:lnTo>
                      <a:pt x="5770460" y="1897123"/>
                    </a:lnTo>
                    <a:lnTo>
                      <a:pt x="5786217" y="1873684"/>
                    </a:lnTo>
                    <a:lnTo>
                      <a:pt x="5801965" y="1850253"/>
                    </a:lnTo>
                    <a:lnTo>
                      <a:pt x="5815518" y="1825521"/>
                    </a:lnTo>
                    <a:lnTo>
                      <a:pt x="5820218" y="1800238"/>
                    </a:lnTo>
                    <a:lnTo>
                      <a:pt x="5824922" y="1774952"/>
                    </a:lnTo>
                    <a:lnTo>
                      <a:pt x="5820814" y="1748803"/>
                    </a:lnTo>
                    <a:lnTo>
                      <a:pt x="5801175" y="1722701"/>
                    </a:lnTo>
                    <a:lnTo>
                      <a:pt x="5787758" y="1704881"/>
                    </a:lnTo>
                    <a:lnTo>
                      <a:pt x="5772817" y="1686863"/>
                    </a:lnTo>
                    <a:lnTo>
                      <a:pt x="5757655" y="1669658"/>
                    </a:lnTo>
                    <a:lnTo>
                      <a:pt x="5742487" y="1652451"/>
                    </a:lnTo>
                    <a:lnTo>
                      <a:pt x="5727291" y="1636320"/>
                    </a:lnTo>
                    <a:lnTo>
                      <a:pt x="5712768" y="1619332"/>
                    </a:lnTo>
                    <a:lnTo>
                      <a:pt x="5694989" y="1598512"/>
                    </a:lnTo>
                    <a:lnTo>
                      <a:pt x="5693426" y="1553271"/>
                    </a:lnTo>
                    <a:lnTo>
                      <a:pt x="5695082" y="1528197"/>
                    </a:lnTo>
                    <a:lnTo>
                      <a:pt x="5652108" y="1452105"/>
                    </a:lnTo>
                    <a:lnTo>
                      <a:pt x="5612408" y="1446751"/>
                    </a:lnTo>
                    <a:lnTo>
                      <a:pt x="5538577" y="1474383"/>
                    </a:lnTo>
                    <a:lnTo>
                      <a:pt x="5519617" y="1490111"/>
                    </a:lnTo>
                    <a:lnTo>
                      <a:pt x="5480549" y="1436250"/>
                    </a:lnTo>
                    <a:lnTo>
                      <a:pt x="5439336" y="1395065"/>
                    </a:lnTo>
                    <a:lnTo>
                      <a:pt x="5408079" y="1348645"/>
                    </a:lnTo>
                    <a:lnTo>
                      <a:pt x="5390766" y="1322930"/>
                    </a:lnTo>
                    <a:lnTo>
                      <a:pt x="5375790" y="1295107"/>
                    </a:lnTo>
                    <a:lnTo>
                      <a:pt x="5360470" y="1267033"/>
                    </a:lnTo>
                    <a:lnTo>
                      <a:pt x="5345162" y="1238965"/>
                    </a:lnTo>
                    <a:lnTo>
                      <a:pt x="5330602" y="1211154"/>
                    </a:lnTo>
                    <a:lnTo>
                      <a:pt x="5315586" y="1184061"/>
                    </a:lnTo>
                    <a:lnTo>
                      <a:pt x="5305317" y="1165523"/>
                    </a:lnTo>
                    <a:lnTo>
                      <a:pt x="5291600" y="1144605"/>
                    </a:lnTo>
                    <a:lnTo>
                      <a:pt x="5280224" y="1124214"/>
                    </a:lnTo>
                    <a:lnTo>
                      <a:pt x="5268847" y="1103821"/>
                    </a:lnTo>
                    <a:lnTo>
                      <a:pt x="5258823" y="1084044"/>
                    </a:lnTo>
                    <a:lnTo>
                      <a:pt x="5254377" y="1063005"/>
                    </a:lnTo>
                    <a:lnTo>
                      <a:pt x="5281879" y="1055652"/>
                    </a:lnTo>
                    <a:lnTo>
                      <a:pt x="5324822" y="1037332"/>
                    </a:lnTo>
                    <a:lnTo>
                      <a:pt x="5365918" y="1016755"/>
                    </a:lnTo>
                    <a:lnTo>
                      <a:pt x="5407010" y="996186"/>
                    </a:lnTo>
                    <a:lnTo>
                      <a:pt x="5447020" y="972643"/>
                    </a:lnTo>
                    <a:lnTo>
                      <a:pt x="5469291" y="954190"/>
                    </a:lnTo>
                    <a:lnTo>
                      <a:pt x="5481052" y="933633"/>
                    </a:lnTo>
                    <a:lnTo>
                      <a:pt x="5490177" y="898575"/>
                    </a:lnTo>
                    <a:lnTo>
                      <a:pt x="5493773" y="871220"/>
                    </a:lnTo>
                    <a:lnTo>
                      <a:pt x="5487566" y="831360"/>
                    </a:lnTo>
                    <a:lnTo>
                      <a:pt x="5472773" y="794099"/>
                    </a:lnTo>
                    <a:lnTo>
                      <a:pt x="5459769" y="756956"/>
                    </a:lnTo>
                    <a:lnTo>
                      <a:pt x="5453187" y="722175"/>
                    </a:lnTo>
                    <a:lnTo>
                      <a:pt x="5446164" y="701190"/>
                    </a:lnTo>
                    <a:lnTo>
                      <a:pt x="5439147" y="680211"/>
                    </a:lnTo>
                    <a:lnTo>
                      <a:pt x="5429932" y="661237"/>
                    </a:lnTo>
                    <a:lnTo>
                      <a:pt x="5398455" y="649249"/>
                    </a:lnTo>
                    <a:lnTo>
                      <a:pt x="5346957" y="666389"/>
                    </a:lnTo>
                    <a:lnTo>
                      <a:pt x="5295187" y="680785"/>
                    </a:lnTo>
                    <a:lnTo>
                      <a:pt x="5269294" y="687986"/>
                    </a:lnTo>
                    <a:lnTo>
                      <a:pt x="5243475" y="694990"/>
                    </a:lnTo>
                    <a:lnTo>
                      <a:pt x="5221731" y="697108"/>
                    </a:lnTo>
                    <a:lnTo>
                      <a:pt x="5199990" y="699224"/>
                    </a:lnTo>
                    <a:lnTo>
                      <a:pt x="5172767" y="687591"/>
                    </a:lnTo>
                    <a:lnTo>
                      <a:pt x="5164606" y="652222"/>
                    </a:lnTo>
                    <a:lnTo>
                      <a:pt x="5138347" y="633289"/>
                    </a:lnTo>
                    <a:lnTo>
                      <a:pt x="5110200" y="644059"/>
                    </a:lnTo>
                    <a:lnTo>
                      <a:pt x="5083463" y="661422"/>
                    </a:lnTo>
                    <a:lnTo>
                      <a:pt x="5053068" y="664462"/>
                    </a:lnTo>
                    <a:lnTo>
                      <a:pt x="4959874" y="549052"/>
                    </a:lnTo>
                    <a:lnTo>
                      <a:pt x="4936964" y="545866"/>
                    </a:lnTo>
                    <a:lnTo>
                      <a:pt x="4900724" y="567886"/>
                    </a:lnTo>
                    <a:lnTo>
                      <a:pt x="4882536" y="580576"/>
                    </a:lnTo>
                    <a:lnTo>
                      <a:pt x="4864968" y="596792"/>
                    </a:lnTo>
                    <a:lnTo>
                      <a:pt x="4840591" y="624333"/>
                    </a:lnTo>
                    <a:lnTo>
                      <a:pt x="4843599" y="664462"/>
                    </a:lnTo>
                    <a:lnTo>
                      <a:pt x="4850926" y="705859"/>
                    </a:lnTo>
                    <a:lnTo>
                      <a:pt x="4812900" y="744631"/>
                    </a:lnTo>
                    <a:lnTo>
                      <a:pt x="4762854" y="752663"/>
                    </a:lnTo>
                    <a:lnTo>
                      <a:pt x="4723895" y="754232"/>
                    </a:lnTo>
                    <a:lnTo>
                      <a:pt x="4706215" y="699824"/>
                    </a:lnTo>
                    <a:lnTo>
                      <a:pt x="4676992" y="688099"/>
                    </a:lnTo>
                    <a:lnTo>
                      <a:pt x="4651108" y="699528"/>
                    </a:lnTo>
                    <a:lnTo>
                      <a:pt x="4625436" y="763842"/>
                    </a:lnTo>
                    <a:lnTo>
                      <a:pt x="4637416" y="823472"/>
                    </a:lnTo>
                    <a:lnTo>
                      <a:pt x="4625963" y="880729"/>
                    </a:lnTo>
                    <a:lnTo>
                      <a:pt x="4538911" y="897052"/>
                    </a:lnTo>
                    <a:lnTo>
                      <a:pt x="4524428" y="857370"/>
                    </a:lnTo>
                    <a:lnTo>
                      <a:pt x="4534688" y="836286"/>
                    </a:lnTo>
                    <a:lnTo>
                      <a:pt x="4554010" y="802751"/>
                    </a:lnTo>
                    <a:lnTo>
                      <a:pt x="4564754" y="775996"/>
                    </a:lnTo>
                    <a:lnTo>
                      <a:pt x="4571231" y="712098"/>
                    </a:lnTo>
                    <a:lnTo>
                      <a:pt x="4575860" y="665372"/>
                    </a:lnTo>
                    <a:lnTo>
                      <a:pt x="4575637" y="631811"/>
                    </a:lnTo>
                    <a:lnTo>
                      <a:pt x="4575439" y="598250"/>
                    </a:lnTo>
                    <a:lnTo>
                      <a:pt x="4555232" y="566522"/>
                    </a:lnTo>
                    <a:lnTo>
                      <a:pt x="4515656" y="550621"/>
                    </a:lnTo>
                    <a:lnTo>
                      <a:pt x="4477702" y="551557"/>
                    </a:lnTo>
                    <a:lnTo>
                      <a:pt x="4439741" y="552494"/>
                    </a:lnTo>
                    <a:lnTo>
                      <a:pt x="4388914" y="557329"/>
                    </a:lnTo>
                    <a:lnTo>
                      <a:pt x="4319913" y="562439"/>
                    </a:lnTo>
                    <a:lnTo>
                      <a:pt x="4288368" y="575300"/>
                    </a:lnTo>
                    <a:lnTo>
                      <a:pt x="4264410" y="601277"/>
                    </a:lnTo>
                    <a:lnTo>
                      <a:pt x="4238306" y="625012"/>
                    </a:lnTo>
                    <a:lnTo>
                      <a:pt x="4206804" y="626219"/>
                    </a:lnTo>
                    <a:lnTo>
                      <a:pt x="4185475" y="612916"/>
                    </a:lnTo>
                    <a:lnTo>
                      <a:pt x="4171652" y="589649"/>
                    </a:lnTo>
                    <a:lnTo>
                      <a:pt x="4159644" y="564009"/>
                    </a:lnTo>
                    <a:lnTo>
                      <a:pt x="4153957" y="531371"/>
                    </a:lnTo>
                    <a:lnTo>
                      <a:pt x="4143090" y="512113"/>
                    </a:lnTo>
                    <a:lnTo>
                      <a:pt x="4097815" y="528106"/>
                    </a:lnTo>
                    <a:lnTo>
                      <a:pt x="4072359" y="548841"/>
                    </a:lnTo>
                    <a:lnTo>
                      <a:pt x="4046910" y="569575"/>
                    </a:lnTo>
                    <a:lnTo>
                      <a:pt x="4020397" y="592473"/>
                    </a:lnTo>
                    <a:lnTo>
                      <a:pt x="3998913" y="601891"/>
                    </a:lnTo>
                    <a:lnTo>
                      <a:pt x="3950407" y="599298"/>
                    </a:lnTo>
                    <a:lnTo>
                      <a:pt x="3913219" y="589649"/>
                    </a:lnTo>
                    <a:lnTo>
                      <a:pt x="3876030" y="579996"/>
                    </a:lnTo>
                    <a:lnTo>
                      <a:pt x="3838088" y="569627"/>
                    </a:lnTo>
                    <a:lnTo>
                      <a:pt x="3782771" y="562347"/>
                    </a:lnTo>
                    <a:lnTo>
                      <a:pt x="3740522" y="567017"/>
                    </a:lnTo>
                    <a:lnTo>
                      <a:pt x="3701027" y="562439"/>
                    </a:lnTo>
                    <a:lnTo>
                      <a:pt x="3661529" y="555252"/>
                    </a:lnTo>
                    <a:lnTo>
                      <a:pt x="3626266" y="536989"/>
                    </a:lnTo>
                    <a:lnTo>
                      <a:pt x="3596292" y="502591"/>
                    </a:lnTo>
                    <a:lnTo>
                      <a:pt x="3582470" y="481005"/>
                    </a:lnTo>
                    <a:lnTo>
                      <a:pt x="3588128" y="369294"/>
                    </a:lnTo>
                    <a:lnTo>
                      <a:pt x="3583797" y="343826"/>
                    </a:lnTo>
                    <a:lnTo>
                      <a:pt x="3565265" y="332192"/>
                    </a:lnTo>
                    <a:lnTo>
                      <a:pt x="3537803" y="328486"/>
                    </a:lnTo>
                    <a:lnTo>
                      <a:pt x="3509364" y="325979"/>
                    </a:lnTo>
                    <a:lnTo>
                      <a:pt x="3476284" y="328354"/>
                    </a:lnTo>
                    <a:lnTo>
                      <a:pt x="3458908" y="314886"/>
                    </a:lnTo>
                    <a:lnTo>
                      <a:pt x="3443303" y="262141"/>
                    </a:lnTo>
                    <a:lnTo>
                      <a:pt x="3439868" y="215593"/>
                    </a:lnTo>
                    <a:lnTo>
                      <a:pt x="3436432" y="169041"/>
                    </a:lnTo>
                    <a:lnTo>
                      <a:pt x="3434466" y="120252"/>
                    </a:lnTo>
                    <a:lnTo>
                      <a:pt x="3432535" y="97974"/>
                    </a:lnTo>
                    <a:lnTo>
                      <a:pt x="3413798" y="75254"/>
                    </a:lnTo>
                    <a:lnTo>
                      <a:pt x="3356648" y="75538"/>
                    </a:lnTo>
                    <a:lnTo>
                      <a:pt x="3327226" y="75141"/>
                    </a:lnTo>
                    <a:lnTo>
                      <a:pt x="3288633" y="70394"/>
                    </a:lnTo>
                    <a:lnTo>
                      <a:pt x="3259662" y="49785"/>
                    </a:lnTo>
                    <a:lnTo>
                      <a:pt x="3238559" y="34682"/>
                    </a:lnTo>
                    <a:lnTo>
                      <a:pt x="3213801" y="32842"/>
                    </a:lnTo>
                    <a:lnTo>
                      <a:pt x="3186981" y="39147"/>
                    </a:lnTo>
                    <a:lnTo>
                      <a:pt x="3161029" y="46929"/>
                    </a:lnTo>
                    <a:lnTo>
                      <a:pt x="3135071" y="54698"/>
                    </a:lnTo>
                    <a:lnTo>
                      <a:pt x="3109919" y="64260"/>
                    </a:lnTo>
                    <a:lnTo>
                      <a:pt x="3087576" y="70050"/>
                    </a:lnTo>
                    <a:lnTo>
                      <a:pt x="3065233" y="75834"/>
                    </a:lnTo>
                    <a:lnTo>
                      <a:pt x="3031809" y="70050"/>
                    </a:lnTo>
                    <a:lnTo>
                      <a:pt x="3009392" y="44556"/>
                    </a:lnTo>
                    <a:lnTo>
                      <a:pt x="3008682" y="11561"/>
                    </a:lnTo>
                    <a:lnTo>
                      <a:pt x="2990366" y="0"/>
                    </a:lnTo>
                    <a:lnTo>
                      <a:pt x="2931982" y="11824"/>
                    </a:lnTo>
                    <a:lnTo>
                      <a:pt x="2910753" y="14278"/>
                    </a:lnTo>
                    <a:lnTo>
                      <a:pt x="2806123" y="39905"/>
                    </a:lnTo>
                    <a:lnTo>
                      <a:pt x="2772011" y="45563"/>
                    </a:lnTo>
                    <a:lnTo>
                      <a:pt x="2740512" y="70559"/>
                    </a:lnTo>
                    <a:lnTo>
                      <a:pt x="2736094" y="100842"/>
                    </a:lnTo>
                    <a:lnTo>
                      <a:pt x="2733105" y="141539"/>
                    </a:lnTo>
                    <a:lnTo>
                      <a:pt x="2723043" y="178861"/>
                    </a:lnTo>
                    <a:lnTo>
                      <a:pt x="2711720" y="215265"/>
                    </a:lnTo>
                    <a:lnTo>
                      <a:pt x="2693563" y="240390"/>
                    </a:lnTo>
                    <a:lnTo>
                      <a:pt x="2667276" y="246873"/>
                    </a:lnTo>
                    <a:lnTo>
                      <a:pt x="2621995" y="237569"/>
                    </a:lnTo>
                    <a:lnTo>
                      <a:pt x="2595187" y="235992"/>
                    </a:lnTo>
                    <a:lnTo>
                      <a:pt x="2568370" y="234415"/>
                    </a:lnTo>
                    <a:lnTo>
                      <a:pt x="2542778" y="237944"/>
                    </a:lnTo>
                    <a:lnTo>
                      <a:pt x="2529898" y="256389"/>
                    </a:lnTo>
                    <a:lnTo>
                      <a:pt x="2526336" y="281733"/>
                    </a:lnTo>
                    <a:lnTo>
                      <a:pt x="2517130" y="315387"/>
                    </a:lnTo>
                    <a:lnTo>
                      <a:pt x="2504052" y="338001"/>
                    </a:lnTo>
                    <a:lnTo>
                      <a:pt x="2488428" y="352431"/>
                    </a:lnTo>
                    <a:lnTo>
                      <a:pt x="2457168" y="364150"/>
                    </a:lnTo>
                    <a:lnTo>
                      <a:pt x="2426522" y="366570"/>
                    </a:lnTo>
                    <a:lnTo>
                      <a:pt x="2395699" y="367032"/>
                    </a:lnTo>
                    <a:lnTo>
                      <a:pt x="2370286" y="357985"/>
                    </a:lnTo>
                    <a:lnTo>
                      <a:pt x="2354427" y="338009"/>
                    </a:lnTo>
                    <a:lnTo>
                      <a:pt x="2351711" y="297205"/>
                    </a:lnTo>
                    <a:lnTo>
                      <a:pt x="2350350" y="256397"/>
                    </a:lnTo>
                    <a:lnTo>
                      <a:pt x="2335520" y="227056"/>
                    </a:lnTo>
                    <a:lnTo>
                      <a:pt x="2317713" y="215593"/>
                    </a:lnTo>
                    <a:lnTo>
                      <a:pt x="2299900" y="204126"/>
                    </a:lnTo>
                    <a:lnTo>
                      <a:pt x="2278797" y="196291"/>
                    </a:lnTo>
                    <a:lnTo>
                      <a:pt x="2250077" y="200386"/>
                    </a:lnTo>
                    <a:lnTo>
                      <a:pt x="2225213" y="219669"/>
                    </a:lnTo>
                    <a:lnTo>
                      <a:pt x="2205217" y="245270"/>
                    </a:lnTo>
                    <a:lnTo>
                      <a:pt x="2183591" y="290894"/>
                    </a:lnTo>
                    <a:lnTo>
                      <a:pt x="2176239" y="326092"/>
                    </a:lnTo>
                    <a:lnTo>
                      <a:pt x="2169446" y="352972"/>
                    </a:lnTo>
                    <a:lnTo>
                      <a:pt x="2144821" y="361546"/>
                    </a:lnTo>
                    <a:lnTo>
                      <a:pt x="2117902" y="357997"/>
                    </a:lnTo>
                    <a:lnTo>
                      <a:pt x="2094635" y="348890"/>
                    </a:lnTo>
                    <a:lnTo>
                      <a:pt x="2080726" y="321382"/>
                    </a:lnTo>
                    <a:lnTo>
                      <a:pt x="2078620" y="289344"/>
                    </a:lnTo>
                    <a:lnTo>
                      <a:pt x="2074236" y="257761"/>
                    </a:lnTo>
                    <a:lnTo>
                      <a:pt x="2047032" y="235998"/>
                    </a:lnTo>
                    <a:lnTo>
                      <a:pt x="2023356" y="238531"/>
                    </a:lnTo>
                    <a:lnTo>
                      <a:pt x="1999977" y="247064"/>
                    </a:lnTo>
                    <a:lnTo>
                      <a:pt x="1976301" y="253679"/>
                    </a:lnTo>
                    <a:lnTo>
                      <a:pt x="1950179" y="256383"/>
                    </a:lnTo>
                    <a:lnTo>
                      <a:pt x="1927334" y="257755"/>
                    </a:lnTo>
                    <a:lnTo>
                      <a:pt x="1904482" y="259127"/>
                    </a:lnTo>
                    <a:lnTo>
                      <a:pt x="1881243" y="259332"/>
                    </a:lnTo>
                    <a:lnTo>
                      <a:pt x="1853267" y="258282"/>
                    </a:lnTo>
                    <a:lnTo>
                      <a:pt x="1826676" y="242792"/>
                    </a:lnTo>
                    <a:lnTo>
                      <a:pt x="1804616" y="224748"/>
                    </a:lnTo>
                    <a:lnTo>
                      <a:pt x="1746179" y="216801"/>
                    </a:lnTo>
                    <a:lnTo>
                      <a:pt x="1716503" y="229186"/>
                    </a:lnTo>
                    <a:lnTo>
                      <a:pt x="1698703" y="245897"/>
                    </a:lnTo>
                    <a:lnTo>
                      <a:pt x="1659924" y="247751"/>
                    </a:lnTo>
                    <a:lnTo>
                      <a:pt x="1629370" y="245132"/>
                    </a:lnTo>
                    <a:lnTo>
                      <a:pt x="1600885" y="248232"/>
                    </a:lnTo>
                    <a:lnTo>
                      <a:pt x="1572397" y="251324"/>
                    </a:lnTo>
                    <a:lnTo>
                      <a:pt x="1545853" y="259259"/>
                    </a:lnTo>
                    <a:lnTo>
                      <a:pt x="1534232" y="278152"/>
                    </a:lnTo>
                    <a:lnTo>
                      <a:pt x="1534034" y="304506"/>
                    </a:lnTo>
                    <a:lnTo>
                      <a:pt x="1507582" y="321850"/>
                    </a:lnTo>
                    <a:lnTo>
                      <a:pt x="1497512" y="343443"/>
                    </a:lnTo>
                    <a:lnTo>
                      <a:pt x="1486861" y="366268"/>
                    </a:lnTo>
                    <a:lnTo>
                      <a:pt x="1489776" y="392449"/>
                    </a:lnTo>
                    <a:lnTo>
                      <a:pt x="1474381" y="415531"/>
                    </a:lnTo>
                    <a:lnTo>
                      <a:pt x="1440690" y="432507"/>
                    </a:lnTo>
                    <a:lnTo>
                      <a:pt x="1409092" y="429137"/>
                    </a:lnTo>
                    <a:lnTo>
                      <a:pt x="1377504" y="425760"/>
                    </a:lnTo>
                    <a:lnTo>
                      <a:pt x="1338799" y="415987"/>
                    </a:lnTo>
                    <a:lnTo>
                      <a:pt x="1298919" y="403292"/>
                    </a:lnTo>
                    <a:lnTo>
                      <a:pt x="1219166" y="377907"/>
                    </a:lnTo>
                    <a:lnTo>
                      <a:pt x="1135729" y="342869"/>
                    </a:lnTo>
                    <a:lnTo>
                      <a:pt x="1105774" y="329837"/>
                    </a:lnTo>
                    <a:lnTo>
                      <a:pt x="1057936" y="337659"/>
                    </a:lnTo>
                    <a:lnTo>
                      <a:pt x="1034911" y="345506"/>
                    </a:lnTo>
                    <a:lnTo>
                      <a:pt x="978784" y="331195"/>
                    </a:lnTo>
                    <a:lnTo>
                      <a:pt x="955297" y="338595"/>
                    </a:lnTo>
                    <a:lnTo>
                      <a:pt x="920787" y="336643"/>
                    </a:lnTo>
                    <a:lnTo>
                      <a:pt x="870883" y="333755"/>
                    </a:lnTo>
                    <a:lnTo>
                      <a:pt x="821085" y="322061"/>
                    </a:lnTo>
                    <a:lnTo>
                      <a:pt x="771162" y="318962"/>
                    </a:lnTo>
                    <a:lnTo>
                      <a:pt x="736309" y="316793"/>
                    </a:lnTo>
                    <a:lnTo>
                      <a:pt x="715845" y="343402"/>
                    </a:lnTo>
                    <a:lnTo>
                      <a:pt x="680027" y="339361"/>
                    </a:lnTo>
                    <a:lnTo>
                      <a:pt x="645173" y="306247"/>
                    </a:lnTo>
                    <a:lnTo>
                      <a:pt x="628343" y="293117"/>
                    </a:lnTo>
                    <a:lnTo>
                      <a:pt x="593858" y="288237"/>
                    </a:lnTo>
                    <a:lnTo>
                      <a:pt x="559451" y="297997"/>
                    </a:lnTo>
                    <a:lnTo>
                      <a:pt x="526325" y="318962"/>
                    </a:lnTo>
                    <a:lnTo>
                      <a:pt x="495483" y="341919"/>
                    </a:lnTo>
                    <a:lnTo>
                      <a:pt x="469736" y="373475"/>
                    </a:lnTo>
                    <a:lnTo>
                      <a:pt x="455597" y="400568"/>
                    </a:lnTo>
                    <a:lnTo>
                      <a:pt x="434981" y="440077"/>
                    </a:lnTo>
                    <a:lnTo>
                      <a:pt x="427211" y="465693"/>
                    </a:lnTo>
                    <a:lnTo>
                      <a:pt x="410710" y="479462"/>
                    </a:lnTo>
                    <a:lnTo>
                      <a:pt x="392001" y="490350"/>
                    </a:lnTo>
                    <a:lnTo>
                      <a:pt x="361407" y="493054"/>
                    </a:lnTo>
                    <a:lnTo>
                      <a:pt x="314136" y="488986"/>
                    </a:lnTo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46" name="Odessa¬0" descr="Odessa¬0">
                <a:extLst>
                  <a:ext uri="{FF2B5EF4-FFF2-40B4-BE49-F238E27FC236}">
                    <a16:creationId xmlns:a16="http://schemas.microsoft.com/office/drawing/2014/main" id="{1EEA48D2-DC8F-41A3-A0FE-0528B6943312}"/>
                  </a:ext>
                </a:extLst>
              </p:cNvPr>
              <p:cNvSpPr/>
              <p:nvPr/>
            </p:nvSpPr>
            <p:spPr>
              <a:xfrm>
                <a:off x="21247523" y="21840630"/>
                <a:ext cx="10856095" cy="15845751"/>
              </a:xfrm>
              <a:custGeom>
                <a:avLst/>
                <a:gdLst/>
                <a:ahLst/>
                <a:cxnLst/>
                <a:rect l="0" t="0" r="0" b="0"/>
                <a:pathLst>
                  <a:path w="10856097" h="15845753">
                    <a:moveTo>
                      <a:pt x="6029786" y="0"/>
                    </a:moveTo>
                    <a:lnTo>
                      <a:pt x="6007068" y="5519"/>
                    </a:lnTo>
                    <a:lnTo>
                      <a:pt x="5979736" y="29189"/>
                    </a:lnTo>
                    <a:lnTo>
                      <a:pt x="5967616" y="49045"/>
                    </a:lnTo>
                    <a:lnTo>
                      <a:pt x="5955502" y="68903"/>
                    </a:lnTo>
                    <a:lnTo>
                      <a:pt x="5943946" y="92618"/>
                    </a:lnTo>
                    <a:lnTo>
                      <a:pt x="5932253" y="117052"/>
                    </a:lnTo>
                    <a:lnTo>
                      <a:pt x="5920567" y="141494"/>
                    </a:lnTo>
                    <a:lnTo>
                      <a:pt x="5907846" y="166850"/>
                    </a:lnTo>
                    <a:lnTo>
                      <a:pt x="5894169" y="189148"/>
                    </a:lnTo>
                    <a:lnTo>
                      <a:pt x="5880489" y="211438"/>
                    </a:lnTo>
                    <a:lnTo>
                      <a:pt x="5866009" y="231494"/>
                    </a:lnTo>
                    <a:lnTo>
                      <a:pt x="5847924" y="244914"/>
                    </a:lnTo>
                    <a:lnTo>
                      <a:pt x="5812794" y="230597"/>
                    </a:lnTo>
                    <a:lnTo>
                      <a:pt x="5796234" y="213629"/>
                    </a:lnTo>
                    <a:lnTo>
                      <a:pt x="5779674" y="196659"/>
                    </a:lnTo>
                    <a:lnTo>
                      <a:pt x="5762620" y="175529"/>
                    </a:lnTo>
                    <a:lnTo>
                      <a:pt x="5745908" y="153780"/>
                    </a:lnTo>
                    <a:lnTo>
                      <a:pt x="5729196" y="132029"/>
                    </a:lnTo>
                    <a:lnTo>
                      <a:pt x="5712782" y="109745"/>
                    </a:lnTo>
                    <a:lnTo>
                      <a:pt x="5694218" y="93931"/>
                    </a:lnTo>
                    <a:lnTo>
                      <a:pt x="5675652" y="78122"/>
                    </a:lnTo>
                    <a:lnTo>
                      <a:pt x="5655123" y="68580"/>
                    </a:lnTo>
                    <a:lnTo>
                      <a:pt x="5633010" y="69450"/>
                    </a:lnTo>
                    <a:lnTo>
                      <a:pt x="5609889" y="74885"/>
                    </a:lnTo>
                    <a:lnTo>
                      <a:pt x="5585400" y="88491"/>
                    </a:lnTo>
                    <a:lnTo>
                      <a:pt x="5562279" y="103454"/>
                    </a:lnTo>
                    <a:lnTo>
                      <a:pt x="5541874" y="115694"/>
                    </a:lnTo>
                    <a:lnTo>
                      <a:pt x="5518021" y="119176"/>
                    </a:lnTo>
                    <a:lnTo>
                      <a:pt x="5493145" y="110953"/>
                    </a:lnTo>
                    <a:lnTo>
                      <a:pt x="5469786" y="114329"/>
                    </a:lnTo>
                    <a:lnTo>
                      <a:pt x="5460071" y="136686"/>
                    </a:lnTo>
                    <a:lnTo>
                      <a:pt x="5425556" y="147382"/>
                    </a:lnTo>
                    <a:lnTo>
                      <a:pt x="5409938" y="170095"/>
                    </a:lnTo>
                    <a:lnTo>
                      <a:pt x="5380048" y="171421"/>
                    </a:lnTo>
                    <a:lnTo>
                      <a:pt x="5344615" y="187816"/>
                    </a:lnTo>
                    <a:lnTo>
                      <a:pt x="5324988" y="200597"/>
                    </a:lnTo>
                    <a:lnTo>
                      <a:pt x="5306561" y="212263"/>
                    </a:lnTo>
                    <a:lnTo>
                      <a:pt x="5269717" y="235596"/>
                    </a:lnTo>
                    <a:lnTo>
                      <a:pt x="5235831" y="258170"/>
                    </a:lnTo>
                    <a:lnTo>
                      <a:pt x="5198596" y="239593"/>
                    </a:lnTo>
                    <a:lnTo>
                      <a:pt x="5195154" y="209717"/>
                    </a:lnTo>
                    <a:lnTo>
                      <a:pt x="5174625" y="200023"/>
                    </a:lnTo>
                    <a:lnTo>
                      <a:pt x="5154010" y="193818"/>
                    </a:lnTo>
                    <a:lnTo>
                      <a:pt x="5124300" y="216345"/>
                    </a:lnTo>
                    <a:lnTo>
                      <a:pt x="5092717" y="239995"/>
                    </a:lnTo>
                    <a:lnTo>
                      <a:pt x="5082448" y="259370"/>
                    </a:lnTo>
                    <a:lnTo>
                      <a:pt x="5084848" y="280276"/>
                    </a:lnTo>
                    <a:lnTo>
                      <a:pt x="5087248" y="301175"/>
                    </a:lnTo>
                    <a:lnTo>
                      <a:pt x="5101935" y="323909"/>
                    </a:lnTo>
                    <a:lnTo>
                      <a:pt x="5122935" y="352365"/>
                    </a:lnTo>
                    <a:lnTo>
                      <a:pt x="5173267" y="420371"/>
                    </a:lnTo>
                    <a:lnTo>
                      <a:pt x="5198097" y="454039"/>
                    </a:lnTo>
                    <a:lnTo>
                      <a:pt x="5211848" y="479845"/>
                    </a:lnTo>
                    <a:lnTo>
                      <a:pt x="5212710" y="504707"/>
                    </a:lnTo>
                    <a:lnTo>
                      <a:pt x="5213575" y="529571"/>
                    </a:lnTo>
                    <a:lnTo>
                      <a:pt x="5201724" y="554248"/>
                    </a:lnTo>
                    <a:lnTo>
                      <a:pt x="5177341" y="589037"/>
                    </a:lnTo>
                    <a:lnTo>
                      <a:pt x="5161144" y="603954"/>
                    </a:lnTo>
                    <a:lnTo>
                      <a:pt x="5155479" y="633757"/>
                    </a:lnTo>
                    <a:lnTo>
                      <a:pt x="5163869" y="683061"/>
                    </a:lnTo>
                    <a:lnTo>
                      <a:pt x="5156943" y="714175"/>
                    </a:lnTo>
                    <a:lnTo>
                      <a:pt x="5109525" y="720427"/>
                    </a:lnTo>
                    <a:lnTo>
                      <a:pt x="5086721" y="682982"/>
                    </a:lnTo>
                    <a:lnTo>
                      <a:pt x="5054927" y="684254"/>
                    </a:lnTo>
                    <a:lnTo>
                      <a:pt x="4974780" y="712817"/>
                    </a:lnTo>
                    <a:lnTo>
                      <a:pt x="4931149" y="716899"/>
                    </a:lnTo>
                    <a:lnTo>
                      <a:pt x="4848493" y="724674"/>
                    </a:lnTo>
                    <a:lnTo>
                      <a:pt x="4762635" y="719702"/>
                    </a:lnTo>
                    <a:lnTo>
                      <a:pt x="4679511" y="718257"/>
                    </a:lnTo>
                    <a:lnTo>
                      <a:pt x="4655758" y="717862"/>
                    </a:lnTo>
                    <a:lnTo>
                      <a:pt x="4621571" y="717288"/>
                    </a:lnTo>
                    <a:lnTo>
                      <a:pt x="4588379" y="714181"/>
                    </a:lnTo>
                    <a:lnTo>
                      <a:pt x="4555184" y="711068"/>
                    </a:lnTo>
                    <a:lnTo>
                      <a:pt x="4522916" y="705681"/>
                    </a:lnTo>
                    <a:lnTo>
                      <a:pt x="4501324" y="695136"/>
                    </a:lnTo>
                    <a:lnTo>
                      <a:pt x="4475223" y="682427"/>
                    </a:lnTo>
                    <a:lnTo>
                      <a:pt x="4448684" y="662960"/>
                    </a:lnTo>
                    <a:lnTo>
                      <a:pt x="4423795" y="647533"/>
                    </a:lnTo>
                    <a:lnTo>
                      <a:pt x="4393530" y="628830"/>
                    </a:lnTo>
                    <a:lnTo>
                      <a:pt x="4363650" y="612462"/>
                    </a:lnTo>
                    <a:lnTo>
                      <a:pt x="4342183" y="583602"/>
                    </a:lnTo>
                    <a:lnTo>
                      <a:pt x="4328071" y="565328"/>
                    </a:lnTo>
                    <a:lnTo>
                      <a:pt x="4295933" y="561839"/>
                    </a:lnTo>
                    <a:lnTo>
                      <a:pt x="4278319" y="590000"/>
                    </a:lnTo>
                    <a:lnTo>
                      <a:pt x="4254742" y="610595"/>
                    </a:lnTo>
                    <a:lnTo>
                      <a:pt x="4227926" y="627129"/>
                    </a:lnTo>
                    <a:lnTo>
                      <a:pt x="4201111" y="643655"/>
                    </a:lnTo>
                    <a:lnTo>
                      <a:pt x="4171718" y="655816"/>
                    </a:lnTo>
                    <a:lnTo>
                      <a:pt x="4140874" y="665214"/>
                    </a:lnTo>
                    <a:lnTo>
                      <a:pt x="4099682" y="668485"/>
                    </a:lnTo>
                    <a:lnTo>
                      <a:pt x="4068666" y="679710"/>
                    </a:lnTo>
                    <a:lnTo>
                      <a:pt x="4052463" y="699218"/>
                    </a:lnTo>
                    <a:lnTo>
                      <a:pt x="4030917" y="718705"/>
                    </a:lnTo>
                    <a:lnTo>
                      <a:pt x="3989831" y="725908"/>
                    </a:lnTo>
                    <a:lnTo>
                      <a:pt x="3890570" y="732073"/>
                    </a:lnTo>
                    <a:lnTo>
                      <a:pt x="3826370" y="727108"/>
                    </a:lnTo>
                    <a:lnTo>
                      <a:pt x="3779737" y="716384"/>
                    </a:lnTo>
                    <a:lnTo>
                      <a:pt x="3735532" y="720981"/>
                    </a:lnTo>
                    <a:lnTo>
                      <a:pt x="3711908" y="723441"/>
                    </a:lnTo>
                    <a:lnTo>
                      <a:pt x="3689769" y="727596"/>
                    </a:lnTo>
                    <a:lnTo>
                      <a:pt x="3667525" y="731862"/>
                    </a:lnTo>
                    <a:lnTo>
                      <a:pt x="3645280" y="736136"/>
                    </a:lnTo>
                    <a:lnTo>
                      <a:pt x="3622805" y="739302"/>
                    </a:lnTo>
                    <a:lnTo>
                      <a:pt x="3598153" y="737304"/>
                    </a:lnTo>
                    <a:lnTo>
                      <a:pt x="3568792" y="709037"/>
                    </a:lnTo>
                    <a:lnTo>
                      <a:pt x="3528952" y="691145"/>
                    </a:lnTo>
                    <a:lnTo>
                      <a:pt x="3487978" y="676095"/>
                    </a:lnTo>
                    <a:lnTo>
                      <a:pt x="3447004" y="661040"/>
                    </a:lnTo>
                    <a:lnTo>
                      <a:pt x="3404718" y="649123"/>
                    </a:lnTo>
                    <a:lnTo>
                      <a:pt x="3368281" y="633929"/>
                    </a:lnTo>
                    <a:lnTo>
                      <a:pt x="3336269" y="620579"/>
                    </a:lnTo>
                    <a:lnTo>
                      <a:pt x="3317948" y="598567"/>
                    </a:lnTo>
                    <a:lnTo>
                      <a:pt x="3308590" y="576672"/>
                    </a:lnTo>
                    <a:lnTo>
                      <a:pt x="3267622" y="546875"/>
                    </a:lnTo>
                    <a:lnTo>
                      <a:pt x="3243143" y="530554"/>
                    </a:lnTo>
                    <a:lnTo>
                      <a:pt x="3217118" y="514020"/>
                    </a:lnTo>
                    <a:lnTo>
                      <a:pt x="3192889" y="494373"/>
                    </a:lnTo>
                    <a:lnTo>
                      <a:pt x="3171047" y="472063"/>
                    </a:lnTo>
                    <a:lnTo>
                      <a:pt x="3149211" y="449759"/>
                    </a:lnTo>
                    <a:lnTo>
                      <a:pt x="3129618" y="424309"/>
                    </a:lnTo>
                    <a:lnTo>
                      <a:pt x="3112564" y="398616"/>
                    </a:lnTo>
                    <a:lnTo>
                      <a:pt x="3058162" y="408699"/>
                    </a:lnTo>
                    <a:lnTo>
                      <a:pt x="3014628" y="425819"/>
                    </a:lnTo>
                    <a:lnTo>
                      <a:pt x="2971090" y="442939"/>
                    </a:lnTo>
                    <a:lnTo>
                      <a:pt x="2926297" y="463502"/>
                    </a:lnTo>
                    <a:lnTo>
                      <a:pt x="2900807" y="482905"/>
                    </a:lnTo>
                    <a:lnTo>
                      <a:pt x="2901731" y="523754"/>
                    </a:lnTo>
                    <a:lnTo>
                      <a:pt x="2903722" y="545933"/>
                    </a:lnTo>
                    <a:lnTo>
                      <a:pt x="2909948" y="571198"/>
                    </a:lnTo>
                    <a:lnTo>
                      <a:pt x="2916695" y="597201"/>
                    </a:lnTo>
                    <a:lnTo>
                      <a:pt x="2923442" y="623212"/>
                    </a:lnTo>
                    <a:lnTo>
                      <a:pt x="2930564" y="649697"/>
                    </a:lnTo>
                    <a:lnTo>
                      <a:pt x="2934376" y="673373"/>
                    </a:lnTo>
                    <a:lnTo>
                      <a:pt x="2938188" y="697055"/>
                    </a:lnTo>
                    <a:lnTo>
                      <a:pt x="2938464" y="718026"/>
                    </a:lnTo>
                    <a:lnTo>
                      <a:pt x="2892583" y="773858"/>
                    </a:lnTo>
                    <a:lnTo>
                      <a:pt x="2859253" y="787530"/>
                    </a:lnTo>
                    <a:lnTo>
                      <a:pt x="2825567" y="808033"/>
                    </a:lnTo>
                    <a:lnTo>
                      <a:pt x="2791992" y="830562"/>
                    </a:lnTo>
                    <a:lnTo>
                      <a:pt x="2773876" y="848843"/>
                    </a:lnTo>
                    <a:lnTo>
                      <a:pt x="2755759" y="867118"/>
                    </a:lnTo>
                    <a:lnTo>
                      <a:pt x="2736521" y="891353"/>
                    </a:lnTo>
                    <a:lnTo>
                      <a:pt x="2715385" y="926373"/>
                    </a:lnTo>
                    <a:lnTo>
                      <a:pt x="2697177" y="954368"/>
                    </a:lnTo>
                    <a:lnTo>
                      <a:pt x="2685464" y="973981"/>
                    </a:lnTo>
                    <a:lnTo>
                      <a:pt x="2673752" y="993587"/>
                    </a:lnTo>
                    <a:lnTo>
                      <a:pt x="2663668" y="1013873"/>
                    </a:lnTo>
                    <a:lnTo>
                      <a:pt x="2642848" y="1037140"/>
                    </a:lnTo>
                    <a:lnTo>
                      <a:pt x="2565397" y="1064774"/>
                    </a:lnTo>
                    <a:lnTo>
                      <a:pt x="2490955" y="1088231"/>
                    </a:lnTo>
                    <a:lnTo>
                      <a:pt x="2453732" y="1099964"/>
                    </a:lnTo>
                    <a:lnTo>
                      <a:pt x="2417969" y="1110574"/>
                    </a:lnTo>
                    <a:lnTo>
                      <a:pt x="2388938" y="1118158"/>
                    </a:lnTo>
                    <a:lnTo>
                      <a:pt x="2356385" y="1126040"/>
                    </a:lnTo>
                    <a:lnTo>
                      <a:pt x="2343947" y="1149538"/>
                    </a:lnTo>
                    <a:lnTo>
                      <a:pt x="2367175" y="1180725"/>
                    </a:lnTo>
                    <a:lnTo>
                      <a:pt x="2390065" y="1211035"/>
                    </a:lnTo>
                    <a:lnTo>
                      <a:pt x="2407134" y="1245084"/>
                    </a:lnTo>
                    <a:lnTo>
                      <a:pt x="2433830" y="1273225"/>
                    </a:lnTo>
                    <a:lnTo>
                      <a:pt x="2472824" y="1314371"/>
                    </a:lnTo>
                    <a:lnTo>
                      <a:pt x="2521944" y="1349053"/>
                    </a:lnTo>
                    <a:lnTo>
                      <a:pt x="2560326" y="1390199"/>
                    </a:lnTo>
                    <a:lnTo>
                      <a:pt x="2605765" y="1438909"/>
                    </a:lnTo>
                    <a:lnTo>
                      <a:pt x="2652161" y="1507350"/>
                    </a:lnTo>
                    <a:lnTo>
                      <a:pt x="2722192" y="1524860"/>
                    </a:lnTo>
                    <a:lnTo>
                      <a:pt x="2753919" y="1532807"/>
                    </a:lnTo>
                    <a:lnTo>
                      <a:pt x="2789176" y="1533533"/>
                    </a:lnTo>
                    <a:lnTo>
                      <a:pt x="2821484" y="1535742"/>
                    </a:lnTo>
                    <a:lnTo>
                      <a:pt x="2867985" y="1538973"/>
                    </a:lnTo>
                    <a:lnTo>
                      <a:pt x="2916762" y="1525118"/>
                    </a:lnTo>
                    <a:lnTo>
                      <a:pt x="2946622" y="1486774"/>
                    </a:lnTo>
                    <a:lnTo>
                      <a:pt x="2984412" y="1438190"/>
                    </a:lnTo>
                    <a:lnTo>
                      <a:pt x="2982644" y="1384672"/>
                    </a:lnTo>
                    <a:lnTo>
                      <a:pt x="2996949" y="1328992"/>
                    </a:lnTo>
                    <a:lnTo>
                      <a:pt x="3005001" y="1297659"/>
                    </a:lnTo>
                    <a:lnTo>
                      <a:pt x="3039115" y="1270501"/>
                    </a:lnTo>
                    <a:lnTo>
                      <a:pt x="3065087" y="1261447"/>
                    </a:lnTo>
                    <a:lnTo>
                      <a:pt x="3124829" y="1247208"/>
                    </a:lnTo>
                    <a:lnTo>
                      <a:pt x="3186460" y="1241002"/>
                    </a:lnTo>
                    <a:lnTo>
                      <a:pt x="3233626" y="1247380"/>
                    </a:lnTo>
                    <a:lnTo>
                      <a:pt x="3267906" y="1263022"/>
                    </a:lnTo>
                    <a:lnTo>
                      <a:pt x="3291074" y="1287845"/>
                    </a:lnTo>
                    <a:lnTo>
                      <a:pt x="3384096" y="1439759"/>
                    </a:lnTo>
                    <a:lnTo>
                      <a:pt x="3397866" y="1514743"/>
                    </a:lnTo>
                    <a:lnTo>
                      <a:pt x="3403650" y="1679880"/>
                    </a:lnTo>
                    <a:lnTo>
                      <a:pt x="3434928" y="1731611"/>
                    </a:lnTo>
                    <a:lnTo>
                      <a:pt x="3486660" y="1817219"/>
                    </a:lnTo>
                    <a:lnTo>
                      <a:pt x="3605064" y="1788189"/>
                    </a:lnTo>
                    <a:lnTo>
                      <a:pt x="3651202" y="1822745"/>
                    </a:lnTo>
                    <a:lnTo>
                      <a:pt x="3656650" y="1858107"/>
                    </a:lnTo>
                    <a:lnTo>
                      <a:pt x="3631338" y="1880042"/>
                    </a:lnTo>
                    <a:lnTo>
                      <a:pt x="3591803" y="1960545"/>
                    </a:lnTo>
                    <a:lnTo>
                      <a:pt x="3568238" y="1992768"/>
                    </a:lnTo>
                    <a:lnTo>
                      <a:pt x="3548236" y="2020097"/>
                    </a:lnTo>
                    <a:lnTo>
                      <a:pt x="3517609" y="2041393"/>
                    </a:lnTo>
                    <a:lnTo>
                      <a:pt x="3497501" y="2067581"/>
                    </a:lnTo>
                    <a:lnTo>
                      <a:pt x="3459778" y="2116674"/>
                    </a:lnTo>
                    <a:lnTo>
                      <a:pt x="3416252" y="2206020"/>
                    </a:lnTo>
                    <a:lnTo>
                      <a:pt x="3440376" y="2267525"/>
                    </a:lnTo>
                    <a:lnTo>
                      <a:pt x="3463564" y="2299833"/>
                    </a:lnTo>
                    <a:lnTo>
                      <a:pt x="3579944" y="2301917"/>
                    </a:lnTo>
                    <a:lnTo>
                      <a:pt x="3628087" y="2335538"/>
                    </a:lnTo>
                    <a:lnTo>
                      <a:pt x="3676817" y="2348801"/>
                    </a:lnTo>
                    <a:lnTo>
                      <a:pt x="3666680" y="2462036"/>
                    </a:lnTo>
                    <a:lnTo>
                      <a:pt x="3618564" y="2491963"/>
                    </a:lnTo>
                    <a:lnTo>
                      <a:pt x="3592210" y="2521283"/>
                    </a:lnTo>
                    <a:lnTo>
                      <a:pt x="3562758" y="2539519"/>
                    </a:lnTo>
                    <a:lnTo>
                      <a:pt x="3538317" y="2562687"/>
                    </a:lnTo>
                    <a:lnTo>
                      <a:pt x="3464117" y="2632949"/>
                    </a:lnTo>
                    <a:lnTo>
                      <a:pt x="3485564" y="2736746"/>
                    </a:lnTo>
                    <a:lnTo>
                      <a:pt x="3496149" y="2825203"/>
                    </a:lnTo>
                    <a:lnTo>
                      <a:pt x="3504459" y="2850962"/>
                    </a:lnTo>
                    <a:lnTo>
                      <a:pt x="3511668" y="2924457"/>
                    </a:lnTo>
                    <a:lnTo>
                      <a:pt x="3474346" y="3160575"/>
                    </a:lnTo>
                    <a:lnTo>
                      <a:pt x="3451264" y="3218306"/>
                    </a:lnTo>
                    <a:lnTo>
                      <a:pt x="3430161" y="3271092"/>
                    </a:lnTo>
                    <a:lnTo>
                      <a:pt x="3371413" y="3308372"/>
                    </a:lnTo>
                    <a:lnTo>
                      <a:pt x="3343807" y="3359759"/>
                    </a:lnTo>
                    <a:lnTo>
                      <a:pt x="3322934" y="3362773"/>
                    </a:lnTo>
                    <a:lnTo>
                      <a:pt x="3298349" y="3405119"/>
                    </a:lnTo>
                    <a:lnTo>
                      <a:pt x="3270188" y="3452082"/>
                    </a:lnTo>
                    <a:lnTo>
                      <a:pt x="3223048" y="3523881"/>
                    </a:lnTo>
                    <a:lnTo>
                      <a:pt x="3217311" y="3554270"/>
                    </a:lnTo>
                    <a:lnTo>
                      <a:pt x="3210254" y="3591630"/>
                    </a:lnTo>
                    <a:lnTo>
                      <a:pt x="3259155" y="3767734"/>
                    </a:lnTo>
                    <a:lnTo>
                      <a:pt x="3278518" y="3804546"/>
                    </a:lnTo>
                    <a:lnTo>
                      <a:pt x="3305952" y="3850619"/>
                    </a:lnTo>
                    <a:lnTo>
                      <a:pt x="3358573" y="3919013"/>
                    </a:lnTo>
                    <a:lnTo>
                      <a:pt x="3371011" y="3963687"/>
                    </a:lnTo>
                    <a:lnTo>
                      <a:pt x="3385995" y="4017457"/>
                    </a:lnTo>
                    <a:lnTo>
                      <a:pt x="3388119" y="4106125"/>
                    </a:lnTo>
                    <a:lnTo>
                      <a:pt x="3429495" y="4144594"/>
                    </a:lnTo>
                    <a:lnTo>
                      <a:pt x="3458742" y="4161938"/>
                    </a:lnTo>
                    <a:lnTo>
                      <a:pt x="3481865" y="4146801"/>
                    </a:lnTo>
                    <a:lnTo>
                      <a:pt x="3504307" y="4136430"/>
                    </a:lnTo>
                    <a:lnTo>
                      <a:pt x="3522734" y="4111864"/>
                    </a:lnTo>
                    <a:lnTo>
                      <a:pt x="3527284" y="4077562"/>
                    </a:lnTo>
                    <a:lnTo>
                      <a:pt x="3547833" y="4053458"/>
                    </a:lnTo>
                    <a:lnTo>
                      <a:pt x="3583307" y="4026381"/>
                    </a:lnTo>
                    <a:lnTo>
                      <a:pt x="3661662" y="4020688"/>
                    </a:lnTo>
                    <a:lnTo>
                      <a:pt x="3665876" y="4128483"/>
                    </a:lnTo>
                    <a:lnTo>
                      <a:pt x="3677055" y="4166357"/>
                    </a:lnTo>
                    <a:lnTo>
                      <a:pt x="3712673" y="4203421"/>
                    </a:lnTo>
                    <a:lnTo>
                      <a:pt x="3761832" y="4196411"/>
                    </a:lnTo>
                    <a:lnTo>
                      <a:pt x="3806275" y="4216682"/>
                    </a:lnTo>
                    <a:lnTo>
                      <a:pt x="3844124" y="4267476"/>
                    </a:lnTo>
                    <a:lnTo>
                      <a:pt x="3840766" y="4290519"/>
                    </a:lnTo>
                    <a:lnTo>
                      <a:pt x="3862042" y="4344538"/>
                    </a:lnTo>
                    <a:lnTo>
                      <a:pt x="3874281" y="4373107"/>
                    </a:lnTo>
                    <a:lnTo>
                      <a:pt x="3882313" y="4394355"/>
                    </a:lnTo>
                    <a:lnTo>
                      <a:pt x="3872072" y="4428536"/>
                    </a:lnTo>
                    <a:lnTo>
                      <a:pt x="3887881" y="4446560"/>
                    </a:lnTo>
                    <a:lnTo>
                      <a:pt x="3924587" y="4457520"/>
                    </a:lnTo>
                    <a:lnTo>
                      <a:pt x="3992172" y="4427382"/>
                    </a:lnTo>
                    <a:lnTo>
                      <a:pt x="4014383" y="4447918"/>
                    </a:lnTo>
                    <a:lnTo>
                      <a:pt x="4035250" y="4476989"/>
                    </a:lnTo>
                    <a:lnTo>
                      <a:pt x="4149916" y="4625039"/>
                    </a:lnTo>
                    <a:lnTo>
                      <a:pt x="4063093" y="4621002"/>
                    </a:lnTo>
                    <a:lnTo>
                      <a:pt x="4082390" y="4726756"/>
                    </a:lnTo>
                    <a:lnTo>
                      <a:pt x="4089578" y="4766078"/>
                    </a:lnTo>
                    <a:lnTo>
                      <a:pt x="4181004" y="4900178"/>
                    </a:lnTo>
                    <a:lnTo>
                      <a:pt x="4215693" y="4921262"/>
                    </a:lnTo>
                    <a:lnTo>
                      <a:pt x="4248634" y="4941243"/>
                    </a:lnTo>
                    <a:lnTo>
                      <a:pt x="4273609" y="4926747"/>
                    </a:lnTo>
                    <a:lnTo>
                      <a:pt x="4306829" y="4923979"/>
                    </a:lnTo>
                    <a:lnTo>
                      <a:pt x="4342850" y="4921005"/>
                    </a:lnTo>
                    <a:lnTo>
                      <a:pt x="4409134" y="4918590"/>
                    </a:lnTo>
                    <a:lnTo>
                      <a:pt x="4434683" y="4889974"/>
                    </a:lnTo>
                    <a:lnTo>
                      <a:pt x="4492810" y="4824812"/>
                    </a:lnTo>
                    <a:lnTo>
                      <a:pt x="4448262" y="4650113"/>
                    </a:lnTo>
                    <a:lnTo>
                      <a:pt x="4509497" y="4622019"/>
                    </a:lnTo>
                    <a:lnTo>
                      <a:pt x="4558226" y="4609309"/>
                    </a:lnTo>
                    <a:lnTo>
                      <a:pt x="4693994" y="4615898"/>
                    </a:lnTo>
                    <a:lnTo>
                      <a:pt x="4732569" y="4643782"/>
                    </a:lnTo>
                    <a:lnTo>
                      <a:pt x="4812948" y="4701890"/>
                    </a:lnTo>
                    <a:lnTo>
                      <a:pt x="4925778" y="5078617"/>
                    </a:lnTo>
                    <a:lnTo>
                      <a:pt x="4816898" y="5121213"/>
                    </a:lnTo>
                    <a:lnTo>
                      <a:pt x="4787399" y="5131414"/>
                    </a:lnTo>
                    <a:lnTo>
                      <a:pt x="4752419" y="5137364"/>
                    </a:lnTo>
                    <a:lnTo>
                      <a:pt x="4732569" y="5159297"/>
                    </a:lnTo>
                    <a:lnTo>
                      <a:pt x="4684069" y="5212810"/>
                    </a:lnTo>
                    <a:lnTo>
                      <a:pt x="4721258" y="5266203"/>
                    </a:lnTo>
                    <a:lnTo>
                      <a:pt x="4729852" y="5321157"/>
                    </a:lnTo>
                    <a:lnTo>
                      <a:pt x="4736209" y="5361753"/>
                    </a:lnTo>
                    <a:lnTo>
                      <a:pt x="4734652" y="5402774"/>
                    </a:lnTo>
                    <a:lnTo>
                      <a:pt x="4736652" y="5443578"/>
                    </a:lnTo>
                    <a:lnTo>
                      <a:pt x="4739585" y="5503512"/>
                    </a:lnTo>
                    <a:lnTo>
                      <a:pt x="4752505" y="5567483"/>
                    </a:lnTo>
                    <a:lnTo>
                      <a:pt x="4765215" y="5625843"/>
                    </a:lnTo>
                    <a:lnTo>
                      <a:pt x="4766842" y="5666144"/>
                    </a:lnTo>
                    <a:lnTo>
                      <a:pt x="4762706" y="5691473"/>
                    </a:lnTo>
                    <a:lnTo>
                      <a:pt x="4752149" y="5715533"/>
                    </a:lnTo>
                    <a:lnTo>
                      <a:pt x="4670148" y="5777037"/>
                    </a:lnTo>
                    <a:lnTo>
                      <a:pt x="4586813" y="5767896"/>
                    </a:lnTo>
                    <a:lnTo>
                      <a:pt x="4510861" y="5780906"/>
                    </a:lnTo>
                    <a:lnTo>
                      <a:pt x="4495904" y="5813599"/>
                    </a:lnTo>
                    <a:lnTo>
                      <a:pt x="4510861" y="5847556"/>
                    </a:lnTo>
                    <a:lnTo>
                      <a:pt x="4539675" y="5915695"/>
                    </a:lnTo>
                    <a:lnTo>
                      <a:pt x="4592745" y="5969977"/>
                    </a:lnTo>
                    <a:lnTo>
                      <a:pt x="4618312" y="6040707"/>
                    </a:lnTo>
                    <a:lnTo>
                      <a:pt x="4622290" y="6064765"/>
                    </a:lnTo>
                    <a:lnTo>
                      <a:pt x="4643585" y="6082109"/>
                    </a:lnTo>
                    <a:lnTo>
                      <a:pt x="4664560" y="6080156"/>
                    </a:lnTo>
                    <a:lnTo>
                      <a:pt x="4699349" y="6030339"/>
                    </a:lnTo>
                    <a:lnTo>
                      <a:pt x="4682367" y="5952381"/>
                    </a:lnTo>
                    <a:lnTo>
                      <a:pt x="4752974" y="5918293"/>
                    </a:lnTo>
                    <a:lnTo>
                      <a:pt x="4799244" y="5895975"/>
                    </a:lnTo>
                    <a:lnTo>
                      <a:pt x="4875177" y="5935973"/>
                    </a:lnTo>
                    <a:lnTo>
                      <a:pt x="4899873" y="5976782"/>
                    </a:lnTo>
                    <a:lnTo>
                      <a:pt x="4944633" y="6176984"/>
                    </a:lnTo>
                    <a:lnTo>
                      <a:pt x="4932097" y="6260892"/>
                    </a:lnTo>
                    <a:lnTo>
                      <a:pt x="4877412" y="6245169"/>
                    </a:lnTo>
                    <a:lnTo>
                      <a:pt x="4845467" y="6288267"/>
                    </a:lnTo>
                    <a:lnTo>
                      <a:pt x="4823980" y="6317258"/>
                    </a:lnTo>
                    <a:lnTo>
                      <a:pt x="4821838" y="6397380"/>
                    </a:lnTo>
                    <a:lnTo>
                      <a:pt x="4816904" y="6435167"/>
                    </a:lnTo>
                    <a:lnTo>
                      <a:pt x="4819469" y="6469897"/>
                    </a:lnTo>
                    <a:lnTo>
                      <a:pt x="4814074" y="6527109"/>
                    </a:lnTo>
                    <a:lnTo>
                      <a:pt x="4753739" y="6709628"/>
                    </a:lnTo>
                    <a:lnTo>
                      <a:pt x="4773378" y="6735769"/>
                    </a:lnTo>
                    <a:lnTo>
                      <a:pt x="4807144" y="6757321"/>
                    </a:lnTo>
                    <a:lnTo>
                      <a:pt x="4882702" y="6721490"/>
                    </a:lnTo>
                    <a:lnTo>
                      <a:pt x="4931155" y="6741210"/>
                    </a:lnTo>
                    <a:lnTo>
                      <a:pt x="4961063" y="6753371"/>
                    </a:lnTo>
                    <a:lnTo>
                      <a:pt x="5032088" y="6867965"/>
                    </a:lnTo>
                    <a:lnTo>
                      <a:pt x="5098459" y="6890835"/>
                    </a:lnTo>
                    <a:lnTo>
                      <a:pt x="5151383" y="6909110"/>
                    </a:lnTo>
                    <a:lnTo>
                      <a:pt x="5210040" y="6878120"/>
                    </a:lnTo>
                    <a:lnTo>
                      <a:pt x="5263042" y="6900351"/>
                    </a:lnTo>
                    <a:lnTo>
                      <a:pt x="5348928" y="6936315"/>
                    </a:lnTo>
                    <a:lnTo>
                      <a:pt x="5342193" y="7090786"/>
                    </a:lnTo>
                    <a:lnTo>
                      <a:pt x="5407228" y="7131589"/>
                    </a:lnTo>
                    <a:lnTo>
                      <a:pt x="5426886" y="7143961"/>
                    </a:lnTo>
                    <a:lnTo>
                      <a:pt x="5451774" y="7143831"/>
                    </a:lnTo>
                    <a:lnTo>
                      <a:pt x="5473875" y="7146553"/>
                    </a:lnTo>
                    <a:lnTo>
                      <a:pt x="5499126" y="7149567"/>
                    </a:lnTo>
                    <a:lnTo>
                      <a:pt x="5528942" y="7155734"/>
                    </a:lnTo>
                    <a:lnTo>
                      <a:pt x="5554128" y="7154711"/>
                    </a:lnTo>
                    <a:lnTo>
                      <a:pt x="5693744" y="7149396"/>
                    </a:lnTo>
                    <a:lnTo>
                      <a:pt x="5791850" y="7094693"/>
                    </a:lnTo>
                    <a:lnTo>
                      <a:pt x="5880576" y="7252646"/>
                    </a:lnTo>
                    <a:lnTo>
                      <a:pt x="5913452" y="7311222"/>
                    </a:lnTo>
                    <a:lnTo>
                      <a:pt x="5916326" y="7360484"/>
                    </a:lnTo>
                    <a:lnTo>
                      <a:pt x="5941785" y="7413154"/>
                    </a:lnTo>
                    <a:lnTo>
                      <a:pt x="5977107" y="7421184"/>
                    </a:lnTo>
                    <a:lnTo>
                      <a:pt x="5997043" y="7372812"/>
                    </a:lnTo>
                    <a:lnTo>
                      <a:pt x="6030195" y="7370986"/>
                    </a:lnTo>
                    <a:lnTo>
                      <a:pt x="6051555" y="7372555"/>
                    </a:lnTo>
                    <a:lnTo>
                      <a:pt x="6075107" y="7395552"/>
                    </a:lnTo>
                    <a:lnTo>
                      <a:pt x="6094681" y="7449279"/>
                    </a:lnTo>
                    <a:lnTo>
                      <a:pt x="6072468" y="7489106"/>
                    </a:lnTo>
                    <a:lnTo>
                      <a:pt x="6071005" y="7524685"/>
                    </a:lnTo>
                    <a:lnTo>
                      <a:pt x="6068899" y="7576589"/>
                    </a:lnTo>
                    <a:lnTo>
                      <a:pt x="6117017" y="7637965"/>
                    </a:lnTo>
                    <a:lnTo>
                      <a:pt x="6137652" y="7683826"/>
                    </a:lnTo>
                    <a:lnTo>
                      <a:pt x="6158209" y="7745589"/>
                    </a:lnTo>
                    <a:lnTo>
                      <a:pt x="6161672" y="7782440"/>
                    </a:lnTo>
                    <a:lnTo>
                      <a:pt x="6167303" y="7809948"/>
                    </a:lnTo>
                    <a:lnTo>
                      <a:pt x="6166214" y="7832092"/>
                    </a:lnTo>
                    <a:lnTo>
                      <a:pt x="6163734" y="7882973"/>
                    </a:lnTo>
                    <a:lnTo>
                      <a:pt x="6136064" y="7935937"/>
                    </a:lnTo>
                    <a:lnTo>
                      <a:pt x="6139010" y="7988511"/>
                    </a:lnTo>
                    <a:lnTo>
                      <a:pt x="6141199" y="8027705"/>
                    </a:lnTo>
                    <a:lnTo>
                      <a:pt x="6138886" y="8092824"/>
                    </a:lnTo>
                    <a:lnTo>
                      <a:pt x="6132210" y="8132694"/>
                    </a:lnTo>
                    <a:lnTo>
                      <a:pt x="6134709" y="8161806"/>
                    </a:lnTo>
                    <a:lnTo>
                      <a:pt x="6127745" y="8232880"/>
                    </a:lnTo>
                    <a:lnTo>
                      <a:pt x="6073318" y="8270537"/>
                    </a:lnTo>
                    <a:lnTo>
                      <a:pt x="6080527" y="8344880"/>
                    </a:lnTo>
                    <a:lnTo>
                      <a:pt x="6088408" y="8425945"/>
                    </a:lnTo>
                    <a:lnTo>
                      <a:pt x="6105626" y="8491829"/>
                    </a:lnTo>
                    <a:lnTo>
                      <a:pt x="6137652" y="8566593"/>
                    </a:lnTo>
                    <a:lnTo>
                      <a:pt x="6154910" y="8598133"/>
                    </a:lnTo>
                    <a:lnTo>
                      <a:pt x="6150110" y="8631290"/>
                    </a:lnTo>
                    <a:lnTo>
                      <a:pt x="6152615" y="8668612"/>
                    </a:lnTo>
                    <a:lnTo>
                      <a:pt x="6137891" y="8774280"/>
                    </a:lnTo>
                    <a:lnTo>
                      <a:pt x="6059951" y="8736874"/>
                    </a:lnTo>
                    <a:lnTo>
                      <a:pt x="5985311" y="8748858"/>
                    </a:lnTo>
                    <a:lnTo>
                      <a:pt x="5952051" y="8754259"/>
                    </a:lnTo>
                    <a:lnTo>
                      <a:pt x="5925739" y="8777762"/>
                    </a:lnTo>
                    <a:lnTo>
                      <a:pt x="5896897" y="8792384"/>
                    </a:lnTo>
                    <a:lnTo>
                      <a:pt x="5900110" y="8815552"/>
                    </a:lnTo>
                    <a:lnTo>
                      <a:pt x="5901970" y="8841820"/>
                    </a:lnTo>
                    <a:lnTo>
                      <a:pt x="5896897" y="8869921"/>
                    </a:lnTo>
                    <a:lnTo>
                      <a:pt x="5899300" y="8916039"/>
                    </a:lnTo>
                    <a:lnTo>
                      <a:pt x="5941574" y="8952461"/>
                    </a:lnTo>
                    <a:lnTo>
                      <a:pt x="5970347" y="8984177"/>
                    </a:lnTo>
                    <a:lnTo>
                      <a:pt x="5993983" y="9026212"/>
                    </a:lnTo>
                    <a:lnTo>
                      <a:pt x="6031255" y="9050099"/>
                    </a:lnTo>
                    <a:lnTo>
                      <a:pt x="6107368" y="9039904"/>
                    </a:lnTo>
                    <a:lnTo>
                      <a:pt x="6113173" y="9064423"/>
                    </a:lnTo>
                    <a:lnTo>
                      <a:pt x="6130279" y="9088955"/>
                    </a:lnTo>
                    <a:lnTo>
                      <a:pt x="6148581" y="9156536"/>
                    </a:lnTo>
                    <a:lnTo>
                      <a:pt x="6193419" y="9121555"/>
                    </a:lnTo>
                    <a:lnTo>
                      <a:pt x="6213929" y="9091674"/>
                    </a:lnTo>
                    <a:lnTo>
                      <a:pt x="6242386" y="9073961"/>
                    </a:lnTo>
                    <a:lnTo>
                      <a:pt x="6260224" y="9086419"/>
                    </a:lnTo>
                    <a:lnTo>
                      <a:pt x="6266214" y="9121992"/>
                    </a:lnTo>
                    <a:lnTo>
                      <a:pt x="6285041" y="9147243"/>
                    </a:lnTo>
                    <a:lnTo>
                      <a:pt x="6307682" y="9174618"/>
                    </a:lnTo>
                    <a:lnTo>
                      <a:pt x="6310847" y="9207007"/>
                    </a:lnTo>
                    <a:lnTo>
                      <a:pt x="6326722" y="9223586"/>
                    </a:lnTo>
                    <a:lnTo>
                      <a:pt x="6312733" y="9254951"/>
                    </a:lnTo>
                    <a:lnTo>
                      <a:pt x="6279113" y="9260312"/>
                    </a:lnTo>
                    <a:lnTo>
                      <a:pt x="6280130" y="9284965"/>
                    </a:lnTo>
                    <a:lnTo>
                      <a:pt x="6298811" y="9306554"/>
                    </a:lnTo>
                    <a:lnTo>
                      <a:pt x="6321644" y="9306049"/>
                    </a:lnTo>
                    <a:lnTo>
                      <a:pt x="6355111" y="9327046"/>
                    </a:lnTo>
                    <a:lnTo>
                      <a:pt x="6369845" y="9355351"/>
                    </a:lnTo>
                    <a:lnTo>
                      <a:pt x="6431476" y="9388636"/>
                    </a:lnTo>
                    <a:lnTo>
                      <a:pt x="6435767" y="9353485"/>
                    </a:lnTo>
                    <a:lnTo>
                      <a:pt x="6491305" y="9404490"/>
                    </a:lnTo>
                    <a:lnTo>
                      <a:pt x="6501208" y="9440788"/>
                    </a:lnTo>
                    <a:lnTo>
                      <a:pt x="6517148" y="9471137"/>
                    </a:lnTo>
                    <a:lnTo>
                      <a:pt x="6579591" y="9447166"/>
                    </a:lnTo>
                    <a:lnTo>
                      <a:pt x="6569455" y="9411336"/>
                    </a:lnTo>
                    <a:lnTo>
                      <a:pt x="6664051" y="9443935"/>
                    </a:lnTo>
                    <a:lnTo>
                      <a:pt x="6702665" y="9464464"/>
                    </a:lnTo>
                    <a:lnTo>
                      <a:pt x="6716652" y="9485468"/>
                    </a:lnTo>
                    <a:lnTo>
                      <a:pt x="6727975" y="9503783"/>
                    </a:lnTo>
                    <a:lnTo>
                      <a:pt x="6716804" y="9570393"/>
                    </a:lnTo>
                    <a:lnTo>
                      <a:pt x="6695252" y="9611069"/>
                    </a:lnTo>
                    <a:lnTo>
                      <a:pt x="6686090" y="9637210"/>
                    </a:lnTo>
                    <a:lnTo>
                      <a:pt x="6670850" y="9662923"/>
                    </a:lnTo>
                    <a:lnTo>
                      <a:pt x="6640651" y="9675766"/>
                    </a:lnTo>
                    <a:lnTo>
                      <a:pt x="6618652" y="9683713"/>
                    </a:lnTo>
                    <a:lnTo>
                      <a:pt x="6586521" y="9691492"/>
                    </a:lnTo>
                    <a:lnTo>
                      <a:pt x="6535919" y="9684141"/>
                    </a:lnTo>
                    <a:lnTo>
                      <a:pt x="6482000" y="9701017"/>
                    </a:lnTo>
                    <a:lnTo>
                      <a:pt x="6431454" y="9701017"/>
                    </a:lnTo>
                    <a:lnTo>
                      <a:pt x="6388120" y="9701017"/>
                    </a:lnTo>
                    <a:lnTo>
                      <a:pt x="6344061" y="9694810"/>
                    </a:lnTo>
                    <a:lnTo>
                      <a:pt x="6300876" y="9698292"/>
                    </a:lnTo>
                    <a:lnTo>
                      <a:pt x="6273969" y="9697107"/>
                    </a:lnTo>
                    <a:lnTo>
                      <a:pt x="6236858" y="9705091"/>
                    </a:lnTo>
                    <a:lnTo>
                      <a:pt x="6197692" y="9694335"/>
                    </a:lnTo>
                    <a:lnTo>
                      <a:pt x="6170298" y="9695576"/>
                    </a:lnTo>
                    <a:lnTo>
                      <a:pt x="6120611" y="9692642"/>
                    </a:lnTo>
                    <a:lnTo>
                      <a:pt x="6007734" y="9665475"/>
                    </a:lnTo>
                    <a:lnTo>
                      <a:pt x="5968986" y="9690134"/>
                    </a:lnTo>
                    <a:lnTo>
                      <a:pt x="5900131" y="9733998"/>
                    </a:lnTo>
                    <a:lnTo>
                      <a:pt x="5892501" y="9872399"/>
                    </a:lnTo>
                    <a:lnTo>
                      <a:pt x="5793524" y="9872399"/>
                    </a:lnTo>
                    <a:lnTo>
                      <a:pt x="5752398" y="9865599"/>
                    </a:lnTo>
                    <a:lnTo>
                      <a:pt x="5700925" y="9857646"/>
                    </a:lnTo>
                    <a:lnTo>
                      <a:pt x="5663749" y="9817950"/>
                    </a:lnTo>
                    <a:lnTo>
                      <a:pt x="5654779" y="9785347"/>
                    </a:lnTo>
                    <a:lnTo>
                      <a:pt x="5641459" y="9736972"/>
                    </a:lnTo>
                    <a:lnTo>
                      <a:pt x="5675699" y="9702158"/>
                    </a:lnTo>
                    <a:lnTo>
                      <a:pt x="5667026" y="9653408"/>
                    </a:lnTo>
                    <a:lnTo>
                      <a:pt x="5655994" y="9633517"/>
                    </a:lnTo>
                    <a:lnTo>
                      <a:pt x="5632039" y="9564015"/>
                    </a:lnTo>
                    <a:lnTo>
                      <a:pt x="5596680" y="9508629"/>
                    </a:lnTo>
                    <a:lnTo>
                      <a:pt x="5566369" y="9456179"/>
                    </a:lnTo>
                    <a:lnTo>
                      <a:pt x="5538953" y="9408744"/>
                    </a:lnTo>
                    <a:lnTo>
                      <a:pt x="5487797" y="9351699"/>
                    </a:lnTo>
                    <a:lnTo>
                      <a:pt x="5445313" y="9317437"/>
                    </a:lnTo>
                    <a:lnTo>
                      <a:pt x="5425884" y="9301755"/>
                    </a:lnTo>
                    <a:lnTo>
                      <a:pt x="5382932" y="9286112"/>
                    </a:lnTo>
                    <a:lnTo>
                      <a:pt x="5370499" y="9268470"/>
                    </a:lnTo>
                    <a:lnTo>
                      <a:pt x="5351077" y="9240844"/>
                    </a:lnTo>
                    <a:lnTo>
                      <a:pt x="5350140" y="9206412"/>
                    </a:lnTo>
                    <a:lnTo>
                      <a:pt x="5326973" y="9180060"/>
                    </a:lnTo>
                    <a:lnTo>
                      <a:pt x="5309439" y="9210064"/>
                    </a:lnTo>
                    <a:lnTo>
                      <a:pt x="5340578" y="9309063"/>
                    </a:lnTo>
                    <a:lnTo>
                      <a:pt x="5340578" y="9346000"/>
                    </a:lnTo>
                    <a:lnTo>
                      <a:pt x="5328991" y="9378559"/>
                    </a:lnTo>
                    <a:lnTo>
                      <a:pt x="5244578" y="9481130"/>
                    </a:lnTo>
                    <a:lnTo>
                      <a:pt x="5171934" y="9410440"/>
                    </a:lnTo>
                    <a:lnTo>
                      <a:pt x="5082138" y="9439858"/>
                    </a:lnTo>
                    <a:lnTo>
                      <a:pt x="5075245" y="9491073"/>
                    </a:lnTo>
                    <a:lnTo>
                      <a:pt x="5133400" y="9537536"/>
                    </a:lnTo>
                    <a:lnTo>
                      <a:pt x="5136547" y="9581313"/>
                    </a:lnTo>
                    <a:lnTo>
                      <a:pt x="5121286" y="9617360"/>
                    </a:lnTo>
                    <a:lnTo>
                      <a:pt x="5085180" y="9680653"/>
                    </a:lnTo>
                    <a:lnTo>
                      <a:pt x="5064753" y="9726222"/>
                    </a:lnTo>
                    <a:lnTo>
                      <a:pt x="5012765" y="9751343"/>
                    </a:lnTo>
                    <a:lnTo>
                      <a:pt x="4953023" y="9780246"/>
                    </a:lnTo>
                    <a:lnTo>
                      <a:pt x="4820253" y="9698419"/>
                    </a:lnTo>
                    <a:lnTo>
                      <a:pt x="4804657" y="9633003"/>
                    </a:lnTo>
                    <a:lnTo>
                      <a:pt x="4790484" y="9573623"/>
                    </a:lnTo>
                    <a:lnTo>
                      <a:pt x="4817115" y="9539151"/>
                    </a:lnTo>
                    <a:lnTo>
                      <a:pt x="4776095" y="9484742"/>
                    </a:lnTo>
                    <a:lnTo>
                      <a:pt x="4750505" y="9467273"/>
                    </a:lnTo>
                    <a:lnTo>
                      <a:pt x="4713522" y="9490441"/>
                    </a:lnTo>
                    <a:lnTo>
                      <a:pt x="4684959" y="9491542"/>
                    </a:lnTo>
                    <a:lnTo>
                      <a:pt x="4631338" y="9493619"/>
                    </a:lnTo>
                    <a:lnTo>
                      <a:pt x="4555680" y="9447594"/>
                    </a:lnTo>
                    <a:lnTo>
                      <a:pt x="4509497" y="9420811"/>
                    </a:lnTo>
                    <a:lnTo>
                      <a:pt x="4418130" y="9305792"/>
                    </a:lnTo>
                    <a:lnTo>
                      <a:pt x="4605882" y="9201907"/>
                    </a:lnTo>
                    <a:lnTo>
                      <a:pt x="4509497" y="9121567"/>
                    </a:lnTo>
                    <a:lnTo>
                      <a:pt x="4390650" y="9040168"/>
                    </a:lnTo>
                    <a:lnTo>
                      <a:pt x="4285210" y="9236590"/>
                    </a:lnTo>
                    <a:lnTo>
                      <a:pt x="4232015" y="9309274"/>
                    </a:lnTo>
                    <a:lnTo>
                      <a:pt x="4207528" y="9342775"/>
                    </a:lnTo>
                    <a:lnTo>
                      <a:pt x="4172141" y="9360619"/>
                    </a:lnTo>
                    <a:lnTo>
                      <a:pt x="4144963" y="9389526"/>
                    </a:lnTo>
                    <a:lnTo>
                      <a:pt x="4133613" y="9420306"/>
                    </a:lnTo>
                    <a:lnTo>
                      <a:pt x="4164028" y="9450778"/>
                    </a:lnTo>
                    <a:lnTo>
                      <a:pt x="4158562" y="9482020"/>
                    </a:lnTo>
                    <a:lnTo>
                      <a:pt x="4134081" y="9505147"/>
                    </a:lnTo>
                    <a:lnTo>
                      <a:pt x="4092685" y="9502384"/>
                    </a:lnTo>
                    <a:lnTo>
                      <a:pt x="4036272" y="9394499"/>
                    </a:lnTo>
                    <a:lnTo>
                      <a:pt x="4023906" y="9358247"/>
                    </a:lnTo>
                    <a:lnTo>
                      <a:pt x="4012346" y="9324284"/>
                    </a:lnTo>
                    <a:lnTo>
                      <a:pt x="4008540" y="9285939"/>
                    </a:lnTo>
                    <a:lnTo>
                      <a:pt x="3996702" y="9252148"/>
                    </a:lnTo>
                    <a:lnTo>
                      <a:pt x="3978534" y="9212408"/>
                    </a:lnTo>
                    <a:lnTo>
                      <a:pt x="3974939" y="9188217"/>
                    </a:lnTo>
                    <a:lnTo>
                      <a:pt x="3948461" y="9169856"/>
                    </a:lnTo>
                    <a:lnTo>
                      <a:pt x="3874241" y="9181588"/>
                    </a:lnTo>
                    <a:lnTo>
                      <a:pt x="3855031" y="9239439"/>
                    </a:lnTo>
                    <a:lnTo>
                      <a:pt x="3834844" y="9288875"/>
                    </a:lnTo>
                    <a:lnTo>
                      <a:pt x="3818646" y="9317267"/>
                    </a:lnTo>
                    <a:lnTo>
                      <a:pt x="3795420" y="9408105"/>
                    </a:lnTo>
                    <a:lnTo>
                      <a:pt x="3892629" y="9554499"/>
                    </a:lnTo>
                    <a:lnTo>
                      <a:pt x="3806275" y="9597634"/>
                    </a:lnTo>
                    <a:lnTo>
                      <a:pt x="3764918" y="9598447"/>
                    </a:lnTo>
                    <a:lnTo>
                      <a:pt x="3708854" y="9558706"/>
                    </a:lnTo>
                    <a:lnTo>
                      <a:pt x="3667537" y="9607159"/>
                    </a:lnTo>
                    <a:lnTo>
                      <a:pt x="3630065" y="9651113"/>
                    </a:lnTo>
                    <a:lnTo>
                      <a:pt x="3633553" y="9780287"/>
                    </a:lnTo>
                    <a:lnTo>
                      <a:pt x="3542399" y="9773106"/>
                    </a:lnTo>
                    <a:lnTo>
                      <a:pt x="3496129" y="9769490"/>
                    </a:lnTo>
                    <a:lnTo>
                      <a:pt x="3456046" y="9737697"/>
                    </a:lnTo>
                    <a:lnTo>
                      <a:pt x="3460787" y="9687412"/>
                    </a:lnTo>
                    <a:lnTo>
                      <a:pt x="3463675" y="9656812"/>
                    </a:lnTo>
                    <a:lnTo>
                      <a:pt x="3543481" y="9551733"/>
                    </a:lnTo>
                    <a:lnTo>
                      <a:pt x="3550557" y="9501067"/>
                    </a:lnTo>
                    <a:lnTo>
                      <a:pt x="3558167" y="9446440"/>
                    </a:lnTo>
                    <a:lnTo>
                      <a:pt x="3542083" y="9394630"/>
                    </a:lnTo>
                    <a:lnTo>
                      <a:pt x="3536959" y="9341917"/>
                    </a:lnTo>
                    <a:lnTo>
                      <a:pt x="3533899" y="9310467"/>
                    </a:lnTo>
                    <a:lnTo>
                      <a:pt x="3551751" y="9264262"/>
                    </a:lnTo>
                    <a:lnTo>
                      <a:pt x="3554639" y="9230385"/>
                    </a:lnTo>
                    <a:lnTo>
                      <a:pt x="3559467" y="9173939"/>
                    </a:lnTo>
                    <a:lnTo>
                      <a:pt x="3553789" y="9121741"/>
                    </a:lnTo>
                    <a:lnTo>
                      <a:pt x="3547841" y="9065803"/>
                    </a:lnTo>
                    <a:lnTo>
                      <a:pt x="3535897" y="8953881"/>
                    </a:lnTo>
                    <a:lnTo>
                      <a:pt x="3558319" y="8914349"/>
                    </a:lnTo>
                    <a:lnTo>
                      <a:pt x="3470311" y="8827765"/>
                    </a:lnTo>
                    <a:lnTo>
                      <a:pt x="3363447" y="8826026"/>
                    </a:lnTo>
                    <a:lnTo>
                      <a:pt x="3171977" y="8976494"/>
                    </a:lnTo>
                    <a:lnTo>
                      <a:pt x="3073132" y="9016836"/>
                    </a:lnTo>
                    <a:lnTo>
                      <a:pt x="3030773" y="9034134"/>
                    </a:lnTo>
                    <a:lnTo>
                      <a:pt x="2986100" y="9047097"/>
                    </a:lnTo>
                    <a:lnTo>
                      <a:pt x="2943912" y="9064442"/>
                    </a:lnTo>
                    <a:lnTo>
                      <a:pt x="2871823" y="9083101"/>
                    </a:lnTo>
                    <a:lnTo>
                      <a:pt x="2866000" y="9107416"/>
                    </a:lnTo>
                    <a:lnTo>
                      <a:pt x="2811974" y="9140614"/>
                    </a:lnTo>
                    <a:lnTo>
                      <a:pt x="2788635" y="9154933"/>
                    </a:lnTo>
                    <a:lnTo>
                      <a:pt x="2760329" y="9163565"/>
                    </a:lnTo>
                    <a:lnTo>
                      <a:pt x="2737162" y="9178702"/>
                    </a:lnTo>
                    <a:lnTo>
                      <a:pt x="2707156" y="9198208"/>
                    </a:lnTo>
                    <a:lnTo>
                      <a:pt x="2675993" y="9229964"/>
                    </a:lnTo>
                    <a:lnTo>
                      <a:pt x="2650110" y="9254865"/>
                    </a:lnTo>
                    <a:lnTo>
                      <a:pt x="2631235" y="9273059"/>
                    </a:lnTo>
                    <a:lnTo>
                      <a:pt x="2616403" y="9306133"/>
                    </a:lnTo>
                    <a:lnTo>
                      <a:pt x="2597060" y="9320160"/>
                    </a:lnTo>
                    <a:lnTo>
                      <a:pt x="2575573" y="9346381"/>
                    </a:lnTo>
                    <a:lnTo>
                      <a:pt x="2547671" y="9373719"/>
                    </a:lnTo>
                    <a:lnTo>
                      <a:pt x="2531770" y="9401767"/>
                    </a:lnTo>
                    <a:lnTo>
                      <a:pt x="2495959" y="9464979"/>
                    </a:lnTo>
                    <a:lnTo>
                      <a:pt x="2558486" y="9702118"/>
                    </a:lnTo>
                    <a:lnTo>
                      <a:pt x="2583455" y="9774464"/>
                    </a:lnTo>
                    <a:lnTo>
                      <a:pt x="2593301" y="9794401"/>
                    </a:lnTo>
                    <a:lnTo>
                      <a:pt x="2607942" y="9881921"/>
                    </a:lnTo>
                    <a:lnTo>
                      <a:pt x="2612176" y="9904239"/>
                    </a:lnTo>
                    <a:lnTo>
                      <a:pt x="2630106" y="9970077"/>
                    </a:lnTo>
                    <a:lnTo>
                      <a:pt x="2622838" y="9999793"/>
                    </a:lnTo>
                    <a:lnTo>
                      <a:pt x="2641687" y="10046841"/>
                    </a:lnTo>
                    <a:lnTo>
                      <a:pt x="2626987" y="10092754"/>
                    </a:lnTo>
                    <a:lnTo>
                      <a:pt x="2617293" y="10123010"/>
                    </a:lnTo>
                    <a:lnTo>
                      <a:pt x="2593063" y="10142736"/>
                    </a:lnTo>
                    <a:lnTo>
                      <a:pt x="2582095" y="10171643"/>
                    </a:lnTo>
                    <a:lnTo>
                      <a:pt x="2550071" y="10256189"/>
                    </a:lnTo>
                    <a:lnTo>
                      <a:pt x="2604452" y="10315482"/>
                    </a:lnTo>
                    <a:lnTo>
                      <a:pt x="2651468" y="10378393"/>
                    </a:lnTo>
                    <a:lnTo>
                      <a:pt x="2687813" y="10412909"/>
                    </a:lnTo>
                    <a:lnTo>
                      <a:pt x="2723919" y="10440200"/>
                    </a:lnTo>
                    <a:lnTo>
                      <a:pt x="2757560" y="10470886"/>
                    </a:lnTo>
                    <a:lnTo>
                      <a:pt x="2801218" y="10510797"/>
                    </a:lnTo>
                    <a:lnTo>
                      <a:pt x="2835433" y="10544677"/>
                    </a:lnTo>
                    <a:lnTo>
                      <a:pt x="2865017" y="10597384"/>
                    </a:lnTo>
                    <a:lnTo>
                      <a:pt x="2876578" y="10625733"/>
                    </a:lnTo>
                    <a:lnTo>
                      <a:pt x="2899028" y="10653148"/>
                    </a:lnTo>
                    <a:lnTo>
                      <a:pt x="2900769" y="10683366"/>
                    </a:lnTo>
                    <a:lnTo>
                      <a:pt x="2889847" y="10730381"/>
                    </a:lnTo>
                    <a:lnTo>
                      <a:pt x="2766746" y="10956007"/>
                    </a:lnTo>
                    <a:lnTo>
                      <a:pt x="2741244" y="10986396"/>
                    </a:lnTo>
                    <a:lnTo>
                      <a:pt x="2697440" y="11038470"/>
                    </a:lnTo>
                    <a:lnTo>
                      <a:pt x="2628880" y="11066267"/>
                    </a:lnTo>
                    <a:lnTo>
                      <a:pt x="2607948" y="11137379"/>
                    </a:lnTo>
                    <a:lnTo>
                      <a:pt x="2592938" y="11188430"/>
                    </a:lnTo>
                    <a:lnTo>
                      <a:pt x="2605627" y="11234759"/>
                    </a:lnTo>
                    <a:lnTo>
                      <a:pt x="2612024" y="11285640"/>
                    </a:lnTo>
                    <a:lnTo>
                      <a:pt x="2617287" y="11350290"/>
                    </a:lnTo>
                    <a:lnTo>
                      <a:pt x="2657120" y="11401682"/>
                    </a:lnTo>
                    <a:lnTo>
                      <a:pt x="2678672" y="11459744"/>
                    </a:lnTo>
                    <a:lnTo>
                      <a:pt x="2696228" y="11507056"/>
                    </a:lnTo>
                    <a:lnTo>
                      <a:pt x="2691340" y="11637721"/>
                    </a:lnTo>
                    <a:lnTo>
                      <a:pt x="2648744" y="11670578"/>
                    </a:lnTo>
                    <a:lnTo>
                      <a:pt x="2597845" y="11690601"/>
                    </a:lnTo>
                    <a:lnTo>
                      <a:pt x="2520104" y="11697869"/>
                    </a:lnTo>
                    <a:lnTo>
                      <a:pt x="2274246" y="11793547"/>
                    </a:lnTo>
                    <a:lnTo>
                      <a:pt x="2243407" y="11786192"/>
                    </a:lnTo>
                    <a:lnTo>
                      <a:pt x="2221237" y="11802430"/>
                    </a:lnTo>
                    <a:lnTo>
                      <a:pt x="2184067" y="11800687"/>
                    </a:lnTo>
                    <a:lnTo>
                      <a:pt x="2159073" y="11806597"/>
                    </a:lnTo>
                    <a:lnTo>
                      <a:pt x="2140310" y="11819136"/>
                    </a:lnTo>
                    <a:lnTo>
                      <a:pt x="2109321" y="11826825"/>
                    </a:lnTo>
                    <a:lnTo>
                      <a:pt x="2060037" y="11828230"/>
                    </a:lnTo>
                    <a:lnTo>
                      <a:pt x="2047539" y="11848765"/>
                    </a:lnTo>
                    <a:lnTo>
                      <a:pt x="2024035" y="11854324"/>
                    </a:lnTo>
                    <a:lnTo>
                      <a:pt x="1886973" y="11884595"/>
                    </a:lnTo>
                    <a:lnTo>
                      <a:pt x="1860614" y="11933135"/>
                    </a:lnTo>
                    <a:lnTo>
                      <a:pt x="1873435" y="12065031"/>
                    </a:lnTo>
                    <a:lnTo>
                      <a:pt x="1876051" y="12091901"/>
                    </a:lnTo>
                    <a:lnTo>
                      <a:pt x="1892968" y="12124841"/>
                    </a:lnTo>
                    <a:lnTo>
                      <a:pt x="1899279" y="12152092"/>
                    </a:lnTo>
                    <a:lnTo>
                      <a:pt x="1907905" y="12189364"/>
                    </a:lnTo>
                    <a:lnTo>
                      <a:pt x="1910049" y="12228857"/>
                    </a:lnTo>
                    <a:lnTo>
                      <a:pt x="1916961" y="12266343"/>
                    </a:lnTo>
                    <a:lnTo>
                      <a:pt x="1924697" y="12308300"/>
                    </a:lnTo>
                    <a:lnTo>
                      <a:pt x="1942714" y="12349017"/>
                    </a:lnTo>
                    <a:lnTo>
                      <a:pt x="1946881" y="12391485"/>
                    </a:lnTo>
                    <a:lnTo>
                      <a:pt x="1948965" y="12412861"/>
                    </a:lnTo>
                    <a:lnTo>
                      <a:pt x="1933560" y="12472671"/>
                    </a:lnTo>
                    <a:lnTo>
                      <a:pt x="1925118" y="12493498"/>
                    </a:lnTo>
                    <a:lnTo>
                      <a:pt x="1872689" y="12623223"/>
                    </a:lnTo>
                    <a:lnTo>
                      <a:pt x="1696757" y="12594022"/>
                    </a:lnTo>
                    <a:lnTo>
                      <a:pt x="1666684" y="12644481"/>
                    </a:lnTo>
                    <a:lnTo>
                      <a:pt x="1661158" y="12682355"/>
                    </a:lnTo>
                    <a:lnTo>
                      <a:pt x="1693802" y="12722011"/>
                    </a:lnTo>
                    <a:lnTo>
                      <a:pt x="1687088" y="12772337"/>
                    </a:lnTo>
                    <a:lnTo>
                      <a:pt x="1682011" y="12810341"/>
                    </a:lnTo>
                    <a:lnTo>
                      <a:pt x="1642263" y="12869084"/>
                    </a:lnTo>
                    <a:lnTo>
                      <a:pt x="1604111" y="12881152"/>
                    </a:lnTo>
                    <a:lnTo>
                      <a:pt x="1571954" y="12891353"/>
                    </a:lnTo>
                    <a:lnTo>
                      <a:pt x="1530215" y="12887871"/>
                    </a:lnTo>
                    <a:lnTo>
                      <a:pt x="1496654" y="12890674"/>
                    </a:lnTo>
                    <a:lnTo>
                      <a:pt x="1455786" y="12894072"/>
                    </a:lnTo>
                    <a:lnTo>
                      <a:pt x="1409627" y="12900199"/>
                    </a:lnTo>
                    <a:lnTo>
                      <a:pt x="1368799" y="12900199"/>
                    </a:lnTo>
                    <a:lnTo>
                      <a:pt x="1315881" y="12914905"/>
                    </a:lnTo>
                    <a:lnTo>
                      <a:pt x="1273139" y="12942022"/>
                    </a:lnTo>
                    <a:lnTo>
                      <a:pt x="1284463" y="13006288"/>
                    </a:lnTo>
                    <a:lnTo>
                      <a:pt x="1288064" y="13045272"/>
                    </a:lnTo>
                    <a:lnTo>
                      <a:pt x="1325397" y="13133896"/>
                    </a:lnTo>
                    <a:lnTo>
                      <a:pt x="1293986" y="13165438"/>
                    </a:lnTo>
                    <a:lnTo>
                      <a:pt x="1265424" y="13174954"/>
                    </a:lnTo>
                    <a:lnTo>
                      <a:pt x="1234816" y="13177131"/>
                    </a:lnTo>
                    <a:lnTo>
                      <a:pt x="1178799" y="13184854"/>
                    </a:lnTo>
                    <a:lnTo>
                      <a:pt x="1137904" y="13172917"/>
                    </a:lnTo>
                    <a:lnTo>
                      <a:pt x="1099482" y="13195353"/>
                    </a:lnTo>
                    <a:lnTo>
                      <a:pt x="1064245" y="13247808"/>
                    </a:lnTo>
                    <a:lnTo>
                      <a:pt x="1055698" y="13318158"/>
                    </a:lnTo>
                    <a:lnTo>
                      <a:pt x="1023311" y="13366741"/>
                    </a:lnTo>
                    <a:lnTo>
                      <a:pt x="1008387" y="13383149"/>
                    </a:lnTo>
                    <a:lnTo>
                      <a:pt x="992935" y="13413795"/>
                    </a:lnTo>
                    <a:lnTo>
                      <a:pt x="969346" y="13433685"/>
                    </a:lnTo>
                    <a:lnTo>
                      <a:pt x="978506" y="13482997"/>
                    </a:lnTo>
                    <a:lnTo>
                      <a:pt x="1077654" y="13511346"/>
                    </a:lnTo>
                    <a:lnTo>
                      <a:pt x="1104923" y="13559892"/>
                    </a:lnTo>
                    <a:lnTo>
                      <a:pt x="1124536" y="13594826"/>
                    </a:lnTo>
                    <a:lnTo>
                      <a:pt x="1082856" y="13715802"/>
                    </a:lnTo>
                    <a:lnTo>
                      <a:pt x="1147085" y="13802004"/>
                    </a:lnTo>
                    <a:lnTo>
                      <a:pt x="1183132" y="13833540"/>
                    </a:lnTo>
                    <a:lnTo>
                      <a:pt x="1201493" y="13864571"/>
                    </a:lnTo>
                    <a:lnTo>
                      <a:pt x="1174710" y="13906019"/>
                    </a:lnTo>
                    <a:lnTo>
                      <a:pt x="1085086" y="13918385"/>
                    </a:lnTo>
                    <a:lnTo>
                      <a:pt x="1045068" y="13957064"/>
                    </a:lnTo>
                    <a:lnTo>
                      <a:pt x="1039264" y="13985500"/>
                    </a:lnTo>
                    <a:lnTo>
                      <a:pt x="1053463" y="14036467"/>
                    </a:lnTo>
                    <a:lnTo>
                      <a:pt x="1091251" y="14030517"/>
                    </a:lnTo>
                    <a:lnTo>
                      <a:pt x="1106281" y="14074043"/>
                    </a:lnTo>
                    <a:lnTo>
                      <a:pt x="1109632" y="14097636"/>
                    </a:lnTo>
                    <a:lnTo>
                      <a:pt x="1117262" y="14249595"/>
                    </a:lnTo>
                    <a:lnTo>
                      <a:pt x="1018735" y="14298349"/>
                    </a:lnTo>
                    <a:lnTo>
                      <a:pt x="895443" y="14283513"/>
                    </a:lnTo>
                    <a:lnTo>
                      <a:pt x="846627" y="14277656"/>
                    </a:lnTo>
                    <a:lnTo>
                      <a:pt x="766710" y="14273777"/>
                    </a:lnTo>
                    <a:lnTo>
                      <a:pt x="721337" y="14257672"/>
                    </a:lnTo>
                    <a:lnTo>
                      <a:pt x="669291" y="14262466"/>
                    </a:lnTo>
                    <a:lnTo>
                      <a:pt x="591457" y="14254138"/>
                    </a:lnTo>
                    <a:lnTo>
                      <a:pt x="510102" y="14205257"/>
                    </a:lnTo>
                    <a:lnTo>
                      <a:pt x="443857" y="14195093"/>
                    </a:lnTo>
                    <a:lnTo>
                      <a:pt x="414978" y="14193782"/>
                    </a:lnTo>
                    <a:lnTo>
                      <a:pt x="390088" y="14180049"/>
                    </a:lnTo>
                    <a:lnTo>
                      <a:pt x="362245" y="14176056"/>
                    </a:lnTo>
                    <a:lnTo>
                      <a:pt x="282335" y="14164534"/>
                    </a:lnTo>
                    <a:lnTo>
                      <a:pt x="98667" y="14228759"/>
                    </a:lnTo>
                    <a:lnTo>
                      <a:pt x="82048" y="14318875"/>
                    </a:lnTo>
                    <a:lnTo>
                      <a:pt x="70078" y="14339357"/>
                    </a:lnTo>
                    <a:lnTo>
                      <a:pt x="53485" y="14375997"/>
                    </a:lnTo>
                    <a:lnTo>
                      <a:pt x="34333" y="14420586"/>
                    </a:lnTo>
                    <a:lnTo>
                      <a:pt x="29466" y="14458079"/>
                    </a:lnTo>
                    <a:lnTo>
                      <a:pt x="16757" y="14487537"/>
                    </a:lnTo>
                    <a:lnTo>
                      <a:pt x="7531" y="14506408"/>
                    </a:lnTo>
                    <a:lnTo>
                      <a:pt x="0" y="14571569"/>
                    </a:lnTo>
                    <a:lnTo>
                      <a:pt x="33640" y="14563709"/>
                    </a:lnTo>
                    <a:lnTo>
                      <a:pt x="93521" y="14606166"/>
                    </a:lnTo>
                    <a:lnTo>
                      <a:pt x="120132" y="14616757"/>
                    </a:lnTo>
                    <a:lnTo>
                      <a:pt x="152223" y="14629467"/>
                    </a:lnTo>
                    <a:lnTo>
                      <a:pt x="213365" y="14654330"/>
                    </a:lnTo>
                    <a:lnTo>
                      <a:pt x="231665" y="14683408"/>
                    </a:lnTo>
                    <a:lnTo>
                      <a:pt x="267759" y="14740744"/>
                    </a:lnTo>
                    <a:lnTo>
                      <a:pt x="239620" y="14834893"/>
                    </a:lnTo>
                    <a:lnTo>
                      <a:pt x="253430" y="14901038"/>
                    </a:lnTo>
                    <a:lnTo>
                      <a:pt x="269455" y="14977889"/>
                    </a:lnTo>
                    <a:lnTo>
                      <a:pt x="323011" y="15105617"/>
                    </a:lnTo>
                    <a:lnTo>
                      <a:pt x="362245" y="15174438"/>
                    </a:lnTo>
                    <a:lnTo>
                      <a:pt x="377419" y="15201001"/>
                    </a:lnTo>
                    <a:lnTo>
                      <a:pt x="433575" y="15269778"/>
                    </a:lnTo>
                    <a:lnTo>
                      <a:pt x="456096" y="15290053"/>
                    </a:lnTo>
                    <a:lnTo>
                      <a:pt x="477715" y="15309481"/>
                    </a:lnTo>
                    <a:lnTo>
                      <a:pt x="509555" y="15316575"/>
                    </a:lnTo>
                    <a:lnTo>
                      <a:pt x="532268" y="15333579"/>
                    </a:lnTo>
                    <a:lnTo>
                      <a:pt x="559947" y="15354365"/>
                    </a:lnTo>
                    <a:lnTo>
                      <a:pt x="605723" y="15383904"/>
                    </a:lnTo>
                    <a:lnTo>
                      <a:pt x="661211" y="15405329"/>
                    </a:lnTo>
                    <a:lnTo>
                      <a:pt x="719728" y="15413403"/>
                    </a:lnTo>
                    <a:lnTo>
                      <a:pt x="775745" y="15434230"/>
                    </a:lnTo>
                    <a:lnTo>
                      <a:pt x="823037" y="15451879"/>
                    </a:lnTo>
                    <a:lnTo>
                      <a:pt x="869307" y="15476826"/>
                    </a:lnTo>
                    <a:lnTo>
                      <a:pt x="917206" y="15491361"/>
                    </a:lnTo>
                    <a:lnTo>
                      <a:pt x="966259" y="15506285"/>
                    </a:lnTo>
                    <a:lnTo>
                      <a:pt x="1020608" y="15516997"/>
                    </a:lnTo>
                    <a:lnTo>
                      <a:pt x="1066831" y="15540329"/>
                    </a:lnTo>
                    <a:lnTo>
                      <a:pt x="1100195" y="15557119"/>
                    </a:lnTo>
                    <a:lnTo>
                      <a:pt x="1135985" y="15610427"/>
                    </a:lnTo>
                    <a:lnTo>
                      <a:pt x="1177006" y="15634187"/>
                    </a:lnTo>
                    <a:lnTo>
                      <a:pt x="1314661" y="15714269"/>
                    </a:lnTo>
                    <a:lnTo>
                      <a:pt x="1377042" y="15652586"/>
                    </a:lnTo>
                    <a:lnTo>
                      <a:pt x="1474891" y="15687229"/>
                    </a:lnTo>
                    <a:lnTo>
                      <a:pt x="1565346" y="15719282"/>
                    </a:lnTo>
                    <a:lnTo>
                      <a:pt x="1611610" y="15791963"/>
                    </a:lnTo>
                    <a:lnTo>
                      <a:pt x="1722444" y="15791963"/>
                    </a:lnTo>
                    <a:lnTo>
                      <a:pt x="1752964" y="15789247"/>
                    </a:lnTo>
                    <a:lnTo>
                      <a:pt x="1860508" y="15751373"/>
                    </a:lnTo>
                    <a:lnTo>
                      <a:pt x="1874786" y="15767484"/>
                    </a:lnTo>
                    <a:lnTo>
                      <a:pt x="1883009" y="15725400"/>
                    </a:lnTo>
                    <a:lnTo>
                      <a:pt x="2078734" y="15767444"/>
                    </a:lnTo>
                    <a:lnTo>
                      <a:pt x="2055698" y="15683148"/>
                    </a:lnTo>
                    <a:lnTo>
                      <a:pt x="2040265" y="15665208"/>
                    </a:lnTo>
                    <a:lnTo>
                      <a:pt x="2024537" y="15650338"/>
                    </a:lnTo>
                    <a:lnTo>
                      <a:pt x="1998565" y="15632823"/>
                    </a:lnTo>
                    <a:lnTo>
                      <a:pt x="1978101" y="15619223"/>
                    </a:lnTo>
                    <a:lnTo>
                      <a:pt x="1945878" y="15618842"/>
                    </a:lnTo>
                    <a:lnTo>
                      <a:pt x="1926476" y="15600176"/>
                    </a:lnTo>
                    <a:lnTo>
                      <a:pt x="1906223" y="15560734"/>
                    </a:lnTo>
                    <a:lnTo>
                      <a:pt x="1894129" y="15440357"/>
                    </a:lnTo>
                    <a:lnTo>
                      <a:pt x="2069362" y="15488769"/>
                    </a:lnTo>
                    <a:lnTo>
                      <a:pt x="2039375" y="15397510"/>
                    </a:lnTo>
                    <a:lnTo>
                      <a:pt x="2008088" y="15355472"/>
                    </a:lnTo>
                    <a:lnTo>
                      <a:pt x="1982691" y="15318405"/>
                    </a:lnTo>
                    <a:lnTo>
                      <a:pt x="2001289" y="15262848"/>
                    </a:lnTo>
                    <a:lnTo>
                      <a:pt x="2019795" y="15243256"/>
                    </a:lnTo>
                    <a:lnTo>
                      <a:pt x="2061138" y="15241085"/>
                    </a:lnTo>
                    <a:lnTo>
                      <a:pt x="2175797" y="15221961"/>
                    </a:lnTo>
                    <a:lnTo>
                      <a:pt x="2169229" y="15315639"/>
                    </a:lnTo>
                    <a:lnTo>
                      <a:pt x="2227080" y="15363506"/>
                    </a:lnTo>
                    <a:lnTo>
                      <a:pt x="2258662" y="15371328"/>
                    </a:lnTo>
                    <a:lnTo>
                      <a:pt x="2282912" y="15341526"/>
                    </a:lnTo>
                    <a:lnTo>
                      <a:pt x="2315490" y="15351258"/>
                    </a:lnTo>
                    <a:lnTo>
                      <a:pt x="2347542" y="15360783"/>
                    </a:lnTo>
                    <a:lnTo>
                      <a:pt x="2368176" y="15414597"/>
                    </a:lnTo>
                    <a:lnTo>
                      <a:pt x="2393026" y="15436952"/>
                    </a:lnTo>
                    <a:lnTo>
                      <a:pt x="2441183" y="15480308"/>
                    </a:lnTo>
                    <a:lnTo>
                      <a:pt x="2540178" y="15525623"/>
                    </a:lnTo>
                    <a:lnTo>
                      <a:pt x="2584813" y="15458715"/>
                    </a:lnTo>
                    <a:lnTo>
                      <a:pt x="2624362" y="15399336"/>
                    </a:lnTo>
                    <a:lnTo>
                      <a:pt x="2602751" y="15318451"/>
                    </a:lnTo>
                    <a:lnTo>
                      <a:pt x="2644662" y="15260132"/>
                    </a:lnTo>
                    <a:lnTo>
                      <a:pt x="2669676" y="15253838"/>
                    </a:lnTo>
                    <a:lnTo>
                      <a:pt x="2771713" y="15260349"/>
                    </a:lnTo>
                    <a:lnTo>
                      <a:pt x="2825144" y="15247423"/>
                    </a:lnTo>
                    <a:lnTo>
                      <a:pt x="2827584" y="15162284"/>
                    </a:lnTo>
                    <a:lnTo>
                      <a:pt x="2882699" y="15139076"/>
                    </a:lnTo>
                    <a:lnTo>
                      <a:pt x="2903669" y="15130230"/>
                    </a:lnTo>
                    <a:lnTo>
                      <a:pt x="2928367" y="15134695"/>
                    </a:lnTo>
                    <a:lnTo>
                      <a:pt x="2949346" y="15121393"/>
                    </a:lnTo>
                    <a:lnTo>
                      <a:pt x="2986007" y="15098185"/>
                    </a:lnTo>
                    <a:lnTo>
                      <a:pt x="3013382" y="15054442"/>
                    </a:lnTo>
                    <a:lnTo>
                      <a:pt x="3052721" y="15038425"/>
                    </a:lnTo>
                    <a:lnTo>
                      <a:pt x="3115229" y="15012876"/>
                    </a:lnTo>
                    <a:lnTo>
                      <a:pt x="3136647" y="15039572"/>
                    </a:lnTo>
                    <a:lnTo>
                      <a:pt x="3199623" y="14989451"/>
                    </a:lnTo>
                    <a:lnTo>
                      <a:pt x="3228608" y="14956383"/>
                    </a:lnTo>
                    <a:lnTo>
                      <a:pt x="3272371" y="14935088"/>
                    </a:lnTo>
                    <a:lnTo>
                      <a:pt x="3338511" y="14949717"/>
                    </a:lnTo>
                    <a:lnTo>
                      <a:pt x="3354682" y="14929600"/>
                    </a:lnTo>
                    <a:lnTo>
                      <a:pt x="3373727" y="14910563"/>
                    </a:lnTo>
                    <a:lnTo>
                      <a:pt x="3392412" y="14885870"/>
                    </a:lnTo>
                    <a:lnTo>
                      <a:pt x="3401763" y="14858839"/>
                    </a:lnTo>
                    <a:lnTo>
                      <a:pt x="3418613" y="14841196"/>
                    </a:lnTo>
                    <a:lnTo>
                      <a:pt x="3437297" y="14821681"/>
                    </a:lnTo>
                    <a:lnTo>
                      <a:pt x="3458994" y="14805958"/>
                    </a:lnTo>
                    <a:lnTo>
                      <a:pt x="3475744" y="14784071"/>
                    </a:lnTo>
                    <a:lnTo>
                      <a:pt x="3490175" y="14765322"/>
                    </a:lnTo>
                    <a:lnTo>
                      <a:pt x="3511490" y="14738843"/>
                    </a:lnTo>
                    <a:lnTo>
                      <a:pt x="3517912" y="14716057"/>
                    </a:lnTo>
                    <a:lnTo>
                      <a:pt x="3541396" y="14701016"/>
                    </a:lnTo>
                    <a:lnTo>
                      <a:pt x="3571556" y="14701562"/>
                    </a:lnTo>
                    <a:lnTo>
                      <a:pt x="3596801" y="14711983"/>
                    </a:lnTo>
                    <a:lnTo>
                      <a:pt x="3624512" y="14710110"/>
                    </a:lnTo>
                    <a:lnTo>
                      <a:pt x="3827504" y="14803499"/>
                    </a:lnTo>
                    <a:lnTo>
                      <a:pt x="3790987" y="14658721"/>
                    </a:lnTo>
                    <a:lnTo>
                      <a:pt x="3874281" y="14641252"/>
                    </a:lnTo>
                    <a:lnTo>
                      <a:pt x="3895643" y="14636787"/>
                    </a:lnTo>
                    <a:lnTo>
                      <a:pt x="3971155" y="14669182"/>
                    </a:lnTo>
                    <a:lnTo>
                      <a:pt x="4002143" y="14673898"/>
                    </a:lnTo>
                    <a:lnTo>
                      <a:pt x="4102756" y="14691841"/>
                    </a:lnTo>
                    <a:lnTo>
                      <a:pt x="4173783" y="14646356"/>
                    </a:lnTo>
                    <a:lnTo>
                      <a:pt x="4238814" y="14663015"/>
                    </a:lnTo>
                    <a:lnTo>
                      <a:pt x="4261007" y="14667861"/>
                    </a:lnTo>
                    <a:lnTo>
                      <a:pt x="4296243" y="14695962"/>
                    </a:lnTo>
                    <a:lnTo>
                      <a:pt x="4314986" y="14709266"/>
                    </a:lnTo>
                    <a:lnTo>
                      <a:pt x="4357298" y="14739317"/>
                    </a:lnTo>
                    <a:lnTo>
                      <a:pt x="4400528" y="14761887"/>
                    </a:lnTo>
                    <a:lnTo>
                      <a:pt x="4455088" y="14763672"/>
                    </a:lnTo>
                    <a:lnTo>
                      <a:pt x="4505776" y="14761418"/>
                    </a:lnTo>
                    <a:lnTo>
                      <a:pt x="4613081" y="14820884"/>
                    </a:lnTo>
                    <a:lnTo>
                      <a:pt x="4652316" y="14850725"/>
                    </a:lnTo>
                    <a:lnTo>
                      <a:pt x="4685685" y="14855316"/>
                    </a:lnTo>
                    <a:lnTo>
                      <a:pt x="4734587" y="14879842"/>
                    </a:lnTo>
                    <a:lnTo>
                      <a:pt x="4781555" y="14889110"/>
                    </a:lnTo>
                    <a:lnTo>
                      <a:pt x="4819621" y="14920097"/>
                    </a:lnTo>
                    <a:lnTo>
                      <a:pt x="5025310" y="15150393"/>
                    </a:lnTo>
                    <a:lnTo>
                      <a:pt x="5033170" y="15182614"/>
                    </a:lnTo>
                    <a:lnTo>
                      <a:pt x="5084454" y="15308089"/>
                    </a:lnTo>
                    <a:lnTo>
                      <a:pt x="5137673" y="15471868"/>
                    </a:lnTo>
                    <a:lnTo>
                      <a:pt x="5099817" y="15606998"/>
                    </a:lnTo>
                    <a:lnTo>
                      <a:pt x="5084860" y="15634199"/>
                    </a:lnTo>
                    <a:lnTo>
                      <a:pt x="5070867" y="15806651"/>
                    </a:lnTo>
                    <a:lnTo>
                      <a:pt x="5071255" y="15835511"/>
                    </a:lnTo>
                    <a:lnTo>
                      <a:pt x="5099712" y="15845752"/>
                    </a:lnTo>
                    <a:lnTo>
                      <a:pt x="5131509" y="15842605"/>
                    </a:lnTo>
                    <a:lnTo>
                      <a:pt x="5155507" y="15805122"/>
                    </a:lnTo>
                    <a:lnTo>
                      <a:pt x="5167832" y="15786543"/>
                    </a:lnTo>
                    <a:lnTo>
                      <a:pt x="5202562" y="15801888"/>
                    </a:lnTo>
                    <a:lnTo>
                      <a:pt x="5220201" y="15815698"/>
                    </a:lnTo>
                    <a:lnTo>
                      <a:pt x="5239921" y="15827353"/>
                    </a:lnTo>
                    <a:lnTo>
                      <a:pt x="5259560" y="15795042"/>
                    </a:lnTo>
                    <a:lnTo>
                      <a:pt x="5278582" y="15767372"/>
                    </a:lnTo>
                    <a:lnTo>
                      <a:pt x="5301452" y="15768861"/>
                    </a:lnTo>
                    <a:lnTo>
                      <a:pt x="5351759" y="15729840"/>
                    </a:lnTo>
                    <a:lnTo>
                      <a:pt x="5296348" y="15671738"/>
                    </a:lnTo>
                    <a:lnTo>
                      <a:pt x="5301129" y="15628761"/>
                    </a:lnTo>
                    <a:lnTo>
                      <a:pt x="5311395" y="15607081"/>
                    </a:lnTo>
                    <a:lnTo>
                      <a:pt x="5342082" y="15518538"/>
                    </a:lnTo>
                    <a:lnTo>
                      <a:pt x="5355920" y="15433529"/>
                    </a:lnTo>
                    <a:lnTo>
                      <a:pt x="5381382" y="15354002"/>
                    </a:lnTo>
                    <a:lnTo>
                      <a:pt x="5393325" y="15316684"/>
                    </a:lnTo>
                    <a:lnTo>
                      <a:pt x="5422595" y="15284583"/>
                    </a:lnTo>
                    <a:lnTo>
                      <a:pt x="5423550" y="15243823"/>
                    </a:lnTo>
                    <a:lnTo>
                      <a:pt x="5424545" y="15202207"/>
                    </a:lnTo>
                    <a:lnTo>
                      <a:pt x="5395747" y="15195283"/>
                    </a:lnTo>
                    <a:lnTo>
                      <a:pt x="5390904" y="15163574"/>
                    </a:lnTo>
                    <a:lnTo>
                      <a:pt x="5397790" y="15137473"/>
                    </a:lnTo>
                    <a:lnTo>
                      <a:pt x="5412046" y="15109379"/>
                    </a:lnTo>
                    <a:lnTo>
                      <a:pt x="5409944" y="15081963"/>
                    </a:lnTo>
                    <a:lnTo>
                      <a:pt x="5407265" y="15047361"/>
                    </a:lnTo>
                    <a:lnTo>
                      <a:pt x="5382827" y="15015059"/>
                    </a:lnTo>
                    <a:lnTo>
                      <a:pt x="5380024" y="14978586"/>
                    </a:lnTo>
                    <a:lnTo>
                      <a:pt x="5377959" y="14951760"/>
                    </a:lnTo>
                    <a:lnTo>
                      <a:pt x="5383868" y="14874487"/>
                    </a:lnTo>
                    <a:lnTo>
                      <a:pt x="5364195" y="14829089"/>
                    </a:lnTo>
                    <a:lnTo>
                      <a:pt x="5329552" y="14820757"/>
                    </a:lnTo>
                    <a:lnTo>
                      <a:pt x="5312015" y="14799035"/>
                    </a:lnTo>
                    <a:lnTo>
                      <a:pt x="5331952" y="14788753"/>
                    </a:lnTo>
                    <a:lnTo>
                      <a:pt x="5360437" y="14811790"/>
                    </a:lnTo>
                    <a:lnTo>
                      <a:pt x="5381388" y="14804482"/>
                    </a:lnTo>
                    <a:lnTo>
                      <a:pt x="5404174" y="14768863"/>
                    </a:lnTo>
                    <a:lnTo>
                      <a:pt x="5405808" y="14591776"/>
                    </a:lnTo>
                    <a:lnTo>
                      <a:pt x="5393635" y="14567805"/>
                    </a:lnTo>
                    <a:lnTo>
                      <a:pt x="5352081" y="14539032"/>
                    </a:lnTo>
                    <a:lnTo>
                      <a:pt x="5344668" y="14480753"/>
                    </a:lnTo>
                    <a:lnTo>
                      <a:pt x="5323348" y="14465154"/>
                    </a:lnTo>
                    <a:lnTo>
                      <a:pt x="5298847" y="14485600"/>
                    </a:lnTo>
                    <a:lnTo>
                      <a:pt x="5285412" y="14522577"/>
                    </a:lnTo>
                    <a:lnTo>
                      <a:pt x="5268449" y="14646272"/>
                    </a:lnTo>
                    <a:lnTo>
                      <a:pt x="5249452" y="14658941"/>
                    </a:lnTo>
                    <a:lnTo>
                      <a:pt x="5230920" y="14637004"/>
                    </a:lnTo>
                    <a:lnTo>
                      <a:pt x="5250639" y="14565086"/>
                    </a:lnTo>
                    <a:lnTo>
                      <a:pt x="5226328" y="14531079"/>
                    </a:lnTo>
                    <a:lnTo>
                      <a:pt x="5161786" y="14525473"/>
                    </a:lnTo>
                    <a:lnTo>
                      <a:pt x="5168604" y="14574518"/>
                    </a:lnTo>
                    <a:lnTo>
                      <a:pt x="5142001" y="14599090"/>
                    </a:lnTo>
                    <a:lnTo>
                      <a:pt x="5103771" y="14563892"/>
                    </a:lnTo>
                    <a:lnTo>
                      <a:pt x="5135722" y="14482704"/>
                    </a:lnTo>
                    <a:lnTo>
                      <a:pt x="5103907" y="14450823"/>
                    </a:lnTo>
                    <a:lnTo>
                      <a:pt x="5082144" y="14448101"/>
                    </a:lnTo>
                    <a:lnTo>
                      <a:pt x="5011903" y="14472884"/>
                    </a:lnTo>
                    <a:lnTo>
                      <a:pt x="5037874" y="14595298"/>
                    </a:lnTo>
                    <a:lnTo>
                      <a:pt x="5025013" y="14650774"/>
                    </a:lnTo>
                    <a:lnTo>
                      <a:pt x="4997176" y="14646818"/>
                    </a:lnTo>
                    <a:lnTo>
                      <a:pt x="4978771" y="14631730"/>
                    </a:lnTo>
                    <a:lnTo>
                      <a:pt x="4949997" y="14593308"/>
                    </a:lnTo>
                    <a:lnTo>
                      <a:pt x="4936990" y="14563545"/>
                    </a:lnTo>
                    <a:lnTo>
                      <a:pt x="4920287" y="14533795"/>
                    </a:lnTo>
                    <a:lnTo>
                      <a:pt x="4906384" y="14509012"/>
                    </a:lnTo>
                    <a:lnTo>
                      <a:pt x="4884212" y="14489333"/>
                    </a:lnTo>
                    <a:lnTo>
                      <a:pt x="4868594" y="14467139"/>
                    </a:lnTo>
                    <a:lnTo>
                      <a:pt x="4860213" y="14440622"/>
                    </a:lnTo>
                    <a:lnTo>
                      <a:pt x="4871314" y="14419538"/>
                    </a:lnTo>
                    <a:lnTo>
                      <a:pt x="4957324" y="14406659"/>
                    </a:lnTo>
                    <a:lnTo>
                      <a:pt x="4943638" y="14287640"/>
                    </a:lnTo>
                    <a:lnTo>
                      <a:pt x="5004614" y="14239993"/>
                    </a:lnTo>
                    <a:lnTo>
                      <a:pt x="5055429" y="14216357"/>
                    </a:lnTo>
                    <a:lnTo>
                      <a:pt x="5082057" y="14184027"/>
                    </a:lnTo>
                    <a:lnTo>
                      <a:pt x="5087697" y="14149338"/>
                    </a:lnTo>
                    <a:lnTo>
                      <a:pt x="5101191" y="14118937"/>
                    </a:lnTo>
                    <a:lnTo>
                      <a:pt x="5069838" y="14129131"/>
                    </a:lnTo>
                    <a:lnTo>
                      <a:pt x="5046776" y="14105331"/>
                    </a:lnTo>
                    <a:lnTo>
                      <a:pt x="5026991" y="14097936"/>
                    </a:lnTo>
                    <a:lnTo>
                      <a:pt x="5005209" y="14103973"/>
                    </a:lnTo>
                    <a:lnTo>
                      <a:pt x="4955305" y="14103973"/>
                    </a:lnTo>
                    <a:lnTo>
                      <a:pt x="4860496" y="14070778"/>
                    </a:lnTo>
                    <a:lnTo>
                      <a:pt x="4842751" y="14045487"/>
                    </a:lnTo>
                    <a:lnTo>
                      <a:pt x="4833952" y="14018239"/>
                    </a:lnTo>
                    <a:lnTo>
                      <a:pt x="4838897" y="13914521"/>
                    </a:lnTo>
                    <a:lnTo>
                      <a:pt x="4878712" y="13792786"/>
                    </a:lnTo>
                    <a:lnTo>
                      <a:pt x="4876758" y="13713594"/>
                    </a:lnTo>
                    <a:lnTo>
                      <a:pt x="4873884" y="13597003"/>
                    </a:lnTo>
                    <a:lnTo>
                      <a:pt x="4821177" y="13442153"/>
                    </a:lnTo>
                    <a:lnTo>
                      <a:pt x="4848189" y="13332743"/>
                    </a:lnTo>
                    <a:lnTo>
                      <a:pt x="4866061" y="13260267"/>
                    </a:lnTo>
                    <a:lnTo>
                      <a:pt x="4945932" y="13260992"/>
                    </a:lnTo>
                    <a:lnTo>
                      <a:pt x="4988292" y="13215764"/>
                    </a:lnTo>
                    <a:lnTo>
                      <a:pt x="4985576" y="13194001"/>
                    </a:lnTo>
                    <a:lnTo>
                      <a:pt x="4974820" y="13175937"/>
                    </a:lnTo>
                    <a:lnTo>
                      <a:pt x="4951296" y="13170067"/>
                    </a:lnTo>
                    <a:lnTo>
                      <a:pt x="4894354" y="13089688"/>
                    </a:lnTo>
                    <a:lnTo>
                      <a:pt x="4948341" y="12951802"/>
                    </a:lnTo>
                    <a:lnTo>
                      <a:pt x="4984209" y="12892032"/>
                    </a:lnTo>
                    <a:lnTo>
                      <a:pt x="5014350" y="12858288"/>
                    </a:lnTo>
                    <a:lnTo>
                      <a:pt x="5032268" y="12836010"/>
                    </a:lnTo>
                    <a:lnTo>
                      <a:pt x="5013116" y="12755848"/>
                    </a:lnTo>
                    <a:lnTo>
                      <a:pt x="4952270" y="12701315"/>
                    </a:lnTo>
                    <a:lnTo>
                      <a:pt x="4977409" y="12632240"/>
                    </a:lnTo>
                    <a:lnTo>
                      <a:pt x="5005981" y="12628156"/>
                    </a:lnTo>
                    <a:lnTo>
                      <a:pt x="5019664" y="12644996"/>
                    </a:lnTo>
                    <a:lnTo>
                      <a:pt x="5033862" y="12668920"/>
                    </a:lnTo>
                    <a:lnTo>
                      <a:pt x="5044060" y="12704328"/>
                    </a:lnTo>
                    <a:lnTo>
                      <a:pt x="5068650" y="12728854"/>
                    </a:lnTo>
                    <a:lnTo>
                      <a:pt x="5110285" y="12708706"/>
                    </a:lnTo>
                    <a:lnTo>
                      <a:pt x="5139276" y="12719292"/>
                    </a:lnTo>
                    <a:lnTo>
                      <a:pt x="5159206" y="12754958"/>
                    </a:lnTo>
                    <a:lnTo>
                      <a:pt x="5154623" y="12780290"/>
                    </a:lnTo>
                    <a:lnTo>
                      <a:pt x="5162397" y="12804986"/>
                    </a:lnTo>
                    <a:lnTo>
                      <a:pt x="5187201" y="12828615"/>
                    </a:lnTo>
                    <a:lnTo>
                      <a:pt x="5213593" y="12880386"/>
                    </a:lnTo>
                    <a:lnTo>
                      <a:pt x="5156595" y="12913888"/>
                    </a:lnTo>
                    <a:lnTo>
                      <a:pt x="5150159" y="12957330"/>
                    </a:lnTo>
                    <a:lnTo>
                      <a:pt x="5145719" y="12987297"/>
                    </a:lnTo>
                    <a:lnTo>
                      <a:pt x="5124464" y="13060152"/>
                    </a:lnTo>
                    <a:lnTo>
                      <a:pt x="5128396" y="13083825"/>
                    </a:lnTo>
                    <a:lnTo>
                      <a:pt x="5133136" y="13112176"/>
                    </a:lnTo>
                    <a:lnTo>
                      <a:pt x="5165293" y="13120632"/>
                    </a:lnTo>
                    <a:lnTo>
                      <a:pt x="5169196" y="13158639"/>
                    </a:lnTo>
                    <a:lnTo>
                      <a:pt x="5173490" y="13200425"/>
                    </a:lnTo>
                    <a:lnTo>
                      <a:pt x="5138894" y="13237270"/>
                    </a:lnTo>
                    <a:lnTo>
                      <a:pt x="5137911" y="13278337"/>
                    </a:lnTo>
                    <a:lnTo>
                      <a:pt x="5146946" y="13317351"/>
                    </a:lnTo>
                    <a:lnTo>
                      <a:pt x="5174597" y="13341542"/>
                    </a:lnTo>
                    <a:lnTo>
                      <a:pt x="5196084" y="13352549"/>
                    </a:lnTo>
                    <a:lnTo>
                      <a:pt x="5212722" y="13368105"/>
                    </a:lnTo>
                    <a:lnTo>
                      <a:pt x="5260208" y="13412608"/>
                    </a:lnTo>
                    <a:lnTo>
                      <a:pt x="5316865" y="13502977"/>
                    </a:lnTo>
                    <a:lnTo>
                      <a:pt x="5339226" y="13563975"/>
                    </a:lnTo>
                    <a:lnTo>
                      <a:pt x="5363622" y="13630535"/>
                    </a:lnTo>
                    <a:lnTo>
                      <a:pt x="5316396" y="13686476"/>
                    </a:lnTo>
                    <a:lnTo>
                      <a:pt x="5335152" y="13744885"/>
                    </a:lnTo>
                    <a:lnTo>
                      <a:pt x="5364862" y="13735230"/>
                    </a:lnTo>
                    <a:lnTo>
                      <a:pt x="5367156" y="13706918"/>
                    </a:lnTo>
                    <a:lnTo>
                      <a:pt x="5407154" y="13659107"/>
                    </a:lnTo>
                    <a:lnTo>
                      <a:pt x="5471230" y="13667436"/>
                    </a:lnTo>
                    <a:lnTo>
                      <a:pt x="5505176" y="13633348"/>
                    </a:lnTo>
                    <a:lnTo>
                      <a:pt x="5514019" y="13610943"/>
                    </a:lnTo>
                    <a:lnTo>
                      <a:pt x="5502286" y="13578424"/>
                    </a:lnTo>
                    <a:lnTo>
                      <a:pt x="5505176" y="13553092"/>
                    </a:lnTo>
                    <a:lnTo>
                      <a:pt x="5520942" y="13536730"/>
                    </a:lnTo>
                    <a:lnTo>
                      <a:pt x="5543852" y="13541704"/>
                    </a:lnTo>
                    <a:lnTo>
                      <a:pt x="5582619" y="13564654"/>
                    </a:lnTo>
                    <a:lnTo>
                      <a:pt x="5642256" y="13549440"/>
                    </a:lnTo>
                    <a:lnTo>
                      <a:pt x="5672480" y="13502766"/>
                    </a:lnTo>
                    <a:lnTo>
                      <a:pt x="5704695" y="13475689"/>
                    </a:lnTo>
                    <a:lnTo>
                      <a:pt x="5779977" y="13459451"/>
                    </a:lnTo>
                    <a:lnTo>
                      <a:pt x="5789456" y="13412992"/>
                    </a:lnTo>
                    <a:lnTo>
                      <a:pt x="5779193" y="13336054"/>
                    </a:lnTo>
                    <a:lnTo>
                      <a:pt x="5688374" y="13374821"/>
                    </a:lnTo>
                    <a:lnTo>
                      <a:pt x="5647995" y="13342262"/>
                    </a:lnTo>
                    <a:lnTo>
                      <a:pt x="5558264" y="13223373"/>
                    </a:lnTo>
                    <a:lnTo>
                      <a:pt x="5540181" y="13178148"/>
                    </a:lnTo>
                    <a:lnTo>
                      <a:pt x="5545489" y="13111029"/>
                    </a:lnTo>
                    <a:lnTo>
                      <a:pt x="5563665" y="13086544"/>
                    </a:lnTo>
                    <a:lnTo>
                      <a:pt x="5585422" y="13070219"/>
                    </a:lnTo>
                    <a:lnTo>
                      <a:pt x="5612118" y="13055944"/>
                    </a:lnTo>
                    <a:lnTo>
                      <a:pt x="5644445" y="13052158"/>
                    </a:lnTo>
                    <a:lnTo>
                      <a:pt x="5672480" y="13041660"/>
                    </a:lnTo>
                    <a:lnTo>
                      <a:pt x="5698404" y="13031924"/>
                    </a:lnTo>
                    <a:lnTo>
                      <a:pt x="5720062" y="13007907"/>
                    </a:lnTo>
                    <a:lnTo>
                      <a:pt x="5745927" y="13000850"/>
                    </a:lnTo>
                    <a:lnTo>
                      <a:pt x="5769051" y="12994525"/>
                    </a:lnTo>
                    <a:lnTo>
                      <a:pt x="5807880" y="13009054"/>
                    </a:lnTo>
                    <a:lnTo>
                      <a:pt x="5833556" y="12992224"/>
                    </a:lnTo>
                    <a:lnTo>
                      <a:pt x="5853173" y="12952223"/>
                    </a:lnTo>
                    <a:lnTo>
                      <a:pt x="5875150" y="12930125"/>
                    </a:lnTo>
                    <a:lnTo>
                      <a:pt x="5905071" y="12949172"/>
                    </a:lnTo>
                    <a:lnTo>
                      <a:pt x="5898442" y="13049737"/>
                    </a:lnTo>
                    <a:lnTo>
                      <a:pt x="5939416" y="13008632"/>
                    </a:lnTo>
                    <a:lnTo>
                      <a:pt x="5982601" y="13057987"/>
                    </a:lnTo>
                    <a:lnTo>
                      <a:pt x="6003365" y="13081704"/>
                    </a:lnTo>
                    <a:lnTo>
                      <a:pt x="5998711" y="13112772"/>
                    </a:lnTo>
                    <a:lnTo>
                      <a:pt x="6013886" y="13138234"/>
                    </a:lnTo>
                    <a:lnTo>
                      <a:pt x="6044045" y="13126377"/>
                    </a:lnTo>
                    <a:lnTo>
                      <a:pt x="6038055" y="13102701"/>
                    </a:lnTo>
                    <a:lnTo>
                      <a:pt x="6035649" y="13081109"/>
                    </a:lnTo>
                    <a:lnTo>
                      <a:pt x="6039342" y="13045700"/>
                    </a:lnTo>
                    <a:lnTo>
                      <a:pt x="6037773" y="13018030"/>
                    </a:lnTo>
                    <a:lnTo>
                      <a:pt x="6014115" y="12978578"/>
                    </a:lnTo>
                    <a:lnTo>
                      <a:pt x="5996727" y="12938500"/>
                    </a:lnTo>
                    <a:lnTo>
                      <a:pt x="5976217" y="12897098"/>
                    </a:lnTo>
                    <a:lnTo>
                      <a:pt x="5971712" y="12868917"/>
                    </a:lnTo>
                    <a:lnTo>
                      <a:pt x="5963297" y="12816250"/>
                    </a:lnTo>
                    <a:lnTo>
                      <a:pt x="5988653" y="12696679"/>
                    </a:lnTo>
                    <a:lnTo>
                      <a:pt x="6016596" y="12649929"/>
                    </a:lnTo>
                    <a:lnTo>
                      <a:pt x="6057681" y="12707863"/>
                    </a:lnTo>
                    <a:lnTo>
                      <a:pt x="6018937" y="12780039"/>
                    </a:lnTo>
                    <a:lnTo>
                      <a:pt x="6034284" y="12809069"/>
                    </a:lnTo>
                    <a:lnTo>
                      <a:pt x="6079063" y="12842652"/>
                    </a:lnTo>
                    <a:lnTo>
                      <a:pt x="6084610" y="12890680"/>
                    </a:lnTo>
                    <a:lnTo>
                      <a:pt x="6103189" y="12864071"/>
                    </a:lnTo>
                    <a:lnTo>
                      <a:pt x="6156640" y="12740376"/>
                    </a:lnTo>
                    <a:lnTo>
                      <a:pt x="6153790" y="12703181"/>
                    </a:lnTo>
                    <a:lnTo>
                      <a:pt x="6129513" y="12688184"/>
                    </a:lnTo>
                    <a:lnTo>
                      <a:pt x="6125411" y="12663525"/>
                    </a:lnTo>
                    <a:lnTo>
                      <a:pt x="6120862" y="12636236"/>
                    </a:lnTo>
                    <a:lnTo>
                      <a:pt x="6125380" y="12611326"/>
                    </a:lnTo>
                    <a:lnTo>
                      <a:pt x="6130858" y="12584630"/>
                    </a:lnTo>
                    <a:lnTo>
                      <a:pt x="6149812" y="12492270"/>
                    </a:lnTo>
                    <a:lnTo>
                      <a:pt x="6200225" y="12502511"/>
                    </a:lnTo>
                    <a:lnTo>
                      <a:pt x="6275039" y="12526147"/>
                    </a:lnTo>
                    <a:lnTo>
                      <a:pt x="6296591" y="12532947"/>
                    </a:lnTo>
                    <a:lnTo>
                      <a:pt x="6323709" y="12538050"/>
                    </a:lnTo>
                    <a:lnTo>
                      <a:pt x="6343050" y="12549268"/>
                    </a:lnTo>
                    <a:lnTo>
                      <a:pt x="6385593" y="12574008"/>
                    </a:lnTo>
                    <a:lnTo>
                      <a:pt x="6411954" y="12650053"/>
                    </a:lnTo>
                    <a:lnTo>
                      <a:pt x="6435544" y="12692087"/>
                    </a:lnTo>
                    <a:lnTo>
                      <a:pt x="6461830" y="12727459"/>
                    </a:lnTo>
                    <a:lnTo>
                      <a:pt x="6473622" y="12745138"/>
                    </a:lnTo>
                    <a:lnTo>
                      <a:pt x="6498129" y="12716873"/>
                    </a:lnTo>
                    <a:lnTo>
                      <a:pt x="6499620" y="12661404"/>
                    </a:lnTo>
                    <a:lnTo>
                      <a:pt x="6525315" y="12647203"/>
                    </a:lnTo>
                    <a:lnTo>
                      <a:pt x="6545506" y="12655454"/>
                    </a:lnTo>
                    <a:lnTo>
                      <a:pt x="6555025" y="12681127"/>
                    </a:lnTo>
                    <a:lnTo>
                      <a:pt x="6576999" y="12692087"/>
                    </a:lnTo>
                    <a:lnTo>
                      <a:pt x="6607375" y="12669177"/>
                    </a:lnTo>
                    <a:lnTo>
                      <a:pt x="6599084" y="12645588"/>
                    </a:lnTo>
                    <a:lnTo>
                      <a:pt x="6606370" y="12606527"/>
                    </a:lnTo>
                    <a:lnTo>
                      <a:pt x="6624205" y="12592797"/>
                    </a:lnTo>
                    <a:lnTo>
                      <a:pt x="6609986" y="12546890"/>
                    </a:lnTo>
                    <a:lnTo>
                      <a:pt x="6595940" y="12519521"/>
                    </a:lnTo>
                    <a:lnTo>
                      <a:pt x="6589246" y="12492146"/>
                    </a:lnTo>
                    <a:lnTo>
                      <a:pt x="6594895" y="12460982"/>
                    </a:lnTo>
                    <a:lnTo>
                      <a:pt x="6628564" y="12428550"/>
                    </a:lnTo>
                    <a:lnTo>
                      <a:pt x="6639572" y="12395569"/>
                    </a:lnTo>
                    <a:lnTo>
                      <a:pt x="6649075" y="12367047"/>
                    </a:lnTo>
                    <a:lnTo>
                      <a:pt x="6653003" y="12270392"/>
                    </a:lnTo>
                    <a:lnTo>
                      <a:pt x="6672215" y="12247308"/>
                    </a:lnTo>
                    <a:lnTo>
                      <a:pt x="6700483" y="12268473"/>
                    </a:lnTo>
                    <a:lnTo>
                      <a:pt x="6720332" y="12311233"/>
                    </a:lnTo>
                    <a:lnTo>
                      <a:pt x="6734102" y="12341194"/>
                    </a:lnTo>
                    <a:lnTo>
                      <a:pt x="6745661" y="12375164"/>
                    </a:lnTo>
                    <a:lnTo>
                      <a:pt x="6742247" y="12408443"/>
                    </a:lnTo>
                    <a:lnTo>
                      <a:pt x="6704820" y="12423366"/>
                    </a:lnTo>
                    <a:lnTo>
                      <a:pt x="6710302" y="12462216"/>
                    </a:lnTo>
                    <a:lnTo>
                      <a:pt x="6719548" y="12481812"/>
                    </a:lnTo>
                    <a:lnTo>
                      <a:pt x="6740586" y="12489033"/>
                    </a:lnTo>
                    <a:lnTo>
                      <a:pt x="6749745" y="12511184"/>
                    </a:lnTo>
                    <a:lnTo>
                      <a:pt x="6774463" y="12571071"/>
                    </a:lnTo>
                    <a:lnTo>
                      <a:pt x="6740248" y="12599126"/>
                    </a:lnTo>
                    <a:lnTo>
                      <a:pt x="6744303" y="12652645"/>
                    </a:lnTo>
                    <a:lnTo>
                      <a:pt x="6773613" y="12629688"/>
                    </a:lnTo>
                    <a:lnTo>
                      <a:pt x="6804517" y="12610009"/>
                    </a:lnTo>
                    <a:lnTo>
                      <a:pt x="6834081" y="12588714"/>
                    </a:lnTo>
                    <a:lnTo>
                      <a:pt x="6864708" y="12566693"/>
                    </a:lnTo>
                    <a:lnTo>
                      <a:pt x="6892629" y="12535281"/>
                    </a:lnTo>
                    <a:lnTo>
                      <a:pt x="6919768" y="12509819"/>
                    </a:lnTo>
                    <a:lnTo>
                      <a:pt x="6957239" y="12484019"/>
                    </a:lnTo>
                    <a:lnTo>
                      <a:pt x="6994437" y="12451460"/>
                    </a:lnTo>
                    <a:lnTo>
                      <a:pt x="7015452" y="12430206"/>
                    </a:lnTo>
                    <a:lnTo>
                      <a:pt x="7038108" y="12411884"/>
                    </a:lnTo>
                    <a:lnTo>
                      <a:pt x="7066566" y="12388934"/>
                    </a:lnTo>
                    <a:lnTo>
                      <a:pt x="7105568" y="12377880"/>
                    </a:lnTo>
                    <a:lnTo>
                      <a:pt x="7131960" y="12352037"/>
                    </a:lnTo>
                    <a:lnTo>
                      <a:pt x="7148282" y="12330274"/>
                    </a:lnTo>
                    <a:lnTo>
                      <a:pt x="7164222" y="12303708"/>
                    </a:lnTo>
                    <a:lnTo>
                      <a:pt x="7180292" y="12272039"/>
                    </a:lnTo>
                    <a:lnTo>
                      <a:pt x="7198613" y="12247302"/>
                    </a:lnTo>
                    <a:lnTo>
                      <a:pt x="7219077" y="12219670"/>
                    </a:lnTo>
                    <a:lnTo>
                      <a:pt x="7244245" y="12194682"/>
                    </a:lnTo>
                    <a:lnTo>
                      <a:pt x="7262544" y="12165692"/>
                    </a:lnTo>
                    <a:lnTo>
                      <a:pt x="7279607" y="12138658"/>
                    </a:lnTo>
                    <a:lnTo>
                      <a:pt x="7299820" y="12095125"/>
                    </a:lnTo>
                    <a:lnTo>
                      <a:pt x="7311512" y="12065031"/>
                    </a:lnTo>
                    <a:lnTo>
                      <a:pt x="7342667" y="11965958"/>
                    </a:lnTo>
                    <a:lnTo>
                      <a:pt x="7440918" y="11823092"/>
                    </a:lnTo>
                    <a:lnTo>
                      <a:pt x="7511456" y="11749472"/>
                    </a:lnTo>
                    <a:lnTo>
                      <a:pt x="7548099" y="11711254"/>
                    </a:lnTo>
                    <a:lnTo>
                      <a:pt x="7656598" y="11621101"/>
                    </a:lnTo>
                    <a:lnTo>
                      <a:pt x="7674680" y="11576726"/>
                    </a:lnTo>
                    <a:lnTo>
                      <a:pt x="7727961" y="11544253"/>
                    </a:lnTo>
                    <a:lnTo>
                      <a:pt x="7756675" y="11517347"/>
                    </a:lnTo>
                    <a:lnTo>
                      <a:pt x="7775338" y="11488307"/>
                    </a:lnTo>
                    <a:lnTo>
                      <a:pt x="7822392" y="11424766"/>
                    </a:lnTo>
                    <a:lnTo>
                      <a:pt x="7903854" y="11342641"/>
                    </a:lnTo>
                    <a:lnTo>
                      <a:pt x="7968483" y="11297881"/>
                    </a:lnTo>
                    <a:lnTo>
                      <a:pt x="8003910" y="11270636"/>
                    </a:lnTo>
                    <a:lnTo>
                      <a:pt x="8058406" y="11184561"/>
                    </a:lnTo>
                    <a:lnTo>
                      <a:pt x="8070625" y="11042678"/>
                    </a:lnTo>
                    <a:lnTo>
                      <a:pt x="8096345" y="11004076"/>
                    </a:lnTo>
                    <a:lnTo>
                      <a:pt x="8119698" y="10969011"/>
                    </a:lnTo>
                    <a:lnTo>
                      <a:pt x="8160766" y="10969479"/>
                    </a:lnTo>
                    <a:lnTo>
                      <a:pt x="8186116" y="10933348"/>
                    </a:lnTo>
                    <a:lnTo>
                      <a:pt x="8243564" y="10851524"/>
                    </a:lnTo>
                    <a:lnTo>
                      <a:pt x="8258229" y="10744792"/>
                    </a:lnTo>
                    <a:lnTo>
                      <a:pt x="8318058" y="10664031"/>
                    </a:lnTo>
                    <a:lnTo>
                      <a:pt x="8342692" y="10640653"/>
                    </a:lnTo>
                    <a:lnTo>
                      <a:pt x="8379543" y="10588157"/>
                    </a:lnTo>
                    <a:lnTo>
                      <a:pt x="8401135" y="10543273"/>
                    </a:lnTo>
                    <a:lnTo>
                      <a:pt x="8429593" y="10504891"/>
                    </a:lnTo>
                    <a:lnTo>
                      <a:pt x="8462363" y="10460599"/>
                    </a:lnTo>
                    <a:lnTo>
                      <a:pt x="8512313" y="10428291"/>
                    </a:lnTo>
                    <a:lnTo>
                      <a:pt x="8545207" y="10383834"/>
                    </a:lnTo>
                    <a:lnTo>
                      <a:pt x="8587335" y="10326957"/>
                    </a:lnTo>
                    <a:lnTo>
                      <a:pt x="8688408" y="10068564"/>
                    </a:lnTo>
                    <a:lnTo>
                      <a:pt x="8674427" y="10005693"/>
                    </a:lnTo>
                    <a:lnTo>
                      <a:pt x="8662437" y="9981338"/>
                    </a:lnTo>
                    <a:lnTo>
                      <a:pt x="8618403" y="9965103"/>
                    </a:lnTo>
                    <a:lnTo>
                      <a:pt x="8514666" y="9908183"/>
                    </a:lnTo>
                    <a:lnTo>
                      <a:pt x="8552007" y="9854710"/>
                    </a:lnTo>
                    <a:lnTo>
                      <a:pt x="8621637" y="9829552"/>
                    </a:lnTo>
                    <a:lnTo>
                      <a:pt x="8695576" y="9930203"/>
                    </a:lnTo>
                    <a:lnTo>
                      <a:pt x="8751957" y="9924083"/>
                    </a:lnTo>
                    <a:lnTo>
                      <a:pt x="8763309" y="9906146"/>
                    </a:lnTo>
                    <a:lnTo>
                      <a:pt x="8770028" y="9869205"/>
                    </a:lnTo>
                    <a:lnTo>
                      <a:pt x="8775085" y="9847911"/>
                    </a:lnTo>
                    <a:lnTo>
                      <a:pt x="8794659" y="9823385"/>
                    </a:lnTo>
                    <a:lnTo>
                      <a:pt x="8814701" y="9804769"/>
                    </a:lnTo>
                    <a:lnTo>
                      <a:pt x="8836293" y="9796221"/>
                    </a:lnTo>
                    <a:lnTo>
                      <a:pt x="8871166" y="9773825"/>
                    </a:lnTo>
                    <a:lnTo>
                      <a:pt x="8906022" y="9744794"/>
                    </a:lnTo>
                    <a:lnTo>
                      <a:pt x="8935586" y="9715974"/>
                    </a:lnTo>
                    <a:lnTo>
                      <a:pt x="8946811" y="9678950"/>
                    </a:lnTo>
                    <a:lnTo>
                      <a:pt x="8963768" y="9640311"/>
                    </a:lnTo>
                    <a:lnTo>
                      <a:pt x="8972313" y="9598992"/>
                    </a:lnTo>
                    <a:lnTo>
                      <a:pt x="8981367" y="9555172"/>
                    </a:lnTo>
                    <a:lnTo>
                      <a:pt x="8984514" y="9506415"/>
                    </a:lnTo>
                    <a:lnTo>
                      <a:pt x="9000875" y="9464331"/>
                    </a:lnTo>
                    <a:lnTo>
                      <a:pt x="9011737" y="9436450"/>
                    </a:lnTo>
                    <a:lnTo>
                      <a:pt x="9032439" y="9407971"/>
                    </a:lnTo>
                    <a:lnTo>
                      <a:pt x="9040321" y="9380004"/>
                    </a:lnTo>
                    <a:lnTo>
                      <a:pt x="9045034" y="9348974"/>
                    </a:lnTo>
                    <a:lnTo>
                      <a:pt x="9032241" y="9319304"/>
                    </a:lnTo>
                    <a:lnTo>
                      <a:pt x="9008314" y="9300180"/>
                    </a:lnTo>
                    <a:lnTo>
                      <a:pt x="8983912" y="9245256"/>
                    </a:lnTo>
                    <a:lnTo>
                      <a:pt x="9011157" y="9201817"/>
                    </a:lnTo>
                    <a:lnTo>
                      <a:pt x="8994070" y="9162371"/>
                    </a:lnTo>
                    <a:lnTo>
                      <a:pt x="8976027" y="9120718"/>
                    </a:lnTo>
                    <a:lnTo>
                      <a:pt x="8903384" y="9125049"/>
                    </a:lnTo>
                    <a:lnTo>
                      <a:pt x="8883897" y="9053556"/>
                    </a:lnTo>
                    <a:lnTo>
                      <a:pt x="8881580" y="9028773"/>
                    </a:lnTo>
                    <a:lnTo>
                      <a:pt x="8901635" y="8986651"/>
                    </a:lnTo>
                    <a:lnTo>
                      <a:pt x="8932731" y="8964464"/>
                    </a:lnTo>
                    <a:lnTo>
                      <a:pt x="8953260" y="8936574"/>
                    </a:lnTo>
                    <a:lnTo>
                      <a:pt x="8985159" y="8893265"/>
                    </a:lnTo>
                    <a:lnTo>
                      <a:pt x="9012363" y="8800554"/>
                    </a:lnTo>
                    <a:lnTo>
                      <a:pt x="9066158" y="8782875"/>
                    </a:lnTo>
                    <a:lnTo>
                      <a:pt x="9125138" y="8763536"/>
                    </a:lnTo>
                    <a:lnTo>
                      <a:pt x="9145543" y="8836775"/>
                    </a:lnTo>
                    <a:lnTo>
                      <a:pt x="9234824" y="8803280"/>
                    </a:lnTo>
                    <a:lnTo>
                      <a:pt x="9295199" y="8780624"/>
                    </a:lnTo>
                    <a:lnTo>
                      <a:pt x="9377392" y="8744319"/>
                    </a:lnTo>
                    <a:lnTo>
                      <a:pt x="9429333" y="8705345"/>
                    </a:lnTo>
                    <a:lnTo>
                      <a:pt x="9458832" y="8683200"/>
                    </a:lnTo>
                    <a:lnTo>
                      <a:pt x="9486592" y="8649196"/>
                    </a:lnTo>
                    <a:lnTo>
                      <a:pt x="9521827" y="8635972"/>
                    </a:lnTo>
                    <a:lnTo>
                      <a:pt x="9566922" y="8619055"/>
                    </a:lnTo>
                    <a:lnTo>
                      <a:pt x="9588133" y="8650256"/>
                    </a:lnTo>
                    <a:lnTo>
                      <a:pt x="9618397" y="8641414"/>
                    </a:lnTo>
                    <a:lnTo>
                      <a:pt x="9669281" y="8601797"/>
                    </a:lnTo>
                    <a:lnTo>
                      <a:pt x="9758268" y="8539358"/>
                    </a:lnTo>
                    <a:lnTo>
                      <a:pt x="9818348" y="8518999"/>
                    </a:lnTo>
                    <a:lnTo>
                      <a:pt x="9856222" y="8506160"/>
                    </a:lnTo>
                    <a:lnTo>
                      <a:pt x="9898151" y="8498039"/>
                    </a:lnTo>
                    <a:lnTo>
                      <a:pt x="9935327" y="8483631"/>
                    </a:lnTo>
                    <a:lnTo>
                      <a:pt x="9956709" y="8475340"/>
                    </a:lnTo>
                    <a:lnTo>
                      <a:pt x="9978769" y="8466122"/>
                    </a:lnTo>
                    <a:lnTo>
                      <a:pt x="10001974" y="8463232"/>
                    </a:lnTo>
                    <a:lnTo>
                      <a:pt x="10061825" y="8455747"/>
                    </a:lnTo>
                    <a:lnTo>
                      <a:pt x="10122609" y="8475169"/>
                    </a:lnTo>
                    <a:lnTo>
                      <a:pt x="10182887" y="8461874"/>
                    </a:lnTo>
                    <a:lnTo>
                      <a:pt x="10276850" y="8441193"/>
                    </a:lnTo>
                    <a:lnTo>
                      <a:pt x="10321586" y="8395590"/>
                    </a:lnTo>
                    <a:lnTo>
                      <a:pt x="10424999" y="8406101"/>
                    </a:lnTo>
                    <a:lnTo>
                      <a:pt x="10422531" y="8375619"/>
                    </a:lnTo>
                    <a:lnTo>
                      <a:pt x="10420172" y="8340672"/>
                    </a:lnTo>
                    <a:lnTo>
                      <a:pt x="10408697" y="8291137"/>
                    </a:lnTo>
                    <a:lnTo>
                      <a:pt x="10399212" y="8262984"/>
                    </a:lnTo>
                    <a:lnTo>
                      <a:pt x="10393711" y="8241519"/>
                    </a:lnTo>
                    <a:lnTo>
                      <a:pt x="10388022" y="8219287"/>
                    </a:lnTo>
                    <a:lnTo>
                      <a:pt x="10386273" y="8191106"/>
                    </a:lnTo>
                    <a:lnTo>
                      <a:pt x="10381473" y="8168066"/>
                    </a:lnTo>
                    <a:lnTo>
                      <a:pt x="10355627" y="8042926"/>
                    </a:lnTo>
                    <a:lnTo>
                      <a:pt x="10362076" y="8008060"/>
                    </a:lnTo>
                    <a:lnTo>
                      <a:pt x="10373310" y="7987159"/>
                    </a:lnTo>
                    <a:lnTo>
                      <a:pt x="10384546" y="7966261"/>
                    </a:lnTo>
                    <a:lnTo>
                      <a:pt x="10397373" y="7944523"/>
                    </a:lnTo>
                    <a:lnTo>
                      <a:pt x="10395020" y="7894541"/>
                    </a:lnTo>
                    <a:lnTo>
                      <a:pt x="10383588" y="7869011"/>
                    </a:lnTo>
                    <a:lnTo>
                      <a:pt x="10373310" y="7841624"/>
                    </a:lnTo>
                    <a:lnTo>
                      <a:pt x="10363034" y="7814227"/>
                    </a:lnTo>
                    <a:lnTo>
                      <a:pt x="10352988" y="7784787"/>
                    </a:lnTo>
                    <a:lnTo>
                      <a:pt x="10355627" y="7747766"/>
                    </a:lnTo>
                    <a:lnTo>
                      <a:pt x="10361912" y="7709126"/>
                    </a:lnTo>
                    <a:lnTo>
                      <a:pt x="10371105" y="7672155"/>
                    </a:lnTo>
                    <a:lnTo>
                      <a:pt x="10378748" y="7634867"/>
                    </a:lnTo>
                    <a:lnTo>
                      <a:pt x="10378748" y="7607663"/>
                    </a:lnTo>
                    <a:lnTo>
                      <a:pt x="10370438" y="7560912"/>
                    </a:lnTo>
                    <a:lnTo>
                      <a:pt x="10359710" y="7506035"/>
                    </a:lnTo>
                    <a:lnTo>
                      <a:pt x="10359710" y="7458044"/>
                    </a:lnTo>
                    <a:lnTo>
                      <a:pt x="10363785" y="7436281"/>
                    </a:lnTo>
                    <a:lnTo>
                      <a:pt x="10356591" y="7395775"/>
                    </a:lnTo>
                    <a:lnTo>
                      <a:pt x="10345187" y="7364350"/>
                    </a:lnTo>
                    <a:lnTo>
                      <a:pt x="10320258" y="7338346"/>
                    </a:lnTo>
                    <a:lnTo>
                      <a:pt x="10290198" y="7315448"/>
                    </a:lnTo>
                    <a:lnTo>
                      <a:pt x="10241634" y="7286200"/>
                    </a:lnTo>
                    <a:lnTo>
                      <a:pt x="10209413" y="7269978"/>
                    </a:lnTo>
                    <a:lnTo>
                      <a:pt x="10197838" y="7247210"/>
                    </a:lnTo>
                    <a:lnTo>
                      <a:pt x="10180230" y="7212567"/>
                    </a:lnTo>
                    <a:lnTo>
                      <a:pt x="10171499" y="7179534"/>
                    </a:lnTo>
                    <a:lnTo>
                      <a:pt x="10158392" y="7149278"/>
                    </a:lnTo>
                    <a:lnTo>
                      <a:pt x="10145296" y="7119026"/>
                    </a:lnTo>
                    <a:lnTo>
                      <a:pt x="10127139" y="7090702"/>
                    </a:lnTo>
                    <a:lnTo>
                      <a:pt x="10091745" y="7066307"/>
                    </a:lnTo>
                    <a:lnTo>
                      <a:pt x="10055149" y="7037152"/>
                    </a:lnTo>
                    <a:lnTo>
                      <a:pt x="10034614" y="7032303"/>
                    </a:lnTo>
                    <a:lnTo>
                      <a:pt x="10001804" y="7003272"/>
                    </a:lnTo>
                    <a:lnTo>
                      <a:pt x="9970754" y="6988091"/>
                    </a:lnTo>
                    <a:lnTo>
                      <a:pt x="9951642" y="6971091"/>
                    </a:lnTo>
                    <a:lnTo>
                      <a:pt x="9924893" y="6947300"/>
                    </a:lnTo>
                    <a:lnTo>
                      <a:pt x="9908051" y="6908332"/>
                    </a:lnTo>
                    <a:lnTo>
                      <a:pt x="9895875" y="6867714"/>
                    </a:lnTo>
                    <a:lnTo>
                      <a:pt x="9883696" y="6827103"/>
                    </a:lnTo>
                    <a:lnTo>
                      <a:pt x="9876258" y="6784894"/>
                    </a:lnTo>
                    <a:lnTo>
                      <a:pt x="9868674" y="6750741"/>
                    </a:lnTo>
                    <a:lnTo>
                      <a:pt x="9868212" y="6717119"/>
                    </a:lnTo>
                    <a:lnTo>
                      <a:pt x="9865948" y="6688175"/>
                    </a:lnTo>
                    <a:lnTo>
                      <a:pt x="9979039" y="6676185"/>
                    </a:lnTo>
                    <a:lnTo>
                      <a:pt x="10046821" y="6666920"/>
                    </a:lnTo>
                    <a:lnTo>
                      <a:pt x="10074156" y="6673348"/>
                    </a:lnTo>
                    <a:lnTo>
                      <a:pt x="10112051" y="6656750"/>
                    </a:lnTo>
                    <a:lnTo>
                      <a:pt x="10121489" y="6634612"/>
                    </a:lnTo>
                    <a:lnTo>
                      <a:pt x="10143435" y="6569835"/>
                    </a:lnTo>
                    <a:lnTo>
                      <a:pt x="10204340" y="6560992"/>
                    </a:lnTo>
                    <a:lnTo>
                      <a:pt x="10235923" y="6599755"/>
                    </a:lnTo>
                    <a:lnTo>
                      <a:pt x="10269834" y="6590978"/>
                    </a:lnTo>
                    <a:lnTo>
                      <a:pt x="10292409" y="6584330"/>
                    </a:lnTo>
                    <a:lnTo>
                      <a:pt x="10314817" y="6580718"/>
                    </a:lnTo>
                    <a:lnTo>
                      <a:pt x="10337228" y="6577102"/>
                    </a:lnTo>
                    <a:lnTo>
                      <a:pt x="10359841" y="6576913"/>
                    </a:lnTo>
                    <a:lnTo>
                      <a:pt x="10385396" y="6576575"/>
                    </a:lnTo>
                    <a:lnTo>
                      <a:pt x="10417784" y="6578975"/>
                    </a:lnTo>
                    <a:lnTo>
                      <a:pt x="10543693" y="6572092"/>
                    </a:lnTo>
                    <a:lnTo>
                      <a:pt x="10566538" y="6542376"/>
                    </a:lnTo>
                    <a:lnTo>
                      <a:pt x="10561416" y="6516191"/>
                    </a:lnTo>
                    <a:lnTo>
                      <a:pt x="10575976" y="6489582"/>
                    </a:lnTo>
                    <a:lnTo>
                      <a:pt x="10656250" y="6453922"/>
                    </a:lnTo>
                    <a:lnTo>
                      <a:pt x="10690010" y="6421444"/>
                    </a:lnTo>
                    <a:lnTo>
                      <a:pt x="10703739" y="6387328"/>
                    </a:lnTo>
                    <a:lnTo>
                      <a:pt x="10711996" y="6350846"/>
                    </a:lnTo>
                    <a:lnTo>
                      <a:pt x="10720253" y="6314356"/>
                    </a:lnTo>
                    <a:lnTo>
                      <a:pt x="10723682" y="6275880"/>
                    </a:lnTo>
                    <a:lnTo>
                      <a:pt x="10725595" y="6243386"/>
                    </a:lnTo>
                    <a:lnTo>
                      <a:pt x="10747358" y="6231148"/>
                    </a:lnTo>
                    <a:lnTo>
                      <a:pt x="10770485" y="6221623"/>
                    </a:lnTo>
                    <a:lnTo>
                      <a:pt x="10795718" y="6205634"/>
                    </a:lnTo>
                    <a:lnTo>
                      <a:pt x="10807813" y="6185926"/>
                    </a:lnTo>
                    <a:lnTo>
                      <a:pt x="10809931" y="6163134"/>
                    </a:lnTo>
                    <a:lnTo>
                      <a:pt x="10810452" y="6139861"/>
                    </a:lnTo>
                    <a:lnTo>
                      <a:pt x="10802272" y="6113125"/>
                    </a:lnTo>
                    <a:lnTo>
                      <a:pt x="10797684" y="6085604"/>
                    </a:lnTo>
                    <a:lnTo>
                      <a:pt x="10788444" y="6040844"/>
                    </a:lnTo>
                    <a:lnTo>
                      <a:pt x="10807404" y="6018535"/>
                    </a:lnTo>
                    <a:lnTo>
                      <a:pt x="10842450" y="5999147"/>
                    </a:lnTo>
                    <a:lnTo>
                      <a:pt x="10856096" y="5968116"/>
                    </a:lnTo>
                    <a:lnTo>
                      <a:pt x="10851228" y="5945932"/>
                    </a:lnTo>
                    <a:lnTo>
                      <a:pt x="10841830" y="5908644"/>
                    </a:lnTo>
                    <a:lnTo>
                      <a:pt x="10826259" y="5889737"/>
                    </a:lnTo>
                    <a:lnTo>
                      <a:pt x="10806486" y="5880906"/>
                    </a:lnTo>
                    <a:lnTo>
                      <a:pt x="10771936" y="5878823"/>
                    </a:lnTo>
                    <a:lnTo>
                      <a:pt x="10744701" y="5884763"/>
                    </a:lnTo>
                    <a:lnTo>
                      <a:pt x="10716086" y="5876137"/>
                    </a:lnTo>
                    <a:lnTo>
                      <a:pt x="10698437" y="5850139"/>
                    </a:lnTo>
                    <a:lnTo>
                      <a:pt x="10692924" y="5809642"/>
                    </a:lnTo>
                    <a:lnTo>
                      <a:pt x="10692509" y="5788385"/>
                    </a:lnTo>
                    <a:lnTo>
                      <a:pt x="10675158" y="5753122"/>
                    </a:lnTo>
                    <a:lnTo>
                      <a:pt x="10661506" y="5735061"/>
                    </a:lnTo>
                    <a:lnTo>
                      <a:pt x="10645355" y="5719719"/>
                    </a:lnTo>
                    <a:lnTo>
                      <a:pt x="10629198" y="5704374"/>
                    </a:lnTo>
                    <a:lnTo>
                      <a:pt x="10611100" y="5691705"/>
                    </a:lnTo>
                    <a:lnTo>
                      <a:pt x="10592304" y="5676193"/>
                    </a:lnTo>
                    <a:lnTo>
                      <a:pt x="10570563" y="5638102"/>
                    </a:lnTo>
                    <a:lnTo>
                      <a:pt x="10571576" y="5615152"/>
                    </a:lnTo>
                    <a:lnTo>
                      <a:pt x="10576556" y="5584037"/>
                    </a:lnTo>
                    <a:lnTo>
                      <a:pt x="10550136" y="5560572"/>
                    </a:lnTo>
                    <a:lnTo>
                      <a:pt x="10521567" y="5556554"/>
                    </a:lnTo>
                    <a:lnTo>
                      <a:pt x="10497628" y="5566789"/>
                    </a:lnTo>
                    <a:lnTo>
                      <a:pt x="10473973" y="5579616"/>
                    </a:lnTo>
                    <a:lnTo>
                      <a:pt x="10450309" y="5592437"/>
                    </a:lnTo>
                    <a:lnTo>
                      <a:pt x="10427570" y="5607118"/>
                    </a:lnTo>
                    <a:lnTo>
                      <a:pt x="10401878" y="5610904"/>
                    </a:lnTo>
                    <a:lnTo>
                      <a:pt x="10357546" y="5574243"/>
                    </a:lnTo>
                    <a:lnTo>
                      <a:pt x="10336648" y="5557794"/>
                    </a:lnTo>
                    <a:lnTo>
                      <a:pt x="10312107" y="5546973"/>
                    </a:lnTo>
                    <a:lnTo>
                      <a:pt x="10287560" y="5536158"/>
                    </a:lnTo>
                    <a:lnTo>
                      <a:pt x="10258907" y="5531296"/>
                    </a:lnTo>
                    <a:lnTo>
                      <a:pt x="10218255" y="5522494"/>
                    </a:lnTo>
                    <a:lnTo>
                      <a:pt x="10195820" y="5517632"/>
                    </a:lnTo>
                    <a:lnTo>
                      <a:pt x="10174723" y="5495289"/>
                    </a:lnTo>
                    <a:lnTo>
                      <a:pt x="10164705" y="5466231"/>
                    </a:lnTo>
                    <a:lnTo>
                      <a:pt x="10166197" y="5414665"/>
                    </a:lnTo>
                    <a:lnTo>
                      <a:pt x="10177616" y="5375170"/>
                    </a:lnTo>
                    <a:lnTo>
                      <a:pt x="10174723" y="5345664"/>
                    </a:lnTo>
                    <a:lnTo>
                      <a:pt x="10200408" y="5321771"/>
                    </a:lnTo>
                    <a:lnTo>
                      <a:pt x="10223691" y="5315744"/>
                    </a:lnTo>
                    <a:lnTo>
                      <a:pt x="10246976" y="5309713"/>
                    </a:lnTo>
                    <a:lnTo>
                      <a:pt x="10273257" y="5306178"/>
                    </a:lnTo>
                    <a:lnTo>
                      <a:pt x="10304411" y="5283479"/>
                    </a:lnTo>
                    <a:lnTo>
                      <a:pt x="10318287" y="5265319"/>
                    </a:lnTo>
                    <a:lnTo>
                      <a:pt x="10332512" y="5247735"/>
                    </a:lnTo>
                    <a:lnTo>
                      <a:pt x="10346738" y="5230146"/>
                    </a:lnTo>
                    <a:lnTo>
                      <a:pt x="10361689" y="5212959"/>
                    </a:lnTo>
                    <a:lnTo>
                      <a:pt x="10380115" y="5200126"/>
                    </a:lnTo>
                    <a:lnTo>
                      <a:pt x="10370069" y="5138576"/>
                    </a:lnTo>
                    <a:lnTo>
                      <a:pt x="10333383" y="5037621"/>
                    </a:lnTo>
                    <a:lnTo>
                      <a:pt x="10308024" y="5005617"/>
                    </a:lnTo>
                    <a:lnTo>
                      <a:pt x="10283585" y="5007623"/>
                    </a:lnTo>
                    <a:lnTo>
                      <a:pt x="10108761" y="5042991"/>
                    </a:lnTo>
                    <a:lnTo>
                      <a:pt x="10055493" y="5052554"/>
                    </a:lnTo>
                    <a:lnTo>
                      <a:pt x="10019071" y="5066060"/>
                    </a:lnTo>
                    <a:lnTo>
                      <a:pt x="9982943" y="5081795"/>
                    </a:lnTo>
                    <a:lnTo>
                      <a:pt x="9946815" y="5097524"/>
                    </a:lnTo>
                    <a:lnTo>
                      <a:pt x="9911394" y="5114953"/>
                    </a:lnTo>
                    <a:lnTo>
                      <a:pt x="9872770" y="5132121"/>
                    </a:lnTo>
                    <a:lnTo>
                      <a:pt x="9844198" y="5123963"/>
                    </a:lnTo>
                    <a:lnTo>
                      <a:pt x="9832406" y="5035550"/>
                    </a:lnTo>
                    <a:lnTo>
                      <a:pt x="9795639" y="5019353"/>
                    </a:lnTo>
                    <a:lnTo>
                      <a:pt x="9737593" y="5018767"/>
                    </a:lnTo>
                    <a:lnTo>
                      <a:pt x="9686415" y="5022459"/>
                    </a:lnTo>
                    <a:lnTo>
                      <a:pt x="9640173" y="5017870"/>
                    </a:lnTo>
                    <a:lnTo>
                      <a:pt x="9598092" y="5002780"/>
                    </a:lnTo>
                    <a:lnTo>
                      <a:pt x="9513120" y="4985224"/>
                    </a:lnTo>
                    <a:lnTo>
                      <a:pt x="9442966" y="4980465"/>
                    </a:lnTo>
                    <a:lnTo>
                      <a:pt x="9376291" y="4967545"/>
                    </a:lnTo>
                    <a:lnTo>
                      <a:pt x="9270199" y="4590759"/>
                    </a:lnTo>
                    <a:lnTo>
                      <a:pt x="9164106" y="4212620"/>
                    </a:lnTo>
                    <a:lnTo>
                      <a:pt x="9193208" y="4154559"/>
                    </a:lnTo>
                    <a:lnTo>
                      <a:pt x="9211715" y="4102444"/>
                    </a:lnTo>
                    <a:lnTo>
                      <a:pt x="9230207" y="4050333"/>
                    </a:lnTo>
                    <a:lnTo>
                      <a:pt x="9247564" y="3997006"/>
                    </a:lnTo>
                    <a:lnTo>
                      <a:pt x="9252748" y="3963832"/>
                    </a:lnTo>
                    <a:lnTo>
                      <a:pt x="9257068" y="3942993"/>
                    </a:lnTo>
                    <a:lnTo>
                      <a:pt x="9264283" y="3902804"/>
                    </a:lnTo>
                    <a:lnTo>
                      <a:pt x="9267482" y="3864409"/>
                    </a:lnTo>
                    <a:lnTo>
                      <a:pt x="9260677" y="3837205"/>
                    </a:lnTo>
                    <a:lnTo>
                      <a:pt x="9262035" y="3810000"/>
                    </a:lnTo>
                    <a:lnTo>
                      <a:pt x="9285162" y="3797760"/>
                    </a:lnTo>
                    <a:lnTo>
                      <a:pt x="9308283" y="3785521"/>
                    </a:lnTo>
                    <a:lnTo>
                      <a:pt x="9316000" y="3751174"/>
                    </a:lnTo>
                    <a:lnTo>
                      <a:pt x="9322608" y="3585530"/>
                    </a:lnTo>
                    <a:lnTo>
                      <a:pt x="9308283" y="3544760"/>
                    </a:lnTo>
                    <a:lnTo>
                      <a:pt x="9229395" y="3517556"/>
                    </a:lnTo>
                    <a:lnTo>
                      <a:pt x="9213793" y="3469816"/>
                    </a:lnTo>
                    <a:lnTo>
                      <a:pt x="9204910" y="3438668"/>
                    </a:lnTo>
                    <a:lnTo>
                      <a:pt x="9196026" y="3407521"/>
                    </a:lnTo>
                    <a:lnTo>
                      <a:pt x="9185863" y="3378140"/>
                    </a:lnTo>
                    <a:lnTo>
                      <a:pt x="9121727" y="3367212"/>
                    </a:lnTo>
                    <a:lnTo>
                      <a:pt x="9060407" y="3361686"/>
                    </a:lnTo>
                    <a:lnTo>
                      <a:pt x="9009039" y="3372013"/>
                    </a:lnTo>
                    <a:lnTo>
                      <a:pt x="9004556" y="3336117"/>
                    </a:lnTo>
                    <a:lnTo>
                      <a:pt x="9018859" y="3320052"/>
                    </a:lnTo>
                    <a:lnTo>
                      <a:pt x="9034886" y="3305366"/>
                    </a:lnTo>
                    <a:lnTo>
                      <a:pt x="9050910" y="3290678"/>
                    </a:lnTo>
                    <a:lnTo>
                      <a:pt x="9068909" y="3277205"/>
                    </a:lnTo>
                    <a:lnTo>
                      <a:pt x="9074654" y="3254657"/>
                    </a:lnTo>
                    <a:lnTo>
                      <a:pt x="9051440" y="3221030"/>
                    </a:lnTo>
                    <a:lnTo>
                      <a:pt x="9047133" y="3199267"/>
                    </a:lnTo>
                    <a:lnTo>
                      <a:pt x="9042225" y="3171937"/>
                    </a:lnTo>
                    <a:lnTo>
                      <a:pt x="9022626" y="3137934"/>
                    </a:lnTo>
                    <a:lnTo>
                      <a:pt x="9022645" y="3112213"/>
                    </a:lnTo>
                    <a:lnTo>
                      <a:pt x="8975293" y="3105882"/>
                    </a:lnTo>
                    <a:lnTo>
                      <a:pt x="8939782" y="3117529"/>
                    </a:lnTo>
                    <a:lnTo>
                      <a:pt x="8904314" y="3124460"/>
                    </a:lnTo>
                    <a:lnTo>
                      <a:pt x="8862397" y="3132618"/>
                    </a:lnTo>
                    <a:lnTo>
                      <a:pt x="8818400" y="3139253"/>
                    </a:lnTo>
                    <a:lnTo>
                      <a:pt x="8779168" y="3157105"/>
                    </a:lnTo>
                    <a:lnTo>
                      <a:pt x="8766394" y="3204147"/>
                    </a:lnTo>
                    <a:lnTo>
                      <a:pt x="8760127" y="3241435"/>
                    </a:lnTo>
                    <a:lnTo>
                      <a:pt x="8752391" y="3279138"/>
                    </a:lnTo>
                    <a:lnTo>
                      <a:pt x="8737943" y="3317994"/>
                    </a:lnTo>
                    <a:lnTo>
                      <a:pt x="8727410" y="3337455"/>
                    </a:lnTo>
                    <a:lnTo>
                      <a:pt x="8712521" y="3354332"/>
                    </a:lnTo>
                    <a:lnTo>
                      <a:pt x="8678756" y="3340027"/>
                    </a:lnTo>
                    <a:lnTo>
                      <a:pt x="8660837" y="3323047"/>
                    </a:lnTo>
                    <a:lnTo>
                      <a:pt x="8642919" y="3306065"/>
                    </a:lnTo>
                    <a:lnTo>
                      <a:pt x="8627794" y="3286193"/>
                    </a:lnTo>
                    <a:lnTo>
                      <a:pt x="8662664" y="3263540"/>
                    </a:lnTo>
                    <a:lnTo>
                      <a:pt x="8671711" y="3231911"/>
                    </a:lnTo>
                    <a:lnTo>
                      <a:pt x="8636349" y="3151665"/>
                    </a:lnTo>
                    <a:lnTo>
                      <a:pt x="8609098" y="3146013"/>
                    </a:lnTo>
                    <a:lnTo>
                      <a:pt x="8560000" y="3148037"/>
                    </a:lnTo>
                    <a:lnTo>
                      <a:pt x="8513928" y="3148947"/>
                    </a:lnTo>
                    <a:lnTo>
                      <a:pt x="8467857" y="3149857"/>
                    </a:lnTo>
                    <a:lnTo>
                      <a:pt x="8425035" y="3149409"/>
                    </a:lnTo>
                    <a:lnTo>
                      <a:pt x="8407836" y="3135342"/>
                    </a:lnTo>
                    <a:lnTo>
                      <a:pt x="8392978" y="3112853"/>
                    </a:lnTo>
                    <a:lnTo>
                      <a:pt x="8385539" y="3090114"/>
                    </a:lnTo>
                    <a:lnTo>
                      <a:pt x="8348428" y="3082213"/>
                    </a:lnTo>
                    <a:lnTo>
                      <a:pt x="8318058" y="3087740"/>
                    </a:lnTo>
                    <a:lnTo>
                      <a:pt x="8313956" y="3109246"/>
                    </a:lnTo>
                    <a:lnTo>
                      <a:pt x="8290537" y="3131781"/>
                    </a:lnTo>
                    <a:lnTo>
                      <a:pt x="8263652" y="3151665"/>
                    </a:lnTo>
                    <a:lnTo>
                      <a:pt x="8236764" y="3171555"/>
                    </a:lnTo>
                    <a:lnTo>
                      <a:pt x="8206670" y="3188201"/>
                    </a:lnTo>
                    <a:lnTo>
                      <a:pt x="8152118" y="3182950"/>
                    </a:lnTo>
                    <a:lnTo>
                      <a:pt x="8123549" y="3140782"/>
                    </a:lnTo>
                    <a:lnTo>
                      <a:pt x="8047061" y="3147496"/>
                    </a:lnTo>
                    <a:lnTo>
                      <a:pt x="7984429" y="3147034"/>
                    </a:lnTo>
                    <a:lnTo>
                      <a:pt x="7927679" y="3172068"/>
                    </a:lnTo>
                    <a:lnTo>
                      <a:pt x="7903311" y="3157322"/>
                    </a:lnTo>
                    <a:lnTo>
                      <a:pt x="7878600" y="3124243"/>
                    </a:lnTo>
                    <a:lnTo>
                      <a:pt x="7865782" y="3105533"/>
                    </a:lnTo>
                    <a:lnTo>
                      <a:pt x="7826014" y="3084238"/>
                    </a:lnTo>
                    <a:lnTo>
                      <a:pt x="7735849" y="3058023"/>
                    </a:lnTo>
                    <a:lnTo>
                      <a:pt x="7709007" y="3023888"/>
                    </a:lnTo>
                    <a:lnTo>
                      <a:pt x="7715924" y="2971274"/>
                    </a:lnTo>
                    <a:lnTo>
                      <a:pt x="7705965" y="2947637"/>
                    </a:lnTo>
                    <a:lnTo>
                      <a:pt x="7689873" y="2909506"/>
                    </a:lnTo>
                    <a:lnTo>
                      <a:pt x="7681486" y="2889148"/>
                    </a:lnTo>
                    <a:lnTo>
                      <a:pt x="7673096" y="2868789"/>
                    </a:lnTo>
                    <a:lnTo>
                      <a:pt x="7666079" y="2848595"/>
                    </a:lnTo>
                    <a:lnTo>
                      <a:pt x="7663487" y="2794042"/>
                    </a:lnTo>
                    <a:lnTo>
                      <a:pt x="7683703" y="2766284"/>
                    </a:lnTo>
                    <a:lnTo>
                      <a:pt x="7700533" y="2738163"/>
                    </a:lnTo>
                    <a:lnTo>
                      <a:pt x="7715971" y="2710610"/>
                    </a:lnTo>
                    <a:lnTo>
                      <a:pt x="7723167" y="2678664"/>
                    </a:lnTo>
                    <a:lnTo>
                      <a:pt x="7715497" y="2640230"/>
                    </a:lnTo>
                    <a:lnTo>
                      <a:pt x="7665211" y="2587648"/>
                    </a:lnTo>
                    <a:lnTo>
                      <a:pt x="7637966" y="2572223"/>
                    </a:lnTo>
                    <a:lnTo>
                      <a:pt x="7614138" y="2566189"/>
                    </a:lnTo>
                    <a:lnTo>
                      <a:pt x="7597032" y="2546931"/>
                    </a:lnTo>
                    <a:lnTo>
                      <a:pt x="7583557" y="2527337"/>
                    </a:lnTo>
                    <a:lnTo>
                      <a:pt x="7579666" y="2490617"/>
                    </a:lnTo>
                    <a:lnTo>
                      <a:pt x="7594440" y="2457966"/>
                    </a:lnTo>
                    <a:lnTo>
                      <a:pt x="7617561" y="2438088"/>
                    </a:lnTo>
                    <a:lnTo>
                      <a:pt x="7642041" y="2417995"/>
                    </a:lnTo>
                    <a:lnTo>
                      <a:pt x="7658365" y="2377712"/>
                    </a:lnTo>
                    <a:lnTo>
                      <a:pt x="7662815" y="2351050"/>
                    </a:lnTo>
                    <a:lnTo>
                      <a:pt x="7660052" y="2310372"/>
                    </a:lnTo>
                    <a:lnTo>
                      <a:pt x="7646124" y="2247134"/>
                    </a:lnTo>
                    <a:lnTo>
                      <a:pt x="7605764" y="2242035"/>
                    </a:lnTo>
                    <a:lnTo>
                      <a:pt x="7572823" y="2218142"/>
                    </a:lnTo>
                    <a:lnTo>
                      <a:pt x="7535951" y="2203607"/>
                    </a:lnTo>
                    <a:lnTo>
                      <a:pt x="7514188" y="2200884"/>
                    </a:lnTo>
                    <a:lnTo>
                      <a:pt x="7482525" y="2181527"/>
                    </a:lnTo>
                    <a:lnTo>
                      <a:pt x="7459925" y="2166400"/>
                    </a:lnTo>
                    <a:lnTo>
                      <a:pt x="7443457" y="2153275"/>
                    </a:lnTo>
                    <a:lnTo>
                      <a:pt x="7426990" y="2140158"/>
                    </a:lnTo>
                    <a:lnTo>
                      <a:pt x="7409453" y="2115189"/>
                    </a:lnTo>
                    <a:lnTo>
                      <a:pt x="7398136" y="2086456"/>
                    </a:lnTo>
                    <a:lnTo>
                      <a:pt x="7390850" y="2045990"/>
                    </a:lnTo>
                    <a:lnTo>
                      <a:pt x="7386912" y="2020889"/>
                    </a:lnTo>
                    <a:lnTo>
                      <a:pt x="7380891" y="1987334"/>
                    </a:lnTo>
                    <a:lnTo>
                      <a:pt x="7367093" y="1910483"/>
                    </a:lnTo>
                    <a:lnTo>
                      <a:pt x="7363633" y="1833541"/>
                    </a:lnTo>
                    <a:lnTo>
                      <a:pt x="7350964" y="1757456"/>
                    </a:lnTo>
                    <a:lnTo>
                      <a:pt x="7343842" y="1714781"/>
                    </a:lnTo>
                    <a:lnTo>
                      <a:pt x="7332689" y="1670021"/>
                    </a:lnTo>
                    <a:lnTo>
                      <a:pt x="7326475" y="1626884"/>
                    </a:lnTo>
                    <a:lnTo>
                      <a:pt x="7320277" y="1583607"/>
                    </a:lnTo>
                    <a:lnTo>
                      <a:pt x="7319037" y="1493152"/>
                    </a:lnTo>
                    <a:lnTo>
                      <a:pt x="7304719" y="1452770"/>
                    </a:lnTo>
                    <a:lnTo>
                      <a:pt x="7283452" y="1421629"/>
                    </a:lnTo>
                    <a:lnTo>
                      <a:pt x="7258839" y="1400341"/>
                    </a:lnTo>
                    <a:lnTo>
                      <a:pt x="7239429" y="1376600"/>
                    </a:lnTo>
                    <a:lnTo>
                      <a:pt x="7221855" y="1351434"/>
                    </a:lnTo>
                    <a:lnTo>
                      <a:pt x="7205308" y="1325601"/>
                    </a:lnTo>
                    <a:lnTo>
                      <a:pt x="7187740" y="1300429"/>
                    </a:lnTo>
                    <a:lnTo>
                      <a:pt x="7169127" y="1276773"/>
                    </a:lnTo>
                    <a:lnTo>
                      <a:pt x="7148229" y="1257661"/>
                    </a:lnTo>
                    <a:lnTo>
                      <a:pt x="7126531" y="1248744"/>
                    </a:lnTo>
                    <a:lnTo>
                      <a:pt x="7103218" y="1243640"/>
                    </a:lnTo>
                    <a:lnTo>
                      <a:pt x="7079107" y="1240250"/>
                    </a:lnTo>
                    <a:lnTo>
                      <a:pt x="7054436" y="1235139"/>
                    </a:lnTo>
                    <a:lnTo>
                      <a:pt x="7032140" y="1227970"/>
                    </a:lnTo>
                    <a:lnTo>
                      <a:pt x="7018758" y="1210507"/>
                    </a:lnTo>
                    <a:lnTo>
                      <a:pt x="7015691" y="1179967"/>
                    </a:lnTo>
                    <a:lnTo>
                      <a:pt x="7016358" y="1158968"/>
                    </a:lnTo>
                    <a:lnTo>
                      <a:pt x="7017294" y="1137989"/>
                    </a:lnTo>
                    <a:lnTo>
                      <a:pt x="7018593" y="1106103"/>
                    </a:lnTo>
                    <a:lnTo>
                      <a:pt x="7025002" y="1085013"/>
                    </a:lnTo>
                    <a:lnTo>
                      <a:pt x="7040369" y="1064561"/>
                    </a:lnTo>
                    <a:lnTo>
                      <a:pt x="7055143" y="1037272"/>
                    </a:lnTo>
                    <a:lnTo>
                      <a:pt x="7050362" y="999826"/>
                    </a:lnTo>
                    <a:lnTo>
                      <a:pt x="7048216" y="968415"/>
                    </a:lnTo>
                    <a:lnTo>
                      <a:pt x="7055186" y="939555"/>
                    </a:lnTo>
                    <a:lnTo>
                      <a:pt x="7058526" y="908692"/>
                    </a:lnTo>
                    <a:lnTo>
                      <a:pt x="7047643" y="876047"/>
                    </a:lnTo>
                    <a:lnTo>
                      <a:pt x="6998077" y="878514"/>
                    </a:lnTo>
                    <a:lnTo>
                      <a:pt x="6978270" y="854290"/>
                    </a:lnTo>
                    <a:lnTo>
                      <a:pt x="6994613" y="823768"/>
                    </a:lnTo>
                    <a:lnTo>
                      <a:pt x="7021778" y="800475"/>
                    </a:lnTo>
                    <a:lnTo>
                      <a:pt x="7055800" y="782194"/>
                    </a:lnTo>
                    <a:lnTo>
                      <a:pt x="7091525" y="766789"/>
                    </a:lnTo>
                    <a:lnTo>
                      <a:pt x="7126174" y="751357"/>
                    </a:lnTo>
                    <a:lnTo>
                      <a:pt x="7155094" y="733228"/>
                    </a:lnTo>
                    <a:lnTo>
                      <a:pt x="7198561" y="743258"/>
                    </a:lnTo>
                    <a:lnTo>
                      <a:pt x="7227188" y="744110"/>
                    </a:lnTo>
                    <a:lnTo>
                      <a:pt x="7246170" y="704751"/>
                    </a:lnTo>
                    <a:lnTo>
                      <a:pt x="7285296" y="688639"/>
                    </a:lnTo>
                    <a:lnTo>
                      <a:pt x="7314244" y="699309"/>
                    </a:lnTo>
                    <a:lnTo>
                      <a:pt x="7337365" y="715547"/>
                    </a:lnTo>
                    <a:lnTo>
                      <a:pt x="7368650" y="697866"/>
                    </a:lnTo>
                    <a:lnTo>
                      <a:pt x="7379533" y="629859"/>
                    </a:lnTo>
                    <a:lnTo>
                      <a:pt x="7296561" y="604014"/>
                    </a:lnTo>
                    <a:lnTo>
                      <a:pt x="7289755" y="580892"/>
                    </a:lnTo>
                    <a:lnTo>
                      <a:pt x="7292471" y="550971"/>
                    </a:lnTo>
                    <a:lnTo>
                      <a:pt x="7297913" y="522402"/>
                    </a:lnTo>
                    <a:lnTo>
                      <a:pt x="7304719" y="499280"/>
                    </a:lnTo>
                    <a:lnTo>
                      <a:pt x="7273679" y="474667"/>
                    </a:lnTo>
                    <a:lnTo>
                      <a:pt x="7242146" y="467993"/>
                    </a:lnTo>
                    <a:lnTo>
                      <a:pt x="7218206" y="468587"/>
                    </a:lnTo>
                    <a:lnTo>
                      <a:pt x="7192099" y="479020"/>
                    </a:lnTo>
                    <a:lnTo>
                      <a:pt x="7152377" y="487034"/>
                    </a:lnTo>
                    <a:lnTo>
                      <a:pt x="7080540" y="476323"/>
                    </a:lnTo>
                    <a:lnTo>
                      <a:pt x="7011465" y="439339"/>
                    </a:lnTo>
                    <a:lnTo>
                      <a:pt x="6940186" y="431267"/>
                    </a:lnTo>
                    <a:lnTo>
                      <a:pt x="6859273" y="478789"/>
                    </a:lnTo>
                    <a:lnTo>
                      <a:pt x="6810901" y="466372"/>
                    </a:lnTo>
                    <a:lnTo>
                      <a:pt x="6774707" y="454045"/>
                    </a:lnTo>
                    <a:lnTo>
                      <a:pt x="6741593" y="448948"/>
                    </a:lnTo>
                    <a:lnTo>
                      <a:pt x="6697763" y="456236"/>
                    </a:lnTo>
                    <a:lnTo>
                      <a:pt x="6674946" y="465269"/>
                    </a:lnTo>
                    <a:lnTo>
                      <a:pt x="6652120" y="474304"/>
                    </a:lnTo>
                    <a:lnTo>
                      <a:pt x="6629857" y="481612"/>
                    </a:lnTo>
                    <a:lnTo>
                      <a:pt x="6584207" y="463779"/>
                    </a:lnTo>
                    <a:lnTo>
                      <a:pt x="6545515" y="452726"/>
                    </a:lnTo>
                    <a:lnTo>
                      <a:pt x="6507639" y="439424"/>
                    </a:lnTo>
                    <a:lnTo>
                      <a:pt x="6469771" y="426123"/>
                    </a:lnTo>
                    <a:lnTo>
                      <a:pt x="6433466" y="410756"/>
                    </a:lnTo>
                    <a:lnTo>
                      <a:pt x="6409706" y="393181"/>
                    </a:lnTo>
                    <a:lnTo>
                      <a:pt x="6393661" y="355023"/>
                    </a:lnTo>
                    <a:lnTo>
                      <a:pt x="6387943" y="334691"/>
                    </a:lnTo>
                    <a:lnTo>
                      <a:pt x="6382223" y="314359"/>
                    </a:lnTo>
                    <a:lnTo>
                      <a:pt x="6364819" y="278924"/>
                    </a:lnTo>
                    <a:lnTo>
                      <a:pt x="6340517" y="255558"/>
                    </a:lnTo>
                    <a:lnTo>
                      <a:pt x="6315669" y="234277"/>
                    </a:lnTo>
                    <a:lnTo>
                      <a:pt x="6295450" y="204112"/>
                    </a:lnTo>
                    <a:lnTo>
                      <a:pt x="6295779" y="174296"/>
                    </a:lnTo>
                    <a:lnTo>
                      <a:pt x="6299226" y="149664"/>
                    </a:lnTo>
                    <a:lnTo>
                      <a:pt x="6296808" y="127941"/>
                    </a:lnTo>
                    <a:lnTo>
                      <a:pt x="6294393" y="106217"/>
                    </a:lnTo>
                    <a:lnTo>
                      <a:pt x="6261446" y="68092"/>
                    </a:lnTo>
                    <a:lnTo>
                      <a:pt x="6243382" y="40249"/>
                    </a:lnTo>
                    <a:lnTo>
                      <a:pt x="6227296" y="24730"/>
                    </a:lnTo>
                    <a:lnTo>
                      <a:pt x="6201589" y="39529"/>
                    </a:lnTo>
                    <a:lnTo>
                      <a:pt x="6176794" y="58088"/>
                    </a:lnTo>
                    <a:lnTo>
                      <a:pt x="6152938" y="75380"/>
                    </a:lnTo>
                    <a:lnTo>
                      <a:pt x="6129500" y="85773"/>
                    </a:lnTo>
                    <a:lnTo>
                      <a:pt x="6105291" y="88029"/>
                    </a:lnTo>
                    <a:lnTo>
                      <a:pt x="6087273" y="73882"/>
                    </a:lnTo>
                    <a:lnTo>
                      <a:pt x="6076452" y="55852"/>
                    </a:lnTo>
                    <a:lnTo>
                      <a:pt x="6066459" y="35058"/>
                    </a:lnTo>
                    <a:lnTo>
                      <a:pt x="6053812" y="16790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47" name="Dnipropetrovsk¬0" descr="Dnipropetrovsk¬0">
                <a:extLst>
                  <a:ext uri="{FF2B5EF4-FFF2-40B4-BE49-F238E27FC236}">
                    <a16:creationId xmlns:a16="http://schemas.microsoft.com/office/drawing/2014/main" id="{3570E816-44DE-476F-A076-1D692B749063}"/>
                  </a:ext>
                </a:extLst>
              </p:cNvPr>
              <p:cNvSpPr/>
              <p:nvPr/>
            </p:nvSpPr>
            <p:spPr>
              <a:xfrm>
                <a:off x="37953909" y="16800121"/>
                <a:ext cx="13834845" cy="8992795"/>
              </a:xfrm>
              <a:custGeom>
                <a:avLst/>
                <a:gdLst/>
                <a:ahLst/>
                <a:cxnLst/>
                <a:rect l="0" t="0" r="0" b="0"/>
                <a:pathLst>
                  <a:path w="13834844" h="8992798">
                    <a:moveTo>
                      <a:pt x="3283530" y="1665939"/>
                    </a:moveTo>
                    <a:lnTo>
                      <a:pt x="3237747" y="1725253"/>
                    </a:lnTo>
                    <a:lnTo>
                      <a:pt x="3214731" y="1749106"/>
                    </a:lnTo>
                    <a:lnTo>
                      <a:pt x="3200558" y="1777471"/>
                    </a:lnTo>
                    <a:lnTo>
                      <a:pt x="3186379" y="1805842"/>
                    </a:lnTo>
                    <a:lnTo>
                      <a:pt x="3180960" y="1837973"/>
                    </a:lnTo>
                    <a:lnTo>
                      <a:pt x="3176073" y="1893092"/>
                    </a:lnTo>
                    <a:lnTo>
                      <a:pt x="3173100" y="1923140"/>
                    </a:lnTo>
                    <a:lnTo>
                      <a:pt x="3157922" y="1945925"/>
                    </a:lnTo>
                    <a:lnTo>
                      <a:pt x="3123875" y="1947455"/>
                    </a:lnTo>
                    <a:lnTo>
                      <a:pt x="3098326" y="1952704"/>
                    </a:lnTo>
                    <a:lnTo>
                      <a:pt x="3091737" y="1988303"/>
                    </a:lnTo>
                    <a:lnTo>
                      <a:pt x="3089179" y="2028948"/>
                    </a:lnTo>
                    <a:lnTo>
                      <a:pt x="3071338" y="2045429"/>
                    </a:lnTo>
                    <a:lnTo>
                      <a:pt x="3033254" y="2037265"/>
                    </a:lnTo>
                    <a:lnTo>
                      <a:pt x="3020889" y="2100766"/>
                    </a:lnTo>
                    <a:lnTo>
                      <a:pt x="3004685" y="2147438"/>
                    </a:lnTo>
                    <a:lnTo>
                      <a:pt x="2988488" y="2194117"/>
                    </a:lnTo>
                    <a:lnTo>
                      <a:pt x="2968387" y="2239009"/>
                    </a:lnTo>
                    <a:lnTo>
                      <a:pt x="2940379" y="2243355"/>
                    </a:lnTo>
                    <a:lnTo>
                      <a:pt x="2912322" y="2232771"/>
                    </a:lnTo>
                    <a:lnTo>
                      <a:pt x="2908920" y="2198126"/>
                    </a:lnTo>
                    <a:lnTo>
                      <a:pt x="2909770" y="2164124"/>
                    </a:lnTo>
                    <a:lnTo>
                      <a:pt x="2899957" y="2140640"/>
                    </a:lnTo>
                    <a:lnTo>
                      <a:pt x="2879914" y="2116858"/>
                    </a:lnTo>
                    <a:lnTo>
                      <a:pt x="2884993" y="2078073"/>
                    </a:lnTo>
                    <a:lnTo>
                      <a:pt x="2889945" y="2040773"/>
                    </a:lnTo>
                    <a:lnTo>
                      <a:pt x="2863236" y="2023666"/>
                    </a:lnTo>
                    <a:lnTo>
                      <a:pt x="2833737" y="2060854"/>
                    </a:lnTo>
                    <a:lnTo>
                      <a:pt x="2824854" y="2132647"/>
                    </a:lnTo>
                    <a:lnTo>
                      <a:pt x="2804747" y="2150162"/>
                    </a:lnTo>
                    <a:lnTo>
                      <a:pt x="2782984" y="2148804"/>
                    </a:lnTo>
                    <a:lnTo>
                      <a:pt x="2760244" y="2115519"/>
                    </a:lnTo>
                    <a:lnTo>
                      <a:pt x="2768244" y="2087082"/>
                    </a:lnTo>
                    <a:lnTo>
                      <a:pt x="2774826" y="2059028"/>
                    </a:lnTo>
                    <a:lnTo>
                      <a:pt x="2781393" y="2030978"/>
                    </a:lnTo>
                    <a:lnTo>
                      <a:pt x="2787489" y="2003796"/>
                    </a:lnTo>
                    <a:lnTo>
                      <a:pt x="2767934" y="1987176"/>
                    </a:lnTo>
                    <a:lnTo>
                      <a:pt x="2731294" y="1978780"/>
                    </a:lnTo>
                    <a:lnTo>
                      <a:pt x="2696143" y="1972007"/>
                    </a:lnTo>
                    <a:lnTo>
                      <a:pt x="2666517" y="1989517"/>
                    </a:lnTo>
                    <a:lnTo>
                      <a:pt x="2653175" y="2007284"/>
                    </a:lnTo>
                    <a:lnTo>
                      <a:pt x="2632587" y="2042771"/>
                    </a:lnTo>
                    <a:lnTo>
                      <a:pt x="2615676" y="2075356"/>
                    </a:lnTo>
                    <a:lnTo>
                      <a:pt x="2596896" y="2101419"/>
                    </a:lnTo>
                    <a:lnTo>
                      <a:pt x="2563729" y="2111865"/>
                    </a:lnTo>
                    <a:lnTo>
                      <a:pt x="2540686" y="2111423"/>
                    </a:lnTo>
                    <a:lnTo>
                      <a:pt x="2506861" y="2101202"/>
                    </a:lnTo>
                    <a:lnTo>
                      <a:pt x="2492974" y="2070384"/>
                    </a:lnTo>
                    <a:lnTo>
                      <a:pt x="2489182" y="2046794"/>
                    </a:lnTo>
                    <a:lnTo>
                      <a:pt x="2485390" y="2023204"/>
                    </a:lnTo>
                    <a:lnTo>
                      <a:pt x="2481055" y="1998875"/>
                    </a:lnTo>
                    <a:lnTo>
                      <a:pt x="2464693" y="1985580"/>
                    </a:lnTo>
                    <a:lnTo>
                      <a:pt x="2437867" y="1980079"/>
                    </a:lnTo>
                    <a:lnTo>
                      <a:pt x="2401751" y="1974771"/>
                    </a:lnTo>
                    <a:lnTo>
                      <a:pt x="2374925" y="1974704"/>
                    </a:lnTo>
                    <a:lnTo>
                      <a:pt x="2343169" y="2033175"/>
                    </a:lnTo>
                    <a:lnTo>
                      <a:pt x="2324590" y="2054958"/>
                    </a:lnTo>
                    <a:lnTo>
                      <a:pt x="2289231" y="2053593"/>
                    </a:lnTo>
                    <a:lnTo>
                      <a:pt x="2272314" y="2068365"/>
                    </a:lnTo>
                    <a:lnTo>
                      <a:pt x="2269846" y="2105983"/>
                    </a:lnTo>
                    <a:lnTo>
                      <a:pt x="2256585" y="2127041"/>
                    </a:lnTo>
                    <a:lnTo>
                      <a:pt x="2233951" y="2119106"/>
                    </a:lnTo>
                    <a:lnTo>
                      <a:pt x="2210343" y="2105278"/>
                    </a:lnTo>
                    <a:lnTo>
                      <a:pt x="2186534" y="2094633"/>
                    </a:lnTo>
                    <a:lnTo>
                      <a:pt x="2168891" y="2082729"/>
                    </a:lnTo>
                    <a:lnTo>
                      <a:pt x="2166808" y="2054952"/>
                    </a:lnTo>
                    <a:lnTo>
                      <a:pt x="2131188" y="2040093"/>
                    </a:lnTo>
                    <a:lnTo>
                      <a:pt x="2105602" y="2045429"/>
                    </a:lnTo>
                    <a:lnTo>
                      <a:pt x="2085197" y="2067192"/>
                    </a:lnTo>
                    <a:lnTo>
                      <a:pt x="2077256" y="2087834"/>
                    </a:lnTo>
                    <a:lnTo>
                      <a:pt x="2075799" y="2118381"/>
                    </a:lnTo>
                    <a:lnTo>
                      <a:pt x="2057993" y="2147446"/>
                    </a:lnTo>
                    <a:lnTo>
                      <a:pt x="2022630" y="2154252"/>
                    </a:lnTo>
                    <a:lnTo>
                      <a:pt x="2009487" y="2180941"/>
                    </a:lnTo>
                    <a:lnTo>
                      <a:pt x="2016088" y="2206825"/>
                    </a:lnTo>
                    <a:lnTo>
                      <a:pt x="2025346" y="2231780"/>
                    </a:lnTo>
                    <a:lnTo>
                      <a:pt x="2034608" y="2256735"/>
                    </a:lnTo>
                    <a:lnTo>
                      <a:pt x="2047389" y="2280141"/>
                    </a:lnTo>
                    <a:lnTo>
                      <a:pt x="2092080" y="2298218"/>
                    </a:lnTo>
                    <a:lnTo>
                      <a:pt x="2108752" y="2312977"/>
                    </a:lnTo>
                    <a:lnTo>
                      <a:pt x="2119201" y="2332433"/>
                    </a:lnTo>
                    <a:lnTo>
                      <a:pt x="2129647" y="2351894"/>
                    </a:lnTo>
                    <a:lnTo>
                      <a:pt x="2132760" y="2376506"/>
                    </a:lnTo>
                    <a:lnTo>
                      <a:pt x="2136881" y="2404528"/>
                    </a:lnTo>
                    <a:lnTo>
                      <a:pt x="2157286" y="2423567"/>
                    </a:lnTo>
                    <a:lnTo>
                      <a:pt x="2173992" y="2436329"/>
                    </a:lnTo>
                    <a:lnTo>
                      <a:pt x="2268820" y="2449413"/>
                    </a:lnTo>
                    <a:lnTo>
                      <a:pt x="2358594" y="2461653"/>
                    </a:lnTo>
                    <a:lnTo>
                      <a:pt x="2385799" y="2465220"/>
                    </a:lnTo>
                    <a:lnTo>
                      <a:pt x="2410073" y="2486450"/>
                    </a:lnTo>
                    <a:lnTo>
                      <a:pt x="2434766" y="2506545"/>
                    </a:lnTo>
                    <a:lnTo>
                      <a:pt x="2459456" y="2526632"/>
                    </a:lnTo>
                    <a:lnTo>
                      <a:pt x="2484478" y="2545302"/>
                    </a:lnTo>
                    <a:lnTo>
                      <a:pt x="2512297" y="2544623"/>
                    </a:lnTo>
                    <a:lnTo>
                      <a:pt x="2548239" y="2543746"/>
                    </a:lnTo>
                    <a:lnTo>
                      <a:pt x="2582618" y="2543845"/>
                    </a:lnTo>
                    <a:lnTo>
                      <a:pt x="2617037" y="2544623"/>
                    </a:lnTo>
                    <a:lnTo>
                      <a:pt x="2651448" y="2545407"/>
                    </a:lnTo>
                    <a:lnTo>
                      <a:pt x="2686066" y="2546483"/>
                    </a:lnTo>
                    <a:lnTo>
                      <a:pt x="2721769" y="2550065"/>
                    </a:lnTo>
                    <a:lnTo>
                      <a:pt x="2747014" y="2587496"/>
                    </a:lnTo>
                    <a:lnTo>
                      <a:pt x="2742128" y="2626302"/>
                    </a:lnTo>
                    <a:lnTo>
                      <a:pt x="2757131" y="2648004"/>
                    </a:lnTo>
                    <a:lnTo>
                      <a:pt x="2786829" y="2653367"/>
                    </a:lnTo>
                    <a:lnTo>
                      <a:pt x="2819459" y="2657917"/>
                    </a:lnTo>
                    <a:lnTo>
                      <a:pt x="2850989" y="2664321"/>
                    </a:lnTo>
                    <a:lnTo>
                      <a:pt x="2882513" y="2670732"/>
                    </a:lnTo>
                    <a:lnTo>
                      <a:pt x="2912601" y="2678829"/>
                    </a:lnTo>
                    <a:lnTo>
                      <a:pt x="2940760" y="2690166"/>
                    </a:lnTo>
                    <a:lnTo>
                      <a:pt x="2946326" y="2725066"/>
                    </a:lnTo>
                    <a:lnTo>
                      <a:pt x="2935319" y="2754097"/>
                    </a:lnTo>
                    <a:lnTo>
                      <a:pt x="2925552" y="2776796"/>
                    </a:lnTo>
                    <a:lnTo>
                      <a:pt x="2909844" y="2795850"/>
                    </a:lnTo>
                    <a:lnTo>
                      <a:pt x="2884993" y="2804423"/>
                    </a:lnTo>
                    <a:lnTo>
                      <a:pt x="2861866" y="2803065"/>
                    </a:lnTo>
                    <a:lnTo>
                      <a:pt x="2834668" y="2801705"/>
                    </a:lnTo>
                    <a:lnTo>
                      <a:pt x="2812061" y="2802603"/>
                    </a:lnTo>
                    <a:lnTo>
                      <a:pt x="2786537" y="2806243"/>
                    </a:lnTo>
                    <a:lnTo>
                      <a:pt x="2757131" y="2813946"/>
                    </a:lnTo>
                    <a:lnTo>
                      <a:pt x="2737480" y="2838630"/>
                    </a:lnTo>
                    <a:lnTo>
                      <a:pt x="2727211" y="2857472"/>
                    </a:lnTo>
                    <a:lnTo>
                      <a:pt x="2716941" y="2876307"/>
                    </a:lnTo>
                    <a:lnTo>
                      <a:pt x="2706517" y="2896474"/>
                    </a:lnTo>
                    <a:lnTo>
                      <a:pt x="2690993" y="2911188"/>
                    </a:lnTo>
                    <a:lnTo>
                      <a:pt x="2672935" y="2924885"/>
                    </a:lnTo>
                    <a:lnTo>
                      <a:pt x="2655122" y="2939084"/>
                    </a:lnTo>
                    <a:lnTo>
                      <a:pt x="2637303" y="2953283"/>
                    </a:lnTo>
                    <a:lnTo>
                      <a:pt x="2618864" y="2967673"/>
                    </a:lnTo>
                    <a:lnTo>
                      <a:pt x="2575338" y="2997502"/>
                    </a:lnTo>
                    <a:lnTo>
                      <a:pt x="2534763" y="3019654"/>
                    </a:lnTo>
                    <a:lnTo>
                      <a:pt x="2493256" y="3039742"/>
                    </a:lnTo>
                    <a:lnTo>
                      <a:pt x="2451748" y="3059824"/>
                    </a:lnTo>
                    <a:lnTo>
                      <a:pt x="2409773" y="3078876"/>
                    </a:lnTo>
                    <a:lnTo>
                      <a:pt x="2368119" y="3096867"/>
                    </a:lnTo>
                    <a:lnTo>
                      <a:pt x="2337886" y="3109925"/>
                    </a:lnTo>
                    <a:lnTo>
                      <a:pt x="2243612" y="3141521"/>
                    </a:lnTo>
                    <a:lnTo>
                      <a:pt x="2221217" y="3162157"/>
                    </a:lnTo>
                    <a:lnTo>
                      <a:pt x="2175480" y="3194314"/>
                    </a:lnTo>
                    <a:lnTo>
                      <a:pt x="2156303" y="3229629"/>
                    </a:lnTo>
                    <a:lnTo>
                      <a:pt x="2142328" y="3258733"/>
                    </a:lnTo>
                    <a:lnTo>
                      <a:pt x="2128348" y="3287837"/>
                    </a:lnTo>
                    <a:lnTo>
                      <a:pt x="2119353" y="3311209"/>
                    </a:lnTo>
                    <a:lnTo>
                      <a:pt x="2097075" y="3317915"/>
                    </a:lnTo>
                    <a:lnTo>
                      <a:pt x="2075108" y="3312699"/>
                    </a:lnTo>
                    <a:lnTo>
                      <a:pt x="2055400" y="3297834"/>
                    </a:lnTo>
                    <a:lnTo>
                      <a:pt x="2053562" y="3269357"/>
                    </a:lnTo>
                    <a:lnTo>
                      <a:pt x="2026035" y="3265895"/>
                    </a:lnTo>
                    <a:lnTo>
                      <a:pt x="1999543" y="3279197"/>
                    </a:lnTo>
                    <a:lnTo>
                      <a:pt x="1968215" y="3291377"/>
                    </a:lnTo>
                    <a:lnTo>
                      <a:pt x="1936896" y="3303558"/>
                    </a:lnTo>
                    <a:lnTo>
                      <a:pt x="1901463" y="3314875"/>
                    </a:lnTo>
                    <a:lnTo>
                      <a:pt x="1863483" y="3328104"/>
                    </a:lnTo>
                    <a:lnTo>
                      <a:pt x="1825501" y="3341326"/>
                    </a:lnTo>
                    <a:lnTo>
                      <a:pt x="1786189" y="3355888"/>
                    </a:lnTo>
                    <a:lnTo>
                      <a:pt x="1747869" y="3374348"/>
                    </a:lnTo>
                    <a:lnTo>
                      <a:pt x="1709539" y="3392807"/>
                    </a:lnTo>
                    <a:lnTo>
                      <a:pt x="1671405" y="3415830"/>
                    </a:lnTo>
                    <a:lnTo>
                      <a:pt x="1639051" y="3443720"/>
                    </a:lnTo>
                    <a:lnTo>
                      <a:pt x="1609803" y="3465226"/>
                    </a:lnTo>
                    <a:lnTo>
                      <a:pt x="1601664" y="3497244"/>
                    </a:lnTo>
                    <a:lnTo>
                      <a:pt x="1604888" y="3519410"/>
                    </a:lnTo>
                    <a:lnTo>
                      <a:pt x="1610488" y="3541654"/>
                    </a:lnTo>
                    <a:lnTo>
                      <a:pt x="1616075" y="3563899"/>
                    </a:lnTo>
                    <a:lnTo>
                      <a:pt x="1623790" y="3586223"/>
                    </a:lnTo>
                    <a:lnTo>
                      <a:pt x="1663533" y="3598785"/>
                    </a:lnTo>
                    <a:lnTo>
                      <a:pt x="1693460" y="3597427"/>
                    </a:lnTo>
                    <a:lnTo>
                      <a:pt x="1678648" y="3626689"/>
                    </a:lnTo>
                    <a:lnTo>
                      <a:pt x="1676670" y="3658008"/>
                    </a:lnTo>
                    <a:lnTo>
                      <a:pt x="1682577" y="3689914"/>
                    </a:lnTo>
                    <a:lnTo>
                      <a:pt x="1688486" y="3721827"/>
                    </a:lnTo>
                    <a:lnTo>
                      <a:pt x="1701986" y="3753594"/>
                    </a:lnTo>
                    <a:lnTo>
                      <a:pt x="1716581" y="3783772"/>
                    </a:lnTo>
                    <a:lnTo>
                      <a:pt x="1731175" y="3813950"/>
                    </a:lnTo>
                    <a:lnTo>
                      <a:pt x="1747512" y="3842685"/>
                    </a:lnTo>
                    <a:lnTo>
                      <a:pt x="1758749" y="3866742"/>
                    </a:lnTo>
                    <a:lnTo>
                      <a:pt x="1769985" y="3890801"/>
                    </a:lnTo>
                    <a:lnTo>
                      <a:pt x="1772348" y="3923875"/>
                    </a:lnTo>
                    <a:lnTo>
                      <a:pt x="1712500" y="3956520"/>
                    </a:lnTo>
                    <a:lnTo>
                      <a:pt x="1709378" y="3985161"/>
                    </a:lnTo>
                    <a:lnTo>
                      <a:pt x="1720664" y="4016369"/>
                    </a:lnTo>
                    <a:lnTo>
                      <a:pt x="1726593" y="4048327"/>
                    </a:lnTo>
                    <a:lnTo>
                      <a:pt x="1740508" y="4069404"/>
                    </a:lnTo>
                    <a:lnTo>
                      <a:pt x="1772004" y="4073131"/>
                    </a:lnTo>
                    <a:lnTo>
                      <a:pt x="1777169" y="4111131"/>
                    </a:lnTo>
                    <a:lnTo>
                      <a:pt x="1781448" y="4142166"/>
                    </a:lnTo>
                    <a:lnTo>
                      <a:pt x="1787305" y="4172786"/>
                    </a:lnTo>
                    <a:lnTo>
                      <a:pt x="1793162" y="4203405"/>
                    </a:lnTo>
                    <a:lnTo>
                      <a:pt x="1800349" y="4232971"/>
                    </a:lnTo>
                    <a:lnTo>
                      <a:pt x="1803627" y="4265279"/>
                    </a:lnTo>
                    <a:lnTo>
                      <a:pt x="1807248" y="4300899"/>
                    </a:lnTo>
                    <a:lnTo>
                      <a:pt x="1809102" y="4337586"/>
                    </a:lnTo>
                    <a:lnTo>
                      <a:pt x="1810432" y="4374096"/>
                    </a:lnTo>
                    <a:lnTo>
                      <a:pt x="1811753" y="4410611"/>
                    </a:lnTo>
                    <a:lnTo>
                      <a:pt x="1812755" y="4447082"/>
                    </a:lnTo>
                    <a:lnTo>
                      <a:pt x="1814504" y="4482911"/>
                    </a:lnTo>
                    <a:lnTo>
                      <a:pt x="1815598" y="4505124"/>
                    </a:lnTo>
                    <a:lnTo>
                      <a:pt x="1815031" y="4526820"/>
                    </a:lnTo>
                    <a:lnTo>
                      <a:pt x="1815868" y="4548202"/>
                    </a:lnTo>
                    <a:lnTo>
                      <a:pt x="1816693" y="4569582"/>
                    </a:lnTo>
                    <a:lnTo>
                      <a:pt x="1818683" y="4591239"/>
                    </a:lnTo>
                    <a:lnTo>
                      <a:pt x="1824025" y="4613491"/>
                    </a:lnTo>
                    <a:lnTo>
                      <a:pt x="1856070" y="4619321"/>
                    </a:lnTo>
                    <a:lnTo>
                      <a:pt x="1892632" y="4632147"/>
                    </a:lnTo>
                    <a:lnTo>
                      <a:pt x="1913797" y="4655659"/>
                    </a:lnTo>
                    <a:lnTo>
                      <a:pt x="1905769" y="4760610"/>
                    </a:lnTo>
                    <a:lnTo>
                      <a:pt x="1893398" y="4842004"/>
                    </a:lnTo>
                    <a:lnTo>
                      <a:pt x="1881017" y="4923405"/>
                    </a:lnTo>
                    <a:lnTo>
                      <a:pt x="1865192" y="5002082"/>
                    </a:lnTo>
                    <a:lnTo>
                      <a:pt x="1843389" y="5007398"/>
                    </a:lnTo>
                    <a:lnTo>
                      <a:pt x="1813077" y="5004891"/>
                    </a:lnTo>
                    <a:lnTo>
                      <a:pt x="1783222" y="5003870"/>
                    </a:lnTo>
                    <a:lnTo>
                      <a:pt x="1753366" y="5002847"/>
                    </a:lnTo>
                    <a:lnTo>
                      <a:pt x="1724608" y="5003276"/>
                    </a:lnTo>
                    <a:lnTo>
                      <a:pt x="1691237" y="5032009"/>
                    </a:lnTo>
                    <a:lnTo>
                      <a:pt x="1695274" y="5079783"/>
                    </a:lnTo>
                    <a:lnTo>
                      <a:pt x="1666243" y="5114043"/>
                    </a:lnTo>
                    <a:lnTo>
                      <a:pt x="1647770" y="5135852"/>
                    </a:lnTo>
                    <a:lnTo>
                      <a:pt x="1620534" y="5150341"/>
                    </a:lnTo>
                    <a:lnTo>
                      <a:pt x="1595512" y="5163010"/>
                    </a:lnTo>
                    <a:lnTo>
                      <a:pt x="1570491" y="5175686"/>
                    </a:lnTo>
                    <a:lnTo>
                      <a:pt x="1548120" y="5185949"/>
                    </a:lnTo>
                    <a:lnTo>
                      <a:pt x="1535900" y="5212341"/>
                    </a:lnTo>
                    <a:lnTo>
                      <a:pt x="1524782" y="5237823"/>
                    </a:lnTo>
                    <a:lnTo>
                      <a:pt x="1513517" y="5262733"/>
                    </a:lnTo>
                    <a:lnTo>
                      <a:pt x="1486697" y="5306403"/>
                    </a:lnTo>
                    <a:lnTo>
                      <a:pt x="1462289" y="5324250"/>
                    </a:lnTo>
                    <a:lnTo>
                      <a:pt x="1435004" y="5327593"/>
                    </a:lnTo>
                    <a:lnTo>
                      <a:pt x="1407728" y="5330951"/>
                    </a:lnTo>
                    <a:lnTo>
                      <a:pt x="1378434" y="5319792"/>
                    </a:lnTo>
                    <a:lnTo>
                      <a:pt x="1349316" y="5293590"/>
                    </a:lnTo>
                    <a:lnTo>
                      <a:pt x="1331209" y="5265113"/>
                    </a:lnTo>
                    <a:lnTo>
                      <a:pt x="1313954" y="5242446"/>
                    </a:lnTo>
                    <a:lnTo>
                      <a:pt x="1284034" y="5233735"/>
                    </a:lnTo>
                    <a:lnTo>
                      <a:pt x="1250795" y="5260595"/>
                    </a:lnTo>
                    <a:lnTo>
                      <a:pt x="1267377" y="5295331"/>
                    </a:lnTo>
                    <a:lnTo>
                      <a:pt x="1254107" y="5319429"/>
                    </a:lnTo>
                    <a:lnTo>
                      <a:pt x="1222471" y="5346395"/>
                    </a:lnTo>
                    <a:lnTo>
                      <a:pt x="1190176" y="5375196"/>
                    </a:lnTo>
                    <a:lnTo>
                      <a:pt x="1157892" y="5403996"/>
                    </a:lnTo>
                    <a:lnTo>
                      <a:pt x="1121129" y="5440927"/>
                    </a:lnTo>
                    <a:lnTo>
                      <a:pt x="1099046" y="5479929"/>
                    </a:lnTo>
                    <a:lnTo>
                      <a:pt x="1081934" y="5510154"/>
                    </a:lnTo>
                    <a:lnTo>
                      <a:pt x="1068143" y="5553765"/>
                    </a:lnTo>
                    <a:lnTo>
                      <a:pt x="1055520" y="5594186"/>
                    </a:lnTo>
                    <a:lnTo>
                      <a:pt x="1042898" y="5634613"/>
                    </a:lnTo>
                    <a:lnTo>
                      <a:pt x="1031609" y="5672229"/>
                    </a:lnTo>
                    <a:lnTo>
                      <a:pt x="1017430" y="5693479"/>
                    </a:lnTo>
                    <a:lnTo>
                      <a:pt x="983959" y="5697336"/>
                    </a:lnTo>
                    <a:lnTo>
                      <a:pt x="969674" y="5660174"/>
                    </a:lnTo>
                    <a:lnTo>
                      <a:pt x="961669" y="5621383"/>
                    </a:lnTo>
                    <a:lnTo>
                      <a:pt x="953663" y="5582591"/>
                    </a:lnTo>
                    <a:lnTo>
                      <a:pt x="951626" y="5541742"/>
                    </a:lnTo>
                    <a:lnTo>
                      <a:pt x="966760" y="5515152"/>
                    </a:lnTo>
                    <a:lnTo>
                      <a:pt x="990231" y="5488081"/>
                    </a:lnTo>
                    <a:lnTo>
                      <a:pt x="952996" y="5310619"/>
                    </a:lnTo>
                    <a:lnTo>
                      <a:pt x="935143" y="5295530"/>
                    </a:lnTo>
                    <a:lnTo>
                      <a:pt x="906370" y="5298846"/>
                    </a:lnTo>
                    <a:lnTo>
                      <a:pt x="895530" y="5326196"/>
                    </a:lnTo>
                    <a:lnTo>
                      <a:pt x="892296" y="5362942"/>
                    </a:lnTo>
                    <a:lnTo>
                      <a:pt x="887531" y="5398581"/>
                    </a:lnTo>
                    <a:lnTo>
                      <a:pt x="880790" y="5433185"/>
                    </a:lnTo>
                    <a:lnTo>
                      <a:pt x="867817" y="5470399"/>
                    </a:lnTo>
                    <a:lnTo>
                      <a:pt x="855576" y="5506994"/>
                    </a:lnTo>
                    <a:lnTo>
                      <a:pt x="855576" y="5549281"/>
                    </a:lnTo>
                    <a:lnTo>
                      <a:pt x="859659" y="5586014"/>
                    </a:lnTo>
                    <a:lnTo>
                      <a:pt x="862732" y="5616958"/>
                    </a:lnTo>
                    <a:lnTo>
                      <a:pt x="864732" y="5647565"/>
                    </a:lnTo>
                    <a:lnTo>
                      <a:pt x="862376" y="5682590"/>
                    </a:lnTo>
                    <a:lnTo>
                      <a:pt x="854398" y="5723999"/>
                    </a:lnTo>
                    <a:lnTo>
                      <a:pt x="844690" y="5751962"/>
                    </a:lnTo>
                    <a:lnTo>
                      <a:pt x="835165" y="5772361"/>
                    </a:lnTo>
                    <a:lnTo>
                      <a:pt x="820201" y="5790040"/>
                    </a:lnTo>
                    <a:lnTo>
                      <a:pt x="801545" y="5801232"/>
                    </a:lnTo>
                    <a:lnTo>
                      <a:pt x="778114" y="5805723"/>
                    </a:lnTo>
                    <a:lnTo>
                      <a:pt x="752196" y="5806363"/>
                    </a:lnTo>
                    <a:lnTo>
                      <a:pt x="726285" y="5807030"/>
                    </a:lnTo>
                    <a:lnTo>
                      <a:pt x="698355" y="5804450"/>
                    </a:lnTo>
                    <a:lnTo>
                      <a:pt x="671941" y="5800930"/>
                    </a:lnTo>
                    <a:lnTo>
                      <a:pt x="645536" y="5797401"/>
                    </a:lnTo>
                    <a:lnTo>
                      <a:pt x="619993" y="5792712"/>
                    </a:lnTo>
                    <a:lnTo>
                      <a:pt x="579711" y="5790093"/>
                    </a:lnTo>
                    <a:lnTo>
                      <a:pt x="557690" y="5798206"/>
                    </a:lnTo>
                    <a:lnTo>
                      <a:pt x="548392" y="5820015"/>
                    </a:lnTo>
                    <a:lnTo>
                      <a:pt x="542491" y="5844409"/>
                    </a:lnTo>
                    <a:lnTo>
                      <a:pt x="525047" y="5866213"/>
                    </a:lnTo>
                    <a:lnTo>
                      <a:pt x="486789" y="5867901"/>
                    </a:lnTo>
                    <a:lnTo>
                      <a:pt x="461767" y="5873914"/>
                    </a:lnTo>
                    <a:lnTo>
                      <a:pt x="430535" y="5893878"/>
                    </a:lnTo>
                    <a:lnTo>
                      <a:pt x="418948" y="5923344"/>
                    </a:lnTo>
                    <a:lnTo>
                      <a:pt x="412025" y="5958013"/>
                    </a:lnTo>
                    <a:lnTo>
                      <a:pt x="401393" y="5997490"/>
                    </a:lnTo>
                    <a:lnTo>
                      <a:pt x="393071" y="6019121"/>
                    </a:lnTo>
                    <a:lnTo>
                      <a:pt x="375422" y="6040324"/>
                    </a:lnTo>
                    <a:lnTo>
                      <a:pt x="346860" y="6055282"/>
                    </a:lnTo>
                    <a:lnTo>
                      <a:pt x="281571" y="6049840"/>
                    </a:lnTo>
                    <a:lnTo>
                      <a:pt x="266877" y="6064844"/>
                    </a:lnTo>
                    <a:lnTo>
                      <a:pt x="255455" y="6086528"/>
                    </a:lnTo>
                    <a:lnTo>
                      <a:pt x="246202" y="6113771"/>
                    </a:lnTo>
                    <a:lnTo>
                      <a:pt x="238603" y="6143330"/>
                    </a:lnTo>
                    <a:lnTo>
                      <a:pt x="232036" y="6176707"/>
                    </a:lnTo>
                    <a:lnTo>
                      <a:pt x="225797" y="6213064"/>
                    </a:lnTo>
                    <a:lnTo>
                      <a:pt x="221491" y="6248526"/>
                    </a:lnTo>
                    <a:lnTo>
                      <a:pt x="216505" y="6283703"/>
                    </a:lnTo>
                    <a:lnTo>
                      <a:pt x="210840" y="6316439"/>
                    </a:lnTo>
                    <a:lnTo>
                      <a:pt x="206031" y="6347772"/>
                    </a:lnTo>
                    <a:lnTo>
                      <a:pt x="200137" y="6371586"/>
                    </a:lnTo>
                    <a:lnTo>
                      <a:pt x="190435" y="6395334"/>
                    </a:lnTo>
                    <a:lnTo>
                      <a:pt x="217255" y="6400096"/>
                    </a:lnTo>
                    <a:lnTo>
                      <a:pt x="233236" y="6415350"/>
                    </a:lnTo>
                    <a:lnTo>
                      <a:pt x="231388" y="6445231"/>
                    </a:lnTo>
                    <a:lnTo>
                      <a:pt x="210918" y="6489898"/>
                    </a:lnTo>
                    <a:lnTo>
                      <a:pt x="193151" y="6534071"/>
                    </a:lnTo>
                    <a:lnTo>
                      <a:pt x="175385" y="6578243"/>
                    </a:lnTo>
                    <a:lnTo>
                      <a:pt x="160527" y="6622483"/>
                    </a:lnTo>
                    <a:lnTo>
                      <a:pt x="163739" y="6646712"/>
                    </a:lnTo>
                    <a:lnTo>
                      <a:pt x="188119" y="6665403"/>
                    </a:lnTo>
                    <a:lnTo>
                      <a:pt x="226752" y="6675064"/>
                    </a:lnTo>
                    <a:lnTo>
                      <a:pt x="249306" y="6671073"/>
                    </a:lnTo>
                    <a:lnTo>
                      <a:pt x="270688" y="6666009"/>
                    </a:lnTo>
                    <a:lnTo>
                      <a:pt x="292063" y="6660950"/>
                    </a:lnTo>
                    <a:lnTo>
                      <a:pt x="313253" y="6655938"/>
                    </a:lnTo>
                    <a:lnTo>
                      <a:pt x="335977" y="6657851"/>
                    </a:lnTo>
                    <a:lnTo>
                      <a:pt x="349365" y="6687824"/>
                    </a:lnTo>
                    <a:lnTo>
                      <a:pt x="356382" y="6714976"/>
                    </a:lnTo>
                    <a:lnTo>
                      <a:pt x="363386" y="6742128"/>
                    </a:lnTo>
                    <a:lnTo>
                      <a:pt x="368623" y="6770320"/>
                    </a:lnTo>
                    <a:lnTo>
                      <a:pt x="349377" y="6797987"/>
                    </a:lnTo>
                    <a:lnTo>
                      <a:pt x="325295" y="6825118"/>
                    </a:lnTo>
                    <a:lnTo>
                      <a:pt x="311491" y="6845556"/>
                    </a:lnTo>
                    <a:lnTo>
                      <a:pt x="303662" y="6866679"/>
                    </a:lnTo>
                    <a:lnTo>
                      <a:pt x="305734" y="6891733"/>
                    </a:lnTo>
                    <a:lnTo>
                      <a:pt x="308775" y="6916286"/>
                    </a:lnTo>
                    <a:lnTo>
                      <a:pt x="311808" y="6940838"/>
                    </a:lnTo>
                    <a:lnTo>
                      <a:pt x="316214" y="6964725"/>
                    </a:lnTo>
                    <a:lnTo>
                      <a:pt x="312849" y="6987015"/>
                    </a:lnTo>
                    <a:lnTo>
                      <a:pt x="307033" y="7025655"/>
                    </a:lnTo>
                    <a:lnTo>
                      <a:pt x="287003" y="7057746"/>
                    </a:lnTo>
                    <a:lnTo>
                      <a:pt x="271705" y="7100680"/>
                    </a:lnTo>
                    <a:lnTo>
                      <a:pt x="276123" y="7162487"/>
                    </a:lnTo>
                    <a:lnTo>
                      <a:pt x="280197" y="7222336"/>
                    </a:lnTo>
                    <a:lnTo>
                      <a:pt x="285639" y="7280819"/>
                    </a:lnTo>
                    <a:lnTo>
                      <a:pt x="288370" y="7318865"/>
                    </a:lnTo>
                    <a:lnTo>
                      <a:pt x="265069" y="7430022"/>
                    </a:lnTo>
                    <a:lnTo>
                      <a:pt x="276123" y="7449483"/>
                    </a:lnTo>
                    <a:lnTo>
                      <a:pt x="305113" y="7477882"/>
                    </a:lnTo>
                    <a:lnTo>
                      <a:pt x="348469" y="7500745"/>
                    </a:lnTo>
                    <a:lnTo>
                      <a:pt x="383574" y="7520214"/>
                    </a:lnTo>
                    <a:lnTo>
                      <a:pt x="384851" y="7608585"/>
                    </a:lnTo>
                    <a:lnTo>
                      <a:pt x="391738" y="7637194"/>
                    </a:lnTo>
                    <a:lnTo>
                      <a:pt x="357417" y="7650021"/>
                    </a:lnTo>
                    <a:lnTo>
                      <a:pt x="329171" y="7652158"/>
                    </a:lnTo>
                    <a:lnTo>
                      <a:pt x="300918" y="7654296"/>
                    </a:lnTo>
                    <a:lnTo>
                      <a:pt x="272232" y="7654348"/>
                    </a:lnTo>
                    <a:lnTo>
                      <a:pt x="229193" y="7654829"/>
                    </a:lnTo>
                    <a:lnTo>
                      <a:pt x="206388" y="7660092"/>
                    </a:lnTo>
                    <a:lnTo>
                      <a:pt x="154738" y="7671304"/>
                    </a:lnTo>
                    <a:lnTo>
                      <a:pt x="104735" y="7687514"/>
                    </a:lnTo>
                    <a:lnTo>
                      <a:pt x="79732" y="7695625"/>
                    </a:lnTo>
                    <a:lnTo>
                      <a:pt x="55780" y="7704798"/>
                    </a:lnTo>
                    <a:lnTo>
                      <a:pt x="36727" y="7714717"/>
                    </a:lnTo>
                    <a:lnTo>
                      <a:pt x="17667" y="7724643"/>
                    </a:lnTo>
                    <a:lnTo>
                      <a:pt x="0" y="7746003"/>
                    </a:lnTo>
                    <a:lnTo>
                      <a:pt x="19996" y="7806493"/>
                    </a:lnTo>
                    <a:lnTo>
                      <a:pt x="56676" y="7867199"/>
                    </a:lnTo>
                    <a:lnTo>
                      <a:pt x="88410" y="7928274"/>
                    </a:lnTo>
                    <a:lnTo>
                      <a:pt x="104279" y="7958807"/>
                    </a:lnTo>
                    <a:lnTo>
                      <a:pt x="118564" y="7989250"/>
                    </a:lnTo>
                    <a:lnTo>
                      <a:pt x="129214" y="8020768"/>
                    </a:lnTo>
                    <a:lnTo>
                      <a:pt x="139865" y="8052278"/>
                    </a:lnTo>
                    <a:lnTo>
                      <a:pt x="146903" y="8084290"/>
                    </a:lnTo>
                    <a:lnTo>
                      <a:pt x="146903" y="8117336"/>
                    </a:lnTo>
                    <a:lnTo>
                      <a:pt x="139338" y="8152223"/>
                    </a:lnTo>
                    <a:lnTo>
                      <a:pt x="116375" y="8183107"/>
                    </a:lnTo>
                    <a:lnTo>
                      <a:pt x="100862" y="8197320"/>
                    </a:lnTo>
                    <a:lnTo>
                      <a:pt x="85694" y="8212553"/>
                    </a:lnTo>
                    <a:lnTo>
                      <a:pt x="70520" y="8227788"/>
                    </a:lnTo>
                    <a:lnTo>
                      <a:pt x="55950" y="8243787"/>
                    </a:lnTo>
                    <a:lnTo>
                      <a:pt x="33818" y="8279248"/>
                    </a:lnTo>
                    <a:lnTo>
                      <a:pt x="27205" y="8321370"/>
                    </a:lnTo>
                    <a:lnTo>
                      <a:pt x="42407" y="8348046"/>
                    </a:lnTo>
                    <a:lnTo>
                      <a:pt x="71853" y="8365417"/>
                    </a:lnTo>
                    <a:lnTo>
                      <a:pt x="102016" y="8373053"/>
                    </a:lnTo>
                    <a:lnTo>
                      <a:pt x="148010" y="8378837"/>
                    </a:lnTo>
                    <a:lnTo>
                      <a:pt x="195520" y="8383474"/>
                    </a:lnTo>
                    <a:lnTo>
                      <a:pt x="242119" y="8389376"/>
                    </a:lnTo>
                    <a:lnTo>
                      <a:pt x="288711" y="8395278"/>
                    </a:lnTo>
                    <a:lnTo>
                      <a:pt x="334402" y="8402810"/>
                    </a:lnTo>
                    <a:lnTo>
                      <a:pt x="379497" y="8413863"/>
                    </a:lnTo>
                    <a:lnTo>
                      <a:pt x="425274" y="8422918"/>
                    </a:lnTo>
                    <a:lnTo>
                      <a:pt x="470924" y="8432862"/>
                    </a:lnTo>
                    <a:lnTo>
                      <a:pt x="515516" y="8445150"/>
                    </a:lnTo>
                    <a:lnTo>
                      <a:pt x="560106" y="8457430"/>
                    </a:lnTo>
                    <a:lnTo>
                      <a:pt x="604013" y="8471971"/>
                    </a:lnTo>
                    <a:lnTo>
                      <a:pt x="647455" y="8488676"/>
                    </a:lnTo>
                    <a:lnTo>
                      <a:pt x="672483" y="8503698"/>
                    </a:lnTo>
                    <a:lnTo>
                      <a:pt x="693158" y="8525337"/>
                    </a:lnTo>
                    <a:lnTo>
                      <a:pt x="712744" y="8547159"/>
                    </a:lnTo>
                    <a:lnTo>
                      <a:pt x="728960" y="8561774"/>
                    </a:lnTo>
                    <a:lnTo>
                      <a:pt x="750038" y="8571078"/>
                    </a:lnTo>
                    <a:lnTo>
                      <a:pt x="772592" y="8577087"/>
                    </a:lnTo>
                    <a:lnTo>
                      <a:pt x="795142" y="8583089"/>
                    </a:lnTo>
                    <a:lnTo>
                      <a:pt x="819550" y="8584684"/>
                    </a:lnTo>
                    <a:lnTo>
                      <a:pt x="844684" y="8585245"/>
                    </a:lnTo>
                    <a:lnTo>
                      <a:pt x="894957" y="8586372"/>
                    </a:lnTo>
                    <a:lnTo>
                      <a:pt x="946718" y="8580081"/>
                    </a:lnTo>
                    <a:lnTo>
                      <a:pt x="984784" y="8578445"/>
                    </a:lnTo>
                    <a:lnTo>
                      <a:pt x="1012990" y="8577238"/>
                    </a:lnTo>
                    <a:lnTo>
                      <a:pt x="1033726" y="8584440"/>
                    </a:lnTo>
                    <a:lnTo>
                      <a:pt x="1066428" y="8610536"/>
                    </a:lnTo>
                    <a:lnTo>
                      <a:pt x="1079060" y="8629608"/>
                    </a:lnTo>
                    <a:lnTo>
                      <a:pt x="1088160" y="8650534"/>
                    </a:lnTo>
                    <a:lnTo>
                      <a:pt x="1106361" y="8692392"/>
                    </a:lnTo>
                    <a:lnTo>
                      <a:pt x="1113557" y="8743338"/>
                    </a:lnTo>
                    <a:lnTo>
                      <a:pt x="1130328" y="8778396"/>
                    </a:lnTo>
                    <a:lnTo>
                      <a:pt x="1139692" y="8797982"/>
                    </a:lnTo>
                    <a:lnTo>
                      <a:pt x="1186350" y="8839307"/>
                    </a:lnTo>
                    <a:lnTo>
                      <a:pt x="1203775" y="8851844"/>
                    </a:lnTo>
                    <a:lnTo>
                      <a:pt x="1231488" y="8871398"/>
                    </a:lnTo>
                    <a:lnTo>
                      <a:pt x="1263117" y="8883980"/>
                    </a:lnTo>
                    <a:lnTo>
                      <a:pt x="1296268" y="8884489"/>
                    </a:lnTo>
                    <a:lnTo>
                      <a:pt x="1310072" y="8848784"/>
                    </a:lnTo>
                    <a:lnTo>
                      <a:pt x="1317008" y="8800457"/>
                    </a:lnTo>
                    <a:lnTo>
                      <a:pt x="1332995" y="8779754"/>
                    </a:lnTo>
                    <a:lnTo>
                      <a:pt x="1527504" y="8738952"/>
                    </a:lnTo>
                    <a:lnTo>
                      <a:pt x="1548734" y="8735160"/>
                    </a:lnTo>
                    <a:lnTo>
                      <a:pt x="1615133" y="8727860"/>
                    </a:lnTo>
                    <a:lnTo>
                      <a:pt x="1677123" y="8711747"/>
                    </a:lnTo>
                    <a:lnTo>
                      <a:pt x="1708119" y="8703689"/>
                    </a:lnTo>
                    <a:lnTo>
                      <a:pt x="1737612" y="8693197"/>
                    </a:lnTo>
                    <a:lnTo>
                      <a:pt x="1760094" y="8680462"/>
                    </a:lnTo>
                    <a:lnTo>
                      <a:pt x="1782583" y="8667727"/>
                    </a:lnTo>
                    <a:lnTo>
                      <a:pt x="1798049" y="8652691"/>
                    </a:lnTo>
                    <a:lnTo>
                      <a:pt x="1801115" y="8614829"/>
                    </a:lnTo>
                    <a:lnTo>
                      <a:pt x="1792741" y="8577087"/>
                    </a:lnTo>
                    <a:lnTo>
                      <a:pt x="1784819" y="8538829"/>
                    </a:lnTo>
                    <a:lnTo>
                      <a:pt x="1792297" y="8505889"/>
                    </a:lnTo>
                    <a:lnTo>
                      <a:pt x="1868516" y="8480934"/>
                    </a:lnTo>
                    <a:lnTo>
                      <a:pt x="1945088" y="8465547"/>
                    </a:lnTo>
                    <a:lnTo>
                      <a:pt x="1983371" y="8457857"/>
                    </a:lnTo>
                    <a:lnTo>
                      <a:pt x="2021055" y="8452258"/>
                    </a:lnTo>
                    <a:lnTo>
                      <a:pt x="2051181" y="8451948"/>
                    </a:lnTo>
                    <a:lnTo>
                      <a:pt x="2081300" y="8451619"/>
                    </a:lnTo>
                    <a:lnTo>
                      <a:pt x="2103518" y="8457416"/>
                    </a:lnTo>
                    <a:lnTo>
                      <a:pt x="2113350" y="8482496"/>
                    </a:lnTo>
                    <a:lnTo>
                      <a:pt x="2140357" y="8539040"/>
                    </a:lnTo>
                    <a:lnTo>
                      <a:pt x="2125440" y="8563099"/>
                    </a:lnTo>
                    <a:lnTo>
                      <a:pt x="2110014" y="8584895"/>
                    </a:lnTo>
                    <a:lnTo>
                      <a:pt x="2097429" y="8608372"/>
                    </a:lnTo>
                    <a:lnTo>
                      <a:pt x="2084841" y="8631844"/>
                    </a:lnTo>
                    <a:lnTo>
                      <a:pt x="2074618" y="8656872"/>
                    </a:lnTo>
                    <a:lnTo>
                      <a:pt x="2083231" y="8682625"/>
                    </a:lnTo>
                    <a:lnTo>
                      <a:pt x="2096065" y="8700866"/>
                    </a:lnTo>
                    <a:lnTo>
                      <a:pt x="2105503" y="8729469"/>
                    </a:lnTo>
                    <a:lnTo>
                      <a:pt x="2111543" y="8761434"/>
                    </a:lnTo>
                    <a:lnTo>
                      <a:pt x="2119186" y="8790636"/>
                    </a:lnTo>
                    <a:lnTo>
                      <a:pt x="2144868" y="8807467"/>
                    </a:lnTo>
                    <a:lnTo>
                      <a:pt x="2231532" y="8781199"/>
                    </a:lnTo>
                    <a:lnTo>
                      <a:pt x="2252489" y="8775672"/>
                    </a:lnTo>
                    <a:lnTo>
                      <a:pt x="2278289" y="8797522"/>
                    </a:lnTo>
                    <a:lnTo>
                      <a:pt x="2288127" y="8835983"/>
                    </a:lnTo>
                    <a:lnTo>
                      <a:pt x="2300099" y="8869532"/>
                    </a:lnTo>
                    <a:lnTo>
                      <a:pt x="2313090" y="8901530"/>
                    </a:lnTo>
                    <a:lnTo>
                      <a:pt x="2327908" y="8924579"/>
                    </a:lnTo>
                    <a:lnTo>
                      <a:pt x="2392208" y="8931701"/>
                    </a:lnTo>
                    <a:lnTo>
                      <a:pt x="2447553" y="8934393"/>
                    </a:lnTo>
                    <a:lnTo>
                      <a:pt x="2501407" y="8933456"/>
                    </a:lnTo>
                    <a:lnTo>
                      <a:pt x="2555255" y="8932518"/>
                    </a:lnTo>
                    <a:lnTo>
                      <a:pt x="2607816" y="8927916"/>
                    </a:lnTo>
                    <a:lnTo>
                      <a:pt x="2653748" y="8913051"/>
                    </a:lnTo>
                    <a:lnTo>
                      <a:pt x="2699082" y="8898384"/>
                    </a:lnTo>
                    <a:lnTo>
                      <a:pt x="2798673" y="8866281"/>
                    </a:lnTo>
                    <a:lnTo>
                      <a:pt x="2898586" y="8836879"/>
                    </a:lnTo>
                    <a:lnTo>
                      <a:pt x="2998484" y="8807486"/>
                    </a:lnTo>
                    <a:lnTo>
                      <a:pt x="3099340" y="8780692"/>
                    </a:lnTo>
                    <a:lnTo>
                      <a:pt x="3148862" y="8775672"/>
                    </a:lnTo>
                    <a:lnTo>
                      <a:pt x="3186863" y="8771827"/>
                    </a:lnTo>
                    <a:lnTo>
                      <a:pt x="3227540" y="8773035"/>
                    </a:lnTo>
                    <a:lnTo>
                      <a:pt x="3265835" y="8771596"/>
                    </a:lnTo>
                    <a:lnTo>
                      <a:pt x="3291424" y="8770640"/>
                    </a:lnTo>
                    <a:lnTo>
                      <a:pt x="3327050" y="8790643"/>
                    </a:lnTo>
                    <a:lnTo>
                      <a:pt x="3360012" y="8815868"/>
                    </a:lnTo>
                    <a:lnTo>
                      <a:pt x="3380092" y="8826006"/>
                    </a:lnTo>
                    <a:lnTo>
                      <a:pt x="3533199" y="8885729"/>
                    </a:lnTo>
                    <a:lnTo>
                      <a:pt x="3672623" y="8931722"/>
                    </a:lnTo>
                    <a:lnTo>
                      <a:pt x="3792532" y="8958669"/>
                    </a:lnTo>
                    <a:lnTo>
                      <a:pt x="3920096" y="8974265"/>
                    </a:lnTo>
                    <a:lnTo>
                      <a:pt x="3940495" y="8981064"/>
                    </a:lnTo>
                    <a:lnTo>
                      <a:pt x="3994600" y="8984388"/>
                    </a:lnTo>
                    <a:lnTo>
                      <a:pt x="4052503" y="8992797"/>
                    </a:lnTo>
                    <a:lnTo>
                      <a:pt x="4106441" y="8991954"/>
                    </a:lnTo>
                    <a:lnTo>
                      <a:pt x="4141199" y="8991423"/>
                    </a:lnTo>
                    <a:lnTo>
                      <a:pt x="4268729" y="8959348"/>
                    </a:lnTo>
                    <a:lnTo>
                      <a:pt x="4293131" y="8957646"/>
                    </a:lnTo>
                    <a:lnTo>
                      <a:pt x="4413508" y="8912847"/>
                    </a:lnTo>
                    <a:lnTo>
                      <a:pt x="4534651" y="8857120"/>
                    </a:lnTo>
                    <a:lnTo>
                      <a:pt x="4635559" y="8831445"/>
                    </a:lnTo>
                    <a:lnTo>
                      <a:pt x="4659366" y="8825365"/>
                    </a:lnTo>
                    <a:lnTo>
                      <a:pt x="4686483" y="8825919"/>
                    </a:lnTo>
                    <a:lnTo>
                      <a:pt x="4709006" y="8820564"/>
                    </a:lnTo>
                    <a:lnTo>
                      <a:pt x="4743140" y="8812406"/>
                    </a:lnTo>
                    <a:lnTo>
                      <a:pt x="4779234" y="8802072"/>
                    </a:lnTo>
                    <a:lnTo>
                      <a:pt x="4813747" y="8796083"/>
                    </a:lnTo>
                    <a:lnTo>
                      <a:pt x="4861769" y="8787727"/>
                    </a:lnTo>
                    <a:lnTo>
                      <a:pt x="4908851" y="8782524"/>
                    </a:lnTo>
                    <a:lnTo>
                      <a:pt x="4956566" y="8775678"/>
                    </a:lnTo>
                    <a:lnTo>
                      <a:pt x="5004287" y="8768828"/>
                    </a:lnTo>
                    <a:lnTo>
                      <a:pt x="5051757" y="8761137"/>
                    </a:lnTo>
                    <a:lnTo>
                      <a:pt x="5098024" y="8744393"/>
                    </a:lnTo>
                    <a:lnTo>
                      <a:pt x="5161871" y="8721271"/>
                    </a:lnTo>
                    <a:lnTo>
                      <a:pt x="5216364" y="8677745"/>
                    </a:lnTo>
                    <a:lnTo>
                      <a:pt x="5280156" y="8640127"/>
                    </a:lnTo>
                    <a:lnTo>
                      <a:pt x="5352821" y="8620713"/>
                    </a:lnTo>
                    <a:lnTo>
                      <a:pt x="5417673" y="8586609"/>
                    </a:lnTo>
                    <a:lnTo>
                      <a:pt x="5439950" y="8574891"/>
                    </a:lnTo>
                    <a:lnTo>
                      <a:pt x="5474813" y="8550021"/>
                    </a:lnTo>
                    <a:lnTo>
                      <a:pt x="5511527" y="8528120"/>
                    </a:lnTo>
                    <a:lnTo>
                      <a:pt x="5548238" y="8506217"/>
                    </a:lnTo>
                    <a:lnTo>
                      <a:pt x="5587064" y="8487318"/>
                    </a:lnTo>
                    <a:lnTo>
                      <a:pt x="5613543" y="8487318"/>
                    </a:lnTo>
                    <a:lnTo>
                      <a:pt x="5665899" y="8487318"/>
                    </a:lnTo>
                    <a:lnTo>
                      <a:pt x="5721344" y="8491511"/>
                    </a:lnTo>
                    <a:lnTo>
                      <a:pt x="5775409" y="8502281"/>
                    </a:lnTo>
                    <a:lnTo>
                      <a:pt x="5829468" y="8513043"/>
                    </a:lnTo>
                    <a:lnTo>
                      <a:pt x="5881362" y="8530033"/>
                    </a:lnTo>
                    <a:lnTo>
                      <a:pt x="5929108" y="8551249"/>
                    </a:lnTo>
                    <a:lnTo>
                      <a:pt x="5994438" y="8580272"/>
                    </a:lnTo>
                    <a:lnTo>
                      <a:pt x="6058164" y="8625506"/>
                    </a:lnTo>
                    <a:lnTo>
                      <a:pt x="6127695" y="8645100"/>
                    </a:lnTo>
                    <a:lnTo>
                      <a:pt x="6203398" y="8666395"/>
                    </a:lnTo>
                    <a:lnTo>
                      <a:pt x="6306279" y="8688225"/>
                    </a:lnTo>
                    <a:lnTo>
                      <a:pt x="6410617" y="8704949"/>
                    </a:lnTo>
                    <a:lnTo>
                      <a:pt x="6514961" y="8721674"/>
                    </a:lnTo>
                    <a:lnTo>
                      <a:pt x="6619668" y="8732661"/>
                    </a:lnTo>
                    <a:lnTo>
                      <a:pt x="6698977" y="8733512"/>
                    </a:lnTo>
                    <a:lnTo>
                      <a:pt x="6747570" y="8727728"/>
                    </a:lnTo>
                    <a:lnTo>
                      <a:pt x="6786433" y="8684927"/>
                    </a:lnTo>
                    <a:lnTo>
                      <a:pt x="6797123" y="8665544"/>
                    </a:lnTo>
                    <a:lnTo>
                      <a:pt x="6811349" y="8618153"/>
                    </a:lnTo>
                    <a:lnTo>
                      <a:pt x="6820040" y="8570288"/>
                    </a:lnTo>
                    <a:lnTo>
                      <a:pt x="6828734" y="8522421"/>
                    </a:lnTo>
                    <a:lnTo>
                      <a:pt x="6832994" y="8474497"/>
                    </a:lnTo>
                    <a:lnTo>
                      <a:pt x="6817048" y="8441086"/>
                    </a:lnTo>
                    <a:lnTo>
                      <a:pt x="6795514" y="8421539"/>
                    </a:lnTo>
                    <a:lnTo>
                      <a:pt x="6772440" y="8402982"/>
                    </a:lnTo>
                    <a:lnTo>
                      <a:pt x="6749337" y="8384429"/>
                    </a:lnTo>
                    <a:lnTo>
                      <a:pt x="6723531" y="8367046"/>
                    </a:lnTo>
                    <a:lnTo>
                      <a:pt x="6703061" y="8340415"/>
                    </a:lnTo>
                    <a:lnTo>
                      <a:pt x="6713606" y="8280310"/>
                    </a:lnTo>
                    <a:lnTo>
                      <a:pt x="6747353" y="8221904"/>
                    </a:lnTo>
                    <a:lnTo>
                      <a:pt x="6768350" y="8164945"/>
                    </a:lnTo>
                    <a:lnTo>
                      <a:pt x="6797263" y="8086525"/>
                    </a:lnTo>
                    <a:lnTo>
                      <a:pt x="6796702" y="7999090"/>
                    </a:lnTo>
                    <a:lnTo>
                      <a:pt x="6814598" y="7918751"/>
                    </a:lnTo>
                    <a:lnTo>
                      <a:pt x="6820086" y="7893842"/>
                    </a:lnTo>
                    <a:lnTo>
                      <a:pt x="6837127" y="7865450"/>
                    </a:lnTo>
                    <a:lnTo>
                      <a:pt x="6844522" y="7839863"/>
                    </a:lnTo>
                    <a:lnTo>
                      <a:pt x="6868158" y="7757610"/>
                    </a:lnTo>
                    <a:lnTo>
                      <a:pt x="6887288" y="7637280"/>
                    </a:lnTo>
                    <a:lnTo>
                      <a:pt x="6886690" y="7551500"/>
                    </a:lnTo>
                    <a:lnTo>
                      <a:pt x="6870750" y="7536582"/>
                    </a:lnTo>
                    <a:lnTo>
                      <a:pt x="6849626" y="7531596"/>
                    </a:lnTo>
                    <a:lnTo>
                      <a:pt x="6828197" y="7529737"/>
                    </a:lnTo>
                    <a:lnTo>
                      <a:pt x="6806772" y="7527877"/>
                    </a:lnTo>
                    <a:lnTo>
                      <a:pt x="6784653" y="7528207"/>
                    </a:lnTo>
                    <a:lnTo>
                      <a:pt x="6737025" y="7518388"/>
                    </a:lnTo>
                    <a:lnTo>
                      <a:pt x="6706754" y="7507888"/>
                    </a:lnTo>
                    <a:lnTo>
                      <a:pt x="6678579" y="7499809"/>
                    </a:lnTo>
                    <a:lnTo>
                      <a:pt x="6675763" y="7471755"/>
                    </a:lnTo>
                    <a:lnTo>
                      <a:pt x="6682656" y="7441326"/>
                    </a:lnTo>
                    <a:lnTo>
                      <a:pt x="6696993" y="7383897"/>
                    </a:lnTo>
                    <a:lnTo>
                      <a:pt x="6686783" y="7332339"/>
                    </a:lnTo>
                    <a:lnTo>
                      <a:pt x="6670040" y="7308920"/>
                    </a:lnTo>
                    <a:lnTo>
                      <a:pt x="6677214" y="7263138"/>
                    </a:lnTo>
                    <a:lnTo>
                      <a:pt x="6690392" y="7245074"/>
                    </a:lnTo>
                    <a:lnTo>
                      <a:pt x="6707557" y="7222342"/>
                    </a:lnTo>
                    <a:lnTo>
                      <a:pt x="6720740" y="7197849"/>
                    </a:lnTo>
                    <a:lnTo>
                      <a:pt x="6733930" y="7173354"/>
                    </a:lnTo>
                    <a:lnTo>
                      <a:pt x="6742457" y="7147220"/>
                    </a:lnTo>
                    <a:lnTo>
                      <a:pt x="6739794" y="7123037"/>
                    </a:lnTo>
                    <a:lnTo>
                      <a:pt x="6725807" y="7103146"/>
                    </a:lnTo>
                    <a:lnTo>
                      <a:pt x="6703107" y="7078619"/>
                    </a:lnTo>
                    <a:lnTo>
                      <a:pt x="6681298" y="7067269"/>
                    </a:lnTo>
                    <a:lnTo>
                      <a:pt x="6622635" y="7036662"/>
                    </a:lnTo>
                    <a:lnTo>
                      <a:pt x="6563038" y="7009557"/>
                    </a:lnTo>
                    <a:lnTo>
                      <a:pt x="6508549" y="6972052"/>
                    </a:lnTo>
                    <a:lnTo>
                      <a:pt x="6467252" y="6943627"/>
                    </a:lnTo>
                    <a:lnTo>
                      <a:pt x="6437886" y="6928315"/>
                    </a:lnTo>
                    <a:lnTo>
                      <a:pt x="6420139" y="6906763"/>
                    </a:lnTo>
                    <a:lnTo>
                      <a:pt x="6405352" y="6883423"/>
                    </a:lnTo>
                    <a:lnTo>
                      <a:pt x="6399541" y="6851214"/>
                    </a:lnTo>
                    <a:lnTo>
                      <a:pt x="6402459" y="6804746"/>
                    </a:lnTo>
                    <a:lnTo>
                      <a:pt x="6405550" y="6778735"/>
                    </a:lnTo>
                    <a:lnTo>
                      <a:pt x="6411981" y="6744905"/>
                    </a:lnTo>
                    <a:lnTo>
                      <a:pt x="6428423" y="6717271"/>
                    </a:lnTo>
                    <a:lnTo>
                      <a:pt x="6451433" y="6702737"/>
                    </a:lnTo>
                    <a:lnTo>
                      <a:pt x="6489511" y="6698653"/>
                    </a:lnTo>
                    <a:lnTo>
                      <a:pt x="6504323" y="6673362"/>
                    </a:lnTo>
                    <a:lnTo>
                      <a:pt x="6520942" y="6642334"/>
                    </a:lnTo>
                    <a:lnTo>
                      <a:pt x="6541195" y="6623841"/>
                    </a:lnTo>
                    <a:lnTo>
                      <a:pt x="6576377" y="6612201"/>
                    </a:lnTo>
                    <a:lnTo>
                      <a:pt x="6611622" y="6603087"/>
                    </a:lnTo>
                    <a:lnTo>
                      <a:pt x="6647294" y="6596638"/>
                    </a:lnTo>
                    <a:lnTo>
                      <a:pt x="6682966" y="6590187"/>
                    </a:lnTo>
                    <a:lnTo>
                      <a:pt x="6720213" y="6586350"/>
                    </a:lnTo>
                    <a:lnTo>
                      <a:pt x="6757467" y="6584397"/>
                    </a:lnTo>
                    <a:lnTo>
                      <a:pt x="6769252" y="6561632"/>
                    </a:lnTo>
                    <a:lnTo>
                      <a:pt x="6778328" y="6525544"/>
                    </a:lnTo>
                    <a:lnTo>
                      <a:pt x="6783313" y="6498703"/>
                    </a:lnTo>
                    <a:lnTo>
                      <a:pt x="6786848" y="6476354"/>
                    </a:lnTo>
                    <a:lnTo>
                      <a:pt x="6783313" y="6442937"/>
                    </a:lnTo>
                    <a:lnTo>
                      <a:pt x="6774774" y="6416525"/>
                    </a:lnTo>
                    <a:lnTo>
                      <a:pt x="6751421" y="6389657"/>
                    </a:lnTo>
                    <a:lnTo>
                      <a:pt x="6727394" y="6382073"/>
                    </a:lnTo>
                    <a:lnTo>
                      <a:pt x="6700336" y="6376288"/>
                    </a:lnTo>
                    <a:lnTo>
                      <a:pt x="6673292" y="6370498"/>
                    </a:lnTo>
                    <a:lnTo>
                      <a:pt x="6643409" y="6366943"/>
                    </a:lnTo>
                    <a:lnTo>
                      <a:pt x="6616009" y="6358601"/>
                    </a:lnTo>
                    <a:lnTo>
                      <a:pt x="6588606" y="6350259"/>
                    </a:lnTo>
                    <a:lnTo>
                      <a:pt x="6564620" y="6336561"/>
                    </a:lnTo>
                    <a:lnTo>
                      <a:pt x="6548001" y="6310999"/>
                    </a:lnTo>
                    <a:lnTo>
                      <a:pt x="6529298" y="6282252"/>
                    </a:lnTo>
                    <a:lnTo>
                      <a:pt x="6532014" y="6219224"/>
                    </a:lnTo>
                    <a:lnTo>
                      <a:pt x="6527596" y="6183137"/>
                    </a:lnTo>
                    <a:lnTo>
                      <a:pt x="6432380" y="6172256"/>
                    </a:lnTo>
                    <a:lnTo>
                      <a:pt x="6416744" y="6155082"/>
                    </a:lnTo>
                    <a:lnTo>
                      <a:pt x="6413761" y="6106201"/>
                    </a:lnTo>
                    <a:lnTo>
                      <a:pt x="6416055" y="6085202"/>
                    </a:lnTo>
                    <a:lnTo>
                      <a:pt x="6496311" y="6053916"/>
                    </a:lnTo>
                    <a:lnTo>
                      <a:pt x="6518033" y="5999601"/>
                    </a:lnTo>
                    <a:lnTo>
                      <a:pt x="6520796" y="5957340"/>
                    </a:lnTo>
                    <a:lnTo>
                      <a:pt x="6523534" y="5915087"/>
                    </a:lnTo>
                    <a:lnTo>
                      <a:pt x="6523711" y="5870994"/>
                    </a:lnTo>
                    <a:lnTo>
                      <a:pt x="6525413" y="5842747"/>
                    </a:lnTo>
                    <a:lnTo>
                      <a:pt x="6537270" y="5823959"/>
                    </a:lnTo>
                    <a:lnTo>
                      <a:pt x="6529245" y="5774906"/>
                    </a:lnTo>
                    <a:lnTo>
                      <a:pt x="6511894" y="5739247"/>
                    </a:lnTo>
                    <a:lnTo>
                      <a:pt x="6499039" y="5702988"/>
                    </a:lnTo>
                    <a:lnTo>
                      <a:pt x="6486194" y="5666722"/>
                    </a:lnTo>
                    <a:lnTo>
                      <a:pt x="6476579" y="5629858"/>
                    </a:lnTo>
                    <a:lnTo>
                      <a:pt x="6482718" y="5591449"/>
                    </a:lnTo>
                    <a:lnTo>
                      <a:pt x="6520613" y="5576742"/>
                    </a:lnTo>
                    <a:lnTo>
                      <a:pt x="6546643" y="5575126"/>
                    </a:lnTo>
                    <a:lnTo>
                      <a:pt x="6572684" y="5573511"/>
                    </a:lnTo>
                    <a:lnTo>
                      <a:pt x="6599784" y="5574401"/>
                    </a:lnTo>
                    <a:lnTo>
                      <a:pt x="6624173" y="5590090"/>
                    </a:lnTo>
                    <a:lnTo>
                      <a:pt x="6618145" y="5620908"/>
                    </a:lnTo>
                    <a:lnTo>
                      <a:pt x="6617041" y="5653672"/>
                    </a:lnTo>
                    <a:lnTo>
                      <a:pt x="6620089" y="5686659"/>
                    </a:lnTo>
                    <a:lnTo>
                      <a:pt x="6623137" y="5719654"/>
                    </a:lnTo>
                    <a:lnTo>
                      <a:pt x="6630337" y="5753294"/>
                    </a:lnTo>
                    <a:lnTo>
                      <a:pt x="6637772" y="5783235"/>
                    </a:lnTo>
                    <a:lnTo>
                      <a:pt x="6666031" y="5798285"/>
                    </a:lnTo>
                    <a:lnTo>
                      <a:pt x="6779924" y="5797361"/>
                    </a:lnTo>
                    <a:lnTo>
                      <a:pt x="6846513" y="5798397"/>
                    </a:lnTo>
                    <a:lnTo>
                      <a:pt x="6890764" y="5795476"/>
                    </a:lnTo>
                    <a:lnTo>
                      <a:pt x="6935016" y="5792574"/>
                    </a:lnTo>
                    <a:lnTo>
                      <a:pt x="6957030" y="5786585"/>
                    </a:lnTo>
                    <a:lnTo>
                      <a:pt x="6973742" y="5773713"/>
                    </a:lnTo>
                    <a:lnTo>
                      <a:pt x="6990439" y="5760839"/>
                    </a:lnTo>
                    <a:lnTo>
                      <a:pt x="7001282" y="5740533"/>
                    </a:lnTo>
                    <a:lnTo>
                      <a:pt x="7022710" y="5709782"/>
                    </a:lnTo>
                    <a:lnTo>
                      <a:pt x="7044122" y="5679036"/>
                    </a:lnTo>
                    <a:lnTo>
                      <a:pt x="7075844" y="5637085"/>
                    </a:lnTo>
                    <a:lnTo>
                      <a:pt x="7134235" y="5580566"/>
                    </a:lnTo>
                    <a:lnTo>
                      <a:pt x="7182821" y="5600201"/>
                    </a:lnTo>
                    <a:lnTo>
                      <a:pt x="7220567" y="5602706"/>
                    </a:lnTo>
                    <a:lnTo>
                      <a:pt x="7258022" y="5598247"/>
                    </a:lnTo>
                    <a:lnTo>
                      <a:pt x="7295474" y="5593790"/>
                    </a:lnTo>
                    <a:lnTo>
                      <a:pt x="7333757" y="5582836"/>
                    </a:lnTo>
                    <a:lnTo>
                      <a:pt x="7384517" y="5575126"/>
                    </a:lnTo>
                    <a:lnTo>
                      <a:pt x="7424939" y="5569006"/>
                    </a:lnTo>
                    <a:lnTo>
                      <a:pt x="7469578" y="5578517"/>
                    </a:lnTo>
                    <a:lnTo>
                      <a:pt x="7509650" y="5583284"/>
                    </a:lnTo>
                    <a:lnTo>
                      <a:pt x="7541965" y="5588554"/>
                    </a:lnTo>
                    <a:lnTo>
                      <a:pt x="7606398" y="5589490"/>
                    </a:lnTo>
                    <a:lnTo>
                      <a:pt x="7656981" y="5590256"/>
                    </a:lnTo>
                    <a:lnTo>
                      <a:pt x="7709607" y="5581926"/>
                    </a:lnTo>
                    <a:lnTo>
                      <a:pt x="7731581" y="5571426"/>
                    </a:lnTo>
                    <a:lnTo>
                      <a:pt x="7938120" y="5532958"/>
                    </a:lnTo>
                    <a:lnTo>
                      <a:pt x="7962668" y="5537806"/>
                    </a:lnTo>
                    <a:lnTo>
                      <a:pt x="7987299" y="5540015"/>
                    </a:lnTo>
                    <a:lnTo>
                      <a:pt x="8018671" y="5548305"/>
                    </a:lnTo>
                    <a:lnTo>
                      <a:pt x="8038778" y="5558803"/>
                    </a:lnTo>
                    <a:lnTo>
                      <a:pt x="8113024" y="5597609"/>
                    </a:lnTo>
                    <a:lnTo>
                      <a:pt x="8188397" y="5642625"/>
                    </a:lnTo>
                    <a:lnTo>
                      <a:pt x="8264569" y="5677136"/>
                    </a:lnTo>
                    <a:lnTo>
                      <a:pt x="8305667" y="5695753"/>
                    </a:lnTo>
                    <a:lnTo>
                      <a:pt x="8534912" y="5713823"/>
                    </a:lnTo>
                    <a:lnTo>
                      <a:pt x="8595097" y="5724745"/>
                    </a:lnTo>
                    <a:lnTo>
                      <a:pt x="8663996" y="5737289"/>
                    </a:lnTo>
                    <a:lnTo>
                      <a:pt x="8732655" y="5754415"/>
                    </a:lnTo>
                    <a:lnTo>
                      <a:pt x="8801848" y="5766913"/>
                    </a:lnTo>
                    <a:lnTo>
                      <a:pt x="8824739" y="5778626"/>
                    </a:lnTo>
                    <a:lnTo>
                      <a:pt x="8870501" y="5805506"/>
                    </a:lnTo>
                    <a:lnTo>
                      <a:pt x="8893774" y="5810630"/>
                    </a:lnTo>
                    <a:lnTo>
                      <a:pt x="8917465" y="5807715"/>
                    </a:lnTo>
                    <a:lnTo>
                      <a:pt x="8941154" y="5804801"/>
                    </a:lnTo>
                    <a:lnTo>
                      <a:pt x="8964994" y="5794209"/>
                    </a:lnTo>
                    <a:lnTo>
                      <a:pt x="9000434" y="5781877"/>
                    </a:lnTo>
                    <a:lnTo>
                      <a:pt x="9030875" y="5755912"/>
                    </a:lnTo>
                    <a:lnTo>
                      <a:pt x="9041244" y="5735627"/>
                    </a:lnTo>
                    <a:lnTo>
                      <a:pt x="9051603" y="5715341"/>
                    </a:lnTo>
                    <a:lnTo>
                      <a:pt x="9061590" y="5694276"/>
                    </a:lnTo>
                    <a:lnTo>
                      <a:pt x="9122718" y="5645547"/>
                    </a:lnTo>
                    <a:lnTo>
                      <a:pt x="9161060" y="5623085"/>
                    </a:lnTo>
                    <a:lnTo>
                      <a:pt x="9203110" y="5606407"/>
                    </a:lnTo>
                    <a:lnTo>
                      <a:pt x="9245145" y="5589727"/>
                    </a:lnTo>
                    <a:lnTo>
                      <a:pt x="9289812" y="5578649"/>
                    </a:lnTo>
                    <a:lnTo>
                      <a:pt x="9344571" y="5565603"/>
                    </a:lnTo>
                    <a:lnTo>
                      <a:pt x="9396407" y="5553252"/>
                    </a:lnTo>
                    <a:lnTo>
                      <a:pt x="9432519" y="5549063"/>
                    </a:lnTo>
                    <a:lnTo>
                      <a:pt x="9458828" y="5551998"/>
                    </a:lnTo>
                    <a:lnTo>
                      <a:pt x="9485127" y="5554940"/>
                    </a:lnTo>
                    <a:lnTo>
                      <a:pt x="9515950" y="5579202"/>
                    </a:lnTo>
                    <a:lnTo>
                      <a:pt x="9541446" y="5612586"/>
                    </a:lnTo>
                    <a:lnTo>
                      <a:pt x="9556753" y="5634975"/>
                    </a:lnTo>
                    <a:lnTo>
                      <a:pt x="9572061" y="5657359"/>
                    </a:lnTo>
                    <a:lnTo>
                      <a:pt x="9592209" y="5683230"/>
                    </a:lnTo>
                    <a:lnTo>
                      <a:pt x="9622042" y="5709782"/>
                    </a:lnTo>
                    <a:lnTo>
                      <a:pt x="9673326" y="5727133"/>
                    </a:lnTo>
                    <a:lnTo>
                      <a:pt x="9715910" y="5734269"/>
                    </a:lnTo>
                    <a:lnTo>
                      <a:pt x="9758471" y="5741403"/>
                    </a:lnTo>
                    <a:lnTo>
                      <a:pt x="9801511" y="5747339"/>
                    </a:lnTo>
                    <a:lnTo>
                      <a:pt x="9829624" y="5751658"/>
                    </a:lnTo>
                    <a:lnTo>
                      <a:pt x="9853281" y="5776435"/>
                    </a:lnTo>
                    <a:lnTo>
                      <a:pt x="9872709" y="5808797"/>
                    </a:lnTo>
                    <a:lnTo>
                      <a:pt x="9890984" y="5844725"/>
                    </a:lnTo>
                    <a:lnTo>
                      <a:pt x="9911771" y="5875728"/>
                    </a:lnTo>
                    <a:lnTo>
                      <a:pt x="9937121" y="5899931"/>
                    </a:lnTo>
                    <a:lnTo>
                      <a:pt x="9980910" y="5896344"/>
                    </a:lnTo>
                    <a:lnTo>
                      <a:pt x="10015147" y="5868929"/>
                    </a:lnTo>
                    <a:lnTo>
                      <a:pt x="10044962" y="5851861"/>
                    </a:lnTo>
                    <a:lnTo>
                      <a:pt x="10075264" y="5834616"/>
                    </a:lnTo>
                    <a:lnTo>
                      <a:pt x="10107641" y="5818597"/>
                    </a:lnTo>
                    <a:lnTo>
                      <a:pt x="10140002" y="5802584"/>
                    </a:lnTo>
                    <a:lnTo>
                      <a:pt x="10174201" y="5787476"/>
                    </a:lnTo>
                    <a:lnTo>
                      <a:pt x="10208286" y="5775071"/>
                    </a:lnTo>
                    <a:lnTo>
                      <a:pt x="10242386" y="5762665"/>
                    </a:lnTo>
                    <a:lnTo>
                      <a:pt x="10276660" y="5752753"/>
                    </a:lnTo>
                    <a:lnTo>
                      <a:pt x="10311659" y="5746508"/>
                    </a:lnTo>
                    <a:lnTo>
                      <a:pt x="10346671" y="5740236"/>
                    </a:lnTo>
                    <a:lnTo>
                      <a:pt x="10382660" y="5738600"/>
                    </a:lnTo>
                    <a:lnTo>
                      <a:pt x="10417764" y="5741067"/>
                    </a:lnTo>
                    <a:lnTo>
                      <a:pt x="10446532" y="5747728"/>
                    </a:lnTo>
                    <a:lnTo>
                      <a:pt x="10473327" y="5767051"/>
                    </a:lnTo>
                    <a:lnTo>
                      <a:pt x="10480325" y="5795476"/>
                    </a:lnTo>
                    <a:lnTo>
                      <a:pt x="10471842" y="5835625"/>
                    </a:lnTo>
                    <a:lnTo>
                      <a:pt x="10461086" y="5867076"/>
                    </a:lnTo>
                    <a:lnTo>
                      <a:pt x="10458568" y="5897491"/>
                    </a:lnTo>
                    <a:lnTo>
                      <a:pt x="10456035" y="5927900"/>
                    </a:lnTo>
                    <a:lnTo>
                      <a:pt x="10461008" y="5957407"/>
                    </a:lnTo>
                    <a:lnTo>
                      <a:pt x="10484412" y="5992702"/>
                    </a:lnTo>
                    <a:lnTo>
                      <a:pt x="10480799" y="6024015"/>
                    </a:lnTo>
                    <a:lnTo>
                      <a:pt x="10479857" y="6059331"/>
                    </a:lnTo>
                    <a:lnTo>
                      <a:pt x="10485763" y="6090636"/>
                    </a:lnTo>
                    <a:lnTo>
                      <a:pt x="10519470" y="6099000"/>
                    </a:lnTo>
                    <a:lnTo>
                      <a:pt x="10558156" y="6087715"/>
                    </a:lnTo>
                    <a:lnTo>
                      <a:pt x="10579082" y="6076807"/>
                    </a:lnTo>
                    <a:lnTo>
                      <a:pt x="10598662" y="6063433"/>
                    </a:lnTo>
                    <a:lnTo>
                      <a:pt x="10637816" y="6036677"/>
                    </a:lnTo>
                    <a:lnTo>
                      <a:pt x="10673107" y="6001573"/>
                    </a:lnTo>
                    <a:lnTo>
                      <a:pt x="10692507" y="5983179"/>
                    </a:lnTo>
                    <a:lnTo>
                      <a:pt x="10719461" y="5975483"/>
                    </a:lnTo>
                    <a:lnTo>
                      <a:pt x="10747912" y="6012210"/>
                    </a:lnTo>
                    <a:lnTo>
                      <a:pt x="10749217" y="6042659"/>
                    </a:lnTo>
                    <a:lnTo>
                      <a:pt x="10730595" y="6072956"/>
                    </a:lnTo>
                    <a:lnTo>
                      <a:pt x="10706680" y="6100642"/>
                    </a:lnTo>
                    <a:lnTo>
                      <a:pt x="10681072" y="6126876"/>
                    </a:lnTo>
                    <a:lnTo>
                      <a:pt x="10659864" y="6154567"/>
                    </a:lnTo>
                    <a:lnTo>
                      <a:pt x="10645354" y="6184852"/>
                    </a:lnTo>
                    <a:lnTo>
                      <a:pt x="10656013" y="6217707"/>
                    </a:lnTo>
                    <a:lnTo>
                      <a:pt x="10680539" y="6219930"/>
                    </a:lnTo>
                    <a:lnTo>
                      <a:pt x="10704755" y="6222574"/>
                    </a:lnTo>
                    <a:lnTo>
                      <a:pt x="10728970" y="6225219"/>
                    </a:lnTo>
                    <a:lnTo>
                      <a:pt x="10753189" y="6228398"/>
                    </a:lnTo>
                    <a:lnTo>
                      <a:pt x="10770633" y="6259843"/>
                    </a:lnTo>
                    <a:lnTo>
                      <a:pt x="10777826" y="6298916"/>
                    </a:lnTo>
                    <a:lnTo>
                      <a:pt x="10782291" y="6339554"/>
                    </a:lnTo>
                    <a:lnTo>
                      <a:pt x="10786750" y="6380186"/>
                    </a:lnTo>
                    <a:lnTo>
                      <a:pt x="10787646" y="6422163"/>
                    </a:lnTo>
                    <a:lnTo>
                      <a:pt x="10784989" y="6444289"/>
                    </a:lnTo>
                    <a:lnTo>
                      <a:pt x="10774403" y="6465201"/>
                    </a:lnTo>
                    <a:lnTo>
                      <a:pt x="10804978" y="6482975"/>
                    </a:lnTo>
                    <a:lnTo>
                      <a:pt x="10833950" y="6494614"/>
                    </a:lnTo>
                    <a:lnTo>
                      <a:pt x="10852935" y="6512703"/>
                    </a:lnTo>
                    <a:lnTo>
                      <a:pt x="10865368" y="6548211"/>
                    </a:lnTo>
                    <a:lnTo>
                      <a:pt x="10864162" y="6575672"/>
                    </a:lnTo>
                    <a:lnTo>
                      <a:pt x="10904113" y="6575230"/>
                    </a:lnTo>
                    <a:lnTo>
                      <a:pt x="10916928" y="6551746"/>
                    </a:lnTo>
                    <a:lnTo>
                      <a:pt x="10942092" y="6533828"/>
                    </a:lnTo>
                    <a:lnTo>
                      <a:pt x="10991739" y="6536782"/>
                    </a:lnTo>
                    <a:lnTo>
                      <a:pt x="10982071" y="6577096"/>
                    </a:lnTo>
                    <a:lnTo>
                      <a:pt x="10975436" y="6611595"/>
                    </a:lnTo>
                    <a:lnTo>
                      <a:pt x="10976915" y="6639734"/>
                    </a:lnTo>
                    <a:lnTo>
                      <a:pt x="10988778" y="6669557"/>
                    </a:lnTo>
                    <a:lnTo>
                      <a:pt x="10994483" y="6697283"/>
                    </a:lnTo>
                    <a:lnTo>
                      <a:pt x="10962556" y="6770354"/>
                    </a:lnTo>
                    <a:lnTo>
                      <a:pt x="10944402" y="6827056"/>
                    </a:lnTo>
                    <a:lnTo>
                      <a:pt x="10927826" y="6905397"/>
                    </a:lnTo>
                    <a:lnTo>
                      <a:pt x="10904184" y="6933479"/>
                    </a:lnTo>
                    <a:lnTo>
                      <a:pt x="10882936" y="6928520"/>
                    </a:lnTo>
                    <a:lnTo>
                      <a:pt x="10864643" y="6911333"/>
                    </a:lnTo>
                    <a:lnTo>
                      <a:pt x="10846836" y="6888561"/>
                    </a:lnTo>
                    <a:lnTo>
                      <a:pt x="10827175" y="6870029"/>
                    </a:lnTo>
                    <a:lnTo>
                      <a:pt x="10804550" y="6858594"/>
                    </a:lnTo>
                    <a:lnTo>
                      <a:pt x="10789084" y="6880910"/>
                    </a:lnTo>
                    <a:lnTo>
                      <a:pt x="10783057" y="6945350"/>
                    </a:lnTo>
                    <a:lnTo>
                      <a:pt x="10836706" y="6969322"/>
                    </a:lnTo>
                    <a:lnTo>
                      <a:pt x="10844309" y="6994910"/>
                    </a:lnTo>
                    <a:lnTo>
                      <a:pt x="10840142" y="7029256"/>
                    </a:lnTo>
                    <a:lnTo>
                      <a:pt x="10862916" y="7040480"/>
                    </a:lnTo>
                    <a:lnTo>
                      <a:pt x="10895862" y="7046601"/>
                    </a:lnTo>
                    <a:lnTo>
                      <a:pt x="10908783" y="7076779"/>
                    </a:lnTo>
                    <a:lnTo>
                      <a:pt x="10940548" y="7092508"/>
                    </a:lnTo>
                    <a:lnTo>
                      <a:pt x="10985969" y="7092745"/>
                    </a:lnTo>
                    <a:lnTo>
                      <a:pt x="11031197" y="7089026"/>
                    </a:lnTo>
                    <a:lnTo>
                      <a:pt x="11076431" y="7085299"/>
                    </a:lnTo>
                    <a:lnTo>
                      <a:pt x="11120723" y="7077782"/>
                    </a:lnTo>
                    <a:lnTo>
                      <a:pt x="11141376" y="7067263"/>
                    </a:lnTo>
                    <a:lnTo>
                      <a:pt x="11160714" y="7035310"/>
                    </a:lnTo>
                    <a:lnTo>
                      <a:pt x="11168581" y="7011490"/>
                    </a:lnTo>
                    <a:lnTo>
                      <a:pt x="11176434" y="6987676"/>
                    </a:lnTo>
                    <a:lnTo>
                      <a:pt x="11182682" y="6962654"/>
                    </a:lnTo>
                    <a:lnTo>
                      <a:pt x="11211803" y="6936842"/>
                    </a:lnTo>
                    <a:lnTo>
                      <a:pt x="11266172" y="6936856"/>
                    </a:lnTo>
                    <a:lnTo>
                      <a:pt x="11295078" y="6938042"/>
                    </a:lnTo>
                    <a:lnTo>
                      <a:pt x="11312501" y="6986581"/>
                    </a:lnTo>
                    <a:lnTo>
                      <a:pt x="11318451" y="7024033"/>
                    </a:lnTo>
                    <a:lnTo>
                      <a:pt x="11322283" y="7060457"/>
                    </a:lnTo>
                    <a:lnTo>
                      <a:pt x="11320978" y="7098886"/>
                    </a:lnTo>
                    <a:lnTo>
                      <a:pt x="11363000" y="7135777"/>
                    </a:lnTo>
                    <a:lnTo>
                      <a:pt x="11406960" y="7127230"/>
                    </a:lnTo>
                    <a:lnTo>
                      <a:pt x="11446068" y="7131186"/>
                    </a:lnTo>
                    <a:lnTo>
                      <a:pt x="11469310" y="7133541"/>
                    </a:lnTo>
                    <a:lnTo>
                      <a:pt x="11481879" y="7156419"/>
                    </a:lnTo>
                    <a:lnTo>
                      <a:pt x="11503193" y="7177438"/>
                    </a:lnTo>
                    <a:lnTo>
                      <a:pt x="11527325" y="7198323"/>
                    </a:lnTo>
                    <a:lnTo>
                      <a:pt x="11560675" y="7213676"/>
                    </a:lnTo>
                    <a:lnTo>
                      <a:pt x="11607934" y="7218240"/>
                    </a:lnTo>
                    <a:lnTo>
                      <a:pt x="11640639" y="7212693"/>
                    </a:lnTo>
                    <a:lnTo>
                      <a:pt x="11675867" y="7204746"/>
                    </a:lnTo>
                    <a:lnTo>
                      <a:pt x="11709943" y="7196477"/>
                    </a:lnTo>
                    <a:lnTo>
                      <a:pt x="11726590" y="7167545"/>
                    </a:lnTo>
                    <a:lnTo>
                      <a:pt x="11739541" y="7130205"/>
                    </a:lnTo>
                    <a:lnTo>
                      <a:pt x="11746669" y="7097184"/>
                    </a:lnTo>
                    <a:lnTo>
                      <a:pt x="11769998" y="7078151"/>
                    </a:lnTo>
                    <a:lnTo>
                      <a:pt x="11796784" y="7067255"/>
                    </a:lnTo>
                    <a:lnTo>
                      <a:pt x="11825567" y="7063181"/>
                    </a:lnTo>
                    <a:lnTo>
                      <a:pt x="11852973" y="7061783"/>
                    </a:lnTo>
                    <a:lnTo>
                      <a:pt x="11882692" y="7068621"/>
                    </a:lnTo>
                    <a:lnTo>
                      <a:pt x="11901280" y="7078566"/>
                    </a:lnTo>
                    <a:lnTo>
                      <a:pt x="11914873" y="7101781"/>
                    </a:lnTo>
                    <a:lnTo>
                      <a:pt x="11917288" y="7122733"/>
                    </a:lnTo>
                    <a:lnTo>
                      <a:pt x="11945262" y="7143434"/>
                    </a:lnTo>
                    <a:lnTo>
                      <a:pt x="11973483" y="7135546"/>
                    </a:lnTo>
                    <a:lnTo>
                      <a:pt x="12000831" y="7134504"/>
                    </a:lnTo>
                    <a:lnTo>
                      <a:pt x="12028234" y="7133910"/>
                    </a:lnTo>
                    <a:lnTo>
                      <a:pt x="12055621" y="7133318"/>
                    </a:lnTo>
                    <a:lnTo>
                      <a:pt x="12082199" y="7132777"/>
                    </a:lnTo>
                    <a:lnTo>
                      <a:pt x="12109844" y="7128470"/>
                    </a:lnTo>
                    <a:lnTo>
                      <a:pt x="12141126" y="7123584"/>
                    </a:lnTo>
                    <a:lnTo>
                      <a:pt x="12172622" y="7116170"/>
                    </a:lnTo>
                    <a:lnTo>
                      <a:pt x="12203699" y="7108065"/>
                    </a:lnTo>
                    <a:lnTo>
                      <a:pt x="12234773" y="7099967"/>
                    </a:lnTo>
                    <a:lnTo>
                      <a:pt x="12266244" y="7091314"/>
                    </a:lnTo>
                    <a:lnTo>
                      <a:pt x="12297550" y="7086302"/>
                    </a:lnTo>
                    <a:lnTo>
                      <a:pt x="12348785" y="7078104"/>
                    </a:lnTo>
                    <a:lnTo>
                      <a:pt x="12398657" y="7075447"/>
                    </a:lnTo>
                    <a:lnTo>
                      <a:pt x="12448534" y="7069979"/>
                    </a:lnTo>
                    <a:lnTo>
                      <a:pt x="12473475" y="7067249"/>
                    </a:lnTo>
                    <a:lnTo>
                      <a:pt x="12498410" y="7063814"/>
                    </a:lnTo>
                    <a:lnTo>
                      <a:pt x="12523344" y="7059098"/>
                    </a:lnTo>
                    <a:lnTo>
                      <a:pt x="12573025" y="7047286"/>
                    </a:lnTo>
                    <a:lnTo>
                      <a:pt x="12598152" y="7040059"/>
                    </a:lnTo>
                    <a:lnTo>
                      <a:pt x="12605677" y="7019846"/>
                    </a:lnTo>
                    <a:lnTo>
                      <a:pt x="12602874" y="6993347"/>
                    </a:lnTo>
                    <a:lnTo>
                      <a:pt x="12596800" y="6967964"/>
                    </a:lnTo>
                    <a:lnTo>
                      <a:pt x="12590745" y="6942586"/>
                    </a:lnTo>
                    <a:lnTo>
                      <a:pt x="12581375" y="6918145"/>
                    </a:lnTo>
                    <a:lnTo>
                      <a:pt x="12565522" y="6886352"/>
                    </a:lnTo>
                    <a:lnTo>
                      <a:pt x="12453981" y="6865953"/>
                    </a:lnTo>
                    <a:lnTo>
                      <a:pt x="12437387" y="6821187"/>
                    </a:lnTo>
                    <a:lnTo>
                      <a:pt x="12437660" y="6789783"/>
                    </a:lnTo>
                    <a:lnTo>
                      <a:pt x="12438119" y="6758370"/>
                    </a:lnTo>
                    <a:lnTo>
                      <a:pt x="12443297" y="6725977"/>
                    </a:lnTo>
                    <a:lnTo>
                      <a:pt x="12475744" y="6687765"/>
                    </a:lnTo>
                    <a:lnTo>
                      <a:pt x="12504226" y="6693503"/>
                    </a:lnTo>
                    <a:lnTo>
                      <a:pt x="12543328" y="6697672"/>
                    </a:lnTo>
                    <a:lnTo>
                      <a:pt x="12572327" y="6691841"/>
                    </a:lnTo>
                    <a:lnTo>
                      <a:pt x="12588649" y="6653755"/>
                    </a:lnTo>
                    <a:lnTo>
                      <a:pt x="12615187" y="6653822"/>
                    </a:lnTo>
                    <a:lnTo>
                      <a:pt x="12636249" y="6653755"/>
                    </a:lnTo>
                    <a:lnTo>
                      <a:pt x="12657315" y="6653690"/>
                    </a:lnTo>
                    <a:lnTo>
                      <a:pt x="12682501" y="6653360"/>
                    </a:lnTo>
                    <a:lnTo>
                      <a:pt x="12706980" y="6652397"/>
                    </a:lnTo>
                    <a:lnTo>
                      <a:pt x="12731462" y="6651428"/>
                    </a:lnTo>
                    <a:lnTo>
                      <a:pt x="12755823" y="6649904"/>
                    </a:lnTo>
                    <a:lnTo>
                      <a:pt x="12794159" y="6644002"/>
                    </a:lnTo>
                    <a:lnTo>
                      <a:pt x="12813072" y="6633352"/>
                    </a:lnTo>
                    <a:lnTo>
                      <a:pt x="12782783" y="6586520"/>
                    </a:lnTo>
                    <a:lnTo>
                      <a:pt x="12768629" y="6551989"/>
                    </a:lnTo>
                    <a:lnTo>
                      <a:pt x="12760025" y="6524535"/>
                    </a:lnTo>
                    <a:lnTo>
                      <a:pt x="12751451" y="6497087"/>
                    </a:lnTo>
                    <a:lnTo>
                      <a:pt x="12742342" y="6463328"/>
                    </a:lnTo>
                    <a:lnTo>
                      <a:pt x="12727695" y="6440207"/>
                    </a:lnTo>
                    <a:lnTo>
                      <a:pt x="12705615" y="6433400"/>
                    </a:lnTo>
                    <a:lnTo>
                      <a:pt x="12683561" y="6426602"/>
                    </a:lnTo>
                    <a:lnTo>
                      <a:pt x="12648617" y="6422611"/>
                    </a:lnTo>
                    <a:lnTo>
                      <a:pt x="12591365" y="6417078"/>
                    </a:lnTo>
                    <a:lnTo>
                      <a:pt x="12591241" y="6380311"/>
                    </a:lnTo>
                    <a:lnTo>
                      <a:pt x="12613847" y="6310728"/>
                    </a:lnTo>
                    <a:lnTo>
                      <a:pt x="12599656" y="6282165"/>
                    </a:lnTo>
                    <a:lnTo>
                      <a:pt x="12575254" y="6250076"/>
                    </a:lnTo>
                    <a:lnTo>
                      <a:pt x="12593669" y="6198741"/>
                    </a:lnTo>
                    <a:lnTo>
                      <a:pt x="12602577" y="6161717"/>
                    </a:lnTo>
                    <a:lnTo>
                      <a:pt x="12604970" y="6124640"/>
                    </a:lnTo>
                    <a:lnTo>
                      <a:pt x="12607364" y="6087557"/>
                    </a:lnTo>
                    <a:lnTo>
                      <a:pt x="12603578" y="6051648"/>
                    </a:lnTo>
                    <a:lnTo>
                      <a:pt x="12599529" y="6015824"/>
                    </a:lnTo>
                    <a:lnTo>
                      <a:pt x="12595442" y="5980001"/>
                    </a:lnTo>
                    <a:lnTo>
                      <a:pt x="12590819" y="5944758"/>
                    </a:lnTo>
                    <a:lnTo>
                      <a:pt x="12591365" y="5912448"/>
                    </a:lnTo>
                    <a:lnTo>
                      <a:pt x="12591960" y="5880140"/>
                    </a:lnTo>
                    <a:lnTo>
                      <a:pt x="12596866" y="5850569"/>
                    </a:lnTo>
                    <a:lnTo>
                      <a:pt x="12613128" y="5824038"/>
                    </a:lnTo>
                    <a:lnTo>
                      <a:pt x="12633211" y="5810538"/>
                    </a:lnTo>
                    <a:lnTo>
                      <a:pt x="12666179" y="5794110"/>
                    </a:lnTo>
                    <a:lnTo>
                      <a:pt x="12701442" y="5786757"/>
                    </a:lnTo>
                    <a:lnTo>
                      <a:pt x="12726027" y="5790034"/>
                    </a:lnTo>
                    <a:lnTo>
                      <a:pt x="12754589" y="5794110"/>
                    </a:lnTo>
                    <a:lnTo>
                      <a:pt x="12792590" y="5787944"/>
                    </a:lnTo>
                    <a:lnTo>
                      <a:pt x="12831617" y="5764485"/>
                    </a:lnTo>
                    <a:lnTo>
                      <a:pt x="12871571" y="5757384"/>
                    </a:lnTo>
                    <a:lnTo>
                      <a:pt x="12897653" y="5752773"/>
                    </a:lnTo>
                    <a:lnTo>
                      <a:pt x="12919423" y="5758504"/>
                    </a:lnTo>
                    <a:lnTo>
                      <a:pt x="12940934" y="5766905"/>
                    </a:lnTo>
                    <a:lnTo>
                      <a:pt x="12962462" y="5775308"/>
                    </a:lnTo>
                    <a:lnTo>
                      <a:pt x="12983487" y="5786631"/>
                    </a:lnTo>
                    <a:lnTo>
                      <a:pt x="13007591" y="5794110"/>
                    </a:lnTo>
                    <a:lnTo>
                      <a:pt x="13035738" y="5802868"/>
                    </a:lnTo>
                    <a:lnTo>
                      <a:pt x="13062915" y="5805058"/>
                    </a:lnTo>
                    <a:lnTo>
                      <a:pt x="13087837" y="5811791"/>
                    </a:lnTo>
                    <a:lnTo>
                      <a:pt x="13112760" y="5818532"/>
                    </a:lnTo>
                    <a:lnTo>
                      <a:pt x="13135341" y="5829472"/>
                    </a:lnTo>
                    <a:lnTo>
                      <a:pt x="13154490" y="5858041"/>
                    </a:lnTo>
                    <a:lnTo>
                      <a:pt x="13164009" y="5912448"/>
                    </a:lnTo>
                    <a:lnTo>
                      <a:pt x="13176973" y="5934318"/>
                    </a:lnTo>
                    <a:lnTo>
                      <a:pt x="13210574" y="5948656"/>
                    </a:lnTo>
                    <a:lnTo>
                      <a:pt x="13246984" y="5958692"/>
                    </a:lnTo>
                    <a:lnTo>
                      <a:pt x="13283382" y="5968736"/>
                    </a:lnTo>
                    <a:lnTo>
                      <a:pt x="13322096" y="5975167"/>
                    </a:lnTo>
                    <a:lnTo>
                      <a:pt x="13343555" y="5983179"/>
                    </a:lnTo>
                    <a:lnTo>
                      <a:pt x="13365746" y="5991468"/>
                    </a:lnTo>
                    <a:lnTo>
                      <a:pt x="13388743" y="6011571"/>
                    </a:lnTo>
                    <a:lnTo>
                      <a:pt x="13410208" y="6022623"/>
                    </a:lnTo>
                    <a:lnTo>
                      <a:pt x="13434207" y="6034988"/>
                    </a:lnTo>
                    <a:lnTo>
                      <a:pt x="13460323" y="6044216"/>
                    </a:lnTo>
                    <a:lnTo>
                      <a:pt x="13485016" y="6055268"/>
                    </a:lnTo>
                    <a:lnTo>
                      <a:pt x="13511461" y="6055730"/>
                    </a:lnTo>
                    <a:lnTo>
                      <a:pt x="13529906" y="6045746"/>
                    </a:lnTo>
                    <a:lnTo>
                      <a:pt x="13548333" y="6035740"/>
                    </a:lnTo>
                    <a:lnTo>
                      <a:pt x="13569336" y="6020177"/>
                    </a:lnTo>
                    <a:lnTo>
                      <a:pt x="13589754" y="6003584"/>
                    </a:lnTo>
                    <a:lnTo>
                      <a:pt x="13630585" y="5970392"/>
                    </a:lnTo>
                    <a:lnTo>
                      <a:pt x="13669811" y="5932894"/>
                    </a:lnTo>
                    <a:lnTo>
                      <a:pt x="13693729" y="5911856"/>
                    </a:lnTo>
                    <a:lnTo>
                      <a:pt x="13705372" y="5875722"/>
                    </a:lnTo>
                    <a:lnTo>
                      <a:pt x="13711136" y="5833197"/>
                    </a:lnTo>
                    <a:lnTo>
                      <a:pt x="13710810" y="5810433"/>
                    </a:lnTo>
                    <a:lnTo>
                      <a:pt x="13710153" y="5764901"/>
                    </a:lnTo>
                    <a:lnTo>
                      <a:pt x="13702962" y="5718789"/>
                    </a:lnTo>
                    <a:lnTo>
                      <a:pt x="13697205" y="5694817"/>
                    </a:lnTo>
                    <a:lnTo>
                      <a:pt x="13691850" y="5672626"/>
                    </a:lnTo>
                    <a:lnTo>
                      <a:pt x="13676207" y="5652649"/>
                    </a:lnTo>
                    <a:lnTo>
                      <a:pt x="13670003" y="5632245"/>
                    </a:lnTo>
                    <a:lnTo>
                      <a:pt x="13643397" y="5544724"/>
                    </a:lnTo>
                    <a:lnTo>
                      <a:pt x="13633829" y="5457420"/>
                    </a:lnTo>
                    <a:lnTo>
                      <a:pt x="13619668" y="5367010"/>
                    </a:lnTo>
                    <a:lnTo>
                      <a:pt x="13624834" y="5335256"/>
                    </a:lnTo>
                    <a:lnTo>
                      <a:pt x="13644492" y="5313856"/>
                    </a:lnTo>
                    <a:lnTo>
                      <a:pt x="13682247" y="5303079"/>
                    </a:lnTo>
                    <a:lnTo>
                      <a:pt x="13723426" y="5298278"/>
                    </a:lnTo>
                    <a:lnTo>
                      <a:pt x="13763476" y="5291551"/>
                    </a:lnTo>
                    <a:lnTo>
                      <a:pt x="13797859" y="5273153"/>
                    </a:lnTo>
                    <a:lnTo>
                      <a:pt x="13823538" y="5241200"/>
                    </a:lnTo>
                    <a:lnTo>
                      <a:pt x="13827786" y="5209222"/>
                    </a:lnTo>
                    <a:lnTo>
                      <a:pt x="13834843" y="5156476"/>
                    </a:lnTo>
                    <a:lnTo>
                      <a:pt x="13819966" y="5086635"/>
                    </a:lnTo>
                    <a:lnTo>
                      <a:pt x="13811464" y="5033758"/>
                    </a:lnTo>
                    <a:lnTo>
                      <a:pt x="13804835" y="4992697"/>
                    </a:lnTo>
                    <a:lnTo>
                      <a:pt x="13793772" y="4950701"/>
                    </a:lnTo>
                    <a:lnTo>
                      <a:pt x="13788334" y="4909984"/>
                    </a:lnTo>
                    <a:lnTo>
                      <a:pt x="13785122" y="4885286"/>
                    </a:lnTo>
                    <a:lnTo>
                      <a:pt x="13787422" y="4858169"/>
                    </a:lnTo>
                    <a:lnTo>
                      <a:pt x="13782902" y="4833814"/>
                    </a:lnTo>
                    <a:lnTo>
                      <a:pt x="13777724" y="4805290"/>
                    </a:lnTo>
                    <a:lnTo>
                      <a:pt x="13762475" y="4778804"/>
                    </a:lnTo>
                    <a:lnTo>
                      <a:pt x="13759777" y="4749478"/>
                    </a:lnTo>
                    <a:lnTo>
                      <a:pt x="13750256" y="4654266"/>
                    </a:lnTo>
                    <a:lnTo>
                      <a:pt x="13709328" y="4623957"/>
                    </a:lnTo>
                    <a:lnTo>
                      <a:pt x="13654913" y="4620560"/>
                    </a:lnTo>
                    <a:lnTo>
                      <a:pt x="13619668" y="4621622"/>
                    </a:lnTo>
                    <a:lnTo>
                      <a:pt x="13620803" y="4599812"/>
                    </a:lnTo>
                    <a:lnTo>
                      <a:pt x="13616366" y="4571633"/>
                    </a:lnTo>
                    <a:lnTo>
                      <a:pt x="13606072" y="4552251"/>
                    </a:lnTo>
                    <a:lnTo>
                      <a:pt x="13564047" y="4539898"/>
                    </a:lnTo>
                    <a:lnTo>
                      <a:pt x="13536706" y="4546809"/>
                    </a:lnTo>
                    <a:lnTo>
                      <a:pt x="13509356" y="4553721"/>
                    </a:lnTo>
                    <a:lnTo>
                      <a:pt x="13482008" y="4566661"/>
                    </a:lnTo>
                    <a:lnTo>
                      <a:pt x="13448296" y="4574014"/>
                    </a:lnTo>
                    <a:lnTo>
                      <a:pt x="13433329" y="4549533"/>
                    </a:lnTo>
                    <a:lnTo>
                      <a:pt x="13417898" y="4507108"/>
                    </a:lnTo>
                    <a:lnTo>
                      <a:pt x="13421268" y="4476152"/>
                    </a:lnTo>
                    <a:lnTo>
                      <a:pt x="13429236" y="4444800"/>
                    </a:lnTo>
                    <a:lnTo>
                      <a:pt x="13437227" y="4413441"/>
                    </a:lnTo>
                    <a:lnTo>
                      <a:pt x="13449638" y="4381911"/>
                    </a:lnTo>
                    <a:lnTo>
                      <a:pt x="13449638" y="4341425"/>
                    </a:lnTo>
                    <a:lnTo>
                      <a:pt x="13449638" y="4303933"/>
                    </a:lnTo>
                    <a:lnTo>
                      <a:pt x="13437856" y="4210292"/>
                    </a:lnTo>
                    <a:lnTo>
                      <a:pt x="13431965" y="4174119"/>
                    </a:lnTo>
                    <a:lnTo>
                      <a:pt x="13424737" y="4129781"/>
                    </a:lnTo>
                    <a:lnTo>
                      <a:pt x="13401536" y="4091570"/>
                    </a:lnTo>
                    <a:lnTo>
                      <a:pt x="13404760" y="4046257"/>
                    </a:lnTo>
                    <a:lnTo>
                      <a:pt x="13412760" y="4019118"/>
                    </a:lnTo>
                    <a:lnTo>
                      <a:pt x="13443347" y="4011436"/>
                    </a:lnTo>
                    <a:lnTo>
                      <a:pt x="13476843" y="3998647"/>
                    </a:lnTo>
                    <a:lnTo>
                      <a:pt x="13510280" y="3984600"/>
                    </a:lnTo>
                    <a:lnTo>
                      <a:pt x="13541341" y="3963735"/>
                    </a:lnTo>
                    <a:lnTo>
                      <a:pt x="13563895" y="3933365"/>
                    </a:lnTo>
                    <a:lnTo>
                      <a:pt x="13539527" y="3916271"/>
                    </a:lnTo>
                    <a:lnTo>
                      <a:pt x="13509362" y="3904208"/>
                    </a:lnTo>
                    <a:lnTo>
                      <a:pt x="13489084" y="3878957"/>
                    </a:lnTo>
                    <a:lnTo>
                      <a:pt x="13507399" y="3836491"/>
                    </a:lnTo>
                    <a:lnTo>
                      <a:pt x="13506435" y="3797609"/>
                    </a:lnTo>
                    <a:lnTo>
                      <a:pt x="13502689" y="3766059"/>
                    </a:lnTo>
                    <a:lnTo>
                      <a:pt x="13498903" y="3734502"/>
                    </a:lnTo>
                    <a:lnTo>
                      <a:pt x="13491143" y="3710332"/>
                    </a:lnTo>
                    <a:lnTo>
                      <a:pt x="13588371" y="3649078"/>
                    </a:lnTo>
                    <a:lnTo>
                      <a:pt x="13587056" y="3613288"/>
                    </a:lnTo>
                    <a:lnTo>
                      <a:pt x="13558971" y="3529743"/>
                    </a:lnTo>
                    <a:lnTo>
                      <a:pt x="13563420" y="3495673"/>
                    </a:lnTo>
                    <a:lnTo>
                      <a:pt x="13677460" y="3456401"/>
                    </a:lnTo>
                    <a:lnTo>
                      <a:pt x="13707836" y="3443033"/>
                    </a:lnTo>
                    <a:lnTo>
                      <a:pt x="13708438" y="3386443"/>
                    </a:lnTo>
                    <a:lnTo>
                      <a:pt x="13703992" y="3325354"/>
                    </a:lnTo>
                    <a:lnTo>
                      <a:pt x="13699533" y="3264266"/>
                    </a:lnTo>
                    <a:lnTo>
                      <a:pt x="13689053" y="3198620"/>
                    </a:lnTo>
                    <a:lnTo>
                      <a:pt x="13676787" y="3173013"/>
                    </a:lnTo>
                    <a:lnTo>
                      <a:pt x="13637977" y="3158700"/>
                    </a:lnTo>
                    <a:lnTo>
                      <a:pt x="13584322" y="3159176"/>
                    </a:lnTo>
                    <a:lnTo>
                      <a:pt x="13532604" y="3163489"/>
                    </a:lnTo>
                    <a:lnTo>
                      <a:pt x="13480898" y="3167802"/>
                    </a:lnTo>
                    <a:lnTo>
                      <a:pt x="13430777" y="3175696"/>
                    </a:lnTo>
                    <a:lnTo>
                      <a:pt x="13407867" y="3192453"/>
                    </a:lnTo>
                    <a:lnTo>
                      <a:pt x="13406906" y="3252547"/>
                    </a:lnTo>
                    <a:lnTo>
                      <a:pt x="13397942" y="3311748"/>
                    </a:lnTo>
                    <a:lnTo>
                      <a:pt x="13393465" y="3341346"/>
                    </a:lnTo>
                    <a:lnTo>
                      <a:pt x="13386988" y="3371366"/>
                    </a:lnTo>
                    <a:lnTo>
                      <a:pt x="13377543" y="3393360"/>
                    </a:lnTo>
                    <a:lnTo>
                      <a:pt x="13368080" y="3415354"/>
                    </a:lnTo>
                    <a:lnTo>
                      <a:pt x="13338095" y="3430088"/>
                    </a:lnTo>
                    <a:lnTo>
                      <a:pt x="13294693" y="3431704"/>
                    </a:lnTo>
                    <a:lnTo>
                      <a:pt x="13249260" y="3430893"/>
                    </a:lnTo>
                    <a:lnTo>
                      <a:pt x="13207514" y="3445052"/>
                    </a:lnTo>
                    <a:lnTo>
                      <a:pt x="13196085" y="3421126"/>
                    </a:lnTo>
                    <a:lnTo>
                      <a:pt x="13191905" y="3376076"/>
                    </a:lnTo>
                    <a:lnTo>
                      <a:pt x="13191192" y="3333513"/>
                    </a:lnTo>
                    <a:lnTo>
                      <a:pt x="13190494" y="3290948"/>
                    </a:lnTo>
                    <a:lnTo>
                      <a:pt x="13193105" y="3250389"/>
                    </a:lnTo>
                    <a:lnTo>
                      <a:pt x="13267364" y="3223338"/>
                    </a:lnTo>
                    <a:lnTo>
                      <a:pt x="13267364" y="3191511"/>
                    </a:lnTo>
                    <a:lnTo>
                      <a:pt x="13271714" y="3169233"/>
                    </a:lnTo>
                    <a:lnTo>
                      <a:pt x="13284786" y="3138698"/>
                    </a:lnTo>
                    <a:lnTo>
                      <a:pt x="13304084" y="3124045"/>
                    </a:lnTo>
                    <a:lnTo>
                      <a:pt x="13323466" y="3112227"/>
                    </a:lnTo>
                    <a:lnTo>
                      <a:pt x="13345803" y="3113032"/>
                    </a:lnTo>
                    <a:lnTo>
                      <a:pt x="13358497" y="3095476"/>
                    </a:lnTo>
                    <a:lnTo>
                      <a:pt x="13353942" y="3071247"/>
                    </a:lnTo>
                    <a:lnTo>
                      <a:pt x="13344017" y="3048981"/>
                    </a:lnTo>
                    <a:lnTo>
                      <a:pt x="13324496" y="3035627"/>
                    </a:lnTo>
                    <a:lnTo>
                      <a:pt x="13298181" y="3036953"/>
                    </a:lnTo>
                    <a:lnTo>
                      <a:pt x="13271683" y="3045479"/>
                    </a:lnTo>
                    <a:lnTo>
                      <a:pt x="13244240" y="3053314"/>
                    </a:lnTo>
                    <a:lnTo>
                      <a:pt x="13216812" y="3061150"/>
                    </a:lnTo>
                    <a:lnTo>
                      <a:pt x="13189490" y="3067678"/>
                    </a:lnTo>
                    <a:lnTo>
                      <a:pt x="13163988" y="3064196"/>
                    </a:lnTo>
                    <a:lnTo>
                      <a:pt x="13131732" y="3020986"/>
                    </a:lnTo>
                    <a:lnTo>
                      <a:pt x="13135617" y="2943944"/>
                    </a:lnTo>
                    <a:lnTo>
                      <a:pt x="13119999" y="2929277"/>
                    </a:lnTo>
                    <a:lnTo>
                      <a:pt x="13095381" y="2934903"/>
                    </a:lnTo>
                    <a:lnTo>
                      <a:pt x="13053399" y="2946609"/>
                    </a:lnTo>
                    <a:lnTo>
                      <a:pt x="13008949" y="2948574"/>
                    </a:lnTo>
                    <a:lnTo>
                      <a:pt x="12954481" y="2950987"/>
                    </a:lnTo>
                    <a:lnTo>
                      <a:pt x="12897666" y="2950501"/>
                    </a:lnTo>
                    <a:lnTo>
                      <a:pt x="12847083" y="3031545"/>
                    </a:lnTo>
                    <a:lnTo>
                      <a:pt x="12819878" y="3051942"/>
                    </a:lnTo>
                    <a:lnTo>
                      <a:pt x="12626733" y="3065548"/>
                    </a:lnTo>
                    <a:lnTo>
                      <a:pt x="12596773" y="3047254"/>
                    </a:lnTo>
                    <a:lnTo>
                      <a:pt x="12583214" y="3026104"/>
                    </a:lnTo>
                    <a:lnTo>
                      <a:pt x="12569636" y="3004947"/>
                    </a:lnTo>
                    <a:lnTo>
                      <a:pt x="12558279" y="2981417"/>
                    </a:lnTo>
                    <a:lnTo>
                      <a:pt x="12515209" y="2946873"/>
                    </a:lnTo>
                    <a:lnTo>
                      <a:pt x="12481871" y="2916371"/>
                    </a:lnTo>
                    <a:lnTo>
                      <a:pt x="12444466" y="2896884"/>
                    </a:lnTo>
                    <a:lnTo>
                      <a:pt x="12417946" y="2887215"/>
                    </a:lnTo>
                    <a:lnTo>
                      <a:pt x="12362185" y="2855309"/>
                    </a:lnTo>
                    <a:lnTo>
                      <a:pt x="12321794" y="2821048"/>
                    </a:lnTo>
                    <a:lnTo>
                      <a:pt x="12274442" y="2801672"/>
                    </a:lnTo>
                    <a:lnTo>
                      <a:pt x="12221056" y="2843788"/>
                    </a:lnTo>
                    <a:lnTo>
                      <a:pt x="12170256" y="2861601"/>
                    </a:lnTo>
                    <a:lnTo>
                      <a:pt x="12135703" y="2903683"/>
                    </a:lnTo>
                    <a:lnTo>
                      <a:pt x="12093411" y="2955241"/>
                    </a:lnTo>
                    <a:lnTo>
                      <a:pt x="12054626" y="3010309"/>
                    </a:lnTo>
                    <a:lnTo>
                      <a:pt x="12011924" y="3061466"/>
                    </a:lnTo>
                    <a:lnTo>
                      <a:pt x="11997138" y="3079167"/>
                    </a:lnTo>
                    <a:lnTo>
                      <a:pt x="11978078" y="3092963"/>
                    </a:lnTo>
                    <a:lnTo>
                      <a:pt x="11962957" y="3110433"/>
                    </a:lnTo>
                    <a:lnTo>
                      <a:pt x="11921983" y="3157804"/>
                    </a:lnTo>
                    <a:lnTo>
                      <a:pt x="11891535" y="3214737"/>
                    </a:lnTo>
                    <a:lnTo>
                      <a:pt x="11859583" y="3268216"/>
                    </a:lnTo>
                    <a:lnTo>
                      <a:pt x="11852756" y="3304943"/>
                    </a:lnTo>
                    <a:lnTo>
                      <a:pt x="11882425" y="3321622"/>
                    </a:lnTo>
                    <a:lnTo>
                      <a:pt x="11917794" y="3340840"/>
                    </a:lnTo>
                    <a:lnTo>
                      <a:pt x="11942533" y="3364792"/>
                    </a:lnTo>
                    <a:lnTo>
                      <a:pt x="11877244" y="3389272"/>
                    </a:lnTo>
                    <a:lnTo>
                      <a:pt x="11851094" y="3408127"/>
                    </a:lnTo>
                    <a:lnTo>
                      <a:pt x="11821775" y="3432983"/>
                    </a:lnTo>
                    <a:lnTo>
                      <a:pt x="11791541" y="3440964"/>
                    </a:lnTo>
                    <a:lnTo>
                      <a:pt x="11760051" y="3413238"/>
                    </a:lnTo>
                    <a:lnTo>
                      <a:pt x="11743941" y="3397436"/>
                    </a:lnTo>
                    <a:lnTo>
                      <a:pt x="11727836" y="3381629"/>
                    </a:lnTo>
                    <a:lnTo>
                      <a:pt x="11711592" y="3367878"/>
                    </a:lnTo>
                    <a:lnTo>
                      <a:pt x="11679430" y="3376840"/>
                    </a:lnTo>
                    <a:lnTo>
                      <a:pt x="11664544" y="3400450"/>
                    </a:lnTo>
                    <a:lnTo>
                      <a:pt x="11648731" y="3421917"/>
                    </a:lnTo>
                    <a:lnTo>
                      <a:pt x="11632915" y="3443384"/>
                    </a:lnTo>
                    <a:lnTo>
                      <a:pt x="11616144" y="3462403"/>
                    </a:lnTo>
                    <a:lnTo>
                      <a:pt x="11591649" y="3457832"/>
                    </a:lnTo>
                    <a:lnTo>
                      <a:pt x="11531362" y="3406398"/>
                    </a:lnTo>
                    <a:lnTo>
                      <a:pt x="11541563" y="3361725"/>
                    </a:lnTo>
                    <a:lnTo>
                      <a:pt x="11565800" y="3334263"/>
                    </a:lnTo>
                    <a:lnTo>
                      <a:pt x="11591597" y="3307660"/>
                    </a:lnTo>
                    <a:lnTo>
                      <a:pt x="11617403" y="3281056"/>
                    </a:lnTo>
                    <a:lnTo>
                      <a:pt x="11644524" y="3254625"/>
                    </a:lnTo>
                    <a:lnTo>
                      <a:pt x="11663695" y="3224690"/>
                    </a:lnTo>
                    <a:lnTo>
                      <a:pt x="11643116" y="3188833"/>
                    </a:lnTo>
                    <a:lnTo>
                      <a:pt x="11541814" y="3102572"/>
                    </a:lnTo>
                    <a:lnTo>
                      <a:pt x="11511350" y="3081863"/>
                    </a:lnTo>
                    <a:lnTo>
                      <a:pt x="11528286" y="3005844"/>
                    </a:lnTo>
                    <a:lnTo>
                      <a:pt x="11570506" y="2959258"/>
                    </a:lnTo>
                    <a:lnTo>
                      <a:pt x="11590220" y="2902317"/>
                    </a:lnTo>
                    <a:lnTo>
                      <a:pt x="11571564" y="2867602"/>
                    </a:lnTo>
                    <a:lnTo>
                      <a:pt x="11547708" y="2837160"/>
                    </a:lnTo>
                    <a:lnTo>
                      <a:pt x="11520847" y="2809824"/>
                    </a:lnTo>
                    <a:lnTo>
                      <a:pt x="11493987" y="2782495"/>
                    </a:lnTo>
                    <a:lnTo>
                      <a:pt x="11464559" y="2758687"/>
                    </a:lnTo>
                    <a:lnTo>
                      <a:pt x="11433795" y="2735018"/>
                    </a:lnTo>
                    <a:lnTo>
                      <a:pt x="11372277" y="2687673"/>
                    </a:lnTo>
                    <a:lnTo>
                      <a:pt x="11306988" y="2643223"/>
                    </a:lnTo>
                    <a:lnTo>
                      <a:pt x="11255614" y="2588116"/>
                    </a:lnTo>
                    <a:lnTo>
                      <a:pt x="11214984" y="2544570"/>
                    </a:lnTo>
                    <a:lnTo>
                      <a:pt x="11173700" y="2501064"/>
                    </a:lnTo>
                    <a:lnTo>
                      <a:pt x="11122311" y="2469778"/>
                    </a:lnTo>
                    <a:lnTo>
                      <a:pt x="11094567" y="2452901"/>
                    </a:lnTo>
                    <a:lnTo>
                      <a:pt x="11063734" y="2443358"/>
                    </a:lnTo>
                    <a:lnTo>
                      <a:pt x="11039342" y="2420810"/>
                    </a:lnTo>
                    <a:lnTo>
                      <a:pt x="11031302" y="2400598"/>
                    </a:lnTo>
                    <a:lnTo>
                      <a:pt x="11053704" y="2335757"/>
                    </a:lnTo>
                    <a:lnTo>
                      <a:pt x="11092536" y="2313815"/>
                    </a:lnTo>
                    <a:lnTo>
                      <a:pt x="11127495" y="2295111"/>
                    </a:lnTo>
                    <a:lnTo>
                      <a:pt x="11153599" y="2271185"/>
                    </a:lnTo>
                    <a:lnTo>
                      <a:pt x="11177228" y="2246316"/>
                    </a:lnTo>
                    <a:lnTo>
                      <a:pt x="11189810" y="2217173"/>
                    </a:lnTo>
                    <a:lnTo>
                      <a:pt x="11186217" y="2184140"/>
                    </a:lnTo>
                    <a:lnTo>
                      <a:pt x="11172295" y="2165733"/>
                    </a:lnTo>
                    <a:lnTo>
                      <a:pt x="11142697" y="2147412"/>
                    </a:lnTo>
                    <a:lnTo>
                      <a:pt x="11111924" y="2136208"/>
                    </a:lnTo>
                    <a:lnTo>
                      <a:pt x="11083677" y="2131413"/>
                    </a:lnTo>
                    <a:lnTo>
                      <a:pt x="11059719" y="2125649"/>
                    </a:lnTo>
                    <a:lnTo>
                      <a:pt x="11036598" y="2103886"/>
                    </a:lnTo>
                    <a:lnTo>
                      <a:pt x="11029054" y="2083462"/>
                    </a:lnTo>
                    <a:lnTo>
                      <a:pt x="11022155" y="2058428"/>
                    </a:lnTo>
                    <a:lnTo>
                      <a:pt x="11010758" y="2037238"/>
                    </a:lnTo>
                    <a:lnTo>
                      <a:pt x="10999341" y="2016041"/>
                    </a:lnTo>
                    <a:lnTo>
                      <a:pt x="10983699" y="1998149"/>
                    </a:lnTo>
                    <a:lnTo>
                      <a:pt x="10959062" y="1990987"/>
                    </a:lnTo>
                    <a:lnTo>
                      <a:pt x="10944204" y="1962339"/>
                    </a:lnTo>
                    <a:lnTo>
                      <a:pt x="10921083" y="1960770"/>
                    </a:lnTo>
                    <a:lnTo>
                      <a:pt x="10897847" y="1958343"/>
                    </a:lnTo>
                    <a:lnTo>
                      <a:pt x="10874614" y="1955916"/>
                    </a:lnTo>
                    <a:lnTo>
                      <a:pt x="10850699" y="1952744"/>
                    </a:lnTo>
                    <a:lnTo>
                      <a:pt x="10836641" y="1936580"/>
                    </a:lnTo>
                    <a:lnTo>
                      <a:pt x="10835466" y="1910945"/>
                    </a:lnTo>
                    <a:lnTo>
                      <a:pt x="10860739" y="1874093"/>
                    </a:lnTo>
                    <a:lnTo>
                      <a:pt x="10850237" y="1853609"/>
                    </a:lnTo>
                    <a:lnTo>
                      <a:pt x="10801363" y="1842418"/>
                    </a:lnTo>
                    <a:lnTo>
                      <a:pt x="10769985" y="1838646"/>
                    </a:lnTo>
                    <a:lnTo>
                      <a:pt x="10738613" y="1834873"/>
                    </a:lnTo>
                    <a:lnTo>
                      <a:pt x="10708692" y="1829933"/>
                    </a:lnTo>
                    <a:lnTo>
                      <a:pt x="10690148" y="1809846"/>
                    </a:lnTo>
                    <a:lnTo>
                      <a:pt x="10670369" y="1786255"/>
                    </a:lnTo>
                    <a:lnTo>
                      <a:pt x="10648922" y="1765198"/>
                    </a:lnTo>
                    <a:lnTo>
                      <a:pt x="10627497" y="1744134"/>
                    </a:lnTo>
                    <a:lnTo>
                      <a:pt x="10604962" y="1726341"/>
                    </a:lnTo>
                    <a:lnTo>
                      <a:pt x="10569994" y="1731465"/>
                    </a:lnTo>
                    <a:lnTo>
                      <a:pt x="10459055" y="1752510"/>
                    </a:lnTo>
                    <a:lnTo>
                      <a:pt x="10434021" y="1731187"/>
                    </a:lnTo>
                    <a:lnTo>
                      <a:pt x="10442985" y="1700040"/>
                    </a:lnTo>
                    <a:lnTo>
                      <a:pt x="10468580" y="1675290"/>
                    </a:lnTo>
                    <a:lnTo>
                      <a:pt x="10503393" y="1655017"/>
                    </a:lnTo>
                    <a:lnTo>
                      <a:pt x="10539658" y="1635793"/>
                    </a:lnTo>
                    <a:lnTo>
                      <a:pt x="10579776" y="1621588"/>
                    </a:lnTo>
                    <a:lnTo>
                      <a:pt x="10593161" y="1604691"/>
                    </a:lnTo>
                    <a:lnTo>
                      <a:pt x="10618921" y="1572132"/>
                    </a:lnTo>
                    <a:lnTo>
                      <a:pt x="10645112" y="1527498"/>
                    </a:lnTo>
                    <a:lnTo>
                      <a:pt x="10662540" y="1489077"/>
                    </a:lnTo>
                    <a:lnTo>
                      <a:pt x="10646653" y="1465974"/>
                    </a:lnTo>
                    <a:lnTo>
                      <a:pt x="10544392" y="1360878"/>
                    </a:lnTo>
                    <a:lnTo>
                      <a:pt x="10553719" y="1295924"/>
                    </a:lnTo>
                    <a:lnTo>
                      <a:pt x="10558717" y="1264262"/>
                    </a:lnTo>
                    <a:lnTo>
                      <a:pt x="10584998" y="1229277"/>
                    </a:lnTo>
                    <a:lnTo>
                      <a:pt x="10564000" y="1207777"/>
                    </a:lnTo>
                    <a:lnTo>
                      <a:pt x="10516034" y="1171023"/>
                    </a:lnTo>
                    <a:lnTo>
                      <a:pt x="10468025" y="1139507"/>
                    </a:lnTo>
                    <a:lnTo>
                      <a:pt x="10420022" y="1107984"/>
                    </a:lnTo>
                    <a:lnTo>
                      <a:pt x="10371857" y="1081162"/>
                    </a:lnTo>
                    <a:lnTo>
                      <a:pt x="10348327" y="1076934"/>
                    </a:lnTo>
                    <a:lnTo>
                      <a:pt x="10310407" y="1110983"/>
                    </a:lnTo>
                    <a:lnTo>
                      <a:pt x="10261188" y="1135207"/>
                    </a:lnTo>
                    <a:lnTo>
                      <a:pt x="10224595" y="1138569"/>
                    </a:lnTo>
                    <a:lnTo>
                      <a:pt x="10190544" y="1149023"/>
                    </a:lnTo>
                    <a:lnTo>
                      <a:pt x="10139329" y="1164752"/>
                    </a:lnTo>
                    <a:lnTo>
                      <a:pt x="10097496" y="1189957"/>
                    </a:lnTo>
                    <a:lnTo>
                      <a:pt x="10051799" y="1217036"/>
                    </a:lnTo>
                    <a:lnTo>
                      <a:pt x="10020263" y="1243594"/>
                    </a:lnTo>
                    <a:lnTo>
                      <a:pt x="10001474" y="1256480"/>
                    </a:lnTo>
                    <a:lnTo>
                      <a:pt x="9982700" y="1269368"/>
                    </a:lnTo>
                    <a:lnTo>
                      <a:pt x="9961985" y="1277736"/>
                    </a:lnTo>
                    <a:lnTo>
                      <a:pt x="9941626" y="1268721"/>
                    </a:lnTo>
                    <a:lnTo>
                      <a:pt x="9858471" y="1321809"/>
                    </a:lnTo>
                    <a:lnTo>
                      <a:pt x="9840975" y="1334010"/>
                    </a:lnTo>
                    <a:lnTo>
                      <a:pt x="9809687" y="1297290"/>
                    </a:lnTo>
                    <a:lnTo>
                      <a:pt x="9790649" y="1282333"/>
                    </a:lnTo>
                    <a:lnTo>
                      <a:pt x="9757873" y="1267475"/>
                    </a:lnTo>
                    <a:lnTo>
                      <a:pt x="9720585" y="1252807"/>
                    </a:lnTo>
                    <a:lnTo>
                      <a:pt x="9699619" y="1254581"/>
                    </a:lnTo>
                    <a:lnTo>
                      <a:pt x="9658598" y="1255655"/>
                    </a:lnTo>
                    <a:lnTo>
                      <a:pt x="9620619" y="1241523"/>
                    </a:lnTo>
                    <a:lnTo>
                      <a:pt x="9591291" y="1218659"/>
                    </a:lnTo>
                    <a:lnTo>
                      <a:pt x="9566257" y="1202950"/>
                    </a:lnTo>
                    <a:lnTo>
                      <a:pt x="9536290" y="1203438"/>
                    </a:lnTo>
                    <a:lnTo>
                      <a:pt x="9483583" y="1258926"/>
                    </a:lnTo>
                    <a:lnTo>
                      <a:pt x="9445591" y="1254832"/>
                    </a:lnTo>
                    <a:lnTo>
                      <a:pt x="9427481" y="1221118"/>
                    </a:lnTo>
                    <a:lnTo>
                      <a:pt x="9412089" y="1186937"/>
                    </a:lnTo>
                    <a:lnTo>
                      <a:pt x="9357252" y="1175462"/>
                    </a:lnTo>
                    <a:lnTo>
                      <a:pt x="9330563" y="1179063"/>
                    </a:lnTo>
                    <a:lnTo>
                      <a:pt x="9306412" y="1183033"/>
                    </a:lnTo>
                    <a:lnTo>
                      <a:pt x="9282268" y="1187010"/>
                    </a:lnTo>
                    <a:lnTo>
                      <a:pt x="9260734" y="1192490"/>
                    </a:lnTo>
                    <a:lnTo>
                      <a:pt x="9232965" y="1187109"/>
                    </a:lnTo>
                    <a:lnTo>
                      <a:pt x="9202542" y="1162918"/>
                    </a:lnTo>
                    <a:lnTo>
                      <a:pt x="9182646" y="1139507"/>
                    </a:lnTo>
                    <a:lnTo>
                      <a:pt x="9162728" y="1116089"/>
                    </a:lnTo>
                    <a:lnTo>
                      <a:pt x="9139811" y="1090144"/>
                    </a:lnTo>
                    <a:lnTo>
                      <a:pt x="9114625" y="1078292"/>
                    </a:lnTo>
                    <a:lnTo>
                      <a:pt x="9092710" y="1085501"/>
                    </a:lnTo>
                    <a:lnTo>
                      <a:pt x="9055370" y="1121080"/>
                    </a:lnTo>
                    <a:lnTo>
                      <a:pt x="8875229" y="1086458"/>
                    </a:lnTo>
                    <a:lnTo>
                      <a:pt x="8847572" y="1080996"/>
                    </a:lnTo>
                    <a:lnTo>
                      <a:pt x="8817326" y="1091529"/>
                    </a:lnTo>
                    <a:lnTo>
                      <a:pt x="8788177" y="1101415"/>
                    </a:lnTo>
                    <a:lnTo>
                      <a:pt x="8759047" y="1111307"/>
                    </a:lnTo>
                    <a:lnTo>
                      <a:pt x="8730776" y="1120302"/>
                    </a:lnTo>
                    <a:lnTo>
                      <a:pt x="8706567" y="1109579"/>
                    </a:lnTo>
                    <a:lnTo>
                      <a:pt x="8681312" y="1098401"/>
                    </a:lnTo>
                    <a:lnTo>
                      <a:pt x="8662110" y="1079506"/>
                    </a:lnTo>
                    <a:lnTo>
                      <a:pt x="8644006" y="1059253"/>
                    </a:lnTo>
                    <a:lnTo>
                      <a:pt x="8625877" y="1038994"/>
                    </a:lnTo>
                    <a:lnTo>
                      <a:pt x="8608731" y="1016828"/>
                    </a:lnTo>
                    <a:lnTo>
                      <a:pt x="8589597" y="998040"/>
                    </a:lnTo>
                    <a:lnTo>
                      <a:pt x="8566172" y="975049"/>
                    </a:lnTo>
                    <a:lnTo>
                      <a:pt x="8485954" y="913968"/>
                    </a:lnTo>
                    <a:lnTo>
                      <a:pt x="8459019" y="900111"/>
                    </a:lnTo>
                    <a:lnTo>
                      <a:pt x="8421824" y="880960"/>
                    </a:lnTo>
                    <a:lnTo>
                      <a:pt x="8375269" y="879621"/>
                    </a:lnTo>
                    <a:lnTo>
                      <a:pt x="8342031" y="851137"/>
                    </a:lnTo>
                    <a:lnTo>
                      <a:pt x="8317229" y="829869"/>
                    </a:lnTo>
                    <a:lnTo>
                      <a:pt x="8293004" y="792952"/>
                    </a:lnTo>
                    <a:lnTo>
                      <a:pt x="8268590" y="758644"/>
                    </a:lnTo>
                    <a:lnTo>
                      <a:pt x="8244158" y="724343"/>
                    </a:lnTo>
                    <a:lnTo>
                      <a:pt x="8218785" y="692102"/>
                    </a:lnTo>
                    <a:lnTo>
                      <a:pt x="8195131" y="679755"/>
                    </a:lnTo>
                    <a:lnTo>
                      <a:pt x="8101391" y="636738"/>
                    </a:lnTo>
                    <a:lnTo>
                      <a:pt x="8107009" y="599225"/>
                    </a:lnTo>
                    <a:lnTo>
                      <a:pt x="8108091" y="574870"/>
                    </a:lnTo>
                    <a:lnTo>
                      <a:pt x="8109437" y="553259"/>
                    </a:lnTo>
                    <a:lnTo>
                      <a:pt x="8062851" y="526180"/>
                    </a:lnTo>
                    <a:lnTo>
                      <a:pt x="8011211" y="513491"/>
                    </a:lnTo>
                    <a:lnTo>
                      <a:pt x="7978856" y="494768"/>
                    </a:lnTo>
                    <a:lnTo>
                      <a:pt x="7957093" y="474365"/>
                    </a:lnTo>
                    <a:lnTo>
                      <a:pt x="7924878" y="443612"/>
                    </a:lnTo>
                    <a:lnTo>
                      <a:pt x="7842145" y="387226"/>
                    </a:lnTo>
                    <a:lnTo>
                      <a:pt x="7827885" y="365548"/>
                    </a:lnTo>
                    <a:lnTo>
                      <a:pt x="7815836" y="292886"/>
                    </a:lnTo>
                    <a:lnTo>
                      <a:pt x="7769523" y="257220"/>
                    </a:lnTo>
                    <a:lnTo>
                      <a:pt x="7736278" y="230043"/>
                    </a:lnTo>
                    <a:lnTo>
                      <a:pt x="7700017" y="206408"/>
                    </a:lnTo>
                    <a:lnTo>
                      <a:pt x="7663781" y="182770"/>
                    </a:lnTo>
                    <a:lnTo>
                      <a:pt x="7624400" y="163144"/>
                    </a:lnTo>
                    <a:lnTo>
                      <a:pt x="7584402" y="156080"/>
                    </a:lnTo>
                    <a:lnTo>
                      <a:pt x="7559750" y="151723"/>
                    </a:lnTo>
                    <a:lnTo>
                      <a:pt x="7529442" y="160156"/>
                    </a:lnTo>
                    <a:lnTo>
                      <a:pt x="7504156" y="157440"/>
                    </a:lnTo>
                    <a:lnTo>
                      <a:pt x="7481339" y="154994"/>
                    </a:lnTo>
                    <a:lnTo>
                      <a:pt x="7457610" y="142838"/>
                    </a:lnTo>
                    <a:lnTo>
                      <a:pt x="7434784" y="139753"/>
                    </a:lnTo>
                    <a:lnTo>
                      <a:pt x="7400311" y="135077"/>
                    </a:lnTo>
                    <a:lnTo>
                      <a:pt x="7343552" y="158330"/>
                    </a:lnTo>
                    <a:lnTo>
                      <a:pt x="7311011" y="168322"/>
                    </a:lnTo>
                    <a:lnTo>
                      <a:pt x="7281835" y="154921"/>
                    </a:lnTo>
                    <a:lnTo>
                      <a:pt x="7266199" y="126166"/>
                    </a:lnTo>
                    <a:lnTo>
                      <a:pt x="7248972" y="100447"/>
                    </a:lnTo>
                    <a:lnTo>
                      <a:pt x="7201418" y="98679"/>
                    </a:lnTo>
                    <a:lnTo>
                      <a:pt x="7184554" y="111249"/>
                    </a:lnTo>
                    <a:lnTo>
                      <a:pt x="7169622" y="126166"/>
                    </a:lnTo>
                    <a:lnTo>
                      <a:pt x="7154674" y="141084"/>
                    </a:lnTo>
                    <a:lnTo>
                      <a:pt x="7117932" y="166970"/>
                    </a:lnTo>
                    <a:lnTo>
                      <a:pt x="7078204" y="159576"/>
                    </a:lnTo>
                    <a:lnTo>
                      <a:pt x="7043391" y="136283"/>
                    </a:lnTo>
                    <a:lnTo>
                      <a:pt x="7028657" y="121154"/>
                    </a:lnTo>
                    <a:lnTo>
                      <a:pt x="6987183" y="82575"/>
                    </a:lnTo>
                    <a:lnTo>
                      <a:pt x="6940101" y="45735"/>
                    </a:lnTo>
                    <a:lnTo>
                      <a:pt x="6890777" y="22791"/>
                    </a:lnTo>
                    <a:lnTo>
                      <a:pt x="6866118" y="11323"/>
                    </a:lnTo>
                    <a:lnTo>
                      <a:pt x="6841719" y="2057"/>
                    </a:lnTo>
                    <a:lnTo>
                      <a:pt x="6817330" y="1028"/>
                    </a:lnTo>
                    <a:lnTo>
                      <a:pt x="6792941" y="0"/>
                    </a:lnTo>
                    <a:lnTo>
                      <a:pt x="6768911" y="6463"/>
                    </a:lnTo>
                    <a:lnTo>
                      <a:pt x="6747951" y="22791"/>
                    </a:lnTo>
                    <a:lnTo>
                      <a:pt x="6735474" y="47120"/>
                    </a:lnTo>
                    <a:lnTo>
                      <a:pt x="6724501" y="96438"/>
                    </a:lnTo>
                    <a:lnTo>
                      <a:pt x="6720753" y="136289"/>
                    </a:lnTo>
                    <a:lnTo>
                      <a:pt x="6707157" y="166970"/>
                    </a:lnTo>
                    <a:lnTo>
                      <a:pt x="6690358" y="196073"/>
                    </a:lnTo>
                    <a:lnTo>
                      <a:pt x="6664105" y="214044"/>
                    </a:lnTo>
                    <a:lnTo>
                      <a:pt x="6624179" y="217302"/>
                    </a:lnTo>
                    <a:lnTo>
                      <a:pt x="6601210" y="214010"/>
                    </a:lnTo>
                    <a:lnTo>
                      <a:pt x="6577757" y="192168"/>
                    </a:lnTo>
                    <a:lnTo>
                      <a:pt x="6568827" y="158330"/>
                    </a:lnTo>
                    <a:lnTo>
                      <a:pt x="6583375" y="130242"/>
                    </a:lnTo>
                    <a:lnTo>
                      <a:pt x="6608905" y="108736"/>
                    </a:lnTo>
                    <a:lnTo>
                      <a:pt x="6626901" y="97597"/>
                    </a:lnTo>
                    <a:lnTo>
                      <a:pt x="6630991" y="75840"/>
                    </a:lnTo>
                    <a:lnTo>
                      <a:pt x="6581642" y="43163"/>
                    </a:lnTo>
                    <a:lnTo>
                      <a:pt x="6545291" y="28232"/>
                    </a:lnTo>
                    <a:lnTo>
                      <a:pt x="6508946" y="13302"/>
                    </a:lnTo>
                    <a:lnTo>
                      <a:pt x="6472008" y="2525"/>
                    </a:lnTo>
                    <a:lnTo>
                      <a:pt x="6456161" y="18565"/>
                    </a:lnTo>
                    <a:lnTo>
                      <a:pt x="6432268" y="60772"/>
                    </a:lnTo>
                    <a:lnTo>
                      <a:pt x="6400751" y="68177"/>
                    </a:lnTo>
                    <a:lnTo>
                      <a:pt x="6368467" y="54071"/>
                    </a:lnTo>
                    <a:lnTo>
                      <a:pt x="6336714" y="38916"/>
                    </a:lnTo>
                    <a:lnTo>
                      <a:pt x="6274417" y="59320"/>
                    </a:lnTo>
                    <a:lnTo>
                      <a:pt x="6244642" y="74462"/>
                    </a:lnTo>
                    <a:lnTo>
                      <a:pt x="6225648" y="88081"/>
                    </a:lnTo>
                    <a:lnTo>
                      <a:pt x="6206660" y="101699"/>
                    </a:lnTo>
                    <a:lnTo>
                      <a:pt x="6191638" y="126166"/>
                    </a:lnTo>
                    <a:lnTo>
                      <a:pt x="6184234" y="150752"/>
                    </a:lnTo>
                    <a:lnTo>
                      <a:pt x="6174557" y="172310"/>
                    </a:lnTo>
                    <a:lnTo>
                      <a:pt x="6150837" y="191457"/>
                    </a:lnTo>
                    <a:lnTo>
                      <a:pt x="6118641" y="208919"/>
                    </a:lnTo>
                    <a:lnTo>
                      <a:pt x="6083338" y="216945"/>
                    </a:lnTo>
                    <a:lnTo>
                      <a:pt x="6047461" y="224101"/>
                    </a:lnTo>
                    <a:lnTo>
                      <a:pt x="6011584" y="231249"/>
                    </a:lnTo>
                    <a:lnTo>
                      <a:pt x="5974581" y="236427"/>
                    </a:lnTo>
                    <a:lnTo>
                      <a:pt x="5940010" y="245864"/>
                    </a:lnTo>
                    <a:lnTo>
                      <a:pt x="5887687" y="260122"/>
                    </a:lnTo>
                    <a:lnTo>
                      <a:pt x="5840540" y="289899"/>
                    </a:lnTo>
                    <a:lnTo>
                      <a:pt x="5786301" y="294832"/>
                    </a:lnTo>
                    <a:lnTo>
                      <a:pt x="5747240" y="298360"/>
                    </a:lnTo>
                    <a:lnTo>
                      <a:pt x="5710092" y="293109"/>
                    </a:lnTo>
                    <a:lnTo>
                      <a:pt x="5670681" y="305713"/>
                    </a:lnTo>
                    <a:lnTo>
                      <a:pt x="5642645" y="314682"/>
                    </a:lnTo>
                    <a:lnTo>
                      <a:pt x="5622866" y="340415"/>
                    </a:lnTo>
                    <a:lnTo>
                      <a:pt x="5598598" y="353321"/>
                    </a:lnTo>
                    <a:lnTo>
                      <a:pt x="5547804" y="380335"/>
                    </a:lnTo>
                    <a:lnTo>
                      <a:pt x="5490450" y="396294"/>
                    </a:lnTo>
                    <a:lnTo>
                      <a:pt x="5439457" y="425410"/>
                    </a:lnTo>
                    <a:lnTo>
                      <a:pt x="5395206" y="450683"/>
                    </a:lnTo>
                    <a:lnTo>
                      <a:pt x="5351891" y="482285"/>
                    </a:lnTo>
                    <a:lnTo>
                      <a:pt x="5308876" y="509739"/>
                    </a:lnTo>
                    <a:lnTo>
                      <a:pt x="5274664" y="531575"/>
                    </a:lnTo>
                    <a:lnTo>
                      <a:pt x="5243733" y="557902"/>
                    </a:lnTo>
                    <a:lnTo>
                      <a:pt x="5210938" y="575029"/>
                    </a:lnTo>
                    <a:lnTo>
                      <a:pt x="5178010" y="589552"/>
                    </a:lnTo>
                    <a:lnTo>
                      <a:pt x="5140511" y="593158"/>
                    </a:lnTo>
                    <a:lnTo>
                      <a:pt x="5119570" y="590514"/>
                    </a:lnTo>
                    <a:lnTo>
                      <a:pt x="5096688" y="581828"/>
                    </a:lnTo>
                    <a:lnTo>
                      <a:pt x="5062293" y="568796"/>
                    </a:lnTo>
                    <a:lnTo>
                      <a:pt x="5036409" y="547568"/>
                    </a:lnTo>
                    <a:lnTo>
                      <a:pt x="4997388" y="547826"/>
                    </a:lnTo>
                    <a:lnTo>
                      <a:pt x="4976614" y="566356"/>
                    </a:lnTo>
                    <a:lnTo>
                      <a:pt x="4998753" y="640319"/>
                    </a:lnTo>
                    <a:lnTo>
                      <a:pt x="4996663" y="678272"/>
                    </a:lnTo>
                    <a:lnTo>
                      <a:pt x="4982338" y="710369"/>
                    </a:lnTo>
                    <a:lnTo>
                      <a:pt x="4962026" y="738253"/>
                    </a:lnTo>
                    <a:lnTo>
                      <a:pt x="4941708" y="766142"/>
                    </a:lnTo>
                    <a:lnTo>
                      <a:pt x="4915564" y="789687"/>
                    </a:lnTo>
                    <a:lnTo>
                      <a:pt x="4888570" y="811707"/>
                    </a:lnTo>
                    <a:lnTo>
                      <a:pt x="4861586" y="833727"/>
                    </a:lnTo>
                    <a:lnTo>
                      <a:pt x="4834539" y="853922"/>
                    </a:lnTo>
                    <a:lnTo>
                      <a:pt x="4812401" y="874272"/>
                    </a:lnTo>
                    <a:lnTo>
                      <a:pt x="4790269" y="894631"/>
                    </a:lnTo>
                    <a:lnTo>
                      <a:pt x="4773259" y="915313"/>
                    </a:lnTo>
                    <a:lnTo>
                      <a:pt x="4767508" y="938203"/>
                    </a:lnTo>
                    <a:lnTo>
                      <a:pt x="4789066" y="970894"/>
                    </a:lnTo>
                    <a:lnTo>
                      <a:pt x="4843686" y="965408"/>
                    </a:lnTo>
                    <a:lnTo>
                      <a:pt x="4864085" y="973572"/>
                    </a:lnTo>
                    <a:lnTo>
                      <a:pt x="4867309" y="997993"/>
                    </a:lnTo>
                    <a:lnTo>
                      <a:pt x="4858135" y="1025322"/>
                    </a:lnTo>
                    <a:lnTo>
                      <a:pt x="4839612" y="1041578"/>
                    </a:lnTo>
                    <a:lnTo>
                      <a:pt x="4788012" y="1039561"/>
                    </a:lnTo>
                    <a:lnTo>
                      <a:pt x="4749062" y="1044659"/>
                    </a:lnTo>
                    <a:lnTo>
                      <a:pt x="4719914" y="1055184"/>
                    </a:lnTo>
                    <a:lnTo>
                      <a:pt x="4690765" y="1065702"/>
                    </a:lnTo>
                    <a:lnTo>
                      <a:pt x="4671690" y="1082005"/>
                    </a:lnTo>
                    <a:lnTo>
                      <a:pt x="4655989" y="1104151"/>
                    </a:lnTo>
                    <a:lnTo>
                      <a:pt x="4640266" y="1126291"/>
                    </a:lnTo>
                    <a:lnTo>
                      <a:pt x="4627848" y="1154266"/>
                    </a:lnTo>
                    <a:lnTo>
                      <a:pt x="4616537" y="1187121"/>
                    </a:lnTo>
                    <a:lnTo>
                      <a:pt x="4605229" y="1219971"/>
                    </a:lnTo>
                    <a:lnTo>
                      <a:pt x="4594380" y="1257378"/>
                    </a:lnTo>
                    <a:lnTo>
                      <a:pt x="4578453" y="1300020"/>
                    </a:lnTo>
                    <a:lnTo>
                      <a:pt x="4569331" y="1324422"/>
                    </a:lnTo>
                    <a:lnTo>
                      <a:pt x="4553108" y="1347919"/>
                    </a:lnTo>
                    <a:lnTo>
                      <a:pt x="4543090" y="1372109"/>
                    </a:lnTo>
                    <a:lnTo>
                      <a:pt x="4528313" y="1425837"/>
                    </a:lnTo>
                    <a:lnTo>
                      <a:pt x="4525405" y="1463244"/>
                    </a:lnTo>
                    <a:lnTo>
                      <a:pt x="4522496" y="1500643"/>
                    </a:lnTo>
                    <a:lnTo>
                      <a:pt x="4525436" y="1537832"/>
                    </a:lnTo>
                    <a:lnTo>
                      <a:pt x="4555152" y="1571064"/>
                    </a:lnTo>
                    <a:lnTo>
                      <a:pt x="4573988" y="1583297"/>
                    </a:lnTo>
                    <a:lnTo>
                      <a:pt x="4590694" y="1599264"/>
                    </a:lnTo>
                    <a:lnTo>
                      <a:pt x="4606091" y="1613970"/>
                    </a:lnTo>
                    <a:lnTo>
                      <a:pt x="4626192" y="1630155"/>
                    </a:lnTo>
                    <a:lnTo>
                      <a:pt x="4642377" y="1648231"/>
                    </a:lnTo>
                    <a:lnTo>
                      <a:pt x="4658581" y="1666294"/>
                    </a:lnTo>
                    <a:lnTo>
                      <a:pt x="4671743" y="1686824"/>
                    </a:lnTo>
                    <a:lnTo>
                      <a:pt x="4672310" y="1710796"/>
                    </a:lnTo>
                    <a:lnTo>
                      <a:pt x="4669566" y="1732559"/>
                    </a:lnTo>
                    <a:lnTo>
                      <a:pt x="4681808" y="1826413"/>
                    </a:lnTo>
                    <a:lnTo>
                      <a:pt x="4675008" y="1846816"/>
                    </a:lnTo>
                    <a:lnTo>
                      <a:pt x="4631305" y="1853577"/>
                    </a:lnTo>
                    <a:lnTo>
                      <a:pt x="4600197" y="1845458"/>
                    </a:lnTo>
                    <a:lnTo>
                      <a:pt x="4599735" y="1869272"/>
                    </a:lnTo>
                    <a:lnTo>
                      <a:pt x="4589314" y="1894425"/>
                    </a:lnTo>
                    <a:lnTo>
                      <a:pt x="4575519" y="1913082"/>
                    </a:lnTo>
                    <a:lnTo>
                      <a:pt x="4559592" y="1927459"/>
                    </a:lnTo>
                    <a:lnTo>
                      <a:pt x="4544424" y="1947475"/>
                    </a:lnTo>
                    <a:lnTo>
                      <a:pt x="4533435" y="1976486"/>
                    </a:lnTo>
                    <a:lnTo>
                      <a:pt x="4532189" y="2003241"/>
                    </a:lnTo>
                    <a:lnTo>
                      <a:pt x="4531094" y="2031890"/>
                    </a:lnTo>
                    <a:lnTo>
                      <a:pt x="4549633" y="2053230"/>
                    </a:lnTo>
                    <a:lnTo>
                      <a:pt x="4603105" y="2081944"/>
                    </a:lnTo>
                    <a:lnTo>
                      <a:pt x="4611058" y="2114781"/>
                    </a:lnTo>
                    <a:lnTo>
                      <a:pt x="4596095" y="2141542"/>
                    </a:lnTo>
                    <a:lnTo>
                      <a:pt x="4570769" y="2169446"/>
                    </a:lnTo>
                    <a:lnTo>
                      <a:pt x="4543044" y="2195027"/>
                    </a:lnTo>
                    <a:lnTo>
                      <a:pt x="4515319" y="2220609"/>
                    </a:lnTo>
                    <a:lnTo>
                      <a:pt x="4485094" y="2244759"/>
                    </a:lnTo>
                    <a:lnTo>
                      <a:pt x="4460075" y="2261676"/>
                    </a:lnTo>
                    <a:lnTo>
                      <a:pt x="4441503" y="2274240"/>
                    </a:lnTo>
                    <a:lnTo>
                      <a:pt x="4420038" y="2281593"/>
                    </a:lnTo>
                    <a:lnTo>
                      <a:pt x="4401583" y="2294320"/>
                    </a:lnTo>
                    <a:lnTo>
                      <a:pt x="4383137" y="2307016"/>
                    </a:lnTo>
                    <a:lnTo>
                      <a:pt x="4366816" y="2323503"/>
                    </a:lnTo>
                    <a:lnTo>
                      <a:pt x="4347177" y="2336488"/>
                    </a:lnTo>
                    <a:lnTo>
                      <a:pt x="4322400" y="2333065"/>
                    </a:lnTo>
                    <a:lnTo>
                      <a:pt x="4294086" y="2306270"/>
                    </a:lnTo>
                    <a:lnTo>
                      <a:pt x="4273894" y="2283208"/>
                    </a:lnTo>
                    <a:lnTo>
                      <a:pt x="4251958" y="2265758"/>
                    </a:lnTo>
                    <a:lnTo>
                      <a:pt x="4218813" y="2239366"/>
                    </a:lnTo>
                    <a:lnTo>
                      <a:pt x="4178728" y="2221275"/>
                    </a:lnTo>
                    <a:lnTo>
                      <a:pt x="4145865" y="2192310"/>
                    </a:lnTo>
                    <a:lnTo>
                      <a:pt x="4120583" y="2170040"/>
                    </a:lnTo>
                    <a:lnTo>
                      <a:pt x="4101272" y="2144108"/>
                    </a:lnTo>
                    <a:lnTo>
                      <a:pt x="4072418" y="2125656"/>
                    </a:lnTo>
                    <a:lnTo>
                      <a:pt x="4006912" y="2083811"/>
                    </a:lnTo>
                    <a:lnTo>
                      <a:pt x="3938188" y="2049914"/>
                    </a:lnTo>
                    <a:lnTo>
                      <a:pt x="3871110" y="2011406"/>
                    </a:lnTo>
                    <a:lnTo>
                      <a:pt x="3760124" y="1947771"/>
                    </a:lnTo>
                    <a:lnTo>
                      <a:pt x="3652416" y="1879296"/>
                    </a:lnTo>
                    <a:lnTo>
                      <a:pt x="3539214" y="1819613"/>
                    </a:lnTo>
                    <a:lnTo>
                      <a:pt x="3458248" y="1775915"/>
                    </a:lnTo>
                    <a:lnTo>
                      <a:pt x="3399120" y="1739365"/>
                    </a:lnTo>
                    <a:lnTo>
                      <a:pt x="3339976" y="1702811"/>
                    </a:lnTo>
                    <a:lnTo>
                      <a:pt x="3283881" y="1664157"/>
                    </a:lnTo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48" name="Kirovohrad¬0" descr="Kirovohrad¬0">
                <a:extLst>
                  <a:ext uri="{FF2B5EF4-FFF2-40B4-BE49-F238E27FC236}">
                    <a16:creationId xmlns:a16="http://schemas.microsoft.com/office/drawing/2014/main" id="{3C771C67-98A2-4729-B404-544C5C827DB9}"/>
                  </a:ext>
                </a:extLst>
              </p:cNvPr>
              <p:cNvSpPr/>
              <p:nvPr/>
            </p:nvSpPr>
            <p:spPr>
              <a:xfrm>
                <a:off x="26585398" y="16398548"/>
                <a:ext cx="14645251" cy="7951742"/>
              </a:xfrm>
              <a:custGeom>
                <a:avLst/>
                <a:gdLst/>
                <a:ahLst/>
                <a:cxnLst/>
                <a:rect l="0" t="0" r="0" b="0"/>
                <a:pathLst>
                  <a:path w="14645250" h="7951741">
                    <a:moveTo>
                      <a:pt x="10691704" y="10942"/>
                    </a:moveTo>
                    <a:lnTo>
                      <a:pt x="10686898" y="36986"/>
                    </a:lnTo>
                    <a:lnTo>
                      <a:pt x="10680257" y="63931"/>
                    </a:lnTo>
                    <a:lnTo>
                      <a:pt x="10673615" y="90879"/>
                    </a:lnTo>
                    <a:lnTo>
                      <a:pt x="10665687" y="118406"/>
                    </a:lnTo>
                    <a:lnTo>
                      <a:pt x="10657133" y="140103"/>
                    </a:lnTo>
                    <a:lnTo>
                      <a:pt x="10644888" y="157785"/>
                    </a:lnTo>
                    <a:lnTo>
                      <a:pt x="10618580" y="220455"/>
                    </a:lnTo>
                    <a:lnTo>
                      <a:pt x="10605489" y="298776"/>
                    </a:lnTo>
                    <a:lnTo>
                      <a:pt x="10579606" y="360451"/>
                    </a:lnTo>
                    <a:lnTo>
                      <a:pt x="10566000" y="378132"/>
                    </a:lnTo>
                    <a:lnTo>
                      <a:pt x="10563362" y="406062"/>
                    </a:lnTo>
                    <a:lnTo>
                      <a:pt x="10575522" y="426770"/>
                    </a:lnTo>
                    <a:lnTo>
                      <a:pt x="10605449" y="448863"/>
                    </a:lnTo>
                    <a:lnTo>
                      <a:pt x="10633016" y="472908"/>
                    </a:lnTo>
                    <a:lnTo>
                      <a:pt x="10666893" y="513750"/>
                    </a:lnTo>
                    <a:lnTo>
                      <a:pt x="10689937" y="567070"/>
                    </a:lnTo>
                    <a:lnTo>
                      <a:pt x="10706100" y="622969"/>
                    </a:lnTo>
                    <a:lnTo>
                      <a:pt x="10722273" y="678874"/>
                    </a:lnTo>
                    <a:lnTo>
                      <a:pt x="10732771" y="737872"/>
                    </a:lnTo>
                    <a:lnTo>
                      <a:pt x="10733305" y="776675"/>
                    </a:lnTo>
                    <a:lnTo>
                      <a:pt x="10732778" y="810745"/>
                    </a:lnTo>
                    <a:lnTo>
                      <a:pt x="10731088" y="845975"/>
                    </a:lnTo>
                    <a:lnTo>
                      <a:pt x="10729231" y="881410"/>
                    </a:lnTo>
                    <a:lnTo>
                      <a:pt x="10727101" y="911673"/>
                    </a:lnTo>
                    <a:lnTo>
                      <a:pt x="10730635" y="935092"/>
                    </a:lnTo>
                    <a:lnTo>
                      <a:pt x="10731181" y="957561"/>
                    </a:lnTo>
                    <a:lnTo>
                      <a:pt x="10738238" y="983288"/>
                    </a:lnTo>
                    <a:lnTo>
                      <a:pt x="10760438" y="1045478"/>
                    </a:lnTo>
                    <a:lnTo>
                      <a:pt x="10783643" y="1107199"/>
                    </a:lnTo>
                    <a:lnTo>
                      <a:pt x="10806844" y="1168921"/>
                    </a:lnTo>
                    <a:lnTo>
                      <a:pt x="10831820" y="1230088"/>
                    </a:lnTo>
                    <a:lnTo>
                      <a:pt x="10931904" y="1247301"/>
                    </a:lnTo>
                    <a:lnTo>
                      <a:pt x="10925957" y="1340198"/>
                    </a:lnTo>
                    <a:lnTo>
                      <a:pt x="10894241" y="1346766"/>
                    </a:lnTo>
                    <a:lnTo>
                      <a:pt x="10850761" y="1354119"/>
                    </a:lnTo>
                    <a:lnTo>
                      <a:pt x="10826787" y="1378732"/>
                    </a:lnTo>
                    <a:lnTo>
                      <a:pt x="10823299" y="1412886"/>
                    </a:lnTo>
                    <a:lnTo>
                      <a:pt x="10812205" y="1441812"/>
                    </a:lnTo>
                    <a:lnTo>
                      <a:pt x="10721923" y="1464314"/>
                    </a:lnTo>
                    <a:lnTo>
                      <a:pt x="10674828" y="1577831"/>
                    </a:lnTo>
                    <a:lnTo>
                      <a:pt x="10647834" y="1589584"/>
                    </a:lnTo>
                    <a:lnTo>
                      <a:pt x="10594786" y="1576941"/>
                    </a:lnTo>
                    <a:lnTo>
                      <a:pt x="10568729" y="1568308"/>
                    </a:lnTo>
                    <a:lnTo>
                      <a:pt x="10549301" y="1552732"/>
                    </a:lnTo>
                    <a:lnTo>
                      <a:pt x="10532173" y="1539153"/>
                    </a:lnTo>
                    <a:lnTo>
                      <a:pt x="10507523" y="1524782"/>
                    </a:lnTo>
                    <a:lnTo>
                      <a:pt x="10463870" y="1488483"/>
                    </a:lnTo>
                    <a:lnTo>
                      <a:pt x="10433816" y="1463522"/>
                    </a:lnTo>
                    <a:lnTo>
                      <a:pt x="10397341" y="1447253"/>
                    </a:lnTo>
                    <a:lnTo>
                      <a:pt x="10370434" y="1435249"/>
                    </a:lnTo>
                    <a:lnTo>
                      <a:pt x="10337499" y="1426848"/>
                    </a:lnTo>
                    <a:lnTo>
                      <a:pt x="10314158" y="1429011"/>
                    </a:lnTo>
                    <a:lnTo>
                      <a:pt x="10294401" y="1451090"/>
                    </a:lnTo>
                    <a:lnTo>
                      <a:pt x="10290597" y="1481791"/>
                    </a:lnTo>
                    <a:lnTo>
                      <a:pt x="10272210" y="1524782"/>
                    </a:lnTo>
                    <a:lnTo>
                      <a:pt x="10256928" y="1560501"/>
                    </a:lnTo>
                    <a:lnTo>
                      <a:pt x="10220223" y="1591793"/>
                    </a:lnTo>
                    <a:lnTo>
                      <a:pt x="10191955" y="1615917"/>
                    </a:lnTo>
                    <a:lnTo>
                      <a:pt x="10171761" y="1633110"/>
                    </a:lnTo>
                    <a:lnTo>
                      <a:pt x="10151576" y="1661916"/>
                    </a:lnTo>
                    <a:lnTo>
                      <a:pt x="10123944" y="1668967"/>
                    </a:lnTo>
                    <a:lnTo>
                      <a:pt x="10093983" y="1676610"/>
                    </a:lnTo>
                    <a:lnTo>
                      <a:pt x="10069680" y="1671835"/>
                    </a:lnTo>
                    <a:lnTo>
                      <a:pt x="10047771" y="1662161"/>
                    </a:lnTo>
                    <a:lnTo>
                      <a:pt x="10025869" y="1652486"/>
                    </a:lnTo>
                    <a:lnTo>
                      <a:pt x="10006791" y="1637535"/>
                    </a:lnTo>
                    <a:lnTo>
                      <a:pt x="9989282" y="1622717"/>
                    </a:lnTo>
                    <a:lnTo>
                      <a:pt x="9971779" y="1607904"/>
                    </a:lnTo>
                    <a:lnTo>
                      <a:pt x="9955734" y="1593765"/>
                    </a:lnTo>
                    <a:lnTo>
                      <a:pt x="9922185" y="1578220"/>
                    </a:lnTo>
                    <a:lnTo>
                      <a:pt x="9884547" y="1588707"/>
                    </a:lnTo>
                    <a:lnTo>
                      <a:pt x="9868998" y="1606850"/>
                    </a:lnTo>
                    <a:lnTo>
                      <a:pt x="9864738" y="1635860"/>
                    </a:lnTo>
                    <a:lnTo>
                      <a:pt x="9866868" y="1670319"/>
                    </a:lnTo>
                    <a:lnTo>
                      <a:pt x="9867875" y="1704513"/>
                    </a:lnTo>
                    <a:lnTo>
                      <a:pt x="9863135" y="1734059"/>
                    </a:lnTo>
                    <a:lnTo>
                      <a:pt x="9846469" y="1753295"/>
                    </a:lnTo>
                    <a:lnTo>
                      <a:pt x="9820716" y="1755822"/>
                    </a:lnTo>
                    <a:lnTo>
                      <a:pt x="9785170" y="1753479"/>
                    </a:lnTo>
                    <a:lnTo>
                      <a:pt x="9758050" y="1750579"/>
                    </a:lnTo>
                    <a:lnTo>
                      <a:pt x="9733564" y="1731532"/>
                    </a:lnTo>
                    <a:lnTo>
                      <a:pt x="9729165" y="1701723"/>
                    </a:lnTo>
                    <a:lnTo>
                      <a:pt x="9728017" y="1658006"/>
                    </a:lnTo>
                    <a:lnTo>
                      <a:pt x="9724042" y="1615917"/>
                    </a:lnTo>
                    <a:lnTo>
                      <a:pt x="9720064" y="1573822"/>
                    </a:lnTo>
                    <a:lnTo>
                      <a:pt x="9713463" y="1532353"/>
                    </a:lnTo>
                    <a:lnTo>
                      <a:pt x="9696838" y="1505736"/>
                    </a:lnTo>
                    <a:lnTo>
                      <a:pt x="9682268" y="1482423"/>
                    </a:lnTo>
                    <a:lnTo>
                      <a:pt x="9638538" y="1430033"/>
                    </a:lnTo>
                    <a:lnTo>
                      <a:pt x="9598897" y="1377881"/>
                    </a:lnTo>
                    <a:lnTo>
                      <a:pt x="9559268" y="1325729"/>
                    </a:lnTo>
                    <a:lnTo>
                      <a:pt x="9523509" y="1274684"/>
                    </a:lnTo>
                    <a:lnTo>
                      <a:pt x="9518570" y="1230406"/>
                    </a:lnTo>
                    <a:lnTo>
                      <a:pt x="9519466" y="1200445"/>
                    </a:lnTo>
                    <a:lnTo>
                      <a:pt x="9521373" y="1171130"/>
                    </a:lnTo>
                    <a:lnTo>
                      <a:pt x="9523292" y="1141816"/>
                    </a:lnTo>
                    <a:lnTo>
                      <a:pt x="9525918" y="1112410"/>
                    </a:lnTo>
                    <a:lnTo>
                      <a:pt x="9526814" y="1086795"/>
                    </a:lnTo>
                    <a:lnTo>
                      <a:pt x="9519317" y="1063548"/>
                    </a:lnTo>
                    <a:lnTo>
                      <a:pt x="9495337" y="1049870"/>
                    </a:lnTo>
                    <a:lnTo>
                      <a:pt x="9463714" y="1064425"/>
                    </a:lnTo>
                    <a:lnTo>
                      <a:pt x="9448143" y="1087309"/>
                    </a:lnTo>
                    <a:lnTo>
                      <a:pt x="9430243" y="1108558"/>
                    </a:lnTo>
                    <a:lnTo>
                      <a:pt x="9412340" y="1129814"/>
                    </a:lnTo>
                    <a:lnTo>
                      <a:pt x="9392580" y="1150026"/>
                    </a:lnTo>
                    <a:lnTo>
                      <a:pt x="9358148" y="1160249"/>
                    </a:lnTo>
                    <a:lnTo>
                      <a:pt x="9306148" y="1150930"/>
                    </a:lnTo>
                    <a:lnTo>
                      <a:pt x="9271096" y="1141202"/>
                    </a:lnTo>
                    <a:lnTo>
                      <a:pt x="9236044" y="1131482"/>
                    </a:lnTo>
                    <a:lnTo>
                      <a:pt x="9203110" y="1118979"/>
                    </a:lnTo>
                    <a:lnTo>
                      <a:pt x="9191607" y="1094024"/>
                    </a:lnTo>
                    <a:lnTo>
                      <a:pt x="9194772" y="1064411"/>
                    </a:lnTo>
                    <a:lnTo>
                      <a:pt x="9193566" y="1043269"/>
                    </a:lnTo>
                    <a:lnTo>
                      <a:pt x="9173394" y="1029367"/>
                    </a:lnTo>
                    <a:lnTo>
                      <a:pt x="9151175" y="1016374"/>
                    </a:lnTo>
                    <a:lnTo>
                      <a:pt x="9128277" y="1005182"/>
                    </a:lnTo>
                    <a:lnTo>
                      <a:pt x="9131865" y="972412"/>
                    </a:lnTo>
                    <a:lnTo>
                      <a:pt x="9138289" y="934584"/>
                    </a:lnTo>
                    <a:lnTo>
                      <a:pt x="9131009" y="904531"/>
                    </a:lnTo>
                    <a:lnTo>
                      <a:pt x="9111962" y="895008"/>
                    </a:lnTo>
                    <a:lnTo>
                      <a:pt x="9087473" y="886850"/>
                    </a:lnTo>
                    <a:lnTo>
                      <a:pt x="9058911" y="919488"/>
                    </a:lnTo>
                    <a:lnTo>
                      <a:pt x="9037148" y="949417"/>
                    </a:lnTo>
                    <a:lnTo>
                      <a:pt x="9000428" y="949409"/>
                    </a:lnTo>
                    <a:lnTo>
                      <a:pt x="8978665" y="943969"/>
                    </a:lnTo>
                    <a:lnTo>
                      <a:pt x="8966030" y="971859"/>
                    </a:lnTo>
                    <a:lnTo>
                      <a:pt x="8951454" y="987495"/>
                    </a:lnTo>
                    <a:lnTo>
                      <a:pt x="8936887" y="1003139"/>
                    </a:lnTo>
                    <a:lnTo>
                      <a:pt x="8922938" y="1019282"/>
                    </a:lnTo>
                    <a:lnTo>
                      <a:pt x="8928677" y="1039945"/>
                    </a:lnTo>
                    <a:lnTo>
                      <a:pt x="8939216" y="1069107"/>
                    </a:lnTo>
                    <a:lnTo>
                      <a:pt x="8947591" y="1097538"/>
                    </a:lnTo>
                    <a:lnTo>
                      <a:pt x="8933781" y="1118081"/>
                    </a:lnTo>
                    <a:lnTo>
                      <a:pt x="8894462" y="1125091"/>
                    </a:lnTo>
                    <a:lnTo>
                      <a:pt x="8869223" y="1113432"/>
                    </a:lnTo>
                    <a:lnTo>
                      <a:pt x="8845361" y="1101752"/>
                    </a:lnTo>
                    <a:lnTo>
                      <a:pt x="8821508" y="1090080"/>
                    </a:lnTo>
                    <a:lnTo>
                      <a:pt x="8798527" y="1078941"/>
                    </a:lnTo>
                    <a:lnTo>
                      <a:pt x="8771914" y="1084071"/>
                    </a:lnTo>
                    <a:lnTo>
                      <a:pt x="8758309" y="1104469"/>
                    </a:lnTo>
                    <a:lnTo>
                      <a:pt x="8734118" y="1134878"/>
                    </a:lnTo>
                    <a:lnTo>
                      <a:pt x="8724491" y="1155428"/>
                    </a:lnTo>
                    <a:lnTo>
                      <a:pt x="8714783" y="1176558"/>
                    </a:lnTo>
                    <a:lnTo>
                      <a:pt x="8705075" y="1197695"/>
                    </a:lnTo>
                    <a:lnTo>
                      <a:pt x="8695553" y="1219662"/>
                    </a:lnTo>
                    <a:lnTo>
                      <a:pt x="8683498" y="1239131"/>
                    </a:lnTo>
                    <a:lnTo>
                      <a:pt x="8665815" y="1262252"/>
                    </a:lnTo>
                    <a:lnTo>
                      <a:pt x="8648136" y="1284015"/>
                    </a:lnTo>
                    <a:lnTo>
                      <a:pt x="8634062" y="1315506"/>
                    </a:lnTo>
                    <a:lnTo>
                      <a:pt x="8623648" y="1337065"/>
                    </a:lnTo>
                    <a:lnTo>
                      <a:pt x="8613236" y="1358623"/>
                    </a:lnTo>
                    <a:lnTo>
                      <a:pt x="8601444" y="1378592"/>
                    </a:lnTo>
                    <a:lnTo>
                      <a:pt x="8565902" y="1400330"/>
                    </a:lnTo>
                    <a:lnTo>
                      <a:pt x="8546244" y="1415043"/>
                    </a:lnTo>
                    <a:lnTo>
                      <a:pt x="8524354" y="1425476"/>
                    </a:lnTo>
                    <a:lnTo>
                      <a:pt x="8502467" y="1435916"/>
                    </a:lnTo>
                    <a:lnTo>
                      <a:pt x="8479383" y="1441984"/>
                    </a:lnTo>
                    <a:lnTo>
                      <a:pt x="8446827" y="1444522"/>
                    </a:lnTo>
                    <a:lnTo>
                      <a:pt x="8418265" y="1509812"/>
                    </a:lnTo>
                    <a:lnTo>
                      <a:pt x="8391054" y="1573735"/>
                    </a:lnTo>
                    <a:lnTo>
                      <a:pt x="8402858" y="1592241"/>
                    </a:lnTo>
                    <a:lnTo>
                      <a:pt x="8428221" y="1615086"/>
                    </a:lnTo>
                    <a:lnTo>
                      <a:pt x="8448185" y="1636308"/>
                    </a:lnTo>
                    <a:lnTo>
                      <a:pt x="8435991" y="1699309"/>
                    </a:lnTo>
                    <a:lnTo>
                      <a:pt x="8423697" y="1743765"/>
                    </a:lnTo>
                    <a:lnTo>
                      <a:pt x="8411412" y="1788221"/>
                    </a:lnTo>
                    <a:lnTo>
                      <a:pt x="8396988" y="1830627"/>
                    </a:lnTo>
                    <a:lnTo>
                      <a:pt x="8368655" y="1851877"/>
                    </a:lnTo>
                    <a:lnTo>
                      <a:pt x="8337172" y="1859420"/>
                    </a:lnTo>
                    <a:lnTo>
                      <a:pt x="8308082" y="1858022"/>
                    </a:lnTo>
                    <a:lnTo>
                      <a:pt x="8279935" y="1853735"/>
                    </a:lnTo>
                    <a:lnTo>
                      <a:pt x="8257347" y="1843263"/>
                    </a:lnTo>
                    <a:lnTo>
                      <a:pt x="8245516" y="1824013"/>
                    </a:lnTo>
                    <a:lnTo>
                      <a:pt x="8244533" y="1797666"/>
                    </a:lnTo>
                    <a:lnTo>
                      <a:pt x="8227228" y="1777717"/>
                    </a:lnTo>
                    <a:lnTo>
                      <a:pt x="8201990" y="1787285"/>
                    </a:lnTo>
                    <a:lnTo>
                      <a:pt x="8173960" y="1804630"/>
                    </a:lnTo>
                    <a:lnTo>
                      <a:pt x="8145683" y="1824350"/>
                    </a:lnTo>
                    <a:lnTo>
                      <a:pt x="8117660" y="1836253"/>
                    </a:lnTo>
                    <a:lnTo>
                      <a:pt x="8090080" y="1836846"/>
                    </a:lnTo>
                    <a:lnTo>
                      <a:pt x="8074134" y="1815848"/>
                    </a:lnTo>
                    <a:lnTo>
                      <a:pt x="8083659" y="1792727"/>
                    </a:lnTo>
                    <a:lnTo>
                      <a:pt x="8079423" y="1766201"/>
                    </a:lnTo>
                    <a:lnTo>
                      <a:pt x="8051013" y="1750559"/>
                    </a:lnTo>
                    <a:lnTo>
                      <a:pt x="8023808" y="1736960"/>
                    </a:lnTo>
                    <a:lnTo>
                      <a:pt x="7987252" y="1781450"/>
                    </a:lnTo>
                    <a:lnTo>
                      <a:pt x="7959034" y="1808898"/>
                    </a:lnTo>
                    <a:lnTo>
                      <a:pt x="7928592" y="1826729"/>
                    </a:lnTo>
                    <a:lnTo>
                      <a:pt x="7898157" y="1844562"/>
                    </a:lnTo>
                    <a:lnTo>
                      <a:pt x="7864323" y="1853717"/>
                    </a:lnTo>
                    <a:lnTo>
                      <a:pt x="7833383" y="1859375"/>
                    </a:lnTo>
                    <a:lnTo>
                      <a:pt x="7802439" y="1865032"/>
                    </a:lnTo>
                    <a:lnTo>
                      <a:pt x="7773526" y="1866366"/>
                    </a:lnTo>
                    <a:lnTo>
                      <a:pt x="7750405" y="1871615"/>
                    </a:lnTo>
                    <a:lnTo>
                      <a:pt x="7727296" y="1876864"/>
                    </a:lnTo>
                    <a:lnTo>
                      <a:pt x="7704159" y="1901536"/>
                    </a:lnTo>
                    <a:lnTo>
                      <a:pt x="7694210" y="1925337"/>
                    </a:lnTo>
                    <a:lnTo>
                      <a:pt x="7686545" y="1944924"/>
                    </a:lnTo>
                    <a:lnTo>
                      <a:pt x="7667368" y="1980569"/>
                    </a:lnTo>
                    <a:lnTo>
                      <a:pt x="7636154" y="2014434"/>
                    </a:lnTo>
                    <a:lnTo>
                      <a:pt x="7615644" y="2027308"/>
                    </a:lnTo>
                    <a:lnTo>
                      <a:pt x="7591249" y="2053317"/>
                    </a:lnTo>
                    <a:lnTo>
                      <a:pt x="7584899" y="2073874"/>
                    </a:lnTo>
                    <a:lnTo>
                      <a:pt x="7564990" y="2107343"/>
                    </a:lnTo>
                    <a:lnTo>
                      <a:pt x="7519172" y="2127333"/>
                    </a:lnTo>
                    <a:lnTo>
                      <a:pt x="7494916" y="2117546"/>
                    </a:lnTo>
                    <a:lnTo>
                      <a:pt x="7472707" y="2099034"/>
                    </a:lnTo>
                    <a:lnTo>
                      <a:pt x="7460683" y="2075647"/>
                    </a:lnTo>
                    <a:lnTo>
                      <a:pt x="7453976" y="2039778"/>
                    </a:lnTo>
                    <a:lnTo>
                      <a:pt x="7448780" y="1994135"/>
                    </a:lnTo>
                    <a:lnTo>
                      <a:pt x="7437562" y="1950509"/>
                    </a:lnTo>
                    <a:lnTo>
                      <a:pt x="7431956" y="1928694"/>
                    </a:lnTo>
                    <a:lnTo>
                      <a:pt x="7425249" y="1906951"/>
                    </a:lnTo>
                    <a:lnTo>
                      <a:pt x="7415799" y="1887936"/>
                    </a:lnTo>
                    <a:lnTo>
                      <a:pt x="7406348" y="1868924"/>
                    </a:lnTo>
                    <a:lnTo>
                      <a:pt x="7379072" y="1838970"/>
                    </a:lnTo>
                    <a:lnTo>
                      <a:pt x="7323305" y="1802242"/>
                    </a:lnTo>
                    <a:lnTo>
                      <a:pt x="7267538" y="1764158"/>
                    </a:lnTo>
                    <a:lnTo>
                      <a:pt x="7237729" y="1750480"/>
                    </a:lnTo>
                    <a:lnTo>
                      <a:pt x="7205526" y="1740330"/>
                    </a:lnTo>
                    <a:lnTo>
                      <a:pt x="7172322" y="1730154"/>
                    </a:lnTo>
                    <a:lnTo>
                      <a:pt x="7139115" y="1719985"/>
                    </a:lnTo>
                    <a:lnTo>
                      <a:pt x="7105461" y="1710146"/>
                    </a:lnTo>
                    <a:lnTo>
                      <a:pt x="7074387" y="1698867"/>
                    </a:lnTo>
                    <a:lnTo>
                      <a:pt x="7046938" y="1687479"/>
                    </a:lnTo>
                    <a:lnTo>
                      <a:pt x="7020229" y="1674901"/>
                    </a:lnTo>
                    <a:lnTo>
                      <a:pt x="6994141" y="1664865"/>
                    </a:lnTo>
                    <a:lnTo>
                      <a:pt x="6969370" y="1661020"/>
                    </a:lnTo>
                    <a:lnTo>
                      <a:pt x="6929128" y="1655110"/>
                    </a:lnTo>
                    <a:lnTo>
                      <a:pt x="6903005" y="1652624"/>
                    </a:lnTo>
                    <a:lnTo>
                      <a:pt x="6874443" y="1656699"/>
                    </a:lnTo>
                    <a:lnTo>
                      <a:pt x="6845880" y="1660775"/>
                    </a:lnTo>
                    <a:lnTo>
                      <a:pt x="6822350" y="1659938"/>
                    </a:lnTo>
                    <a:lnTo>
                      <a:pt x="6795951" y="1661626"/>
                    </a:lnTo>
                    <a:lnTo>
                      <a:pt x="6773785" y="1671657"/>
                    </a:lnTo>
                    <a:lnTo>
                      <a:pt x="6767196" y="1713271"/>
                    </a:lnTo>
                    <a:lnTo>
                      <a:pt x="6766986" y="1735587"/>
                    </a:lnTo>
                    <a:lnTo>
                      <a:pt x="6766787" y="1757899"/>
                    </a:lnTo>
                    <a:lnTo>
                      <a:pt x="6765646" y="1779227"/>
                    </a:lnTo>
                    <a:lnTo>
                      <a:pt x="6730687" y="1812617"/>
                    </a:lnTo>
                    <a:lnTo>
                      <a:pt x="6705467" y="1815558"/>
                    </a:lnTo>
                    <a:lnTo>
                      <a:pt x="6679934" y="1813118"/>
                    </a:lnTo>
                    <a:lnTo>
                      <a:pt x="6654397" y="1810677"/>
                    </a:lnTo>
                    <a:lnTo>
                      <a:pt x="6627444" y="1802356"/>
                    </a:lnTo>
                    <a:lnTo>
                      <a:pt x="6602403" y="1800878"/>
                    </a:lnTo>
                    <a:lnTo>
                      <a:pt x="6568313" y="1801537"/>
                    </a:lnTo>
                    <a:lnTo>
                      <a:pt x="6533112" y="1802955"/>
                    </a:lnTo>
                    <a:lnTo>
                      <a:pt x="6499027" y="1798160"/>
                    </a:lnTo>
                    <a:lnTo>
                      <a:pt x="6477375" y="1791724"/>
                    </a:lnTo>
                    <a:lnTo>
                      <a:pt x="6454744" y="1784298"/>
                    </a:lnTo>
                    <a:lnTo>
                      <a:pt x="6432374" y="1775032"/>
                    </a:lnTo>
                    <a:lnTo>
                      <a:pt x="6410009" y="1765773"/>
                    </a:lnTo>
                    <a:lnTo>
                      <a:pt x="6389111" y="1754410"/>
                    </a:lnTo>
                    <a:lnTo>
                      <a:pt x="6369807" y="1742387"/>
                    </a:lnTo>
                    <a:lnTo>
                      <a:pt x="6335796" y="1745105"/>
                    </a:lnTo>
                    <a:lnTo>
                      <a:pt x="6310263" y="1757022"/>
                    </a:lnTo>
                    <a:lnTo>
                      <a:pt x="6296022" y="1782650"/>
                    </a:lnTo>
                    <a:lnTo>
                      <a:pt x="6288196" y="1814476"/>
                    </a:lnTo>
                    <a:lnTo>
                      <a:pt x="6280361" y="1846303"/>
                    </a:lnTo>
                    <a:lnTo>
                      <a:pt x="6279484" y="1885536"/>
                    </a:lnTo>
                    <a:lnTo>
                      <a:pt x="6281397" y="1926016"/>
                    </a:lnTo>
                    <a:lnTo>
                      <a:pt x="6285207" y="2006968"/>
                    </a:lnTo>
                    <a:lnTo>
                      <a:pt x="6300034" y="2092901"/>
                    </a:lnTo>
                    <a:lnTo>
                      <a:pt x="6294996" y="2140924"/>
                    </a:lnTo>
                    <a:lnTo>
                      <a:pt x="6292698" y="2162774"/>
                    </a:lnTo>
                    <a:lnTo>
                      <a:pt x="6289554" y="2190512"/>
                    </a:lnTo>
                    <a:lnTo>
                      <a:pt x="6282755" y="2215736"/>
                    </a:lnTo>
                    <a:lnTo>
                      <a:pt x="6275955" y="2240963"/>
                    </a:lnTo>
                    <a:lnTo>
                      <a:pt x="6265984" y="2263715"/>
                    </a:lnTo>
                    <a:lnTo>
                      <a:pt x="6248751" y="2279667"/>
                    </a:lnTo>
                    <a:lnTo>
                      <a:pt x="6224265" y="2294625"/>
                    </a:lnTo>
                    <a:lnTo>
                      <a:pt x="6199777" y="2308230"/>
                    </a:lnTo>
                    <a:lnTo>
                      <a:pt x="6171537" y="2331219"/>
                    </a:lnTo>
                    <a:lnTo>
                      <a:pt x="6153535" y="2349032"/>
                    </a:lnTo>
                    <a:lnTo>
                      <a:pt x="6135530" y="2366853"/>
                    </a:lnTo>
                    <a:lnTo>
                      <a:pt x="6117692" y="2385866"/>
                    </a:lnTo>
                    <a:lnTo>
                      <a:pt x="6105826" y="2407226"/>
                    </a:lnTo>
                    <a:lnTo>
                      <a:pt x="6097318" y="2428593"/>
                    </a:lnTo>
                    <a:lnTo>
                      <a:pt x="6091390" y="2450786"/>
                    </a:lnTo>
                    <a:lnTo>
                      <a:pt x="6086885" y="2487777"/>
                    </a:lnTo>
                    <a:lnTo>
                      <a:pt x="6080972" y="2525572"/>
                    </a:lnTo>
                    <a:lnTo>
                      <a:pt x="6067887" y="2565551"/>
                    </a:lnTo>
                    <a:lnTo>
                      <a:pt x="6060393" y="2585559"/>
                    </a:lnTo>
                    <a:lnTo>
                      <a:pt x="6052877" y="2606116"/>
                    </a:lnTo>
                    <a:lnTo>
                      <a:pt x="6045365" y="2626665"/>
                    </a:lnTo>
                    <a:lnTo>
                      <a:pt x="6038478" y="2647459"/>
                    </a:lnTo>
                    <a:lnTo>
                      <a:pt x="6032479" y="2668681"/>
                    </a:lnTo>
                    <a:lnTo>
                      <a:pt x="5987830" y="2689027"/>
                    </a:lnTo>
                    <a:lnTo>
                      <a:pt x="5961748" y="2701325"/>
                    </a:lnTo>
                    <a:lnTo>
                      <a:pt x="5935666" y="2713632"/>
                    </a:lnTo>
                    <a:lnTo>
                      <a:pt x="5910111" y="2724850"/>
                    </a:lnTo>
                    <a:lnTo>
                      <a:pt x="5877242" y="2710216"/>
                    </a:lnTo>
                    <a:lnTo>
                      <a:pt x="5847491" y="2704049"/>
                    </a:lnTo>
                    <a:lnTo>
                      <a:pt x="5818929" y="2708046"/>
                    </a:lnTo>
                    <a:lnTo>
                      <a:pt x="5778106" y="2728702"/>
                    </a:lnTo>
                    <a:lnTo>
                      <a:pt x="5752945" y="2752800"/>
                    </a:lnTo>
                    <a:lnTo>
                      <a:pt x="5730509" y="2774780"/>
                    </a:lnTo>
                    <a:lnTo>
                      <a:pt x="5703234" y="2779409"/>
                    </a:lnTo>
                    <a:lnTo>
                      <a:pt x="5676181" y="2775584"/>
                    </a:lnTo>
                    <a:lnTo>
                      <a:pt x="5654347" y="2758451"/>
                    </a:lnTo>
                    <a:lnTo>
                      <a:pt x="5632577" y="2758451"/>
                    </a:lnTo>
                    <a:lnTo>
                      <a:pt x="5620811" y="2779225"/>
                    </a:lnTo>
                    <a:lnTo>
                      <a:pt x="5614427" y="2805690"/>
                    </a:lnTo>
                    <a:lnTo>
                      <a:pt x="5598573" y="2830539"/>
                    </a:lnTo>
                    <a:lnTo>
                      <a:pt x="5576810" y="2823741"/>
                    </a:lnTo>
                    <a:lnTo>
                      <a:pt x="5565171" y="2803290"/>
                    </a:lnTo>
                    <a:lnTo>
                      <a:pt x="5550976" y="2767974"/>
                    </a:lnTo>
                    <a:lnTo>
                      <a:pt x="5535123" y="2733575"/>
                    </a:lnTo>
                    <a:lnTo>
                      <a:pt x="5511726" y="2717338"/>
                    </a:lnTo>
                    <a:lnTo>
                      <a:pt x="5486729" y="2705541"/>
                    </a:lnTo>
                    <a:lnTo>
                      <a:pt x="5461202" y="2697244"/>
                    </a:lnTo>
                    <a:lnTo>
                      <a:pt x="5435672" y="2688954"/>
                    </a:lnTo>
                    <a:lnTo>
                      <a:pt x="5409069" y="2684226"/>
                    </a:lnTo>
                    <a:lnTo>
                      <a:pt x="5379709" y="2689376"/>
                    </a:lnTo>
                    <a:lnTo>
                      <a:pt x="5350762" y="2698431"/>
                    </a:lnTo>
                    <a:lnTo>
                      <a:pt x="5308873" y="2689100"/>
                    </a:lnTo>
                    <a:lnTo>
                      <a:pt x="5287510" y="2679384"/>
                    </a:lnTo>
                    <a:lnTo>
                      <a:pt x="5265332" y="2671399"/>
                    </a:lnTo>
                    <a:lnTo>
                      <a:pt x="5243153" y="2663411"/>
                    </a:lnTo>
                    <a:lnTo>
                      <a:pt x="5220851" y="2657430"/>
                    </a:lnTo>
                    <a:lnTo>
                      <a:pt x="5197326" y="2659157"/>
                    </a:lnTo>
                    <a:lnTo>
                      <a:pt x="5172838" y="2664599"/>
                    </a:lnTo>
                    <a:lnTo>
                      <a:pt x="5151075" y="2668675"/>
                    </a:lnTo>
                    <a:lnTo>
                      <a:pt x="5117421" y="2666828"/>
                    </a:lnTo>
                    <a:lnTo>
                      <a:pt x="5084078" y="2665081"/>
                    </a:lnTo>
                    <a:lnTo>
                      <a:pt x="5049066" y="2671399"/>
                    </a:lnTo>
                    <a:lnTo>
                      <a:pt x="5010432" y="2684054"/>
                    </a:lnTo>
                    <a:lnTo>
                      <a:pt x="4979495" y="2708646"/>
                    </a:lnTo>
                    <a:lnTo>
                      <a:pt x="4948408" y="2733972"/>
                    </a:lnTo>
                    <a:lnTo>
                      <a:pt x="4917319" y="2759296"/>
                    </a:lnTo>
                    <a:lnTo>
                      <a:pt x="4887017" y="2785965"/>
                    </a:lnTo>
                    <a:lnTo>
                      <a:pt x="4850473" y="2801978"/>
                    </a:lnTo>
                    <a:lnTo>
                      <a:pt x="4810978" y="2804206"/>
                    </a:lnTo>
                    <a:lnTo>
                      <a:pt x="4782459" y="2800619"/>
                    </a:lnTo>
                    <a:lnTo>
                      <a:pt x="4753949" y="2797025"/>
                    </a:lnTo>
                    <a:lnTo>
                      <a:pt x="4723805" y="2791630"/>
                    </a:lnTo>
                    <a:lnTo>
                      <a:pt x="4690970" y="2790568"/>
                    </a:lnTo>
                    <a:lnTo>
                      <a:pt x="4664128" y="2799261"/>
                    </a:lnTo>
                    <a:lnTo>
                      <a:pt x="4635531" y="2803646"/>
                    </a:lnTo>
                    <a:lnTo>
                      <a:pt x="4610103" y="2793140"/>
                    </a:lnTo>
                    <a:lnTo>
                      <a:pt x="4589314" y="2773416"/>
                    </a:lnTo>
                    <a:lnTo>
                      <a:pt x="4571132" y="2752885"/>
                    </a:lnTo>
                    <a:lnTo>
                      <a:pt x="4538483" y="2735784"/>
                    </a:lnTo>
                    <a:lnTo>
                      <a:pt x="4511009" y="2721400"/>
                    </a:lnTo>
                    <a:lnTo>
                      <a:pt x="4483224" y="2709491"/>
                    </a:lnTo>
                    <a:lnTo>
                      <a:pt x="4455424" y="2697574"/>
                    </a:lnTo>
                    <a:lnTo>
                      <a:pt x="4426251" y="2688650"/>
                    </a:lnTo>
                    <a:lnTo>
                      <a:pt x="4394805" y="2683644"/>
                    </a:lnTo>
                    <a:lnTo>
                      <a:pt x="4366103" y="2680928"/>
                    </a:lnTo>
                    <a:lnTo>
                      <a:pt x="4336461" y="2680928"/>
                    </a:lnTo>
                    <a:lnTo>
                      <a:pt x="4307753" y="2678204"/>
                    </a:lnTo>
                    <a:lnTo>
                      <a:pt x="4276322" y="2667191"/>
                    </a:lnTo>
                    <a:lnTo>
                      <a:pt x="4246696" y="2651132"/>
                    </a:lnTo>
                    <a:lnTo>
                      <a:pt x="4209818" y="2645560"/>
                    </a:lnTo>
                    <a:lnTo>
                      <a:pt x="4188312" y="2646819"/>
                    </a:lnTo>
                    <a:lnTo>
                      <a:pt x="4147251" y="2655083"/>
                    </a:lnTo>
                    <a:lnTo>
                      <a:pt x="4126071" y="2659113"/>
                    </a:lnTo>
                    <a:lnTo>
                      <a:pt x="4102472" y="2663221"/>
                    </a:lnTo>
                    <a:lnTo>
                      <a:pt x="4072440" y="2661881"/>
                    </a:lnTo>
                    <a:lnTo>
                      <a:pt x="4050677" y="2672763"/>
                    </a:lnTo>
                    <a:lnTo>
                      <a:pt x="4019398" y="2653513"/>
                    </a:lnTo>
                    <a:lnTo>
                      <a:pt x="3989462" y="2640323"/>
                    </a:lnTo>
                    <a:lnTo>
                      <a:pt x="3956825" y="2642842"/>
                    </a:lnTo>
                    <a:lnTo>
                      <a:pt x="3940296" y="2658849"/>
                    </a:lnTo>
                    <a:lnTo>
                      <a:pt x="3903734" y="2674729"/>
                    </a:lnTo>
                    <a:lnTo>
                      <a:pt x="3867048" y="2685010"/>
                    </a:lnTo>
                    <a:lnTo>
                      <a:pt x="3830362" y="2695292"/>
                    </a:lnTo>
                    <a:lnTo>
                      <a:pt x="3794259" y="2699380"/>
                    </a:lnTo>
                    <a:lnTo>
                      <a:pt x="3771296" y="2684140"/>
                    </a:lnTo>
                    <a:lnTo>
                      <a:pt x="3752791" y="2657806"/>
                    </a:lnTo>
                    <a:lnTo>
                      <a:pt x="3736904" y="2629277"/>
                    </a:lnTo>
                    <a:lnTo>
                      <a:pt x="3711988" y="2618362"/>
                    </a:lnTo>
                    <a:lnTo>
                      <a:pt x="3694649" y="2635212"/>
                    </a:lnTo>
                    <a:lnTo>
                      <a:pt x="3669472" y="2645031"/>
                    </a:lnTo>
                    <a:lnTo>
                      <a:pt x="3645334" y="2646924"/>
                    </a:lnTo>
                    <a:lnTo>
                      <a:pt x="3624269" y="2637368"/>
                    </a:lnTo>
                    <a:lnTo>
                      <a:pt x="3603833" y="2621119"/>
                    </a:lnTo>
                    <a:lnTo>
                      <a:pt x="3584126" y="2606122"/>
                    </a:lnTo>
                    <a:lnTo>
                      <a:pt x="3563730" y="2592727"/>
                    </a:lnTo>
                    <a:lnTo>
                      <a:pt x="3529720" y="2597958"/>
                    </a:lnTo>
                    <a:lnTo>
                      <a:pt x="3497734" y="2609796"/>
                    </a:lnTo>
                    <a:lnTo>
                      <a:pt x="3473404" y="2602865"/>
                    </a:lnTo>
                    <a:lnTo>
                      <a:pt x="3452190" y="2592517"/>
                    </a:lnTo>
                    <a:lnTo>
                      <a:pt x="3431614" y="2583982"/>
                    </a:lnTo>
                    <a:lnTo>
                      <a:pt x="3399780" y="2595372"/>
                    </a:lnTo>
                    <a:lnTo>
                      <a:pt x="3380095" y="2606868"/>
                    </a:lnTo>
                    <a:lnTo>
                      <a:pt x="3361054" y="2616997"/>
                    </a:lnTo>
                    <a:lnTo>
                      <a:pt x="3342013" y="2627133"/>
                    </a:lnTo>
                    <a:lnTo>
                      <a:pt x="3302571" y="2640126"/>
                    </a:lnTo>
                    <a:lnTo>
                      <a:pt x="3265844" y="2649642"/>
                    </a:lnTo>
                    <a:lnTo>
                      <a:pt x="3238559" y="2663136"/>
                    </a:lnTo>
                    <a:lnTo>
                      <a:pt x="3228628" y="2682201"/>
                    </a:lnTo>
                    <a:lnTo>
                      <a:pt x="3213283" y="2720451"/>
                    </a:lnTo>
                    <a:lnTo>
                      <a:pt x="3192388" y="2754375"/>
                    </a:lnTo>
                    <a:lnTo>
                      <a:pt x="3140243" y="2777556"/>
                    </a:lnTo>
                    <a:lnTo>
                      <a:pt x="3105336" y="2796543"/>
                    </a:lnTo>
                    <a:lnTo>
                      <a:pt x="3070430" y="2815523"/>
                    </a:lnTo>
                    <a:lnTo>
                      <a:pt x="3037052" y="2836297"/>
                    </a:lnTo>
                    <a:lnTo>
                      <a:pt x="3029173" y="2865909"/>
                    </a:lnTo>
                    <a:lnTo>
                      <a:pt x="3030873" y="2890350"/>
                    </a:lnTo>
                    <a:lnTo>
                      <a:pt x="3050440" y="2907186"/>
                    </a:lnTo>
                    <a:lnTo>
                      <a:pt x="3060933" y="2929925"/>
                    </a:lnTo>
                    <a:lnTo>
                      <a:pt x="3066064" y="2960941"/>
                    </a:lnTo>
                    <a:lnTo>
                      <a:pt x="3063922" y="2992379"/>
                    </a:lnTo>
                    <a:lnTo>
                      <a:pt x="3054549" y="3032845"/>
                    </a:lnTo>
                    <a:lnTo>
                      <a:pt x="3045489" y="3072659"/>
                    </a:lnTo>
                    <a:lnTo>
                      <a:pt x="3036420" y="3112479"/>
                    </a:lnTo>
                    <a:lnTo>
                      <a:pt x="3027722" y="3150419"/>
                    </a:lnTo>
                    <a:lnTo>
                      <a:pt x="3014201" y="3170593"/>
                    </a:lnTo>
                    <a:lnTo>
                      <a:pt x="2992121" y="3197718"/>
                    </a:lnTo>
                    <a:lnTo>
                      <a:pt x="2969317" y="3200521"/>
                    </a:lnTo>
                    <a:lnTo>
                      <a:pt x="2946723" y="3202017"/>
                    </a:lnTo>
                    <a:lnTo>
                      <a:pt x="2898521" y="3237142"/>
                    </a:lnTo>
                    <a:lnTo>
                      <a:pt x="2871382" y="3267168"/>
                    </a:lnTo>
                    <a:lnTo>
                      <a:pt x="2844245" y="3297196"/>
                    </a:lnTo>
                    <a:lnTo>
                      <a:pt x="2818374" y="3327624"/>
                    </a:lnTo>
                    <a:lnTo>
                      <a:pt x="2809885" y="3346875"/>
                    </a:lnTo>
                    <a:lnTo>
                      <a:pt x="2817754" y="3376170"/>
                    </a:lnTo>
                    <a:lnTo>
                      <a:pt x="2840695" y="3392122"/>
                    </a:lnTo>
                    <a:lnTo>
                      <a:pt x="2871388" y="3404548"/>
                    </a:lnTo>
                    <a:lnTo>
                      <a:pt x="2902142" y="3415997"/>
                    </a:lnTo>
                    <a:lnTo>
                      <a:pt x="2934556" y="3425190"/>
                    </a:lnTo>
                    <a:lnTo>
                      <a:pt x="2946202" y="3443998"/>
                    </a:lnTo>
                    <a:lnTo>
                      <a:pt x="2950112" y="3473925"/>
                    </a:lnTo>
                    <a:lnTo>
                      <a:pt x="2947724" y="3514722"/>
                    </a:lnTo>
                    <a:lnTo>
                      <a:pt x="2944844" y="3535523"/>
                    </a:lnTo>
                    <a:lnTo>
                      <a:pt x="2944844" y="3580836"/>
                    </a:lnTo>
                    <a:lnTo>
                      <a:pt x="2944512" y="3607196"/>
                    </a:lnTo>
                    <a:lnTo>
                      <a:pt x="2939731" y="3648051"/>
                    </a:lnTo>
                    <a:lnTo>
                      <a:pt x="2925803" y="3673869"/>
                    </a:lnTo>
                    <a:lnTo>
                      <a:pt x="2903665" y="3690152"/>
                    </a:lnTo>
                    <a:lnTo>
                      <a:pt x="2863615" y="3698390"/>
                    </a:lnTo>
                    <a:lnTo>
                      <a:pt x="2837288" y="3700223"/>
                    </a:lnTo>
                    <a:lnTo>
                      <a:pt x="2802025" y="3701074"/>
                    </a:lnTo>
                    <a:lnTo>
                      <a:pt x="2768107" y="3701892"/>
                    </a:lnTo>
                    <a:lnTo>
                      <a:pt x="2734196" y="3704061"/>
                    </a:lnTo>
                    <a:lnTo>
                      <a:pt x="2700006" y="3706515"/>
                    </a:lnTo>
                    <a:lnTo>
                      <a:pt x="2665825" y="3708968"/>
                    </a:lnTo>
                    <a:lnTo>
                      <a:pt x="2631756" y="3712543"/>
                    </a:lnTo>
                    <a:lnTo>
                      <a:pt x="2597997" y="3716037"/>
                    </a:lnTo>
                    <a:lnTo>
                      <a:pt x="2575778" y="3681923"/>
                    </a:lnTo>
                    <a:lnTo>
                      <a:pt x="2565354" y="3661630"/>
                    </a:lnTo>
                    <a:lnTo>
                      <a:pt x="2554926" y="3641330"/>
                    </a:lnTo>
                    <a:lnTo>
                      <a:pt x="2543749" y="3623458"/>
                    </a:lnTo>
                    <a:lnTo>
                      <a:pt x="2503227" y="3617470"/>
                    </a:lnTo>
                    <a:lnTo>
                      <a:pt x="2456926" y="3611971"/>
                    </a:lnTo>
                    <a:lnTo>
                      <a:pt x="2413010" y="3612662"/>
                    </a:lnTo>
                    <a:lnTo>
                      <a:pt x="2391048" y="3612992"/>
                    </a:lnTo>
                    <a:lnTo>
                      <a:pt x="2369992" y="3615050"/>
                    </a:lnTo>
                    <a:lnTo>
                      <a:pt x="2333607" y="3623874"/>
                    </a:lnTo>
                    <a:lnTo>
                      <a:pt x="2310994" y="3641225"/>
                    </a:lnTo>
                    <a:lnTo>
                      <a:pt x="2301116" y="3665653"/>
                    </a:lnTo>
                    <a:lnTo>
                      <a:pt x="2297851" y="3691155"/>
                    </a:lnTo>
                    <a:lnTo>
                      <a:pt x="2296031" y="3717397"/>
                    </a:lnTo>
                    <a:lnTo>
                      <a:pt x="2294211" y="3743637"/>
                    </a:lnTo>
                    <a:lnTo>
                      <a:pt x="2293116" y="3770941"/>
                    </a:lnTo>
                    <a:lnTo>
                      <a:pt x="2287873" y="3796285"/>
                    </a:lnTo>
                    <a:lnTo>
                      <a:pt x="2281027" y="3819623"/>
                    </a:lnTo>
                    <a:lnTo>
                      <a:pt x="2267515" y="3846400"/>
                    </a:lnTo>
                    <a:lnTo>
                      <a:pt x="2251143" y="3864298"/>
                    </a:lnTo>
                    <a:lnTo>
                      <a:pt x="2231135" y="3878675"/>
                    </a:lnTo>
                    <a:lnTo>
                      <a:pt x="2191969" y="3890236"/>
                    </a:lnTo>
                    <a:lnTo>
                      <a:pt x="2151853" y="3899660"/>
                    </a:lnTo>
                    <a:lnTo>
                      <a:pt x="2111735" y="3909090"/>
                    </a:lnTo>
                    <a:lnTo>
                      <a:pt x="2070082" y="3916385"/>
                    </a:lnTo>
                    <a:lnTo>
                      <a:pt x="2047113" y="3924147"/>
                    </a:lnTo>
                    <a:lnTo>
                      <a:pt x="2021154" y="3933545"/>
                    </a:lnTo>
                    <a:lnTo>
                      <a:pt x="1994189" y="3944670"/>
                    </a:lnTo>
                    <a:lnTo>
                      <a:pt x="1966866" y="3956791"/>
                    </a:lnTo>
                    <a:lnTo>
                      <a:pt x="1929836" y="3974783"/>
                    </a:lnTo>
                    <a:lnTo>
                      <a:pt x="1904293" y="3989436"/>
                    </a:lnTo>
                    <a:lnTo>
                      <a:pt x="1878757" y="4004089"/>
                    </a:lnTo>
                    <a:lnTo>
                      <a:pt x="1854495" y="4018836"/>
                    </a:lnTo>
                    <a:lnTo>
                      <a:pt x="1832816" y="4036478"/>
                    </a:lnTo>
                    <a:lnTo>
                      <a:pt x="1817359" y="4074668"/>
                    </a:lnTo>
                    <a:lnTo>
                      <a:pt x="1794117" y="4103693"/>
                    </a:lnTo>
                    <a:lnTo>
                      <a:pt x="1768305" y="4130705"/>
                    </a:lnTo>
                    <a:lnTo>
                      <a:pt x="1735594" y="4141969"/>
                    </a:lnTo>
                    <a:lnTo>
                      <a:pt x="1694824" y="4128173"/>
                    </a:lnTo>
                    <a:lnTo>
                      <a:pt x="1669619" y="4102460"/>
                    </a:lnTo>
                    <a:lnTo>
                      <a:pt x="1659456" y="4083288"/>
                    </a:lnTo>
                    <a:lnTo>
                      <a:pt x="1649301" y="4064117"/>
                    </a:lnTo>
                    <a:lnTo>
                      <a:pt x="1639289" y="4043533"/>
                    </a:lnTo>
                    <a:lnTo>
                      <a:pt x="1592808" y="4027528"/>
                    </a:lnTo>
                    <a:lnTo>
                      <a:pt x="1560165" y="4023452"/>
                    </a:lnTo>
                    <a:lnTo>
                      <a:pt x="1531621" y="4030753"/>
                    </a:lnTo>
                    <a:lnTo>
                      <a:pt x="1500011" y="4059605"/>
                    </a:lnTo>
                    <a:lnTo>
                      <a:pt x="1473110" y="4087383"/>
                    </a:lnTo>
                    <a:lnTo>
                      <a:pt x="1446210" y="4115154"/>
                    </a:lnTo>
                    <a:lnTo>
                      <a:pt x="1423116" y="4141811"/>
                    </a:lnTo>
                    <a:lnTo>
                      <a:pt x="1391624" y="4173315"/>
                    </a:lnTo>
                    <a:lnTo>
                      <a:pt x="1371095" y="4196192"/>
                    </a:lnTo>
                    <a:lnTo>
                      <a:pt x="1350566" y="4219084"/>
                    </a:lnTo>
                    <a:lnTo>
                      <a:pt x="1328874" y="4241421"/>
                    </a:lnTo>
                    <a:lnTo>
                      <a:pt x="1254122" y="4243802"/>
                    </a:lnTo>
                    <a:lnTo>
                      <a:pt x="1187466" y="4239726"/>
                    </a:lnTo>
                    <a:lnTo>
                      <a:pt x="1180958" y="4261165"/>
                    </a:lnTo>
                    <a:lnTo>
                      <a:pt x="1172251" y="4280693"/>
                    </a:lnTo>
                    <a:lnTo>
                      <a:pt x="1158903" y="4298216"/>
                    </a:lnTo>
                    <a:lnTo>
                      <a:pt x="1143676" y="4318205"/>
                    </a:lnTo>
                    <a:lnTo>
                      <a:pt x="1124939" y="4337343"/>
                    </a:lnTo>
                    <a:lnTo>
                      <a:pt x="1108578" y="4355341"/>
                    </a:lnTo>
                    <a:lnTo>
                      <a:pt x="1092876" y="4372620"/>
                    </a:lnTo>
                    <a:lnTo>
                      <a:pt x="1059374" y="4377315"/>
                    </a:lnTo>
                    <a:lnTo>
                      <a:pt x="1022884" y="4379821"/>
                    </a:lnTo>
                    <a:lnTo>
                      <a:pt x="986402" y="4382327"/>
                    </a:lnTo>
                    <a:lnTo>
                      <a:pt x="947834" y="4382183"/>
                    </a:lnTo>
                    <a:lnTo>
                      <a:pt x="923590" y="4389345"/>
                    </a:lnTo>
                    <a:lnTo>
                      <a:pt x="899083" y="4417920"/>
                    </a:lnTo>
                    <a:lnTo>
                      <a:pt x="896578" y="4449154"/>
                    </a:lnTo>
                    <a:lnTo>
                      <a:pt x="893431" y="4481904"/>
                    </a:lnTo>
                    <a:lnTo>
                      <a:pt x="886852" y="4513137"/>
                    </a:lnTo>
                    <a:lnTo>
                      <a:pt x="858131" y="4555674"/>
                    </a:lnTo>
                    <a:lnTo>
                      <a:pt x="829726" y="4585226"/>
                    </a:lnTo>
                    <a:lnTo>
                      <a:pt x="801316" y="4614778"/>
                    </a:lnTo>
                    <a:lnTo>
                      <a:pt x="770741" y="4643756"/>
                    </a:lnTo>
                    <a:lnTo>
                      <a:pt x="748410" y="4659860"/>
                    </a:lnTo>
                    <a:lnTo>
                      <a:pt x="726582" y="4663151"/>
                    </a:lnTo>
                    <a:lnTo>
                      <a:pt x="701542" y="4642391"/>
                    </a:lnTo>
                    <a:lnTo>
                      <a:pt x="688588" y="4606950"/>
                    </a:lnTo>
                    <a:lnTo>
                      <a:pt x="684929" y="4585443"/>
                    </a:lnTo>
                    <a:lnTo>
                      <a:pt x="680101" y="4563463"/>
                    </a:lnTo>
                    <a:lnTo>
                      <a:pt x="675274" y="4541475"/>
                    </a:lnTo>
                    <a:lnTo>
                      <a:pt x="669913" y="4519897"/>
                    </a:lnTo>
                    <a:lnTo>
                      <a:pt x="654922" y="4481883"/>
                    </a:lnTo>
                    <a:lnTo>
                      <a:pt x="629776" y="4457364"/>
                    </a:lnTo>
                    <a:lnTo>
                      <a:pt x="624716" y="4435475"/>
                    </a:lnTo>
                    <a:lnTo>
                      <a:pt x="631720" y="4413619"/>
                    </a:lnTo>
                    <a:lnTo>
                      <a:pt x="637933" y="4392075"/>
                    </a:lnTo>
                    <a:lnTo>
                      <a:pt x="644153" y="4370529"/>
                    </a:lnTo>
                    <a:lnTo>
                      <a:pt x="649942" y="4348568"/>
                    </a:lnTo>
                    <a:lnTo>
                      <a:pt x="644733" y="4328144"/>
                    </a:lnTo>
                    <a:lnTo>
                      <a:pt x="616294" y="4306744"/>
                    </a:lnTo>
                    <a:lnTo>
                      <a:pt x="575243" y="4314182"/>
                    </a:lnTo>
                    <a:lnTo>
                      <a:pt x="552140" y="4326811"/>
                    </a:lnTo>
                    <a:lnTo>
                      <a:pt x="529115" y="4341749"/>
                    </a:lnTo>
                    <a:lnTo>
                      <a:pt x="483078" y="4371611"/>
                    </a:lnTo>
                    <a:lnTo>
                      <a:pt x="439446" y="4412922"/>
                    </a:lnTo>
                    <a:lnTo>
                      <a:pt x="417175" y="4441570"/>
                    </a:lnTo>
                    <a:lnTo>
                      <a:pt x="405250" y="4463049"/>
                    </a:lnTo>
                    <a:lnTo>
                      <a:pt x="394457" y="4481845"/>
                    </a:lnTo>
                    <a:lnTo>
                      <a:pt x="383667" y="4500647"/>
                    </a:lnTo>
                    <a:lnTo>
                      <a:pt x="369975" y="4522653"/>
                    </a:lnTo>
                    <a:lnTo>
                      <a:pt x="351768" y="4546396"/>
                    </a:lnTo>
                    <a:lnTo>
                      <a:pt x="333775" y="4569642"/>
                    </a:lnTo>
                    <a:lnTo>
                      <a:pt x="315569" y="4592026"/>
                    </a:lnTo>
                    <a:lnTo>
                      <a:pt x="289958" y="4621010"/>
                    </a:lnTo>
                    <a:lnTo>
                      <a:pt x="255653" y="4647238"/>
                    </a:lnTo>
                    <a:lnTo>
                      <a:pt x="224433" y="4674996"/>
                    </a:lnTo>
                    <a:lnTo>
                      <a:pt x="193219" y="4702760"/>
                    </a:lnTo>
                    <a:lnTo>
                      <a:pt x="163826" y="4730954"/>
                    </a:lnTo>
                    <a:lnTo>
                      <a:pt x="146903" y="4766131"/>
                    </a:lnTo>
                    <a:lnTo>
                      <a:pt x="142736" y="4815804"/>
                    </a:lnTo>
                    <a:lnTo>
                      <a:pt x="144187" y="4853183"/>
                    </a:lnTo>
                    <a:lnTo>
                      <a:pt x="145638" y="4890564"/>
                    </a:lnTo>
                    <a:lnTo>
                      <a:pt x="145768" y="4930924"/>
                    </a:lnTo>
                    <a:lnTo>
                      <a:pt x="137387" y="4959276"/>
                    </a:lnTo>
                    <a:lnTo>
                      <a:pt x="120405" y="5016724"/>
                    </a:lnTo>
                    <a:lnTo>
                      <a:pt x="97783" y="5054769"/>
                    </a:lnTo>
                    <a:lnTo>
                      <a:pt x="73456" y="5089856"/>
                    </a:lnTo>
                    <a:lnTo>
                      <a:pt x="49126" y="5124940"/>
                    </a:lnTo>
                    <a:lnTo>
                      <a:pt x="23946" y="5156675"/>
                    </a:lnTo>
                    <a:lnTo>
                      <a:pt x="0" y="5202753"/>
                    </a:lnTo>
                    <a:lnTo>
                      <a:pt x="10381" y="5232055"/>
                    </a:lnTo>
                    <a:lnTo>
                      <a:pt x="35871" y="5249616"/>
                    </a:lnTo>
                    <a:lnTo>
                      <a:pt x="70731" y="5259884"/>
                    </a:lnTo>
                    <a:lnTo>
                      <a:pt x="106726" y="5269025"/>
                    </a:lnTo>
                    <a:lnTo>
                      <a:pt x="146599" y="5273781"/>
                    </a:lnTo>
                    <a:lnTo>
                      <a:pt x="168666" y="5288447"/>
                    </a:lnTo>
                    <a:lnTo>
                      <a:pt x="175506" y="5311186"/>
                    </a:lnTo>
                    <a:lnTo>
                      <a:pt x="166759" y="5339789"/>
                    </a:lnTo>
                    <a:lnTo>
                      <a:pt x="160474" y="5360087"/>
                    </a:lnTo>
                    <a:lnTo>
                      <a:pt x="172997" y="5380176"/>
                    </a:lnTo>
                    <a:lnTo>
                      <a:pt x="179546" y="5402703"/>
                    </a:lnTo>
                    <a:lnTo>
                      <a:pt x="175137" y="5436154"/>
                    </a:lnTo>
                    <a:lnTo>
                      <a:pt x="149619" y="5467994"/>
                    </a:lnTo>
                    <a:lnTo>
                      <a:pt x="126200" y="5499597"/>
                    </a:lnTo>
                    <a:lnTo>
                      <a:pt x="129254" y="5524572"/>
                    </a:lnTo>
                    <a:lnTo>
                      <a:pt x="135499" y="5551049"/>
                    </a:lnTo>
                    <a:lnTo>
                      <a:pt x="161221" y="5554531"/>
                    </a:lnTo>
                    <a:lnTo>
                      <a:pt x="186339" y="5561845"/>
                    </a:lnTo>
                    <a:lnTo>
                      <a:pt x="209885" y="5554657"/>
                    </a:lnTo>
                    <a:lnTo>
                      <a:pt x="231912" y="5540650"/>
                    </a:lnTo>
                    <a:lnTo>
                      <a:pt x="255771" y="5525573"/>
                    </a:lnTo>
                    <a:lnTo>
                      <a:pt x="280107" y="5513504"/>
                    </a:lnTo>
                    <a:lnTo>
                      <a:pt x="317274" y="5510656"/>
                    </a:lnTo>
                    <a:lnTo>
                      <a:pt x="337806" y="5520192"/>
                    </a:lnTo>
                    <a:lnTo>
                      <a:pt x="356369" y="5536007"/>
                    </a:lnTo>
                    <a:lnTo>
                      <a:pt x="374929" y="5551815"/>
                    </a:lnTo>
                    <a:lnTo>
                      <a:pt x="391344" y="5574099"/>
                    </a:lnTo>
                    <a:lnTo>
                      <a:pt x="408053" y="5595856"/>
                    </a:lnTo>
                    <a:lnTo>
                      <a:pt x="424765" y="5617605"/>
                    </a:lnTo>
                    <a:lnTo>
                      <a:pt x="441828" y="5638735"/>
                    </a:lnTo>
                    <a:lnTo>
                      <a:pt x="458378" y="5655705"/>
                    </a:lnTo>
                    <a:lnTo>
                      <a:pt x="474939" y="5672673"/>
                    </a:lnTo>
                    <a:lnTo>
                      <a:pt x="491967" y="5685532"/>
                    </a:lnTo>
                    <a:lnTo>
                      <a:pt x="528154" y="5673570"/>
                    </a:lnTo>
                    <a:lnTo>
                      <a:pt x="542637" y="5653514"/>
                    </a:lnTo>
                    <a:lnTo>
                      <a:pt x="556314" y="5631218"/>
                    </a:lnTo>
                    <a:lnTo>
                      <a:pt x="569993" y="5608926"/>
                    </a:lnTo>
                    <a:lnTo>
                      <a:pt x="582715" y="5583570"/>
                    </a:lnTo>
                    <a:lnTo>
                      <a:pt x="594401" y="5559128"/>
                    </a:lnTo>
                    <a:lnTo>
                      <a:pt x="606093" y="5534687"/>
                    </a:lnTo>
                    <a:lnTo>
                      <a:pt x="617646" y="5510973"/>
                    </a:lnTo>
                    <a:lnTo>
                      <a:pt x="629770" y="5491115"/>
                    </a:lnTo>
                    <a:lnTo>
                      <a:pt x="641890" y="5471265"/>
                    </a:lnTo>
                    <a:lnTo>
                      <a:pt x="669212" y="5447589"/>
                    </a:lnTo>
                    <a:lnTo>
                      <a:pt x="691933" y="5442076"/>
                    </a:lnTo>
                    <a:lnTo>
                      <a:pt x="715938" y="5458859"/>
                    </a:lnTo>
                    <a:lnTo>
                      <a:pt x="728585" y="5477134"/>
                    </a:lnTo>
                    <a:lnTo>
                      <a:pt x="738585" y="5497921"/>
                    </a:lnTo>
                    <a:lnTo>
                      <a:pt x="749406" y="5515952"/>
                    </a:lnTo>
                    <a:lnTo>
                      <a:pt x="767417" y="5530097"/>
                    </a:lnTo>
                    <a:lnTo>
                      <a:pt x="791633" y="5527849"/>
                    </a:lnTo>
                    <a:lnTo>
                      <a:pt x="815064" y="5517448"/>
                    </a:lnTo>
                    <a:lnTo>
                      <a:pt x="838926" y="5500156"/>
                    </a:lnTo>
                    <a:lnTo>
                      <a:pt x="863721" y="5481599"/>
                    </a:lnTo>
                    <a:lnTo>
                      <a:pt x="889428" y="5466806"/>
                    </a:lnTo>
                    <a:lnTo>
                      <a:pt x="905508" y="5482325"/>
                    </a:lnTo>
                    <a:lnTo>
                      <a:pt x="917814" y="5507319"/>
                    </a:lnTo>
                    <a:lnTo>
                      <a:pt x="948302" y="5529122"/>
                    </a:lnTo>
                    <a:lnTo>
                      <a:pt x="958940" y="5570011"/>
                    </a:lnTo>
                    <a:lnTo>
                      <a:pt x="961352" y="5591740"/>
                    </a:lnTo>
                    <a:lnTo>
                      <a:pt x="957929" y="5616366"/>
                    </a:lnTo>
                    <a:lnTo>
                      <a:pt x="957582" y="5646181"/>
                    </a:lnTo>
                    <a:lnTo>
                      <a:pt x="977801" y="5676347"/>
                    </a:lnTo>
                    <a:lnTo>
                      <a:pt x="1002649" y="5697628"/>
                    </a:lnTo>
                    <a:lnTo>
                      <a:pt x="1026952" y="5720994"/>
                    </a:lnTo>
                    <a:lnTo>
                      <a:pt x="1044358" y="5756429"/>
                    </a:lnTo>
                    <a:lnTo>
                      <a:pt x="1050076" y="5776761"/>
                    </a:lnTo>
                    <a:lnTo>
                      <a:pt x="1055793" y="5797099"/>
                    </a:lnTo>
                    <a:lnTo>
                      <a:pt x="1062004" y="5818078"/>
                    </a:lnTo>
                    <a:lnTo>
                      <a:pt x="1095592" y="5852826"/>
                    </a:lnTo>
                    <a:lnTo>
                      <a:pt x="1131897" y="5868199"/>
                    </a:lnTo>
                    <a:lnTo>
                      <a:pt x="1169771" y="5881494"/>
                    </a:lnTo>
                    <a:lnTo>
                      <a:pt x="1207641" y="5894796"/>
                    </a:lnTo>
                    <a:lnTo>
                      <a:pt x="1246333" y="5905855"/>
                    </a:lnTo>
                    <a:lnTo>
                      <a:pt x="1274505" y="5916863"/>
                    </a:lnTo>
                    <a:lnTo>
                      <a:pt x="1314252" y="5916401"/>
                    </a:lnTo>
                    <a:lnTo>
                      <a:pt x="1337072" y="5907339"/>
                    </a:lnTo>
                    <a:lnTo>
                      <a:pt x="1359896" y="5898304"/>
                    </a:lnTo>
                    <a:lnTo>
                      <a:pt x="1383987" y="5887957"/>
                    </a:lnTo>
                    <a:lnTo>
                      <a:pt x="1436840" y="5896121"/>
                    </a:lnTo>
                    <a:lnTo>
                      <a:pt x="1473033" y="5908448"/>
                    </a:lnTo>
                    <a:lnTo>
                      <a:pt x="1505735" y="5916863"/>
                    </a:lnTo>
                    <a:lnTo>
                      <a:pt x="1587032" y="5881454"/>
                    </a:lnTo>
                    <a:lnTo>
                      <a:pt x="1673597" y="5881415"/>
                    </a:lnTo>
                    <a:lnTo>
                      <a:pt x="1742672" y="5918393"/>
                    </a:lnTo>
                    <a:lnTo>
                      <a:pt x="1814503" y="5929102"/>
                    </a:lnTo>
                    <a:lnTo>
                      <a:pt x="1842418" y="5933271"/>
                    </a:lnTo>
                    <a:lnTo>
                      <a:pt x="1871635" y="5914139"/>
                    </a:lnTo>
                    <a:lnTo>
                      <a:pt x="1904281" y="5910063"/>
                    </a:lnTo>
                    <a:lnTo>
                      <a:pt x="1935805" y="5916737"/>
                    </a:lnTo>
                    <a:lnTo>
                      <a:pt x="1960045" y="5927750"/>
                    </a:lnTo>
                    <a:lnTo>
                      <a:pt x="1987770" y="5931331"/>
                    </a:lnTo>
                    <a:lnTo>
                      <a:pt x="2022612" y="5930468"/>
                    </a:lnTo>
                    <a:lnTo>
                      <a:pt x="2048365" y="5925113"/>
                    </a:lnTo>
                    <a:lnTo>
                      <a:pt x="2073123" y="5904451"/>
                    </a:lnTo>
                    <a:lnTo>
                      <a:pt x="2080890" y="5878843"/>
                    </a:lnTo>
                    <a:lnTo>
                      <a:pt x="2101506" y="5839332"/>
                    </a:lnTo>
                    <a:lnTo>
                      <a:pt x="2115639" y="5812235"/>
                    </a:lnTo>
                    <a:lnTo>
                      <a:pt x="2141386" y="5780677"/>
                    </a:lnTo>
                    <a:lnTo>
                      <a:pt x="2172237" y="5757720"/>
                    </a:lnTo>
                    <a:lnTo>
                      <a:pt x="2205363" y="5736762"/>
                    </a:lnTo>
                    <a:lnTo>
                      <a:pt x="2239761" y="5726995"/>
                    </a:lnTo>
                    <a:lnTo>
                      <a:pt x="2274252" y="5731875"/>
                    </a:lnTo>
                    <a:lnTo>
                      <a:pt x="2291085" y="5745013"/>
                    </a:lnTo>
                    <a:lnTo>
                      <a:pt x="2306852" y="5769704"/>
                    </a:lnTo>
                    <a:lnTo>
                      <a:pt x="2361748" y="5782162"/>
                    </a:lnTo>
                    <a:lnTo>
                      <a:pt x="2382218" y="5755551"/>
                    </a:lnTo>
                    <a:lnTo>
                      <a:pt x="2417071" y="5757720"/>
                    </a:lnTo>
                    <a:lnTo>
                      <a:pt x="2466997" y="5760827"/>
                    </a:lnTo>
                    <a:lnTo>
                      <a:pt x="2516795" y="5772513"/>
                    </a:lnTo>
                    <a:lnTo>
                      <a:pt x="2566690" y="5775401"/>
                    </a:lnTo>
                    <a:lnTo>
                      <a:pt x="2601209" y="5777353"/>
                    </a:lnTo>
                    <a:lnTo>
                      <a:pt x="2624693" y="5769954"/>
                    </a:lnTo>
                    <a:lnTo>
                      <a:pt x="2663267" y="5775401"/>
                    </a:lnTo>
                    <a:lnTo>
                      <a:pt x="2691830" y="5784925"/>
                    </a:lnTo>
                    <a:lnTo>
                      <a:pt x="2736193" y="5761863"/>
                    </a:lnTo>
                    <a:lnTo>
                      <a:pt x="2781632" y="5781634"/>
                    </a:lnTo>
                    <a:lnTo>
                      <a:pt x="2865072" y="5816666"/>
                    </a:lnTo>
                    <a:lnTo>
                      <a:pt x="2944831" y="5842056"/>
                    </a:lnTo>
                    <a:lnTo>
                      <a:pt x="2984708" y="5854745"/>
                    </a:lnTo>
                    <a:lnTo>
                      <a:pt x="3023416" y="5864525"/>
                    </a:lnTo>
                    <a:lnTo>
                      <a:pt x="3055004" y="5867895"/>
                    </a:lnTo>
                    <a:lnTo>
                      <a:pt x="3086599" y="5871271"/>
                    </a:lnTo>
                    <a:lnTo>
                      <a:pt x="3110818" y="5868489"/>
                    </a:lnTo>
                    <a:lnTo>
                      <a:pt x="3135679" y="5831215"/>
                    </a:lnTo>
                    <a:lnTo>
                      <a:pt x="3132770" y="5805032"/>
                    </a:lnTo>
                    <a:lnTo>
                      <a:pt x="3143421" y="5782207"/>
                    </a:lnTo>
                    <a:lnTo>
                      <a:pt x="3153491" y="5760610"/>
                    </a:lnTo>
                    <a:lnTo>
                      <a:pt x="3179912" y="5743272"/>
                    </a:lnTo>
                    <a:lnTo>
                      <a:pt x="3180144" y="5716912"/>
                    </a:lnTo>
                    <a:lnTo>
                      <a:pt x="3191756" y="5698023"/>
                    </a:lnTo>
                    <a:lnTo>
                      <a:pt x="3218306" y="5690076"/>
                    </a:lnTo>
                    <a:lnTo>
                      <a:pt x="3246791" y="5686990"/>
                    </a:lnTo>
                    <a:lnTo>
                      <a:pt x="3275279" y="5683897"/>
                    </a:lnTo>
                    <a:lnTo>
                      <a:pt x="3305836" y="5686529"/>
                    </a:lnTo>
                    <a:lnTo>
                      <a:pt x="3344612" y="5684663"/>
                    </a:lnTo>
                    <a:lnTo>
                      <a:pt x="3362412" y="5667951"/>
                    </a:lnTo>
                    <a:lnTo>
                      <a:pt x="3392091" y="5655559"/>
                    </a:lnTo>
                    <a:lnTo>
                      <a:pt x="3433143" y="5661151"/>
                    </a:lnTo>
                    <a:lnTo>
                      <a:pt x="3460387" y="5673220"/>
                    </a:lnTo>
                    <a:lnTo>
                      <a:pt x="3484789" y="5689879"/>
                    </a:lnTo>
                    <a:lnTo>
                      <a:pt x="3521553" y="5697873"/>
                    </a:lnTo>
                    <a:lnTo>
                      <a:pt x="3550394" y="5697885"/>
                    </a:lnTo>
                    <a:lnTo>
                      <a:pt x="3573240" y="5696513"/>
                    </a:lnTo>
                    <a:lnTo>
                      <a:pt x="3596091" y="5695141"/>
                    </a:lnTo>
                    <a:lnTo>
                      <a:pt x="3617959" y="5693025"/>
                    </a:lnTo>
                    <a:lnTo>
                      <a:pt x="3645880" y="5685824"/>
                    </a:lnTo>
                    <a:lnTo>
                      <a:pt x="3669268" y="5677290"/>
                    </a:lnTo>
                    <a:lnTo>
                      <a:pt x="3692935" y="5674756"/>
                    </a:lnTo>
                    <a:lnTo>
                      <a:pt x="3720139" y="5696519"/>
                    </a:lnTo>
                    <a:lnTo>
                      <a:pt x="3724526" y="5728103"/>
                    </a:lnTo>
                    <a:lnTo>
                      <a:pt x="3726635" y="5760148"/>
                    </a:lnTo>
                    <a:lnTo>
                      <a:pt x="3740544" y="5787655"/>
                    </a:lnTo>
                    <a:lnTo>
                      <a:pt x="3763811" y="5796769"/>
                    </a:lnTo>
                    <a:lnTo>
                      <a:pt x="3790733" y="5800310"/>
                    </a:lnTo>
                    <a:lnTo>
                      <a:pt x="3815358" y="5791731"/>
                    </a:lnTo>
                    <a:lnTo>
                      <a:pt x="3822148" y="5764850"/>
                    </a:lnTo>
                    <a:lnTo>
                      <a:pt x="3829503" y="5729652"/>
                    </a:lnTo>
                    <a:lnTo>
                      <a:pt x="3843921" y="5699237"/>
                    </a:lnTo>
                    <a:lnTo>
                      <a:pt x="3860162" y="5669600"/>
                    </a:lnTo>
                    <a:lnTo>
                      <a:pt x="3882086" y="5647270"/>
                    </a:lnTo>
                    <a:lnTo>
                      <a:pt x="3911932" y="5635312"/>
                    </a:lnTo>
                    <a:lnTo>
                      <a:pt x="3945812" y="5642890"/>
                    </a:lnTo>
                    <a:lnTo>
                      <a:pt x="3963616" y="5654353"/>
                    </a:lnTo>
                    <a:lnTo>
                      <a:pt x="3981422" y="5665820"/>
                    </a:lnTo>
                    <a:lnTo>
                      <a:pt x="3996262" y="5695161"/>
                    </a:lnTo>
                    <a:lnTo>
                      <a:pt x="3997620" y="5735963"/>
                    </a:lnTo>
                    <a:lnTo>
                      <a:pt x="4000339" y="5776773"/>
                    </a:lnTo>
                    <a:lnTo>
                      <a:pt x="4016199" y="5796743"/>
                    </a:lnTo>
                    <a:lnTo>
                      <a:pt x="4041608" y="5805765"/>
                    </a:lnTo>
                    <a:lnTo>
                      <a:pt x="4072428" y="5805330"/>
                    </a:lnTo>
                    <a:lnTo>
                      <a:pt x="4103080" y="5802910"/>
                    </a:lnTo>
                    <a:lnTo>
                      <a:pt x="4134340" y="5791196"/>
                    </a:lnTo>
                    <a:lnTo>
                      <a:pt x="4149964" y="5776767"/>
                    </a:lnTo>
                    <a:lnTo>
                      <a:pt x="4163039" y="5754147"/>
                    </a:lnTo>
                    <a:lnTo>
                      <a:pt x="4172248" y="5720493"/>
                    </a:lnTo>
                    <a:lnTo>
                      <a:pt x="4175807" y="5695155"/>
                    </a:lnTo>
                    <a:lnTo>
                      <a:pt x="4188681" y="5676710"/>
                    </a:lnTo>
                    <a:lnTo>
                      <a:pt x="4214283" y="5673174"/>
                    </a:lnTo>
                    <a:lnTo>
                      <a:pt x="4241090" y="5674750"/>
                    </a:lnTo>
                    <a:lnTo>
                      <a:pt x="4267907" y="5676327"/>
                    </a:lnTo>
                    <a:lnTo>
                      <a:pt x="4296079" y="5683700"/>
                    </a:lnTo>
                    <a:lnTo>
                      <a:pt x="4327643" y="5687267"/>
                    </a:lnTo>
                    <a:lnTo>
                      <a:pt x="4348547" y="5666593"/>
                    </a:lnTo>
                    <a:lnTo>
                      <a:pt x="4363920" y="5636289"/>
                    </a:lnTo>
                    <a:lnTo>
                      <a:pt x="4379010" y="5580299"/>
                    </a:lnTo>
                    <a:lnTo>
                      <a:pt x="4381996" y="5539600"/>
                    </a:lnTo>
                    <a:lnTo>
                      <a:pt x="4386424" y="5509317"/>
                    </a:lnTo>
                    <a:lnTo>
                      <a:pt x="4398960" y="5487428"/>
                    </a:lnTo>
                    <a:lnTo>
                      <a:pt x="4452029" y="5478671"/>
                    </a:lnTo>
                    <a:lnTo>
                      <a:pt x="4539912" y="5454909"/>
                    </a:lnTo>
                    <a:lnTo>
                      <a:pt x="4577891" y="5450570"/>
                    </a:lnTo>
                    <a:lnTo>
                      <a:pt x="4636278" y="5438758"/>
                    </a:lnTo>
                    <a:lnTo>
                      <a:pt x="4654591" y="5450313"/>
                    </a:lnTo>
                    <a:lnTo>
                      <a:pt x="4655304" y="5483314"/>
                    </a:lnTo>
                    <a:lnTo>
                      <a:pt x="4677721" y="5508802"/>
                    </a:lnTo>
                    <a:lnTo>
                      <a:pt x="4711142" y="5514586"/>
                    </a:lnTo>
                    <a:lnTo>
                      <a:pt x="4733485" y="5508802"/>
                    </a:lnTo>
                    <a:lnTo>
                      <a:pt x="4755831" y="5503020"/>
                    </a:lnTo>
                    <a:lnTo>
                      <a:pt x="4780983" y="5493456"/>
                    </a:lnTo>
                    <a:lnTo>
                      <a:pt x="4806935" y="5485681"/>
                    </a:lnTo>
                    <a:lnTo>
                      <a:pt x="4832893" y="5477906"/>
                    </a:lnTo>
                    <a:lnTo>
                      <a:pt x="4859713" y="5471601"/>
                    </a:lnTo>
                    <a:lnTo>
                      <a:pt x="4884471" y="5473442"/>
                    </a:lnTo>
                    <a:lnTo>
                      <a:pt x="4907645" y="5475162"/>
                    </a:lnTo>
                    <a:lnTo>
                      <a:pt x="4918472" y="5499286"/>
                    </a:lnTo>
                    <a:lnTo>
                      <a:pt x="4953841" y="5511526"/>
                    </a:lnTo>
                    <a:lnTo>
                      <a:pt x="5002557" y="5514296"/>
                    </a:lnTo>
                    <a:lnTo>
                      <a:pt x="5044970" y="5510168"/>
                    </a:lnTo>
                    <a:lnTo>
                      <a:pt x="5066733" y="5521049"/>
                    </a:lnTo>
                    <a:lnTo>
                      <a:pt x="5078974" y="5542812"/>
                    </a:lnTo>
                    <a:lnTo>
                      <a:pt x="5082344" y="5607793"/>
                    </a:lnTo>
                    <a:lnTo>
                      <a:pt x="5085780" y="5654345"/>
                    </a:lnTo>
                    <a:lnTo>
                      <a:pt x="5089209" y="5700899"/>
                    </a:lnTo>
                    <a:lnTo>
                      <a:pt x="5094675" y="5745764"/>
                    </a:lnTo>
                    <a:lnTo>
                      <a:pt x="5122196" y="5767132"/>
                    </a:lnTo>
                    <a:lnTo>
                      <a:pt x="5155276" y="5764738"/>
                    </a:lnTo>
                    <a:lnTo>
                      <a:pt x="5183715" y="5767244"/>
                    </a:lnTo>
                    <a:lnTo>
                      <a:pt x="5211167" y="5770950"/>
                    </a:lnTo>
                    <a:lnTo>
                      <a:pt x="5229700" y="5782578"/>
                    </a:lnTo>
                    <a:lnTo>
                      <a:pt x="5234040" y="5808046"/>
                    </a:lnTo>
                    <a:lnTo>
                      <a:pt x="5228599" y="5915504"/>
                    </a:lnTo>
                    <a:lnTo>
                      <a:pt x="5240291" y="5938626"/>
                    </a:lnTo>
                    <a:lnTo>
                      <a:pt x="5256727" y="5962038"/>
                    </a:lnTo>
                    <a:lnTo>
                      <a:pt x="5289804" y="5984875"/>
                    </a:lnTo>
                    <a:lnTo>
                      <a:pt x="5327185" y="5998910"/>
                    </a:lnTo>
                    <a:lnTo>
                      <a:pt x="5386434" y="6005775"/>
                    </a:lnTo>
                    <a:lnTo>
                      <a:pt x="5428674" y="6001132"/>
                    </a:lnTo>
                    <a:lnTo>
                      <a:pt x="5470711" y="6006638"/>
                    </a:lnTo>
                    <a:lnTo>
                      <a:pt x="5521939" y="6018748"/>
                    </a:lnTo>
                    <a:lnTo>
                      <a:pt x="5559128" y="6028401"/>
                    </a:lnTo>
                    <a:lnTo>
                      <a:pt x="5596316" y="6038057"/>
                    </a:lnTo>
                    <a:lnTo>
                      <a:pt x="5632642" y="6045977"/>
                    </a:lnTo>
                    <a:lnTo>
                      <a:pt x="5666302" y="6031231"/>
                    </a:lnTo>
                    <a:lnTo>
                      <a:pt x="5692812" y="6008327"/>
                    </a:lnTo>
                    <a:lnTo>
                      <a:pt x="5718271" y="5987593"/>
                    </a:lnTo>
                    <a:lnTo>
                      <a:pt x="5743721" y="5966866"/>
                    </a:lnTo>
                    <a:lnTo>
                      <a:pt x="5768247" y="5949065"/>
                    </a:lnTo>
                    <a:lnTo>
                      <a:pt x="5799869" y="5970123"/>
                    </a:lnTo>
                    <a:lnTo>
                      <a:pt x="5805553" y="6002767"/>
                    </a:lnTo>
                    <a:lnTo>
                      <a:pt x="5817565" y="6028401"/>
                    </a:lnTo>
                    <a:lnTo>
                      <a:pt x="5831381" y="6051676"/>
                    </a:lnTo>
                    <a:lnTo>
                      <a:pt x="5852713" y="6064977"/>
                    </a:lnTo>
                    <a:lnTo>
                      <a:pt x="5884212" y="6063764"/>
                    </a:lnTo>
                    <a:lnTo>
                      <a:pt x="5910322" y="6040029"/>
                    </a:lnTo>
                    <a:lnTo>
                      <a:pt x="5934280" y="6014052"/>
                    </a:lnTo>
                    <a:lnTo>
                      <a:pt x="5965822" y="6001198"/>
                    </a:lnTo>
                    <a:lnTo>
                      <a:pt x="6034819" y="5996087"/>
                    </a:lnTo>
                    <a:lnTo>
                      <a:pt x="6085654" y="5991253"/>
                    </a:lnTo>
                    <a:lnTo>
                      <a:pt x="6123614" y="5990317"/>
                    </a:lnTo>
                    <a:lnTo>
                      <a:pt x="6161565" y="5989381"/>
                    </a:lnTo>
                    <a:lnTo>
                      <a:pt x="6186106" y="5993331"/>
                    </a:lnTo>
                    <a:lnTo>
                      <a:pt x="6216173" y="6017224"/>
                    </a:lnTo>
                    <a:lnTo>
                      <a:pt x="6221540" y="6070569"/>
                    </a:lnTo>
                    <a:lnTo>
                      <a:pt x="6221738" y="6104124"/>
                    </a:lnTo>
                    <a:lnTo>
                      <a:pt x="6217143" y="6150850"/>
                    </a:lnTo>
                    <a:lnTo>
                      <a:pt x="6210666" y="6214748"/>
                    </a:lnTo>
                    <a:lnTo>
                      <a:pt x="6199923" y="6241503"/>
                    </a:lnTo>
                    <a:lnTo>
                      <a:pt x="6180600" y="6275045"/>
                    </a:lnTo>
                    <a:lnTo>
                      <a:pt x="6170337" y="6296129"/>
                    </a:lnTo>
                    <a:lnTo>
                      <a:pt x="6168498" y="6326287"/>
                    </a:lnTo>
                    <a:lnTo>
                      <a:pt x="6259634" y="6333087"/>
                    </a:lnTo>
                    <a:lnTo>
                      <a:pt x="6283328" y="6262231"/>
                    </a:lnTo>
                    <a:lnTo>
                      <a:pt x="6271345" y="6202594"/>
                    </a:lnTo>
                    <a:lnTo>
                      <a:pt x="6285471" y="6145382"/>
                    </a:lnTo>
                    <a:lnTo>
                      <a:pt x="6322898" y="6126851"/>
                    </a:lnTo>
                    <a:lnTo>
                      <a:pt x="6352121" y="6138582"/>
                    </a:lnTo>
                    <a:lnTo>
                      <a:pt x="6369801" y="6192991"/>
                    </a:lnTo>
                    <a:lnTo>
                      <a:pt x="6408763" y="6191421"/>
                    </a:lnTo>
                    <a:lnTo>
                      <a:pt x="6458812" y="6183383"/>
                    </a:lnTo>
                    <a:lnTo>
                      <a:pt x="6493579" y="6164423"/>
                    </a:lnTo>
                    <a:lnTo>
                      <a:pt x="6492280" y="6123639"/>
                    </a:lnTo>
                    <a:lnTo>
                      <a:pt x="6486736" y="6082790"/>
                    </a:lnTo>
                    <a:lnTo>
                      <a:pt x="6496311" y="6043366"/>
                    </a:lnTo>
                    <a:lnTo>
                      <a:pt x="6528448" y="6019328"/>
                    </a:lnTo>
                    <a:lnTo>
                      <a:pt x="6546636" y="6006638"/>
                    </a:lnTo>
                    <a:lnTo>
                      <a:pt x="6564824" y="5993951"/>
                    </a:lnTo>
                    <a:lnTo>
                      <a:pt x="6599684" y="5986241"/>
                    </a:lnTo>
                    <a:lnTo>
                      <a:pt x="6697384" y="6089912"/>
                    </a:lnTo>
                    <a:lnTo>
                      <a:pt x="6719382" y="6108655"/>
                    </a:lnTo>
                    <a:lnTo>
                      <a:pt x="6742398" y="6089669"/>
                    </a:lnTo>
                    <a:lnTo>
                      <a:pt x="6769813" y="6075958"/>
                    </a:lnTo>
                    <a:lnTo>
                      <a:pt x="6798271" y="6078735"/>
                    </a:lnTo>
                    <a:lnTo>
                      <a:pt x="6818676" y="6126343"/>
                    </a:lnTo>
                    <a:lnTo>
                      <a:pt x="6845899" y="6137982"/>
                    </a:lnTo>
                    <a:lnTo>
                      <a:pt x="6867643" y="6135866"/>
                    </a:lnTo>
                    <a:lnTo>
                      <a:pt x="6889387" y="6133748"/>
                    </a:lnTo>
                    <a:lnTo>
                      <a:pt x="6915206" y="6126746"/>
                    </a:lnTo>
                    <a:lnTo>
                      <a:pt x="6941090" y="6119543"/>
                    </a:lnTo>
                    <a:lnTo>
                      <a:pt x="6992866" y="6105141"/>
                    </a:lnTo>
                    <a:lnTo>
                      <a:pt x="7044361" y="6088007"/>
                    </a:lnTo>
                    <a:lnTo>
                      <a:pt x="7075838" y="6099996"/>
                    </a:lnTo>
                    <a:lnTo>
                      <a:pt x="7085056" y="6118963"/>
                    </a:lnTo>
                    <a:lnTo>
                      <a:pt x="7092076" y="6139948"/>
                    </a:lnTo>
                    <a:lnTo>
                      <a:pt x="7099099" y="6160927"/>
                    </a:lnTo>
                    <a:lnTo>
                      <a:pt x="7103067" y="6184345"/>
                    </a:lnTo>
                    <a:lnTo>
                      <a:pt x="7110118" y="6215032"/>
                    </a:lnTo>
                    <a:lnTo>
                      <a:pt x="7126077" y="6251481"/>
                    </a:lnTo>
                    <a:lnTo>
                      <a:pt x="7140606" y="6289376"/>
                    </a:lnTo>
                    <a:lnTo>
                      <a:pt x="7139289" y="6318300"/>
                    </a:lnTo>
                    <a:lnTo>
                      <a:pt x="7131525" y="6354856"/>
                    </a:lnTo>
                    <a:lnTo>
                      <a:pt x="7120914" y="6388207"/>
                    </a:lnTo>
                    <a:lnTo>
                      <a:pt x="7092932" y="6411395"/>
                    </a:lnTo>
                    <a:lnTo>
                      <a:pt x="7052922" y="6434938"/>
                    </a:lnTo>
                    <a:lnTo>
                      <a:pt x="7011827" y="6455515"/>
                    </a:lnTo>
                    <a:lnTo>
                      <a:pt x="6970728" y="6476084"/>
                    </a:lnTo>
                    <a:lnTo>
                      <a:pt x="6927788" y="6494404"/>
                    </a:lnTo>
                    <a:lnTo>
                      <a:pt x="6900289" y="6501757"/>
                    </a:lnTo>
                    <a:lnTo>
                      <a:pt x="6904732" y="6522802"/>
                    </a:lnTo>
                    <a:lnTo>
                      <a:pt x="6914756" y="6542581"/>
                    </a:lnTo>
                    <a:lnTo>
                      <a:pt x="6926133" y="6562966"/>
                    </a:lnTo>
                    <a:lnTo>
                      <a:pt x="6937509" y="6583357"/>
                    </a:lnTo>
                    <a:lnTo>
                      <a:pt x="6951226" y="6604283"/>
                    </a:lnTo>
                    <a:lnTo>
                      <a:pt x="6961495" y="6622813"/>
                    </a:lnTo>
                    <a:lnTo>
                      <a:pt x="6976511" y="6649912"/>
                    </a:lnTo>
                    <a:lnTo>
                      <a:pt x="6991068" y="6677717"/>
                    </a:lnTo>
                    <a:lnTo>
                      <a:pt x="7006379" y="6705785"/>
                    </a:lnTo>
                    <a:lnTo>
                      <a:pt x="7021699" y="6733859"/>
                    </a:lnTo>
                    <a:lnTo>
                      <a:pt x="7036678" y="6761690"/>
                    </a:lnTo>
                    <a:lnTo>
                      <a:pt x="7053988" y="6787403"/>
                    </a:lnTo>
                    <a:lnTo>
                      <a:pt x="7085248" y="6833824"/>
                    </a:lnTo>
                    <a:lnTo>
                      <a:pt x="7126461" y="6875010"/>
                    </a:lnTo>
                    <a:lnTo>
                      <a:pt x="7150565" y="6926140"/>
                    </a:lnTo>
                    <a:lnTo>
                      <a:pt x="7184489" y="6913129"/>
                    </a:lnTo>
                    <a:lnTo>
                      <a:pt x="7258320" y="6885503"/>
                    </a:lnTo>
                    <a:lnTo>
                      <a:pt x="7281143" y="6888048"/>
                    </a:lnTo>
                    <a:lnTo>
                      <a:pt x="7331686" y="6952407"/>
                    </a:lnTo>
                    <a:lnTo>
                      <a:pt x="7339338" y="6992023"/>
                    </a:lnTo>
                    <a:lnTo>
                      <a:pt x="7340926" y="7037264"/>
                    </a:lnTo>
                    <a:lnTo>
                      <a:pt x="7358674" y="7058078"/>
                    </a:lnTo>
                    <a:lnTo>
                      <a:pt x="7373197" y="7075072"/>
                    </a:lnTo>
                    <a:lnTo>
                      <a:pt x="7388396" y="7091197"/>
                    </a:lnTo>
                    <a:lnTo>
                      <a:pt x="7403564" y="7108404"/>
                    </a:lnTo>
                    <a:lnTo>
                      <a:pt x="7418726" y="7125609"/>
                    </a:lnTo>
                    <a:lnTo>
                      <a:pt x="7433671" y="7143633"/>
                    </a:lnTo>
                    <a:lnTo>
                      <a:pt x="7447084" y="7161453"/>
                    </a:lnTo>
                    <a:lnTo>
                      <a:pt x="7466738" y="7187549"/>
                    </a:lnTo>
                    <a:lnTo>
                      <a:pt x="7470834" y="7213698"/>
                    </a:lnTo>
                    <a:lnTo>
                      <a:pt x="7466131" y="7238982"/>
                    </a:lnTo>
                    <a:lnTo>
                      <a:pt x="7461427" y="7264267"/>
                    </a:lnTo>
                    <a:lnTo>
                      <a:pt x="7447877" y="7288997"/>
                    </a:lnTo>
                    <a:lnTo>
                      <a:pt x="7432126" y="7312430"/>
                    </a:lnTo>
                    <a:lnTo>
                      <a:pt x="7416372" y="7335875"/>
                    </a:lnTo>
                    <a:lnTo>
                      <a:pt x="7398045" y="7357150"/>
                    </a:lnTo>
                    <a:lnTo>
                      <a:pt x="7384520" y="7377725"/>
                    </a:lnTo>
                    <a:lnTo>
                      <a:pt x="7370992" y="7398295"/>
                    </a:lnTo>
                    <a:lnTo>
                      <a:pt x="7362128" y="7418158"/>
                    </a:lnTo>
                    <a:lnTo>
                      <a:pt x="7367076" y="7459779"/>
                    </a:lnTo>
                    <a:lnTo>
                      <a:pt x="7381181" y="7476992"/>
                    </a:lnTo>
                    <a:lnTo>
                      <a:pt x="7394036" y="7494700"/>
                    </a:lnTo>
                    <a:lnTo>
                      <a:pt x="7406903" y="7512407"/>
                    </a:lnTo>
                    <a:lnTo>
                      <a:pt x="7418989" y="7529600"/>
                    </a:lnTo>
                    <a:lnTo>
                      <a:pt x="7417163" y="7555907"/>
                    </a:lnTo>
                    <a:lnTo>
                      <a:pt x="7410807" y="7598991"/>
                    </a:lnTo>
                    <a:lnTo>
                      <a:pt x="7407641" y="7626637"/>
                    </a:lnTo>
                    <a:lnTo>
                      <a:pt x="7404475" y="7654290"/>
                    </a:lnTo>
                    <a:lnTo>
                      <a:pt x="7402562" y="7680307"/>
                    </a:lnTo>
                    <a:lnTo>
                      <a:pt x="7420264" y="7698389"/>
                    </a:lnTo>
                    <a:lnTo>
                      <a:pt x="7449803" y="7701450"/>
                    </a:lnTo>
                    <a:lnTo>
                      <a:pt x="7564996" y="7692863"/>
                    </a:lnTo>
                    <a:lnTo>
                      <a:pt x="7678189" y="7700856"/>
                    </a:lnTo>
                    <a:lnTo>
                      <a:pt x="7793937" y="7696010"/>
                    </a:lnTo>
                    <a:lnTo>
                      <a:pt x="7811024" y="7643686"/>
                    </a:lnTo>
                    <a:lnTo>
                      <a:pt x="7817080" y="7614878"/>
                    </a:lnTo>
                    <a:lnTo>
                      <a:pt x="7834741" y="7599433"/>
                    </a:lnTo>
                    <a:lnTo>
                      <a:pt x="7852402" y="7583995"/>
                    </a:lnTo>
                    <a:lnTo>
                      <a:pt x="7881457" y="7582886"/>
                    </a:lnTo>
                    <a:lnTo>
                      <a:pt x="7925873" y="7593999"/>
                    </a:lnTo>
                    <a:lnTo>
                      <a:pt x="7958414" y="7601741"/>
                    </a:lnTo>
                    <a:lnTo>
                      <a:pt x="7991264" y="7610737"/>
                    </a:lnTo>
                    <a:lnTo>
                      <a:pt x="8022450" y="7622561"/>
                    </a:lnTo>
                    <a:lnTo>
                      <a:pt x="8043658" y="7632421"/>
                    </a:lnTo>
                    <a:lnTo>
                      <a:pt x="8054541" y="7656862"/>
                    </a:lnTo>
                    <a:lnTo>
                      <a:pt x="8071418" y="7671529"/>
                    </a:lnTo>
                    <a:lnTo>
                      <a:pt x="8088886" y="7686723"/>
                    </a:lnTo>
                    <a:lnTo>
                      <a:pt x="8127185" y="7700092"/>
                    </a:lnTo>
                    <a:lnTo>
                      <a:pt x="8164286" y="7716968"/>
                    </a:lnTo>
                    <a:lnTo>
                      <a:pt x="8182952" y="7739536"/>
                    </a:lnTo>
                    <a:lnTo>
                      <a:pt x="8202650" y="7763350"/>
                    </a:lnTo>
                    <a:lnTo>
                      <a:pt x="8214414" y="7795125"/>
                    </a:lnTo>
                    <a:lnTo>
                      <a:pt x="8225117" y="7826588"/>
                    </a:lnTo>
                    <a:lnTo>
                      <a:pt x="8235823" y="7858053"/>
                    </a:lnTo>
                    <a:lnTo>
                      <a:pt x="8245984" y="7888435"/>
                    </a:lnTo>
                    <a:lnTo>
                      <a:pt x="8263204" y="7909558"/>
                    </a:lnTo>
                    <a:lnTo>
                      <a:pt x="8304021" y="7935147"/>
                    </a:lnTo>
                    <a:lnTo>
                      <a:pt x="8335293" y="7942210"/>
                    </a:lnTo>
                    <a:lnTo>
                      <a:pt x="8366572" y="7949267"/>
                    </a:lnTo>
                    <a:lnTo>
                      <a:pt x="8399990" y="7951740"/>
                    </a:lnTo>
                    <a:lnTo>
                      <a:pt x="8448626" y="7948086"/>
                    </a:lnTo>
                    <a:lnTo>
                      <a:pt x="8472612" y="7938965"/>
                    </a:lnTo>
                    <a:lnTo>
                      <a:pt x="8493076" y="7924523"/>
                    </a:lnTo>
                    <a:lnTo>
                      <a:pt x="8513540" y="7910087"/>
                    </a:lnTo>
                    <a:lnTo>
                      <a:pt x="8530614" y="7890638"/>
                    </a:lnTo>
                    <a:lnTo>
                      <a:pt x="8544766" y="7868756"/>
                    </a:lnTo>
                    <a:lnTo>
                      <a:pt x="8573065" y="7824985"/>
                    </a:lnTo>
                    <a:lnTo>
                      <a:pt x="8592263" y="7771106"/>
                    </a:lnTo>
                    <a:lnTo>
                      <a:pt x="8616854" y="7725937"/>
                    </a:lnTo>
                    <a:lnTo>
                      <a:pt x="8630863" y="7700209"/>
                    </a:lnTo>
                    <a:lnTo>
                      <a:pt x="8649711" y="7674417"/>
                    </a:lnTo>
                    <a:lnTo>
                      <a:pt x="8665822" y="7649766"/>
                    </a:lnTo>
                    <a:lnTo>
                      <a:pt x="8678320" y="7630634"/>
                    </a:lnTo>
                    <a:lnTo>
                      <a:pt x="8688772" y="7603944"/>
                    </a:lnTo>
                    <a:lnTo>
                      <a:pt x="8706625" y="7588551"/>
                    </a:lnTo>
                    <a:lnTo>
                      <a:pt x="8723291" y="7574188"/>
                    </a:lnTo>
                    <a:lnTo>
                      <a:pt x="8767877" y="7562112"/>
                    </a:lnTo>
                    <a:lnTo>
                      <a:pt x="8856250" y="7539585"/>
                    </a:lnTo>
                    <a:lnTo>
                      <a:pt x="8877855" y="7536142"/>
                    </a:lnTo>
                    <a:lnTo>
                      <a:pt x="8903748" y="7539782"/>
                    </a:lnTo>
                    <a:lnTo>
                      <a:pt x="8931064" y="7549107"/>
                    </a:lnTo>
                    <a:lnTo>
                      <a:pt x="8958371" y="7558440"/>
                    </a:lnTo>
                    <a:lnTo>
                      <a:pt x="8986863" y="7572605"/>
                    </a:lnTo>
                    <a:lnTo>
                      <a:pt x="9014033" y="7589917"/>
                    </a:lnTo>
                    <a:lnTo>
                      <a:pt x="9068377" y="7624540"/>
                    </a:lnTo>
                    <a:lnTo>
                      <a:pt x="9116368" y="7670400"/>
                    </a:lnTo>
                    <a:lnTo>
                      <a:pt x="9135089" y="7708249"/>
                    </a:lnTo>
                    <a:lnTo>
                      <a:pt x="9222867" y="7661412"/>
                    </a:lnTo>
                    <a:lnTo>
                      <a:pt x="9256145" y="7653842"/>
                    </a:lnTo>
                    <a:lnTo>
                      <a:pt x="9326026" y="7697862"/>
                    </a:lnTo>
                    <a:lnTo>
                      <a:pt x="9385365" y="7723213"/>
                    </a:lnTo>
                    <a:lnTo>
                      <a:pt x="9444707" y="7748557"/>
                    </a:lnTo>
                    <a:lnTo>
                      <a:pt x="9506170" y="7770901"/>
                    </a:lnTo>
                    <a:lnTo>
                      <a:pt x="9526826" y="7774898"/>
                    </a:lnTo>
                    <a:lnTo>
                      <a:pt x="9559386" y="7781143"/>
                    </a:lnTo>
                    <a:lnTo>
                      <a:pt x="9589393" y="7766060"/>
                    </a:lnTo>
                    <a:lnTo>
                      <a:pt x="9619320" y="7759933"/>
                    </a:lnTo>
                    <a:lnTo>
                      <a:pt x="9762139" y="7730012"/>
                    </a:lnTo>
                    <a:lnTo>
                      <a:pt x="9809622" y="7720318"/>
                    </a:lnTo>
                    <a:lnTo>
                      <a:pt x="9859057" y="7714330"/>
                    </a:lnTo>
                    <a:lnTo>
                      <a:pt x="9907684" y="7705525"/>
                    </a:lnTo>
                    <a:lnTo>
                      <a:pt x="9944237" y="7693075"/>
                    </a:lnTo>
                    <a:lnTo>
                      <a:pt x="10077714" y="7685127"/>
                    </a:lnTo>
                    <a:lnTo>
                      <a:pt x="10194687" y="7676963"/>
                    </a:lnTo>
                    <a:lnTo>
                      <a:pt x="10207554" y="7621203"/>
                    </a:lnTo>
                    <a:lnTo>
                      <a:pt x="10206928" y="7579029"/>
                    </a:lnTo>
                    <a:lnTo>
                      <a:pt x="10206332" y="7536861"/>
                    </a:lnTo>
                    <a:lnTo>
                      <a:pt x="10204010" y="7492213"/>
                    </a:lnTo>
                    <a:lnTo>
                      <a:pt x="10211002" y="7471571"/>
                    </a:lnTo>
                    <a:lnTo>
                      <a:pt x="10237394" y="7461838"/>
                    </a:lnTo>
                    <a:lnTo>
                      <a:pt x="10259969" y="7459331"/>
                    </a:lnTo>
                    <a:lnTo>
                      <a:pt x="10282545" y="7456824"/>
                    </a:lnTo>
                    <a:lnTo>
                      <a:pt x="10306087" y="7454846"/>
                    </a:lnTo>
                    <a:lnTo>
                      <a:pt x="10325897" y="7442797"/>
                    </a:lnTo>
                    <a:lnTo>
                      <a:pt x="10326623" y="7414446"/>
                    </a:lnTo>
                    <a:lnTo>
                      <a:pt x="10284455" y="7381801"/>
                    </a:lnTo>
                    <a:lnTo>
                      <a:pt x="10281522" y="7346354"/>
                    </a:lnTo>
                    <a:lnTo>
                      <a:pt x="10294315" y="7280292"/>
                    </a:lnTo>
                    <a:lnTo>
                      <a:pt x="10283090" y="7259381"/>
                    </a:lnTo>
                    <a:lnTo>
                      <a:pt x="10272387" y="7239424"/>
                    </a:lnTo>
                    <a:lnTo>
                      <a:pt x="10255920" y="7218327"/>
                    </a:lnTo>
                    <a:lnTo>
                      <a:pt x="10247728" y="7196814"/>
                    </a:lnTo>
                    <a:lnTo>
                      <a:pt x="10241905" y="7175203"/>
                    </a:lnTo>
                    <a:lnTo>
                      <a:pt x="10245393" y="7153130"/>
                    </a:lnTo>
                    <a:lnTo>
                      <a:pt x="10261334" y="7130167"/>
                    </a:lnTo>
                    <a:lnTo>
                      <a:pt x="10277187" y="7114016"/>
                    </a:lnTo>
                    <a:lnTo>
                      <a:pt x="10317181" y="7111859"/>
                    </a:lnTo>
                    <a:lnTo>
                      <a:pt x="10355185" y="7109762"/>
                    </a:lnTo>
                    <a:lnTo>
                      <a:pt x="10393192" y="7107664"/>
                    </a:lnTo>
                    <a:lnTo>
                      <a:pt x="10428871" y="7105574"/>
                    </a:lnTo>
                    <a:lnTo>
                      <a:pt x="10442240" y="6985982"/>
                    </a:lnTo>
                    <a:lnTo>
                      <a:pt x="10360627" y="6975100"/>
                    </a:lnTo>
                    <a:lnTo>
                      <a:pt x="10330185" y="6961937"/>
                    </a:lnTo>
                    <a:lnTo>
                      <a:pt x="10317615" y="6928415"/>
                    </a:lnTo>
                    <a:lnTo>
                      <a:pt x="10317002" y="6906368"/>
                    </a:lnTo>
                    <a:lnTo>
                      <a:pt x="10319823" y="6883965"/>
                    </a:lnTo>
                    <a:lnTo>
                      <a:pt x="10322641" y="6861569"/>
                    </a:lnTo>
                    <a:lnTo>
                      <a:pt x="10330074" y="6837940"/>
                    </a:lnTo>
                    <a:lnTo>
                      <a:pt x="10338864" y="6818676"/>
                    </a:lnTo>
                    <a:lnTo>
                      <a:pt x="10347660" y="6799419"/>
                    </a:lnTo>
                    <a:lnTo>
                      <a:pt x="10370158" y="6777874"/>
                    </a:lnTo>
                    <a:lnTo>
                      <a:pt x="10393040" y="6761834"/>
                    </a:lnTo>
                    <a:lnTo>
                      <a:pt x="10417997" y="6744945"/>
                    </a:lnTo>
                    <a:lnTo>
                      <a:pt x="10442240" y="6731624"/>
                    </a:lnTo>
                    <a:lnTo>
                      <a:pt x="10485667" y="6713440"/>
                    </a:lnTo>
                    <a:lnTo>
                      <a:pt x="10517163" y="6715353"/>
                    </a:lnTo>
                    <a:lnTo>
                      <a:pt x="10549697" y="6712583"/>
                    </a:lnTo>
                    <a:lnTo>
                      <a:pt x="10581655" y="6708152"/>
                    </a:lnTo>
                    <a:lnTo>
                      <a:pt x="10618388" y="6695252"/>
                    </a:lnTo>
                    <a:lnTo>
                      <a:pt x="10638920" y="6685155"/>
                    </a:lnTo>
                    <a:lnTo>
                      <a:pt x="10662596" y="6667699"/>
                    </a:lnTo>
                    <a:lnTo>
                      <a:pt x="10701149" y="6709010"/>
                    </a:lnTo>
                    <a:lnTo>
                      <a:pt x="10719396" y="6747939"/>
                    </a:lnTo>
                    <a:lnTo>
                      <a:pt x="10741490" y="6779232"/>
                    </a:lnTo>
                    <a:lnTo>
                      <a:pt x="10768543" y="6803132"/>
                    </a:lnTo>
                    <a:lnTo>
                      <a:pt x="10806919" y="6815188"/>
                    </a:lnTo>
                    <a:lnTo>
                      <a:pt x="10839422" y="6802354"/>
                    </a:lnTo>
                    <a:lnTo>
                      <a:pt x="10856379" y="6773066"/>
                    </a:lnTo>
                    <a:lnTo>
                      <a:pt x="10866534" y="6734433"/>
                    </a:lnTo>
                    <a:lnTo>
                      <a:pt x="10873426" y="6701701"/>
                    </a:lnTo>
                    <a:lnTo>
                      <a:pt x="10898120" y="6692397"/>
                    </a:lnTo>
                    <a:lnTo>
                      <a:pt x="10929029" y="6689105"/>
                    </a:lnTo>
                    <a:lnTo>
                      <a:pt x="10959120" y="6682656"/>
                    </a:lnTo>
                    <a:lnTo>
                      <a:pt x="10989209" y="6676219"/>
                    </a:lnTo>
                    <a:lnTo>
                      <a:pt x="11018397" y="6666189"/>
                    </a:lnTo>
                    <a:lnTo>
                      <a:pt x="11036511" y="6644148"/>
                    </a:lnTo>
                    <a:lnTo>
                      <a:pt x="11033928" y="6613291"/>
                    </a:lnTo>
                    <a:lnTo>
                      <a:pt x="11023203" y="6577883"/>
                    </a:lnTo>
                    <a:lnTo>
                      <a:pt x="11014729" y="6537160"/>
                    </a:lnTo>
                    <a:lnTo>
                      <a:pt x="11013272" y="6514446"/>
                    </a:lnTo>
                    <a:lnTo>
                      <a:pt x="11020329" y="6490869"/>
                    </a:lnTo>
                    <a:lnTo>
                      <a:pt x="11027386" y="6467292"/>
                    </a:lnTo>
                    <a:lnTo>
                      <a:pt x="11042948" y="6442423"/>
                    </a:lnTo>
                    <a:lnTo>
                      <a:pt x="11073371" y="6416057"/>
                    </a:lnTo>
                    <a:lnTo>
                      <a:pt x="11108851" y="6412615"/>
                    </a:lnTo>
                    <a:lnTo>
                      <a:pt x="11138548" y="6419500"/>
                    </a:lnTo>
                    <a:lnTo>
                      <a:pt x="11164506" y="6432386"/>
                    </a:lnTo>
                    <a:lnTo>
                      <a:pt x="11189764" y="6444857"/>
                    </a:lnTo>
                    <a:lnTo>
                      <a:pt x="11213644" y="6457321"/>
                    </a:lnTo>
                    <a:lnTo>
                      <a:pt x="11243401" y="6450067"/>
                    </a:lnTo>
                    <a:lnTo>
                      <a:pt x="11271904" y="6433738"/>
                    </a:lnTo>
                    <a:lnTo>
                      <a:pt x="11288285" y="6418781"/>
                    </a:lnTo>
                    <a:lnTo>
                      <a:pt x="11304668" y="6403823"/>
                    </a:lnTo>
                    <a:lnTo>
                      <a:pt x="11321418" y="6386538"/>
                    </a:lnTo>
                    <a:lnTo>
                      <a:pt x="11346777" y="6379330"/>
                    </a:lnTo>
                    <a:lnTo>
                      <a:pt x="11368624" y="6394630"/>
                    </a:lnTo>
                    <a:lnTo>
                      <a:pt x="11372615" y="6424214"/>
                    </a:lnTo>
                    <a:lnTo>
                      <a:pt x="11373703" y="6455033"/>
                    </a:lnTo>
                    <a:lnTo>
                      <a:pt x="11388719" y="6503571"/>
                    </a:lnTo>
                    <a:lnTo>
                      <a:pt x="11414724" y="6534930"/>
                    </a:lnTo>
                    <a:lnTo>
                      <a:pt x="11439262" y="6562958"/>
                    </a:lnTo>
                    <a:lnTo>
                      <a:pt x="11463809" y="6590980"/>
                    </a:lnTo>
                    <a:lnTo>
                      <a:pt x="11487122" y="6614986"/>
                    </a:lnTo>
                    <a:lnTo>
                      <a:pt x="11492313" y="6637764"/>
                    </a:lnTo>
                    <a:lnTo>
                      <a:pt x="11493079" y="6674116"/>
                    </a:lnTo>
                    <a:lnTo>
                      <a:pt x="11486105" y="6710236"/>
                    </a:lnTo>
                    <a:lnTo>
                      <a:pt x="11485519" y="6745221"/>
                    </a:lnTo>
                    <a:lnTo>
                      <a:pt x="11537125" y="6776680"/>
                    </a:lnTo>
                    <a:lnTo>
                      <a:pt x="11558975" y="6796913"/>
                    </a:lnTo>
                    <a:lnTo>
                      <a:pt x="11568680" y="6773164"/>
                    </a:lnTo>
                    <a:lnTo>
                      <a:pt x="11574565" y="6749350"/>
                    </a:lnTo>
                    <a:lnTo>
                      <a:pt x="11579371" y="6718018"/>
                    </a:lnTo>
                    <a:lnTo>
                      <a:pt x="11585036" y="6685281"/>
                    </a:lnTo>
                    <a:lnTo>
                      <a:pt x="11590028" y="6650103"/>
                    </a:lnTo>
                    <a:lnTo>
                      <a:pt x="11594334" y="6614643"/>
                    </a:lnTo>
                    <a:lnTo>
                      <a:pt x="11600576" y="6578286"/>
                    </a:lnTo>
                    <a:lnTo>
                      <a:pt x="11607143" y="6544908"/>
                    </a:lnTo>
                    <a:lnTo>
                      <a:pt x="11614739" y="6515350"/>
                    </a:lnTo>
                    <a:lnTo>
                      <a:pt x="11623992" y="6488107"/>
                    </a:lnTo>
                    <a:lnTo>
                      <a:pt x="11635414" y="6466423"/>
                    </a:lnTo>
                    <a:lnTo>
                      <a:pt x="11650108" y="6451419"/>
                    </a:lnTo>
                    <a:lnTo>
                      <a:pt x="11715391" y="6456859"/>
                    </a:lnTo>
                    <a:lnTo>
                      <a:pt x="11743953" y="6441889"/>
                    </a:lnTo>
                    <a:lnTo>
                      <a:pt x="11761602" y="6420686"/>
                    </a:lnTo>
                    <a:lnTo>
                      <a:pt x="11769917" y="6399055"/>
                    </a:lnTo>
                    <a:lnTo>
                      <a:pt x="11780556" y="6359584"/>
                    </a:lnTo>
                    <a:lnTo>
                      <a:pt x="11787479" y="6324909"/>
                    </a:lnTo>
                    <a:lnTo>
                      <a:pt x="11799060" y="6295449"/>
                    </a:lnTo>
                    <a:lnTo>
                      <a:pt x="11830308" y="6275487"/>
                    </a:lnTo>
                    <a:lnTo>
                      <a:pt x="11855323" y="6269472"/>
                    </a:lnTo>
                    <a:lnTo>
                      <a:pt x="11893572" y="6267784"/>
                    </a:lnTo>
                    <a:lnTo>
                      <a:pt x="11911028" y="6245974"/>
                    </a:lnTo>
                    <a:lnTo>
                      <a:pt x="11916926" y="6221580"/>
                    </a:lnTo>
                    <a:lnTo>
                      <a:pt x="11926218" y="6199777"/>
                    </a:lnTo>
                    <a:lnTo>
                      <a:pt x="11948245" y="6191666"/>
                    </a:lnTo>
                    <a:lnTo>
                      <a:pt x="11988527" y="6194284"/>
                    </a:lnTo>
                    <a:lnTo>
                      <a:pt x="12014067" y="6198972"/>
                    </a:lnTo>
                    <a:lnTo>
                      <a:pt x="12040481" y="6202495"/>
                    </a:lnTo>
                    <a:lnTo>
                      <a:pt x="12066885" y="6206015"/>
                    </a:lnTo>
                    <a:lnTo>
                      <a:pt x="12094815" y="6208581"/>
                    </a:lnTo>
                    <a:lnTo>
                      <a:pt x="12120727" y="6207935"/>
                    </a:lnTo>
                    <a:lnTo>
                      <a:pt x="12146645" y="6207276"/>
                    </a:lnTo>
                    <a:lnTo>
                      <a:pt x="12170076" y="6202797"/>
                    </a:lnTo>
                    <a:lnTo>
                      <a:pt x="12188742" y="6191613"/>
                    </a:lnTo>
                    <a:lnTo>
                      <a:pt x="12203699" y="6173932"/>
                    </a:lnTo>
                    <a:lnTo>
                      <a:pt x="12213221" y="6153527"/>
                    </a:lnTo>
                    <a:lnTo>
                      <a:pt x="12222929" y="6125564"/>
                    </a:lnTo>
                    <a:lnTo>
                      <a:pt x="12228014" y="6103056"/>
                    </a:lnTo>
                    <a:lnTo>
                      <a:pt x="12233790" y="6065255"/>
                    </a:lnTo>
                    <a:lnTo>
                      <a:pt x="12232261" y="6033829"/>
                    </a:lnTo>
                    <a:lnTo>
                      <a:pt x="12230156" y="6004739"/>
                    </a:lnTo>
                    <a:lnTo>
                      <a:pt x="12226218" y="5970427"/>
                    </a:lnTo>
                    <a:lnTo>
                      <a:pt x="12224110" y="5926372"/>
                    </a:lnTo>
                    <a:lnTo>
                      <a:pt x="12229886" y="5890232"/>
                    </a:lnTo>
                    <a:lnTo>
                      <a:pt x="12242819" y="5853704"/>
                    </a:lnTo>
                    <a:lnTo>
                      <a:pt x="12252679" y="5817557"/>
                    </a:lnTo>
                    <a:lnTo>
                      <a:pt x="12258846" y="5782754"/>
                    </a:lnTo>
                    <a:lnTo>
                      <a:pt x="12262827" y="5746265"/>
                    </a:lnTo>
                    <a:lnTo>
                      <a:pt x="12266278" y="5710106"/>
                    </a:lnTo>
                    <a:lnTo>
                      <a:pt x="12303683" y="5697095"/>
                    </a:lnTo>
                    <a:lnTo>
                      <a:pt x="12321537" y="5712190"/>
                    </a:lnTo>
                    <a:lnTo>
                      <a:pt x="12358607" y="5871332"/>
                    </a:lnTo>
                    <a:lnTo>
                      <a:pt x="12349293" y="5902485"/>
                    </a:lnTo>
                    <a:lnTo>
                      <a:pt x="12327490" y="5930454"/>
                    </a:lnTo>
                    <a:lnTo>
                      <a:pt x="12322209" y="5984156"/>
                    </a:lnTo>
                    <a:lnTo>
                      <a:pt x="12330209" y="6022948"/>
                    </a:lnTo>
                    <a:lnTo>
                      <a:pt x="12338215" y="6061739"/>
                    </a:lnTo>
                    <a:lnTo>
                      <a:pt x="12352499" y="6098909"/>
                    </a:lnTo>
                    <a:lnTo>
                      <a:pt x="12377809" y="6099126"/>
                    </a:lnTo>
                    <a:lnTo>
                      <a:pt x="12400146" y="6073794"/>
                    </a:lnTo>
                    <a:lnTo>
                      <a:pt x="12411432" y="6036178"/>
                    </a:lnTo>
                    <a:lnTo>
                      <a:pt x="12424054" y="5995757"/>
                    </a:lnTo>
                    <a:lnTo>
                      <a:pt x="12436683" y="5955330"/>
                    </a:lnTo>
                    <a:lnTo>
                      <a:pt x="12450474" y="5911719"/>
                    </a:lnTo>
                    <a:lnTo>
                      <a:pt x="12467587" y="5881500"/>
                    </a:lnTo>
                    <a:lnTo>
                      <a:pt x="12489666" y="5842498"/>
                    </a:lnTo>
                    <a:lnTo>
                      <a:pt x="12526433" y="5805561"/>
                    </a:lnTo>
                    <a:lnTo>
                      <a:pt x="12558722" y="5776761"/>
                    </a:lnTo>
                    <a:lnTo>
                      <a:pt x="12591002" y="5747967"/>
                    </a:lnTo>
                    <a:lnTo>
                      <a:pt x="12619125" y="5727398"/>
                    </a:lnTo>
                    <a:lnTo>
                      <a:pt x="12635914" y="5696896"/>
                    </a:lnTo>
                    <a:lnTo>
                      <a:pt x="12619329" y="5662168"/>
                    </a:lnTo>
                    <a:lnTo>
                      <a:pt x="12637610" y="5640740"/>
                    </a:lnTo>
                    <a:lnTo>
                      <a:pt x="12663457" y="5636184"/>
                    </a:lnTo>
                    <a:lnTo>
                      <a:pt x="12689294" y="5652981"/>
                    </a:lnTo>
                    <a:lnTo>
                      <a:pt x="12704437" y="5683066"/>
                    </a:lnTo>
                    <a:lnTo>
                      <a:pt x="12746987" y="5721343"/>
                    </a:lnTo>
                    <a:lnTo>
                      <a:pt x="12776275" y="5732495"/>
                    </a:lnTo>
                    <a:lnTo>
                      <a:pt x="12803551" y="5729151"/>
                    </a:lnTo>
                    <a:lnTo>
                      <a:pt x="12830833" y="5725808"/>
                    </a:lnTo>
                    <a:lnTo>
                      <a:pt x="12855240" y="5707962"/>
                    </a:lnTo>
                    <a:lnTo>
                      <a:pt x="12875639" y="5674744"/>
                    </a:lnTo>
                    <a:lnTo>
                      <a:pt x="12887952" y="5651826"/>
                    </a:lnTo>
                    <a:lnTo>
                      <a:pt x="12898695" y="5626924"/>
                    </a:lnTo>
                    <a:lnTo>
                      <a:pt x="12909643" y="5602648"/>
                    </a:lnTo>
                    <a:lnTo>
                      <a:pt x="12939037" y="5577238"/>
                    </a:lnTo>
                    <a:lnTo>
                      <a:pt x="12964059" y="5564563"/>
                    </a:lnTo>
                    <a:lnTo>
                      <a:pt x="12989077" y="5551894"/>
                    </a:lnTo>
                    <a:lnTo>
                      <a:pt x="13016316" y="5537405"/>
                    </a:lnTo>
                    <a:lnTo>
                      <a:pt x="13034789" y="5515596"/>
                    </a:lnTo>
                    <a:lnTo>
                      <a:pt x="13063820" y="5481342"/>
                    </a:lnTo>
                    <a:lnTo>
                      <a:pt x="13059777" y="5433562"/>
                    </a:lnTo>
                    <a:lnTo>
                      <a:pt x="13083754" y="5408145"/>
                    </a:lnTo>
                    <a:lnTo>
                      <a:pt x="13121906" y="5404399"/>
                    </a:lnTo>
                    <a:lnTo>
                      <a:pt x="13151762" y="5405427"/>
                    </a:lnTo>
                    <a:lnTo>
                      <a:pt x="13181617" y="5406456"/>
                    </a:lnTo>
                    <a:lnTo>
                      <a:pt x="13211935" y="5408956"/>
                    </a:lnTo>
                    <a:lnTo>
                      <a:pt x="13233735" y="5403641"/>
                    </a:lnTo>
                    <a:lnTo>
                      <a:pt x="13249564" y="5324956"/>
                    </a:lnTo>
                    <a:lnTo>
                      <a:pt x="13261944" y="5243556"/>
                    </a:lnTo>
                    <a:lnTo>
                      <a:pt x="13274316" y="5162161"/>
                    </a:lnTo>
                    <a:lnTo>
                      <a:pt x="13283872" y="5077529"/>
                    </a:lnTo>
                    <a:lnTo>
                      <a:pt x="13277770" y="5042886"/>
                    </a:lnTo>
                    <a:lnTo>
                      <a:pt x="13242897" y="5027289"/>
                    </a:lnTo>
                    <a:lnTo>
                      <a:pt x="13204428" y="5017364"/>
                    </a:lnTo>
                    <a:lnTo>
                      <a:pt x="13187236" y="4992792"/>
                    </a:lnTo>
                    <a:lnTo>
                      <a:pt x="13185239" y="4971134"/>
                    </a:lnTo>
                    <a:lnTo>
                      <a:pt x="13184408" y="4949753"/>
                    </a:lnTo>
                    <a:lnTo>
                      <a:pt x="13183583" y="4928379"/>
                    </a:lnTo>
                    <a:lnTo>
                      <a:pt x="13184141" y="4906675"/>
                    </a:lnTo>
                    <a:lnTo>
                      <a:pt x="13183047" y="4884464"/>
                    </a:lnTo>
                    <a:lnTo>
                      <a:pt x="13181286" y="4848633"/>
                    </a:lnTo>
                    <a:lnTo>
                      <a:pt x="13180290" y="4812164"/>
                    </a:lnTo>
                    <a:lnTo>
                      <a:pt x="13178973" y="4775655"/>
                    </a:lnTo>
                    <a:lnTo>
                      <a:pt x="13177646" y="4739137"/>
                    </a:lnTo>
                    <a:lnTo>
                      <a:pt x="13175788" y="4702458"/>
                    </a:lnTo>
                    <a:lnTo>
                      <a:pt x="13172173" y="4666832"/>
                    </a:lnTo>
                    <a:lnTo>
                      <a:pt x="13168889" y="4634530"/>
                    </a:lnTo>
                    <a:lnTo>
                      <a:pt x="13161705" y="4604964"/>
                    </a:lnTo>
                    <a:lnTo>
                      <a:pt x="13155851" y="4574338"/>
                    </a:lnTo>
                    <a:lnTo>
                      <a:pt x="13149994" y="4543718"/>
                    </a:lnTo>
                    <a:lnTo>
                      <a:pt x="13145716" y="4512689"/>
                    </a:lnTo>
                    <a:lnTo>
                      <a:pt x="13149052" y="4479127"/>
                    </a:lnTo>
                    <a:lnTo>
                      <a:pt x="13119125" y="4472327"/>
                    </a:lnTo>
                    <a:lnTo>
                      <a:pt x="13093279" y="4462806"/>
                    </a:lnTo>
                    <a:lnTo>
                      <a:pt x="13093409" y="4433860"/>
                    </a:lnTo>
                    <a:lnTo>
                      <a:pt x="13084994" y="4401980"/>
                    </a:lnTo>
                    <a:lnTo>
                      <a:pt x="13071516" y="4375752"/>
                    </a:lnTo>
                    <a:lnTo>
                      <a:pt x="13130005" y="4340384"/>
                    </a:lnTo>
                    <a:lnTo>
                      <a:pt x="13145043" y="4311867"/>
                    </a:lnTo>
                    <a:lnTo>
                      <a:pt x="13127289" y="4268295"/>
                    </a:lnTo>
                    <a:lnTo>
                      <a:pt x="13116043" y="4244236"/>
                    </a:lnTo>
                    <a:lnTo>
                      <a:pt x="13099715" y="4215503"/>
                    </a:lnTo>
                    <a:lnTo>
                      <a:pt x="13085121" y="4185325"/>
                    </a:lnTo>
                    <a:lnTo>
                      <a:pt x="13070526" y="4155147"/>
                    </a:lnTo>
                    <a:lnTo>
                      <a:pt x="13057020" y="4123384"/>
                    </a:lnTo>
                    <a:lnTo>
                      <a:pt x="13051111" y="4091472"/>
                    </a:lnTo>
                    <a:lnTo>
                      <a:pt x="13045201" y="4059559"/>
                    </a:lnTo>
                    <a:lnTo>
                      <a:pt x="13047185" y="4028240"/>
                    </a:lnTo>
                    <a:lnTo>
                      <a:pt x="13062000" y="3998978"/>
                    </a:lnTo>
                    <a:lnTo>
                      <a:pt x="13032070" y="4000338"/>
                    </a:lnTo>
                    <a:lnTo>
                      <a:pt x="13002143" y="4001696"/>
                    </a:lnTo>
                    <a:lnTo>
                      <a:pt x="12984622" y="3965450"/>
                    </a:lnTo>
                    <a:lnTo>
                      <a:pt x="12979022" y="3943206"/>
                    </a:lnTo>
                    <a:lnTo>
                      <a:pt x="12973429" y="3920961"/>
                    </a:lnTo>
                    <a:lnTo>
                      <a:pt x="12970204" y="3898795"/>
                    </a:lnTo>
                    <a:lnTo>
                      <a:pt x="12978343" y="3866777"/>
                    </a:lnTo>
                    <a:lnTo>
                      <a:pt x="13007591" y="3845271"/>
                    </a:lnTo>
                    <a:lnTo>
                      <a:pt x="13039939" y="3817381"/>
                    </a:lnTo>
                    <a:lnTo>
                      <a:pt x="13078076" y="3794358"/>
                    </a:lnTo>
                    <a:lnTo>
                      <a:pt x="13116400" y="3775900"/>
                    </a:lnTo>
                    <a:lnTo>
                      <a:pt x="13154729" y="3757441"/>
                    </a:lnTo>
                    <a:lnTo>
                      <a:pt x="13194041" y="3742879"/>
                    </a:lnTo>
                    <a:lnTo>
                      <a:pt x="13232020" y="3729656"/>
                    </a:lnTo>
                    <a:lnTo>
                      <a:pt x="13270003" y="3716426"/>
                    </a:lnTo>
                    <a:lnTo>
                      <a:pt x="13305436" y="3705109"/>
                    </a:lnTo>
                    <a:lnTo>
                      <a:pt x="13336755" y="3692928"/>
                    </a:lnTo>
                    <a:lnTo>
                      <a:pt x="13368074" y="3680748"/>
                    </a:lnTo>
                    <a:lnTo>
                      <a:pt x="13394572" y="3667446"/>
                    </a:lnTo>
                    <a:lnTo>
                      <a:pt x="13412927" y="3652120"/>
                    </a:lnTo>
                    <a:lnTo>
                      <a:pt x="13423941" y="3699392"/>
                    </a:lnTo>
                    <a:lnTo>
                      <a:pt x="13443645" y="3714257"/>
                    </a:lnTo>
                    <a:lnTo>
                      <a:pt x="13465612" y="3719466"/>
                    </a:lnTo>
                    <a:lnTo>
                      <a:pt x="13487890" y="3712754"/>
                    </a:lnTo>
                    <a:lnTo>
                      <a:pt x="13496879" y="3689381"/>
                    </a:lnTo>
                    <a:lnTo>
                      <a:pt x="13510859" y="3660284"/>
                    </a:lnTo>
                    <a:lnTo>
                      <a:pt x="13524843" y="3631180"/>
                    </a:lnTo>
                    <a:lnTo>
                      <a:pt x="13544014" y="3595865"/>
                    </a:lnTo>
                    <a:lnTo>
                      <a:pt x="13581590" y="3566426"/>
                    </a:lnTo>
                    <a:lnTo>
                      <a:pt x="13612152" y="3543073"/>
                    </a:lnTo>
                    <a:lnTo>
                      <a:pt x="13706426" y="3511478"/>
                    </a:lnTo>
                    <a:lnTo>
                      <a:pt x="13736650" y="3498419"/>
                    </a:lnTo>
                    <a:lnTo>
                      <a:pt x="13778303" y="3480428"/>
                    </a:lnTo>
                    <a:lnTo>
                      <a:pt x="13820288" y="3461375"/>
                    </a:lnTo>
                    <a:lnTo>
                      <a:pt x="13861796" y="3441294"/>
                    </a:lnTo>
                    <a:lnTo>
                      <a:pt x="13903297" y="3421206"/>
                    </a:lnTo>
                    <a:lnTo>
                      <a:pt x="13943875" y="3399053"/>
                    </a:lnTo>
                    <a:lnTo>
                      <a:pt x="13981485" y="3373281"/>
                    </a:lnTo>
                    <a:lnTo>
                      <a:pt x="14005834" y="3354834"/>
                    </a:lnTo>
                    <a:lnTo>
                      <a:pt x="14023653" y="3340635"/>
                    </a:lnTo>
                    <a:lnTo>
                      <a:pt x="14041475" y="3326438"/>
                    </a:lnTo>
                    <a:lnTo>
                      <a:pt x="14059523" y="3312745"/>
                    </a:lnTo>
                    <a:lnTo>
                      <a:pt x="14075048" y="3298027"/>
                    </a:lnTo>
                    <a:lnTo>
                      <a:pt x="14085475" y="3277865"/>
                    </a:lnTo>
                    <a:lnTo>
                      <a:pt x="14095751" y="3259025"/>
                    </a:lnTo>
                    <a:lnTo>
                      <a:pt x="14106017" y="3240189"/>
                    </a:lnTo>
                    <a:lnTo>
                      <a:pt x="14125671" y="3215497"/>
                    </a:lnTo>
                    <a:lnTo>
                      <a:pt x="14155077" y="3207802"/>
                    </a:lnTo>
                    <a:lnTo>
                      <a:pt x="14180598" y="3204155"/>
                    </a:lnTo>
                    <a:lnTo>
                      <a:pt x="14203202" y="3203264"/>
                    </a:lnTo>
                    <a:lnTo>
                      <a:pt x="14230403" y="3204623"/>
                    </a:lnTo>
                    <a:lnTo>
                      <a:pt x="14253527" y="3205981"/>
                    </a:lnTo>
                    <a:lnTo>
                      <a:pt x="14278381" y="3197408"/>
                    </a:lnTo>
                    <a:lnTo>
                      <a:pt x="14294092" y="3178349"/>
                    </a:lnTo>
                    <a:lnTo>
                      <a:pt x="14303859" y="3155650"/>
                    </a:lnTo>
                    <a:lnTo>
                      <a:pt x="14314866" y="3126619"/>
                    </a:lnTo>
                    <a:lnTo>
                      <a:pt x="14314739" y="3099883"/>
                    </a:lnTo>
                    <a:lnTo>
                      <a:pt x="14281138" y="3080381"/>
                    </a:lnTo>
                    <a:lnTo>
                      <a:pt x="14251053" y="3072283"/>
                    </a:lnTo>
                    <a:lnTo>
                      <a:pt x="14219523" y="3065878"/>
                    </a:lnTo>
                    <a:lnTo>
                      <a:pt x="14187999" y="3059469"/>
                    </a:lnTo>
                    <a:lnTo>
                      <a:pt x="14155359" y="3054926"/>
                    </a:lnTo>
                    <a:lnTo>
                      <a:pt x="14125671" y="3049557"/>
                    </a:lnTo>
                    <a:lnTo>
                      <a:pt x="14110668" y="3027853"/>
                    </a:lnTo>
                    <a:lnTo>
                      <a:pt x="14115554" y="2989049"/>
                    </a:lnTo>
                    <a:lnTo>
                      <a:pt x="14103908" y="2962503"/>
                    </a:lnTo>
                    <a:lnTo>
                      <a:pt x="14054603" y="2948041"/>
                    </a:lnTo>
                    <a:lnTo>
                      <a:pt x="14019988" y="2946960"/>
                    </a:lnTo>
                    <a:lnTo>
                      <a:pt x="13985568" y="2946182"/>
                    </a:lnTo>
                    <a:lnTo>
                      <a:pt x="13951155" y="2945404"/>
                    </a:lnTo>
                    <a:lnTo>
                      <a:pt x="13916769" y="2945304"/>
                    </a:lnTo>
                    <a:lnTo>
                      <a:pt x="13880834" y="2946182"/>
                    </a:lnTo>
                    <a:lnTo>
                      <a:pt x="13853018" y="2946855"/>
                    </a:lnTo>
                    <a:lnTo>
                      <a:pt x="13827997" y="2928184"/>
                    </a:lnTo>
                    <a:lnTo>
                      <a:pt x="13803307" y="2908096"/>
                    </a:lnTo>
                    <a:lnTo>
                      <a:pt x="13778613" y="2888009"/>
                    </a:lnTo>
                    <a:lnTo>
                      <a:pt x="13754339" y="2866779"/>
                    </a:lnTo>
                    <a:lnTo>
                      <a:pt x="13727134" y="2863204"/>
                    </a:lnTo>
                    <a:lnTo>
                      <a:pt x="13637351" y="2850978"/>
                    </a:lnTo>
                    <a:lnTo>
                      <a:pt x="13548941" y="2838737"/>
                    </a:lnTo>
                    <a:lnTo>
                      <a:pt x="13525817" y="2825132"/>
                    </a:lnTo>
                    <a:lnTo>
                      <a:pt x="13508980" y="2810827"/>
                    </a:lnTo>
                    <a:lnTo>
                      <a:pt x="13501291" y="2778065"/>
                    </a:lnTo>
                    <a:lnTo>
                      <a:pt x="13498178" y="2753459"/>
                    </a:lnTo>
                    <a:lnTo>
                      <a:pt x="13487732" y="2733998"/>
                    </a:lnTo>
                    <a:lnTo>
                      <a:pt x="13477286" y="2714535"/>
                    </a:lnTo>
                    <a:lnTo>
                      <a:pt x="13460614" y="2699783"/>
                    </a:lnTo>
                    <a:lnTo>
                      <a:pt x="13430601" y="2693194"/>
                    </a:lnTo>
                    <a:lnTo>
                      <a:pt x="13403139" y="2658294"/>
                    </a:lnTo>
                    <a:lnTo>
                      <a:pt x="13393874" y="2633345"/>
                    </a:lnTo>
                    <a:lnTo>
                      <a:pt x="13384616" y="2608390"/>
                    </a:lnTo>
                    <a:lnTo>
                      <a:pt x="13378027" y="2582506"/>
                    </a:lnTo>
                    <a:lnTo>
                      <a:pt x="13391158" y="2555809"/>
                    </a:lnTo>
                    <a:lnTo>
                      <a:pt x="13412921" y="2557168"/>
                    </a:lnTo>
                    <a:lnTo>
                      <a:pt x="13444330" y="2519946"/>
                    </a:lnTo>
                    <a:lnTo>
                      <a:pt x="13445790" y="2489393"/>
                    </a:lnTo>
                    <a:lnTo>
                      <a:pt x="13453722" y="2468757"/>
                    </a:lnTo>
                    <a:lnTo>
                      <a:pt x="13474127" y="2446994"/>
                    </a:lnTo>
                    <a:lnTo>
                      <a:pt x="13499716" y="2441651"/>
                    </a:lnTo>
                    <a:lnTo>
                      <a:pt x="13523094" y="2445636"/>
                    </a:lnTo>
                    <a:lnTo>
                      <a:pt x="13534107" y="2467056"/>
                    </a:lnTo>
                    <a:lnTo>
                      <a:pt x="13543499" y="2493244"/>
                    </a:lnTo>
                    <a:lnTo>
                      <a:pt x="13566747" y="2500795"/>
                    </a:lnTo>
                    <a:lnTo>
                      <a:pt x="13590982" y="2512890"/>
                    </a:lnTo>
                    <a:lnTo>
                      <a:pt x="13611514" y="2528606"/>
                    </a:lnTo>
                    <a:lnTo>
                      <a:pt x="13638374" y="2507548"/>
                    </a:lnTo>
                    <a:lnTo>
                      <a:pt x="13640839" y="2469924"/>
                    </a:lnTo>
                    <a:lnTo>
                      <a:pt x="13657756" y="2455158"/>
                    </a:lnTo>
                    <a:lnTo>
                      <a:pt x="13693124" y="2456523"/>
                    </a:lnTo>
                    <a:lnTo>
                      <a:pt x="13711697" y="2434734"/>
                    </a:lnTo>
                    <a:lnTo>
                      <a:pt x="13729001" y="2381968"/>
                    </a:lnTo>
                    <a:lnTo>
                      <a:pt x="13752057" y="2373961"/>
                    </a:lnTo>
                    <a:lnTo>
                      <a:pt x="13788334" y="2378987"/>
                    </a:lnTo>
                    <a:lnTo>
                      <a:pt x="13824508" y="2385232"/>
                    </a:lnTo>
                    <a:lnTo>
                      <a:pt x="13849583" y="2400440"/>
                    </a:lnTo>
                    <a:lnTo>
                      <a:pt x="13853914" y="2424769"/>
                    </a:lnTo>
                    <a:lnTo>
                      <a:pt x="13857706" y="2448359"/>
                    </a:lnTo>
                    <a:lnTo>
                      <a:pt x="13861498" y="2471949"/>
                    </a:lnTo>
                    <a:lnTo>
                      <a:pt x="13864084" y="2495084"/>
                    </a:lnTo>
                    <a:lnTo>
                      <a:pt x="13909213" y="2512988"/>
                    </a:lnTo>
                    <a:lnTo>
                      <a:pt x="13932257" y="2513430"/>
                    </a:lnTo>
                    <a:lnTo>
                      <a:pt x="13965421" y="2502984"/>
                    </a:lnTo>
                    <a:lnTo>
                      <a:pt x="13984204" y="2476921"/>
                    </a:lnTo>
                    <a:lnTo>
                      <a:pt x="14001112" y="2444336"/>
                    </a:lnTo>
                    <a:lnTo>
                      <a:pt x="14021703" y="2408849"/>
                    </a:lnTo>
                    <a:lnTo>
                      <a:pt x="14035044" y="2391082"/>
                    </a:lnTo>
                    <a:lnTo>
                      <a:pt x="14056293" y="2376263"/>
                    </a:lnTo>
                    <a:lnTo>
                      <a:pt x="14081829" y="2376666"/>
                    </a:lnTo>
                    <a:lnTo>
                      <a:pt x="14117808" y="2384046"/>
                    </a:lnTo>
                    <a:lnTo>
                      <a:pt x="14144703" y="2391220"/>
                    </a:lnTo>
                    <a:lnTo>
                      <a:pt x="14149921" y="2432543"/>
                    </a:lnTo>
                    <a:lnTo>
                      <a:pt x="14143351" y="2460593"/>
                    </a:lnTo>
                    <a:lnTo>
                      <a:pt x="14136768" y="2488647"/>
                    </a:lnTo>
                    <a:lnTo>
                      <a:pt x="14128769" y="2517084"/>
                    </a:lnTo>
                    <a:lnTo>
                      <a:pt x="14137903" y="2536763"/>
                    </a:lnTo>
                    <a:lnTo>
                      <a:pt x="14173272" y="2551727"/>
                    </a:lnTo>
                    <a:lnTo>
                      <a:pt x="14193382" y="2534212"/>
                    </a:lnTo>
                    <a:lnTo>
                      <a:pt x="14202265" y="2462419"/>
                    </a:lnTo>
                    <a:lnTo>
                      <a:pt x="14216798" y="2433388"/>
                    </a:lnTo>
                    <a:lnTo>
                      <a:pt x="14249444" y="2433388"/>
                    </a:lnTo>
                    <a:lnTo>
                      <a:pt x="14256172" y="2460632"/>
                    </a:lnTo>
                    <a:lnTo>
                      <a:pt x="14250876" y="2498639"/>
                    </a:lnTo>
                    <a:lnTo>
                      <a:pt x="14254879" y="2531322"/>
                    </a:lnTo>
                    <a:lnTo>
                      <a:pt x="14278298" y="2565689"/>
                    </a:lnTo>
                    <a:lnTo>
                      <a:pt x="14277445" y="2599691"/>
                    </a:lnTo>
                    <a:lnTo>
                      <a:pt x="14269836" y="2623815"/>
                    </a:lnTo>
                    <a:lnTo>
                      <a:pt x="14308904" y="2644920"/>
                    </a:lnTo>
                    <a:lnTo>
                      <a:pt x="14336911" y="2640574"/>
                    </a:lnTo>
                    <a:lnTo>
                      <a:pt x="14357012" y="2595682"/>
                    </a:lnTo>
                    <a:lnTo>
                      <a:pt x="14373210" y="2549003"/>
                    </a:lnTo>
                    <a:lnTo>
                      <a:pt x="14389413" y="2502325"/>
                    </a:lnTo>
                    <a:lnTo>
                      <a:pt x="14401800" y="2453291"/>
                    </a:lnTo>
                    <a:lnTo>
                      <a:pt x="14422177" y="2437470"/>
                    </a:lnTo>
                    <a:lnTo>
                      <a:pt x="14453462" y="2442918"/>
                    </a:lnTo>
                    <a:lnTo>
                      <a:pt x="14457967" y="2408849"/>
                    </a:lnTo>
                    <a:lnTo>
                      <a:pt x="14462566" y="2370888"/>
                    </a:lnTo>
                    <a:lnTo>
                      <a:pt x="14480667" y="2347701"/>
                    </a:lnTo>
                    <a:lnTo>
                      <a:pt x="14526450" y="2347504"/>
                    </a:lnTo>
                    <a:lnTo>
                      <a:pt x="14541624" y="2324705"/>
                    </a:lnTo>
                    <a:lnTo>
                      <a:pt x="14544598" y="2294657"/>
                    </a:lnTo>
                    <a:lnTo>
                      <a:pt x="14549484" y="2239538"/>
                    </a:lnTo>
                    <a:lnTo>
                      <a:pt x="14554907" y="2207407"/>
                    </a:lnTo>
                    <a:lnTo>
                      <a:pt x="14569086" y="2179036"/>
                    </a:lnTo>
                    <a:lnTo>
                      <a:pt x="14583259" y="2150671"/>
                    </a:lnTo>
                    <a:lnTo>
                      <a:pt x="14606275" y="2126818"/>
                    </a:lnTo>
                    <a:lnTo>
                      <a:pt x="14643891" y="2085185"/>
                    </a:lnTo>
                    <a:lnTo>
                      <a:pt x="14645249" y="2048457"/>
                    </a:lnTo>
                    <a:lnTo>
                      <a:pt x="14566572" y="1999872"/>
                    </a:lnTo>
                    <a:lnTo>
                      <a:pt x="14548681" y="1984532"/>
                    </a:lnTo>
                    <a:lnTo>
                      <a:pt x="14531634" y="1969885"/>
                    </a:lnTo>
                    <a:lnTo>
                      <a:pt x="14512206" y="1959901"/>
                    </a:lnTo>
                    <a:lnTo>
                      <a:pt x="14494272" y="1946447"/>
                    </a:lnTo>
                    <a:lnTo>
                      <a:pt x="14423752" y="1893524"/>
                    </a:lnTo>
                    <a:lnTo>
                      <a:pt x="14385181" y="1864829"/>
                    </a:lnTo>
                    <a:lnTo>
                      <a:pt x="14343289" y="1843065"/>
                    </a:lnTo>
                    <a:lnTo>
                      <a:pt x="14301391" y="1821316"/>
                    </a:lnTo>
                    <a:lnTo>
                      <a:pt x="14255108" y="1805343"/>
                    </a:lnTo>
                    <a:lnTo>
                      <a:pt x="14167824" y="1776418"/>
                    </a:lnTo>
                    <a:lnTo>
                      <a:pt x="14142046" y="1768286"/>
                    </a:lnTo>
                    <a:lnTo>
                      <a:pt x="14103828" y="1760068"/>
                    </a:lnTo>
                    <a:lnTo>
                      <a:pt x="14076691" y="1764176"/>
                    </a:lnTo>
                    <a:lnTo>
                      <a:pt x="14047019" y="1791810"/>
                    </a:lnTo>
                    <a:lnTo>
                      <a:pt x="14017951" y="1855379"/>
                    </a:lnTo>
                    <a:lnTo>
                      <a:pt x="14004603" y="1893398"/>
                    </a:lnTo>
                    <a:lnTo>
                      <a:pt x="13976586" y="1872657"/>
                    </a:lnTo>
                    <a:lnTo>
                      <a:pt x="13931575" y="1843322"/>
                    </a:lnTo>
                    <a:lnTo>
                      <a:pt x="13895785" y="1838989"/>
                    </a:lnTo>
                    <a:lnTo>
                      <a:pt x="13865278" y="1862896"/>
                    </a:lnTo>
                    <a:lnTo>
                      <a:pt x="13856630" y="1886473"/>
                    </a:lnTo>
                    <a:lnTo>
                      <a:pt x="13850894" y="1911079"/>
                    </a:lnTo>
                    <a:lnTo>
                      <a:pt x="13845155" y="1935684"/>
                    </a:lnTo>
                    <a:lnTo>
                      <a:pt x="13842445" y="1962274"/>
                    </a:lnTo>
                    <a:lnTo>
                      <a:pt x="13838653" y="1985892"/>
                    </a:lnTo>
                    <a:lnTo>
                      <a:pt x="13834867" y="2009501"/>
                    </a:lnTo>
                    <a:lnTo>
                      <a:pt x="13830675" y="2030255"/>
                    </a:lnTo>
                    <a:lnTo>
                      <a:pt x="13816713" y="2061225"/>
                    </a:lnTo>
                    <a:lnTo>
                      <a:pt x="13791044" y="2071579"/>
                    </a:lnTo>
                    <a:lnTo>
                      <a:pt x="13770654" y="2062056"/>
                    </a:lnTo>
                    <a:lnTo>
                      <a:pt x="13772750" y="2026153"/>
                    </a:lnTo>
                    <a:lnTo>
                      <a:pt x="13764252" y="1987033"/>
                    </a:lnTo>
                    <a:lnTo>
                      <a:pt x="13748885" y="1950523"/>
                    </a:lnTo>
                    <a:lnTo>
                      <a:pt x="13733519" y="1914014"/>
                    </a:lnTo>
                    <a:lnTo>
                      <a:pt x="13710819" y="1880557"/>
                    </a:lnTo>
                    <a:lnTo>
                      <a:pt x="13683593" y="1856670"/>
                    </a:lnTo>
                    <a:lnTo>
                      <a:pt x="13643133" y="1832355"/>
                    </a:lnTo>
                    <a:lnTo>
                      <a:pt x="13620053" y="1807512"/>
                    </a:lnTo>
                    <a:lnTo>
                      <a:pt x="13591102" y="1795463"/>
                    </a:lnTo>
                    <a:lnTo>
                      <a:pt x="13556075" y="1780901"/>
                    </a:lnTo>
                    <a:lnTo>
                      <a:pt x="13528278" y="1778349"/>
                    </a:lnTo>
                    <a:lnTo>
                      <a:pt x="13497248" y="1753295"/>
                    </a:lnTo>
                    <a:lnTo>
                      <a:pt x="13475823" y="1768720"/>
                    </a:lnTo>
                    <a:lnTo>
                      <a:pt x="13460865" y="1799308"/>
                    </a:lnTo>
                    <a:lnTo>
                      <a:pt x="13450913" y="1830634"/>
                    </a:lnTo>
                    <a:lnTo>
                      <a:pt x="13437400" y="1849864"/>
                    </a:lnTo>
                    <a:lnTo>
                      <a:pt x="13406351" y="1882134"/>
                    </a:lnTo>
                    <a:lnTo>
                      <a:pt x="13385710" y="1890674"/>
                    </a:lnTo>
                    <a:lnTo>
                      <a:pt x="13365067" y="1899215"/>
                    </a:lnTo>
                    <a:lnTo>
                      <a:pt x="13343226" y="1898793"/>
                    </a:lnTo>
                    <a:lnTo>
                      <a:pt x="13325866" y="1882517"/>
                    </a:lnTo>
                    <a:lnTo>
                      <a:pt x="13331816" y="1832546"/>
                    </a:lnTo>
                    <a:lnTo>
                      <a:pt x="13329949" y="1802262"/>
                    </a:lnTo>
                    <a:lnTo>
                      <a:pt x="13297613" y="1783777"/>
                    </a:lnTo>
                    <a:lnTo>
                      <a:pt x="13275534" y="1779141"/>
                    </a:lnTo>
                    <a:lnTo>
                      <a:pt x="13253455" y="1774498"/>
                    </a:lnTo>
                    <a:lnTo>
                      <a:pt x="13228749" y="1772901"/>
                    </a:lnTo>
                    <a:lnTo>
                      <a:pt x="13204804" y="1770976"/>
                    </a:lnTo>
                    <a:lnTo>
                      <a:pt x="13156918" y="1767119"/>
                    </a:lnTo>
                    <a:lnTo>
                      <a:pt x="13110974" y="1765086"/>
                    </a:lnTo>
                    <a:lnTo>
                      <a:pt x="13097347" y="1747855"/>
                    </a:lnTo>
                    <a:lnTo>
                      <a:pt x="13094209" y="1687260"/>
                    </a:lnTo>
                    <a:lnTo>
                      <a:pt x="13082687" y="1661831"/>
                    </a:lnTo>
                    <a:lnTo>
                      <a:pt x="13047021" y="1652638"/>
                    </a:lnTo>
                    <a:lnTo>
                      <a:pt x="13009978" y="1645680"/>
                    </a:lnTo>
                    <a:lnTo>
                      <a:pt x="12952239" y="1628092"/>
                    </a:lnTo>
                    <a:lnTo>
                      <a:pt x="12911345" y="1611301"/>
                    </a:lnTo>
                    <a:lnTo>
                      <a:pt x="12871559" y="1596870"/>
                    </a:lnTo>
                    <a:lnTo>
                      <a:pt x="12848990" y="1595579"/>
                    </a:lnTo>
                    <a:lnTo>
                      <a:pt x="12834277" y="1611762"/>
                    </a:lnTo>
                    <a:lnTo>
                      <a:pt x="12825307" y="1639038"/>
                    </a:lnTo>
                    <a:lnTo>
                      <a:pt x="12817804" y="1667139"/>
                    </a:lnTo>
                    <a:lnTo>
                      <a:pt x="12815810" y="1699982"/>
                    </a:lnTo>
                    <a:lnTo>
                      <a:pt x="12789892" y="1711925"/>
                    </a:lnTo>
                    <a:lnTo>
                      <a:pt x="12766824" y="1698887"/>
                    </a:lnTo>
                    <a:lnTo>
                      <a:pt x="12752044" y="1678087"/>
                    </a:lnTo>
                    <a:lnTo>
                      <a:pt x="12740788" y="1651675"/>
                    </a:lnTo>
                    <a:lnTo>
                      <a:pt x="12728740" y="1625433"/>
                    </a:lnTo>
                    <a:lnTo>
                      <a:pt x="12714731" y="1603050"/>
                    </a:lnTo>
                    <a:lnTo>
                      <a:pt x="12663447" y="1599588"/>
                    </a:lnTo>
                    <a:lnTo>
                      <a:pt x="12630634" y="1547402"/>
                    </a:lnTo>
                    <a:lnTo>
                      <a:pt x="12604682" y="1511685"/>
                    </a:lnTo>
                    <a:lnTo>
                      <a:pt x="12575037" y="1479890"/>
                    </a:lnTo>
                    <a:lnTo>
                      <a:pt x="12545386" y="1448097"/>
                    </a:lnTo>
                    <a:lnTo>
                      <a:pt x="12511739" y="1420476"/>
                    </a:lnTo>
                    <a:lnTo>
                      <a:pt x="12474380" y="1390120"/>
                    </a:lnTo>
                    <a:lnTo>
                      <a:pt x="12502053" y="1375783"/>
                    </a:lnTo>
                    <a:lnTo>
                      <a:pt x="12524073" y="1365516"/>
                    </a:lnTo>
                    <a:lnTo>
                      <a:pt x="12552549" y="1335832"/>
                    </a:lnTo>
                    <a:lnTo>
                      <a:pt x="12558880" y="1315591"/>
                    </a:lnTo>
                    <a:lnTo>
                      <a:pt x="12555990" y="1282663"/>
                    </a:lnTo>
                    <a:lnTo>
                      <a:pt x="12545452" y="1246213"/>
                    </a:lnTo>
                    <a:lnTo>
                      <a:pt x="12557628" y="1217492"/>
                    </a:lnTo>
                    <a:lnTo>
                      <a:pt x="12596800" y="1217374"/>
                    </a:lnTo>
                    <a:lnTo>
                      <a:pt x="12636798" y="1212909"/>
                    </a:lnTo>
                    <a:lnTo>
                      <a:pt x="12652567" y="1198327"/>
                    </a:lnTo>
                    <a:lnTo>
                      <a:pt x="12648999" y="1138697"/>
                    </a:lnTo>
                    <a:lnTo>
                      <a:pt x="12627059" y="1127801"/>
                    </a:lnTo>
                    <a:lnTo>
                      <a:pt x="12599011" y="1128263"/>
                    </a:lnTo>
                    <a:lnTo>
                      <a:pt x="12572315" y="1124881"/>
                    </a:lnTo>
                    <a:lnTo>
                      <a:pt x="12545610" y="1121498"/>
                    </a:lnTo>
                    <a:lnTo>
                      <a:pt x="12520095" y="1114487"/>
                    </a:lnTo>
                    <a:lnTo>
                      <a:pt x="12499969" y="1078341"/>
                    </a:lnTo>
                    <a:lnTo>
                      <a:pt x="12494106" y="1014659"/>
                    </a:lnTo>
                    <a:lnTo>
                      <a:pt x="12494785" y="990219"/>
                    </a:lnTo>
                    <a:lnTo>
                      <a:pt x="12436255" y="986202"/>
                    </a:lnTo>
                    <a:lnTo>
                      <a:pt x="12381207" y="986922"/>
                    </a:lnTo>
                    <a:lnTo>
                      <a:pt x="12327477" y="984778"/>
                    </a:lnTo>
                    <a:lnTo>
                      <a:pt x="12299786" y="983671"/>
                    </a:lnTo>
                    <a:lnTo>
                      <a:pt x="12261463" y="976680"/>
                    </a:lnTo>
                    <a:lnTo>
                      <a:pt x="12224104" y="971180"/>
                    </a:lnTo>
                    <a:lnTo>
                      <a:pt x="12186748" y="965673"/>
                    </a:lnTo>
                    <a:lnTo>
                      <a:pt x="12150273" y="961847"/>
                    </a:lnTo>
                    <a:lnTo>
                      <a:pt x="12126169" y="967104"/>
                    </a:lnTo>
                    <a:lnTo>
                      <a:pt x="12100198" y="950228"/>
                    </a:lnTo>
                    <a:lnTo>
                      <a:pt x="12070401" y="899091"/>
                    </a:lnTo>
                    <a:lnTo>
                      <a:pt x="12060027" y="878857"/>
                    </a:lnTo>
                    <a:lnTo>
                      <a:pt x="12056288" y="854034"/>
                    </a:lnTo>
                    <a:lnTo>
                      <a:pt x="12045916" y="833801"/>
                    </a:lnTo>
                    <a:lnTo>
                      <a:pt x="12022324" y="787980"/>
                    </a:lnTo>
                    <a:lnTo>
                      <a:pt x="11999541" y="753443"/>
                    </a:lnTo>
                    <a:lnTo>
                      <a:pt x="11972466" y="723626"/>
                    </a:lnTo>
                    <a:lnTo>
                      <a:pt x="11945395" y="693811"/>
                    </a:lnTo>
                    <a:lnTo>
                      <a:pt x="11914597" y="668250"/>
                    </a:lnTo>
                    <a:lnTo>
                      <a:pt x="11873167" y="640656"/>
                    </a:lnTo>
                    <a:lnTo>
                      <a:pt x="11839975" y="616254"/>
                    </a:lnTo>
                    <a:lnTo>
                      <a:pt x="11787225" y="567143"/>
                    </a:lnTo>
                    <a:lnTo>
                      <a:pt x="11745953" y="524336"/>
                    </a:lnTo>
                    <a:lnTo>
                      <a:pt x="11701785" y="486949"/>
                    </a:lnTo>
                    <a:lnTo>
                      <a:pt x="11652464" y="445203"/>
                    </a:lnTo>
                    <a:lnTo>
                      <a:pt x="11591683" y="416166"/>
                    </a:lnTo>
                    <a:lnTo>
                      <a:pt x="11529045" y="390380"/>
                    </a:lnTo>
                    <a:lnTo>
                      <a:pt x="11466401" y="364587"/>
                    </a:lnTo>
                    <a:lnTo>
                      <a:pt x="11401376" y="341696"/>
                    </a:lnTo>
                    <a:lnTo>
                      <a:pt x="11344052" y="312850"/>
                    </a:lnTo>
                    <a:lnTo>
                      <a:pt x="11285950" y="283622"/>
                    </a:lnTo>
                    <a:lnTo>
                      <a:pt x="11234980" y="243689"/>
                    </a:lnTo>
                    <a:lnTo>
                      <a:pt x="11174028" y="220356"/>
                    </a:lnTo>
                    <a:lnTo>
                      <a:pt x="11139854" y="207259"/>
                    </a:lnTo>
                    <a:lnTo>
                      <a:pt x="11100963" y="200565"/>
                    </a:lnTo>
                    <a:lnTo>
                      <a:pt x="11067939" y="187705"/>
                    </a:lnTo>
                    <a:lnTo>
                      <a:pt x="11036480" y="175446"/>
                    </a:lnTo>
                    <a:lnTo>
                      <a:pt x="11001493" y="164438"/>
                    </a:lnTo>
                    <a:lnTo>
                      <a:pt x="10971362" y="149619"/>
                    </a:lnTo>
                    <a:lnTo>
                      <a:pt x="10950020" y="130580"/>
                    </a:lnTo>
                    <a:lnTo>
                      <a:pt x="10917585" y="107992"/>
                    </a:lnTo>
                    <a:lnTo>
                      <a:pt x="10873864" y="79099"/>
                    </a:lnTo>
                    <a:lnTo>
                      <a:pt x="10828542" y="53050"/>
                    </a:lnTo>
                    <a:lnTo>
                      <a:pt x="10783215" y="27000"/>
                    </a:lnTo>
                    <a:lnTo>
                      <a:pt x="10735962" y="4347"/>
                    </a:lnTo>
                    <a:lnTo>
                      <a:pt x="10703403" y="0"/>
                    </a:lnTo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49" name="Poltava¬0" descr="Poltava¬0">
                <a:extLst>
                  <a:ext uri="{FF2B5EF4-FFF2-40B4-BE49-F238E27FC236}">
                    <a16:creationId xmlns:a16="http://schemas.microsoft.com/office/drawing/2014/main" id="{EDB3775E-4E01-4988-B188-823427D3CA59}"/>
                  </a:ext>
                </a:extLst>
              </p:cNvPr>
              <p:cNvSpPr/>
              <p:nvPr/>
            </p:nvSpPr>
            <p:spPr>
              <a:xfrm>
                <a:off x="34762907" y="9622045"/>
                <a:ext cx="11943909" cy="9516530"/>
              </a:xfrm>
              <a:custGeom>
                <a:avLst/>
                <a:gdLst/>
                <a:ahLst/>
                <a:cxnLst/>
                <a:rect l="0" t="0" r="0" b="0"/>
                <a:pathLst>
                  <a:path w="11943911" h="9516532">
                    <a:moveTo>
                      <a:pt x="10216369" y="7272543"/>
                    </a:moveTo>
                    <a:lnTo>
                      <a:pt x="10227317" y="7249856"/>
                    </a:lnTo>
                    <a:lnTo>
                      <a:pt x="10231233" y="7214349"/>
                    </a:lnTo>
                    <a:lnTo>
                      <a:pt x="10227751" y="7153558"/>
                    </a:lnTo>
                    <a:lnTo>
                      <a:pt x="10219107" y="7111923"/>
                    </a:lnTo>
                    <a:lnTo>
                      <a:pt x="10205250" y="7066841"/>
                    </a:lnTo>
                    <a:lnTo>
                      <a:pt x="10189381" y="7033629"/>
                    </a:lnTo>
                    <a:lnTo>
                      <a:pt x="10177010" y="7002297"/>
                    </a:lnTo>
                    <a:lnTo>
                      <a:pt x="10165922" y="6978324"/>
                    </a:lnTo>
                    <a:lnTo>
                      <a:pt x="10144702" y="6945890"/>
                    </a:lnTo>
                    <a:lnTo>
                      <a:pt x="10119587" y="6913543"/>
                    </a:lnTo>
                    <a:lnTo>
                      <a:pt x="10106279" y="6885323"/>
                    </a:lnTo>
                    <a:lnTo>
                      <a:pt x="10094745" y="6851927"/>
                    </a:lnTo>
                    <a:lnTo>
                      <a:pt x="10096057" y="6815338"/>
                    </a:lnTo>
                    <a:lnTo>
                      <a:pt x="10107638" y="6776506"/>
                    </a:lnTo>
                    <a:lnTo>
                      <a:pt x="10122133" y="6737334"/>
                    </a:lnTo>
                    <a:lnTo>
                      <a:pt x="10147703" y="6696260"/>
                    </a:lnTo>
                    <a:lnTo>
                      <a:pt x="10178368" y="6656810"/>
                    </a:lnTo>
                    <a:lnTo>
                      <a:pt x="10239701" y="6577908"/>
                    </a:lnTo>
                    <a:lnTo>
                      <a:pt x="10320251" y="6504599"/>
                    </a:lnTo>
                    <a:lnTo>
                      <a:pt x="10364719" y="6463657"/>
                    </a:lnTo>
                    <a:lnTo>
                      <a:pt x="10385171" y="6457222"/>
                    </a:lnTo>
                    <a:lnTo>
                      <a:pt x="10427333" y="6456859"/>
                    </a:lnTo>
                    <a:lnTo>
                      <a:pt x="10449049" y="6477263"/>
                    </a:lnTo>
                    <a:lnTo>
                      <a:pt x="10464019" y="6506755"/>
                    </a:lnTo>
                    <a:lnTo>
                      <a:pt x="10481695" y="6524872"/>
                    </a:lnTo>
                    <a:lnTo>
                      <a:pt x="10502785" y="6546477"/>
                    </a:lnTo>
                    <a:lnTo>
                      <a:pt x="10529044" y="6566485"/>
                    </a:lnTo>
                    <a:lnTo>
                      <a:pt x="10557864" y="6576556"/>
                    </a:lnTo>
                    <a:lnTo>
                      <a:pt x="10592507" y="6588637"/>
                    </a:lnTo>
                    <a:lnTo>
                      <a:pt x="10663049" y="6596908"/>
                    </a:lnTo>
                    <a:lnTo>
                      <a:pt x="10733330" y="6602401"/>
                    </a:lnTo>
                    <a:lnTo>
                      <a:pt x="10803617" y="6607895"/>
                    </a:lnTo>
                    <a:lnTo>
                      <a:pt x="10872797" y="6610903"/>
                    </a:lnTo>
                    <a:lnTo>
                      <a:pt x="10907434" y="6610560"/>
                    </a:lnTo>
                    <a:lnTo>
                      <a:pt x="10965074" y="6610031"/>
                    </a:lnTo>
                    <a:lnTo>
                      <a:pt x="10999295" y="6592660"/>
                    </a:lnTo>
                    <a:lnTo>
                      <a:pt x="11048895" y="6575198"/>
                    </a:lnTo>
                    <a:lnTo>
                      <a:pt x="11108361" y="6554266"/>
                    </a:lnTo>
                    <a:lnTo>
                      <a:pt x="11167136" y="6522629"/>
                    </a:lnTo>
                    <a:lnTo>
                      <a:pt x="11218925" y="6482704"/>
                    </a:lnTo>
                    <a:lnTo>
                      <a:pt x="11270714" y="6442778"/>
                    </a:lnTo>
                    <a:lnTo>
                      <a:pt x="11315613" y="6395434"/>
                    </a:lnTo>
                    <a:lnTo>
                      <a:pt x="11350864" y="6342601"/>
                    </a:lnTo>
                    <a:lnTo>
                      <a:pt x="11375092" y="6306284"/>
                    </a:lnTo>
                    <a:lnTo>
                      <a:pt x="11390862" y="6263990"/>
                    </a:lnTo>
                    <a:lnTo>
                      <a:pt x="11417511" y="6228345"/>
                    </a:lnTo>
                    <a:lnTo>
                      <a:pt x="11454067" y="6179510"/>
                    </a:lnTo>
                    <a:lnTo>
                      <a:pt x="11492837" y="6132264"/>
                    </a:lnTo>
                    <a:lnTo>
                      <a:pt x="11530410" y="6084167"/>
                    </a:lnTo>
                    <a:lnTo>
                      <a:pt x="11541721" y="6056132"/>
                    </a:lnTo>
                    <a:lnTo>
                      <a:pt x="11540288" y="6034000"/>
                    </a:lnTo>
                    <a:lnTo>
                      <a:pt x="11514088" y="6010713"/>
                    </a:lnTo>
                    <a:lnTo>
                      <a:pt x="11483501" y="5990302"/>
                    </a:lnTo>
                    <a:lnTo>
                      <a:pt x="11475988" y="5968545"/>
                    </a:lnTo>
                    <a:lnTo>
                      <a:pt x="11497243" y="5949822"/>
                    </a:lnTo>
                    <a:lnTo>
                      <a:pt x="11509812" y="5928633"/>
                    </a:lnTo>
                    <a:lnTo>
                      <a:pt x="11514073" y="5900538"/>
                    </a:lnTo>
                    <a:lnTo>
                      <a:pt x="11490952" y="5875840"/>
                    </a:lnTo>
                    <a:lnTo>
                      <a:pt x="11435739" y="5867557"/>
                    </a:lnTo>
                    <a:lnTo>
                      <a:pt x="11407974" y="5850213"/>
                    </a:lnTo>
                    <a:lnTo>
                      <a:pt x="11413415" y="5806687"/>
                    </a:lnTo>
                    <a:lnTo>
                      <a:pt x="11402501" y="5770256"/>
                    </a:lnTo>
                    <a:lnTo>
                      <a:pt x="11369046" y="5751955"/>
                    </a:lnTo>
                    <a:lnTo>
                      <a:pt x="11353574" y="5720993"/>
                    </a:lnTo>
                    <a:lnTo>
                      <a:pt x="11383665" y="5609967"/>
                    </a:lnTo>
                    <a:lnTo>
                      <a:pt x="11405720" y="5584057"/>
                    </a:lnTo>
                    <a:lnTo>
                      <a:pt x="11449801" y="5583844"/>
                    </a:lnTo>
                    <a:lnTo>
                      <a:pt x="11485426" y="5577527"/>
                    </a:lnTo>
                    <a:lnTo>
                      <a:pt x="11514073" y="5559128"/>
                    </a:lnTo>
                    <a:lnTo>
                      <a:pt x="11557034" y="5560136"/>
                    </a:lnTo>
                    <a:lnTo>
                      <a:pt x="11597460" y="5573530"/>
                    </a:lnTo>
                    <a:lnTo>
                      <a:pt x="11637854" y="5587691"/>
                    </a:lnTo>
                    <a:lnTo>
                      <a:pt x="11678249" y="5601856"/>
                    </a:lnTo>
                    <a:lnTo>
                      <a:pt x="11718488" y="5617790"/>
                    </a:lnTo>
                    <a:lnTo>
                      <a:pt x="11760268" y="5623059"/>
                    </a:lnTo>
                    <a:lnTo>
                      <a:pt x="11773266" y="5598736"/>
                    </a:lnTo>
                    <a:lnTo>
                      <a:pt x="11782645" y="5571209"/>
                    </a:lnTo>
                    <a:lnTo>
                      <a:pt x="11798359" y="5555052"/>
                    </a:lnTo>
                    <a:lnTo>
                      <a:pt x="11822841" y="5549775"/>
                    </a:lnTo>
                    <a:lnTo>
                      <a:pt x="11881923" y="5558731"/>
                    </a:lnTo>
                    <a:lnTo>
                      <a:pt x="11908957" y="5539025"/>
                    </a:lnTo>
                    <a:lnTo>
                      <a:pt x="11914774" y="5502299"/>
                    </a:lnTo>
                    <a:lnTo>
                      <a:pt x="11906939" y="5461852"/>
                    </a:lnTo>
                    <a:lnTo>
                      <a:pt x="11886236" y="5444606"/>
                    </a:lnTo>
                    <a:lnTo>
                      <a:pt x="11860926" y="5432630"/>
                    </a:lnTo>
                    <a:lnTo>
                      <a:pt x="11835616" y="5420654"/>
                    </a:lnTo>
                    <a:lnTo>
                      <a:pt x="11805819" y="5414027"/>
                    </a:lnTo>
                    <a:lnTo>
                      <a:pt x="11782038" y="5408143"/>
                    </a:lnTo>
                    <a:lnTo>
                      <a:pt x="11763329" y="5390020"/>
                    </a:lnTo>
                    <a:lnTo>
                      <a:pt x="11773961" y="5352510"/>
                    </a:lnTo>
                    <a:lnTo>
                      <a:pt x="11754833" y="5326531"/>
                    </a:lnTo>
                    <a:lnTo>
                      <a:pt x="11723437" y="5315842"/>
                    </a:lnTo>
                    <a:lnTo>
                      <a:pt x="11700427" y="5314292"/>
                    </a:lnTo>
                    <a:lnTo>
                      <a:pt x="11677408" y="5312741"/>
                    </a:lnTo>
                    <a:lnTo>
                      <a:pt x="11652331" y="5310242"/>
                    </a:lnTo>
                    <a:lnTo>
                      <a:pt x="11633771" y="5297969"/>
                    </a:lnTo>
                    <a:lnTo>
                      <a:pt x="11623173" y="5277387"/>
                    </a:lnTo>
                    <a:lnTo>
                      <a:pt x="11617173" y="5253263"/>
                    </a:lnTo>
                    <a:lnTo>
                      <a:pt x="11624261" y="5232680"/>
                    </a:lnTo>
                    <a:lnTo>
                      <a:pt x="11706349" y="5230471"/>
                    </a:lnTo>
                    <a:lnTo>
                      <a:pt x="11782044" y="5228604"/>
                    </a:lnTo>
                    <a:lnTo>
                      <a:pt x="11819886" y="5227668"/>
                    </a:lnTo>
                    <a:lnTo>
                      <a:pt x="11858393" y="5225438"/>
                    </a:lnTo>
                    <a:lnTo>
                      <a:pt x="11888137" y="5219087"/>
                    </a:lnTo>
                    <a:lnTo>
                      <a:pt x="11917880" y="5212737"/>
                    </a:lnTo>
                    <a:lnTo>
                      <a:pt x="11938995" y="5202633"/>
                    </a:lnTo>
                    <a:lnTo>
                      <a:pt x="11943910" y="5166039"/>
                    </a:lnTo>
                    <a:lnTo>
                      <a:pt x="11910876" y="5115336"/>
                    </a:lnTo>
                    <a:lnTo>
                      <a:pt x="11852734" y="5023410"/>
                    </a:lnTo>
                    <a:lnTo>
                      <a:pt x="11802449" y="4930718"/>
                    </a:lnTo>
                    <a:lnTo>
                      <a:pt x="11777303" y="4884377"/>
                    </a:lnTo>
                    <a:lnTo>
                      <a:pt x="11754042" y="4838443"/>
                    </a:lnTo>
                    <a:lnTo>
                      <a:pt x="11737160" y="4796065"/>
                    </a:lnTo>
                    <a:lnTo>
                      <a:pt x="11720271" y="4753686"/>
                    </a:lnTo>
                    <a:lnTo>
                      <a:pt x="11710200" y="4714657"/>
                    </a:lnTo>
                    <a:lnTo>
                      <a:pt x="11709949" y="4685884"/>
                    </a:lnTo>
                    <a:lnTo>
                      <a:pt x="11722531" y="4665631"/>
                    </a:lnTo>
                    <a:lnTo>
                      <a:pt x="11755224" y="4673241"/>
                    </a:lnTo>
                    <a:lnTo>
                      <a:pt x="11772522" y="4657321"/>
                    </a:lnTo>
                    <a:lnTo>
                      <a:pt x="11759899" y="4542154"/>
                    </a:lnTo>
                    <a:lnTo>
                      <a:pt x="11729845" y="4518689"/>
                    </a:lnTo>
                    <a:lnTo>
                      <a:pt x="11608144" y="4526207"/>
                    </a:lnTo>
                    <a:lnTo>
                      <a:pt x="11582093" y="4526741"/>
                    </a:lnTo>
                    <a:lnTo>
                      <a:pt x="11558240" y="4560448"/>
                    </a:lnTo>
                    <a:lnTo>
                      <a:pt x="11553531" y="4582509"/>
                    </a:lnTo>
                    <a:lnTo>
                      <a:pt x="11548815" y="4604574"/>
                    </a:lnTo>
                    <a:lnTo>
                      <a:pt x="11545664" y="4626687"/>
                    </a:lnTo>
                    <a:lnTo>
                      <a:pt x="11437308" y="4625526"/>
                    </a:lnTo>
                    <a:lnTo>
                      <a:pt x="11354172" y="4579388"/>
                    </a:lnTo>
                    <a:lnTo>
                      <a:pt x="11262445" y="4568909"/>
                    </a:lnTo>
                    <a:lnTo>
                      <a:pt x="11257043" y="4539258"/>
                    </a:lnTo>
                    <a:lnTo>
                      <a:pt x="11258311" y="4493074"/>
                    </a:lnTo>
                    <a:lnTo>
                      <a:pt x="11209344" y="4478196"/>
                    </a:lnTo>
                    <a:lnTo>
                      <a:pt x="11131253" y="4473481"/>
                    </a:lnTo>
                    <a:lnTo>
                      <a:pt x="11096492" y="4454647"/>
                    </a:lnTo>
                    <a:lnTo>
                      <a:pt x="11087271" y="4403985"/>
                    </a:lnTo>
                    <a:lnTo>
                      <a:pt x="11101719" y="4348343"/>
                    </a:lnTo>
                    <a:lnTo>
                      <a:pt x="11085603" y="4299586"/>
                    </a:lnTo>
                    <a:lnTo>
                      <a:pt x="11070769" y="4276068"/>
                    </a:lnTo>
                    <a:lnTo>
                      <a:pt x="11043528" y="4273002"/>
                    </a:lnTo>
                    <a:lnTo>
                      <a:pt x="11016236" y="4260142"/>
                    </a:lnTo>
                    <a:lnTo>
                      <a:pt x="10989593" y="4243900"/>
                    </a:lnTo>
                    <a:lnTo>
                      <a:pt x="10966711" y="4213807"/>
                    </a:lnTo>
                    <a:lnTo>
                      <a:pt x="10956640" y="4193388"/>
                    </a:lnTo>
                    <a:lnTo>
                      <a:pt x="10950947" y="4162209"/>
                    </a:lnTo>
                    <a:lnTo>
                      <a:pt x="10938740" y="4095323"/>
                    </a:lnTo>
                    <a:lnTo>
                      <a:pt x="10931131" y="4038191"/>
                    </a:lnTo>
                    <a:lnTo>
                      <a:pt x="10933262" y="3970416"/>
                    </a:lnTo>
                    <a:lnTo>
                      <a:pt x="10935482" y="3900687"/>
                    </a:lnTo>
                    <a:lnTo>
                      <a:pt x="10948256" y="3849656"/>
                    </a:lnTo>
                    <a:lnTo>
                      <a:pt x="10944148" y="3804474"/>
                    </a:lnTo>
                    <a:lnTo>
                      <a:pt x="10942104" y="3781880"/>
                    </a:lnTo>
                    <a:lnTo>
                      <a:pt x="10935516" y="3761469"/>
                    </a:lnTo>
                    <a:lnTo>
                      <a:pt x="10922385" y="3740543"/>
                    </a:lnTo>
                    <a:lnTo>
                      <a:pt x="10909247" y="3719625"/>
                    </a:lnTo>
                    <a:lnTo>
                      <a:pt x="10888982" y="3697485"/>
                    </a:lnTo>
                    <a:lnTo>
                      <a:pt x="10858447" y="3675254"/>
                    </a:lnTo>
                    <a:lnTo>
                      <a:pt x="10809123" y="3642016"/>
                    </a:lnTo>
                    <a:lnTo>
                      <a:pt x="10788284" y="3639259"/>
                    </a:lnTo>
                    <a:lnTo>
                      <a:pt x="10754519" y="3651406"/>
                    </a:lnTo>
                    <a:lnTo>
                      <a:pt x="10725160" y="3676612"/>
                    </a:lnTo>
                    <a:lnTo>
                      <a:pt x="10686821" y="3696014"/>
                    </a:lnTo>
                    <a:lnTo>
                      <a:pt x="10650345" y="3690217"/>
                    </a:lnTo>
                    <a:lnTo>
                      <a:pt x="10613864" y="3684421"/>
                    </a:lnTo>
                    <a:lnTo>
                      <a:pt x="10563393" y="3665592"/>
                    </a:lnTo>
                    <a:lnTo>
                      <a:pt x="10487115" y="3620846"/>
                    </a:lnTo>
                    <a:lnTo>
                      <a:pt x="10450435" y="3604015"/>
                    </a:lnTo>
                    <a:lnTo>
                      <a:pt x="10429990" y="3593642"/>
                    </a:lnTo>
                    <a:lnTo>
                      <a:pt x="10409545" y="3583275"/>
                    </a:lnTo>
                    <a:lnTo>
                      <a:pt x="10389906" y="3570032"/>
                    </a:lnTo>
                    <a:lnTo>
                      <a:pt x="10384616" y="3542729"/>
                    </a:lnTo>
                    <a:lnTo>
                      <a:pt x="10383742" y="3517471"/>
                    </a:lnTo>
                    <a:lnTo>
                      <a:pt x="10375370" y="3493511"/>
                    </a:lnTo>
                    <a:lnTo>
                      <a:pt x="10320350" y="3471234"/>
                    </a:lnTo>
                    <a:lnTo>
                      <a:pt x="10278142" y="3471412"/>
                    </a:lnTo>
                    <a:lnTo>
                      <a:pt x="10235487" y="3472586"/>
                    </a:lnTo>
                    <a:lnTo>
                      <a:pt x="10192823" y="3473759"/>
                    </a:lnTo>
                    <a:lnTo>
                      <a:pt x="10149238" y="3475283"/>
                    </a:lnTo>
                    <a:lnTo>
                      <a:pt x="10104900" y="3465786"/>
                    </a:lnTo>
                    <a:lnTo>
                      <a:pt x="10071327" y="3458591"/>
                    </a:lnTo>
                    <a:lnTo>
                      <a:pt x="10049061" y="3435687"/>
                    </a:lnTo>
                    <a:lnTo>
                      <a:pt x="10030089" y="3412737"/>
                    </a:lnTo>
                    <a:lnTo>
                      <a:pt x="10011122" y="3389780"/>
                    </a:lnTo>
                    <a:lnTo>
                      <a:pt x="9995492" y="3367014"/>
                    </a:lnTo>
                    <a:lnTo>
                      <a:pt x="9961166" y="3357762"/>
                    </a:lnTo>
                    <a:lnTo>
                      <a:pt x="9923996" y="3352887"/>
                    </a:lnTo>
                    <a:lnTo>
                      <a:pt x="9887508" y="3341868"/>
                    </a:lnTo>
                    <a:lnTo>
                      <a:pt x="9871184" y="3317077"/>
                    </a:lnTo>
                    <a:lnTo>
                      <a:pt x="9849718" y="3276143"/>
                    </a:lnTo>
                    <a:lnTo>
                      <a:pt x="9836944" y="3249512"/>
                    </a:lnTo>
                    <a:lnTo>
                      <a:pt x="9812924" y="3232551"/>
                    </a:lnTo>
                    <a:lnTo>
                      <a:pt x="9782535" y="3227749"/>
                    </a:lnTo>
                    <a:lnTo>
                      <a:pt x="9794683" y="3190745"/>
                    </a:lnTo>
                    <a:lnTo>
                      <a:pt x="9801557" y="3159763"/>
                    </a:lnTo>
                    <a:lnTo>
                      <a:pt x="9769655" y="3040718"/>
                    </a:lnTo>
                    <a:lnTo>
                      <a:pt x="9745222" y="2981443"/>
                    </a:lnTo>
                    <a:lnTo>
                      <a:pt x="9730851" y="2929951"/>
                    </a:lnTo>
                    <a:lnTo>
                      <a:pt x="9709082" y="2883622"/>
                    </a:lnTo>
                    <a:lnTo>
                      <a:pt x="9711125" y="2857433"/>
                    </a:lnTo>
                    <a:lnTo>
                      <a:pt x="9728833" y="2830202"/>
                    </a:lnTo>
                    <a:lnTo>
                      <a:pt x="9753966" y="2802009"/>
                    </a:lnTo>
                    <a:lnTo>
                      <a:pt x="9779112" y="2773810"/>
                    </a:lnTo>
                    <a:lnTo>
                      <a:pt x="9811944" y="2744046"/>
                    </a:lnTo>
                    <a:lnTo>
                      <a:pt x="9845102" y="2714957"/>
                    </a:lnTo>
                    <a:lnTo>
                      <a:pt x="9878269" y="2685860"/>
                    </a:lnTo>
                    <a:lnTo>
                      <a:pt x="9911479" y="2656770"/>
                    </a:lnTo>
                    <a:lnTo>
                      <a:pt x="9937601" y="2627904"/>
                    </a:lnTo>
                    <a:lnTo>
                      <a:pt x="9963718" y="2599031"/>
                    </a:lnTo>
                    <a:lnTo>
                      <a:pt x="9982554" y="2571102"/>
                    </a:lnTo>
                    <a:lnTo>
                      <a:pt x="9986569" y="2543568"/>
                    </a:lnTo>
                    <a:lnTo>
                      <a:pt x="9974672" y="2524087"/>
                    </a:lnTo>
                    <a:lnTo>
                      <a:pt x="9972443" y="2496243"/>
                    </a:lnTo>
                    <a:lnTo>
                      <a:pt x="9972964" y="2468755"/>
                    </a:lnTo>
                    <a:lnTo>
                      <a:pt x="9973491" y="2441275"/>
                    </a:lnTo>
                    <a:lnTo>
                      <a:pt x="9977515" y="2413556"/>
                    </a:lnTo>
                    <a:lnTo>
                      <a:pt x="9975661" y="2392585"/>
                    </a:lnTo>
                    <a:lnTo>
                      <a:pt x="9973748" y="2370465"/>
                    </a:lnTo>
                    <a:lnTo>
                      <a:pt x="9963420" y="2338177"/>
                    </a:lnTo>
                    <a:lnTo>
                      <a:pt x="9957743" y="2305664"/>
                    </a:lnTo>
                    <a:lnTo>
                      <a:pt x="9963420" y="2281051"/>
                    </a:lnTo>
                    <a:lnTo>
                      <a:pt x="9969410" y="2254949"/>
                    </a:lnTo>
                    <a:lnTo>
                      <a:pt x="9987908" y="2223537"/>
                    </a:lnTo>
                    <a:lnTo>
                      <a:pt x="9982461" y="2195357"/>
                    </a:lnTo>
                    <a:lnTo>
                      <a:pt x="9971215" y="2171438"/>
                    </a:lnTo>
                    <a:lnTo>
                      <a:pt x="9952897" y="2145823"/>
                    </a:lnTo>
                    <a:lnTo>
                      <a:pt x="9944376" y="2123269"/>
                    </a:lnTo>
                    <a:lnTo>
                      <a:pt x="9915364" y="2100041"/>
                    </a:lnTo>
                    <a:lnTo>
                      <a:pt x="9888609" y="2087900"/>
                    </a:lnTo>
                    <a:lnTo>
                      <a:pt x="9861854" y="2075758"/>
                    </a:lnTo>
                    <a:lnTo>
                      <a:pt x="9828839" y="2063585"/>
                    </a:lnTo>
                    <a:lnTo>
                      <a:pt x="9794757" y="2052538"/>
                    </a:lnTo>
                    <a:lnTo>
                      <a:pt x="9760673" y="2041492"/>
                    </a:lnTo>
                    <a:lnTo>
                      <a:pt x="9726098" y="2030821"/>
                    </a:lnTo>
                    <a:lnTo>
                      <a:pt x="9695458" y="2022611"/>
                    </a:lnTo>
                    <a:lnTo>
                      <a:pt x="9664830" y="2014406"/>
                    </a:lnTo>
                    <a:lnTo>
                      <a:pt x="9638404" y="2008556"/>
                    </a:lnTo>
                    <a:lnTo>
                      <a:pt x="9601585" y="2000412"/>
                    </a:lnTo>
                    <a:lnTo>
                      <a:pt x="9580408" y="2010080"/>
                    </a:lnTo>
                    <a:lnTo>
                      <a:pt x="9562161" y="2023976"/>
                    </a:lnTo>
                    <a:lnTo>
                      <a:pt x="9543914" y="2037865"/>
                    </a:lnTo>
                    <a:lnTo>
                      <a:pt x="9528836" y="2055881"/>
                    </a:lnTo>
                    <a:lnTo>
                      <a:pt x="9506018" y="2070879"/>
                    </a:lnTo>
                    <a:lnTo>
                      <a:pt x="9480978" y="2092635"/>
                    </a:lnTo>
                    <a:lnTo>
                      <a:pt x="9459305" y="2112090"/>
                    </a:lnTo>
                    <a:lnTo>
                      <a:pt x="9435663" y="2128703"/>
                    </a:lnTo>
                    <a:lnTo>
                      <a:pt x="9412015" y="2145315"/>
                    </a:lnTo>
                    <a:lnTo>
                      <a:pt x="9386525" y="2159435"/>
                    </a:lnTo>
                    <a:lnTo>
                      <a:pt x="9356769" y="2168147"/>
                    </a:lnTo>
                    <a:lnTo>
                      <a:pt x="9310908" y="2132825"/>
                    </a:lnTo>
                    <a:lnTo>
                      <a:pt x="9271924" y="2106088"/>
                    </a:lnTo>
                    <a:lnTo>
                      <a:pt x="9239796" y="2082453"/>
                    </a:lnTo>
                    <a:lnTo>
                      <a:pt x="9218033" y="2079729"/>
                    </a:lnTo>
                    <a:lnTo>
                      <a:pt x="9192779" y="2102382"/>
                    </a:lnTo>
                    <a:lnTo>
                      <a:pt x="9180717" y="2138694"/>
                    </a:lnTo>
                    <a:lnTo>
                      <a:pt x="9178330" y="2160200"/>
                    </a:lnTo>
                    <a:lnTo>
                      <a:pt x="9174507" y="2181746"/>
                    </a:lnTo>
                    <a:lnTo>
                      <a:pt x="9170675" y="2203291"/>
                    </a:lnTo>
                    <a:lnTo>
                      <a:pt x="9164852" y="2224790"/>
                    </a:lnTo>
                    <a:lnTo>
                      <a:pt x="9146074" y="2261122"/>
                    </a:lnTo>
                    <a:lnTo>
                      <a:pt x="9109215" y="2283762"/>
                    </a:lnTo>
                    <a:lnTo>
                      <a:pt x="9071527" y="2278671"/>
                    </a:lnTo>
                    <a:lnTo>
                      <a:pt x="9032649" y="2277992"/>
                    </a:lnTo>
                    <a:lnTo>
                      <a:pt x="8993600" y="2279680"/>
                    </a:lnTo>
                    <a:lnTo>
                      <a:pt x="8953575" y="2281869"/>
                    </a:lnTo>
                    <a:lnTo>
                      <a:pt x="8913921" y="2282924"/>
                    </a:lnTo>
                    <a:lnTo>
                      <a:pt x="8875263" y="2281038"/>
                    </a:lnTo>
                    <a:lnTo>
                      <a:pt x="8850220" y="2273586"/>
                    </a:lnTo>
                    <a:lnTo>
                      <a:pt x="8829567" y="2258563"/>
                    </a:lnTo>
                    <a:lnTo>
                      <a:pt x="8809971" y="2240229"/>
                    </a:lnTo>
                    <a:lnTo>
                      <a:pt x="8789560" y="2223518"/>
                    </a:lnTo>
                    <a:lnTo>
                      <a:pt x="8765093" y="2213428"/>
                    </a:lnTo>
                    <a:lnTo>
                      <a:pt x="8733802" y="2214390"/>
                    </a:lnTo>
                    <a:lnTo>
                      <a:pt x="8701757" y="2220253"/>
                    </a:lnTo>
                    <a:lnTo>
                      <a:pt x="8680751" y="2223907"/>
                    </a:lnTo>
                    <a:lnTo>
                      <a:pt x="8659748" y="2227560"/>
                    </a:lnTo>
                    <a:lnTo>
                      <a:pt x="8637259" y="2232711"/>
                    </a:lnTo>
                    <a:lnTo>
                      <a:pt x="8614104" y="2237512"/>
                    </a:lnTo>
                    <a:lnTo>
                      <a:pt x="8590949" y="2242306"/>
                    </a:lnTo>
                    <a:lnTo>
                      <a:pt x="8567096" y="2247787"/>
                    </a:lnTo>
                    <a:lnTo>
                      <a:pt x="8527808" y="2259875"/>
                    </a:lnTo>
                    <a:lnTo>
                      <a:pt x="8501205" y="2272874"/>
                    </a:lnTo>
                    <a:lnTo>
                      <a:pt x="8473322" y="2292520"/>
                    </a:lnTo>
                    <a:lnTo>
                      <a:pt x="8455807" y="2326286"/>
                    </a:lnTo>
                    <a:lnTo>
                      <a:pt x="8420953" y="2336805"/>
                    </a:lnTo>
                    <a:lnTo>
                      <a:pt x="8397832" y="2309601"/>
                    </a:lnTo>
                    <a:lnTo>
                      <a:pt x="8405989" y="2285121"/>
                    </a:lnTo>
                    <a:lnTo>
                      <a:pt x="8415511" y="2260634"/>
                    </a:lnTo>
                    <a:lnTo>
                      <a:pt x="8419601" y="2234788"/>
                    </a:lnTo>
                    <a:lnTo>
                      <a:pt x="8412801" y="2211666"/>
                    </a:lnTo>
                    <a:lnTo>
                      <a:pt x="8387556" y="2204122"/>
                    </a:lnTo>
                    <a:lnTo>
                      <a:pt x="8363834" y="2203509"/>
                    </a:lnTo>
                    <a:lnTo>
                      <a:pt x="8368844" y="2045811"/>
                    </a:lnTo>
                    <a:lnTo>
                      <a:pt x="8376075" y="2023962"/>
                    </a:lnTo>
                    <a:lnTo>
                      <a:pt x="8433799" y="2024457"/>
                    </a:lnTo>
                    <a:lnTo>
                      <a:pt x="8466119" y="2019755"/>
                    </a:lnTo>
                    <a:lnTo>
                      <a:pt x="8490332" y="2004916"/>
                    </a:lnTo>
                    <a:lnTo>
                      <a:pt x="8514541" y="1990078"/>
                    </a:lnTo>
                    <a:lnTo>
                      <a:pt x="8530183" y="1965466"/>
                    </a:lnTo>
                    <a:lnTo>
                      <a:pt x="8537938" y="1938268"/>
                    </a:lnTo>
                    <a:lnTo>
                      <a:pt x="8545668" y="1911078"/>
                    </a:lnTo>
                    <a:lnTo>
                      <a:pt x="8545872" y="1880985"/>
                    </a:lnTo>
                    <a:lnTo>
                      <a:pt x="8539290" y="1853939"/>
                    </a:lnTo>
                    <a:lnTo>
                      <a:pt x="8532717" y="1826894"/>
                    </a:lnTo>
                    <a:lnTo>
                      <a:pt x="8518643" y="1803046"/>
                    </a:lnTo>
                    <a:lnTo>
                      <a:pt x="8499847" y="1788650"/>
                    </a:lnTo>
                    <a:lnTo>
                      <a:pt x="8477278" y="1773297"/>
                    </a:lnTo>
                    <a:lnTo>
                      <a:pt x="8451670" y="1760476"/>
                    </a:lnTo>
                    <a:lnTo>
                      <a:pt x="8425033" y="1749199"/>
                    </a:lnTo>
                    <a:lnTo>
                      <a:pt x="8396716" y="1739755"/>
                    </a:lnTo>
                    <a:lnTo>
                      <a:pt x="8369030" y="1731445"/>
                    </a:lnTo>
                    <a:lnTo>
                      <a:pt x="8342065" y="1724719"/>
                    </a:lnTo>
                    <a:lnTo>
                      <a:pt x="8335693" y="1690926"/>
                    </a:lnTo>
                    <a:lnTo>
                      <a:pt x="8337975" y="1666228"/>
                    </a:lnTo>
                    <a:lnTo>
                      <a:pt x="8340282" y="1641537"/>
                    </a:lnTo>
                    <a:lnTo>
                      <a:pt x="8341938" y="1617393"/>
                    </a:lnTo>
                    <a:lnTo>
                      <a:pt x="8319911" y="1606340"/>
                    </a:lnTo>
                    <a:lnTo>
                      <a:pt x="8287181" y="1595076"/>
                    </a:lnTo>
                    <a:lnTo>
                      <a:pt x="8278152" y="1503004"/>
                    </a:lnTo>
                    <a:lnTo>
                      <a:pt x="8263908" y="1464365"/>
                    </a:lnTo>
                    <a:lnTo>
                      <a:pt x="8249075" y="1442906"/>
                    </a:lnTo>
                    <a:lnTo>
                      <a:pt x="8227907" y="1434220"/>
                    </a:lnTo>
                    <a:lnTo>
                      <a:pt x="8197109" y="1423721"/>
                    </a:lnTo>
                    <a:lnTo>
                      <a:pt x="8176131" y="1429557"/>
                    </a:lnTo>
                    <a:lnTo>
                      <a:pt x="8159629" y="1444455"/>
                    </a:lnTo>
                    <a:lnTo>
                      <a:pt x="8143860" y="1477284"/>
                    </a:lnTo>
                    <a:lnTo>
                      <a:pt x="8138617" y="1504423"/>
                    </a:lnTo>
                    <a:lnTo>
                      <a:pt x="8112206" y="1516610"/>
                    </a:lnTo>
                    <a:lnTo>
                      <a:pt x="8085054" y="1505709"/>
                    </a:lnTo>
                    <a:lnTo>
                      <a:pt x="8063238" y="1477159"/>
                    </a:lnTo>
                    <a:lnTo>
                      <a:pt x="8047773" y="1445939"/>
                    </a:lnTo>
                    <a:lnTo>
                      <a:pt x="8037035" y="1392712"/>
                    </a:lnTo>
                    <a:lnTo>
                      <a:pt x="8038691" y="1352937"/>
                    </a:lnTo>
                    <a:lnTo>
                      <a:pt x="8037398" y="1316659"/>
                    </a:lnTo>
                    <a:lnTo>
                      <a:pt x="8034049" y="1292661"/>
                    </a:lnTo>
                    <a:lnTo>
                      <a:pt x="8029867" y="1267210"/>
                    </a:lnTo>
                    <a:lnTo>
                      <a:pt x="8027870" y="1240488"/>
                    </a:lnTo>
                    <a:lnTo>
                      <a:pt x="8027870" y="1210837"/>
                    </a:lnTo>
                    <a:lnTo>
                      <a:pt x="8043894" y="1187372"/>
                    </a:lnTo>
                    <a:lnTo>
                      <a:pt x="8059155" y="1162958"/>
                    </a:lnTo>
                    <a:lnTo>
                      <a:pt x="8074416" y="1138544"/>
                    </a:lnTo>
                    <a:lnTo>
                      <a:pt x="8089770" y="1114327"/>
                    </a:lnTo>
                    <a:lnTo>
                      <a:pt x="8089075" y="1085422"/>
                    </a:lnTo>
                    <a:lnTo>
                      <a:pt x="8077758" y="1042786"/>
                    </a:lnTo>
                    <a:lnTo>
                      <a:pt x="8064590" y="1020139"/>
                    </a:lnTo>
                    <a:lnTo>
                      <a:pt x="8051419" y="997486"/>
                    </a:lnTo>
                    <a:lnTo>
                      <a:pt x="8035857" y="976725"/>
                    </a:lnTo>
                    <a:lnTo>
                      <a:pt x="7978388" y="917885"/>
                    </a:lnTo>
                    <a:lnTo>
                      <a:pt x="7916159" y="881758"/>
                    </a:lnTo>
                    <a:lnTo>
                      <a:pt x="7867362" y="837869"/>
                    </a:lnTo>
                    <a:lnTo>
                      <a:pt x="7846709" y="819291"/>
                    </a:lnTo>
                    <a:lnTo>
                      <a:pt x="7831448" y="790115"/>
                    </a:lnTo>
                    <a:lnTo>
                      <a:pt x="7812956" y="769862"/>
                    </a:lnTo>
                    <a:lnTo>
                      <a:pt x="7781293" y="735219"/>
                    </a:lnTo>
                    <a:lnTo>
                      <a:pt x="7745496" y="705529"/>
                    </a:lnTo>
                    <a:lnTo>
                      <a:pt x="7717737" y="667846"/>
                    </a:lnTo>
                    <a:lnTo>
                      <a:pt x="7697701" y="640629"/>
                    </a:lnTo>
                    <a:lnTo>
                      <a:pt x="7679268" y="614183"/>
                    </a:lnTo>
                    <a:lnTo>
                      <a:pt x="7664695" y="586234"/>
                    </a:lnTo>
                    <a:lnTo>
                      <a:pt x="7650113" y="558284"/>
                    </a:lnTo>
                    <a:lnTo>
                      <a:pt x="7638923" y="528423"/>
                    </a:lnTo>
                    <a:lnTo>
                      <a:pt x="7637484" y="493740"/>
                    </a:lnTo>
                    <a:lnTo>
                      <a:pt x="7634880" y="429737"/>
                    </a:lnTo>
                    <a:lnTo>
                      <a:pt x="7632564" y="362937"/>
                    </a:lnTo>
                    <a:lnTo>
                      <a:pt x="7633401" y="296514"/>
                    </a:lnTo>
                    <a:lnTo>
                      <a:pt x="7634219" y="230083"/>
                    </a:lnTo>
                    <a:lnTo>
                      <a:pt x="7639180" y="163698"/>
                    </a:lnTo>
                    <a:lnTo>
                      <a:pt x="7651084" y="100638"/>
                    </a:lnTo>
                    <a:lnTo>
                      <a:pt x="7617244" y="66787"/>
                    </a:lnTo>
                    <a:lnTo>
                      <a:pt x="7531683" y="49594"/>
                    </a:lnTo>
                    <a:lnTo>
                      <a:pt x="7482418" y="21750"/>
                    </a:lnTo>
                    <a:lnTo>
                      <a:pt x="7464481" y="45722"/>
                    </a:lnTo>
                    <a:lnTo>
                      <a:pt x="7467665" y="88061"/>
                    </a:lnTo>
                    <a:lnTo>
                      <a:pt x="7451133" y="116960"/>
                    </a:lnTo>
                    <a:lnTo>
                      <a:pt x="7420623" y="111638"/>
                    </a:lnTo>
                    <a:lnTo>
                      <a:pt x="7380982" y="100533"/>
                    </a:lnTo>
                    <a:lnTo>
                      <a:pt x="7354702" y="97519"/>
                    </a:lnTo>
                    <a:lnTo>
                      <a:pt x="7313752" y="108803"/>
                    </a:lnTo>
                    <a:lnTo>
                      <a:pt x="7290631" y="168651"/>
                    </a:lnTo>
                    <a:lnTo>
                      <a:pt x="7269463" y="175431"/>
                    </a:lnTo>
                    <a:lnTo>
                      <a:pt x="7243279" y="169614"/>
                    </a:lnTo>
                    <a:lnTo>
                      <a:pt x="7219901" y="164576"/>
                    </a:lnTo>
                    <a:lnTo>
                      <a:pt x="7196516" y="159537"/>
                    </a:lnTo>
                    <a:lnTo>
                      <a:pt x="7175544" y="154387"/>
                    </a:lnTo>
                    <a:lnTo>
                      <a:pt x="7155963" y="181577"/>
                    </a:lnTo>
                    <a:lnTo>
                      <a:pt x="7165336" y="210027"/>
                    </a:lnTo>
                    <a:lnTo>
                      <a:pt x="7170933" y="238037"/>
                    </a:lnTo>
                    <a:lnTo>
                      <a:pt x="7175150" y="265596"/>
                    </a:lnTo>
                    <a:lnTo>
                      <a:pt x="7172155" y="292081"/>
                    </a:lnTo>
                    <a:lnTo>
                      <a:pt x="7157309" y="315566"/>
                    </a:lnTo>
                    <a:lnTo>
                      <a:pt x="7118242" y="303365"/>
                    </a:lnTo>
                    <a:lnTo>
                      <a:pt x="7084238" y="269850"/>
                    </a:lnTo>
                    <a:lnTo>
                      <a:pt x="7045769" y="262516"/>
                    </a:lnTo>
                    <a:lnTo>
                      <a:pt x="6983369" y="301730"/>
                    </a:lnTo>
                    <a:lnTo>
                      <a:pt x="6963305" y="328017"/>
                    </a:lnTo>
                    <a:lnTo>
                      <a:pt x="6975019" y="363175"/>
                    </a:lnTo>
                    <a:lnTo>
                      <a:pt x="6986423" y="397593"/>
                    </a:lnTo>
                    <a:lnTo>
                      <a:pt x="6966592" y="421124"/>
                    </a:lnTo>
                    <a:lnTo>
                      <a:pt x="6942361" y="421665"/>
                    </a:lnTo>
                    <a:lnTo>
                      <a:pt x="6917162" y="416185"/>
                    </a:lnTo>
                    <a:lnTo>
                      <a:pt x="6878495" y="395892"/>
                    </a:lnTo>
                    <a:lnTo>
                      <a:pt x="6854121" y="376259"/>
                    </a:lnTo>
                    <a:lnTo>
                      <a:pt x="6788026" y="345625"/>
                    </a:lnTo>
                    <a:lnTo>
                      <a:pt x="6742181" y="329237"/>
                    </a:lnTo>
                    <a:lnTo>
                      <a:pt x="6698891" y="310125"/>
                    </a:lnTo>
                    <a:lnTo>
                      <a:pt x="6655588" y="291013"/>
                    </a:lnTo>
                    <a:lnTo>
                      <a:pt x="6613600" y="268980"/>
                    </a:lnTo>
                    <a:lnTo>
                      <a:pt x="6569664" y="232596"/>
                    </a:lnTo>
                    <a:lnTo>
                      <a:pt x="6547201" y="213985"/>
                    </a:lnTo>
                    <a:lnTo>
                      <a:pt x="6524272" y="189023"/>
                    </a:lnTo>
                    <a:lnTo>
                      <a:pt x="6503023" y="163223"/>
                    </a:lnTo>
                    <a:lnTo>
                      <a:pt x="6481766" y="137424"/>
                    </a:lnTo>
                    <a:lnTo>
                      <a:pt x="6462787" y="109996"/>
                    </a:lnTo>
                    <a:lnTo>
                      <a:pt x="6448614" y="84329"/>
                    </a:lnTo>
                    <a:lnTo>
                      <a:pt x="6407826" y="75393"/>
                    </a:lnTo>
                    <a:lnTo>
                      <a:pt x="6338426" y="98673"/>
                    </a:lnTo>
                    <a:lnTo>
                      <a:pt x="6269063" y="125138"/>
                    </a:lnTo>
                    <a:lnTo>
                      <a:pt x="6199696" y="151603"/>
                    </a:lnTo>
                    <a:lnTo>
                      <a:pt x="6129387" y="181287"/>
                    </a:lnTo>
                    <a:lnTo>
                      <a:pt x="6104480" y="194510"/>
                    </a:lnTo>
                    <a:lnTo>
                      <a:pt x="6073660" y="224431"/>
                    </a:lnTo>
                    <a:lnTo>
                      <a:pt x="6077276" y="252994"/>
                    </a:lnTo>
                    <a:lnTo>
                      <a:pt x="6103628" y="272270"/>
                    </a:lnTo>
                    <a:lnTo>
                      <a:pt x="6200586" y="317861"/>
                    </a:lnTo>
                    <a:lnTo>
                      <a:pt x="6213547" y="347426"/>
                    </a:lnTo>
                    <a:lnTo>
                      <a:pt x="6202623" y="381832"/>
                    </a:lnTo>
                    <a:lnTo>
                      <a:pt x="6153829" y="382300"/>
                    </a:lnTo>
                    <a:lnTo>
                      <a:pt x="6105628" y="375158"/>
                    </a:lnTo>
                    <a:lnTo>
                      <a:pt x="6060951" y="371332"/>
                    </a:lnTo>
                    <a:lnTo>
                      <a:pt x="5971177" y="363175"/>
                    </a:lnTo>
                    <a:lnTo>
                      <a:pt x="5949749" y="362647"/>
                    </a:lnTo>
                    <a:lnTo>
                      <a:pt x="5916774" y="378138"/>
                    </a:lnTo>
                    <a:lnTo>
                      <a:pt x="5890903" y="401564"/>
                    </a:lnTo>
                    <a:lnTo>
                      <a:pt x="5858331" y="441450"/>
                    </a:lnTo>
                    <a:lnTo>
                      <a:pt x="5841197" y="469161"/>
                    </a:lnTo>
                    <a:lnTo>
                      <a:pt x="5816117" y="473349"/>
                    </a:lnTo>
                    <a:lnTo>
                      <a:pt x="5779303" y="469195"/>
                    </a:lnTo>
                    <a:lnTo>
                      <a:pt x="5747919" y="455892"/>
                    </a:lnTo>
                    <a:lnTo>
                      <a:pt x="5718181" y="439346"/>
                    </a:lnTo>
                    <a:lnTo>
                      <a:pt x="5688453" y="422799"/>
                    </a:lnTo>
                    <a:lnTo>
                      <a:pt x="5659528" y="403430"/>
                    </a:lnTo>
                    <a:lnTo>
                      <a:pt x="5628413" y="387655"/>
                    </a:lnTo>
                    <a:lnTo>
                      <a:pt x="5607289" y="376951"/>
                    </a:lnTo>
                    <a:lnTo>
                      <a:pt x="5586199" y="372374"/>
                    </a:lnTo>
                    <a:lnTo>
                      <a:pt x="5564482" y="360451"/>
                    </a:lnTo>
                    <a:lnTo>
                      <a:pt x="5541361" y="347742"/>
                    </a:lnTo>
                    <a:lnTo>
                      <a:pt x="5505351" y="323513"/>
                    </a:lnTo>
                    <a:lnTo>
                      <a:pt x="5478788" y="318290"/>
                    </a:lnTo>
                    <a:lnTo>
                      <a:pt x="5393389" y="301453"/>
                    </a:lnTo>
                    <a:lnTo>
                      <a:pt x="5306681" y="299560"/>
                    </a:lnTo>
                    <a:lnTo>
                      <a:pt x="5221706" y="285644"/>
                    </a:lnTo>
                    <a:lnTo>
                      <a:pt x="5147711" y="273550"/>
                    </a:lnTo>
                    <a:lnTo>
                      <a:pt x="5072298" y="256673"/>
                    </a:lnTo>
                    <a:lnTo>
                      <a:pt x="4998632" y="242118"/>
                    </a:lnTo>
                    <a:lnTo>
                      <a:pt x="4932797" y="229107"/>
                    </a:lnTo>
                    <a:lnTo>
                      <a:pt x="4865185" y="228810"/>
                    </a:lnTo>
                    <a:lnTo>
                      <a:pt x="4797329" y="228513"/>
                    </a:lnTo>
                    <a:lnTo>
                      <a:pt x="4729476" y="228184"/>
                    </a:lnTo>
                    <a:lnTo>
                      <a:pt x="4661328" y="228250"/>
                    </a:lnTo>
                    <a:lnTo>
                      <a:pt x="4594656" y="217632"/>
                    </a:lnTo>
                    <a:lnTo>
                      <a:pt x="4552361" y="210885"/>
                    </a:lnTo>
                    <a:lnTo>
                      <a:pt x="4529048" y="197563"/>
                    </a:lnTo>
                    <a:lnTo>
                      <a:pt x="4507601" y="179546"/>
                    </a:lnTo>
                    <a:lnTo>
                      <a:pt x="4486170" y="161529"/>
                    </a:lnTo>
                    <a:lnTo>
                      <a:pt x="4467883" y="139067"/>
                    </a:lnTo>
                    <a:lnTo>
                      <a:pt x="4438232" y="114256"/>
                    </a:lnTo>
                    <a:lnTo>
                      <a:pt x="4403747" y="107734"/>
                    </a:lnTo>
                    <a:lnTo>
                      <a:pt x="4381106" y="112898"/>
                    </a:lnTo>
                    <a:lnTo>
                      <a:pt x="4358466" y="118055"/>
                    </a:lnTo>
                    <a:lnTo>
                      <a:pt x="4335540" y="124320"/>
                    </a:lnTo>
                    <a:lnTo>
                      <a:pt x="4306655" y="95850"/>
                    </a:lnTo>
                    <a:lnTo>
                      <a:pt x="4297521" y="67057"/>
                    </a:lnTo>
                    <a:lnTo>
                      <a:pt x="4283171" y="43526"/>
                    </a:lnTo>
                    <a:lnTo>
                      <a:pt x="4267144" y="20992"/>
                    </a:lnTo>
                    <a:lnTo>
                      <a:pt x="4244795" y="6212"/>
                    </a:lnTo>
                    <a:lnTo>
                      <a:pt x="4213805" y="1358"/>
                    </a:lnTo>
                    <a:lnTo>
                      <a:pt x="4043775" y="0"/>
                    </a:lnTo>
                    <a:lnTo>
                      <a:pt x="4030005" y="31246"/>
                    </a:lnTo>
                    <a:lnTo>
                      <a:pt x="4024105" y="62889"/>
                    </a:lnTo>
                    <a:lnTo>
                      <a:pt x="4015212" y="93858"/>
                    </a:lnTo>
                    <a:lnTo>
                      <a:pt x="4006323" y="124822"/>
                    </a:lnTo>
                    <a:lnTo>
                      <a:pt x="3995133" y="154043"/>
                    </a:lnTo>
                    <a:lnTo>
                      <a:pt x="3956599" y="179335"/>
                    </a:lnTo>
                    <a:lnTo>
                      <a:pt x="3934538" y="173749"/>
                    </a:lnTo>
                    <a:lnTo>
                      <a:pt x="3907755" y="172747"/>
                    </a:lnTo>
                    <a:lnTo>
                      <a:pt x="3861386" y="179032"/>
                    </a:lnTo>
                    <a:lnTo>
                      <a:pt x="3835351" y="162373"/>
                    </a:lnTo>
                    <a:lnTo>
                      <a:pt x="3816620" y="145549"/>
                    </a:lnTo>
                    <a:lnTo>
                      <a:pt x="3798175" y="128007"/>
                    </a:lnTo>
                    <a:lnTo>
                      <a:pt x="3764000" y="109145"/>
                    </a:lnTo>
                    <a:lnTo>
                      <a:pt x="3736659" y="109244"/>
                    </a:lnTo>
                    <a:lnTo>
                      <a:pt x="3710530" y="115628"/>
                    </a:lnTo>
                    <a:lnTo>
                      <a:pt x="3684399" y="122012"/>
                    </a:lnTo>
                    <a:lnTo>
                      <a:pt x="3658754" y="135604"/>
                    </a:lnTo>
                    <a:lnTo>
                      <a:pt x="3638432" y="149632"/>
                    </a:lnTo>
                    <a:lnTo>
                      <a:pt x="3603988" y="135664"/>
                    </a:lnTo>
                    <a:lnTo>
                      <a:pt x="3584033" y="119704"/>
                    </a:lnTo>
                    <a:lnTo>
                      <a:pt x="3564077" y="103744"/>
                    </a:lnTo>
                    <a:lnTo>
                      <a:pt x="3544686" y="86215"/>
                    </a:lnTo>
                    <a:lnTo>
                      <a:pt x="3520740" y="74588"/>
                    </a:lnTo>
                    <a:lnTo>
                      <a:pt x="3501061" y="66655"/>
                    </a:lnTo>
                    <a:lnTo>
                      <a:pt x="3472492" y="55779"/>
                    </a:lnTo>
                    <a:lnTo>
                      <a:pt x="3472492" y="81618"/>
                    </a:lnTo>
                    <a:lnTo>
                      <a:pt x="3466458" y="108334"/>
                    </a:lnTo>
                    <a:lnTo>
                      <a:pt x="3449827" y="130625"/>
                    </a:lnTo>
                    <a:lnTo>
                      <a:pt x="3431692" y="152349"/>
                    </a:lnTo>
                    <a:lnTo>
                      <a:pt x="3413547" y="174072"/>
                    </a:lnTo>
                    <a:lnTo>
                      <a:pt x="3393902" y="195400"/>
                    </a:lnTo>
                    <a:lnTo>
                      <a:pt x="3379999" y="219004"/>
                    </a:lnTo>
                    <a:lnTo>
                      <a:pt x="3367416" y="240404"/>
                    </a:lnTo>
                    <a:lnTo>
                      <a:pt x="3361038" y="263169"/>
                    </a:lnTo>
                    <a:lnTo>
                      <a:pt x="3354155" y="285651"/>
                    </a:lnTo>
                    <a:lnTo>
                      <a:pt x="3347275" y="308127"/>
                    </a:lnTo>
                    <a:lnTo>
                      <a:pt x="3339809" y="330813"/>
                    </a:lnTo>
                    <a:lnTo>
                      <a:pt x="3321509" y="350941"/>
                    </a:lnTo>
                    <a:lnTo>
                      <a:pt x="3294819" y="369328"/>
                    </a:lnTo>
                    <a:lnTo>
                      <a:pt x="3269487" y="377908"/>
                    </a:lnTo>
                    <a:lnTo>
                      <a:pt x="3246704" y="383586"/>
                    </a:lnTo>
                    <a:lnTo>
                      <a:pt x="3223918" y="389264"/>
                    </a:lnTo>
                    <a:lnTo>
                      <a:pt x="3202682" y="391288"/>
                    </a:lnTo>
                    <a:lnTo>
                      <a:pt x="3165587" y="405811"/>
                    </a:lnTo>
                    <a:lnTo>
                      <a:pt x="3136522" y="440711"/>
                    </a:lnTo>
                    <a:lnTo>
                      <a:pt x="3122541" y="463859"/>
                    </a:lnTo>
                    <a:lnTo>
                      <a:pt x="3110254" y="498917"/>
                    </a:lnTo>
                    <a:lnTo>
                      <a:pt x="3101160" y="552251"/>
                    </a:lnTo>
                    <a:lnTo>
                      <a:pt x="3046282" y="579006"/>
                    </a:lnTo>
                    <a:lnTo>
                      <a:pt x="2983164" y="579982"/>
                    </a:lnTo>
                    <a:lnTo>
                      <a:pt x="2928414" y="610734"/>
                    </a:lnTo>
                    <a:lnTo>
                      <a:pt x="2905891" y="630532"/>
                    </a:lnTo>
                    <a:lnTo>
                      <a:pt x="2891086" y="661673"/>
                    </a:lnTo>
                    <a:lnTo>
                      <a:pt x="2880804" y="699152"/>
                    </a:lnTo>
                    <a:lnTo>
                      <a:pt x="2871571" y="736782"/>
                    </a:lnTo>
                    <a:lnTo>
                      <a:pt x="2865332" y="775904"/>
                    </a:lnTo>
                    <a:lnTo>
                      <a:pt x="2846800" y="798445"/>
                    </a:lnTo>
                    <a:lnTo>
                      <a:pt x="2818113" y="818038"/>
                    </a:lnTo>
                    <a:lnTo>
                      <a:pt x="2785554" y="823809"/>
                    </a:lnTo>
                    <a:lnTo>
                      <a:pt x="2752948" y="825649"/>
                    </a:lnTo>
                    <a:lnTo>
                      <a:pt x="2720343" y="827489"/>
                    </a:lnTo>
                    <a:lnTo>
                      <a:pt x="2686704" y="825912"/>
                    </a:lnTo>
                    <a:lnTo>
                      <a:pt x="2655013" y="831089"/>
                    </a:lnTo>
                    <a:lnTo>
                      <a:pt x="2621183" y="836616"/>
                    </a:lnTo>
                    <a:lnTo>
                      <a:pt x="2582162" y="852404"/>
                    </a:lnTo>
                    <a:lnTo>
                      <a:pt x="2548924" y="862376"/>
                    </a:lnTo>
                    <a:lnTo>
                      <a:pt x="2516699" y="885009"/>
                    </a:lnTo>
                    <a:lnTo>
                      <a:pt x="2479381" y="900777"/>
                    </a:lnTo>
                    <a:lnTo>
                      <a:pt x="2454325" y="907669"/>
                    </a:lnTo>
                    <a:lnTo>
                      <a:pt x="2431942" y="918142"/>
                    </a:lnTo>
                    <a:lnTo>
                      <a:pt x="2409559" y="928615"/>
                    </a:lnTo>
                    <a:lnTo>
                      <a:pt x="2389498" y="943005"/>
                    </a:lnTo>
                    <a:lnTo>
                      <a:pt x="2374816" y="965751"/>
                    </a:lnTo>
                    <a:lnTo>
                      <a:pt x="2366098" y="1001627"/>
                    </a:lnTo>
                    <a:lnTo>
                      <a:pt x="2317335" y="1006797"/>
                    </a:lnTo>
                    <a:lnTo>
                      <a:pt x="2267359" y="1007919"/>
                    </a:lnTo>
                    <a:lnTo>
                      <a:pt x="2217384" y="1009033"/>
                    </a:lnTo>
                    <a:lnTo>
                      <a:pt x="2165852" y="1004904"/>
                    </a:lnTo>
                    <a:lnTo>
                      <a:pt x="2150129" y="985602"/>
                    </a:lnTo>
                    <a:lnTo>
                      <a:pt x="2148514" y="960521"/>
                    </a:lnTo>
                    <a:lnTo>
                      <a:pt x="2113614" y="931365"/>
                    </a:lnTo>
                    <a:lnTo>
                      <a:pt x="2055255" y="932618"/>
                    </a:lnTo>
                    <a:lnTo>
                      <a:pt x="2027966" y="933106"/>
                    </a:lnTo>
                    <a:lnTo>
                      <a:pt x="2011642" y="972550"/>
                    </a:lnTo>
                    <a:lnTo>
                      <a:pt x="1978252" y="988088"/>
                    </a:lnTo>
                    <a:lnTo>
                      <a:pt x="1871905" y="988108"/>
                    </a:lnTo>
                    <a:lnTo>
                      <a:pt x="1764082" y="980708"/>
                    </a:lnTo>
                    <a:lnTo>
                      <a:pt x="1656262" y="973315"/>
                    </a:lnTo>
                    <a:lnTo>
                      <a:pt x="1546727" y="957863"/>
                    </a:lnTo>
                    <a:lnTo>
                      <a:pt x="1511089" y="941264"/>
                    </a:lnTo>
                    <a:lnTo>
                      <a:pt x="1488898" y="912022"/>
                    </a:lnTo>
                    <a:lnTo>
                      <a:pt x="1476592" y="884350"/>
                    </a:lnTo>
                    <a:lnTo>
                      <a:pt x="1471011" y="850307"/>
                    </a:lnTo>
                    <a:lnTo>
                      <a:pt x="1462116" y="817491"/>
                    </a:lnTo>
                    <a:lnTo>
                      <a:pt x="1453226" y="784668"/>
                    </a:lnTo>
                    <a:lnTo>
                      <a:pt x="1440505" y="753837"/>
                    </a:lnTo>
                    <a:lnTo>
                      <a:pt x="1376428" y="737237"/>
                    </a:lnTo>
                    <a:lnTo>
                      <a:pt x="1330093" y="729205"/>
                    </a:lnTo>
                    <a:lnTo>
                      <a:pt x="1309775" y="734514"/>
                    </a:lnTo>
                    <a:lnTo>
                      <a:pt x="1294520" y="751028"/>
                    </a:lnTo>
                    <a:lnTo>
                      <a:pt x="1275901" y="776319"/>
                    </a:lnTo>
                    <a:lnTo>
                      <a:pt x="1254944" y="779715"/>
                    </a:lnTo>
                    <a:lnTo>
                      <a:pt x="1224211" y="804373"/>
                    </a:lnTo>
                    <a:lnTo>
                      <a:pt x="1211799" y="828683"/>
                    </a:lnTo>
                    <a:lnTo>
                      <a:pt x="1190076" y="837889"/>
                    </a:lnTo>
                    <a:lnTo>
                      <a:pt x="1166788" y="818084"/>
                    </a:lnTo>
                    <a:lnTo>
                      <a:pt x="1138476" y="794343"/>
                    </a:lnTo>
                    <a:lnTo>
                      <a:pt x="1118502" y="769816"/>
                    </a:lnTo>
                    <a:lnTo>
                      <a:pt x="1093592" y="742658"/>
                    </a:lnTo>
                    <a:lnTo>
                      <a:pt x="1057827" y="730141"/>
                    </a:lnTo>
                    <a:lnTo>
                      <a:pt x="1017420" y="733135"/>
                    </a:lnTo>
                    <a:lnTo>
                      <a:pt x="952131" y="737211"/>
                    </a:lnTo>
                    <a:lnTo>
                      <a:pt x="938064" y="753237"/>
                    </a:lnTo>
                    <a:lnTo>
                      <a:pt x="922679" y="793743"/>
                    </a:lnTo>
                    <a:lnTo>
                      <a:pt x="913451" y="814167"/>
                    </a:lnTo>
                    <a:lnTo>
                      <a:pt x="879488" y="818493"/>
                    </a:lnTo>
                    <a:lnTo>
                      <a:pt x="858245" y="816930"/>
                    </a:lnTo>
                    <a:lnTo>
                      <a:pt x="817504" y="817992"/>
                    </a:lnTo>
                    <a:lnTo>
                      <a:pt x="779385" y="831069"/>
                    </a:lnTo>
                    <a:lnTo>
                      <a:pt x="754013" y="844141"/>
                    </a:lnTo>
                    <a:lnTo>
                      <a:pt x="731289" y="869742"/>
                    </a:lnTo>
                    <a:lnTo>
                      <a:pt x="710013" y="900435"/>
                    </a:lnTo>
                    <a:lnTo>
                      <a:pt x="688746" y="931128"/>
                    </a:lnTo>
                    <a:lnTo>
                      <a:pt x="668676" y="966635"/>
                    </a:lnTo>
                    <a:lnTo>
                      <a:pt x="647446" y="998369"/>
                    </a:lnTo>
                    <a:lnTo>
                      <a:pt x="626226" y="1030111"/>
                    </a:lnTo>
                    <a:lnTo>
                      <a:pt x="603315" y="1058337"/>
                    </a:lnTo>
                    <a:lnTo>
                      <a:pt x="578077" y="1074540"/>
                    </a:lnTo>
                    <a:lnTo>
                      <a:pt x="553015" y="1088396"/>
                    </a:lnTo>
                    <a:lnTo>
                      <a:pt x="524253" y="1090612"/>
                    </a:lnTo>
                    <a:lnTo>
                      <a:pt x="492389" y="1078622"/>
                    </a:lnTo>
                    <a:lnTo>
                      <a:pt x="459743" y="1037820"/>
                    </a:lnTo>
                    <a:lnTo>
                      <a:pt x="436615" y="1033745"/>
                    </a:lnTo>
                    <a:lnTo>
                      <a:pt x="385998" y="1049025"/>
                    </a:lnTo>
                    <a:lnTo>
                      <a:pt x="345486" y="1048702"/>
                    </a:lnTo>
                    <a:lnTo>
                      <a:pt x="304974" y="1048372"/>
                    </a:lnTo>
                    <a:lnTo>
                      <a:pt x="264105" y="1043683"/>
                    </a:lnTo>
                    <a:lnTo>
                      <a:pt x="240745" y="1047343"/>
                    </a:lnTo>
                    <a:lnTo>
                      <a:pt x="240686" y="1075675"/>
                    </a:lnTo>
                    <a:lnTo>
                      <a:pt x="229428" y="1099086"/>
                    </a:lnTo>
                    <a:lnTo>
                      <a:pt x="216266" y="1122155"/>
                    </a:lnTo>
                    <a:lnTo>
                      <a:pt x="203101" y="1145225"/>
                    </a:lnTo>
                    <a:lnTo>
                      <a:pt x="189127" y="1167786"/>
                    </a:lnTo>
                    <a:lnTo>
                      <a:pt x="183620" y="1194244"/>
                    </a:lnTo>
                    <a:lnTo>
                      <a:pt x="171763" y="1222345"/>
                    </a:lnTo>
                    <a:lnTo>
                      <a:pt x="161218" y="1300040"/>
                    </a:lnTo>
                    <a:lnTo>
                      <a:pt x="140649" y="1329051"/>
                    </a:lnTo>
                    <a:lnTo>
                      <a:pt x="119962" y="1340816"/>
                    </a:lnTo>
                    <a:lnTo>
                      <a:pt x="102009" y="1353386"/>
                    </a:lnTo>
                    <a:lnTo>
                      <a:pt x="84057" y="1365962"/>
                    </a:lnTo>
                    <a:lnTo>
                      <a:pt x="68238" y="1380069"/>
                    </a:lnTo>
                    <a:lnTo>
                      <a:pt x="68005" y="1402353"/>
                    </a:lnTo>
                    <a:lnTo>
                      <a:pt x="89914" y="1411982"/>
                    </a:lnTo>
                    <a:lnTo>
                      <a:pt x="107451" y="1434998"/>
                    </a:lnTo>
                    <a:lnTo>
                      <a:pt x="111209" y="1460659"/>
                    </a:lnTo>
                    <a:lnTo>
                      <a:pt x="95842" y="1502022"/>
                    </a:lnTo>
                    <a:lnTo>
                      <a:pt x="70895" y="1530934"/>
                    </a:lnTo>
                    <a:lnTo>
                      <a:pt x="54400" y="1554696"/>
                    </a:lnTo>
                    <a:lnTo>
                      <a:pt x="39582" y="1580238"/>
                    </a:lnTo>
                    <a:lnTo>
                      <a:pt x="22982" y="1605331"/>
                    </a:lnTo>
                    <a:lnTo>
                      <a:pt x="0" y="1622709"/>
                    </a:lnTo>
                    <a:lnTo>
                      <a:pt x="12238" y="1648554"/>
                    </a:lnTo>
                    <a:lnTo>
                      <a:pt x="41040" y="1636763"/>
                    </a:lnTo>
                    <a:lnTo>
                      <a:pt x="73208" y="1633142"/>
                    </a:lnTo>
                    <a:lnTo>
                      <a:pt x="102009" y="1647189"/>
                    </a:lnTo>
                    <a:lnTo>
                      <a:pt x="113984" y="1667191"/>
                    </a:lnTo>
                    <a:lnTo>
                      <a:pt x="126557" y="1688783"/>
                    </a:lnTo>
                    <a:lnTo>
                      <a:pt x="133294" y="1719284"/>
                    </a:lnTo>
                    <a:lnTo>
                      <a:pt x="137787" y="1750538"/>
                    </a:lnTo>
                    <a:lnTo>
                      <a:pt x="150363" y="1782827"/>
                    </a:lnTo>
                    <a:lnTo>
                      <a:pt x="169199" y="1795218"/>
                    </a:lnTo>
                    <a:lnTo>
                      <a:pt x="186345" y="1807696"/>
                    </a:lnTo>
                    <a:lnTo>
                      <a:pt x="203492" y="1820173"/>
                    </a:lnTo>
                    <a:lnTo>
                      <a:pt x="228513" y="1851222"/>
                    </a:lnTo>
                    <a:lnTo>
                      <a:pt x="232780" y="1883616"/>
                    </a:lnTo>
                    <a:lnTo>
                      <a:pt x="232389" y="1916762"/>
                    </a:lnTo>
                    <a:lnTo>
                      <a:pt x="246193" y="1943715"/>
                    </a:lnTo>
                    <a:lnTo>
                      <a:pt x="267100" y="1963329"/>
                    </a:lnTo>
                    <a:lnTo>
                      <a:pt x="288379" y="1970755"/>
                    </a:lnTo>
                    <a:lnTo>
                      <a:pt x="310118" y="1975002"/>
                    </a:lnTo>
                    <a:lnTo>
                      <a:pt x="331862" y="1979243"/>
                    </a:lnTo>
                    <a:lnTo>
                      <a:pt x="354072" y="1979512"/>
                    </a:lnTo>
                    <a:lnTo>
                      <a:pt x="394026" y="1986813"/>
                    </a:lnTo>
                    <a:lnTo>
                      <a:pt x="427100" y="2011722"/>
                    </a:lnTo>
                    <a:lnTo>
                      <a:pt x="442714" y="2029561"/>
                    </a:lnTo>
                    <a:lnTo>
                      <a:pt x="456499" y="2058777"/>
                    </a:lnTo>
                    <a:lnTo>
                      <a:pt x="465184" y="2105581"/>
                    </a:lnTo>
                    <a:lnTo>
                      <a:pt x="484647" y="2124179"/>
                    </a:lnTo>
                    <a:lnTo>
                      <a:pt x="520145" y="2128802"/>
                    </a:lnTo>
                    <a:lnTo>
                      <a:pt x="552928" y="2102442"/>
                    </a:lnTo>
                    <a:lnTo>
                      <a:pt x="583524" y="2077012"/>
                    </a:lnTo>
                    <a:lnTo>
                      <a:pt x="614108" y="2051582"/>
                    </a:lnTo>
                    <a:lnTo>
                      <a:pt x="643518" y="2026772"/>
                    </a:lnTo>
                    <a:lnTo>
                      <a:pt x="714096" y="2075653"/>
                    </a:lnTo>
                    <a:lnTo>
                      <a:pt x="729019" y="2107216"/>
                    </a:lnTo>
                    <a:lnTo>
                      <a:pt x="732969" y="2151679"/>
                    </a:lnTo>
                    <a:lnTo>
                      <a:pt x="735865" y="2185828"/>
                    </a:lnTo>
                    <a:lnTo>
                      <a:pt x="701347" y="2210189"/>
                    </a:lnTo>
                    <a:lnTo>
                      <a:pt x="571150" y="2258813"/>
                    </a:lnTo>
                    <a:lnTo>
                      <a:pt x="546776" y="2278876"/>
                    </a:lnTo>
                    <a:lnTo>
                      <a:pt x="569925" y="2323292"/>
                    </a:lnTo>
                    <a:lnTo>
                      <a:pt x="593040" y="2377621"/>
                    </a:lnTo>
                    <a:lnTo>
                      <a:pt x="604599" y="2404785"/>
                    </a:lnTo>
                    <a:lnTo>
                      <a:pt x="616524" y="2434231"/>
                    </a:lnTo>
                    <a:lnTo>
                      <a:pt x="624325" y="2464673"/>
                    </a:lnTo>
                    <a:lnTo>
                      <a:pt x="632126" y="2495109"/>
                    </a:lnTo>
                    <a:lnTo>
                      <a:pt x="636163" y="2526599"/>
                    </a:lnTo>
                    <a:lnTo>
                      <a:pt x="632483" y="2557167"/>
                    </a:lnTo>
                    <a:lnTo>
                      <a:pt x="658838" y="2578119"/>
                    </a:lnTo>
                    <a:lnTo>
                      <a:pt x="799790" y="2629256"/>
                    </a:lnTo>
                    <a:lnTo>
                      <a:pt x="822068" y="2637440"/>
                    </a:lnTo>
                    <a:lnTo>
                      <a:pt x="877795" y="2595338"/>
                    </a:lnTo>
                    <a:lnTo>
                      <a:pt x="908605" y="2600693"/>
                    </a:lnTo>
                    <a:lnTo>
                      <a:pt x="946699" y="2678223"/>
                    </a:lnTo>
                    <a:lnTo>
                      <a:pt x="969563" y="2724849"/>
                    </a:lnTo>
                    <a:lnTo>
                      <a:pt x="979764" y="2781578"/>
                    </a:lnTo>
                    <a:lnTo>
                      <a:pt x="995657" y="2830565"/>
                    </a:lnTo>
                    <a:lnTo>
                      <a:pt x="1003421" y="2854525"/>
                    </a:lnTo>
                    <a:lnTo>
                      <a:pt x="1014955" y="2876736"/>
                    </a:lnTo>
                    <a:lnTo>
                      <a:pt x="1029668" y="2895855"/>
                    </a:lnTo>
                    <a:lnTo>
                      <a:pt x="1044367" y="2914973"/>
                    </a:lnTo>
                    <a:lnTo>
                      <a:pt x="1062227" y="2932120"/>
                    </a:lnTo>
                    <a:lnTo>
                      <a:pt x="1081351" y="2947539"/>
                    </a:lnTo>
                    <a:lnTo>
                      <a:pt x="1119597" y="2978383"/>
                    </a:lnTo>
                    <a:lnTo>
                      <a:pt x="1163049" y="3002152"/>
                    </a:lnTo>
                    <a:lnTo>
                      <a:pt x="1203765" y="3025075"/>
                    </a:lnTo>
                    <a:lnTo>
                      <a:pt x="1216779" y="3044860"/>
                    </a:lnTo>
                    <a:lnTo>
                      <a:pt x="1225129" y="3064658"/>
                    </a:lnTo>
                    <a:lnTo>
                      <a:pt x="1220090" y="3109405"/>
                    </a:lnTo>
                    <a:lnTo>
                      <a:pt x="1216100" y="3133885"/>
                    </a:lnTo>
                    <a:lnTo>
                      <a:pt x="1208919" y="3161682"/>
                    </a:lnTo>
                    <a:lnTo>
                      <a:pt x="1201049" y="3189657"/>
                    </a:lnTo>
                    <a:lnTo>
                      <a:pt x="1185301" y="3245603"/>
                    </a:lnTo>
                    <a:lnTo>
                      <a:pt x="1168865" y="3303269"/>
                    </a:lnTo>
                    <a:lnTo>
                      <a:pt x="1176564" y="3337918"/>
                    </a:lnTo>
                    <a:lnTo>
                      <a:pt x="1182427" y="3364231"/>
                    </a:lnTo>
                    <a:lnTo>
                      <a:pt x="1209036" y="3385698"/>
                    </a:lnTo>
                    <a:lnTo>
                      <a:pt x="1217371" y="3414088"/>
                    </a:lnTo>
                    <a:lnTo>
                      <a:pt x="1203173" y="3444848"/>
                    </a:lnTo>
                    <a:lnTo>
                      <a:pt x="1171721" y="3470383"/>
                    </a:lnTo>
                    <a:lnTo>
                      <a:pt x="1142560" y="3487543"/>
                    </a:lnTo>
                    <a:lnTo>
                      <a:pt x="1106730" y="3469051"/>
                    </a:lnTo>
                    <a:lnTo>
                      <a:pt x="1085481" y="3456864"/>
                    </a:lnTo>
                    <a:lnTo>
                      <a:pt x="1063666" y="3463056"/>
                    </a:lnTo>
                    <a:lnTo>
                      <a:pt x="1044637" y="3475058"/>
                    </a:lnTo>
                    <a:lnTo>
                      <a:pt x="1024195" y="3504334"/>
                    </a:lnTo>
                    <a:lnTo>
                      <a:pt x="1017758" y="3531914"/>
                    </a:lnTo>
                    <a:lnTo>
                      <a:pt x="1025587" y="3552826"/>
                    </a:lnTo>
                    <a:lnTo>
                      <a:pt x="1036117" y="3580987"/>
                    </a:lnTo>
                    <a:lnTo>
                      <a:pt x="1052448" y="3605855"/>
                    </a:lnTo>
                    <a:lnTo>
                      <a:pt x="1066388" y="3631720"/>
                    </a:lnTo>
                    <a:lnTo>
                      <a:pt x="1084176" y="3664768"/>
                    </a:lnTo>
                    <a:lnTo>
                      <a:pt x="1126000" y="3737754"/>
                    </a:lnTo>
                    <a:lnTo>
                      <a:pt x="1171123" y="3803102"/>
                    </a:lnTo>
                    <a:lnTo>
                      <a:pt x="1193682" y="3835780"/>
                    </a:lnTo>
                    <a:lnTo>
                      <a:pt x="1217259" y="3865985"/>
                    </a:lnTo>
                    <a:lnTo>
                      <a:pt x="1239134" y="3888796"/>
                    </a:lnTo>
                    <a:lnTo>
                      <a:pt x="1261005" y="3911608"/>
                    </a:lnTo>
                    <a:lnTo>
                      <a:pt x="1281448" y="3927251"/>
                    </a:lnTo>
                    <a:lnTo>
                      <a:pt x="1307037" y="3921843"/>
                    </a:lnTo>
                    <a:lnTo>
                      <a:pt x="1326623" y="3907849"/>
                    </a:lnTo>
                    <a:lnTo>
                      <a:pt x="1346594" y="3899679"/>
                    </a:lnTo>
                    <a:lnTo>
                      <a:pt x="1366549" y="3891507"/>
                    </a:lnTo>
                    <a:lnTo>
                      <a:pt x="1398278" y="3901037"/>
                    </a:lnTo>
                    <a:lnTo>
                      <a:pt x="1425526" y="3930027"/>
                    </a:lnTo>
                    <a:lnTo>
                      <a:pt x="1457790" y="3959968"/>
                    </a:lnTo>
                    <a:lnTo>
                      <a:pt x="1482614" y="3990807"/>
                    </a:lnTo>
                    <a:lnTo>
                      <a:pt x="1498678" y="4030745"/>
                    </a:lnTo>
                    <a:lnTo>
                      <a:pt x="1513892" y="4047938"/>
                    </a:lnTo>
                    <a:lnTo>
                      <a:pt x="1545838" y="4042042"/>
                    </a:lnTo>
                    <a:lnTo>
                      <a:pt x="1569005" y="4023907"/>
                    </a:lnTo>
                    <a:lnTo>
                      <a:pt x="1594145" y="4015294"/>
                    </a:lnTo>
                    <a:lnTo>
                      <a:pt x="1719753" y="4111078"/>
                    </a:lnTo>
                    <a:lnTo>
                      <a:pt x="1738331" y="4124109"/>
                    </a:lnTo>
                    <a:lnTo>
                      <a:pt x="1753828" y="4153662"/>
                    </a:lnTo>
                    <a:lnTo>
                      <a:pt x="1754653" y="4182600"/>
                    </a:lnTo>
                    <a:lnTo>
                      <a:pt x="1755471" y="4211531"/>
                    </a:lnTo>
                    <a:lnTo>
                      <a:pt x="1752278" y="4248318"/>
                    </a:lnTo>
                    <a:lnTo>
                      <a:pt x="1749211" y="4284609"/>
                    </a:lnTo>
                    <a:lnTo>
                      <a:pt x="1743072" y="4357206"/>
                    </a:lnTo>
                    <a:lnTo>
                      <a:pt x="1735262" y="4430462"/>
                    </a:lnTo>
                    <a:lnTo>
                      <a:pt x="1749211" y="4447833"/>
                    </a:lnTo>
                    <a:lnTo>
                      <a:pt x="1802895" y="4478487"/>
                    </a:lnTo>
                    <a:lnTo>
                      <a:pt x="1868482" y="4503349"/>
                    </a:lnTo>
                    <a:lnTo>
                      <a:pt x="1934192" y="4526727"/>
                    </a:lnTo>
                    <a:lnTo>
                      <a:pt x="1999909" y="4550101"/>
                    </a:lnTo>
                    <a:lnTo>
                      <a:pt x="2065666" y="4571646"/>
                    </a:lnTo>
                    <a:lnTo>
                      <a:pt x="2121902" y="4592018"/>
                    </a:lnTo>
                    <a:lnTo>
                      <a:pt x="2155782" y="4604304"/>
                    </a:lnTo>
                    <a:lnTo>
                      <a:pt x="2184134" y="4609995"/>
                    </a:lnTo>
                    <a:lnTo>
                      <a:pt x="2214395" y="4632820"/>
                    </a:lnTo>
                    <a:lnTo>
                      <a:pt x="2225871" y="4658527"/>
                    </a:lnTo>
                    <a:lnTo>
                      <a:pt x="2222243" y="4698024"/>
                    </a:lnTo>
                    <a:lnTo>
                      <a:pt x="2218473" y="4738919"/>
                    </a:lnTo>
                    <a:lnTo>
                      <a:pt x="2214705" y="4779814"/>
                    </a:lnTo>
                    <a:lnTo>
                      <a:pt x="2210808" y="4821897"/>
                    </a:lnTo>
                    <a:lnTo>
                      <a:pt x="2221189" y="4854534"/>
                    </a:lnTo>
                    <a:lnTo>
                      <a:pt x="2227625" y="4874774"/>
                    </a:lnTo>
                    <a:lnTo>
                      <a:pt x="2252477" y="4904859"/>
                    </a:lnTo>
                    <a:lnTo>
                      <a:pt x="2282081" y="4928430"/>
                    </a:lnTo>
                    <a:lnTo>
                      <a:pt x="2332004" y="4959743"/>
                    </a:lnTo>
                    <a:lnTo>
                      <a:pt x="2367496" y="4978697"/>
                    </a:lnTo>
                    <a:lnTo>
                      <a:pt x="2389854" y="5010958"/>
                    </a:lnTo>
                    <a:lnTo>
                      <a:pt x="2392108" y="5059490"/>
                    </a:lnTo>
                    <a:lnTo>
                      <a:pt x="2412203" y="5111293"/>
                    </a:lnTo>
                    <a:lnTo>
                      <a:pt x="2419775" y="5161943"/>
                    </a:lnTo>
                    <a:lnTo>
                      <a:pt x="2423567" y="5187267"/>
                    </a:lnTo>
                    <a:lnTo>
                      <a:pt x="2424742" y="5212855"/>
                    </a:lnTo>
                    <a:lnTo>
                      <a:pt x="2418423" y="5236749"/>
                    </a:lnTo>
                    <a:lnTo>
                      <a:pt x="2412098" y="5260649"/>
                    </a:lnTo>
                    <a:lnTo>
                      <a:pt x="2398942" y="5283593"/>
                    </a:lnTo>
                    <a:lnTo>
                      <a:pt x="2374897" y="5304762"/>
                    </a:lnTo>
                    <a:lnTo>
                      <a:pt x="2335520" y="5320346"/>
                    </a:lnTo>
                    <a:lnTo>
                      <a:pt x="2312324" y="5336049"/>
                    </a:lnTo>
                    <a:lnTo>
                      <a:pt x="2289129" y="5351744"/>
                    </a:lnTo>
                    <a:lnTo>
                      <a:pt x="2267282" y="5370250"/>
                    </a:lnTo>
                    <a:lnTo>
                      <a:pt x="2255066" y="5396939"/>
                    </a:lnTo>
                    <a:lnTo>
                      <a:pt x="2207800" y="5476381"/>
                    </a:lnTo>
                    <a:lnTo>
                      <a:pt x="2146719" y="5547428"/>
                    </a:lnTo>
                    <a:lnTo>
                      <a:pt x="2112374" y="5627127"/>
                    </a:lnTo>
                    <a:lnTo>
                      <a:pt x="2111654" y="5655142"/>
                    </a:lnTo>
                    <a:lnTo>
                      <a:pt x="2133458" y="5704511"/>
                    </a:lnTo>
                    <a:lnTo>
                      <a:pt x="2151822" y="5725062"/>
                    </a:lnTo>
                    <a:lnTo>
                      <a:pt x="2225653" y="5807649"/>
                    </a:lnTo>
                    <a:lnTo>
                      <a:pt x="2291498" y="5888945"/>
                    </a:lnTo>
                    <a:lnTo>
                      <a:pt x="2357208" y="5978062"/>
                    </a:lnTo>
                    <a:lnTo>
                      <a:pt x="2390704" y="6023475"/>
                    </a:lnTo>
                    <a:lnTo>
                      <a:pt x="2404337" y="6088052"/>
                    </a:lnTo>
                    <a:lnTo>
                      <a:pt x="2425217" y="6139920"/>
                    </a:lnTo>
                    <a:lnTo>
                      <a:pt x="2466414" y="6242234"/>
                    </a:lnTo>
                    <a:lnTo>
                      <a:pt x="2501392" y="6323523"/>
                    </a:lnTo>
                    <a:lnTo>
                      <a:pt x="2521797" y="6409244"/>
                    </a:lnTo>
                    <a:lnTo>
                      <a:pt x="2531994" y="6452103"/>
                    </a:lnTo>
                    <a:lnTo>
                      <a:pt x="2538831" y="6496137"/>
                    </a:lnTo>
                    <a:lnTo>
                      <a:pt x="2540837" y="6543905"/>
                    </a:lnTo>
                    <a:lnTo>
                      <a:pt x="2542843" y="6591665"/>
                    </a:lnTo>
                    <a:lnTo>
                      <a:pt x="2540878" y="6642986"/>
                    </a:lnTo>
                    <a:lnTo>
                      <a:pt x="2532674" y="6701688"/>
                    </a:lnTo>
                    <a:lnTo>
                      <a:pt x="2526857" y="6756182"/>
                    </a:lnTo>
                    <a:lnTo>
                      <a:pt x="2558433" y="6780839"/>
                    </a:lnTo>
                    <a:lnTo>
                      <a:pt x="2605692" y="6803494"/>
                    </a:lnTo>
                    <a:lnTo>
                      <a:pt x="2651004" y="6829543"/>
                    </a:lnTo>
                    <a:lnTo>
                      <a:pt x="2696332" y="6855593"/>
                    </a:lnTo>
                    <a:lnTo>
                      <a:pt x="2740056" y="6884486"/>
                    </a:lnTo>
                    <a:lnTo>
                      <a:pt x="2766628" y="6902998"/>
                    </a:lnTo>
                    <a:lnTo>
                      <a:pt x="2789117" y="6923804"/>
                    </a:lnTo>
                    <a:lnTo>
                      <a:pt x="2823970" y="6940930"/>
                    </a:lnTo>
                    <a:lnTo>
                      <a:pt x="2858948" y="6951938"/>
                    </a:lnTo>
                    <a:lnTo>
                      <a:pt x="2890407" y="6964205"/>
                    </a:lnTo>
                    <a:lnTo>
                      <a:pt x="2923428" y="6977065"/>
                    </a:lnTo>
                    <a:lnTo>
                      <a:pt x="2962325" y="6983759"/>
                    </a:lnTo>
                    <a:lnTo>
                      <a:pt x="2996499" y="6996850"/>
                    </a:lnTo>
                    <a:lnTo>
                      <a:pt x="3057457" y="7020181"/>
                    </a:lnTo>
                    <a:lnTo>
                      <a:pt x="3108421" y="7060120"/>
                    </a:lnTo>
                    <a:lnTo>
                      <a:pt x="3166523" y="7089343"/>
                    </a:lnTo>
                    <a:lnTo>
                      <a:pt x="3223844" y="7118196"/>
                    </a:lnTo>
                    <a:lnTo>
                      <a:pt x="3288863" y="7141080"/>
                    </a:lnTo>
                    <a:lnTo>
                      <a:pt x="3351510" y="7166872"/>
                    </a:lnTo>
                    <a:lnTo>
                      <a:pt x="3414155" y="7192666"/>
                    </a:lnTo>
                    <a:lnTo>
                      <a:pt x="3474926" y="7221696"/>
                    </a:lnTo>
                    <a:lnTo>
                      <a:pt x="3524256" y="7263449"/>
                    </a:lnTo>
                    <a:lnTo>
                      <a:pt x="3568421" y="7300828"/>
                    </a:lnTo>
                    <a:lnTo>
                      <a:pt x="3609693" y="7343636"/>
                    </a:lnTo>
                    <a:lnTo>
                      <a:pt x="3652118" y="7383145"/>
                    </a:lnTo>
                    <a:lnTo>
                      <a:pt x="3683530" y="7409071"/>
                    </a:lnTo>
                    <a:lnTo>
                      <a:pt x="3737068" y="7444749"/>
                    </a:lnTo>
                    <a:lnTo>
                      <a:pt x="3767866" y="7470304"/>
                    </a:lnTo>
                    <a:lnTo>
                      <a:pt x="3794938" y="7500120"/>
                    </a:lnTo>
                    <a:lnTo>
                      <a:pt x="3822009" y="7529935"/>
                    </a:lnTo>
                    <a:lnTo>
                      <a:pt x="3844795" y="7564478"/>
                    </a:lnTo>
                    <a:lnTo>
                      <a:pt x="3868390" y="7610300"/>
                    </a:lnTo>
                    <a:lnTo>
                      <a:pt x="3878759" y="7630527"/>
                    </a:lnTo>
                    <a:lnTo>
                      <a:pt x="3882498" y="7655357"/>
                    </a:lnTo>
                    <a:lnTo>
                      <a:pt x="3892873" y="7675590"/>
                    </a:lnTo>
                    <a:lnTo>
                      <a:pt x="3911402" y="7711657"/>
                    </a:lnTo>
                    <a:lnTo>
                      <a:pt x="3948637" y="7743596"/>
                    </a:lnTo>
                    <a:lnTo>
                      <a:pt x="3972734" y="7738347"/>
                    </a:lnTo>
                    <a:lnTo>
                      <a:pt x="4009213" y="7742171"/>
                    </a:lnTo>
                    <a:lnTo>
                      <a:pt x="4046572" y="7747672"/>
                    </a:lnTo>
                    <a:lnTo>
                      <a:pt x="4083934" y="7753179"/>
                    </a:lnTo>
                    <a:lnTo>
                      <a:pt x="4122254" y="7760170"/>
                    </a:lnTo>
                    <a:lnTo>
                      <a:pt x="4149948" y="7761277"/>
                    </a:lnTo>
                    <a:lnTo>
                      <a:pt x="4203675" y="7763421"/>
                    </a:lnTo>
                    <a:lnTo>
                      <a:pt x="4258723" y="7762702"/>
                    </a:lnTo>
                    <a:lnTo>
                      <a:pt x="4317253" y="7766719"/>
                    </a:lnTo>
                    <a:lnTo>
                      <a:pt x="4316574" y="7791159"/>
                    </a:lnTo>
                    <a:lnTo>
                      <a:pt x="4322437" y="7854833"/>
                    </a:lnTo>
                    <a:lnTo>
                      <a:pt x="4329494" y="7878252"/>
                    </a:lnTo>
                    <a:lnTo>
                      <a:pt x="4368087" y="7897996"/>
                    </a:lnTo>
                    <a:lnTo>
                      <a:pt x="4394783" y="7901380"/>
                    </a:lnTo>
                    <a:lnTo>
                      <a:pt x="4421485" y="7904763"/>
                    </a:lnTo>
                    <a:lnTo>
                      <a:pt x="4449533" y="7904295"/>
                    </a:lnTo>
                    <a:lnTo>
                      <a:pt x="4471464" y="7915189"/>
                    </a:lnTo>
                    <a:lnTo>
                      <a:pt x="4482905" y="7960780"/>
                    </a:lnTo>
                    <a:lnTo>
                      <a:pt x="4459269" y="7989409"/>
                    </a:lnTo>
                    <a:lnTo>
                      <a:pt x="4419262" y="7993866"/>
                    </a:lnTo>
                    <a:lnTo>
                      <a:pt x="4380096" y="7993998"/>
                    </a:lnTo>
                    <a:lnTo>
                      <a:pt x="4367923" y="8022713"/>
                    </a:lnTo>
                    <a:lnTo>
                      <a:pt x="4378462" y="8059157"/>
                    </a:lnTo>
                    <a:lnTo>
                      <a:pt x="4381348" y="8092091"/>
                    </a:lnTo>
                    <a:lnTo>
                      <a:pt x="4375017" y="8112330"/>
                    </a:lnTo>
                    <a:lnTo>
                      <a:pt x="4346541" y="8142008"/>
                    </a:lnTo>
                    <a:lnTo>
                      <a:pt x="4324521" y="8152283"/>
                    </a:lnTo>
                    <a:lnTo>
                      <a:pt x="4296848" y="8166614"/>
                    </a:lnTo>
                    <a:lnTo>
                      <a:pt x="4334216" y="8196976"/>
                    </a:lnTo>
                    <a:lnTo>
                      <a:pt x="4367858" y="8224596"/>
                    </a:lnTo>
                    <a:lnTo>
                      <a:pt x="4397509" y="8256390"/>
                    </a:lnTo>
                    <a:lnTo>
                      <a:pt x="4427150" y="8288185"/>
                    </a:lnTo>
                    <a:lnTo>
                      <a:pt x="4453102" y="8323902"/>
                    </a:lnTo>
                    <a:lnTo>
                      <a:pt x="4472313" y="8369288"/>
                    </a:lnTo>
                    <a:lnTo>
                      <a:pt x="4525361" y="8374728"/>
                    </a:lnTo>
                    <a:lnTo>
                      <a:pt x="4544765" y="8389951"/>
                    </a:lnTo>
                    <a:lnTo>
                      <a:pt x="4557651" y="8413909"/>
                    </a:lnTo>
                    <a:lnTo>
                      <a:pt x="4568887" y="8441377"/>
                    </a:lnTo>
                    <a:lnTo>
                      <a:pt x="4579904" y="8466885"/>
                    </a:lnTo>
                    <a:lnTo>
                      <a:pt x="4598684" y="8483875"/>
                    </a:lnTo>
                    <a:lnTo>
                      <a:pt x="4630096" y="8486263"/>
                    </a:lnTo>
                    <a:lnTo>
                      <a:pt x="4640272" y="8443633"/>
                    </a:lnTo>
                    <a:lnTo>
                      <a:pt x="4647785" y="8415532"/>
                    </a:lnTo>
                    <a:lnTo>
                      <a:pt x="4656745" y="8388262"/>
                    </a:lnTo>
                    <a:lnTo>
                      <a:pt x="4671461" y="8372071"/>
                    </a:lnTo>
                    <a:lnTo>
                      <a:pt x="4694027" y="8373364"/>
                    </a:lnTo>
                    <a:lnTo>
                      <a:pt x="4733814" y="8387800"/>
                    </a:lnTo>
                    <a:lnTo>
                      <a:pt x="4774701" y="8404590"/>
                    </a:lnTo>
                    <a:lnTo>
                      <a:pt x="4815083" y="8416890"/>
                    </a:lnTo>
                    <a:lnTo>
                      <a:pt x="4851223" y="8425200"/>
                    </a:lnTo>
                    <a:lnTo>
                      <a:pt x="4887767" y="8433067"/>
                    </a:lnTo>
                    <a:lnTo>
                      <a:pt x="4919824" y="8450900"/>
                    </a:lnTo>
                    <a:lnTo>
                      <a:pt x="4908730" y="8513638"/>
                    </a:lnTo>
                    <a:lnTo>
                      <a:pt x="4933442" y="8541586"/>
                    </a:lnTo>
                    <a:lnTo>
                      <a:pt x="4979389" y="8543617"/>
                    </a:lnTo>
                    <a:lnTo>
                      <a:pt x="5027281" y="8547470"/>
                    </a:lnTo>
                    <a:lnTo>
                      <a:pt x="5051221" y="8549395"/>
                    </a:lnTo>
                    <a:lnTo>
                      <a:pt x="5075926" y="8550990"/>
                    </a:lnTo>
                    <a:lnTo>
                      <a:pt x="5098005" y="8555633"/>
                    </a:lnTo>
                    <a:lnTo>
                      <a:pt x="5120091" y="8560277"/>
                    </a:lnTo>
                    <a:lnTo>
                      <a:pt x="5152411" y="8578756"/>
                    </a:lnTo>
                    <a:lnTo>
                      <a:pt x="5154278" y="8609046"/>
                    </a:lnTo>
                    <a:lnTo>
                      <a:pt x="5144170" y="8643873"/>
                    </a:lnTo>
                    <a:lnTo>
                      <a:pt x="5165694" y="8675285"/>
                    </a:lnTo>
                    <a:lnTo>
                      <a:pt x="5187544" y="8675707"/>
                    </a:lnTo>
                    <a:lnTo>
                      <a:pt x="5208185" y="8667166"/>
                    </a:lnTo>
                    <a:lnTo>
                      <a:pt x="5228828" y="8658633"/>
                    </a:lnTo>
                    <a:lnTo>
                      <a:pt x="5248864" y="8642067"/>
                    </a:lnTo>
                    <a:lnTo>
                      <a:pt x="5273390" y="8607126"/>
                    </a:lnTo>
                    <a:lnTo>
                      <a:pt x="5283334" y="8575801"/>
                    </a:lnTo>
                    <a:lnTo>
                      <a:pt x="5293872" y="8554269"/>
                    </a:lnTo>
                    <a:lnTo>
                      <a:pt x="5310625" y="8534128"/>
                    </a:lnTo>
                    <a:lnTo>
                      <a:pt x="5350746" y="8554849"/>
                    </a:lnTo>
                    <a:lnTo>
                      <a:pt x="5378546" y="8557395"/>
                    </a:lnTo>
                    <a:lnTo>
                      <a:pt x="5413577" y="8571957"/>
                    </a:lnTo>
                    <a:lnTo>
                      <a:pt x="5442521" y="8584005"/>
                    </a:lnTo>
                    <a:lnTo>
                      <a:pt x="5465598" y="8608855"/>
                    </a:lnTo>
                    <a:lnTo>
                      <a:pt x="5489743" y="8626364"/>
                    </a:lnTo>
                    <a:lnTo>
                      <a:pt x="5533293" y="8657051"/>
                    </a:lnTo>
                    <a:lnTo>
                      <a:pt x="5555987" y="8690506"/>
                    </a:lnTo>
                    <a:lnTo>
                      <a:pt x="5571359" y="8727015"/>
                    </a:lnTo>
                    <a:lnTo>
                      <a:pt x="5586720" y="8763525"/>
                    </a:lnTo>
                    <a:lnTo>
                      <a:pt x="5595221" y="8802646"/>
                    </a:lnTo>
                    <a:lnTo>
                      <a:pt x="5593116" y="8838556"/>
                    </a:lnTo>
                    <a:lnTo>
                      <a:pt x="5613521" y="8848078"/>
                    </a:lnTo>
                    <a:lnTo>
                      <a:pt x="5639188" y="8837717"/>
                    </a:lnTo>
                    <a:lnTo>
                      <a:pt x="5653144" y="8806748"/>
                    </a:lnTo>
                    <a:lnTo>
                      <a:pt x="5657339" y="8785993"/>
                    </a:lnTo>
                    <a:lnTo>
                      <a:pt x="5661131" y="8762384"/>
                    </a:lnTo>
                    <a:lnTo>
                      <a:pt x="5664916" y="8738774"/>
                    </a:lnTo>
                    <a:lnTo>
                      <a:pt x="5667633" y="8712184"/>
                    </a:lnTo>
                    <a:lnTo>
                      <a:pt x="5673372" y="8687571"/>
                    </a:lnTo>
                    <a:lnTo>
                      <a:pt x="5679108" y="8662966"/>
                    </a:lnTo>
                    <a:lnTo>
                      <a:pt x="5687752" y="8639396"/>
                    </a:lnTo>
                    <a:lnTo>
                      <a:pt x="5700573" y="8620924"/>
                    </a:lnTo>
                    <a:lnTo>
                      <a:pt x="5754052" y="8619816"/>
                    </a:lnTo>
                    <a:lnTo>
                      <a:pt x="5799063" y="8649150"/>
                    </a:lnTo>
                    <a:lnTo>
                      <a:pt x="5827077" y="8669890"/>
                    </a:lnTo>
                    <a:lnTo>
                      <a:pt x="5840419" y="8631871"/>
                    </a:lnTo>
                    <a:lnTo>
                      <a:pt x="5869496" y="8568302"/>
                    </a:lnTo>
                    <a:lnTo>
                      <a:pt x="5899160" y="8540670"/>
                    </a:lnTo>
                    <a:lnTo>
                      <a:pt x="5926299" y="8536562"/>
                    </a:lnTo>
                    <a:lnTo>
                      <a:pt x="5964523" y="8544778"/>
                    </a:lnTo>
                    <a:lnTo>
                      <a:pt x="5990295" y="8552910"/>
                    </a:lnTo>
                    <a:lnTo>
                      <a:pt x="6077586" y="8581835"/>
                    </a:lnTo>
                    <a:lnTo>
                      <a:pt x="6123868" y="8597801"/>
                    </a:lnTo>
                    <a:lnTo>
                      <a:pt x="6165766" y="8619564"/>
                    </a:lnTo>
                    <a:lnTo>
                      <a:pt x="6207655" y="8641321"/>
                    </a:lnTo>
                    <a:lnTo>
                      <a:pt x="6246230" y="8670016"/>
                    </a:lnTo>
                    <a:lnTo>
                      <a:pt x="6316750" y="8722940"/>
                    </a:lnTo>
                    <a:lnTo>
                      <a:pt x="6334680" y="8736387"/>
                    </a:lnTo>
                    <a:lnTo>
                      <a:pt x="6354108" y="8746378"/>
                    </a:lnTo>
                    <a:lnTo>
                      <a:pt x="6371159" y="8761026"/>
                    </a:lnTo>
                    <a:lnTo>
                      <a:pt x="6389049" y="8776372"/>
                    </a:lnTo>
                    <a:lnTo>
                      <a:pt x="6447387" y="8822529"/>
                    </a:lnTo>
                    <a:lnTo>
                      <a:pt x="6474907" y="8842242"/>
                    </a:lnTo>
                    <a:lnTo>
                      <a:pt x="6531003" y="8880894"/>
                    </a:lnTo>
                    <a:lnTo>
                      <a:pt x="6590147" y="8917444"/>
                    </a:lnTo>
                    <a:lnTo>
                      <a:pt x="6649284" y="8953998"/>
                    </a:lnTo>
                    <a:lnTo>
                      <a:pt x="6711823" y="8987976"/>
                    </a:lnTo>
                    <a:lnTo>
                      <a:pt x="6843437" y="9057373"/>
                    </a:lnTo>
                    <a:lnTo>
                      <a:pt x="6951151" y="9125856"/>
                    </a:lnTo>
                    <a:lnTo>
                      <a:pt x="7062130" y="9189483"/>
                    </a:lnTo>
                    <a:lnTo>
                      <a:pt x="7129215" y="9227997"/>
                    </a:lnTo>
                    <a:lnTo>
                      <a:pt x="7197939" y="9261896"/>
                    </a:lnTo>
                    <a:lnTo>
                      <a:pt x="7263448" y="9303746"/>
                    </a:lnTo>
                    <a:lnTo>
                      <a:pt x="7292305" y="9322193"/>
                    </a:lnTo>
                    <a:lnTo>
                      <a:pt x="7311610" y="9348117"/>
                    </a:lnTo>
                    <a:lnTo>
                      <a:pt x="7336895" y="9370388"/>
                    </a:lnTo>
                    <a:lnTo>
                      <a:pt x="7369752" y="9399359"/>
                    </a:lnTo>
                    <a:lnTo>
                      <a:pt x="7409833" y="9417443"/>
                    </a:lnTo>
                    <a:lnTo>
                      <a:pt x="7442994" y="9443841"/>
                    </a:lnTo>
                    <a:lnTo>
                      <a:pt x="7464927" y="9461291"/>
                    </a:lnTo>
                    <a:lnTo>
                      <a:pt x="7485115" y="9484347"/>
                    </a:lnTo>
                    <a:lnTo>
                      <a:pt x="7505561" y="9503690"/>
                    </a:lnTo>
                    <a:lnTo>
                      <a:pt x="7527159" y="9516531"/>
                    </a:lnTo>
                    <a:lnTo>
                      <a:pt x="7557837" y="9501587"/>
                    </a:lnTo>
                    <a:lnTo>
                      <a:pt x="7574167" y="9485093"/>
                    </a:lnTo>
                    <a:lnTo>
                      <a:pt x="7592613" y="9472412"/>
                    </a:lnTo>
                    <a:lnTo>
                      <a:pt x="7611064" y="9459676"/>
                    </a:lnTo>
                    <a:lnTo>
                      <a:pt x="7632533" y="9452323"/>
                    </a:lnTo>
                    <a:lnTo>
                      <a:pt x="7651102" y="9439766"/>
                    </a:lnTo>
                    <a:lnTo>
                      <a:pt x="7676130" y="9422844"/>
                    </a:lnTo>
                    <a:lnTo>
                      <a:pt x="7706348" y="9398694"/>
                    </a:lnTo>
                    <a:lnTo>
                      <a:pt x="7734074" y="9373112"/>
                    </a:lnTo>
                    <a:lnTo>
                      <a:pt x="7761799" y="9347529"/>
                    </a:lnTo>
                    <a:lnTo>
                      <a:pt x="7787122" y="9319627"/>
                    </a:lnTo>
                    <a:lnTo>
                      <a:pt x="7802085" y="9292858"/>
                    </a:lnTo>
                    <a:lnTo>
                      <a:pt x="7794132" y="9260029"/>
                    </a:lnTo>
                    <a:lnTo>
                      <a:pt x="7740663" y="9231315"/>
                    </a:lnTo>
                    <a:lnTo>
                      <a:pt x="7722078" y="9209973"/>
                    </a:lnTo>
                    <a:lnTo>
                      <a:pt x="7723219" y="9181326"/>
                    </a:lnTo>
                    <a:lnTo>
                      <a:pt x="7724478" y="9154569"/>
                    </a:lnTo>
                    <a:lnTo>
                      <a:pt x="7735457" y="9125558"/>
                    </a:lnTo>
                    <a:lnTo>
                      <a:pt x="7750612" y="9105543"/>
                    </a:lnTo>
                    <a:lnTo>
                      <a:pt x="7766546" y="9091167"/>
                    </a:lnTo>
                    <a:lnTo>
                      <a:pt x="7780344" y="9072509"/>
                    </a:lnTo>
                    <a:lnTo>
                      <a:pt x="7790743" y="9047357"/>
                    </a:lnTo>
                    <a:lnTo>
                      <a:pt x="7791224" y="9023543"/>
                    </a:lnTo>
                    <a:lnTo>
                      <a:pt x="7822332" y="9031660"/>
                    </a:lnTo>
                    <a:lnTo>
                      <a:pt x="7851205" y="9034299"/>
                    </a:lnTo>
                    <a:lnTo>
                      <a:pt x="7872837" y="9005710"/>
                    </a:lnTo>
                    <a:lnTo>
                      <a:pt x="7860596" y="8910644"/>
                    </a:lnTo>
                    <a:lnTo>
                      <a:pt x="7863340" y="8888881"/>
                    </a:lnTo>
                    <a:lnTo>
                      <a:pt x="7862745" y="8864908"/>
                    </a:lnTo>
                    <a:lnTo>
                      <a:pt x="7849608" y="8844385"/>
                    </a:lnTo>
                    <a:lnTo>
                      <a:pt x="7833414" y="8826308"/>
                    </a:lnTo>
                    <a:lnTo>
                      <a:pt x="7817216" y="8808238"/>
                    </a:lnTo>
                    <a:lnTo>
                      <a:pt x="7797127" y="8792049"/>
                    </a:lnTo>
                    <a:lnTo>
                      <a:pt x="7781727" y="8777347"/>
                    </a:lnTo>
                    <a:lnTo>
                      <a:pt x="7765024" y="8761382"/>
                    </a:lnTo>
                    <a:lnTo>
                      <a:pt x="7746182" y="8749141"/>
                    </a:lnTo>
                    <a:lnTo>
                      <a:pt x="7730037" y="8731097"/>
                    </a:lnTo>
                    <a:lnTo>
                      <a:pt x="7713511" y="8678728"/>
                    </a:lnTo>
                    <a:lnTo>
                      <a:pt x="7716438" y="8641327"/>
                    </a:lnTo>
                    <a:lnTo>
                      <a:pt x="7719352" y="8603922"/>
                    </a:lnTo>
                    <a:lnTo>
                      <a:pt x="7727386" y="8566442"/>
                    </a:lnTo>
                    <a:lnTo>
                      <a:pt x="7744138" y="8525997"/>
                    </a:lnTo>
                    <a:lnTo>
                      <a:pt x="7760361" y="8502505"/>
                    </a:lnTo>
                    <a:lnTo>
                      <a:pt x="7769483" y="8478097"/>
                    </a:lnTo>
                    <a:lnTo>
                      <a:pt x="7785413" y="8435461"/>
                    </a:lnTo>
                    <a:lnTo>
                      <a:pt x="7796262" y="8398055"/>
                    </a:lnTo>
                    <a:lnTo>
                      <a:pt x="7807567" y="8365206"/>
                    </a:lnTo>
                    <a:lnTo>
                      <a:pt x="7818878" y="8332349"/>
                    </a:lnTo>
                    <a:lnTo>
                      <a:pt x="7831296" y="8304374"/>
                    </a:lnTo>
                    <a:lnTo>
                      <a:pt x="7847016" y="8282228"/>
                    </a:lnTo>
                    <a:lnTo>
                      <a:pt x="7862726" y="8260090"/>
                    </a:lnTo>
                    <a:lnTo>
                      <a:pt x="7881786" y="8243787"/>
                    </a:lnTo>
                    <a:lnTo>
                      <a:pt x="7910941" y="8233269"/>
                    </a:lnTo>
                    <a:lnTo>
                      <a:pt x="7940092" y="8222742"/>
                    </a:lnTo>
                    <a:lnTo>
                      <a:pt x="7979042" y="8217645"/>
                    </a:lnTo>
                    <a:lnTo>
                      <a:pt x="8030639" y="8219663"/>
                    </a:lnTo>
                    <a:lnTo>
                      <a:pt x="8049159" y="8203407"/>
                    </a:lnTo>
                    <a:lnTo>
                      <a:pt x="8058364" y="8176071"/>
                    </a:lnTo>
                    <a:lnTo>
                      <a:pt x="8055121" y="8151650"/>
                    </a:lnTo>
                    <a:lnTo>
                      <a:pt x="8034716" y="8143491"/>
                    </a:lnTo>
                    <a:lnTo>
                      <a:pt x="7997986" y="8151650"/>
                    </a:lnTo>
                    <a:lnTo>
                      <a:pt x="7960720" y="8135690"/>
                    </a:lnTo>
                    <a:lnTo>
                      <a:pt x="7964295" y="8093397"/>
                    </a:lnTo>
                    <a:lnTo>
                      <a:pt x="7981290" y="8072709"/>
                    </a:lnTo>
                    <a:lnTo>
                      <a:pt x="8003428" y="8052357"/>
                    </a:lnTo>
                    <a:lnTo>
                      <a:pt x="8025569" y="8032005"/>
                    </a:lnTo>
                    <a:lnTo>
                      <a:pt x="8052606" y="8011811"/>
                    </a:lnTo>
                    <a:lnTo>
                      <a:pt x="8079600" y="7989790"/>
                    </a:lnTo>
                    <a:lnTo>
                      <a:pt x="8106594" y="7967770"/>
                    </a:lnTo>
                    <a:lnTo>
                      <a:pt x="8132735" y="7944220"/>
                    </a:lnTo>
                    <a:lnTo>
                      <a:pt x="8153053" y="7916338"/>
                    </a:lnTo>
                    <a:lnTo>
                      <a:pt x="8173365" y="7888454"/>
                    </a:lnTo>
                    <a:lnTo>
                      <a:pt x="8187671" y="7856357"/>
                    </a:lnTo>
                    <a:lnTo>
                      <a:pt x="8189773" y="7818403"/>
                    </a:lnTo>
                    <a:lnTo>
                      <a:pt x="8165294" y="7754472"/>
                    </a:lnTo>
                    <a:lnTo>
                      <a:pt x="8178555" y="7729523"/>
                    </a:lnTo>
                    <a:lnTo>
                      <a:pt x="8227439" y="7725645"/>
                    </a:lnTo>
                    <a:lnTo>
                      <a:pt x="8253323" y="7746875"/>
                    </a:lnTo>
                    <a:lnTo>
                      <a:pt x="8287714" y="7759913"/>
                    </a:lnTo>
                    <a:lnTo>
                      <a:pt x="8310606" y="7768598"/>
                    </a:lnTo>
                    <a:lnTo>
                      <a:pt x="8331532" y="7771243"/>
                    </a:lnTo>
                    <a:lnTo>
                      <a:pt x="8369030" y="7767629"/>
                    </a:lnTo>
                    <a:lnTo>
                      <a:pt x="8401971" y="7753113"/>
                    </a:lnTo>
                    <a:lnTo>
                      <a:pt x="8434769" y="7735986"/>
                    </a:lnTo>
                    <a:lnTo>
                      <a:pt x="8465691" y="7709659"/>
                    </a:lnTo>
                    <a:lnTo>
                      <a:pt x="8499906" y="7687823"/>
                    </a:lnTo>
                    <a:lnTo>
                      <a:pt x="8542918" y="7660369"/>
                    </a:lnTo>
                    <a:lnTo>
                      <a:pt x="8586233" y="7628766"/>
                    </a:lnTo>
                    <a:lnTo>
                      <a:pt x="8630484" y="7603495"/>
                    </a:lnTo>
                    <a:lnTo>
                      <a:pt x="8681483" y="7574379"/>
                    </a:lnTo>
                    <a:lnTo>
                      <a:pt x="8738825" y="7558412"/>
                    </a:lnTo>
                    <a:lnTo>
                      <a:pt x="8789628" y="7531400"/>
                    </a:lnTo>
                    <a:lnTo>
                      <a:pt x="8813896" y="7518500"/>
                    </a:lnTo>
                    <a:lnTo>
                      <a:pt x="8833669" y="7492767"/>
                    </a:lnTo>
                    <a:lnTo>
                      <a:pt x="8861717" y="7483797"/>
                    </a:lnTo>
                    <a:lnTo>
                      <a:pt x="8901113" y="7471188"/>
                    </a:lnTo>
                    <a:lnTo>
                      <a:pt x="8938270" y="7476444"/>
                    </a:lnTo>
                    <a:lnTo>
                      <a:pt x="8977331" y="7472915"/>
                    </a:lnTo>
                    <a:lnTo>
                      <a:pt x="9031567" y="7467982"/>
                    </a:lnTo>
                    <a:lnTo>
                      <a:pt x="9078714" y="7438207"/>
                    </a:lnTo>
                    <a:lnTo>
                      <a:pt x="9131040" y="7423949"/>
                    </a:lnTo>
                    <a:lnTo>
                      <a:pt x="9165608" y="7414511"/>
                    </a:lnTo>
                    <a:lnTo>
                      <a:pt x="9202620" y="7409334"/>
                    </a:lnTo>
                    <a:lnTo>
                      <a:pt x="9238491" y="7402185"/>
                    </a:lnTo>
                    <a:lnTo>
                      <a:pt x="9274364" y="7395030"/>
                    </a:lnTo>
                    <a:lnTo>
                      <a:pt x="9309668" y="7387004"/>
                    </a:lnTo>
                    <a:lnTo>
                      <a:pt x="9341864" y="7369540"/>
                    </a:lnTo>
                    <a:lnTo>
                      <a:pt x="9365587" y="7350389"/>
                    </a:lnTo>
                    <a:lnTo>
                      <a:pt x="9375267" y="7328837"/>
                    </a:lnTo>
                    <a:lnTo>
                      <a:pt x="9382674" y="7304251"/>
                    </a:lnTo>
                    <a:lnTo>
                      <a:pt x="9397690" y="7279776"/>
                    </a:lnTo>
                    <a:lnTo>
                      <a:pt x="9416669" y="7266165"/>
                    </a:lnTo>
                    <a:lnTo>
                      <a:pt x="9435669" y="7252547"/>
                    </a:lnTo>
                    <a:lnTo>
                      <a:pt x="9465453" y="7237405"/>
                    </a:lnTo>
                    <a:lnTo>
                      <a:pt x="9510530" y="7222639"/>
                    </a:lnTo>
                    <a:lnTo>
                      <a:pt x="9543405" y="7224848"/>
                    </a:lnTo>
                    <a:lnTo>
                      <a:pt x="9575596" y="7239469"/>
                    </a:lnTo>
                    <a:lnTo>
                      <a:pt x="9608462" y="7241678"/>
                    </a:lnTo>
                    <a:lnTo>
                      <a:pt x="9647188" y="7196642"/>
                    </a:lnTo>
                    <a:lnTo>
                      <a:pt x="9663035" y="7180609"/>
                    </a:lnTo>
                    <a:lnTo>
                      <a:pt x="9699976" y="7191379"/>
                    </a:lnTo>
                    <a:lnTo>
                      <a:pt x="9736324" y="7206316"/>
                    </a:lnTo>
                    <a:lnTo>
                      <a:pt x="9772669" y="7221247"/>
                    </a:lnTo>
                    <a:lnTo>
                      <a:pt x="9809715" y="7241084"/>
                    </a:lnTo>
                    <a:lnTo>
                      <a:pt x="9817931" y="7275682"/>
                    </a:lnTo>
                    <a:lnTo>
                      <a:pt x="9799926" y="7286821"/>
                    </a:lnTo>
                    <a:lnTo>
                      <a:pt x="9774405" y="7308327"/>
                    </a:lnTo>
                    <a:lnTo>
                      <a:pt x="9759870" y="7336415"/>
                    </a:lnTo>
                    <a:lnTo>
                      <a:pt x="9762164" y="7358658"/>
                    </a:lnTo>
                    <a:lnTo>
                      <a:pt x="9775605" y="7379631"/>
                    </a:lnTo>
                    <a:lnTo>
                      <a:pt x="9801312" y="7394892"/>
                    </a:lnTo>
                    <a:lnTo>
                      <a:pt x="9837800" y="7396183"/>
                    </a:lnTo>
                    <a:lnTo>
                      <a:pt x="9868257" y="7383139"/>
                    </a:lnTo>
                    <a:lnTo>
                      <a:pt x="9891378" y="7360393"/>
                    </a:lnTo>
                    <a:lnTo>
                      <a:pt x="9911783" y="7314374"/>
                    </a:lnTo>
                    <a:lnTo>
                      <a:pt x="9915528" y="7274521"/>
                    </a:lnTo>
                    <a:lnTo>
                      <a:pt x="9922663" y="7238962"/>
                    </a:lnTo>
                    <a:lnTo>
                      <a:pt x="9929462" y="7218557"/>
                    </a:lnTo>
                    <a:lnTo>
                      <a:pt x="9959944" y="7184547"/>
                    </a:lnTo>
                    <a:lnTo>
                      <a:pt x="9983971" y="7178083"/>
                    </a:lnTo>
                    <a:lnTo>
                      <a:pt x="10008351" y="7179113"/>
                    </a:lnTo>
                    <a:lnTo>
                      <a:pt x="10032746" y="7180141"/>
                    </a:lnTo>
                    <a:lnTo>
                      <a:pt x="10057141" y="7189401"/>
                    </a:lnTo>
                    <a:lnTo>
                      <a:pt x="10081807" y="7200876"/>
                    </a:lnTo>
                    <a:lnTo>
                      <a:pt x="10130523" y="7223536"/>
                    </a:lnTo>
                    <a:lnTo>
                      <a:pt x="10176864" y="7259254"/>
                    </a:lnTo>
                    <a:lnTo>
                      <a:pt x="10208310" y="7282488"/>
                    </a:lnTo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50" name="Kharkiv¬0" descr="Kharkiv¬0">
                <a:extLst>
                  <a:ext uri="{FF2B5EF4-FFF2-40B4-BE49-F238E27FC236}">
                    <a16:creationId xmlns:a16="http://schemas.microsoft.com/office/drawing/2014/main" id="{B8EC50FF-6CA2-4D28-BD36-5FE8F6FD13B5}"/>
                  </a:ext>
                </a:extLst>
              </p:cNvPr>
              <p:cNvSpPr/>
              <p:nvPr/>
            </p:nvSpPr>
            <p:spPr>
              <a:xfrm>
                <a:off x="44472062" y="10196760"/>
                <a:ext cx="11359154" cy="10065773"/>
              </a:xfrm>
              <a:custGeom>
                <a:avLst/>
                <a:gdLst/>
                <a:ahLst/>
                <a:cxnLst/>
                <a:rect l="0" t="0" r="0" b="0"/>
                <a:pathLst>
                  <a:path w="11359155" h="10065770">
                    <a:moveTo>
                      <a:pt x="2980546" y="499801"/>
                    </a:moveTo>
                    <a:lnTo>
                      <a:pt x="2980066" y="526108"/>
                    </a:lnTo>
                    <a:lnTo>
                      <a:pt x="2971446" y="560151"/>
                    </a:lnTo>
                    <a:lnTo>
                      <a:pt x="2958383" y="588246"/>
                    </a:lnTo>
                    <a:lnTo>
                      <a:pt x="2934692" y="619585"/>
                    </a:lnTo>
                    <a:lnTo>
                      <a:pt x="2908610" y="638518"/>
                    </a:lnTo>
                    <a:lnTo>
                      <a:pt x="2880847" y="646736"/>
                    </a:lnTo>
                    <a:lnTo>
                      <a:pt x="2850430" y="649822"/>
                    </a:lnTo>
                    <a:lnTo>
                      <a:pt x="2818773" y="646373"/>
                    </a:lnTo>
                    <a:lnTo>
                      <a:pt x="2785634" y="638571"/>
                    </a:lnTo>
                    <a:lnTo>
                      <a:pt x="2753075" y="627881"/>
                    </a:lnTo>
                    <a:lnTo>
                      <a:pt x="2720261" y="616617"/>
                    </a:lnTo>
                    <a:lnTo>
                      <a:pt x="2687702" y="607285"/>
                    </a:lnTo>
                    <a:lnTo>
                      <a:pt x="2656250" y="597314"/>
                    </a:lnTo>
                    <a:lnTo>
                      <a:pt x="2626664" y="592776"/>
                    </a:lnTo>
                    <a:lnTo>
                      <a:pt x="2600647" y="595045"/>
                    </a:lnTo>
                    <a:lnTo>
                      <a:pt x="2580065" y="610662"/>
                    </a:lnTo>
                    <a:lnTo>
                      <a:pt x="2564100" y="628396"/>
                    </a:lnTo>
                    <a:lnTo>
                      <a:pt x="2547599" y="642654"/>
                    </a:lnTo>
                    <a:lnTo>
                      <a:pt x="2515232" y="657835"/>
                    </a:lnTo>
                    <a:lnTo>
                      <a:pt x="2476593" y="660117"/>
                    </a:lnTo>
                    <a:lnTo>
                      <a:pt x="2455561" y="657644"/>
                    </a:lnTo>
                    <a:lnTo>
                      <a:pt x="2434701" y="653535"/>
                    </a:lnTo>
                    <a:lnTo>
                      <a:pt x="2392982" y="645318"/>
                    </a:lnTo>
                    <a:lnTo>
                      <a:pt x="2350727" y="629840"/>
                    </a:lnTo>
                    <a:lnTo>
                      <a:pt x="2320444" y="622249"/>
                    </a:lnTo>
                    <a:lnTo>
                      <a:pt x="2295965" y="623608"/>
                    </a:lnTo>
                    <a:lnTo>
                      <a:pt x="2274202" y="634489"/>
                    </a:lnTo>
                    <a:lnTo>
                      <a:pt x="2290576" y="661832"/>
                    </a:lnTo>
                    <a:lnTo>
                      <a:pt x="2308203" y="678015"/>
                    </a:lnTo>
                    <a:lnTo>
                      <a:pt x="2325833" y="694206"/>
                    </a:lnTo>
                    <a:lnTo>
                      <a:pt x="2343388" y="712593"/>
                    </a:lnTo>
                    <a:lnTo>
                      <a:pt x="2342207" y="733782"/>
                    </a:lnTo>
                    <a:lnTo>
                      <a:pt x="2314733" y="748099"/>
                    </a:lnTo>
                    <a:lnTo>
                      <a:pt x="2289072" y="735661"/>
                    </a:lnTo>
                    <a:lnTo>
                      <a:pt x="2257877" y="714742"/>
                    </a:lnTo>
                    <a:lnTo>
                      <a:pt x="2226685" y="693824"/>
                    </a:lnTo>
                    <a:lnTo>
                      <a:pt x="2189286" y="664304"/>
                    </a:lnTo>
                    <a:lnTo>
                      <a:pt x="2150420" y="637213"/>
                    </a:lnTo>
                    <a:lnTo>
                      <a:pt x="2111551" y="610115"/>
                    </a:lnTo>
                    <a:lnTo>
                      <a:pt x="2070344" y="585647"/>
                    </a:lnTo>
                    <a:lnTo>
                      <a:pt x="2032083" y="570558"/>
                    </a:lnTo>
                    <a:lnTo>
                      <a:pt x="1995096" y="558094"/>
                    </a:lnTo>
                    <a:lnTo>
                      <a:pt x="1960258" y="555825"/>
                    </a:lnTo>
                    <a:lnTo>
                      <a:pt x="1928707" y="565118"/>
                    </a:lnTo>
                    <a:lnTo>
                      <a:pt x="1917365" y="594999"/>
                    </a:lnTo>
                    <a:lnTo>
                      <a:pt x="1920543" y="631772"/>
                    </a:lnTo>
                    <a:lnTo>
                      <a:pt x="1927004" y="669726"/>
                    </a:lnTo>
                    <a:lnTo>
                      <a:pt x="1930403" y="708068"/>
                    </a:lnTo>
                    <a:lnTo>
                      <a:pt x="1926009" y="743305"/>
                    </a:lnTo>
                    <a:lnTo>
                      <a:pt x="1913129" y="773543"/>
                    </a:lnTo>
                    <a:lnTo>
                      <a:pt x="1880663" y="783521"/>
                    </a:lnTo>
                    <a:lnTo>
                      <a:pt x="1845750" y="769151"/>
                    </a:lnTo>
                    <a:lnTo>
                      <a:pt x="1811356" y="747572"/>
                    </a:lnTo>
                    <a:lnTo>
                      <a:pt x="1776775" y="725433"/>
                    </a:lnTo>
                    <a:lnTo>
                      <a:pt x="1742374" y="707943"/>
                    </a:lnTo>
                    <a:lnTo>
                      <a:pt x="1710962" y="697926"/>
                    </a:lnTo>
                    <a:lnTo>
                      <a:pt x="1686101" y="712362"/>
                    </a:lnTo>
                    <a:lnTo>
                      <a:pt x="1664831" y="726184"/>
                    </a:lnTo>
                    <a:lnTo>
                      <a:pt x="1645806" y="740588"/>
                    </a:lnTo>
                    <a:lnTo>
                      <a:pt x="1626778" y="754985"/>
                    </a:lnTo>
                    <a:lnTo>
                      <a:pt x="1608801" y="769903"/>
                    </a:lnTo>
                    <a:lnTo>
                      <a:pt x="1653970" y="835799"/>
                    </a:lnTo>
                    <a:lnTo>
                      <a:pt x="1613160" y="883407"/>
                    </a:lnTo>
                    <a:lnTo>
                      <a:pt x="1579413" y="872803"/>
                    </a:lnTo>
                    <a:lnTo>
                      <a:pt x="1545149" y="858921"/>
                    </a:lnTo>
                    <a:lnTo>
                      <a:pt x="1521193" y="851600"/>
                    </a:lnTo>
                    <a:lnTo>
                      <a:pt x="1489388" y="846680"/>
                    </a:lnTo>
                    <a:lnTo>
                      <a:pt x="1460258" y="857727"/>
                    </a:lnTo>
                    <a:lnTo>
                      <a:pt x="1444494" y="879325"/>
                    </a:lnTo>
                    <a:lnTo>
                      <a:pt x="1424527" y="910631"/>
                    </a:lnTo>
                    <a:lnTo>
                      <a:pt x="1423637" y="941172"/>
                    </a:lnTo>
                    <a:lnTo>
                      <a:pt x="1434479" y="963937"/>
                    </a:lnTo>
                    <a:lnTo>
                      <a:pt x="1443130" y="986782"/>
                    </a:lnTo>
                    <a:lnTo>
                      <a:pt x="1451771" y="1009627"/>
                    </a:lnTo>
                    <a:lnTo>
                      <a:pt x="1457653" y="1032307"/>
                    </a:lnTo>
                    <a:lnTo>
                      <a:pt x="1433549" y="1059735"/>
                    </a:lnTo>
                    <a:lnTo>
                      <a:pt x="1405064" y="1076552"/>
                    </a:lnTo>
                    <a:lnTo>
                      <a:pt x="1374272" y="1090830"/>
                    </a:lnTo>
                    <a:lnTo>
                      <a:pt x="1341924" y="1103658"/>
                    </a:lnTo>
                    <a:lnTo>
                      <a:pt x="1316654" y="1117361"/>
                    </a:lnTo>
                    <a:lnTo>
                      <a:pt x="1289918" y="1126937"/>
                    </a:lnTo>
                    <a:lnTo>
                      <a:pt x="1256803" y="1124530"/>
                    </a:lnTo>
                    <a:lnTo>
                      <a:pt x="1239124" y="1107839"/>
                    </a:lnTo>
                    <a:lnTo>
                      <a:pt x="1223271" y="1088575"/>
                    </a:lnTo>
                    <a:lnTo>
                      <a:pt x="1168393" y="1058871"/>
                    </a:lnTo>
                    <a:lnTo>
                      <a:pt x="1123503" y="1035749"/>
                    </a:lnTo>
                    <a:lnTo>
                      <a:pt x="1060936" y="1026227"/>
                    </a:lnTo>
                    <a:lnTo>
                      <a:pt x="1037347" y="1022863"/>
                    </a:lnTo>
                    <a:lnTo>
                      <a:pt x="1013671" y="1020469"/>
                    </a:lnTo>
                    <a:lnTo>
                      <a:pt x="990206" y="1027585"/>
                    </a:lnTo>
                    <a:lnTo>
                      <a:pt x="967156" y="1034576"/>
                    </a:lnTo>
                    <a:lnTo>
                      <a:pt x="941238" y="1064312"/>
                    </a:lnTo>
                    <a:lnTo>
                      <a:pt x="924600" y="1100834"/>
                    </a:lnTo>
                    <a:lnTo>
                      <a:pt x="919475" y="1121437"/>
                    </a:lnTo>
                    <a:lnTo>
                      <a:pt x="914350" y="1142040"/>
                    </a:lnTo>
                    <a:lnTo>
                      <a:pt x="910691" y="1162728"/>
                    </a:lnTo>
                    <a:lnTo>
                      <a:pt x="898338" y="1202568"/>
                    </a:lnTo>
                    <a:lnTo>
                      <a:pt x="875949" y="1235694"/>
                    </a:lnTo>
                    <a:lnTo>
                      <a:pt x="836795" y="1212625"/>
                    </a:lnTo>
                    <a:lnTo>
                      <a:pt x="819537" y="1195465"/>
                    </a:lnTo>
                    <a:lnTo>
                      <a:pt x="793625" y="1175265"/>
                    </a:lnTo>
                    <a:lnTo>
                      <a:pt x="767813" y="1176234"/>
                    </a:lnTo>
                    <a:lnTo>
                      <a:pt x="746729" y="1190803"/>
                    </a:lnTo>
                    <a:lnTo>
                      <a:pt x="719801" y="1209460"/>
                    </a:lnTo>
                    <a:lnTo>
                      <a:pt x="697762" y="1219371"/>
                    </a:lnTo>
                    <a:lnTo>
                      <a:pt x="676895" y="1227905"/>
                    </a:lnTo>
                    <a:lnTo>
                      <a:pt x="656068" y="1240752"/>
                    </a:lnTo>
                    <a:lnTo>
                      <a:pt x="646078" y="1261532"/>
                    </a:lnTo>
                    <a:lnTo>
                      <a:pt x="659010" y="1293010"/>
                    </a:lnTo>
                    <a:lnTo>
                      <a:pt x="676678" y="1322555"/>
                    </a:lnTo>
                    <a:lnTo>
                      <a:pt x="690962" y="1355391"/>
                    </a:lnTo>
                    <a:lnTo>
                      <a:pt x="683648" y="1377973"/>
                    </a:lnTo>
                    <a:lnTo>
                      <a:pt x="671072" y="1408982"/>
                    </a:lnTo>
                    <a:lnTo>
                      <a:pt x="656958" y="1426122"/>
                    </a:lnTo>
                    <a:lnTo>
                      <a:pt x="605209" y="1409799"/>
                    </a:lnTo>
                    <a:lnTo>
                      <a:pt x="572622" y="1386671"/>
                    </a:lnTo>
                    <a:lnTo>
                      <a:pt x="540038" y="1363549"/>
                    </a:lnTo>
                    <a:lnTo>
                      <a:pt x="509984" y="1337915"/>
                    </a:lnTo>
                    <a:lnTo>
                      <a:pt x="495185" y="1316508"/>
                    </a:lnTo>
                    <a:lnTo>
                      <a:pt x="488887" y="1295602"/>
                    </a:lnTo>
                    <a:lnTo>
                      <a:pt x="454291" y="1295536"/>
                    </a:lnTo>
                    <a:lnTo>
                      <a:pt x="435319" y="1335805"/>
                    </a:lnTo>
                    <a:lnTo>
                      <a:pt x="427087" y="1364907"/>
                    </a:lnTo>
                    <a:lnTo>
                      <a:pt x="419379" y="1394268"/>
                    </a:lnTo>
                    <a:lnTo>
                      <a:pt x="413025" y="1419870"/>
                    </a:lnTo>
                    <a:lnTo>
                      <a:pt x="403860" y="1453135"/>
                    </a:lnTo>
                    <a:lnTo>
                      <a:pt x="380835" y="1477799"/>
                    </a:lnTo>
                    <a:lnTo>
                      <a:pt x="350772" y="1496021"/>
                    </a:lnTo>
                    <a:lnTo>
                      <a:pt x="315686" y="1511268"/>
                    </a:lnTo>
                    <a:lnTo>
                      <a:pt x="280184" y="1525408"/>
                    </a:lnTo>
                    <a:lnTo>
                      <a:pt x="251404" y="1538308"/>
                    </a:lnTo>
                    <a:lnTo>
                      <a:pt x="234503" y="1557703"/>
                    </a:lnTo>
                    <a:lnTo>
                      <a:pt x="252973" y="1583898"/>
                    </a:lnTo>
                    <a:lnTo>
                      <a:pt x="271012" y="1608358"/>
                    </a:lnTo>
                    <a:lnTo>
                      <a:pt x="278820" y="1648799"/>
                    </a:lnTo>
                    <a:lnTo>
                      <a:pt x="260322" y="1680217"/>
                    </a:lnTo>
                    <a:lnTo>
                      <a:pt x="254341" y="1706313"/>
                    </a:lnTo>
                    <a:lnTo>
                      <a:pt x="248654" y="1730925"/>
                    </a:lnTo>
                    <a:lnTo>
                      <a:pt x="254341" y="1763444"/>
                    </a:lnTo>
                    <a:lnTo>
                      <a:pt x="264662" y="1795726"/>
                    </a:lnTo>
                    <a:lnTo>
                      <a:pt x="266572" y="1817853"/>
                    </a:lnTo>
                    <a:lnTo>
                      <a:pt x="268402" y="1838817"/>
                    </a:lnTo>
                    <a:lnTo>
                      <a:pt x="264352" y="1866536"/>
                    </a:lnTo>
                    <a:lnTo>
                      <a:pt x="263875" y="1894023"/>
                    </a:lnTo>
                    <a:lnTo>
                      <a:pt x="263348" y="1921504"/>
                    </a:lnTo>
                    <a:lnTo>
                      <a:pt x="265571" y="1949355"/>
                    </a:lnTo>
                    <a:lnTo>
                      <a:pt x="277480" y="1968830"/>
                    </a:lnTo>
                    <a:lnTo>
                      <a:pt x="273477" y="1996363"/>
                    </a:lnTo>
                    <a:lnTo>
                      <a:pt x="254629" y="2024293"/>
                    </a:lnTo>
                    <a:lnTo>
                      <a:pt x="228513" y="2053165"/>
                    </a:lnTo>
                    <a:lnTo>
                      <a:pt x="202393" y="2082037"/>
                    </a:lnTo>
                    <a:lnTo>
                      <a:pt x="169180" y="2111121"/>
                    </a:lnTo>
                    <a:lnTo>
                      <a:pt x="136022" y="2140217"/>
                    </a:lnTo>
                    <a:lnTo>
                      <a:pt x="102855" y="2169308"/>
                    </a:lnTo>
                    <a:lnTo>
                      <a:pt x="70026" y="2199070"/>
                    </a:lnTo>
                    <a:lnTo>
                      <a:pt x="44880" y="2227270"/>
                    </a:lnTo>
                    <a:lnTo>
                      <a:pt x="19753" y="2255470"/>
                    </a:lnTo>
                    <a:lnTo>
                      <a:pt x="2052" y="2282701"/>
                    </a:lnTo>
                    <a:lnTo>
                      <a:pt x="0" y="2308882"/>
                    </a:lnTo>
                    <a:lnTo>
                      <a:pt x="21763" y="2355211"/>
                    </a:lnTo>
                    <a:lnTo>
                      <a:pt x="36140" y="2406711"/>
                    </a:lnTo>
                    <a:lnTo>
                      <a:pt x="55767" y="2454425"/>
                    </a:lnTo>
                    <a:lnTo>
                      <a:pt x="92493" y="2585024"/>
                    </a:lnTo>
                    <a:lnTo>
                      <a:pt x="85597" y="2616008"/>
                    </a:lnTo>
                    <a:lnTo>
                      <a:pt x="72683" y="2633055"/>
                    </a:lnTo>
                    <a:lnTo>
                      <a:pt x="103838" y="2657811"/>
                    </a:lnTo>
                    <a:lnTo>
                      <a:pt x="127855" y="2674775"/>
                    </a:lnTo>
                    <a:lnTo>
                      <a:pt x="140630" y="2701404"/>
                    </a:lnTo>
                    <a:lnTo>
                      <a:pt x="150986" y="2727824"/>
                    </a:lnTo>
                    <a:lnTo>
                      <a:pt x="164576" y="2753669"/>
                    </a:lnTo>
                    <a:lnTo>
                      <a:pt x="196397" y="2774279"/>
                    </a:lnTo>
                    <a:lnTo>
                      <a:pt x="233421" y="2782021"/>
                    </a:lnTo>
                    <a:lnTo>
                      <a:pt x="269316" y="2787672"/>
                    </a:lnTo>
                    <a:lnTo>
                      <a:pt x="302034" y="2815048"/>
                    </a:lnTo>
                    <a:lnTo>
                      <a:pt x="321006" y="2837997"/>
                    </a:lnTo>
                    <a:lnTo>
                      <a:pt x="339976" y="2860956"/>
                    </a:lnTo>
                    <a:lnTo>
                      <a:pt x="362238" y="2883852"/>
                    </a:lnTo>
                    <a:lnTo>
                      <a:pt x="395820" y="2891047"/>
                    </a:lnTo>
                    <a:lnTo>
                      <a:pt x="440143" y="2900544"/>
                    </a:lnTo>
                    <a:lnTo>
                      <a:pt x="483737" y="2899020"/>
                    </a:lnTo>
                    <a:lnTo>
                      <a:pt x="526398" y="2897846"/>
                    </a:lnTo>
                    <a:lnTo>
                      <a:pt x="569050" y="2896673"/>
                    </a:lnTo>
                    <a:lnTo>
                      <a:pt x="611261" y="2896495"/>
                    </a:lnTo>
                    <a:lnTo>
                      <a:pt x="655612" y="2911452"/>
                    </a:lnTo>
                    <a:lnTo>
                      <a:pt x="672247" y="2930268"/>
                    </a:lnTo>
                    <a:lnTo>
                      <a:pt x="677053" y="2955203"/>
                    </a:lnTo>
                    <a:lnTo>
                      <a:pt x="674659" y="2979459"/>
                    </a:lnTo>
                    <a:lnTo>
                      <a:pt x="700459" y="3008536"/>
                    </a:lnTo>
                    <a:lnTo>
                      <a:pt x="720904" y="3018903"/>
                    </a:lnTo>
                    <a:lnTo>
                      <a:pt x="741347" y="3029277"/>
                    </a:lnTo>
                    <a:lnTo>
                      <a:pt x="763795" y="3037757"/>
                    </a:lnTo>
                    <a:lnTo>
                      <a:pt x="854304" y="3090859"/>
                    </a:lnTo>
                    <a:lnTo>
                      <a:pt x="904781" y="3109682"/>
                    </a:lnTo>
                    <a:lnTo>
                      <a:pt x="941260" y="3115478"/>
                    </a:lnTo>
                    <a:lnTo>
                      <a:pt x="977735" y="3121276"/>
                    </a:lnTo>
                    <a:lnTo>
                      <a:pt x="999387" y="3113019"/>
                    </a:lnTo>
                    <a:lnTo>
                      <a:pt x="1032743" y="3090734"/>
                    </a:lnTo>
                    <a:lnTo>
                      <a:pt x="1062313" y="3070594"/>
                    </a:lnTo>
                    <a:lnTo>
                      <a:pt x="1100038" y="3067283"/>
                    </a:lnTo>
                    <a:lnTo>
                      <a:pt x="1137127" y="3088275"/>
                    </a:lnTo>
                    <a:lnTo>
                      <a:pt x="1179896" y="3122746"/>
                    </a:lnTo>
                    <a:lnTo>
                      <a:pt x="1200168" y="3144886"/>
                    </a:lnTo>
                    <a:lnTo>
                      <a:pt x="1213299" y="3165804"/>
                    </a:lnTo>
                    <a:lnTo>
                      <a:pt x="1226430" y="3186730"/>
                    </a:lnTo>
                    <a:lnTo>
                      <a:pt x="1233003" y="3207141"/>
                    </a:lnTo>
                    <a:lnTo>
                      <a:pt x="1235062" y="3229735"/>
                    </a:lnTo>
                    <a:lnTo>
                      <a:pt x="1239149" y="3274924"/>
                    </a:lnTo>
                    <a:lnTo>
                      <a:pt x="1226408" y="3325949"/>
                    </a:lnTo>
                    <a:lnTo>
                      <a:pt x="1224179" y="3395683"/>
                    </a:lnTo>
                    <a:lnTo>
                      <a:pt x="1222049" y="3463458"/>
                    </a:lnTo>
                    <a:lnTo>
                      <a:pt x="1229661" y="3520584"/>
                    </a:lnTo>
                    <a:lnTo>
                      <a:pt x="1241862" y="3587469"/>
                    </a:lnTo>
                    <a:lnTo>
                      <a:pt x="1247551" y="3618651"/>
                    </a:lnTo>
                    <a:lnTo>
                      <a:pt x="1257628" y="3639074"/>
                    </a:lnTo>
                    <a:lnTo>
                      <a:pt x="1280507" y="3669167"/>
                    </a:lnTo>
                    <a:lnTo>
                      <a:pt x="1307151" y="3685403"/>
                    </a:lnTo>
                    <a:lnTo>
                      <a:pt x="1334439" y="3698264"/>
                    </a:lnTo>
                    <a:lnTo>
                      <a:pt x="1361684" y="3701331"/>
                    </a:lnTo>
                    <a:lnTo>
                      <a:pt x="1376523" y="3724847"/>
                    </a:lnTo>
                    <a:lnTo>
                      <a:pt x="1392634" y="3773604"/>
                    </a:lnTo>
                    <a:lnTo>
                      <a:pt x="1378176" y="3829245"/>
                    </a:lnTo>
                    <a:lnTo>
                      <a:pt x="1387403" y="3879914"/>
                    </a:lnTo>
                    <a:lnTo>
                      <a:pt x="1422173" y="3898742"/>
                    </a:lnTo>
                    <a:lnTo>
                      <a:pt x="1500255" y="3903458"/>
                    </a:lnTo>
                    <a:lnTo>
                      <a:pt x="1538386" y="3904394"/>
                    </a:lnTo>
                    <a:lnTo>
                      <a:pt x="1547942" y="3964519"/>
                    </a:lnTo>
                    <a:lnTo>
                      <a:pt x="1553343" y="3994170"/>
                    </a:lnTo>
                    <a:lnTo>
                      <a:pt x="1645080" y="4004642"/>
                    </a:lnTo>
                    <a:lnTo>
                      <a:pt x="1728216" y="4050787"/>
                    </a:lnTo>
                    <a:lnTo>
                      <a:pt x="1822660" y="4060819"/>
                    </a:lnTo>
                    <a:lnTo>
                      <a:pt x="1839714" y="4029829"/>
                    </a:lnTo>
                    <a:lnTo>
                      <a:pt x="1844430" y="4007769"/>
                    </a:lnTo>
                    <a:lnTo>
                      <a:pt x="1849146" y="3985709"/>
                    </a:lnTo>
                    <a:lnTo>
                      <a:pt x="1855167" y="3962871"/>
                    </a:lnTo>
                    <a:lnTo>
                      <a:pt x="1899049" y="3951475"/>
                    </a:lnTo>
                    <a:lnTo>
                      <a:pt x="2020744" y="3943944"/>
                    </a:lnTo>
                    <a:lnTo>
                      <a:pt x="2037574" y="3957444"/>
                    </a:lnTo>
                    <a:lnTo>
                      <a:pt x="2060320" y="4062923"/>
                    </a:lnTo>
                    <a:lnTo>
                      <a:pt x="2046129" y="4098502"/>
                    </a:lnTo>
                    <a:lnTo>
                      <a:pt x="2013430" y="4090891"/>
                    </a:lnTo>
                    <a:lnTo>
                      <a:pt x="2000854" y="4111144"/>
                    </a:lnTo>
                    <a:lnTo>
                      <a:pt x="2001316" y="4139918"/>
                    </a:lnTo>
                    <a:lnTo>
                      <a:pt x="2011170" y="4178940"/>
                    </a:lnTo>
                    <a:lnTo>
                      <a:pt x="2028059" y="4221319"/>
                    </a:lnTo>
                    <a:lnTo>
                      <a:pt x="2044935" y="4263698"/>
                    </a:lnTo>
                    <a:lnTo>
                      <a:pt x="2068202" y="4309638"/>
                    </a:lnTo>
                    <a:lnTo>
                      <a:pt x="2093348" y="4355981"/>
                    </a:lnTo>
                    <a:lnTo>
                      <a:pt x="2143627" y="4448671"/>
                    </a:lnTo>
                    <a:lnTo>
                      <a:pt x="2201781" y="4540597"/>
                    </a:lnTo>
                    <a:lnTo>
                      <a:pt x="2234809" y="4591293"/>
                    </a:lnTo>
                    <a:lnTo>
                      <a:pt x="2229904" y="4627894"/>
                    </a:lnTo>
                    <a:lnTo>
                      <a:pt x="2208779" y="4637991"/>
                    </a:lnTo>
                    <a:lnTo>
                      <a:pt x="2179042" y="4644341"/>
                    </a:lnTo>
                    <a:lnTo>
                      <a:pt x="2149301" y="4650693"/>
                    </a:lnTo>
                    <a:lnTo>
                      <a:pt x="2110785" y="4652928"/>
                    </a:lnTo>
                    <a:lnTo>
                      <a:pt x="2072943" y="4653865"/>
                    </a:lnTo>
                    <a:lnTo>
                      <a:pt x="1997248" y="4655731"/>
                    </a:lnTo>
                    <a:lnTo>
                      <a:pt x="1922896" y="4651220"/>
                    </a:lnTo>
                    <a:lnTo>
                      <a:pt x="1908829" y="4666943"/>
                    </a:lnTo>
                    <a:lnTo>
                      <a:pt x="1911070" y="4690585"/>
                    </a:lnTo>
                    <a:lnTo>
                      <a:pt x="1920614" y="4714782"/>
                    </a:lnTo>
                    <a:lnTo>
                      <a:pt x="1943224" y="4735503"/>
                    </a:lnTo>
                    <a:lnTo>
                      <a:pt x="1968310" y="4738002"/>
                    </a:lnTo>
                    <a:lnTo>
                      <a:pt x="1991326" y="4739553"/>
                    </a:lnTo>
                    <a:lnTo>
                      <a:pt x="2014335" y="4741103"/>
                    </a:lnTo>
                    <a:lnTo>
                      <a:pt x="2035618" y="4742475"/>
                    </a:lnTo>
                    <a:lnTo>
                      <a:pt x="2064860" y="4777764"/>
                    </a:lnTo>
                    <a:lnTo>
                      <a:pt x="2054234" y="4815275"/>
                    </a:lnTo>
                    <a:lnTo>
                      <a:pt x="2072937" y="4833404"/>
                    </a:lnTo>
                    <a:lnTo>
                      <a:pt x="2096718" y="4839281"/>
                    </a:lnTo>
                    <a:lnTo>
                      <a:pt x="2126521" y="4845915"/>
                    </a:lnTo>
                    <a:lnTo>
                      <a:pt x="2151831" y="4857891"/>
                    </a:lnTo>
                    <a:lnTo>
                      <a:pt x="2177144" y="4869861"/>
                    </a:lnTo>
                    <a:lnTo>
                      <a:pt x="2197844" y="4887114"/>
                    </a:lnTo>
                    <a:lnTo>
                      <a:pt x="2206234" y="4913658"/>
                    </a:lnTo>
                    <a:lnTo>
                      <a:pt x="2199856" y="4964280"/>
                    </a:lnTo>
                    <a:lnTo>
                      <a:pt x="2172825" y="4983986"/>
                    </a:lnTo>
                    <a:lnTo>
                      <a:pt x="2113740" y="4975037"/>
                    </a:lnTo>
                    <a:lnTo>
                      <a:pt x="2089261" y="4980307"/>
                    </a:lnTo>
                    <a:lnTo>
                      <a:pt x="2073544" y="4996464"/>
                    </a:lnTo>
                    <a:lnTo>
                      <a:pt x="2064171" y="5023997"/>
                    </a:lnTo>
                    <a:lnTo>
                      <a:pt x="2051174" y="5048320"/>
                    </a:lnTo>
                    <a:lnTo>
                      <a:pt x="2009396" y="5043050"/>
                    </a:lnTo>
                    <a:lnTo>
                      <a:pt x="1969154" y="5027116"/>
                    </a:lnTo>
                    <a:lnTo>
                      <a:pt x="1928759" y="5012951"/>
                    </a:lnTo>
                    <a:lnTo>
                      <a:pt x="1888359" y="4998791"/>
                    </a:lnTo>
                    <a:lnTo>
                      <a:pt x="1847927" y="4985398"/>
                    </a:lnTo>
                    <a:lnTo>
                      <a:pt x="1804981" y="4984389"/>
                    </a:lnTo>
                    <a:lnTo>
                      <a:pt x="1776325" y="5002795"/>
                    </a:lnTo>
                    <a:lnTo>
                      <a:pt x="1740706" y="5009107"/>
                    </a:lnTo>
                    <a:lnTo>
                      <a:pt x="1696625" y="5009318"/>
                    </a:lnTo>
                    <a:lnTo>
                      <a:pt x="1674564" y="5035229"/>
                    </a:lnTo>
                    <a:lnTo>
                      <a:pt x="1643629" y="5128718"/>
                    </a:lnTo>
                    <a:lnTo>
                      <a:pt x="1659945" y="5177217"/>
                    </a:lnTo>
                    <a:lnTo>
                      <a:pt x="1693400" y="5195517"/>
                    </a:lnTo>
                    <a:lnTo>
                      <a:pt x="1704320" y="5231941"/>
                    </a:lnTo>
                    <a:lnTo>
                      <a:pt x="1698882" y="5275467"/>
                    </a:lnTo>
                    <a:lnTo>
                      <a:pt x="1726644" y="5292812"/>
                    </a:lnTo>
                    <a:lnTo>
                      <a:pt x="1781857" y="5301103"/>
                    </a:lnTo>
                    <a:lnTo>
                      <a:pt x="1804981" y="5325801"/>
                    </a:lnTo>
                    <a:lnTo>
                      <a:pt x="1800711" y="5353895"/>
                    </a:lnTo>
                    <a:lnTo>
                      <a:pt x="1788142" y="5375084"/>
                    </a:lnTo>
                    <a:lnTo>
                      <a:pt x="1766893" y="5393807"/>
                    </a:lnTo>
                    <a:lnTo>
                      <a:pt x="1774406" y="5415556"/>
                    </a:lnTo>
                    <a:lnTo>
                      <a:pt x="1804987" y="5435975"/>
                    </a:lnTo>
                    <a:lnTo>
                      <a:pt x="1831215" y="5459254"/>
                    </a:lnTo>
                    <a:lnTo>
                      <a:pt x="1832650" y="5481394"/>
                    </a:lnTo>
                    <a:lnTo>
                      <a:pt x="1821308" y="5509422"/>
                    </a:lnTo>
                    <a:lnTo>
                      <a:pt x="1783739" y="5557518"/>
                    </a:lnTo>
                    <a:lnTo>
                      <a:pt x="1744972" y="5604765"/>
                    </a:lnTo>
                    <a:lnTo>
                      <a:pt x="1708410" y="5653607"/>
                    </a:lnTo>
                    <a:lnTo>
                      <a:pt x="1681760" y="5689245"/>
                    </a:lnTo>
                    <a:lnTo>
                      <a:pt x="1665991" y="5731545"/>
                    </a:lnTo>
                    <a:lnTo>
                      <a:pt x="1641769" y="5767864"/>
                    </a:lnTo>
                    <a:lnTo>
                      <a:pt x="1606512" y="5820694"/>
                    </a:lnTo>
                    <a:lnTo>
                      <a:pt x="1561616" y="5868040"/>
                    </a:lnTo>
                    <a:lnTo>
                      <a:pt x="1509824" y="5907965"/>
                    </a:lnTo>
                    <a:lnTo>
                      <a:pt x="1458035" y="5947884"/>
                    </a:lnTo>
                    <a:lnTo>
                      <a:pt x="1399260" y="5979527"/>
                    </a:lnTo>
                    <a:lnTo>
                      <a:pt x="1339794" y="6000459"/>
                    </a:lnTo>
                    <a:lnTo>
                      <a:pt x="1290200" y="6017915"/>
                    </a:lnTo>
                    <a:lnTo>
                      <a:pt x="1255972" y="6035267"/>
                    </a:lnTo>
                    <a:lnTo>
                      <a:pt x="1198342" y="6035821"/>
                    </a:lnTo>
                    <a:lnTo>
                      <a:pt x="1163705" y="6036151"/>
                    </a:lnTo>
                    <a:lnTo>
                      <a:pt x="1094519" y="6033150"/>
                    </a:lnTo>
                    <a:lnTo>
                      <a:pt x="1024228" y="6027663"/>
                    </a:lnTo>
                    <a:lnTo>
                      <a:pt x="953954" y="6022169"/>
                    </a:lnTo>
                    <a:lnTo>
                      <a:pt x="883409" y="6013900"/>
                    </a:lnTo>
                    <a:lnTo>
                      <a:pt x="848773" y="6001817"/>
                    </a:lnTo>
                    <a:lnTo>
                      <a:pt x="819946" y="5991740"/>
                    </a:lnTo>
                    <a:lnTo>
                      <a:pt x="793684" y="5971738"/>
                    </a:lnTo>
                    <a:lnTo>
                      <a:pt x="772594" y="5950127"/>
                    </a:lnTo>
                    <a:lnTo>
                      <a:pt x="754921" y="5932016"/>
                    </a:lnTo>
                    <a:lnTo>
                      <a:pt x="739948" y="5902525"/>
                    </a:lnTo>
                    <a:lnTo>
                      <a:pt x="718232" y="5882120"/>
                    </a:lnTo>
                    <a:lnTo>
                      <a:pt x="685548" y="5882120"/>
                    </a:lnTo>
                    <a:lnTo>
                      <a:pt x="659268" y="5885556"/>
                    </a:lnTo>
                    <a:lnTo>
                      <a:pt x="611150" y="5929854"/>
                    </a:lnTo>
                    <a:lnTo>
                      <a:pt x="530606" y="6003162"/>
                    </a:lnTo>
                    <a:lnTo>
                      <a:pt x="469273" y="6082064"/>
                    </a:lnTo>
                    <a:lnTo>
                      <a:pt x="438615" y="6121515"/>
                    </a:lnTo>
                    <a:lnTo>
                      <a:pt x="413032" y="6162594"/>
                    </a:lnTo>
                    <a:lnTo>
                      <a:pt x="398543" y="6201761"/>
                    </a:lnTo>
                    <a:lnTo>
                      <a:pt x="386956" y="6240599"/>
                    </a:lnTo>
                    <a:lnTo>
                      <a:pt x="385638" y="6277187"/>
                    </a:lnTo>
                    <a:lnTo>
                      <a:pt x="397178" y="6310578"/>
                    </a:lnTo>
                    <a:lnTo>
                      <a:pt x="410495" y="6338804"/>
                    </a:lnTo>
                    <a:lnTo>
                      <a:pt x="435613" y="6371152"/>
                    </a:lnTo>
                    <a:lnTo>
                      <a:pt x="452952" y="6397630"/>
                    </a:lnTo>
                    <a:lnTo>
                      <a:pt x="465277" y="6420884"/>
                    </a:lnTo>
                    <a:lnTo>
                      <a:pt x="480280" y="6458883"/>
                    </a:lnTo>
                    <a:lnTo>
                      <a:pt x="496155" y="6492095"/>
                    </a:lnTo>
                    <a:lnTo>
                      <a:pt x="505993" y="6524134"/>
                    </a:lnTo>
                    <a:lnTo>
                      <a:pt x="518644" y="6578812"/>
                    </a:lnTo>
                    <a:lnTo>
                      <a:pt x="520966" y="6619345"/>
                    </a:lnTo>
                    <a:lnTo>
                      <a:pt x="521419" y="6658980"/>
                    </a:lnTo>
                    <a:lnTo>
                      <a:pt x="516132" y="6686474"/>
                    </a:lnTo>
                    <a:lnTo>
                      <a:pt x="499181" y="6707755"/>
                    </a:lnTo>
                    <a:lnTo>
                      <a:pt x="525285" y="6739635"/>
                    </a:lnTo>
                    <a:lnTo>
                      <a:pt x="560105" y="6762928"/>
                    </a:lnTo>
                    <a:lnTo>
                      <a:pt x="580497" y="6770150"/>
                    </a:lnTo>
                    <a:lnTo>
                      <a:pt x="623952" y="6760977"/>
                    </a:lnTo>
                    <a:lnTo>
                      <a:pt x="651519" y="6729518"/>
                    </a:lnTo>
                    <a:lnTo>
                      <a:pt x="666449" y="6714601"/>
                    </a:lnTo>
                    <a:lnTo>
                      <a:pt x="683307" y="6702037"/>
                    </a:lnTo>
                    <a:lnTo>
                      <a:pt x="718160" y="6700955"/>
                    </a:lnTo>
                    <a:lnTo>
                      <a:pt x="739855" y="6715768"/>
                    </a:lnTo>
                    <a:lnTo>
                      <a:pt x="756325" y="6743269"/>
                    </a:lnTo>
                    <a:lnTo>
                      <a:pt x="772573" y="6767604"/>
                    </a:lnTo>
                    <a:lnTo>
                      <a:pt x="825524" y="6761688"/>
                    </a:lnTo>
                    <a:lnTo>
                      <a:pt x="882281" y="6738441"/>
                    </a:lnTo>
                    <a:lnTo>
                      <a:pt x="916753" y="6743117"/>
                    </a:lnTo>
                    <a:lnTo>
                      <a:pt x="939576" y="6746198"/>
                    </a:lnTo>
                    <a:lnTo>
                      <a:pt x="963311" y="6758352"/>
                    </a:lnTo>
                    <a:lnTo>
                      <a:pt x="986122" y="6760798"/>
                    </a:lnTo>
                    <a:lnTo>
                      <a:pt x="1011414" y="6763516"/>
                    </a:lnTo>
                    <a:lnTo>
                      <a:pt x="1041719" y="6755081"/>
                    </a:lnTo>
                    <a:lnTo>
                      <a:pt x="1066378" y="6759440"/>
                    </a:lnTo>
                    <a:lnTo>
                      <a:pt x="1106369" y="6766510"/>
                    </a:lnTo>
                    <a:lnTo>
                      <a:pt x="1145747" y="6786130"/>
                    </a:lnTo>
                    <a:lnTo>
                      <a:pt x="1181992" y="6809766"/>
                    </a:lnTo>
                    <a:lnTo>
                      <a:pt x="1218245" y="6833402"/>
                    </a:lnTo>
                    <a:lnTo>
                      <a:pt x="1251489" y="6860586"/>
                    </a:lnTo>
                    <a:lnTo>
                      <a:pt x="1282650" y="6884578"/>
                    </a:lnTo>
                    <a:lnTo>
                      <a:pt x="1307374" y="6953799"/>
                    </a:lnTo>
                    <a:lnTo>
                      <a:pt x="1324120" y="6990590"/>
                    </a:lnTo>
                    <a:lnTo>
                      <a:pt x="1406853" y="7046971"/>
                    </a:lnTo>
                    <a:lnTo>
                      <a:pt x="1439068" y="7077729"/>
                    </a:lnTo>
                    <a:lnTo>
                      <a:pt x="1460831" y="7098128"/>
                    </a:lnTo>
                    <a:lnTo>
                      <a:pt x="1493180" y="7116851"/>
                    </a:lnTo>
                    <a:lnTo>
                      <a:pt x="1544823" y="7129546"/>
                    </a:lnTo>
                    <a:lnTo>
                      <a:pt x="1580529" y="7143018"/>
                    </a:lnTo>
                    <a:lnTo>
                      <a:pt x="1590057" y="7178236"/>
                    </a:lnTo>
                    <a:lnTo>
                      <a:pt x="1588969" y="7202591"/>
                    </a:lnTo>
                    <a:lnTo>
                      <a:pt x="1581894" y="7223266"/>
                    </a:lnTo>
                    <a:lnTo>
                      <a:pt x="1661473" y="7274930"/>
                    </a:lnTo>
                    <a:lnTo>
                      <a:pt x="1700761" y="7295466"/>
                    </a:lnTo>
                    <a:lnTo>
                      <a:pt x="1726130" y="7327709"/>
                    </a:lnTo>
                    <a:lnTo>
                      <a:pt x="1750559" y="7362010"/>
                    </a:lnTo>
                    <a:lnTo>
                      <a:pt x="1774967" y="7396310"/>
                    </a:lnTo>
                    <a:lnTo>
                      <a:pt x="1799195" y="7433229"/>
                    </a:lnTo>
                    <a:lnTo>
                      <a:pt x="1824006" y="7454503"/>
                    </a:lnTo>
                    <a:lnTo>
                      <a:pt x="1857244" y="7482981"/>
                    </a:lnTo>
                    <a:lnTo>
                      <a:pt x="1903790" y="7484318"/>
                    </a:lnTo>
                    <a:lnTo>
                      <a:pt x="1940985" y="7503471"/>
                    </a:lnTo>
                    <a:lnTo>
                      <a:pt x="1967920" y="7517326"/>
                    </a:lnTo>
                    <a:lnTo>
                      <a:pt x="2048147" y="7578407"/>
                    </a:lnTo>
                    <a:lnTo>
                      <a:pt x="2071566" y="7601404"/>
                    </a:lnTo>
                    <a:lnTo>
                      <a:pt x="2090703" y="7620194"/>
                    </a:lnTo>
                    <a:lnTo>
                      <a:pt x="2107849" y="7642358"/>
                    </a:lnTo>
                    <a:lnTo>
                      <a:pt x="2125972" y="7662611"/>
                    </a:lnTo>
                    <a:lnTo>
                      <a:pt x="2144083" y="7682864"/>
                    </a:lnTo>
                    <a:lnTo>
                      <a:pt x="2163275" y="7701759"/>
                    </a:lnTo>
                    <a:lnTo>
                      <a:pt x="2188533" y="7712945"/>
                    </a:lnTo>
                    <a:lnTo>
                      <a:pt x="2212748" y="7723660"/>
                    </a:lnTo>
                    <a:lnTo>
                      <a:pt x="2241016" y="7714666"/>
                    </a:lnTo>
                    <a:lnTo>
                      <a:pt x="2270152" y="7704779"/>
                    </a:lnTo>
                    <a:lnTo>
                      <a:pt x="2299295" y="7694887"/>
                    </a:lnTo>
                    <a:lnTo>
                      <a:pt x="2329538" y="7684356"/>
                    </a:lnTo>
                    <a:lnTo>
                      <a:pt x="2357198" y="7689816"/>
                    </a:lnTo>
                    <a:lnTo>
                      <a:pt x="2520429" y="7721102"/>
                    </a:lnTo>
                    <a:lnTo>
                      <a:pt x="2574676" y="7688859"/>
                    </a:lnTo>
                    <a:lnTo>
                      <a:pt x="2596591" y="7681658"/>
                    </a:lnTo>
                    <a:lnTo>
                      <a:pt x="2621777" y="7693503"/>
                    </a:lnTo>
                    <a:lnTo>
                      <a:pt x="2644688" y="7719447"/>
                    </a:lnTo>
                    <a:lnTo>
                      <a:pt x="2664612" y="7742865"/>
                    </a:lnTo>
                    <a:lnTo>
                      <a:pt x="2684515" y="7766276"/>
                    </a:lnTo>
                    <a:lnTo>
                      <a:pt x="2701906" y="7787954"/>
                    </a:lnTo>
                    <a:lnTo>
                      <a:pt x="2742710" y="7795848"/>
                    </a:lnTo>
                    <a:lnTo>
                      <a:pt x="2764234" y="7790408"/>
                    </a:lnTo>
                    <a:lnTo>
                      <a:pt x="2788384" y="7786398"/>
                    </a:lnTo>
                    <a:lnTo>
                      <a:pt x="2812535" y="7782415"/>
                    </a:lnTo>
                    <a:lnTo>
                      <a:pt x="2839225" y="7778820"/>
                    </a:lnTo>
                    <a:lnTo>
                      <a:pt x="2875439" y="7786398"/>
                    </a:lnTo>
                    <a:lnTo>
                      <a:pt x="2901038" y="7807581"/>
                    </a:lnTo>
                    <a:lnTo>
                      <a:pt x="2917843" y="7841380"/>
                    </a:lnTo>
                    <a:lnTo>
                      <a:pt x="2950250" y="7861210"/>
                    </a:lnTo>
                    <a:lnTo>
                      <a:pt x="3007041" y="7817275"/>
                    </a:lnTo>
                    <a:lnTo>
                      <a:pt x="3028788" y="7802015"/>
                    </a:lnTo>
                    <a:lnTo>
                      <a:pt x="3057707" y="7812236"/>
                    </a:lnTo>
                    <a:lnTo>
                      <a:pt x="3087386" y="7834494"/>
                    </a:lnTo>
                    <a:lnTo>
                      <a:pt x="3120866" y="7857327"/>
                    </a:lnTo>
                    <a:lnTo>
                      <a:pt x="3161084" y="7858486"/>
                    </a:lnTo>
                    <a:lnTo>
                      <a:pt x="3202558" y="7856172"/>
                    </a:lnTo>
                    <a:lnTo>
                      <a:pt x="3222290" y="7863928"/>
                    </a:lnTo>
                    <a:lnTo>
                      <a:pt x="3257317" y="7874532"/>
                    </a:lnTo>
                    <a:lnTo>
                      <a:pt x="3282140" y="7893848"/>
                    </a:lnTo>
                    <a:lnTo>
                      <a:pt x="3303903" y="7933299"/>
                    </a:lnTo>
                    <a:lnTo>
                      <a:pt x="3340444" y="7925175"/>
                    </a:lnTo>
                    <a:lnTo>
                      <a:pt x="3406347" y="7875957"/>
                    </a:lnTo>
                    <a:lnTo>
                      <a:pt x="3443957" y="7881094"/>
                    </a:lnTo>
                    <a:lnTo>
                      <a:pt x="3464666" y="7872738"/>
                    </a:lnTo>
                    <a:lnTo>
                      <a:pt x="3483449" y="7859838"/>
                    </a:lnTo>
                    <a:lnTo>
                      <a:pt x="3502238" y="7846958"/>
                    </a:lnTo>
                    <a:lnTo>
                      <a:pt x="3519372" y="7828942"/>
                    </a:lnTo>
                    <a:lnTo>
                      <a:pt x="3579471" y="7793323"/>
                    </a:lnTo>
                    <a:lnTo>
                      <a:pt x="3621295" y="7768110"/>
                    </a:lnTo>
                    <a:lnTo>
                      <a:pt x="3672516" y="7752389"/>
                    </a:lnTo>
                    <a:lnTo>
                      <a:pt x="3706561" y="7741929"/>
                    </a:lnTo>
                    <a:lnTo>
                      <a:pt x="3743163" y="7738571"/>
                    </a:lnTo>
                    <a:lnTo>
                      <a:pt x="3775893" y="7722460"/>
                    </a:lnTo>
                    <a:lnTo>
                      <a:pt x="3812995" y="7691115"/>
                    </a:lnTo>
                    <a:lnTo>
                      <a:pt x="3853826" y="7684520"/>
                    </a:lnTo>
                    <a:lnTo>
                      <a:pt x="3901988" y="7711342"/>
                    </a:lnTo>
                    <a:lnTo>
                      <a:pt x="3949997" y="7742865"/>
                    </a:lnTo>
                    <a:lnTo>
                      <a:pt x="3998004" y="7774389"/>
                    </a:lnTo>
                    <a:lnTo>
                      <a:pt x="4045973" y="7811142"/>
                    </a:lnTo>
                    <a:lnTo>
                      <a:pt x="4066973" y="7832641"/>
                    </a:lnTo>
                    <a:lnTo>
                      <a:pt x="4045684" y="7857505"/>
                    </a:lnTo>
                    <a:lnTo>
                      <a:pt x="4035691" y="7899290"/>
                    </a:lnTo>
                    <a:lnTo>
                      <a:pt x="4027527" y="7944174"/>
                    </a:lnTo>
                    <a:lnTo>
                      <a:pt x="4128622" y="8069332"/>
                    </a:lnTo>
                    <a:lnTo>
                      <a:pt x="4142327" y="8088847"/>
                    </a:lnTo>
                    <a:lnTo>
                      <a:pt x="4127078" y="8130863"/>
                    </a:lnTo>
                    <a:lnTo>
                      <a:pt x="4100890" y="8175490"/>
                    </a:lnTo>
                    <a:lnTo>
                      <a:pt x="4075137" y="8208049"/>
                    </a:lnTo>
                    <a:lnTo>
                      <a:pt x="4061748" y="8224952"/>
                    </a:lnTo>
                    <a:lnTo>
                      <a:pt x="4021627" y="8239151"/>
                    </a:lnTo>
                    <a:lnTo>
                      <a:pt x="3985359" y="8258383"/>
                    </a:lnTo>
                    <a:lnTo>
                      <a:pt x="3950552" y="8278648"/>
                    </a:lnTo>
                    <a:lnTo>
                      <a:pt x="3924951" y="8303399"/>
                    </a:lnTo>
                    <a:lnTo>
                      <a:pt x="3915996" y="8334547"/>
                    </a:lnTo>
                    <a:lnTo>
                      <a:pt x="3941030" y="8355868"/>
                    </a:lnTo>
                    <a:lnTo>
                      <a:pt x="4051969" y="8334823"/>
                    </a:lnTo>
                    <a:lnTo>
                      <a:pt x="4086928" y="8329699"/>
                    </a:lnTo>
                    <a:lnTo>
                      <a:pt x="4109470" y="8347492"/>
                    </a:lnTo>
                    <a:lnTo>
                      <a:pt x="4130904" y="8368556"/>
                    </a:lnTo>
                    <a:lnTo>
                      <a:pt x="4152351" y="8389621"/>
                    </a:lnTo>
                    <a:lnTo>
                      <a:pt x="4172120" y="8413211"/>
                    </a:lnTo>
                    <a:lnTo>
                      <a:pt x="4190665" y="8433292"/>
                    </a:lnTo>
                    <a:lnTo>
                      <a:pt x="4220582" y="8438238"/>
                    </a:lnTo>
                    <a:lnTo>
                      <a:pt x="4251960" y="8442004"/>
                    </a:lnTo>
                    <a:lnTo>
                      <a:pt x="4283338" y="8445776"/>
                    </a:lnTo>
                    <a:lnTo>
                      <a:pt x="4316716" y="8448691"/>
                    </a:lnTo>
                    <a:lnTo>
                      <a:pt x="4342711" y="8477458"/>
                    </a:lnTo>
                    <a:lnTo>
                      <a:pt x="4317432" y="8514310"/>
                    </a:lnTo>
                    <a:lnTo>
                      <a:pt x="4318613" y="8539938"/>
                    </a:lnTo>
                    <a:lnTo>
                      <a:pt x="4332675" y="8556103"/>
                    </a:lnTo>
                    <a:lnTo>
                      <a:pt x="4356586" y="8559281"/>
                    </a:lnTo>
                    <a:lnTo>
                      <a:pt x="4379822" y="8561701"/>
                    </a:lnTo>
                    <a:lnTo>
                      <a:pt x="4403055" y="8564135"/>
                    </a:lnTo>
                    <a:lnTo>
                      <a:pt x="4426176" y="8565705"/>
                    </a:lnTo>
                    <a:lnTo>
                      <a:pt x="4441034" y="8594347"/>
                    </a:lnTo>
                    <a:lnTo>
                      <a:pt x="4465674" y="8601515"/>
                    </a:lnTo>
                    <a:lnTo>
                      <a:pt x="4481317" y="8619400"/>
                    </a:lnTo>
                    <a:lnTo>
                      <a:pt x="4492733" y="8640597"/>
                    </a:lnTo>
                    <a:lnTo>
                      <a:pt x="4504128" y="8661792"/>
                    </a:lnTo>
                    <a:lnTo>
                      <a:pt x="4511026" y="8686820"/>
                    </a:lnTo>
                    <a:lnTo>
                      <a:pt x="4518570" y="8707244"/>
                    </a:lnTo>
                    <a:lnTo>
                      <a:pt x="4531140" y="8724945"/>
                    </a:lnTo>
                    <a:lnTo>
                      <a:pt x="4552233" y="8733070"/>
                    </a:lnTo>
                    <a:lnTo>
                      <a:pt x="4579779" y="8737172"/>
                    </a:lnTo>
                    <a:lnTo>
                      <a:pt x="4609408" y="8743603"/>
                    </a:lnTo>
                    <a:lnTo>
                      <a:pt x="4639918" y="8757946"/>
                    </a:lnTo>
                    <a:lnTo>
                      <a:pt x="4668189" y="8787498"/>
                    </a:lnTo>
                    <a:lnTo>
                      <a:pt x="4671758" y="8820531"/>
                    </a:lnTo>
                    <a:lnTo>
                      <a:pt x="4659207" y="8849674"/>
                    </a:lnTo>
                    <a:lnTo>
                      <a:pt x="4635571" y="8874550"/>
                    </a:lnTo>
                    <a:lnTo>
                      <a:pt x="4609470" y="8898471"/>
                    </a:lnTo>
                    <a:lnTo>
                      <a:pt x="4574508" y="8917174"/>
                    </a:lnTo>
                    <a:lnTo>
                      <a:pt x="4551235" y="8930317"/>
                    </a:lnTo>
                    <a:lnTo>
                      <a:pt x="4513284" y="9003962"/>
                    </a:lnTo>
                    <a:lnTo>
                      <a:pt x="4521314" y="9024169"/>
                    </a:lnTo>
                    <a:lnTo>
                      <a:pt x="4545710" y="9046718"/>
                    </a:lnTo>
                    <a:lnTo>
                      <a:pt x="4576542" y="9056266"/>
                    </a:lnTo>
                    <a:lnTo>
                      <a:pt x="4604286" y="9073142"/>
                    </a:lnTo>
                    <a:lnTo>
                      <a:pt x="4655672" y="9104423"/>
                    </a:lnTo>
                    <a:lnTo>
                      <a:pt x="4696956" y="9147929"/>
                    </a:lnTo>
                    <a:lnTo>
                      <a:pt x="4737589" y="9191475"/>
                    </a:lnTo>
                    <a:lnTo>
                      <a:pt x="4788963" y="9246589"/>
                    </a:lnTo>
                    <a:lnTo>
                      <a:pt x="4854252" y="9291031"/>
                    </a:lnTo>
                    <a:lnTo>
                      <a:pt x="4915768" y="9338377"/>
                    </a:lnTo>
                    <a:lnTo>
                      <a:pt x="4946535" y="9362046"/>
                    </a:lnTo>
                    <a:lnTo>
                      <a:pt x="4975969" y="9385860"/>
                    </a:lnTo>
                    <a:lnTo>
                      <a:pt x="5002823" y="9413190"/>
                    </a:lnTo>
                    <a:lnTo>
                      <a:pt x="5029683" y="9440518"/>
                    </a:lnTo>
                    <a:lnTo>
                      <a:pt x="5053530" y="9470960"/>
                    </a:lnTo>
                    <a:lnTo>
                      <a:pt x="5072192" y="9505683"/>
                    </a:lnTo>
                    <a:lnTo>
                      <a:pt x="5052482" y="9562616"/>
                    </a:lnTo>
                    <a:lnTo>
                      <a:pt x="5010261" y="9609209"/>
                    </a:lnTo>
                    <a:lnTo>
                      <a:pt x="4990582" y="9666184"/>
                    </a:lnTo>
                    <a:lnTo>
                      <a:pt x="5023786" y="9705930"/>
                    </a:lnTo>
                    <a:lnTo>
                      <a:pt x="5125091" y="9792192"/>
                    </a:lnTo>
                    <a:lnTo>
                      <a:pt x="5145661" y="9828048"/>
                    </a:lnTo>
                    <a:lnTo>
                      <a:pt x="5126490" y="9857983"/>
                    </a:lnTo>
                    <a:lnTo>
                      <a:pt x="5099372" y="9884415"/>
                    </a:lnTo>
                    <a:lnTo>
                      <a:pt x="5073572" y="9911018"/>
                    </a:lnTo>
                    <a:lnTo>
                      <a:pt x="5047772" y="9937629"/>
                    </a:lnTo>
                    <a:lnTo>
                      <a:pt x="5023538" y="9965091"/>
                    </a:lnTo>
                    <a:lnTo>
                      <a:pt x="5009641" y="9998072"/>
                    </a:lnTo>
                    <a:lnTo>
                      <a:pt x="5073625" y="10061198"/>
                    </a:lnTo>
                    <a:lnTo>
                      <a:pt x="5098119" y="10065769"/>
                    </a:lnTo>
                    <a:lnTo>
                      <a:pt x="5114881" y="10046742"/>
                    </a:lnTo>
                    <a:lnTo>
                      <a:pt x="5130703" y="10025283"/>
                    </a:lnTo>
                    <a:lnTo>
                      <a:pt x="5146519" y="10003816"/>
                    </a:lnTo>
                    <a:lnTo>
                      <a:pt x="5161402" y="9980199"/>
                    </a:lnTo>
                    <a:lnTo>
                      <a:pt x="5193568" y="9971243"/>
                    </a:lnTo>
                    <a:lnTo>
                      <a:pt x="5209802" y="9984987"/>
                    </a:lnTo>
                    <a:lnTo>
                      <a:pt x="5225913" y="10000796"/>
                    </a:lnTo>
                    <a:lnTo>
                      <a:pt x="5242027" y="10016603"/>
                    </a:lnTo>
                    <a:lnTo>
                      <a:pt x="5257675" y="10034679"/>
                    </a:lnTo>
                    <a:lnTo>
                      <a:pt x="5287714" y="10047362"/>
                    </a:lnTo>
                    <a:lnTo>
                      <a:pt x="5318407" y="10023917"/>
                    </a:lnTo>
                    <a:lnTo>
                      <a:pt x="5347379" y="9997089"/>
                    </a:lnTo>
                    <a:lnTo>
                      <a:pt x="5424506" y="9968150"/>
                    </a:lnTo>
                    <a:lnTo>
                      <a:pt x="5399769" y="9944198"/>
                    </a:lnTo>
                    <a:lnTo>
                      <a:pt x="5364401" y="9924987"/>
                    </a:lnTo>
                    <a:lnTo>
                      <a:pt x="5334731" y="9908302"/>
                    </a:lnTo>
                    <a:lnTo>
                      <a:pt x="5334908" y="9883471"/>
                    </a:lnTo>
                    <a:lnTo>
                      <a:pt x="5373507" y="9818103"/>
                    </a:lnTo>
                    <a:lnTo>
                      <a:pt x="5403958" y="9761162"/>
                    </a:lnTo>
                    <a:lnTo>
                      <a:pt x="5444932" y="9713792"/>
                    </a:lnTo>
                    <a:lnTo>
                      <a:pt x="5460048" y="9696321"/>
                    </a:lnTo>
                    <a:lnTo>
                      <a:pt x="5479107" y="9682525"/>
                    </a:lnTo>
                    <a:lnTo>
                      <a:pt x="5493897" y="9664824"/>
                    </a:lnTo>
                    <a:lnTo>
                      <a:pt x="5536607" y="9613668"/>
                    </a:lnTo>
                    <a:lnTo>
                      <a:pt x="5575386" y="9558600"/>
                    </a:lnTo>
                    <a:lnTo>
                      <a:pt x="5617678" y="9507041"/>
                    </a:lnTo>
                    <a:lnTo>
                      <a:pt x="5652234" y="9464959"/>
                    </a:lnTo>
                    <a:lnTo>
                      <a:pt x="5703028" y="9447154"/>
                    </a:lnTo>
                    <a:lnTo>
                      <a:pt x="5737376" y="9407748"/>
                    </a:lnTo>
                    <a:lnTo>
                      <a:pt x="5803766" y="9424414"/>
                    </a:lnTo>
                    <a:lnTo>
                      <a:pt x="5844161" y="9458674"/>
                    </a:lnTo>
                    <a:lnTo>
                      <a:pt x="5888353" y="9483919"/>
                    </a:lnTo>
                    <a:lnTo>
                      <a:pt x="5914553" y="9494016"/>
                    </a:lnTo>
                    <a:lnTo>
                      <a:pt x="5963843" y="9519731"/>
                    </a:lnTo>
                    <a:lnTo>
                      <a:pt x="5997181" y="9550231"/>
                    </a:lnTo>
                    <a:lnTo>
                      <a:pt x="6029814" y="9576412"/>
                    </a:lnTo>
                    <a:lnTo>
                      <a:pt x="6051602" y="9608313"/>
                    </a:lnTo>
                    <a:lnTo>
                      <a:pt x="6065183" y="9629462"/>
                    </a:lnTo>
                    <a:lnTo>
                      <a:pt x="6078748" y="9650619"/>
                    </a:lnTo>
                    <a:lnTo>
                      <a:pt x="6093618" y="9669942"/>
                    </a:lnTo>
                    <a:lnTo>
                      <a:pt x="6301854" y="9655308"/>
                    </a:lnTo>
                    <a:lnTo>
                      <a:pt x="6329058" y="9634903"/>
                    </a:lnTo>
                    <a:lnTo>
                      <a:pt x="6361701" y="9556015"/>
                    </a:lnTo>
                    <a:lnTo>
                      <a:pt x="6436456" y="9554347"/>
                    </a:lnTo>
                    <a:lnTo>
                      <a:pt x="6490921" y="9551940"/>
                    </a:lnTo>
                    <a:lnTo>
                      <a:pt x="6535365" y="9549961"/>
                    </a:lnTo>
                    <a:lnTo>
                      <a:pt x="6577356" y="9538261"/>
                    </a:lnTo>
                    <a:lnTo>
                      <a:pt x="6599739" y="9528811"/>
                    </a:lnTo>
                    <a:lnTo>
                      <a:pt x="6582026" y="9485311"/>
                    </a:lnTo>
                    <a:lnTo>
                      <a:pt x="6568451" y="9462164"/>
                    </a:lnTo>
                    <a:lnTo>
                      <a:pt x="6553773" y="9437109"/>
                    </a:lnTo>
                    <a:lnTo>
                      <a:pt x="6539963" y="9412635"/>
                    </a:lnTo>
                    <a:lnTo>
                      <a:pt x="6546688" y="9311179"/>
                    </a:lnTo>
                    <a:lnTo>
                      <a:pt x="6551556" y="9241610"/>
                    </a:lnTo>
                    <a:lnTo>
                      <a:pt x="6560914" y="9200246"/>
                    </a:lnTo>
                    <a:lnTo>
                      <a:pt x="6561652" y="9158844"/>
                    </a:lnTo>
                    <a:lnTo>
                      <a:pt x="6562393" y="9117434"/>
                    </a:lnTo>
                    <a:lnTo>
                      <a:pt x="6554399" y="9076507"/>
                    </a:lnTo>
                    <a:lnTo>
                      <a:pt x="6529009" y="9005136"/>
                    </a:lnTo>
                    <a:lnTo>
                      <a:pt x="6508511" y="8947524"/>
                    </a:lnTo>
                    <a:lnTo>
                      <a:pt x="6497832" y="8892944"/>
                    </a:lnTo>
                    <a:lnTo>
                      <a:pt x="6485483" y="8832390"/>
                    </a:lnTo>
                    <a:lnTo>
                      <a:pt x="6477567" y="8796276"/>
                    </a:lnTo>
                    <a:lnTo>
                      <a:pt x="6474349" y="8759693"/>
                    </a:lnTo>
                    <a:lnTo>
                      <a:pt x="6478702" y="8726297"/>
                    </a:lnTo>
                    <a:lnTo>
                      <a:pt x="6489200" y="8697292"/>
                    </a:lnTo>
                    <a:lnTo>
                      <a:pt x="6514461" y="8679123"/>
                    </a:lnTo>
                    <a:lnTo>
                      <a:pt x="6557590" y="8675971"/>
                    </a:lnTo>
                    <a:lnTo>
                      <a:pt x="6607547" y="8674599"/>
                    </a:lnTo>
                    <a:lnTo>
                      <a:pt x="6665338" y="8705464"/>
                    </a:lnTo>
                    <a:lnTo>
                      <a:pt x="6699181" y="8732886"/>
                    </a:lnTo>
                    <a:lnTo>
                      <a:pt x="6746661" y="8749420"/>
                    </a:lnTo>
                    <a:lnTo>
                      <a:pt x="6802849" y="8768973"/>
                    </a:lnTo>
                    <a:lnTo>
                      <a:pt x="6878299" y="8763552"/>
                    </a:lnTo>
                    <a:lnTo>
                      <a:pt x="6937086" y="8767099"/>
                    </a:lnTo>
                    <a:lnTo>
                      <a:pt x="6983893" y="8742237"/>
                    </a:lnTo>
                    <a:lnTo>
                      <a:pt x="6998903" y="8708010"/>
                    </a:lnTo>
                    <a:lnTo>
                      <a:pt x="7022780" y="8682771"/>
                    </a:lnTo>
                    <a:lnTo>
                      <a:pt x="7053578" y="8650212"/>
                    </a:lnTo>
                    <a:lnTo>
                      <a:pt x="7083970" y="8632334"/>
                    </a:lnTo>
                    <a:lnTo>
                      <a:pt x="7113916" y="8622922"/>
                    </a:lnTo>
                    <a:lnTo>
                      <a:pt x="7143858" y="8613518"/>
                    </a:lnTo>
                    <a:lnTo>
                      <a:pt x="7173751" y="8613603"/>
                    </a:lnTo>
                    <a:lnTo>
                      <a:pt x="7203687" y="8620198"/>
                    </a:lnTo>
                    <a:lnTo>
                      <a:pt x="7233620" y="8626799"/>
                    </a:lnTo>
                    <a:lnTo>
                      <a:pt x="7264049" y="8638763"/>
                    </a:lnTo>
                    <a:lnTo>
                      <a:pt x="7294819" y="8654208"/>
                    </a:lnTo>
                    <a:lnTo>
                      <a:pt x="7325571" y="8669654"/>
                    </a:lnTo>
                    <a:lnTo>
                      <a:pt x="7356211" y="8688772"/>
                    </a:lnTo>
                    <a:lnTo>
                      <a:pt x="7388674" y="8705892"/>
                    </a:lnTo>
                    <a:lnTo>
                      <a:pt x="7423984" y="8724523"/>
                    </a:lnTo>
                    <a:lnTo>
                      <a:pt x="7491173" y="8762812"/>
                    </a:lnTo>
                    <a:lnTo>
                      <a:pt x="7526049" y="8775264"/>
                    </a:lnTo>
                    <a:lnTo>
                      <a:pt x="7553253" y="8786146"/>
                    </a:lnTo>
                    <a:lnTo>
                      <a:pt x="7579354" y="8806036"/>
                    </a:lnTo>
                    <a:lnTo>
                      <a:pt x="7605728" y="8836346"/>
                    </a:lnTo>
                    <a:lnTo>
                      <a:pt x="7629428" y="8859593"/>
                    </a:lnTo>
                    <a:lnTo>
                      <a:pt x="7663671" y="8844576"/>
                    </a:lnTo>
                    <a:lnTo>
                      <a:pt x="7678393" y="8816073"/>
                    </a:lnTo>
                    <a:lnTo>
                      <a:pt x="7686746" y="8784338"/>
                    </a:lnTo>
                    <a:lnTo>
                      <a:pt x="7677345" y="8745291"/>
                    </a:lnTo>
                    <a:lnTo>
                      <a:pt x="7648832" y="8736585"/>
                    </a:lnTo>
                    <a:lnTo>
                      <a:pt x="7621268" y="8727663"/>
                    </a:lnTo>
                    <a:lnTo>
                      <a:pt x="7593319" y="8719300"/>
                    </a:lnTo>
                    <a:lnTo>
                      <a:pt x="7570325" y="8706097"/>
                    </a:lnTo>
                    <a:lnTo>
                      <a:pt x="7555982" y="8685495"/>
                    </a:lnTo>
                    <a:lnTo>
                      <a:pt x="7555982" y="8646044"/>
                    </a:lnTo>
                    <a:lnTo>
                      <a:pt x="7578895" y="8601653"/>
                    </a:lnTo>
                    <a:lnTo>
                      <a:pt x="7594063" y="8578038"/>
                    </a:lnTo>
                    <a:lnTo>
                      <a:pt x="7609213" y="8554427"/>
                    </a:lnTo>
                    <a:lnTo>
                      <a:pt x="7627134" y="8534313"/>
                    </a:lnTo>
                    <a:lnTo>
                      <a:pt x="7649830" y="8534510"/>
                    </a:lnTo>
                    <a:lnTo>
                      <a:pt x="7689195" y="8556565"/>
                    </a:lnTo>
                    <a:lnTo>
                      <a:pt x="7713764" y="8568514"/>
                    </a:lnTo>
                    <a:lnTo>
                      <a:pt x="7738315" y="8580470"/>
                    </a:lnTo>
                    <a:lnTo>
                      <a:pt x="7762884" y="8587732"/>
                    </a:lnTo>
                    <a:lnTo>
                      <a:pt x="7799713" y="8557540"/>
                    </a:lnTo>
                    <a:lnTo>
                      <a:pt x="7803843" y="8529869"/>
                    </a:lnTo>
                    <a:lnTo>
                      <a:pt x="7806255" y="8500508"/>
                    </a:lnTo>
                    <a:lnTo>
                      <a:pt x="7808648" y="8471140"/>
                    </a:lnTo>
                    <a:lnTo>
                      <a:pt x="7810261" y="8440190"/>
                    </a:lnTo>
                    <a:lnTo>
                      <a:pt x="7826663" y="8416178"/>
                    </a:lnTo>
                    <a:lnTo>
                      <a:pt x="7842556" y="8402066"/>
                    </a:lnTo>
                    <a:lnTo>
                      <a:pt x="7882430" y="8394409"/>
                    </a:lnTo>
                    <a:lnTo>
                      <a:pt x="7903297" y="8391263"/>
                    </a:lnTo>
                    <a:lnTo>
                      <a:pt x="7930036" y="8401214"/>
                    </a:lnTo>
                    <a:lnTo>
                      <a:pt x="7949601" y="8418051"/>
                    </a:lnTo>
                    <a:lnTo>
                      <a:pt x="7964868" y="8441503"/>
                    </a:lnTo>
                    <a:lnTo>
                      <a:pt x="7980359" y="8466503"/>
                    </a:lnTo>
                    <a:lnTo>
                      <a:pt x="7999917" y="8489962"/>
                    </a:lnTo>
                    <a:lnTo>
                      <a:pt x="8025789" y="8503969"/>
                    </a:lnTo>
                    <a:lnTo>
                      <a:pt x="8053812" y="8507307"/>
                    </a:lnTo>
                    <a:lnTo>
                      <a:pt x="8083205" y="8507175"/>
                    </a:lnTo>
                    <a:lnTo>
                      <a:pt x="8114193" y="8501979"/>
                    </a:lnTo>
                    <a:lnTo>
                      <a:pt x="8144944" y="8493702"/>
                    </a:lnTo>
                    <a:lnTo>
                      <a:pt x="8171746" y="8485873"/>
                    </a:lnTo>
                    <a:lnTo>
                      <a:pt x="8196898" y="8479061"/>
                    </a:lnTo>
                    <a:lnTo>
                      <a:pt x="8200711" y="8442017"/>
                    </a:lnTo>
                    <a:lnTo>
                      <a:pt x="8200711" y="8420037"/>
                    </a:lnTo>
                    <a:lnTo>
                      <a:pt x="8197183" y="8391105"/>
                    </a:lnTo>
                    <a:lnTo>
                      <a:pt x="8193909" y="8363122"/>
                    </a:lnTo>
                    <a:lnTo>
                      <a:pt x="8190647" y="8335147"/>
                    </a:lnTo>
                    <a:lnTo>
                      <a:pt x="8187925" y="8307349"/>
                    </a:lnTo>
                    <a:lnTo>
                      <a:pt x="8192557" y="8285592"/>
                    </a:lnTo>
                    <a:lnTo>
                      <a:pt x="8198448" y="8265420"/>
                    </a:lnTo>
                    <a:lnTo>
                      <a:pt x="8220245" y="8246439"/>
                    </a:lnTo>
                    <a:lnTo>
                      <a:pt x="8275528" y="8255665"/>
                    </a:lnTo>
                    <a:lnTo>
                      <a:pt x="8298479" y="8212462"/>
                    </a:lnTo>
                    <a:lnTo>
                      <a:pt x="8311278" y="8159564"/>
                    </a:lnTo>
                    <a:lnTo>
                      <a:pt x="8324499" y="8112846"/>
                    </a:lnTo>
                    <a:lnTo>
                      <a:pt x="8403434" y="8076738"/>
                    </a:lnTo>
                    <a:lnTo>
                      <a:pt x="8454966" y="8014529"/>
                    </a:lnTo>
                    <a:lnTo>
                      <a:pt x="8494523" y="7997231"/>
                    </a:lnTo>
                    <a:lnTo>
                      <a:pt x="8537578" y="8004854"/>
                    </a:lnTo>
                    <a:lnTo>
                      <a:pt x="8566618" y="8006753"/>
                    </a:lnTo>
                    <a:lnTo>
                      <a:pt x="8595639" y="8008640"/>
                    </a:lnTo>
                    <a:lnTo>
                      <a:pt x="8624233" y="8007347"/>
                    </a:lnTo>
                    <a:lnTo>
                      <a:pt x="8655524" y="7986514"/>
                    </a:lnTo>
                    <a:lnTo>
                      <a:pt x="8668627" y="7960503"/>
                    </a:lnTo>
                    <a:lnTo>
                      <a:pt x="8671021" y="7935113"/>
                    </a:lnTo>
                    <a:lnTo>
                      <a:pt x="8660820" y="7909723"/>
                    </a:lnTo>
                    <a:lnTo>
                      <a:pt x="8644163" y="7884333"/>
                    </a:lnTo>
                    <a:lnTo>
                      <a:pt x="8628791" y="7857400"/>
                    </a:lnTo>
                    <a:lnTo>
                      <a:pt x="8624344" y="7813391"/>
                    </a:lnTo>
                    <a:lnTo>
                      <a:pt x="8641422" y="7786503"/>
                    </a:lnTo>
                    <a:lnTo>
                      <a:pt x="8644163" y="7756471"/>
                    </a:lnTo>
                    <a:lnTo>
                      <a:pt x="8621473" y="7736370"/>
                    </a:lnTo>
                    <a:lnTo>
                      <a:pt x="8593394" y="7722171"/>
                    </a:lnTo>
                    <a:lnTo>
                      <a:pt x="8578877" y="7695264"/>
                    </a:lnTo>
                    <a:lnTo>
                      <a:pt x="8635327" y="7587707"/>
                    </a:lnTo>
                    <a:lnTo>
                      <a:pt x="8652640" y="7555900"/>
                    </a:lnTo>
                    <a:lnTo>
                      <a:pt x="8675442" y="7540203"/>
                    </a:lnTo>
                    <a:lnTo>
                      <a:pt x="8702591" y="7531221"/>
                    </a:lnTo>
                    <a:lnTo>
                      <a:pt x="8729913" y="7527423"/>
                    </a:lnTo>
                    <a:lnTo>
                      <a:pt x="8755698" y="7522522"/>
                    </a:lnTo>
                    <a:lnTo>
                      <a:pt x="8776837" y="7514517"/>
                    </a:lnTo>
                    <a:lnTo>
                      <a:pt x="8800923" y="7483145"/>
                    </a:lnTo>
                    <a:lnTo>
                      <a:pt x="8804662" y="7447710"/>
                    </a:lnTo>
                    <a:lnTo>
                      <a:pt x="8799658" y="7413549"/>
                    </a:lnTo>
                    <a:lnTo>
                      <a:pt x="8798759" y="7378497"/>
                    </a:lnTo>
                    <a:lnTo>
                      <a:pt x="8819619" y="7337535"/>
                    </a:lnTo>
                    <a:lnTo>
                      <a:pt x="8836741" y="7315812"/>
                    </a:lnTo>
                    <a:lnTo>
                      <a:pt x="8867083" y="7291470"/>
                    </a:lnTo>
                    <a:lnTo>
                      <a:pt x="8918919" y="7261365"/>
                    </a:lnTo>
                    <a:lnTo>
                      <a:pt x="8954960" y="7240433"/>
                    </a:lnTo>
                    <a:lnTo>
                      <a:pt x="8991584" y="7225739"/>
                    </a:lnTo>
                    <a:lnTo>
                      <a:pt x="9027737" y="7206957"/>
                    </a:lnTo>
                    <a:lnTo>
                      <a:pt x="9057323" y="7191611"/>
                    </a:lnTo>
                    <a:lnTo>
                      <a:pt x="9079430" y="7161788"/>
                    </a:lnTo>
                    <a:lnTo>
                      <a:pt x="9105270" y="7141666"/>
                    </a:lnTo>
                    <a:lnTo>
                      <a:pt x="9132003" y="7120900"/>
                    </a:lnTo>
                    <a:lnTo>
                      <a:pt x="9172019" y="7118987"/>
                    </a:lnTo>
                    <a:lnTo>
                      <a:pt x="9201835" y="7102222"/>
                    </a:lnTo>
                    <a:lnTo>
                      <a:pt x="9261651" y="7068576"/>
                    </a:lnTo>
                    <a:lnTo>
                      <a:pt x="9319837" y="7031532"/>
                    </a:lnTo>
                    <a:lnTo>
                      <a:pt x="9378674" y="6996125"/>
                    </a:lnTo>
                    <a:lnTo>
                      <a:pt x="9420166" y="6975106"/>
                    </a:lnTo>
                    <a:lnTo>
                      <a:pt x="9501041" y="6927247"/>
                    </a:lnTo>
                    <a:lnTo>
                      <a:pt x="9575902" y="6879145"/>
                    </a:lnTo>
                    <a:lnTo>
                      <a:pt x="9650750" y="6831040"/>
                    </a:lnTo>
                    <a:lnTo>
                      <a:pt x="9719936" y="6782687"/>
                    </a:lnTo>
                    <a:lnTo>
                      <a:pt x="9697346" y="6726083"/>
                    </a:lnTo>
                    <a:lnTo>
                      <a:pt x="9669112" y="6681448"/>
                    </a:lnTo>
                    <a:lnTo>
                      <a:pt x="9637107" y="6642472"/>
                    </a:lnTo>
                    <a:lnTo>
                      <a:pt x="9614126" y="6634142"/>
                    </a:lnTo>
                    <a:lnTo>
                      <a:pt x="9582785" y="6645401"/>
                    </a:lnTo>
                    <a:lnTo>
                      <a:pt x="9559574" y="6647914"/>
                    </a:lnTo>
                    <a:lnTo>
                      <a:pt x="9525579" y="6648684"/>
                    </a:lnTo>
                    <a:lnTo>
                      <a:pt x="9502443" y="6646554"/>
                    </a:lnTo>
                    <a:lnTo>
                      <a:pt x="9479325" y="6644424"/>
                    </a:lnTo>
                    <a:lnTo>
                      <a:pt x="9454266" y="6640771"/>
                    </a:lnTo>
                    <a:lnTo>
                      <a:pt x="9428996" y="6635673"/>
                    </a:lnTo>
                    <a:lnTo>
                      <a:pt x="9403726" y="6630575"/>
                    </a:lnTo>
                    <a:lnTo>
                      <a:pt x="9378264" y="6624066"/>
                    </a:lnTo>
                    <a:lnTo>
                      <a:pt x="9358265" y="6616633"/>
                    </a:lnTo>
                    <a:lnTo>
                      <a:pt x="9338261" y="6609195"/>
                    </a:lnTo>
                    <a:lnTo>
                      <a:pt x="9316098" y="6592147"/>
                    </a:lnTo>
                    <a:lnTo>
                      <a:pt x="9347810" y="6567258"/>
                    </a:lnTo>
                    <a:lnTo>
                      <a:pt x="9439755" y="6413681"/>
                    </a:lnTo>
                    <a:lnTo>
                      <a:pt x="9449404" y="6381314"/>
                    </a:lnTo>
                    <a:lnTo>
                      <a:pt x="9492955" y="6366272"/>
                    </a:lnTo>
                    <a:lnTo>
                      <a:pt x="9535470" y="6374172"/>
                    </a:lnTo>
                    <a:lnTo>
                      <a:pt x="9579982" y="6371791"/>
                    </a:lnTo>
                    <a:lnTo>
                      <a:pt x="9617599" y="6364075"/>
                    </a:lnTo>
                    <a:lnTo>
                      <a:pt x="9688075" y="6362334"/>
                    </a:lnTo>
                    <a:lnTo>
                      <a:pt x="9767220" y="6357843"/>
                    </a:lnTo>
                    <a:lnTo>
                      <a:pt x="9818014" y="6366351"/>
                    </a:lnTo>
                    <a:lnTo>
                      <a:pt x="9855618" y="6372655"/>
                    </a:lnTo>
                    <a:lnTo>
                      <a:pt x="9897216" y="6384493"/>
                    </a:lnTo>
                    <a:lnTo>
                      <a:pt x="9940425" y="6398996"/>
                    </a:lnTo>
                    <a:lnTo>
                      <a:pt x="9983641" y="6413497"/>
                    </a:lnTo>
                    <a:lnTo>
                      <a:pt x="10028606" y="6430947"/>
                    </a:lnTo>
                    <a:lnTo>
                      <a:pt x="10073726" y="6446603"/>
                    </a:lnTo>
                    <a:lnTo>
                      <a:pt x="10118858" y="6462254"/>
                    </a:lnTo>
                    <a:lnTo>
                      <a:pt x="10163674" y="6476301"/>
                    </a:lnTo>
                    <a:lnTo>
                      <a:pt x="10207032" y="6486048"/>
                    </a:lnTo>
                    <a:lnTo>
                      <a:pt x="10250385" y="6495788"/>
                    </a:lnTo>
                    <a:lnTo>
                      <a:pt x="10291536" y="6501513"/>
                    </a:lnTo>
                    <a:lnTo>
                      <a:pt x="10329443" y="6498289"/>
                    </a:lnTo>
                    <a:lnTo>
                      <a:pt x="10500838" y="6483331"/>
                    </a:lnTo>
                    <a:lnTo>
                      <a:pt x="10517587" y="6442660"/>
                    </a:lnTo>
                    <a:lnTo>
                      <a:pt x="10521239" y="6418035"/>
                    </a:lnTo>
                    <a:lnTo>
                      <a:pt x="10524855" y="6393416"/>
                    </a:lnTo>
                    <a:lnTo>
                      <a:pt x="10528389" y="6369049"/>
                    </a:lnTo>
                    <a:lnTo>
                      <a:pt x="10540444" y="6335810"/>
                    </a:lnTo>
                    <a:lnTo>
                      <a:pt x="10561789" y="6300850"/>
                    </a:lnTo>
                    <a:lnTo>
                      <a:pt x="10601991" y="6286032"/>
                    </a:lnTo>
                    <a:lnTo>
                      <a:pt x="10655582" y="6263463"/>
                    </a:lnTo>
                    <a:lnTo>
                      <a:pt x="10701080" y="6233753"/>
                    </a:lnTo>
                    <a:lnTo>
                      <a:pt x="10745672" y="6208567"/>
                    </a:lnTo>
                    <a:lnTo>
                      <a:pt x="10738870" y="6150077"/>
                    </a:lnTo>
                    <a:lnTo>
                      <a:pt x="10752332" y="6131723"/>
                    </a:lnTo>
                    <a:lnTo>
                      <a:pt x="10774706" y="6116971"/>
                    </a:lnTo>
                    <a:lnTo>
                      <a:pt x="10794637" y="6101110"/>
                    </a:lnTo>
                    <a:lnTo>
                      <a:pt x="10814561" y="6085257"/>
                    </a:lnTo>
                    <a:lnTo>
                      <a:pt x="10831459" y="6068703"/>
                    </a:lnTo>
                    <a:lnTo>
                      <a:pt x="10832724" y="6045344"/>
                    </a:lnTo>
                    <a:lnTo>
                      <a:pt x="10825922" y="6019498"/>
                    </a:lnTo>
                    <a:lnTo>
                      <a:pt x="10819119" y="5993653"/>
                    </a:lnTo>
                    <a:lnTo>
                      <a:pt x="10802797" y="5973254"/>
                    </a:lnTo>
                    <a:lnTo>
                      <a:pt x="10786476" y="5952851"/>
                    </a:lnTo>
                    <a:lnTo>
                      <a:pt x="10765733" y="5940036"/>
                    </a:lnTo>
                    <a:lnTo>
                      <a:pt x="10743359" y="5939041"/>
                    </a:lnTo>
                    <a:lnTo>
                      <a:pt x="10721184" y="5937886"/>
                    </a:lnTo>
                    <a:lnTo>
                      <a:pt x="10699002" y="5936732"/>
                    </a:lnTo>
                    <a:lnTo>
                      <a:pt x="10677813" y="5935974"/>
                    </a:lnTo>
                    <a:lnTo>
                      <a:pt x="10645412" y="5913841"/>
                    </a:lnTo>
                    <a:lnTo>
                      <a:pt x="10631416" y="5880760"/>
                    </a:lnTo>
                    <a:lnTo>
                      <a:pt x="10628017" y="5844370"/>
                    </a:lnTo>
                    <a:lnTo>
                      <a:pt x="10638206" y="5786230"/>
                    </a:lnTo>
                    <a:lnTo>
                      <a:pt x="10655321" y="5746206"/>
                    </a:lnTo>
                    <a:lnTo>
                      <a:pt x="10662701" y="5717538"/>
                    </a:lnTo>
                    <a:lnTo>
                      <a:pt x="10671376" y="5683831"/>
                    </a:lnTo>
                    <a:lnTo>
                      <a:pt x="10676938" y="5629449"/>
                    </a:lnTo>
                    <a:lnTo>
                      <a:pt x="10674942" y="5574711"/>
                    </a:lnTo>
                    <a:lnTo>
                      <a:pt x="10673937" y="5547350"/>
                    </a:lnTo>
                    <a:lnTo>
                      <a:pt x="10671023" y="5519981"/>
                    </a:lnTo>
                    <a:lnTo>
                      <a:pt x="10665411" y="5495823"/>
                    </a:lnTo>
                    <a:lnTo>
                      <a:pt x="10659811" y="5471666"/>
                    </a:lnTo>
                    <a:lnTo>
                      <a:pt x="10651092" y="5449903"/>
                    </a:lnTo>
                    <a:lnTo>
                      <a:pt x="10619906" y="5408499"/>
                    </a:lnTo>
                    <a:lnTo>
                      <a:pt x="10590345" y="5382265"/>
                    </a:lnTo>
                    <a:lnTo>
                      <a:pt x="10567482" y="5358445"/>
                    </a:lnTo>
                    <a:lnTo>
                      <a:pt x="10621562" y="5261764"/>
                    </a:lnTo>
                    <a:lnTo>
                      <a:pt x="10632768" y="5238747"/>
                    </a:lnTo>
                    <a:lnTo>
                      <a:pt x="10649089" y="5225123"/>
                    </a:lnTo>
                    <a:lnTo>
                      <a:pt x="10673193" y="5219009"/>
                    </a:lnTo>
                    <a:lnTo>
                      <a:pt x="10698053" y="5214260"/>
                    </a:lnTo>
                    <a:lnTo>
                      <a:pt x="10722945" y="5209512"/>
                    </a:lnTo>
                    <a:lnTo>
                      <a:pt x="10748407" y="5206208"/>
                    </a:lnTo>
                    <a:lnTo>
                      <a:pt x="10768784" y="5197939"/>
                    </a:lnTo>
                    <a:lnTo>
                      <a:pt x="10783382" y="5165412"/>
                    </a:lnTo>
                    <a:lnTo>
                      <a:pt x="10785106" y="5143530"/>
                    </a:lnTo>
                    <a:lnTo>
                      <a:pt x="10786854" y="5121649"/>
                    </a:lnTo>
                    <a:lnTo>
                      <a:pt x="10786203" y="5096700"/>
                    </a:lnTo>
                    <a:lnTo>
                      <a:pt x="10786464" y="5071441"/>
                    </a:lnTo>
                    <a:lnTo>
                      <a:pt x="10786929" y="5046184"/>
                    </a:lnTo>
                    <a:lnTo>
                      <a:pt x="10788591" y="5019784"/>
                    </a:lnTo>
                    <a:lnTo>
                      <a:pt x="10794624" y="4995270"/>
                    </a:lnTo>
                    <a:lnTo>
                      <a:pt x="10800670" y="4970757"/>
                    </a:lnTo>
                    <a:lnTo>
                      <a:pt x="10810909" y="4948262"/>
                    </a:lnTo>
                    <a:lnTo>
                      <a:pt x="10829996" y="4928622"/>
                    </a:lnTo>
                    <a:lnTo>
                      <a:pt x="10855706" y="4902157"/>
                    </a:lnTo>
                    <a:lnTo>
                      <a:pt x="10902977" y="4883776"/>
                    </a:lnTo>
                    <a:lnTo>
                      <a:pt x="10934727" y="4866050"/>
                    </a:lnTo>
                    <a:lnTo>
                      <a:pt x="10951533" y="4841174"/>
                    </a:lnTo>
                    <a:lnTo>
                      <a:pt x="10947861" y="4801155"/>
                    </a:lnTo>
                    <a:lnTo>
                      <a:pt x="10941170" y="4777645"/>
                    </a:lnTo>
                    <a:lnTo>
                      <a:pt x="10932005" y="4753152"/>
                    </a:lnTo>
                    <a:lnTo>
                      <a:pt x="10913693" y="4704172"/>
                    </a:lnTo>
                    <a:lnTo>
                      <a:pt x="10889118" y="4654049"/>
                    </a:lnTo>
                    <a:lnTo>
                      <a:pt x="10906462" y="4631648"/>
                    </a:lnTo>
                    <a:lnTo>
                      <a:pt x="10937444" y="4638895"/>
                    </a:lnTo>
                    <a:lnTo>
                      <a:pt x="10952109" y="4603012"/>
                    </a:lnTo>
                    <a:lnTo>
                      <a:pt x="10930647" y="4576328"/>
                    </a:lnTo>
                    <a:lnTo>
                      <a:pt x="10904317" y="4552594"/>
                    </a:lnTo>
                    <a:lnTo>
                      <a:pt x="10890352" y="4504431"/>
                    </a:lnTo>
                    <a:lnTo>
                      <a:pt x="10886309" y="4464492"/>
                    </a:lnTo>
                    <a:lnTo>
                      <a:pt x="10865355" y="4437585"/>
                    </a:lnTo>
                    <a:lnTo>
                      <a:pt x="10891784" y="4388579"/>
                    </a:lnTo>
                    <a:lnTo>
                      <a:pt x="10938163" y="4381311"/>
                    </a:lnTo>
                    <a:lnTo>
                      <a:pt x="10968722" y="4354615"/>
                    </a:lnTo>
                    <a:lnTo>
                      <a:pt x="10982334" y="4335207"/>
                    </a:lnTo>
                    <a:lnTo>
                      <a:pt x="10982315" y="4311458"/>
                    </a:lnTo>
                    <a:lnTo>
                      <a:pt x="10979630" y="4282526"/>
                    </a:lnTo>
                    <a:lnTo>
                      <a:pt x="10984765" y="4248548"/>
                    </a:lnTo>
                    <a:lnTo>
                      <a:pt x="10997303" y="4228119"/>
                    </a:lnTo>
                    <a:lnTo>
                      <a:pt x="11009879" y="4207687"/>
                    </a:lnTo>
                    <a:lnTo>
                      <a:pt x="11031273" y="4184810"/>
                    </a:lnTo>
                    <a:lnTo>
                      <a:pt x="11066682" y="4158746"/>
                    </a:lnTo>
                    <a:lnTo>
                      <a:pt x="11081360" y="4130171"/>
                    </a:lnTo>
                    <a:lnTo>
                      <a:pt x="11075624" y="4092870"/>
                    </a:lnTo>
                    <a:lnTo>
                      <a:pt x="11068034" y="4055371"/>
                    </a:lnTo>
                    <a:lnTo>
                      <a:pt x="11060462" y="4017873"/>
                    </a:lnTo>
                    <a:lnTo>
                      <a:pt x="11050478" y="3979563"/>
                    </a:lnTo>
                    <a:lnTo>
                      <a:pt x="11054435" y="3947914"/>
                    </a:lnTo>
                    <a:lnTo>
                      <a:pt x="11057870" y="3920572"/>
                    </a:lnTo>
                    <a:lnTo>
                      <a:pt x="11070663" y="3895755"/>
                    </a:lnTo>
                    <a:lnTo>
                      <a:pt x="11074837" y="3869026"/>
                    </a:lnTo>
                    <a:lnTo>
                      <a:pt x="11077181" y="3842843"/>
                    </a:lnTo>
                    <a:lnTo>
                      <a:pt x="11069783" y="3813595"/>
                    </a:lnTo>
                    <a:lnTo>
                      <a:pt x="11047645" y="3780614"/>
                    </a:lnTo>
                    <a:lnTo>
                      <a:pt x="11024372" y="3769021"/>
                    </a:lnTo>
                    <a:lnTo>
                      <a:pt x="10994749" y="3770444"/>
                    </a:lnTo>
                    <a:lnTo>
                      <a:pt x="10961957" y="3780614"/>
                    </a:lnTo>
                    <a:lnTo>
                      <a:pt x="10929562" y="3792596"/>
                    </a:lnTo>
                    <a:lnTo>
                      <a:pt x="10897471" y="3811611"/>
                    </a:lnTo>
                    <a:lnTo>
                      <a:pt x="10858186" y="3809836"/>
                    </a:lnTo>
                    <a:lnTo>
                      <a:pt x="10851551" y="3784907"/>
                    </a:lnTo>
                    <a:lnTo>
                      <a:pt x="10847694" y="3762927"/>
                    </a:lnTo>
                    <a:lnTo>
                      <a:pt x="10852605" y="3739020"/>
                    </a:lnTo>
                    <a:lnTo>
                      <a:pt x="10938361" y="3617964"/>
                    </a:lnTo>
                    <a:lnTo>
                      <a:pt x="10968251" y="3600250"/>
                    </a:lnTo>
                    <a:lnTo>
                      <a:pt x="10992969" y="3608460"/>
                    </a:lnTo>
                    <a:lnTo>
                      <a:pt x="11019076" y="3617390"/>
                    </a:lnTo>
                    <a:lnTo>
                      <a:pt x="11045214" y="3626287"/>
                    </a:lnTo>
                    <a:lnTo>
                      <a:pt x="11072300" y="3636944"/>
                    </a:lnTo>
                    <a:lnTo>
                      <a:pt x="11093291" y="3609411"/>
                    </a:lnTo>
                    <a:lnTo>
                      <a:pt x="11100658" y="3582846"/>
                    </a:lnTo>
                    <a:lnTo>
                      <a:pt x="11110208" y="3558901"/>
                    </a:lnTo>
                    <a:lnTo>
                      <a:pt x="11119758" y="3534947"/>
                    </a:lnTo>
                    <a:lnTo>
                      <a:pt x="11132396" y="3513376"/>
                    </a:lnTo>
                    <a:lnTo>
                      <a:pt x="11149660" y="3496328"/>
                    </a:lnTo>
                    <a:lnTo>
                      <a:pt x="11233438" y="3457648"/>
                    </a:lnTo>
                    <a:lnTo>
                      <a:pt x="11237828" y="3423058"/>
                    </a:lnTo>
                    <a:lnTo>
                      <a:pt x="11200032" y="3389971"/>
                    </a:lnTo>
                    <a:lnTo>
                      <a:pt x="11159185" y="3358950"/>
                    </a:lnTo>
                    <a:lnTo>
                      <a:pt x="11118326" y="3327927"/>
                    </a:lnTo>
                    <a:lnTo>
                      <a:pt x="11073807" y="3298659"/>
                    </a:lnTo>
                    <a:lnTo>
                      <a:pt x="11055811" y="3286860"/>
                    </a:lnTo>
                    <a:lnTo>
                      <a:pt x="11060239" y="3252197"/>
                    </a:lnTo>
                    <a:lnTo>
                      <a:pt x="11087115" y="3225653"/>
                    </a:lnTo>
                    <a:lnTo>
                      <a:pt x="11120843" y="3203884"/>
                    </a:lnTo>
                    <a:lnTo>
                      <a:pt x="11140160" y="3195726"/>
                    </a:lnTo>
                    <a:lnTo>
                      <a:pt x="11178793" y="3179417"/>
                    </a:lnTo>
                    <a:lnTo>
                      <a:pt x="11222065" y="3170131"/>
                    </a:lnTo>
                    <a:lnTo>
                      <a:pt x="11255781" y="3167163"/>
                    </a:lnTo>
                    <a:lnTo>
                      <a:pt x="11296876" y="3169056"/>
                    </a:lnTo>
                    <a:lnTo>
                      <a:pt x="11326536" y="3163892"/>
                    </a:lnTo>
                    <a:lnTo>
                      <a:pt x="11354516" y="3149205"/>
                    </a:lnTo>
                    <a:lnTo>
                      <a:pt x="11359154" y="3118196"/>
                    </a:lnTo>
                    <a:lnTo>
                      <a:pt x="11276176" y="3066512"/>
                    </a:lnTo>
                    <a:lnTo>
                      <a:pt x="11222586" y="2999343"/>
                    </a:lnTo>
                    <a:lnTo>
                      <a:pt x="11190489" y="2938650"/>
                    </a:lnTo>
                    <a:lnTo>
                      <a:pt x="11164053" y="2888687"/>
                    </a:lnTo>
                    <a:lnTo>
                      <a:pt x="11147477" y="2850180"/>
                    </a:lnTo>
                    <a:lnTo>
                      <a:pt x="11137438" y="2825752"/>
                    </a:lnTo>
                    <a:lnTo>
                      <a:pt x="11115678" y="2829827"/>
                    </a:lnTo>
                    <a:lnTo>
                      <a:pt x="11097229" y="2768257"/>
                    </a:lnTo>
                    <a:lnTo>
                      <a:pt x="11134083" y="2705500"/>
                    </a:lnTo>
                    <a:lnTo>
                      <a:pt x="11117036" y="2657087"/>
                    </a:lnTo>
                    <a:lnTo>
                      <a:pt x="11085118" y="2614879"/>
                    </a:lnTo>
                    <a:lnTo>
                      <a:pt x="11056890" y="2577492"/>
                    </a:lnTo>
                    <a:lnTo>
                      <a:pt x="11041084" y="2536348"/>
                    </a:lnTo>
                    <a:lnTo>
                      <a:pt x="11028626" y="2508820"/>
                    </a:lnTo>
                    <a:lnTo>
                      <a:pt x="11008900" y="2465149"/>
                    </a:lnTo>
                    <a:lnTo>
                      <a:pt x="10958403" y="2412060"/>
                    </a:lnTo>
                    <a:lnTo>
                      <a:pt x="10932049" y="2368724"/>
                    </a:lnTo>
                    <a:lnTo>
                      <a:pt x="10919987" y="2348788"/>
                    </a:lnTo>
                    <a:lnTo>
                      <a:pt x="10898420" y="2331826"/>
                    </a:lnTo>
                    <a:lnTo>
                      <a:pt x="10885806" y="2311593"/>
                    </a:lnTo>
                    <a:lnTo>
                      <a:pt x="10863278" y="2275526"/>
                    </a:lnTo>
                    <a:lnTo>
                      <a:pt x="10835137" y="2238080"/>
                    </a:lnTo>
                    <a:lnTo>
                      <a:pt x="10819150" y="2194619"/>
                    </a:lnTo>
                    <a:lnTo>
                      <a:pt x="10792752" y="2167626"/>
                    </a:lnTo>
                    <a:lnTo>
                      <a:pt x="10735719" y="2132429"/>
                    </a:lnTo>
                    <a:lnTo>
                      <a:pt x="10686067" y="2116661"/>
                    </a:lnTo>
                    <a:lnTo>
                      <a:pt x="10642330" y="2096684"/>
                    </a:lnTo>
                    <a:lnTo>
                      <a:pt x="10561187" y="2059615"/>
                    </a:lnTo>
                    <a:lnTo>
                      <a:pt x="10493173" y="2004508"/>
                    </a:lnTo>
                    <a:lnTo>
                      <a:pt x="10408372" y="1971546"/>
                    </a:lnTo>
                    <a:lnTo>
                      <a:pt x="10346825" y="1947594"/>
                    </a:lnTo>
                    <a:lnTo>
                      <a:pt x="10259934" y="1933606"/>
                    </a:lnTo>
                    <a:lnTo>
                      <a:pt x="10205705" y="1908974"/>
                    </a:lnTo>
                    <a:lnTo>
                      <a:pt x="10161665" y="1878453"/>
                    </a:lnTo>
                    <a:lnTo>
                      <a:pt x="10145858" y="1864089"/>
                    </a:lnTo>
                    <a:lnTo>
                      <a:pt x="10108874" y="1830613"/>
                    </a:lnTo>
                    <a:lnTo>
                      <a:pt x="10091269" y="1751745"/>
                    </a:lnTo>
                    <a:lnTo>
                      <a:pt x="10079208" y="1704948"/>
                    </a:lnTo>
                    <a:lnTo>
                      <a:pt x="10055662" y="1613536"/>
                    </a:lnTo>
                    <a:lnTo>
                      <a:pt x="9963878" y="1519024"/>
                    </a:lnTo>
                    <a:lnTo>
                      <a:pt x="9906461" y="1445148"/>
                    </a:lnTo>
                    <a:lnTo>
                      <a:pt x="9882271" y="1414080"/>
                    </a:lnTo>
                    <a:lnTo>
                      <a:pt x="9864535" y="1376119"/>
                    </a:lnTo>
                    <a:lnTo>
                      <a:pt x="9841176" y="1344490"/>
                    </a:lnTo>
                    <a:lnTo>
                      <a:pt x="9818634" y="1318968"/>
                    </a:lnTo>
                    <a:lnTo>
                      <a:pt x="9782891" y="1265285"/>
                    </a:lnTo>
                    <a:lnTo>
                      <a:pt x="9677775" y="1198763"/>
                    </a:lnTo>
                    <a:lnTo>
                      <a:pt x="9683387" y="1155427"/>
                    </a:lnTo>
                    <a:lnTo>
                      <a:pt x="9686171" y="1133532"/>
                    </a:lnTo>
                    <a:lnTo>
                      <a:pt x="9709953" y="1100274"/>
                    </a:lnTo>
                    <a:lnTo>
                      <a:pt x="9717394" y="1076533"/>
                    </a:lnTo>
                    <a:lnTo>
                      <a:pt x="9745839" y="985444"/>
                    </a:lnTo>
                    <a:lnTo>
                      <a:pt x="9735167" y="950292"/>
                    </a:lnTo>
                    <a:lnTo>
                      <a:pt x="9743240" y="864341"/>
                    </a:lnTo>
                    <a:lnTo>
                      <a:pt x="9746068" y="834203"/>
                    </a:lnTo>
                    <a:lnTo>
                      <a:pt x="9761038" y="806854"/>
                    </a:lnTo>
                    <a:lnTo>
                      <a:pt x="9765000" y="777289"/>
                    </a:lnTo>
                    <a:lnTo>
                      <a:pt x="9767828" y="755420"/>
                    </a:lnTo>
                    <a:lnTo>
                      <a:pt x="9759388" y="726304"/>
                    </a:lnTo>
                    <a:lnTo>
                      <a:pt x="9750037" y="706558"/>
                    </a:lnTo>
                    <a:lnTo>
                      <a:pt x="9716414" y="635848"/>
                    </a:lnTo>
                    <a:lnTo>
                      <a:pt x="9627620" y="643036"/>
                    </a:lnTo>
                    <a:lnTo>
                      <a:pt x="9562327" y="629028"/>
                    </a:lnTo>
                    <a:lnTo>
                      <a:pt x="9524631" y="620950"/>
                    </a:lnTo>
                    <a:lnTo>
                      <a:pt x="9485427" y="604904"/>
                    </a:lnTo>
                    <a:lnTo>
                      <a:pt x="9449435" y="592302"/>
                    </a:lnTo>
                    <a:lnTo>
                      <a:pt x="9405184" y="576830"/>
                    </a:lnTo>
                    <a:lnTo>
                      <a:pt x="9398127" y="541383"/>
                    </a:lnTo>
                    <a:lnTo>
                      <a:pt x="9369180" y="520213"/>
                    </a:lnTo>
                    <a:lnTo>
                      <a:pt x="9327185" y="499894"/>
                    </a:lnTo>
                    <a:lnTo>
                      <a:pt x="9311242" y="480426"/>
                    </a:lnTo>
                    <a:lnTo>
                      <a:pt x="9287950" y="447082"/>
                    </a:lnTo>
                    <a:lnTo>
                      <a:pt x="9194263" y="231765"/>
                    </a:lnTo>
                    <a:lnTo>
                      <a:pt x="9188279" y="210087"/>
                    </a:lnTo>
                    <a:lnTo>
                      <a:pt x="9175021" y="162393"/>
                    </a:lnTo>
                    <a:lnTo>
                      <a:pt x="9216792" y="34069"/>
                    </a:lnTo>
                    <a:lnTo>
                      <a:pt x="9171957" y="613"/>
                    </a:lnTo>
                    <a:lnTo>
                      <a:pt x="9113896" y="613"/>
                    </a:lnTo>
                    <a:lnTo>
                      <a:pt x="9053013" y="5414"/>
                    </a:lnTo>
                    <a:lnTo>
                      <a:pt x="8996489" y="16936"/>
                    </a:lnTo>
                    <a:lnTo>
                      <a:pt x="8973365" y="21631"/>
                    </a:lnTo>
                    <a:lnTo>
                      <a:pt x="8949261" y="33772"/>
                    </a:lnTo>
                    <a:lnTo>
                      <a:pt x="8925759" y="37340"/>
                    </a:lnTo>
                    <a:lnTo>
                      <a:pt x="8864417" y="46672"/>
                    </a:lnTo>
                    <a:lnTo>
                      <a:pt x="8719985" y="40935"/>
                    </a:lnTo>
                    <a:lnTo>
                      <a:pt x="8672763" y="61827"/>
                    </a:lnTo>
                    <a:lnTo>
                      <a:pt x="8632592" y="79574"/>
                    </a:lnTo>
                    <a:lnTo>
                      <a:pt x="8551828" y="203050"/>
                    </a:lnTo>
                    <a:lnTo>
                      <a:pt x="8514974" y="241374"/>
                    </a:lnTo>
                    <a:lnTo>
                      <a:pt x="8403180" y="357688"/>
                    </a:lnTo>
                    <a:lnTo>
                      <a:pt x="8250166" y="392845"/>
                    </a:lnTo>
                    <a:lnTo>
                      <a:pt x="8102838" y="442683"/>
                    </a:lnTo>
                    <a:lnTo>
                      <a:pt x="8062128" y="456473"/>
                    </a:lnTo>
                    <a:lnTo>
                      <a:pt x="8032573" y="479258"/>
                    </a:lnTo>
                    <a:lnTo>
                      <a:pt x="7984495" y="486209"/>
                    </a:lnTo>
                    <a:lnTo>
                      <a:pt x="7954450" y="491221"/>
                    </a:lnTo>
                    <a:lnTo>
                      <a:pt x="7919550" y="492883"/>
                    </a:lnTo>
                    <a:lnTo>
                      <a:pt x="7890647" y="501166"/>
                    </a:lnTo>
                    <a:lnTo>
                      <a:pt x="7844113" y="514514"/>
                    </a:lnTo>
                    <a:lnTo>
                      <a:pt x="7777785" y="552178"/>
                    </a:lnTo>
                    <a:lnTo>
                      <a:pt x="7727419" y="537894"/>
                    </a:lnTo>
                    <a:lnTo>
                      <a:pt x="7705945" y="524401"/>
                    </a:lnTo>
                    <a:lnTo>
                      <a:pt x="7657334" y="494387"/>
                    </a:lnTo>
                    <a:lnTo>
                      <a:pt x="7611885" y="481296"/>
                    </a:lnTo>
                    <a:lnTo>
                      <a:pt x="7565563" y="475328"/>
                    </a:lnTo>
                    <a:lnTo>
                      <a:pt x="7541198" y="475328"/>
                    </a:lnTo>
                    <a:lnTo>
                      <a:pt x="7514794" y="473139"/>
                    </a:lnTo>
                    <a:lnTo>
                      <a:pt x="7490752" y="475328"/>
                    </a:lnTo>
                    <a:lnTo>
                      <a:pt x="7445396" y="479450"/>
                    </a:lnTo>
                    <a:lnTo>
                      <a:pt x="7392519" y="502974"/>
                    </a:lnTo>
                    <a:lnTo>
                      <a:pt x="7346562" y="513414"/>
                    </a:lnTo>
                    <a:lnTo>
                      <a:pt x="7298881" y="524229"/>
                    </a:lnTo>
                    <a:lnTo>
                      <a:pt x="7249359" y="522079"/>
                    </a:lnTo>
                    <a:lnTo>
                      <a:pt x="7201020" y="533812"/>
                    </a:lnTo>
                    <a:lnTo>
                      <a:pt x="7172036" y="542016"/>
                    </a:lnTo>
                    <a:lnTo>
                      <a:pt x="7128808" y="561741"/>
                    </a:lnTo>
                    <a:lnTo>
                      <a:pt x="7099396" y="582337"/>
                    </a:lnTo>
                    <a:lnTo>
                      <a:pt x="7067726" y="596384"/>
                    </a:lnTo>
                    <a:lnTo>
                      <a:pt x="7013661" y="620403"/>
                    </a:lnTo>
                    <a:lnTo>
                      <a:pt x="6957379" y="641440"/>
                    </a:lnTo>
                    <a:lnTo>
                      <a:pt x="6899061" y="661674"/>
                    </a:lnTo>
                    <a:lnTo>
                      <a:pt x="6870882" y="687855"/>
                    </a:lnTo>
                    <a:lnTo>
                      <a:pt x="6781235" y="761560"/>
                    </a:lnTo>
                    <a:lnTo>
                      <a:pt x="6746719" y="777289"/>
                    </a:lnTo>
                    <a:lnTo>
                      <a:pt x="6662126" y="815862"/>
                    </a:lnTo>
                    <a:lnTo>
                      <a:pt x="6526534" y="887404"/>
                    </a:lnTo>
                    <a:lnTo>
                      <a:pt x="6463797" y="955477"/>
                    </a:lnTo>
                    <a:lnTo>
                      <a:pt x="6402973" y="1021465"/>
                    </a:lnTo>
                    <a:lnTo>
                      <a:pt x="6353156" y="1169349"/>
                    </a:lnTo>
                    <a:lnTo>
                      <a:pt x="6269288" y="1207178"/>
                    </a:lnTo>
                    <a:lnTo>
                      <a:pt x="6190214" y="1194087"/>
                    </a:lnTo>
                    <a:lnTo>
                      <a:pt x="6119669" y="1177190"/>
                    </a:lnTo>
                    <a:lnTo>
                      <a:pt x="6097649" y="1171894"/>
                    </a:lnTo>
                    <a:lnTo>
                      <a:pt x="6066665" y="1165841"/>
                    </a:lnTo>
                    <a:lnTo>
                      <a:pt x="6047575" y="1154062"/>
                    </a:lnTo>
                    <a:lnTo>
                      <a:pt x="6005881" y="1128388"/>
                    </a:lnTo>
                    <a:lnTo>
                      <a:pt x="5967493" y="1064885"/>
                    </a:lnTo>
                    <a:lnTo>
                      <a:pt x="5976844" y="1015325"/>
                    </a:lnTo>
                    <a:lnTo>
                      <a:pt x="5986031" y="966589"/>
                    </a:lnTo>
                    <a:lnTo>
                      <a:pt x="6053311" y="925549"/>
                    </a:lnTo>
                    <a:lnTo>
                      <a:pt x="6044855" y="873865"/>
                    </a:lnTo>
                    <a:lnTo>
                      <a:pt x="6025684" y="829277"/>
                    </a:lnTo>
                    <a:lnTo>
                      <a:pt x="5915558" y="822220"/>
                    </a:lnTo>
                    <a:lnTo>
                      <a:pt x="5878909" y="841220"/>
                    </a:lnTo>
                    <a:lnTo>
                      <a:pt x="5826373" y="810468"/>
                    </a:lnTo>
                    <a:lnTo>
                      <a:pt x="5699838" y="670537"/>
                    </a:lnTo>
                    <a:lnTo>
                      <a:pt x="5678028" y="757121"/>
                    </a:lnTo>
                    <a:lnTo>
                      <a:pt x="5560624" y="684795"/>
                    </a:lnTo>
                    <a:lnTo>
                      <a:pt x="5534186" y="668472"/>
                    </a:lnTo>
                    <a:lnTo>
                      <a:pt x="5517647" y="625435"/>
                    </a:lnTo>
                    <a:lnTo>
                      <a:pt x="5439748" y="635465"/>
                    </a:lnTo>
                    <a:lnTo>
                      <a:pt x="5434499" y="700267"/>
                    </a:lnTo>
                    <a:lnTo>
                      <a:pt x="5396042" y="740562"/>
                    </a:lnTo>
                    <a:lnTo>
                      <a:pt x="5363015" y="775040"/>
                    </a:lnTo>
                    <a:lnTo>
                      <a:pt x="5235627" y="839901"/>
                    </a:lnTo>
                    <a:lnTo>
                      <a:pt x="5187934" y="838496"/>
                    </a:lnTo>
                    <a:lnTo>
                      <a:pt x="5161706" y="837711"/>
                    </a:lnTo>
                    <a:lnTo>
                      <a:pt x="5127392" y="828129"/>
                    </a:lnTo>
                    <a:lnTo>
                      <a:pt x="5102240" y="815374"/>
                    </a:lnTo>
                    <a:lnTo>
                      <a:pt x="5046169" y="774103"/>
                    </a:lnTo>
                    <a:lnTo>
                      <a:pt x="5001455" y="739012"/>
                    </a:lnTo>
                    <a:lnTo>
                      <a:pt x="4983900" y="668472"/>
                    </a:lnTo>
                    <a:lnTo>
                      <a:pt x="4978117" y="645371"/>
                    </a:lnTo>
                    <a:lnTo>
                      <a:pt x="4984942" y="616129"/>
                    </a:lnTo>
                    <a:lnTo>
                      <a:pt x="4971662" y="595025"/>
                    </a:lnTo>
                    <a:lnTo>
                      <a:pt x="4957719" y="572959"/>
                    </a:lnTo>
                    <a:lnTo>
                      <a:pt x="4911641" y="562974"/>
                    </a:lnTo>
                    <a:lnTo>
                      <a:pt x="4891406" y="541976"/>
                    </a:lnTo>
                    <a:lnTo>
                      <a:pt x="4848482" y="497513"/>
                    </a:lnTo>
                    <a:lnTo>
                      <a:pt x="4760869" y="368023"/>
                    </a:lnTo>
                    <a:lnTo>
                      <a:pt x="4740423" y="312104"/>
                    </a:lnTo>
                    <a:lnTo>
                      <a:pt x="4727981" y="277863"/>
                    </a:lnTo>
                    <a:lnTo>
                      <a:pt x="4735028" y="208241"/>
                    </a:lnTo>
                    <a:lnTo>
                      <a:pt x="4709145" y="189683"/>
                    </a:lnTo>
                    <a:lnTo>
                      <a:pt x="4685041" y="186431"/>
                    </a:lnTo>
                    <a:lnTo>
                      <a:pt x="4646941" y="200373"/>
                    </a:lnTo>
                    <a:lnTo>
                      <a:pt x="4623451" y="207363"/>
                    </a:lnTo>
                    <a:lnTo>
                      <a:pt x="4647152" y="160672"/>
                    </a:lnTo>
                    <a:lnTo>
                      <a:pt x="4632889" y="121267"/>
                    </a:lnTo>
                    <a:lnTo>
                      <a:pt x="4589447" y="94472"/>
                    </a:lnTo>
                    <a:lnTo>
                      <a:pt x="4549526" y="69860"/>
                    </a:lnTo>
                    <a:lnTo>
                      <a:pt x="4127310" y="0"/>
                    </a:lnTo>
                    <a:lnTo>
                      <a:pt x="4068489" y="3337"/>
                    </a:lnTo>
                    <a:lnTo>
                      <a:pt x="4015354" y="6351"/>
                    </a:lnTo>
                    <a:lnTo>
                      <a:pt x="3963544" y="11113"/>
                    </a:lnTo>
                    <a:lnTo>
                      <a:pt x="3912065" y="21018"/>
                    </a:lnTo>
                    <a:lnTo>
                      <a:pt x="3877381" y="27712"/>
                    </a:lnTo>
                    <a:lnTo>
                      <a:pt x="3841030" y="17365"/>
                    </a:lnTo>
                    <a:lnTo>
                      <a:pt x="3807330" y="21018"/>
                    </a:lnTo>
                    <a:lnTo>
                      <a:pt x="3717134" y="30818"/>
                    </a:lnTo>
                    <a:lnTo>
                      <a:pt x="3628293" y="45294"/>
                    </a:lnTo>
                    <a:lnTo>
                      <a:pt x="3536649" y="59103"/>
                    </a:lnTo>
                    <a:lnTo>
                      <a:pt x="3327517" y="126075"/>
                    </a:lnTo>
                    <a:lnTo>
                      <a:pt x="3398158" y="197122"/>
                    </a:lnTo>
                    <a:lnTo>
                      <a:pt x="3339424" y="240009"/>
                    </a:lnTo>
                    <a:lnTo>
                      <a:pt x="3288332" y="277270"/>
                    </a:lnTo>
                    <a:lnTo>
                      <a:pt x="3199655" y="245469"/>
                    </a:lnTo>
                    <a:lnTo>
                      <a:pt x="3147637" y="297140"/>
                    </a:lnTo>
                    <a:lnTo>
                      <a:pt x="3103212" y="389442"/>
                    </a:lnTo>
                    <a:lnTo>
                      <a:pt x="3192732" y="456368"/>
                    </a:lnTo>
                    <a:lnTo>
                      <a:pt x="3036096" y="478045"/>
                    </a:lnTo>
                    <a:lnTo>
                      <a:pt x="2998412" y="482187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51" name="Sumy¬0" descr="Sumy¬0">
                <a:extLst>
                  <a:ext uri="{FF2B5EF4-FFF2-40B4-BE49-F238E27FC236}">
                    <a16:creationId xmlns:a16="http://schemas.microsoft.com/office/drawing/2014/main" id="{A30C22DC-7B8B-4B16-9D17-6E0D04CACE33}"/>
                  </a:ext>
                </a:extLst>
              </p:cNvPr>
              <p:cNvSpPr/>
              <p:nvPr/>
            </p:nvSpPr>
            <p:spPr>
              <a:xfrm>
                <a:off x="37794761" y="53828"/>
                <a:ext cx="9657837" cy="11894507"/>
              </a:xfrm>
              <a:custGeom>
                <a:avLst/>
                <a:gdLst/>
                <a:ahLst/>
                <a:cxnLst/>
                <a:rect l="0" t="0" r="0" b="0"/>
                <a:pathLst>
                  <a:path w="9657839" h="11894505">
                    <a:moveTo>
                      <a:pt x="2838530" y="7354"/>
                    </a:moveTo>
                    <a:lnTo>
                      <a:pt x="2811999" y="18257"/>
                    </a:lnTo>
                    <a:lnTo>
                      <a:pt x="2785693" y="20978"/>
                    </a:lnTo>
                    <a:lnTo>
                      <a:pt x="2667781" y="33220"/>
                    </a:lnTo>
                    <a:lnTo>
                      <a:pt x="2602235" y="69137"/>
                    </a:lnTo>
                    <a:lnTo>
                      <a:pt x="2498697" y="118912"/>
                    </a:lnTo>
                    <a:lnTo>
                      <a:pt x="2445515" y="144479"/>
                    </a:lnTo>
                    <a:lnTo>
                      <a:pt x="2381457" y="160653"/>
                    </a:lnTo>
                    <a:lnTo>
                      <a:pt x="2334105" y="197804"/>
                    </a:lnTo>
                    <a:lnTo>
                      <a:pt x="2261759" y="254549"/>
                    </a:lnTo>
                    <a:lnTo>
                      <a:pt x="2218233" y="345236"/>
                    </a:lnTo>
                    <a:lnTo>
                      <a:pt x="2140960" y="396392"/>
                    </a:lnTo>
                    <a:lnTo>
                      <a:pt x="2096585" y="403236"/>
                    </a:lnTo>
                    <a:lnTo>
                      <a:pt x="2056625" y="366469"/>
                    </a:lnTo>
                    <a:lnTo>
                      <a:pt x="2002476" y="305748"/>
                    </a:lnTo>
                    <a:lnTo>
                      <a:pt x="2020453" y="257057"/>
                    </a:lnTo>
                    <a:lnTo>
                      <a:pt x="2036223" y="180121"/>
                    </a:lnTo>
                    <a:lnTo>
                      <a:pt x="2074484" y="136361"/>
                    </a:lnTo>
                    <a:lnTo>
                      <a:pt x="2068906" y="104949"/>
                    </a:lnTo>
                    <a:lnTo>
                      <a:pt x="1988238" y="32008"/>
                    </a:lnTo>
                    <a:lnTo>
                      <a:pt x="1970940" y="15537"/>
                    </a:lnTo>
                    <a:lnTo>
                      <a:pt x="1901270" y="16281"/>
                    </a:lnTo>
                    <a:lnTo>
                      <a:pt x="1867603" y="249109"/>
                    </a:lnTo>
                    <a:lnTo>
                      <a:pt x="1692092" y="72665"/>
                    </a:lnTo>
                    <a:lnTo>
                      <a:pt x="1667005" y="88070"/>
                    </a:lnTo>
                    <a:lnTo>
                      <a:pt x="1647973" y="109570"/>
                    </a:lnTo>
                    <a:lnTo>
                      <a:pt x="1632684" y="147606"/>
                    </a:lnTo>
                    <a:lnTo>
                      <a:pt x="1624859" y="177640"/>
                    </a:lnTo>
                    <a:lnTo>
                      <a:pt x="1617281" y="208685"/>
                    </a:lnTo>
                    <a:lnTo>
                      <a:pt x="1609703" y="239731"/>
                    </a:lnTo>
                    <a:lnTo>
                      <a:pt x="1602448" y="272362"/>
                    </a:lnTo>
                    <a:lnTo>
                      <a:pt x="1595518" y="301179"/>
                    </a:lnTo>
                    <a:lnTo>
                      <a:pt x="1588585" y="329995"/>
                    </a:lnTo>
                    <a:lnTo>
                      <a:pt x="1582253" y="355342"/>
                    </a:lnTo>
                    <a:lnTo>
                      <a:pt x="1573755" y="374629"/>
                    </a:lnTo>
                    <a:lnTo>
                      <a:pt x="1561771" y="401832"/>
                    </a:lnTo>
                    <a:lnTo>
                      <a:pt x="1535583" y="428528"/>
                    </a:lnTo>
                    <a:lnTo>
                      <a:pt x="1520704" y="454881"/>
                    </a:lnTo>
                    <a:lnTo>
                      <a:pt x="1504218" y="484040"/>
                    </a:lnTo>
                    <a:lnTo>
                      <a:pt x="1490532" y="517195"/>
                    </a:lnTo>
                    <a:lnTo>
                      <a:pt x="1475820" y="547375"/>
                    </a:lnTo>
                    <a:lnTo>
                      <a:pt x="1465836" y="567884"/>
                    </a:lnTo>
                    <a:lnTo>
                      <a:pt x="1471073" y="590383"/>
                    </a:lnTo>
                    <a:lnTo>
                      <a:pt x="1477178" y="614024"/>
                    </a:lnTo>
                    <a:lnTo>
                      <a:pt x="1483292" y="637666"/>
                    </a:lnTo>
                    <a:lnTo>
                      <a:pt x="1490439" y="661195"/>
                    </a:lnTo>
                    <a:lnTo>
                      <a:pt x="1486700" y="683395"/>
                    </a:lnTo>
                    <a:lnTo>
                      <a:pt x="1465321" y="722670"/>
                    </a:lnTo>
                    <a:lnTo>
                      <a:pt x="1402860" y="757228"/>
                    </a:lnTo>
                    <a:lnTo>
                      <a:pt x="1371060" y="774932"/>
                    </a:lnTo>
                    <a:lnTo>
                      <a:pt x="1352047" y="800372"/>
                    </a:lnTo>
                    <a:lnTo>
                      <a:pt x="1333025" y="825811"/>
                    </a:lnTo>
                    <a:lnTo>
                      <a:pt x="1326756" y="858477"/>
                    </a:lnTo>
                    <a:lnTo>
                      <a:pt x="1330275" y="915988"/>
                    </a:lnTo>
                    <a:lnTo>
                      <a:pt x="1331683" y="938453"/>
                    </a:lnTo>
                    <a:lnTo>
                      <a:pt x="1326201" y="963489"/>
                    </a:lnTo>
                    <a:lnTo>
                      <a:pt x="1330275" y="985359"/>
                    </a:lnTo>
                    <a:lnTo>
                      <a:pt x="1336079" y="1016473"/>
                    </a:lnTo>
                    <a:lnTo>
                      <a:pt x="1346488" y="1040601"/>
                    </a:lnTo>
                    <a:lnTo>
                      <a:pt x="1352047" y="1065611"/>
                    </a:lnTo>
                    <a:lnTo>
                      <a:pt x="1357601" y="1090620"/>
                    </a:lnTo>
                    <a:lnTo>
                      <a:pt x="1359163" y="1116384"/>
                    </a:lnTo>
                    <a:lnTo>
                      <a:pt x="1350680" y="1149943"/>
                    </a:lnTo>
                    <a:lnTo>
                      <a:pt x="1389552" y="1155118"/>
                    </a:lnTo>
                    <a:lnTo>
                      <a:pt x="1421575" y="1162583"/>
                    </a:lnTo>
                    <a:lnTo>
                      <a:pt x="1452699" y="1168985"/>
                    </a:lnTo>
                    <a:lnTo>
                      <a:pt x="1483819" y="1175388"/>
                    </a:lnTo>
                    <a:lnTo>
                      <a:pt x="1513693" y="1181047"/>
                    </a:lnTo>
                    <a:lnTo>
                      <a:pt x="1539751" y="1194829"/>
                    </a:lnTo>
                    <a:lnTo>
                      <a:pt x="1558875" y="1212384"/>
                    </a:lnTo>
                    <a:lnTo>
                      <a:pt x="1633602" y="1279162"/>
                    </a:lnTo>
                    <a:lnTo>
                      <a:pt x="1656686" y="1304622"/>
                    </a:lnTo>
                    <a:lnTo>
                      <a:pt x="1672329" y="1340052"/>
                    </a:lnTo>
                    <a:lnTo>
                      <a:pt x="1694817" y="1366214"/>
                    </a:lnTo>
                    <a:lnTo>
                      <a:pt x="1708757" y="1382431"/>
                    </a:lnTo>
                    <a:lnTo>
                      <a:pt x="1738852" y="1393567"/>
                    </a:lnTo>
                    <a:lnTo>
                      <a:pt x="1747859" y="1413821"/>
                    </a:lnTo>
                    <a:lnTo>
                      <a:pt x="1757852" y="1436350"/>
                    </a:lnTo>
                    <a:lnTo>
                      <a:pt x="1776421" y="1477751"/>
                    </a:lnTo>
                    <a:lnTo>
                      <a:pt x="1794445" y="1490014"/>
                    </a:lnTo>
                    <a:lnTo>
                      <a:pt x="1905558" y="1489121"/>
                    </a:lnTo>
                    <a:lnTo>
                      <a:pt x="1931488" y="1489993"/>
                    </a:lnTo>
                    <a:lnTo>
                      <a:pt x="1935398" y="1521776"/>
                    </a:lnTo>
                    <a:lnTo>
                      <a:pt x="1931950" y="1550219"/>
                    </a:lnTo>
                    <a:lnTo>
                      <a:pt x="1926046" y="1578405"/>
                    </a:lnTo>
                    <a:lnTo>
                      <a:pt x="1920146" y="1606592"/>
                    </a:lnTo>
                    <a:lnTo>
                      <a:pt x="1911235" y="1634800"/>
                    </a:lnTo>
                    <a:lnTo>
                      <a:pt x="1905641" y="1665458"/>
                    </a:lnTo>
                    <a:lnTo>
                      <a:pt x="1878694" y="1685255"/>
                    </a:lnTo>
                    <a:lnTo>
                      <a:pt x="1827643" y="1698807"/>
                    </a:lnTo>
                    <a:lnTo>
                      <a:pt x="1773705" y="1706264"/>
                    </a:lnTo>
                    <a:lnTo>
                      <a:pt x="1719771" y="1713722"/>
                    </a:lnTo>
                    <a:lnTo>
                      <a:pt x="1662872" y="1714829"/>
                    </a:lnTo>
                    <a:lnTo>
                      <a:pt x="1628161" y="1708984"/>
                    </a:lnTo>
                    <a:lnTo>
                      <a:pt x="1613073" y="1674108"/>
                    </a:lnTo>
                    <a:lnTo>
                      <a:pt x="1603337" y="1646820"/>
                    </a:lnTo>
                    <a:lnTo>
                      <a:pt x="1590076" y="1630093"/>
                    </a:lnTo>
                    <a:lnTo>
                      <a:pt x="1550336" y="1642632"/>
                    </a:lnTo>
                    <a:lnTo>
                      <a:pt x="1521963" y="1670750"/>
                    </a:lnTo>
                    <a:lnTo>
                      <a:pt x="1524871" y="1721492"/>
                    </a:lnTo>
                    <a:lnTo>
                      <a:pt x="1528868" y="1776994"/>
                    </a:lnTo>
                    <a:lnTo>
                      <a:pt x="1532864" y="1832497"/>
                    </a:lnTo>
                    <a:lnTo>
                      <a:pt x="1537608" y="1892463"/>
                    </a:lnTo>
                    <a:lnTo>
                      <a:pt x="1528868" y="1933418"/>
                    </a:lnTo>
                    <a:lnTo>
                      <a:pt x="1512633" y="1955967"/>
                    </a:lnTo>
                    <a:lnTo>
                      <a:pt x="1482415" y="1976773"/>
                    </a:lnTo>
                    <a:lnTo>
                      <a:pt x="1458137" y="1989185"/>
                    </a:lnTo>
                    <a:lnTo>
                      <a:pt x="1470635" y="2015837"/>
                    </a:lnTo>
                    <a:lnTo>
                      <a:pt x="1503787" y="2071945"/>
                    </a:lnTo>
                    <a:lnTo>
                      <a:pt x="1526520" y="2100039"/>
                    </a:lnTo>
                    <a:lnTo>
                      <a:pt x="1541109" y="2129286"/>
                    </a:lnTo>
                    <a:lnTo>
                      <a:pt x="1555703" y="2158533"/>
                    </a:lnTo>
                    <a:lnTo>
                      <a:pt x="1561638" y="2188869"/>
                    </a:lnTo>
                    <a:lnTo>
                      <a:pt x="1551992" y="2234021"/>
                    </a:lnTo>
                    <a:lnTo>
                      <a:pt x="1527215" y="2253278"/>
                    </a:lnTo>
                    <a:lnTo>
                      <a:pt x="1440346" y="2250471"/>
                    </a:lnTo>
                    <a:lnTo>
                      <a:pt x="1419057" y="2252296"/>
                    </a:lnTo>
                    <a:lnTo>
                      <a:pt x="1385686" y="2267434"/>
                    </a:lnTo>
                    <a:lnTo>
                      <a:pt x="1313954" y="2303392"/>
                    </a:lnTo>
                    <a:lnTo>
                      <a:pt x="1272855" y="2318353"/>
                    </a:lnTo>
                    <a:lnTo>
                      <a:pt x="1229118" y="2330659"/>
                    </a:lnTo>
                    <a:lnTo>
                      <a:pt x="1187456" y="2344197"/>
                    </a:lnTo>
                    <a:lnTo>
                      <a:pt x="1165693" y="2372762"/>
                    </a:lnTo>
                    <a:lnTo>
                      <a:pt x="1141301" y="2385088"/>
                    </a:lnTo>
                    <a:lnTo>
                      <a:pt x="1092584" y="2370253"/>
                    </a:lnTo>
                    <a:lnTo>
                      <a:pt x="1059603" y="2379563"/>
                    </a:lnTo>
                    <a:lnTo>
                      <a:pt x="1040767" y="2424917"/>
                    </a:lnTo>
                    <a:lnTo>
                      <a:pt x="1031289" y="2449167"/>
                    </a:lnTo>
                    <a:lnTo>
                      <a:pt x="992339" y="2443986"/>
                    </a:lnTo>
                    <a:lnTo>
                      <a:pt x="946705" y="2439412"/>
                    </a:lnTo>
                    <a:lnTo>
                      <a:pt x="901067" y="2434837"/>
                    </a:lnTo>
                    <a:lnTo>
                      <a:pt x="849390" y="2430783"/>
                    </a:lnTo>
                    <a:lnTo>
                      <a:pt x="817485" y="2442132"/>
                    </a:lnTo>
                    <a:lnTo>
                      <a:pt x="793511" y="2486423"/>
                    </a:lnTo>
                    <a:lnTo>
                      <a:pt x="793167" y="2513861"/>
                    </a:lnTo>
                    <a:lnTo>
                      <a:pt x="805368" y="2535199"/>
                    </a:lnTo>
                    <a:lnTo>
                      <a:pt x="809324" y="2565910"/>
                    </a:lnTo>
                    <a:lnTo>
                      <a:pt x="774511" y="2585229"/>
                    </a:lnTo>
                    <a:lnTo>
                      <a:pt x="736432" y="2577876"/>
                    </a:lnTo>
                    <a:lnTo>
                      <a:pt x="701873" y="2599915"/>
                    </a:lnTo>
                    <a:lnTo>
                      <a:pt x="683422" y="2611690"/>
                    </a:lnTo>
                    <a:lnTo>
                      <a:pt x="678371" y="2635347"/>
                    </a:lnTo>
                    <a:lnTo>
                      <a:pt x="674672" y="2661124"/>
                    </a:lnTo>
                    <a:lnTo>
                      <a:pt x="670963" y="2686901"/>
                    </a:lnTo>
                    <a:lnTo>
                      <a:pt x="668486" y="2715117"/>
                    </a:lnTo>
                    <a:lnTo>
                      <a:pt x="656983" y="2734574"/>
                    </a:lnTo>
                    <a:lnTo>
                      <a:pt x="639303" y="2764521"/>
                    </a:lnTo>
                    <a:lnTo>
                      <a:pt x="615922" y="2768431"/>
                    </a:lnTo>
                    <a:lnTo>
                      <a:pt x="590336" y="2787622"/>
                    </a:lnTo>
                    <a:lnTo>
                      <a:pt x="555950" y="2813402"/>
                    </a:lnTo>
                    <a:lnTo>
                      <a:pt x="530829" y="2849405"/>
                    </a:lnTo>
                    <a:lnTo>
                      <a:pt x="504642" y="2882836"/>
                    </a:lnTo>
                    <a:lnTo>
                      <a:pt x="481446" y="2912436"/>
                    </a:lnTo>
                    <a:lnTo>
                      <a:pt x="467063" y="2941317"/>
                    </a:lnTo>
                    <a:lnTo>
                      <a:pt x="458396" y="2969889"/>
                    </a:lnTo>
                    <a:lnTo>
                      <a:pt x="449730" y="2998461"/>
                    </a:lnTo>
                    <a:lnTo>
                      <a:pt x="446189" y="3026752"/>
                    </a:lnTo>
                    <a:lnTo>
                      <a:pt x="447517" y="3055582"/>
                    </a:lnTo>
                    <a:lnTo>
                      <a:pt x="450168" y="3113241"/>
                    </a:lnTo>
                    <a:lnTo>
                      <a:pt x="468895" y="3172803"/>
                    </a:lnTo>
                    <a:lnTo>
                      <a:pt x="484243" y="3239208"/>
                    </a:lnTo>
                    <a:lnTo>
                      <a:pt x="493331" y="3278489"/>
                    </a:lnTo>
                    <a:lnTo>
                      <a:pt x="502753" y="3308756"/>
                    </a:lnTo>
                    <a:lnTo>
                      <a:pt x="514170" y="3333062"/>
                    </a:lnTo>
                    <a:lnTo>
                      <a:pt x="525574" y="3357369"/>
                    </a:lnTo>
                    <a:lnTo>
                      <a:pt x="539192" y="3375092"/>
                    </a:lnTo>
                    <a:lnTo>
                      <a:pt x="554974" y="3391551"/>
                    </a:lnTo>
                    <a:lnTo>
                      <a:pt x="586528" y="3424469"/>
                    </a:lnTo>
                    <a:lnTo>
                      <a:pt x="628343" y="3449274"/>
                    </a:lnTo>
                    <a:lnTo>
                      <a:pt x="689629" y="3493566"/>
                    </a:lnTo>
                    <a:lnTo>
                      <a:pt x="721084" y="3516285"/>
                    </a:lnTo>
                    <a:lnTo>
                      <a:pt x="752707" y="3538835"/>
                    </a:lnTo>
                    <a:lnTo>
                      <a:pt x="776681" y="3569736"/>
                    </a:lnTo>
                    <a:lnTo>
                      <a:pt x="781177" y="3594589"/>
                    </a:lnTo>
                    <a:lnTo>
                      <a:pt x="774907" y="3618336"/>
                    </a:lnTo>
                    <a:lnTo>
                      <a:pt x="760366" y="3640467"/>
                    </a:lnTo>
                    <a:lnTo>
                      <a:pt x="744708" y="3661938"/>
                    </a:lnTo>
                    <a:lnTo>
                      <a:pt x="723335" y="3680540"/>
                    </a:lnTo>
                    <a:lnTo>
                      <a:pt x="708673" y="3697596"/>
                    </a:lnTo>
                    <a:lnTo>
                      <a:pt x="691502" y="3710369"/>
                    </a:lnTo>
                    <a:lnTo>
                      <a:pt x="688051" y="3732046"/>
                    </a:lnTo>
                    <a:lnTo>
                      <a:pt x="688271" y="3769686"/>
                    </a:lnTo>
                    <a:lnTo>
                      <a:pt x="694686" y="3807070"/>
                    </a:lnTo>
                    <a:lnTo>
                      <a:pt x="719900" y="3819232"/>
                    </a:lnTo>
                    <a:lnTo>
                      <a:pt x="753854" y="3819102"/>
                    </a:lnTo>
                    <a:lnTo>
                      <a:pt x="783657" y="3848833"/>
                    </a:lnTo>
                    <a:lnTo>
                      <a:pt x="786435" y="3901304"/>
                    </a:lnTo>
                    <a:lnTo>
                      <a:pt x="786209" y="3954673"/>
                    </a:lnTo>
                    <a:lnTo>
                      <a:pt x="786004" y="4008042"/>
                    </a:lnTo>
                    <a:lnTo>
                      <a:pt x="783288" y="4062246"/>
                    </a:lnTo>
                    <a:lnTo>
                      <a:pt x="788928" y="4097494"/>
                    </a:lnTo>
                    <a:lnTo>
                      <a:pt x="812424" y="4106081"/>
                    </a:lnTo>
                    <a:lnTo>
                      <a:pt x="837207" y="4120256"/>
                    </a:lnTo>
                    <a:lnTo>
                      <a:pt x="856933" y="4135579"/>
                    </a:lnTo>
                    <a:lnTo>
                      <a:pt x="869432" y="4170052"/>
                    </a:lnTo>
                    <a:lnTo>
                      <a:pt x="832361" y="4199870"/>
                    </a:lnTo>
                    <a:lnTo>
                      <a:pt x="777062" y="4200933"/>
                    </a:lnTo>
                    <a:lnTo>
                      <a:pt x="745393" y="4226713"/>
                    </a:lnTo>
                    <a:lnTo>
                      <a:pt x="737573" y="4265075"/>
                    </a:lnTo>
                    <a:lnTo>
                      <a:pt x="752623" y="4320523"/>
                    </a:lnTo>
                    <a:lnTo>
                      <a:pt x="758998" y="4358652"/>
                    </a:lnTo>
                    <a:lnTo>
                      <a:pt x="840308" y="4426917"/>
                    </a:lnTo>
                    <a:lnTo>
                      <a:pt x="855575" y="4441624"/>
                    </a:lnTo>
                    <a:lnTo>
                      <a:pt x="874061" y="4475077"/>
                    </a:lnTo>
                    <a:lnTo>
                      <a:pt x="888510" y="4494906"/>
                    </a:lnTo>
                    <a:lnTo>
                      <a:pt x="821143" y="4571629"/>
                    </a:lnTo>
                    <a:lnTo>
                      <a:pt x="753513" y="4564063"/>
                    </a:lnTo>
                    <a:lnTo>
                      <a:pt x="704676" y="4527062"/>
                    </a:lnTo>
                    <a:lnTo>
                      <a:pt x="647461" y="4506914"/>
                    </a:lnTo>
                    <a:lnTo>
                      <a:pt x="650354" y="4531311"/>
                    </a:lnTo>
                    <a:lnTo>
                      <a:pt x="664403" y="4566271"/>
                    </a:lnTo>
                    <a:lnTo>
                      <a:pt x="676030" y="4602128"/>
                    </a:lnTo>
                    <a:lnTo>
                      <a:pt x="687663" y="4637984"/>
                    </a:lnTo>
                    <a:lnTo>
                      <a:pt x="696580" y="4675079"/>
                    </a:lnTo>
                    <a:lnTo>
                      <a:pt x="680836" y="4714238"/>
                    </a:lnTo>
                    <a:lnTo>
                      <a:pt x="625577" y="4739380"/>
                    </a:lnTo>
                    <a:lnTo>
                      <a:pt x="602583" y="4747669"/>
                    </a:lnTo>
                    <a:lnTo>
                      <a:pt x="590336" y="4765351"/>
                    </a:lnTo>
                    <a:lnTo>
                      <a:pt x="593601" y="4792784"/>
                    </a:lnTo>
                    <a:lnTo>
                      <a:pt x="597141" y="4817039"/>
                    </a:lnTo>
                    <a:lnTo>
                      <a:pt x="600676" y="4841294"/>
                    </a:lnTo>
                    <a:lnTo>
                      <a:pt x="602158" y="4872043"/>
                    </a:lnTo>
                    <a:lnTo>
                      <a:pt x="595783" y="4905452"/>
                    </a:lnTo>
                    <a:lnTo>
                      <a:pt x="631356" y="4926705"/>
                    </a:lnTo>
                    <a:lnTo>
                      <a:pt x="664040" y="4949489"/>
                    </a:lnTo>
                    <a:lnTo>
                      <a:pt x="685552" y="4969381"/>
                    </a:lnTo>
                    <a:lnTo>
                      <a:pt x="685750" y="5003790"/>
                    </a:lnTo>
                    <a:lnTo>
                      <a:pt x="661060" y="5026510"/>
                    </a:lnTo>
                    <a:lnTo>
                      <a:pt x="638531" y="5049612"/>
                    </a:lnTo>
                    <a:lnTo>
                      <a:pt x="637099" y="5095125"/>
                    </a:lnTo>
                    <a:lnTo>
                      <a:pt x="647169" y="5116070"/>
                    </a:lnTo>
                    <a:lnTo>
                      <a:pt x="655619" y="5138046"/>
                    </a:lnTo>
                    <a:lnTo>
                      <a:pt x="664065" y="5160021"/>
                    </a:lnTo>
                    <a:lnTo>
                      <a:pt x="669686" y="5182369"/>
                    </a:lnTo>
                    <a:lnTo>
                      <a:pt x="659693" y="5214217"/>
                    </a:lnTo>
                    <a:lnTo>
                      <a:pt x="638209" y="5233738"/>
                    </a:lnTo>
                    <a:lnTo>
                      <a:pt x="615237" y="5246549"/>
                    </a:lnTo>
                    <a:lnTo>
                      <a:pt x="590323" y="5255023"/>
                    </a:lnTo>
                    <a:lnTo>
                      <a:pt x="565407" y="5263498"/>
                    </a:lnTo>
                    <a:lnTo>
                      <a:pt x="539192" y="5267382"/>
                    </a:lnTo>
                    <a:lnTo>
                      <a:pt x="511435" y="5271345"/>
                    </a:lnTo>
                    <a:lnTo>
                      <a:pt x="472774" y="5276866"/>
                    </a:lnTo>
                    <a:lnTo>
                      <a:pt x="446791" y="5275333"/>
                    </a:lnTo>
                    <a:lnTo>
                      <a:pt x="410130" y="5259200"/>
                    </a:lnTo>
                    <a:lnTo>
                      <a:pt x="391737" y="5229182"/>
                    </a:lnTo>
                    <a:lnTo>
                      <a:pt x="376600" y="5196917"/>
                    </a:lnTo>
                    <a:lnTo>
                      <a:pt x="373645" y="5154477"/>
                    </a:lnTo>
                    <a:lnTo>
                      <a:pt x="344127" y="5123086"/>
                    </a:lnTo>
                    <a:lnTo>
                      <a:pt x="294013" y="5110655"/>
                    </a:lnTo>
                    <a:lnTo>
                      <a:pt x="262858" y="5128473"/>
                    </a:lnTo>
                    <a:lnTo>
                      <a:pt x="249339" y="5149729"/>
                    </a:lnTo>
                    <a:lnTo>
                      <a:pt x="239393" y="5172053"/>
                    </a:lnTo>
                    <a:lnTo>
                      <a:pt x="229443" y="5194377"/>
                    </a:lnTo>
                    <a:lnTo>
                      <a:pt x="222984" y="5218300"/>
                    </a:lnTo>
                    <a:lnTo>
                      <a:pt x="223071" y="5241424"/>
                    </a:lnTo>
                    <a:lnTo>
                      <a:pt x="234401" y="5268138"/>
                    </a:lnTo>
                    <a:lnTo>
                      <a:pt x="253131" y="5287242"/>
                    </a:lnTo>
                    <a:lnTo>
                      <a:pt x="267955" y="5308073"/>
                    </a:lnTo>
                    <a:lnTo>
                      <a:pt x="282789" y="5328904"/>
                    </a:lnTo>
                    <a:lnTo>
                      <a:pt x="293631" y="5351185"/>
                    </a:lnTo>
                    <a:lnTo>
                      <a:pt x="291080" y="5384244"/>
                    </a:lnTo>
                    <a:lnTo>
                      <a:pt x="310672" y="5405157"/>
                    </a:lnTo>
                    <a:lnTo>
                      <a:pt x="336134" y="5403903"/>
                    </a:lnTo>
                    <a:lnTo>
                      <a:pt x="386888" y="5395083"/>
                    </a:lnTo>
                    <a:lnTo>
                      <a:pt x="416895" y="5418996"/>
                    </a:lnTo>
                    <a:lnTo>
                      <a:pt x="428457" y="5448176"/>
                    </a:lnTo>
                    <a:lnTo>
                      <a:pt x="430026" y="5477490"/>
                    </a:lnTo>
                    <a:lnTo>
                      <a:pt x="417180" y="5520126"/>
                    </a:lnTo>
                    <a:lnTo>
                      <a:pt x="397941" y="5547311"/>
                    </a:lnTo>
                    <a:lnTo>
                      <a:pt x="386302" y="5577394"/>
                    </a:lnTo>
                    <a:lnTo>
                      <a:pt x="389018" y="5600518"/>
                    </a:lnTo>
                    <a:lnTo>
                      <a:pt x="400878" y="5619412"/>
                    </a:lnTo>
                    <a:lnTo>
                      <a:pt x="424690" y="5631511"/>
                    </a:lnTo>
                    <a:lnTo>
                      <a:pt x="446143" y="5645404"/>
                    </a:lnTo>
                    <a:lnTo>
                      <a:pt x="467590" y="5659299"/>
                    </a:lnTo>
                    <a:lnTo>
                      <a:pt x="487269" y="5675095"/>
                    </a:lnTo>
                    <a:lnTo>
                      <a:pt x="493746" y="5698453"/>
                    </a:lnTo>
                    <a:lnTo>
                      <a:pt x="446143" y="5754518"/>
                    </a:lnTo>
                    <a:lnTo>
                      <a:pt x="439191" y="5790277"/>
                    </a:lnTo>
                    <a:lnTo>
                      <a:pt x="450022" y="5810390"/>
                    </a:lnTo>
                    <a:lnTo>
                      <a:pt x="461100" y="5830391"/>
                    </a:lnTo>
                    <a:lnTo>
                      <a:pt x="472188" y="5850394"/>
                    </a:lnTo>
                    <a:lnTo>
                      <a:pt x="483483" y="5870475"/>
                    </a:lnTo>
                    <a:lnTo>
                      <a:pt x="475980" y="5903433"/>
                    </a:lnTo>
                    <a:lnTo>
                      <a:pt x="447504" y="5922886"/>
                    </a:lnTo>
                    <a:lnTo>
                      <a:pt x="413903" y="5937889"/>
                    </a:lnTo>
                    <a:lnTo>
                      <a:pt x="377722" y="5951408"/>
                    </a:lnTo>
                    <a:lnTo>
                      <a:pt x="346844" y="5967772"/>
                    </a:lnTo>
                    <a:lnTo>
                      <a:pt x="322535" y="5987154"/>
                    </a:lnTo>
                    <a:lnTo>
                      <a:pt x="334863" y="6028407"/>
                    </a:lnTo>
                    <a:lnTo>
                      <a:pt x="346251" y="6127171"/>
                    </a:lnTo>
                    <a:lnTo>
                      <a:pt x="335970" y="6158200"/>
                    </a:lnTo>
                    <a:lnTo>
                      <a:pt x="306716" y="6185827"/>
                    </a:lnTo>
                    <a:lnTo>
                      <a:pt x="282919" y="6194925"/>
                    </a:lnTo>
                    <a:lnTo>
                      <a:pt x="259125" y="6204023"/>
                    </a:lnTo>
                    <a:lnTo>
                      <a:pt x="230063" y="6210758"/>
                    </a:lnTo>
                    <a:lnTo>
                      <a:pt x="202666" y="6216688"/>
                    </a:lnTo>
                    <a:lnTo>
                      <a:pt x="175273" y="6222618"/>
                    </a:lnTo>
                    <a:lnTo>
                      <a:pt x="149029" y="6227733"/>
                    </a:lnTo>
                    <a:lnTo>
                      <a:pt x="127855" y="6234371"/>
                    </a:lnTo>
                    <a:lnTo>
                      <a:pt x="106685" y="6241009"/>
                    </a:lnTo>
                    <a:lnTo>
                      <a:pt x="85687" y="6260215"/>
                    </a:lnTo>
                    <a:lnTo>
                      <a:pt x="104942" y="6277163"/>
                    </a:lnTo>
                    <a:lnTo>
                      <a:pt x="109553" y="6300311"/>
                    </a:lnTo>
                    <a:lnTo>
                      <a:pt x="106092" y="6324145"/>
                    </a:lnTo>
                    <a:lnTo>
                      <a:pt x="102629" y="6347973"/>
                    </a:lnTo>
                    <a:lnTo>
                      <a:pt x="91873" y="6371741"/>
                    </a:lnTo>
                    <a:lnTo>
                      <a:pt x="125136" y="6438402"/>
                    </a:lnTo>
                    <a:lnTo>
                      <a:pt x="133678" y="6467519"/>
                    </a:lnTo>
                    <a:lnTo>
                      <a:pt x="113999" y="6515701"/>
                    </a:lnTo>
                    <a:lnTo>
                      <a:pt x="79737" y="6549513"/>
                    </a:lnTo>
                    <a:lnTo>
                      <a:pt x="57125" y="6586662"/>
                    </a:lnTo>
                    <a:lnTo>
                      <a:pt x="36897" y="6619841"/>
                    </a:lnTo>
                    <a:lnTo>
                      <a:pt x="19037" y="6654781"/>
                    </a:lnTo>
                    <a:lnTo>
                      <a:pt x="0" y="6688679"/>
                    </a:lnTo>
                    <a:lnTo>
                      <a:pt x="59723" y="6707844"/>
                    </a:lnTo>
                    <a:lnTo>
                      <a:pt x="117363" y="6719596"/>
                    </a:lnTo>
                    <a:lnTo>
                      <a:pt x="167304" y="6738998"/>
                    </a:lnTo>
                    <a:lnTo>
                      <a:pt x="190559" y="6748033"/>
                    </a:lnTo>
                    <a:lnTo>
                      <a:pt x="222070" y="6765720"/>
                    </a:lnTo>
                    <a:lnTo>
                      <a:pt x="254356" y="6781166"/>
                    </a:lnTo>
                    <a:lnTo>
                      <a:pt x="286652" y="6796617"/>
                    </a:lnTo>
                    <a:lnTo>
                      <a:pt x="319391" y="6809016"/>
                    </a:lnTo>
                    <a:lnTo>
                      <a:pt x="344127" y="6809728"/>
                    </a:lnTo>
                    <a:lnTo>
                      <a:pt x="417152" y="6778105"/>
                    </a:lnTo>
                    <a:lnTo>
                      <a:pt x="447510" y="6796129"/>
                    </a:lnTo>
                    <a:lnTo>
                      <a:pt x="470715" y="6843395"/>
                    </a:lnTo>
                    <a:lnTo>
                      <a:pt x="459748" y="6864136"/>
                    </a:lnTo>
                    <a:lnTo>
                      <a:pt x="431834" y="6883439"/>
                    </a:lnTo>
                    <a:lnTo>
                      <a:pt x="412142" y="6891340"/>
                    </a:lnTo>
                    <a:lnTo>
                      <a:pt x="392447" y="6899247"/>
                    </a:lnTo>
                    <a:lnTo>
                      <a:pt x="369980" y="6918544"/>
                    </a:lnTo>
                    <a:lnTo>
                      <a:pt x="368613" y="6940307"/>
                    </a:lnTo>
                    <a:lnTo>
                      <a:pt x="400757" y="6972741"/>
                    </a:lnTo>
                    <a:lnTo>
                      <a:pt x="432544" y="6989275"/>
                    </a:lnTo>
                    <a:lnTo>
                      <a:pt x="464334" y="7005815"/>
                    </a:lnTo>
                    <a:lnTo>
                      <a:pt x="504034" y="7021945"/>
                    </a:lnTo>
                    <a:lnTo>
                      <a:pt x="544084" y="7035524"/>
                    </a:lnTo>
                    <a:lnTo>
                      <a:pt x="624172" y="7062682"/>
                    </a:lnTo>
                    <a:lnTo>
                      <a:pt x="706353" y="7078668"/>
                    </a:lnTo>
                    <a:lnTo>
                      <a:pt x="727707" y="7068169"/>
                    </a:lnTo>
                    <a:lnTo>
                      <a:pt x="762338" y="7020303"/>
                    </a:lnTo>
                    <a:lnTo>
                      <a:pt x="782116" y="6978393"/>
                    </a:lnTo>
                    <a:lnTo>
                      <a:pt x="801898" y="6936489"/>
                    </a:lnTo>
                    <a:lnTo>
                      <a:pt x="821224" y="6892679"/>
                    </a:lnTo>
                    <a:lnTo>
                      <a:pt x="863516" y="6881032"/>
                    </a:lnTo>
                    <a:lnTo>
                      <a:pt x="935605" y="6915609"/>
                    </a:lnTo>
                    <a:lnTo>
                      <a:pt x="967100" y="6929425"/>
                    </a:lnTo>
                    <a:lnTo>
                      <a:pt x="871680" y="7102278"/>
                    </a:lnTo>
                    <a:lnTo>
                      <a:pt x="852211" y="7123692"/>
                    </a:lnTo>
                    <a:lnTo>
                      <a:pt x="823180" y="7145606"/>
                    </a:lnTo>
                    <a:lnTo>
                      <a:pt x="799802" y="7170186"/>
                    </a:lnTo>
                    <a:lnTo>
                      <a:pt x="778330" y="7195688"/>
                    </a:lnTo>
                    <a:lnTo>
                      <a:pt x="764151" y="7223571"/>
                    </a:lnTo>
                    <a:lnTo>
                      <a:pt x="761717" y="7254515"/>
                    </a:lnTo>
                    <a:lnTo>
                      <a:pt x="789474" y="7294743"/>
                    </a:lnTo>
                    <a:lnTo>
                      <a:pt x="820207" y="7319804"/>
                    </a:lnTo>
                    <a:lnTo>
                      <a:pt x="850924" y="7344864"/>
                    </a:lnTo>
                    <a:lnTo>
                      <a:pt x="884110" y="7368548"/>
                    </a:lnTo>
                    <a:lnTo>
                      <a:pt x="883750" y="7398079"/>
                    </a:lnTo>
                    <a:lnTo>
                      <a:pt x="865172" y="7429814"/>
                    </a:lnTo>
                    <a:lnTo>
                      <a:pt x="859643" y="7453107"/>
                    </a:lnTo>
                    <a:lnTo>
                      <a:pt x="853321" y="7479671"/>
                    </a:lnTo>
                    <a:lnTo>
                      <a:pt x="863550" y="7549531"/>
                    </a:lnTo>
                    <a:lnTo>
                      <a:pt x="867810" y="7617690"/>
                    </a:lnTo>
                    <a:lnTo>
                      <a:pt x="869940" y="7651765"/>
                    </a:lnTo>
                    <a:lnTo>
                      <a:pt x="870480" y="7685689"/>
                    </a:lnTo>
                    <a:lnTo>
                      <a:pt x="866449" y="7712900"/>
                    </a:lnTo>
                    <a:lnTo>
                      <a:pt x="862415" y="7740117"/>
                    </a:lnTo>
                    <a:lnTo>
                      <a:pt x="853966" y="7761195"/>
                    </a:lnTo>
                    <a:lnTo>
                      <a:pt x="823391" y="7775901"/>
                    </a:lnTo>
                    <a:lnTo>
                      <a:pt x="787859" y="7767460"/>
                    </a:lnTo>
                    <a:lnTo>
                      <a:pt x="731242" y="7842589"/>
                    </a:lnTo>
                    <a:lnTo>
                      <a:pt x="723630" y="7876123"/>
                    </a:lnTo>
                    <a:lnTo>
                      <a:pt x="716613" y="7906922"/>
                    </a:lnTo>
                    <a:lnTo>
                      <a:pt x="722436" y="7948707"/>
                    </a:lnTo>
                    <a:lnTo>
                      <a:pt x="711392" y="7976782"/>
                    </a:lnTo>
                    <a:lnTo>
                      <a:pt x="659693" y="8108719"/>
                    </a:lnTo>
                    <a:lnTo>
                      <a:pt x="649259" y="8135284"/>
                    </a:lnTo>
                    <a:lnTo>
                      <a:pt x="647566" y="8187601"/>
                    </a:lnTo>
                    <a:lnTo>
                      <a:pt x="648813" y="8240657"/>
                    </a:lnTo>
                    <a:lnTo>
                      <a:pt x="650065" y="8293714"/>
                    </a:lnTo>
                    <a:lnTo>
                      <a:pt x="654260" y="8346895"/>
                    </a:lnTo>
                    <a:lnTo>
                      <a:pt x="659693" y="8375319"/>
                    </a:lnTo>
                    <a:lnTo>
                      <a:pt x="676148" y="8390949"/>
                    </a:lnTo>
                    <a:lnTo>
                      <a:pt x="688395" y="8408880"/>
                    </a:lnTo>
                    <a:lnTo>
                      <a:pt x="701861" y="8425644"/>
                    </a:lnTo>
                    <a:lnTo>
                      <a:pt x="715330" y="8442408"/>
                    </a:lnTo>
                    <a:lnTo>
                      <a:pt x="731003" y="8458454"/>
                    </a:lnTo>
                    <a:lnTo>
                      <a:pt x="752186" y="8469170"/>
                    </a:lnTo>
                    <a:lnTo>
                      <a:pt x="784916" y="8468089"/>
                    </a:lnTo>
                    <a:lnTo>
                      <a:pt x="807960" y="8489575"/>
                    </a:lnTo>
                    <a:lnTo>
                      <a:pt x="815649" y="8511002"/>
                    </a:lnTo>
                    <a:lnTo>
                      <a:pt x="815823" y="8535291"/>
                    </a:lnTo>
                    <a:lnTo>
                      <a:pt x="817475" y="8557588"/>
                    </a:lnTo>
                    <a:lnTo>
                      <a:pt x="819041" y="8578738"/>
                    </a:lnTo>
                    <a:lnTo>
                      <a:pt x="805237" y="8606556"/>
                    </a:lnTo>
                    <a:lnTo>
                      <a:pt x="782076" y="8629117"/>
                    </a:lnTo>
                    <a:lnTo>
                      <a:pt x="737310" y="8655285"/>
                    </a:lnTo>
                    <a:lnTo>
                      <a:pt x="701610" y="8670592"/>
                    </a:lnTo>
                    <a:lnTo>
                      <a:pt x="677375" y="8704490"/>
                    </a:lnTo>
                    <a:lnTo>
                      <a:pt x="677375" y="8734200"/>
                    </a:lnTo>
                    <a:lnTo>
                      <a:pt x="676275" y="8910640"/>
                    </a:lnTo>
                    <a:lnTo>
                      <a:pt x="652645" y="8931058"/>
                    </a:lnTo>
                    <a:lnTo>
                      <a:pt x="632141" y="8935575"/>
                    </a:lnTo>
                    <a:lnTo>
                      <a:pt x="594766" y="8949464"/>
                    </a:lnTo>
                    <a:lnTo>
                      <a:pt x="573999" y="8973806"/>
                    </a:lnTo>
                    <a:lnTo>
                      <a:pt x="577661" y="9010085"/>
                    </a:lnTo>
                    <a:lnTo>
                      <a:pt x="588714" y="9044259"/>
                    </a:lnTo>
                    <a:lnTo>
                      <a:pt x="601209" y="9078539"/>
                    </a:lnTo>
                    <a:lnTo>
                      <a:pt x="602977" y="9133739"/>
                    </a:lnTo>
                    <a:lnTo>
                      <a:pt x="592249" y="9201620"/>
                    </a:lnTo>
                    <a:lnTo>
                      <a:pt x="575366" y="9266250"/>
                    </a:lnTo>
                    <a:lnTo>
                      <a:pt x="558474" y="9330880"/>
                    </a:lnTo>
                    <a:lnTo>
                      <a:pt x="534451" y="9393426"/>
                    </a:lnTo>
                    <a:lnTo>
                      <a:pt x="508716" y="9440356"/>
                    </a:lnTo>
                    <a:lnTo>
                      <a:pt x="479468" y="9493702"/>
                    </a:lnTo>
                    <a:lnTo>
                      <a:pt x="444785" y="9564135"/>
                    </a:lnTo>
                    <a:lnTo>
                      <a:pt x="437433" y="9586063"/>
                    </a:lnTo>
                    <a:lnTo>
                      <a:pt x="440711" y="9623984"/>
                    </a:lnTo>
                    <a:lnTo>
                      <a:pt x="463364" y="9632617"/>
                    </a:lnTo>
                    <a:lnTo>
                      <a:pt x="488953" y="9642793"/>
                    </a:lnTo>
                    <a:lnTo>
                      <a:pt x="512905" y="9654420"/>
                    </a:lnTo>
                    <a:lnTo>
                      <a:pt x="532287" y="9671949"/>
                    </a:lnTo>
                    <a:lnTo>
                      <a:pt x="552242" y="9687909"/>
                    </a:lnTo>
                    <a:lnTo>
                      <a:pt x="572207" y="9703875"/>
                    </a:lnTo>
                    <a:lnTo>
                      <a:pt x="592525" y="9718898"/>
                    </a:lnTo>
                    <a:lnTo>
                      <a:pt x="626969" y="9703809"/>
                    </a:lnTo>
                    <a:lnTo>
                      <a:pt x="652617" y="9690210"/>
                    </a:lnTo>
                    <a:lnTo>
                      <a:pt x="678740" y="9683833"/>
                    </a:lnTo>
                    <a:lnTo>
                      <a:pt x="704874" y="9677455"/>
                    </a:lnTo>
                    <a:lnTo>
                      <a:pt x="732212" y="9677357"/>
                    </a:lnTo>
                    <a:lnTo>
                      <a:pt x="756276" y="9690632"/>
                    </a:lnTo>
                    <a:lnTo>
                      <a:pt x="775469" y="9705405"/>
                    </a:lnTo>
                    <a:lnTo>
                      <a:pt x="794218" y="9722110"/>
                    </a:lnTo>
                    <a:lnTo>
                      <a:pt x="813407" y="9736876"/>
                    </a:lnTo>
                    <a:lnTo>
                      <a:pt x="858208" y="9740299"/>
                    </a:lnTo>
                    <a:lnTo>
                      <a:pt x="902754" y="9741954"/>
                    </a:lnTo>
                    <a:lnTo>
                      <a:pt x="924808" y="9747539"/>
                    </a:lnTo>
                    <a:lnTo>
                      <a:pt x="950779" y="9734152"/>
                    </a:lnTo>
                    <a:lnTo>
                      <a:pt x="974542" y="9693027"/>
                    </a:lnTo>
                    <a:lnTo>
                      <a:pt x="983431" y="9662063"/>
                    </a:lnTo>
                    <a:lnTo>
                      <a:pt x="992320" y="9631094"/>
                    </a:lnTo>
                    <a:lnTo>
                      <a:pt x="998218" y="9599451"/>
                    </a:lnTo>
                    <a:lnTo>
                      <a:pt x="1011994" y="9568211"/>
                    </a:lnTo>
                    <a:lnTo>
                      <a:pt x="1182017" y="9569570"/>
                    </a:lnTo>
                    <a:lnTo>
                      <a:pt x="1213005" y="9574417"/>
                    </a:lnTo>
                    <a:lnTo>
                      <a:pt x="1235363" y="9589203"/>
                    </a:lnTo>
                    <a:lnTo>
                      <a:pt x="1251387" y="9611731"/>
                    </a:lnTo>
                    <a:lnTo>
                      <a:pt x="1265733" y="9635262"/>
                    </a:lnTo>
                    <a:lnTo>
                      <a:pt x="1274874" y="9664062"/>
                    </a:lnTo>
                    <a:lnTo>
                      <a:pt x="1286758" y="9687902"/>
                    </a:lnTo>
                    <a:lnTo>
                      <a:pt x="1326681" y="9686260"/>
                    </a:lnTo>
                    <a:lnTo>
                      <a:pt x="1349322" y="9681102"/>
                    </a:lnTo>
                    <a:lnTo>
                      <a:pt x="1371962" y="9675945"/>
                    </a:lnTo>
                    <a:lnTo>
                      <a:pt x="1394274" y="9672272"/>
                    </a:lnTo>
                    <a:lnTo>
                      <a:pt x="1436098" y="9707278"/>
                    </a:lnTo>
                    <a:lnTo>
                      <a:pt x="1454379" y="9729740"/>
                    </a:lnTo>
                    <a:lnTo>
                      <a:pt x="1475820" y="9747751"/>
                    </a:lnTo>
                    <a:lnTo>
                      <a:pt x="1497260" y="9765768"/>
                    </a:lnTo>
                    <a:lnTo>
                      <a:pt x="1520586" y="9779090"/>
                    </a:lnTo>
                    <a:lnTo>
                      <a:pt x="1562872" y="9785836"/>
                    </a:lnTo>
                    <a:lnTo>
                      <a:pt x="1629547" y="9796468"/>
                    </a:lnTo>
                    <a:lnTo>
                      <a:pt x="1697685" y="9796421"/>
                    </a:lnTo>
                    <a:lnTo>
                      <a:pt x="1765548" y="9796718"/>
                    </a:lnTo>
                    <a:lnTo>
                      <a:pt x="1833395" y="9797047"/>
                    </a:lnTo>
                    <a:lnTo>
                      <a:pt x="1901006" y="9797312"/>
                    </a:lnTo>
                    <a:lnTo>
                      <a:pt x="1966856" y="9810323"/>
                    </a:lnTo>
                    <a:lnTo>
                      <a:pt x="2040514" y="9824878"/>
                    </a:lnTo>
                    <a:lnTo>
                      <a:pt x="2115920" y="9841755"/>
                    </a:lnTo>
                    <a:lnTo>
                      <a:pt x="2189928" y="9853849"/>
                    </a:lnTo>
                    <a:lnTo>
                      <a:pt x="2274896" y="9867765"/>
                    </a:lnTo>
                    <a:lnTo>
                      <a:pt x="2361607" y="9869658"/>
                    </a:lnTo>
                    <a:lnTo>
                      <a:pt x="2446998" y="9886495"/>
                    </a:lnTo>
                    <a:lnTo>
                      <a:pt x="2473570" y="9891724"/>
                    </a:lnTo>
                    <a:lnTo>
                      <a:pt x="2509571" y="9915947"/>
                    </a:lnTo>
                    <a:lnTo>
                      <a:pt x="2532698" y="9928663"/>
                    </a:lnTo>
                    <a:lnTo>
                      <a:pt x="2554417" y="9940579"/>
                    </a:lnTo>
                    <a:lnTo>
                      <a:pt x="2575508" y="9945156"/>
                    </a:lnTo>
                    <a:lnTo>
                      <a:pt x="2596623" y="9955859"/>
                    </a:lnTo>
                    <a:lnTo>
                      <a:pt x="2627752" y="9971641"/>
                    </a:lnTo>
                    <a:lnTo>
                      <a:pt x="2656662" y="9991004"/>
                    </a:lnTo>
                    <a:lnTo>
                      <a:pt x="2686394" y="10007551"/>
                    </a:lnTo>
                    <a:lnTo>
                      <a:pt x="2716128" y="10024097"/>
                    </a:lnTo>
                    <a:lnTo>
                      <a:pt x="2747522" y="10037399"/>
                    </a:lnTo>
                    <a:lnTo>
                      <a:pt x="2784335" y="10041554"/>
                    </a:lnTo>
                    <a:lnTo>
                      <a:pt x="2809406" y="10037366"/>
                    </a:lnTo>
                    <a:lnTo>
                      <a:pt x="2826547" y="10009655"/>
                    </a:lnTo>
                    <a:lnTo>
                      <a:pt x="2848266" y="9983070"/>
                    </a:lnTo>
                    <a:lnTo>
                      <a:pt x="2870370" y="9955846"/>
                    </a:lnTo>
                    <a:lnTo>
                      <a:pt x="2899599" y="9936833"/>
                    </a:lnTo>
                    <a:lnTo>
                      <a:pt x="2939392" y="9931379"/>
                    </a:lnTo>
                    <a:lnTo>
                      <a:pt x="3029170" y="9939537"/>
                    </a:lnTo>
                    <a:lnTo>
                      <a:pt x="3073843" y="9943362"/>
                    </a:lnTo>
                    <a:lnTo>
                      <a:pt x="3122045" y="9950505"/>
                    </a:lnTo>
                    <a:lnTo>
                      <a:pt x="3165189" y="9964024"/>
                    </a:lnTo>
                    <a:lnTo>
                      <a:pt x="3181768" y="9915631"/>
                    </a:lnTo>
                    <a:lnTo>
                      <a:pt x="3168805" y="9886066"/>
                    </a:lnTo>
                    <a:lnTo>
                      <a:pt x="3071840" y="9840482"/>
                    </a:lnTo>
                    <a:lnTo>
                      <a:pt x="3045491" y="9821205"/>
                    </a:lnTo>
                    <a:lnTo>
                      <a:pt x="3041873" y="9792642"/>
                    </a:lnTo>
                    <a:lnTo>
                      <a:pt x="3062619" y="9768050"/>
                    </a:lnTo>
                    <a:lnTo>
                      <a:pt x="3097606" y="9749498"/>
                    </a:lnTo>
                    <a:lnTo>
                      <a:pt x="3167915" y="9719808"/>
                    </a:lnTo>
                    <a:lnTo>
                      <a:pt x="3237278" y="9693343"/>
                    </a:lnTo>
                    <a:lnTo>
                      <a:pt x="3306644" y="9666884"/>
                    </a:lnTo>
                    <a:lnTo>
                      <a:pt x="3376042" y="9643604"/>
                    </a:lnTo>
                    <a:lnTo>
                      <a:pt x="3397786" y="9644376"/>
                    </a:lnTo>
                    <a:lnTo>
                      <a:pt x="3430990" y="9678201"/>
                    </a:lnTo>
                    <a:lnTo>
                      <a:pt x="3449978" y="9705636"/>
                    </a:lnTo>
                    <a:lnTo>
                      <a:pt x="3471233" y="9731428"/>
                    </a:lnTo>
                    <a:lnTo>
                      <a:pt x="3492475" y="9757228"/>
                    </a:lnTo>
                    <a:lnTo>
                      <a:pt x="3515419" y="9782196"/>
                    </a:lnTo>
                    <a:lnTo>
                      <a:pt x="3537880" y="9800801"/>
                    </a:lnTo>
                    <a:lnTo>
                      <a:pt x="3581815" y="9837184"/>
                    </a:lnTo>
                    <a:lnTo>
                      <a:pt x="3623806" y="9859218"/>
                    </a:lnTo>
                    <a:lnTo>
                      <a:pt x="3667100" y="9878330"/>
                    </a:lnTo>
                    <a:lnTo>
                      <a:pt x="3710390" y="9897442"/>
                    </a:lnTo>
                    <a:lnTo>
                      <a:pt x="3756245" y="9913830"/>
                    </a:lnTo>
                    <a:lnTo>
                      <a:pt x="3805839" y="9936820"/>
                    </a:lnTo>
                    <a:lnTo>
                      <a:pt x="3846707" y="9964103"/>
                    </a:lnTo>
                    <a:lnTo>
                      <a:pt x="3872486" y="9977623"/>
                    </a:lnTo>
                    <a:lnTo>
                      <a:pt x="3898273" y="9988643"/>
                    </a:lnTo>
                    <a:lnTo>
                      <a:pt x="3922880" y="9991096"/>
                    </a:lnTo>
                    <a:lnTo>
                      <a:pt x="3944581" y="9980346"/>
                    </a:lnTo>
                    <a:lnTo>
                      <a:pt x="3948956" y="9948770"/>
                    </a:lnTo>
                    <a:lnTo>
                      <a:pt x="3937474" y="9913988"/>
                    </a:lnTo>
                    <a:lnTo>
                      <a:pt x="3940531" y="9881054"/>
                    </a:lnTo>
                    <a:lnTo>
                      <a:pt x="3996940" y="9828473"/>
                    </a:lnTo>
                    <a:lnTo>
                      <a:pt x="4052447" y="9838055"/>
                    </a:lnTo>
                    <a:lnTo>
                      <a:pt x="4086451" y="9871570"/>
                    </a:lnTo>
                    <a:lnTo>
                      <a:pt x="4125518" y="9883771"/>
                    </a:lnTo>
                    <a:lnTo>
                      <a:pt x="4140358" y="9860293"/>
                    </a:lnTo>
                    <a:lnTo>
                      <a:pt x="4143319" y="9833801"/>
                    </a:lnTo>
                    <a:lnTo>
                      <a:pt x="4139145" y="9806241"/>
                    </a:lnTo>
                    <a:lnTo>
                      <a:pt x="4133564" y="9778232"/>
                    </a:lnTo>
                    <a:lnTo>
                      <a:pt x="4124188" y="9749782"/>
                    </a:lnTo>
                    <a:lnTo>
                      <a:pt x="4130982" y="9728711"/>
                    </a:lnTo>
                    <a:lnTo>
                      <a:pt x="4164731" y="9727748"/>
                    </a:lnTo>
                    <a:lnTo>
                      <a:pt x="4188113" y="9732787"/>
                    </a:lnTo>
                    <a:lnTo>
                      <a:pt x="4211498" y="9737832"/>
                    </a:lnTo>
                    <a:lnTo>
                      <a:pt x="4237673" y="9743649"/>
                    </a:lnTo>
                    <a:lnTo>
                      <a:pt x="4258844" y="9736863"/>
                    </a:lnTo>
                    <a:lnTo>
                      <a:pt x="4269724" y="9687895"/>
                    </a:lnTo>
                    <a:lnTo>
                      <a:pt x="4322911" y="9665724"/>
                    </a:lnTo>
                    <a:lnTo>
                      <a:pt x="4349198" y="9668744"/>
                    </a:lnTo>
                    <a:lnTo>
                      <a:pt x="4388836" y="9679843"/>
                    </a:lnTo>
                    <a:lnTo>
                      <a:pt x="4419342" y="9685178"/>
                    </a:lnTo>
                    <a:lnTo>
                      <a:pt x="4435884" y="9656273"/>
                    </a:lnTo>
                    <a:lnTo>
                      <a:pt x="4432697" y="9613934"/>
                    </a:lnTo>
                    <a:lnTo>
                      <a:pt x="4450637" y="9589962"/>
                    </a:lnTo>
                    <a:lnTo>
                      <a:pt x="4499892" y="9617805"/>
                    </a:lnTo>
                    <a:lnTo>
                      <a:pt x="4585469" y="9634998"/>
                    </a:lnTo>
                    <a:lnTo>
                      <a:pt x="4612500" y="9652534"/>
                    </a:lnTo>
                    <a:lnTo>
                      <a:pt x="4607396" y="9731910"/>
                    </a:lnTo>
                    <a:lnTo>
                      <a:pt x="4602463" y="9798301"/>
                    </a:lnTo>
                    <a:lnTo>
                      <a:pt x="4601613" y="9864725"/>
                    </a:lnTo>
                    <a:lnTo>
                      <a:pt x="4600795" y="9931148"/>
                    </a:lnTo>
                    <a:lnTo>
                      <a:pt x="4603089" y="9997948"/>
                    </a:lnTo>
                    <a:lnTo>
                      <a:pt x="4605709" y="10061952"/>
                    </a:lnTo>
                    <a:lnTo>
                      <a:pt x="4607139" y="10096634"/>
                    </a:lnTo>
                    <a:lnTo>
                      <a:pt x="4618338" y="10126496"/>
                    </a:lnTo>
                    <a:lnTo>
                      <a:pt x="4632911" y="10154446"/>
                    </a:lnTo>
                    <a:lnTo>
                      <a:pt x="4647493" y="10182394"/>
                    </a:lnTo>
                    <a:lnTo>
                      <a:pt x="4665913" y="10208840"/>
                    </a:lnTo>
                    <a:lnTo>
                      <a:pt x="4685962" y="10236057"/>
                    </a:lnTo>
                    <a:lnTo>
                      <a:pt x="4713718" y="10273741"/>
                    </a:lnTo>
                    <a:lnTo>
                      <a:pt x="4749508" y="10303431"/>
                    </a:lnTo>
                    <a:lnTo>
                      <a:pt x="4781171" y="10338074"/>
                    </a:lnTo>
                    <a:lnTo>
                      <a:pt x="4799663" y="10358327"/>
                    </a:lnTo>
                    <a:lnTo>
                      <a:pt x="4814924" y="10387509"/>
                    </a:lnTo>
                    <a:lnTo>
                      <a:pt x="4835580" y="10406081"/>
                    </a:lnTo>
                    <a:lnTo>
                      <a:pt x="4884374" y="10449969"/>
                    </a:lnTo>
                    <a:lnTo>
                      <a:pt x="4946612" y="10486097"/>
                    </a:lnTo>
                    <a:lnTo>
                      <a:pt x="4991999" y="10532578"/>
                    </a:lnTo>
                    <a:lnTo>
                      <a:pt x="5019644" y="10565697"/>
                    </a:lnTo>
                    <a:lnTo>
                      <a:pt x="5032815" y="10588350"/>
                    </a:lnTo>
                    <a:lnTo>
                      <a:pt x="5045977" y="10611004"/>
                    </a:lnTo>
                    <a:lnTo>
                      <a:pt x="5056851" y="10635405"/>
                    </a:lnTo>
                    <a:lnTo>
                      <a:pt x="5057985" y="10682539"/>
                    </a:lnTo>
                    <a:lnTo>
                      <a:pt x="5042628" y="10706755"/>
                    </a:lnTo>
                    <a:lnTo>
                      <a:pt x="5027373" y="10731169"/>
                    </a:lnTo>
                    <a:lnTo>
                      <a:pt x="5012112" y="10755584"/>
                    </a:lnTo>
                    <a:lnTo>
                      <a:pt x="4996085" y="10779055"/>
                    </a:lnTo>
                    <a:lnTo>
                      <a:pt x="4996085" y="10808700"/>
                    </a:lnTo>
                    <a:lnTo>
                      <a:pt x="4998091" y="10835422"/>
                    </a:lnTo>
                    <a:lnTo>
                      <a:pt x="5002265" y="10860872"/>
                    </a:lnTo>
                    <a:lnTo>
                      <a:pt x="5005617" y="10884870"/>
                    </a:lnTo>
                    <a:lnTo>
                      <a:pt x="5006922" y="10921149"/>
                    </a:lnTo>
                    <a:lnTo>
                      <a:pt x="5005155" y="10960923"/>
                    </a:lnTo>
                    <a:lnTo>
                      <a:pt x="5012410" y="10996410"/>
                    </a:lnTo>
                    <a:lnTo>
                      <a:pt x="5022236" y="11030249"/>
                    </a:lnTo>
                    <a:lnTo>
                      <a:pt x="5040675" y="11060500"/>
                    </a:lnTo>
                    <a:lnTo>
                      <a:pt x="5070899" y="11084821"/>
                    </a:lnTo>
                    <a:lnTo>
                      <a:pt x="5106835" y="11072634"/>
                    </a:lnTo>
                    <a:lnTo>
                      <a:pt x="5112078" y="11045496"/>
                    </a:lnTo>
                    <a:lnTo>
                      <a:pt x="5122583" y="11023614"/>
                    </a:lnTo>
                    <a:lnTo>
                      <a:pt x="5134970" y="11003031"/>
                    </a:lnTo>
                    <a:lnTo>
                      <a:pt x="5153732" y="10992506"/>
                    </a:lnTo>
                    <a:lnTo>
                      <a:pt x="5182431" y="10997769"/>
                    </a:lnTo>
                    <a:lnTo>
                      <a:pt x="5217294" y="11011117"/>
                    </a:lnTo>
                    <a:lnTo>
                      <a:pt x="5232124" y="11032583"/>
                    </a:lnTo>
                    <a:lnTo>
                      <a:pt x="5245940" y="11059569"/>
                    </a:lnTo>
                    <a:lnTo>
                      <a:pt x="5249059" y="11150110"/>
                    </a:lnTo>
                    <a:lnTo>
                      <a:pt x="5288130" y="11174552"/>
                    </a:lnTo>
                    <a:lnTo>
                      <a:pt x="5310162" y="11185604"/>
                    </a:lnTo>
                    <a:lnTo>
                      <a:pt x="5308473" y="11209749"/>
                    </a:lnTo>
                    <a:lnTo>
                      <a:pt x="5306184" y="11234440"/>
                    </a:lnTo>
                    <a:lnTo>
                      <a:pt x="5303884" y="11259138"/>
                    </a:lnTo>
                    <a:lnTo>
                      <a:pt x="5300857" y="11284634"/>
                    </a:lnTo>
                    <a:lnTo>
                      <a:pt x="5322962" y="11296571"/>
                    </a:lnTo>
                    <a:lnTo>
                      <a:pt x="5351084" y="11303812"/>
                    </a:lnTo>
                    <a:lnTo>
                      <a:pt x="5379371" y="11312339"/>
                    </a:lnTo>
                    <a:lnTo>
                      <a:pt x="5407133" y="11322495"/>
                    </a:lnTo>
                    <a:lnTo>
                      <a:pt x="5432688" y="11335098"/>
                    </a:lnTo>
                    <a:lnTo>
                      <a:pt x="5457434" y="11348716"/>
                    </a:lnTo>
                    <a:lnTo>
                      <a:pt x="5486852" y="11371257"/>
                    </a:lnTo>
                    <a:lnTo>
                      <a:pt x="5500932" y="11395105"/>
                    </a:lnTo>
                    <a:lnTo>
                      <a:pt x="5507502" y="11422150"/>
                    </a:lnTo>
                    <a:lnTo>
                      <a:pt x="5514075" y="11449196"/>
                    </a:lnTo>
                    <a:lnTo>
                      <a:pt x="5513880" y="11479289"/>
                    </a:lnTo>
                    <a:lnTo>
                      <a:pt x="5506150" y="11506479"/>
                    </a:lnTo>
                    <a:lnTo>
                      <a:pt x="5498393" y="11533677"/>
                    </a:lnTo>
                    <a:lnTo>
                      <a:pt x="5482750" y="11558289"/>
                    </a:lnTo>
                    <a:lnTo>
                      <a:pt x="5458541" y="11573134"/>
                    </a:lnTo>
                    <a:lnTo>
                      <a:pt x="5434338" y="11587973"/>
                    </a:lnTo>
                    <a:lnTo>
                      <a:pt x="5402008" y="11592669"/>
                    </a:lnTo>
                    <a:lnTo>
                      <a:pt x="5359254" y="11582651"/>
                    </a:lnTo>
                    <a:lnTo>
                      <a:pt x="5337063" y="11614022"/>
                    </a:lnTo>
                    <a:lnTo>
                      <a:pt x="5315002" y="11763220"/>
                    </a:lnTo>
                    <a:lnTo>
                      <a:pt x="5337661" y="11771786"/>
                    </a:lnTo>
                    <a:lnTo>
                      <a:pt x="5361986" y="11773124"/>
                    </a:lnTo>
                    <a:lnTo>
                      <a:pt x="5386108" y="11787205"/>
                    </a:lnTo>
                    <a:lnTo>
                      <a:pt x="5387792" y="11811138"/>
                    </a:lnTo>
                    <a:lnTo>
                      <a:pt x="5380939" y="11837320"/>
                    </a:lnTo>
                    <a:lnTo>
                      <a:pt x="5371027" y="11861662"/>
                    </a:lnTo>
                    <a:lnTo>
                      <a:pt x="5372841" y="11894141"/>
                    </a:lnTo>
                    <a:lnTo>
                      <a:pt x="5424022" y="11894504"/>
                    </a:lnTo>
                    <a:lnTo>
                      <a:pt x="5441534" y="11860738"/>
                    </a:lnTo>
                    <a:lnTo>
                      <a:pt x="5469415" y="11841092"/>
                    </a:lnTo>
                    <a:lnTo>
                      <a:pt x="5496021" y="11828093"/>
                    </a:lnTo>
                    <a:lnTo>
                      <a:pt x="5535311" y="11816012"/>
                    </a:lnTo>
                    <a:lnTo>
                      <a:pt x="5559158" y="11810524"/>
                    </a:lnTo>
                    <a:lnTo>
                      <a:pt x="5582313" y="11805730"/>
                    </a:lnTo>
                    <a:lnTo>
                      <a:pt x="5605468" y="11800929"/>
                    </a:lnTo>
                    <a:lnTo>
                      <a:pt x="5627957" y="11795778"/>
                    </a:lnTo>
                    <a:lnTo>
                      <a:pt x="5648970" y="11792125"/>
                    </a:lnTo>
                    <a:lnTo>
                      <a:pt x="5669967" y="11788471"/>
                    </a:lnTo>
                    <a:lnTo>
                      <a:pt x="5702011" y="11782608"/>
                    </a:lnTo>
                    <a:lnTo>
                      <a:pt x="5733306" y="11781639"/>
                    </a:lnTo>
                    <a:lnTo>
                      <a:pt x="5757772" y="11791729"/>
                    </a:lnTo>
                    <a:lnTo>
                      <a:pt x="5778190" y="11808447"/>
                    </a:lnTo>
                    <a:lnTo>
                      <a:pt x="5797788" y="11826775"/>
                    </a:lnTo>
                    <a:lnTo>
                      <a:pt x="5818438" y="11841804"/>
                    </a:lnTo>
                    <a:lnTo>
                      <a:pt x="5843479" y="11849250"/>
                    </a:lnTo>
                    <a:lnTo>
                      <a:pt x="5882131" y="11851142"/>
                    </a:lnTo>
                    <a:lnTo>
                      <a:pt x="5921787" y="11850081"/>
                    </a:lnTo>
                    <a:lnTo>
                      <a:pt x="5961812" y="11847891"/>
                    </a:lnTo>
                    <a:lnTo>
                      <a:pt x="6000867" y="11846183"/>
                    </a:lnTo>
                    <a:lnTo>
                      <a:pt x="6039736" y="11846863"/>
                    </a:lnTo>
                    <a:lnTo>
                      <a:pt x="6077433" y="11851973"/>
                    </a:lnTo>
                    <a:lnTo>
                      <a:pt x="6100139" y="11843960"/>
                    </a:lnTo>
                    <a:lnTo>
                      <a:pt x="6123669" y="11811171"/>
                    </a:lnTo>
                    <a:lnTo>
                      <a:pt x="6138896" y="11771503"/>
                    </a:lnTo>
                    <a:lnTo>
                      <a:pt x="6142716" y="11749957"/>
                    </a:lnTo>
                    <a:lnTo>
                      <a:pt x="6146549" y="11728418"/>
                    </a:lnTo>
                    <a:lnTo>
                      <a:pt x="6148936" y="11706905"/>
                    </a:lnTo>
                    <a:lnTo>
                      <a:pt x="6160991" y="11670593"/>
                    </a:lnTo>
                    <a:lnTo>
                      <a:pt x="6186248" y="11647947"/>
                    </a:lnTo>
                    <a:lnTo>
                      <a:pt x="6208005" y="11650664"/>
                    </a:lnTo>
                    <a:lnTo>
                      <a:pt x="6240137" y="11674293"/>
                    </a:lnTo>
                    <a:lnTo>
                      <a:pt x="6279117" y="11701030"/>
                    </a:lnTo>
                    <a:lnTo>
                      <a:pt x="6304582" y="11732276"/>
                    </a:lnTo>
                    <a:lnTo>
                      <a:pt x="6354734" y="11727633"/>
                    </a:lnTo>
                    <a:lnTo>
                      <a:pt x="6380230" y="11713520"/>
                    </a:lnTo>
                    <a:lnTo>
                      <a:pt x="6403882" y="11696901"/>
                    </a:lnTo>
                    <a:lnTo>
                      <a:pt x="6427517" y="11680288"/>
                    </a:lnTo>
                    <a:lnTo>
                      <a:pt x="6449194" y="11660840"/>
                    </a:lnTo>
                    <a:lnTo>
                      <a:pt x="6471887" y="11641134"/>
                    </a:lnTo>
                    <a:lnTo>
                      <a:pt x="6497048" y="11624086"/>
                    </a:lnTo>
                    <a:lnTo>
                      <a:pt x="6512123" y="11606069"/>
                    </a:lnTo>
                    <a:lnTo>
                      <a:pt x="6530376" y="11592173"/>
                    </a:lnTo>
                    <a:lnTo>
                      <a:pt x="6548626" y="11578278"/>
                    </a:lnTo>
                    <a:lnTo>
                      <a:pt x="6569803" y="11568617"/>
                    </a:lnTo>
                    <a:lnTo>
                      <a:pt x="6606623" y="11576755"/>
                    </a:lnTo>
                    <a:lnTo>
                      <a:pt x="6633040" y="11582604"/>
                    </a:lnTo>
                    <a:lnTo>
                      <a:pt x="6663674" y="11590815"/>
                    </a:lnTo>
                    <a:lnTo>
                      <a:pt x="6694307" y="11599026"/>
                    </a:lnTo>
                    <a:lnTo>
                      <a:pt x="6728885" y="11609690"/>
                    </a:lnTo>
                    <a:lnTo>
                      <a:pt x="6762973" y="11620736"/>
                    </a:lnTo>
                    <a:lnTo>
                      <a:pt x="6797042" y="11631783"/>
                    </a:lnTo>
                    <a:lnTo>
                      <a:pt x="6830070" y="11643963"/>
                    </a:lnTo>
                    <a:lnTo>
                      <a:pt x="6856825" y="11656104"/>
                    </a:lnTo>
                    <a:lnTo>
                      <a:pt x="6882817" y="11667897"/>
                    </a:lnTo>
                    <a:lnTo>
                      <a:pt x="6902192" y="11678936"/>
                    </a:lnTo>
                    <a:lnTo>
                      <a:pt x="6928696" y="11681245"/>
                    </a:lnTo>
                    <a:lnTo>
                      <a:pt x="6957476" y="11668345"/>
                    </a:lnTo>
                    <a:lnTo>
                      <a:pt x="6992977" y="11654205"/>
                    </a:lnTo>
                    <a:lnTo>
                      <a:pt x="7028061" y="11638958"/>
                    </a:lnTo>
                    <a:lnTo>
                      <a:pt x="7058133" y="11620736"/>
                    </a:lnTo>
                    <a:lnTo>
                      <a:pt x="7081146" y="11596072"/>
                    </a:lnTo>
                    <a:lnTo>
                      <a:pt x="7087121" y="11573002"/>
                    </a:lnTo>
                    <a:lnTo>
                      <a:pt x="7093495" y="11550006"/>
                    </a:lnTo>
                    <a:lnTo>
                      <a:pt x="7100264" y="11522386"/>
                    </a:lnTo>
                    <a:lnTo>
                      <a:pt x="7112607" y="11478742"/>
                    </a:lnTo>
                    <a:lnTo>
                      <a:pt x="7122384" y="11449809"/>
                    </a:lnTo>
                    <a:lnTo>
                      <a:pt x="7150621" y="11434397"/>
                    </a:lnTo>
                    <a:lnTo>
                      <a:pt x="7172477" y="11459445"/>
                    </a:lnTo>
                    <a:lnTo>
                      <a:pt x="7187269" y="11480845"/>
                    </a:lnTo>
                    <a:lnTo>
                      <a:pt x="7217336" y="11506486"/>
                    </a:lnTo>
                    <a:lnTo>
                      <a:pt x="7249914" y="11529608"/>
                    </a:lnTo>
                    <a:lnTo>
                      <a:pt x="7282507" y="11552729"/>
                    </a:lnTo>
                    <a:lnTo>
                      <a:pt x="7318127" y="11572606"/>
                    </a:lnTo>
                    <a:lnTo>
                      <a:pt x="7341517" y="11566308"/>
                    </a:lnTo>
                    <a:lnTo>
                      <a:pt x="7354655" y="11536407"/>
                    </a:lnTo>
                    <a:lnTo>
                      <a:pt x="7366598" y="11505101"/>
                    </a:lnTo>
                    <a:lnTo>
                      <a:pt x="7363538" y="11481162"/>
                    </a:lnTo>
                    <a:lnTo>
                      <a:pt x="7345133" y="11450720"/>
                    </a:lnTo>
                    <a:lnTo>
                      <a:pt x="7328064" y="11421643"/>
                    </a:lnTo>
                    <a:lnTo>
                      <a:pt x="7324418" y="11391972"/>
                    </a:lnTo>
                    <a:lnTo>
                      <a:pt x="7343775" y="11377266"/>
                    </a:lnTo>
                    <a:lnTo>
                      <a:pt x="7365854" y="11366444"/>
                    </a:lnTo>
                    <a:lnTo>
                      <a:pt x="7397099" y="11352397"/>
                    </a:lnTo>
                    <a:lnTo>
                      <a:pt x="7424027" y="11333740"/>
                    </a:lnTo>
                    <a:lnTo>
                      <a:pt x="7445111" y="11319171"/>
                    </a:lnTo>
                    <a:lnTo>
                      <a:pt x="7470923" y="11318195"/>
                    </a:lnTo>
                    <a:lnTo>
                      <a:pt x="7496820" y="11338402"/>
                    </a:lnTo>
                    <a:lnTo>
                      <a:pt x="7514087" y="11355562"/>
                    </a:lnTo>
                    <a:lnTo>
                      <a:pt x="7538278" y="11382706"/>
                    </a:lnTo>
                    <a:lnTo>
                      <a:pt x="7567156" y="11364380"/>
                    </a:lnTo>
                    <a:lnTo>
                      <a:pt x="7581804" y="11325588"/>
                    </a:lnTo>
                    <a:lnTo>
                      <a:pt x="7591642" y="11284977"/>
                    </a:lnTo>
                    <a:lnTo>
                      <a:pt x="7596767" y="11264374"/>
                    </a:lnTo>
                    <a:lnTo>
                      <a:pt x="7601892" y="11243771"/>
                    </a:lnTo>
                    <a:lnTo>
                      <a:pt x="7607786" y="11223539"/>
                    </a:lnTo>
                    <a:lnTo>
                      <a:pt x="7629280" y="11190953"/>
                    </a:lnTo>
                    <a:lnTo>
                      <a:pt x="7667498" y="11170522"/>
                    </a:lnTo>
                    <a:lnTo>
                      <a:pt x="7690963" y="11163406"/>
                    </a:lnTo>
                    <a:lnTo>
                      <a:pt x="7714639" y="11165800"/>
                    </a:lnTo>
                    <a:lnTo>
                      <a:pt x="7738234" y="11169164"/>
                    </a:lnTo>
                    <a:lnTo>
                      <a:pt x="7800801" y="11178686"/>
                    </a:lnTo>
                    <a:lnTo>
                      <a:pt x="7845691" y="11201808"/>
                    </a:lnTo>
                    <a:lnTo>
                      <a:pt x="7890575" y="11224930"/>
                    </a:lnTo>
                    <a:lnTo>
                      <a:pt x="7907715" y="11241707"/>
                    </a:lnTo>
                    <a:lnTo>
                      <a:pt x="7925119" y="11259843"/>
                    </a:lnTo>
                    <a:lnTo>
                      <a:pt x="7947701" y="11268457"/>
                    </a:lnTo>
                    <a:lnTo>
                      <a:pt x="7980973" y="11266267"/>
                    </a:lnTo>
                    <a:lnTo>
                      <a:pt x="8006916" y="11254330"/>
                    </a:lnTo>
                    <a:lnTo>
                      <a:pt x="8036120" y="11239894"/>
                    </a:lnTo>
                    <a:lnTo>
                      <a:pt x="8067551" y="11227073"/>
                    </a:lnTo>
                    <a:lnTo>
                      <a:pt x="8097167" y="11211905"/>
                    </a:lnTo>
                    <a:lnTo>
                      <a:pt x="8123172" y="11190927"/>
                    </a:lnTo>
                    <a:lnTo>
                      <a:pt x="8129082" y="11152564"/>
                    </a:lnTo>
                    <a:lnTo>
                      <a:pt x="8120422" y="11129719"/>
                    </a:lnTo>
                    <a:lnTo>
                      <a:pt x="8111768" y="11106868"/>
                    </a:lnTo>
                    <a:lnTo>
                      <a:pt x="8100947" y="11084109"/>
                    </a:lnTo>
                    <a:lnTo>
                      <a:pt x="8101849" y="11053568"/>
                    </a:lnTo>
                    <a:lnTo>
                      <a:pt x="8113365" y="11033797"/>
                    </a:lnTo>
                    <a:lnTo>
                      <a:pt x="8137549" y="11000664"/>
                    </a:lnTo>
                    <a:lnTo>
                      <a:pt x="8166673" y="10989617"/>
                    </a:lnTo>
                    <a:lnTo>
                      <a:pt x="8198485" y="10994537"/>
                    </a:lnTo>
                    <a:lnTo>
                      <a:pt x="8222447" y="11001858"/>
                    </a:lnTo>
                    <a:lnTo>
                      <a:pt x="8256705" y="11015740"/>
                    </a:lnTo>
                    <a:lnTo>
                      <a:pt x="8290452" y="11026344"/>
                    </a:lnTo>
                    <a:lnTo>
                      <a:pt x="8331255" y="10989617"/>
                    </a:lnTo>
                    <a:lnTo>
                      <a:pt x="8283599" y="10925693"/>
                    </a:lnTo>
                    <a:lnTo>
                      <a:pt x="8304023" y="10897928"/>
                    </a:lnTo>
                    <a:lnTo>
                      <a:pt x="8323051" y="10883531"/>
                    </a:lnTo>
                    <a:lnTo>
                      <a:pt x="8342070" y="10869128"/>
                    </a:lnTo>
                    <a:lnTo>
                      <a:pt x="8363347" y="10855305"/>
                    </a:lnTo>
                    <a:lnTo>
                      <a:pt x="8388207" y="10840869"/>
                    </a:lnTo>
                    <a:lnTo>
                      <a:pt x="8419619" y="10850880"/>
                    </a:lnTo>
                    <a:lnTo>
                      <a:pt x="8454020" y="10868377"/>
                    </a:lnTo>
                    <a:lnTo>
                      <a:pt x="8488601" y="10890515"/>
                    </a:lnTo>
                    <a:lnTo>
                      <a:pt x="8505592" y="10903177"/>
                    </a:lnTo>
                    <a:lnTo>
                      <a:pt x="8540405" y="10921004"/>
                    </a:lnTo>
                    <a:lnTo>
                      <a:pt x="8574692" y="10927058"/>
                    </a:lnTo>
                    <a:lnTo>
                      <a:pt x="8598876" y="10902722"/>
                    </a:lnTo>
                    <a:lnTo>
                      <a:pt x="8607626" y="10869775"/>
                    </a:lnTo>
                    <a:lnTo>
                      <a:pt x="8605946" y="10831841"/>
                    </a:lnTo>
                    <a:lnTo>
                      <a:pt x="8600334" y="10793366"/>
                    </a:lnTo>
                    <a:lnTo>
                      <a:pt x="8595221" y="10756059"/>
                    </a:lnTo>
                    <a:lnTo>
                      <a:pt x="8596436" y="10723025"/>
                    </a:lnTo>
                    <a:lnTo>
                      <a:pt x="8620652" y="10700516"/>
                    </a:lnTo>
                    <a:lnTo>
                      <a:pt x="8654932" y="10699903"/>
                    </a:lnTo>
                    <a:lnTo>
                      <a:pt x="8690216" y="10705964"/>
                    </a:lnTo>
                    <a:lnTo>
                      <a:pt x="8747605" y="10728591"/>
                    </a:lnTo>
                    <a:lnTo>
                      <a:pt x="8788809" y="10753058"/>
                    </a:lnTo>
                    <a:lnTo>
                      <a:pt x="8827678" y="10780150"/>
                    </a:lnTo>
                    <a:lnTo>
                      <a:pt x="8866544" y="10807248"/>
                    </a:lnTo>
                    <a:lnTo>
                      <a:pt x="8903943" y="10836761"/>
                    </a:lnTo>
                    <a:lnTo>
                      <a:pt x="8935138" y="10857686"/>
                    </a:lnTo>
                    <a:lnTo>
                      <a:pt x="8966330" y="10878605"/>
                    </a:lnTo>
                    <a:lnTo>
                      <a:pt x="8991984" y="10891043"/>
                    </a:lnTo>
                    <a:lnTo>
                      <a:pt x="9019465" y="10876726"/>
                    </a:lnTo>
                    <a:lnTo>
                      <a:pt x="9020640" y="10855536"/>
                    </a:lnTo>
                    <a:lnTo>
                      <a:pt x="9003090" y="10837143"/>
                    </a:lnTo>
                    <a:lnTo>
                      <a:pt x="8985454" y="10820959"/>
                    </a:lnTo>
                    <a:lnTo>
                      <a:pt x="8967834" y="10804775"/>
                    </a:lnTo>
                    <a:lnTo>
                      <a:pt x="8950291" y="10790834"/>
                    </a:lnTo>
                    <a:lnTo>
                      <a:pt x="8964984" y="10768675"/>
                    </a:lnTo>
                    <a:lnTo>
                      <a:pt x="8990006" y="10763260"/>
                    </a:lnTo>
                    <a:lnTo>
                      <a:pt x="9027985" y="10772783"/>
                    </a:lnTo>
                    <a:lnTo>
                      <a:pt x="9070240" y="10788262"/>
                    </a:lnTo>
                    <a:lnTo>
                      <a:pt x="9111958" y="10796479"/>
                    </a:lnTo>
                    <a:lnTo>
                      <a:pt x="9132819" y="10800588"/>
                    </a:lnTo>
                    <a:lnTo>
                      <a:pt x="9153850" y="10803060"/>
                    </a:lnTo>
                    <a:lnTo>
                      <a:pt x="9192490" y="10800779"/>
                    </a:lnTo>
                    <a:lnTo>
                      <a:pt x="9224851" y="10785597"/>
                    </a:lnTo>
                    <a:lnTo>
                      <a:pt x="9241358" y="10771339"/>
                    </a:lnTo>
                    <a:lnTo>
                      <a:pt x="9257323" y="10753605"/>
                    </a:lnTo>
                    <a:lnTo>
                      <a:pt x="9277908" y="10737988"/>
                    </a:lnTo>
                    <a:lnTo>
                      <a:pt x="9303925" y="10735720"/>
                    </a:lnTo>
                    <a:lnTo>
                      <a:pt x="9333507" y="10740257"/>
                    </a:lnTo>
                    <a:lnTo>
                      <a:pt x="9364960" y="10750229"/>
                    </a:lnTo>
                    <a:lnTo>
                      <a:pt x="9397519" y="10759561"/>
                    </a:lnTo>
                    <a:lnTo>
                      <a:pt x="9430336" y="10770825"/>
                    </a:lnTo>
                    <a:lnTo>
                      <a:pt x="9462895" y="10781515"/>
                    </a:lnTo>
                    <a:lnTo>
                      <a:pt x="9496034" y="10789310"/>
                    </a:lnTo>
                    <a:lnTo>
                      <a:pt x="9527688" y="10792759"/>
                    </a:lnTo>
                    <a:lnTo>
                      <a:pt x="9558105" y="10789680"/>
                    </a:lnTo>
                    <a:lnTo>
                      <a:pt x="9585870" y="10781462"/>
                    </a:lnTo>
                    <a:lnTo>
                      <a:pt x="9611952" y="10762529"/>
                    </a:lnTo>
                    <a:lnTo>
                      <a:pt x="9635641" y="10731190"/>
                    </a:lnTo>
                    <a:lnTo>
                      <a:pt x="9648704" y="10703095"/>
                    </a:lnTo>
                    <a:lnTo>
                      <a:pt x="9657370" y="10669052"/>
                    </a:lnTo>
                    <a:lnTo>
                      <a:pt x="9657838" y="10642745"/>
                    </a:lnTo>
                    <a:lnTo>
                      <a:pt x="9628162" y="10633690"/>
                    </a:lnTo>
                    <a:lnTo>
                      <a:pt x="9535384" y="10620883"/>
                    </a:lnTo>
                    <a:lnTo>
                      <a:pt x="9458191" y="10576948"/>
                    </a:lnTo>
                    <a:lnTo>
                      <a:pt x="9393495" y="10531232"/>
                    </a:lnTo>
                    <a:lnTo>
                      <a:pt x="9363239" y="10509812"/>
                    </a:lnTo>
                    <a:lnTo>
                      <a:pt x="9308402" y="10485456"/>
                    </a:lnTo>
                    <a:lnTo>
                      <a:pt x="9286037" y="10456426"/>
                    </a:lnTo>
                    <a:lnTo>
                      <a:pt x="9238350" y="10394368"/>
                    </a:lnTo>
                    <a:lnTo>
                      <a:pt x="9288484" y="10230907"/>
                    </a:lnTo>
                    <a:lnTo>
                      <a:pt x="9231638" y="10101409"/>
                    </a:lnTo>
                    <a:lnTo>
                      <a:pt x="9223471" y="10073400"/>
                    </a:lnTo>
                    <a:lnTo>
                      <a:pt x="9105562" y="9935151"/>
                    </a:lnTo>
                    <a:lnTo>
                      <a:pt x="8957130" y="9990767"/>
                    </a:lnTo>
                    <a:lnTo>
                      <a:pt x="8871179" y="9930028"/>
                    </a:lnTo>
                    <a:lnTo>
                      <a:pt x="8850272" y="9915215"/>
                    </a:lnTo>
                    <a:lnTo>
                      <a:pt x="8822596" y="9851753"/>
                    </a:lnTo>
                    <a:lnTo>
                      <a:pt x="8811332" y="9825294"/>
                    </a:lnTo>
                    <a:lnTo>
                      <a:pt x="8762113" y="9742659"/>
                    </a:lnTo>
                    <a:lnTo>
                      <a:pt x="8754845" y="9657480"/>
                    </a:lnTo>
                    <a:lnTo>
                      <a:pt x="8744681" y="9564135"/>
                    </a:lnTo>
                    <a:lnTo>
                      <a:pt x="8738945" y="9511469"/>
                    </a:lnTo>
                    <a:lnTo>
                      <a:pt x="8717182" y="9459336"/>
                    </a:lnTo>
                    <a:lnTo>
                      <a:pt x="8702513" y="9409069"/>
                    </a:lnTo>
                    <a:lnTo>
                      <a:pt x="8681014" y="9334943"/>
                    </a:lnTo>
                    <a:lnTo>
                      <a:pt x="8683085" y="9253139"/>
                    </a:lnTo>
                    <a:lnTo>
                      <a:pt x="8645398" y="9183280"/>
                    </a:lnTo>
                    <a:lnTo>
                      <a:pt x="8631612" y="9163706"/>
                    </a:lnTo>
                    <a:lnTo>
                      <a:pt x="8620869" y="9142517"/>
                    </a:lnTo>
                    <a:lnTo>
                      <a:pt x="8610020" y="9123431"/>
                    </a:lnTo>
                    <a:lnTo>
                      <a:pt x="8613892" y="9004663"/>
                    </a:lnTo>
                    <a:lnTo>
                      <a:pt x="8912457" y="8967580"/>
                    </a:lnTo>
                    <a:lnTo>
                      <a:pt x="8945993" y="8903076"/>
                    </a:lnTo>
                    <a:lnTo>
                      <a:pt x="8929926" y="8865076"/>
                    </a:lnTo>
                    <a:lnTo>
                      <a:pt x="8856222" y="8849921"/>
                    </a:lnTo>
                    <a:lnTo>
                      <a:pt x="8839900" y="8806506"/>
                    </a:lnTo>
                    <a:lnTo>
                      <a:pt x="8826044" y="8769588"/>
                    </a:lnTo>
                    <a:lnTo>
                      <a:pt x="8877213" y="8647424"/>
                    </a:lnTo>
                    <a:lnTo>
                      <a:pt x="8865738" y="8573911"/>
                    </a:lnTo>
                    <a:lnTo>
                      <a:pt x="8862256" y="8488388"/>
                    </a:lnTo>
                    <a:lnTo>
                      <a:pt x="8855965" y="8379611"/>
                    </a:lnTo>
                    <a:lnTo>
                      <a:pt x="8778686" y="8324993"/>
                    </a:lnTo>
                    <a:lnTo>
                      <a:pt x="8748647" y="8303738"/>
                    </a:lnTo>
                    <a:lnTo>
                      <a:pt x="8710718" y="8288266"/>
                    </a:lnTo>
                    <a:lnTo>
                      <a:pt x="8678034" y="8270585"/>
                    </a:lnTo>
                    <a:lnTo>
                      <a:pt x="8639730" y="8251882"/>
                    </a:lnTo>
                    <a:lnTo>
                      <a:pt x="8627709" y="8233857"/>
                    </a:lnTo>
                    <a:lnTo>
                      <a:pt x="8598439" y="8189976"/>
                    </a:lnTo>
                    <a:lnTo>
                      <a:pt x="8638629" y="8070977"/>
                    </a:lnTo>
                    <a:lnTo>
                      <a:pt x="8627709" y="8013509"/>
                    </a:lnTo>
                    <a:lnTo>
                      <a:pt x="8617505" y="7959569"/>
                    </a:lnTo>
                    <a:lnTo>
                      <a:pt x="8509800" y="7916063"/>
                    </a:lnTo>
                    <a:lnTo>
                      <a:pt x="8497131" y="7870690"/>
                    </a:lnTo>
                    <a:lnTo>
                      <a:pt x="8476230" y="7795706"/>
                    </a:lnTo>
                    <a:lnTo>
                      <a:pt x="8554380" y="7685868"/>
                    </a:lnTo>
                    <a:lnTo>
                      <a:pt x="8501217" y="7587768"/>
                    </a:lnTo>
                    <a:lnTo>
                      <a:pt x="8447958" y="7489260"/>
                    </a:lnTo>
                    <a:lnTo>
                      <a:pt x="8389506" y="7518350"/>
                    </a:lnTo>
                    <a:lnTo>
                      <a:pt x="8305350" y="7491193"/>
                    </a:lnTo>
                    <a:lnTo>
                      <a:pt x="8286269" y="7434846"/>
                    </a:lnTo>
                    <a:lnTo>
                      <a:pt x="8335909" y="7330818"/>
                    </a:lnTo>
                    <a:lnTo>
                      <a:pt x="8320313" y="7291241"/>
                    </a:lnTo>
                    <a:lnTo>
                      <a:pt x="8311688" y="7269333"/>
                    </a:lnTo>
                    <a:lnTo>
                      <a:pt x="8286483" y="7255899"/>
                    </a:lnTo>
                    <a:lnTo>
                      <a:pt x="8271346" y="7239558"/>
                    </a:lnTo>
                    <a:lnTo>
                      <a:pt x="8280890" y="7197390"/>
                    </a:lnTo>
                    <a:lnTo>
                      <a:pt x="8342300" y="7161407"/>
                    </a:lnTo>
                    <a:lnTo>
                      <a:pt x="8403865" y="7184463"/>
                    </a:lnTo>
                    <a:lnTo>
                      <a:pt x="8460435" y="7159304"/>
                    </a:lnTo>
                    <a:lnTo>
                      <a:pt x="8494557" y="7144064"/>
                    </a:lnTo>
                    <a:lnTo>
                      <a:pt x="8525765" y="7113713"/>
                    </a:lnTo>
                    <a:lnTo>
                      <a:pt x="8543407" y="7081768"/>
                    </a:lnTo>
                    <a:lnTo>
                      <a:pt x="8609719" y="6961351"/>
                    </a:lnTo>
                    <a:lnTo>
                      <a:pt x="8437063" y="6931279"/>
                    </a:lnTo>
                    <a:lnTo>
                      <a:pt x="8361142" y="6904946"/>
                    </a:lnTo>
                    <a:lnTo>
                      <a:pt x="8339590" y="6897467"/>
                    </a:lnTo>
                    <a:lnTo>
                      <a:pt x="8316001" y="6883756"/>
                    </a:lnTo>
                    <a:lnTo>
                      <a:pt x="8293131" y="6880465"/>
                    </a:lnTo>
                    <a:lnTo>
                      <a:pt x="8224062" y="6870533"/>
                    </a:lnTo>
                    <a:lnTo>
                      <a:pt x="8014586" y="6981670"/>
                    </a:lnTo>
                    <a:lnTo>
                      <a:pt x="7883717" y="6941672"/>
                    </a:lnTo>
                    <a:lnTo>
                      <a:pt x="7828334" y="6924756"/>
                    </a:lnTo>
                    <a:lnTo>
                      <a:pt x="7776340" y="6847392"/>
                    </a:lnTo>
                    <a:lnTo>
                      <a:pt x="7755849" y="6796129"/>
                    </a:lnTo>
                    <a:lnTo>
                      <a:pt x="7759331" y="6764994"/>
                    </a:lnTo>
                    <a:lnTo>
                      <a:pt x="7777066" y="6746608"/>
                    </a:lnTo>
                    <a:lnTo>
                      <a:pt x="7773538" y="6711794"/>
                    </a:lnTo>
                    <a:lnTo>
                      <a:pt x="7769156" y="6669118"/>
                    </a:lnTo>
                    <a:lnTo>
                      <a:pt x="7749564" y="6596139"/>
                    </a:lnTo>
                    <a:lnTo>
                      <a:pt x="7730012" y="6558093"/>
                    </a:lnTo>
                    <a:lnTo>
                      <a:pt x="7704546" y="6508684"/>
                    </a:lnTo>
                    <a:lnTo>
                      <a:pt x="7655315" y="6460818"/>
                    </a:lnTo>
                    <a:lnTo>
                      <a:pt x="7653839" y="6401669"/>
                    </a:lnTo>
                    <a:lnTo>
                      <a:pt x="7652798" y="6359909"/>
                    </a:lnTo>
                    <a:lnTo>
                      <a:pt x="7668118" y="6311219"/>
                    </a:lnTo>
                    <a:lnTo>
                      <a:pt x="7672886" y="6269731"/>
                    </a:lnTo>
                    <a:lnTo>
                      <a:pt x="7676406" y="6239298"/>
                    </a:lnTo>
                    <a:lnTo>
                      <a:pt x="7659281" y="6199003"/>
                    </a:lnTo>
                    <a:lnTo>
                      <a:pt x="7652739" y="6147655"/>
                    </a:lnTo>
                    <a:lnTo>
                      <a:pt x="7672793" y="6139154"/>
                    </a:lnTo>
                    <a:lnTo>
                      <a:pt x="7623919" y="6098348"/>
                    </a:lnTo>
                    <a:lnTo>
                      <a:pt x="7597306" y="6092846"/>
                    </a:lnTo>
                    <a:lnTo>
                      <a:pt x="7559427" y="6100986"/>
                    </a:lnTo>
                    <a:lnTo>
                      <a:pt x="7538219" y="6088826"/>
                    </a:lnTo>
                    <a:lnTo>
                      <a:pt x="7523720" y="6057839"/>
                    </a:lnTo>
                    <a:lnTo>
                      <a:pt x="7457417" y="6002199"/>
                    </a:lnTo>
                    <a:lnTo>
                      <a:pt x="7371162" y="6081727"/>
                    </a:lnTo>
                    <a:lnTo>
                      <a:pt x="7328749" y="6109229"/>
                    </a:lnTo>
                    <a:lnTo>
                      <a:pt x="7264905" y="6113160"/>
                    </a:lnTo>
                    <a:lnTo>
                      <a:pt x="7231409" y="5998989"/>
                    </a:lnTo>
                    <a:lnTo>
                      <a:pt x="7087995" y="6030338"/>
                    </a:lnTo>
                    <a:lnTo>
                      <a:pt x="6990953" y="6051548"/>
                    </a:lnTo>
                    <a:lnTo>
                      <a:pt x="7023084" y="6116604"/>
                    </a:lnTo>
                    <a:lnTo>
                      <a:pt x="6964216" y="6154115"/>
                    </a:lnTo>
                    <a:lnTo>
                      <a:pt x="6928129" y="6177091"/>
                    </a:lnTo>
                    <a:lnTo>
                      <a:pt x="6853739" y="6179025"/>
                    </a:lnTo>
                    <a:lnTo>
                      <a:pt x="6811875" y="6185400"/>
                    </a:lnTo>
                    <a:lnTo>
                      <a:pt x="6776637" y="6190755"/>
                    </a:lnTo>
                    <a:lnTo>
                      <a:pt x="6744500" y="6216111"/>
                    </a:lnTo>
                    <a:lnTo>
                      <a:pt x="6713946" y="6231646"/>
                    </a:lnTo>
                    <a:lnTo>
                      <a:pt x="6693793" y="6241912"/>
                    </a:lnTo>
                    <a:lnTo>
                      <a:pt x="6667478" y="6248926"/>
                    </a:lnTo>
                    <a:lnTo>
                      <a:pt x="6645926" y="6257491"/>
                    </a:lnTo>
                    <a:lnTo>
                      <a:pt x="6519140" y="6307922"/>
                    </a:lnTo>
                    <a:lnTo>
                      <a:pt x="6319949" y="6305693"/>
                    </a:lnTo>
                    <a:lnTo>
                      <a:pt x="6187541" y="6277895"/>
                    </a:lnTo>
                    <a:lnTo>
                      <a:pt x="6164163" y="6272989"/>
                    </a:lnTo>
                    <a:lnTo>
                      <a:pt x="6090794" y="6268798"/>
                    </a:lnTo>
                    <a:lnTo>
                      <a:pt x="6034183" y="6215452"/>
                    </a:lnTo>
                    <a:lnTo>
                      <a:pt x="5989129" y="5947599"/>
                    </a:lnTo>
                    <a:lnTo>
                      <a:pt x="5972634" y="5932403"/>
                    </a:lnTo>
                    <a:lnTo>
                      <a:pt x="5950871" y="5925602"/>
                    </a:lnTo>
                    <a:lnTo>
                      <a:pt x="5834530" y="5954974"/>
                    </a:lnTo>
                    <a:lnTo>
                      <a:pt x="5710116" y="5991785"/>
                    </a:lnTo>
                    <a:lnTo>
                      <a:pt x="5589054" y="5962328"/>
                    </a:lnTo>
                    <a:lnTo>
                      <a:pt x="5540086" y="5950426"/>
                    </a:lnTo>
                    <a:lnTo>
                      <a:pt x="5465790" y="5902668"/>
                    </a:lnTo>
                    <a:lnTo>
                      <a:pt x="5419117" y="5895382"/>
                    </a:lnTo>
                    <a:lnTo>
                      <a:pt x="5382561" y="5912170"/>
                    </a:lnTo>
                    <a:lnTo>
                      <a:pt x="5345577" y="5899760"/>
                    </a:lnTo>
                    <a:lnTo>
                      <a:pt x="5321321" y="5891599"/>
                    </a:lnTo>
                    <a:lnTo>
                      <a:pt x="5300482" y="5873237"/>
                    </a:lnTo>
                    <a:lnTo>
                      <a:pt x="5278930" y="5860315"/>
                    </a:lnTo>
                    <a:lnTo>
                      <a:pt x="5235237" y="5834088"/>
                    </a:lnTo>
                    <a:lnTo>
                      <a:pt x="5162463" y="5809476"/>
                    </a:lnTo>
                    <a:lnTo>
                      <a:pt x="5111623" y="5811348"/>
                    </a:lnTo>
                    <a:lnTo>
                      <a:pt x="5061725" y="5813198"/>
                    </a:lnTo>
                    <a:lnTo>
                      <a:pt x="4951763" y="5834939"/>
                    </a:lnTo>
                    <a:lnTo>
                      <a:pt x="4917120" y="5872557"/>
                    </a:lnTo>
                    <a:lnTo>
                      <a:pt x="4884133" y="5908369"/>
                    </a:lnTo>
                    <a:lnTo>
                      <a:pt x="4863600" y="5993848"/>
                    </a:lnTo>
                    <a:lnTo>
                      <a:pt x="4800144" y="5985454"/>
                    </a:lnTo>
                    <a:lnTo>
                      <a:pt x="4771364" y="5981650"/>
                    </a:lnTo>
                    <a:lnTo>
                      <a:pt x="4659185" y="5940546"/>
                    </a:lnTo>
                    <a:lnTo>
                      <a:pt x="4630117" y="5926965"/>
                    </a:lnTo>
                    <a:lnTo>
                      <a:pt x="4588507" y="5907560"/>
                    </a:lnTo>
                    <a:lnTo>
                      <a:pt x="4503567" y="5838680"/>
                    </a:lnTo>
                    <a:lnTo>
                      <a:pt x="4461451" y="5837192"/>
                    </a:lnTo>
                    <a:lnTo>
                      <a:pt x="4490265" y="5825588"/>
                    </a:lnTo>
                    <a:lnTo>
                      <a:pt x="4540814" y="5809307"/>
                    </a:lnTo>
                    <a:lnTo>
                      <a:pt x="4564825" y="5793665"/>
                    </a:lnTo>
                    <a:lnTo>
                      <a:pt x="4584669" y="5780722"/>
                    </a:lnTo>
                    <a:lnTo>
                      <a:pt x="4606525" y="5775664"/>
                    </a:lnTo>
                    <a:lnTo>
                      <a:pt x="4626034" y="5761020"/>
                    </a:lnTo>
                    <a:lnTo>
                      <a:pt x="4694219" y="5709906"/>
                    </a:lnTo>
                    <a:lnTo>
                      <a:pt x="4727581" y="5642683"/>
                    </a:lnTo>
                    <a:lnTo>
                      <a:pt x="4745732" y="5559711"/>
                    </a:lnTo>
                    <a:lnTo>
                      <a:pt x="4752364" y="5529340"/>
                    </a:lnTo>
                    <a:lnTo>
                      <a:pt x="4754026" y="5497545"/>
                    </a:lnTo>
                    <a:lnTo>
                      <a:pt x="4766137" y="5468578"/>
                    </a:lnTo>
                    <a:lnTo>
                      <a:pt x="4797282" y="5394001"/>
                    </a:lnTo>
                    <a:lnTo>
                      <a:pt x="4894848" y="5370070"/>
                    </a:lnTo>
                    <a:lnTo>
                      <a:pt x="4783822" y="5282230"/>
                    </a:lnTo>
                    <a:lnTo>
                      <a:pt x="4781119" y="5260467"/>
                    </a:lnTo>
                    <a:lnTo>
                      <a:pt x="4750386" y="5265867"/>
                    </a:lnTo>
                    <a:lnTo>
                      <a:pt x="4706829" y="5261825"/>
                    </a:lnTo>
                    <a:lnTo>
                      <a:pt x="4674896" y="5246714"/>
                    </a:lnTo>
                    <a:lnTo>
                      <a:pt x="4647821" y="5235982"/>
                    </a:lnTo>
                    <a:lnTo>
                      <a:pt x="4534886" y="5191222"/>
                    </a:lnTo>
                    <a:lnTo>
                      <a:pt x="4514137" y="5180766"/>
                    </a:lnTo>
                    <a:lnTo>
                      <a:pt x="4453312" y="5074118"/>
                    </a:lnTo>
                    <a:lnTo>
                      <a:pt x="4440473" y="5057519"/>
                    </a:lnTo>
                    <a:lnTo>
                      <a:pt x="4442432" y="5019710"/>
                    </a:lnTo>
                    <a:lnTo>
                      <a:pt x="4466614" y="4992144"/>
                    </a:lnTo>
                    <a:lnTo>
                      <a:pt x="4520263" y="5033482"/>
                    </a:lnTo>
                    <a:lnTo>
                      <a:pt x="4559411" y="4968022"/>
                    </a:lnTo>
                    <a:lnTo>
                      <a:pt x="4596212" y="4906452"/>
                    </a:lnTo>
                    <a:lnTo>
                      <a:pt x="4543980" y="4846475"/>
                    </a:lnTo>
                    <a:lnTo>
                      <a:pt x="4540364" y="4784395"/>
                    </a:lnTo>
                    <a:lnTo>
                      <a:pt x="4537180" y="4729222"/>
                    </a:lnTo>
                    <a:lnTo>
                      <a:pt x="4594959" y="4679554"/>
                    </a:lnTo>
                    <a:lnTo>
                      <a:pt x="4590699" y="4570844"/>
                    </a:lnTo>
                    <a:lnTo>
                      <a:pt x="4589518" y="4540516"/>
                    </a:lnTo>
                    <a:lnTo>
                      <a:pt x="4555244" y="4327220"/>
                    </a:lnTo>
                    <a:lnTo>
                      <a:pt x="4544448" y="4308325"/>
                    </a:lnTo>
                    <a:lnTo>
                      <a:pt x="4500829" y="4232303"/>
                    </a:lnTo>
                    <a:lnTo>
                      <a:pt x="4387549" y="4189223"/>
                    </a:lnTo>
                    <a:lnTo>
                      <a:pt x="4341781" y="4105656"/>
                    </a:lnTo>
                    <a:lnTo>
                      <a:pt x="4307901" y="4043938"/>
                    </a:lnTo>
                    <a:lnTo>
                      <a:pt x="4303991" y="3909022"/>
                    </a:lnTo>
                    <a:lnTo>
                      <a:pt x="4242659" y="3872807"/>
                    </a:lnTo>
                    <a:lnTo>
                      <a:pt x="4088820" y="3829408"/>
                    </a:lnTo>
                    <a:lnTo>
                      <a:pt x="4077896" y="3779208"/>
                    </a:lnTo>
                    <a:lnTo>
                      <a:pt x="4070809" y="3746350"/>
                    </a:lnTo>
                    <a:lnTo>
                      <a:pt x="4075590" y="3662550"/>
                    </a:lnTo>
                    <a:lnTo>
                      <a:pt x="4105101" y="3632307"/>
                    </a:lnTo>
                    <a:lnTo>
                      <a:pt x="4132182" y="3620936"/>
                    </a:lnTo>
                    <a:lnTo>
                      <a:pt x="4196354" y="3608886"/>
                    </a:lnTo>
                    <a:lnTo>
                      <a:pt x="4240020" y="3601341"/>
                    </a:lnTo>
                    <a:lnTo>
                      <a:pt x="4284647" y="3588781"/>
                    </a:lnTo>
                    <a:lnTo>
                      <a:pt x="4332256" y="3575391"/>
                    </a:lnTo>
                    <a:lnTo>
                      <a:pt x="4373996" y="3546615"/>
                    </a:lnTo>
                    <a:lnTo>
                      <a:pt x="4423392" y="3537093"/>
                    </a:lnTo>
                    <a:lnTo>
                      <a:pt x="4488755" y="3524490"/>
                    </a:lnTo>
                    <a:lnTo>
                      <a:pt x="4560261" y="3531419"/>
                    </a:lnTo>
                    <a:lnTo>
                      <a:pt x="4624700" y="3513970"/>
                    </a:lnTo>
                    <a:lnTo>
                      <a:pt x="4677354" y="3499688"/>
                    </a:lnTo>
                    <a:lnTo>
                      <a:pt x="4725438" y="3467532"/>
                    </a:lnTo>
                    <a:lnTo>
                      <a:pt x="4778403" y="3452761"/>
                    </a:lnTo>
                    <a:lnTo>
                      <a:pt x="4832427" y="3437714"/>
                    </a:lnTo>
                    <a:lnTo>
                      <a:pt x="4902690" y="3454907"/>
                    </a:lnTo>
                    <a:lnTo>
                      <a:pt x="4957948" y="3456839"/>
                    </a:lnTo>
                    <a:lnTo>
                      <a:pt x="4998414" y="3452057"/>
                    </a:lnTo>
                    <a:lnTo>
                      <a:pt x="5045679" y="3447148"/>
                    </a:lnTo>
                    <a:lnTo>
                      <a:pt x="5071737" y="3447148"/>
                    </a:lnTo>
                    <a:lnTo>
                      <a:pt x="5099409" y="3440517"/>
                    </a:lnTo>
                    <a:lnTo>
                      <a:pt x="5177023" y="3421899"/>
                    </a:lnTo>
                    <a:lnTo>
                      <a:pt x="5259071" y="3360116"/>
                    </a:lnTo>
                    <a:lnTo>
                      <a:pt x="5274871" y="3280013"/>
                    </a:lnTo>
                    <a:lnTo>
                      <a:pt x="5293661" y="3184927"/>
                    </a:lnTo>
                    <a:lnTo>
                      <a:pt x="5238151" y="3105908"/>
                    </a:lnTo>
                    <a:lnTo>
                      <a:pt x="5229817" y="3085760"/>
                    </a:lnTo>
                    <a:lnTo>
                      <a:pt x="5214088" y="2939836"/>
                    </a:lnTo>
                    <a:lnTo>
                      <a:pt x="5122530" y="2852911"/>
                    </a:lnTo>
                    <a:lnTo>
                      <a:pt x="5106345" y="2833634"/>
                    </a:lnTo>
                    <a:lnTo>
                      <a:pt x="5057927" y="2797333"/>
                    </a:lnTo>
                    <a:lnTo>
                      <a:pt x="5076288" y="2767218"/>
                    </a:lnTo>
                    <a:lnTo>
                      <a:pt x="5055756" y="2740248"/>
                    </a:lnTo>
                    <a:lnTo>
                      <a:pt x="4954538" y="2717146"/>
                    </a:lnTo>
                    <a:lnTo>
                      <a:pt x="4921222" y="2701929"/>
                    </a:lnTo>
                    <a:lnTo>
                      <a:pt x="4859725" y="2673790"/>
                    </a:lnTo>
                    <a:lnTo>
                      <a:pt x="4853849" y="2545782"/>
                    </a:lnTo>
                    <a:lnTo>
                      <a:pt x="4768878" y="2527823"/>
                    </a:lnTo>
                    <a:lnTo>
                      <a:pt x="4731736" y="2530225"/>
                    </a:lnTo>
                    <a:lnTo>
                      <a:pt x="4699462" y="2575727"/>
                    </a:lnTo>
                    <a:lnTo>
                      <a:pt x="4653263" y="2584952"/>
                    </a:lnTo>
                    <a:lnTo>
                      <a:pt x="4606788" y="2549629"/>
                    </a:lnTo>
                    <a:lnTo>
                      <a:pt x="4636749" y="2493882"/>
                    </a:lnTo>
                    <a:lnTo>
                      <a:pt x="4609737" y="2447571"/>
                    </a:lnTo>
                    <a:lnTo>
                      <a:pt x="4589630" y="2413035"/>
                    </a:lnTo>
                    <a:lnTo>
                      <a:pt x="4543090" y="2388041"/>
                    </a:lnTo>
                    <a:lnTo>
                      <a:pt x="4511802" y="2364600"/>
                    </a:lnTo>
                    <a:lnTo>
                      <a:pt x="4446004" y="2315271"/>
                    </a:lnTo>
                    <a:lnTo>
                      <a:pt x="4422964" y="2223840"/>
                    </a:lnTo>
                    <a:lnTo>
                      <a:pt x="4356738" y="2174172"/>
                    </a:lnTo>
                    <a:lnTo>
                      <a:pt x="4267265" y="2107075"/>
                    </a:lnTo>
                    <a:lnTo>
                      <a:pt x="4168434" y="2192726"/>
                    </a:lnTo>
                    <a:lnTo>
                      <a:pt x="4113265" y="2153769"/>
                    </a:lnTo>
                    <a:lnTo>
                      <a:pt x="4064003" y="2086651"/>
                    </a:lnTo>
                    <a:lnTo>
                      <a:pt x="4247796" y="2067481"/>
                    </a:lnTo>
                    <a:lnTo>
                      <a:pt x="4152711" y="1941577"/>
                    </a:lnTo>
                    <a:lnTo>
                      <a:pt x="4103151" y="1875481"/>
                    </a:lnTo>
                    <a:lnTo>
                      <a:pt x="4035511" y="1792763"/>
                    </a:lnTo>
                    <a:lnTo>
                      <a:pt x="4009891" y="1713064"/>
                    </a:lnTo>
                    <a:lnTo>
                      <a:pt x="4003641" y="1675637"/>
                    </a:lnTo>
                    <a:lnTo>
                      <a:pt x="3990336" y="1637871"/>
                    </a:lnTo>
                    <a:lnTo>
                      <a:pt x="3986764" y="1605609"/>
                    </a:lnTo>
                    <a:lnTo>
                      <a:pt x="3989077" y="1558512"/>
                    </a:lnTo>
                    <a:lnTo>
                      <a:pt x="4011659" y="1524847"/>
                    </a:lnTo>
                    <a:lnTo>
                      <a:pt x="4013975" y="1479110"/>
                    </a:lnTo>
                    <a:lnTo>
                      <a:pt x="4017147" y="1415903"/>
                    </a:lnTo>
                    <a:lnTo>
                      <a:pt x="3979285" y="1341071"/>
                    </a:lnTo>
                    <a:lnTo>
                      <a:pt x="4008527" y="1283241"/>
                    </a:lnTo>
                    <a:lnTo>
                      <a:pt x="4022982" y="1254635"/>
                    </a:lnTo>
                    <a:lnTo>
                      <a:pt x="4061234" y="1225199"/>
                    </a:lnTo>
                    <a:lnTo>
                      <a:pt x="4081980" y="1198909"/>
                    </a:lnTo>
                    <a:lnTo>
                      <a:pt x="4083239" y="1171726"/>
                    </a:lnTo>
                    <a:lnTo>
                      <a:pt x="4067035" y="1121484"/>
                    </a:lnTo>
                    <a:lnTo>
                      <a:pt x="4029921" y="1093727"/>
                    </a:lnTo>
                    <a:lnTo>
                      <a:pt x="4009910" y="1058809"/>
                    </a:lnTo>
                    <a:lnTo>
                      <a:pt x="3982919" y="1011754"/>
                    </a:lnTo>
                    <a:lnTo>
                      <a:pt x="3998013" y="961236"/>
                    </a:lnTo>
                    <a:lnTo>
                      <a:pt x="3952779" y="910547"/>
                    </a:lnTo>
                    <a:lnTo>
                      <a:pt x="3919258" y="872929"/>
                    </a:lnTo>
                    <a:lnTo>
                      <a:pt x="3877592" y="846384"/>
                    </a:lnTo>
                    <a:lnTo>
                      <a:pt x="3831722" y="818053"/>
                    </a:lnTo>
                    <a:lnTo>
                      <a:pt x="3775363" y="782943"/>
                    </a:lnTo>
                    <a:lnTo>
                      <a:pt x="3655324" y="763815"/>
                    </a:lnTo>
                    <a:lnTo>
                      <a:pt x="3619540" y="729641"/>
                    </a:lnTo>
                    <a:lnTo>
                      <a:pt x="3558753" y="671534"/>
                    </a:lnTo>
                    <a:lnTo>
                      <a:pt x="3553736" y="498003"/>
                    </a:lnTo>
                    <a:lnTo>
                      <a:pt x="3463109" y="396392"/>
                    </a:lnTo>
                    <a:lnTo>
                      <a:pt x="3370132" y="292145"/>
                    </a:lnTo>
                    <a:lnTo>
                      <a:pt x="3290407" y="328913"/>
                    </a:lnTo>
                    <a:lnTo>
                      <a:pt x="3234593" y="253571"/>
                    </a:lnTo>
                    <a:lnTo>
                      <a:pt x="3209388" y="219523"/>
                    </a:lnTo>
                    <a:lnTo>
                      <a:pt x="3153621" y="93493"/>
                    </a:lnTo>
                    <a:lnTo>
                      <a:pt x="3169310" y="56342"/>
                    </a:lnTo>
                    <a:lnTo>
                      <a:pt x="3161106" y="9839"/>
                    </a:lnTo>
                    <a:lnTo>
                      <a:pt x="3035836" y="11859"/>
                    </a:lnTo>
                    <a:lnTo>
                      <a:pt x="3000648" y="8735"/>
                    </a:lnTo>
                    <a:lnTo>
                      <a:pt x="2956098" y="4762"/>
                    </a:lnTo>
                    <a:lnTo>
                      <a:pt x="2909379" y="0"/>
                    </a:lnTo>
                    <a:lnTo>
                      <a:pt x="2864628" y="4654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52" name="Zakarpattia¬0" descr="Zakarpattia¬0">
                <a:extLst>
                  <a:ext uri="{FF2B5EF4-FFF2-40B4-BE49-F238E27FC236}">
                    <a16:creationId xmlns:a16="http://schemas.microsoft.com/office/drawing/2014/main" id="{89AF95CA-5EBE-4801-8789-AEDB7D42EBD2}"/>
                  </a:ext>
                </a:extLst>
              </p:cNvPr>
              <p:cNvSpPr/>
              <p:nvPr/>
            </p:nvSpPr>
            <p:spPr>
              <a:xfrm>
                <a:off x="3" y="17259208"/>
                <a:ext cx="8745009" cy="6290833"/>
              </a:xfrm>
              <a:custGeom>
                <a:avLst/>
                <a:gdLst/>
                <a:ahLst/>
                <a:cxnLst/>
                <a:rect l="0" t="0" r="0" b="0"/>
                <a:pathLst>
                  <a:path w="8745006" h="6290828">
                    <a:moveTo>
                      <a:pt x="8481235" y="6006520"/>
                    </a:moveTo>
                    <a:lnTo>
                      <a:pt x="8486544" y="5982080"/>
                    </a:lnTo>
                    <a:lnTo>
                      <a:pt x="8493172" y="5953529"/>
                    </a:lnTo>
                    <a:lnTo>
                      <a:pt x="8509382" y="5867908"/>
                    </a:lnTo>
                    <a:lnTo>
                      <a:pt x="8521523" y="5832757"/>
                    </a:lnTo>
                    <a:lnTo>
                      <a:pt x="8539614" y="5800238"/>
                    </a:lnTo>
                    <a:lnTo>
                      <a:pt x="8557703" y="5767718"/>
                    </a:lnTo>
                    <a:lnTo>
                      <a:pt x="8581729" y="5738569"/>
                    </a:lnTo>
                    <a:lnTo>
                      <a:pt x="8617143" y="5684622"/>
                    </a:lnTo>
                    <a:lnTo>
                      <a:pt x="8639348" y="5650798"/>
                    </a:lnTo>
                    <a:lnTo>
                      <a:pt x="8654464" y="5607937"/>
                    </a:lnTo>
                    <a:lnTo>
                      <a:pt x="8679716" y="5575807"/>
                    </a:lnTo>
                    <a:lnTo>
                      <a:pt x="8701393" y="5548174"/>
                    </a:lnTo>
                    <a:lnTo>
                      <a:pt x="8725853" y="5524928"/>
                    </a:lnTo>
                    <a:lnTo>
                      <a:pt x="8745005" y="5494195"/>
                    </a:lnTo>
                    <a:lnTo>
                      <a:pt x="8683527" y="5406620"/>
                    </a:lnTo>
                    <a:lnTo>
                      <a:pt x="8650909" y="5356519"/>
                    </a:lnTo>
                    <a:lnTo>
                      <a:pt x="8614426" y="5307850"/>
                    </a:lnTo>
                    <a:lnTo>
                      <a:pt x="8577943" y="5259172"/>
                    </a:lnTo>
                    <a:lnTo>
                      <a:pt x="8537490" y="5212527"/>
                    </a:lnTo>
                    <a:lnTo>
                      <a:pt x="8467524" y="5150065"/>
                    </a:lnTo>
                    <a:lnTo>
                      <a:pt x="8416296" y="5104324"/>
                    </a:lnTo>
                    <a:lnTo>
                      <a:pt x="8363899" y="5055093"/>
                    </a:lnTo>
                    <a:lnTo>
                      <a:pt x="8332864" y="4999082"/>
                    </a:lnTo>
                    <a:lnTo>
                      <a:pt x="8317346" y="4971073"/>
                    </a:lnTo>
                    <a:lnTo>
                      <a:pt x="8306952" y="4941205"/>
                    </a:lnTo>
                    <a:lnTo>
                      <a:pt x="8305659" y="4909306"/>
                    </a:lnTo>
                    <a:lnTo>
                      <a:pt x="8304373" y="4877412"/>
                    </a:lnTo>
                    <a:lnTo>
                      <a:pt x="8311080" y="4843957"/>
                    </a:lnTo>
                    <a:lnTo>
                      <a:pt x="8330146" y="4807289"/>
                    </a:lnTo>
                    <a:lnTo>
                      <a:pt x="8340599" y="4787188"/>
                    </a:lnTo>
                    <a:lnTo>
                      <a:pt x="8357396" y="4765280"/>
                    </a:lnTo>
                    <a:lnTo>
                      <a:pt x="8370949" y="4743365"/>
                    </a:lnTo>
                    <a:lnTo>
                      <a:pt x="8384501" y="4721443"/>
                    </a:lnTo>
                    <a:lnTo>
                      <a:pt x="8395284" y="4698969"/>
                    </a:lnTo>
                    <a:lnTo>
                      <a:pt x="8396795" y="4675352"/>
                    </a:lnTo>
                    <a:lnTo>
                      <a:pt x="8353987" y="4602286"/>
                    </a:lnTo>
                    <a:lnTo>
                      <a:pt x="8340751" y="4582436"/>
                    </a:lnTo>
                    <a:lnTo>
                      <a:pt x="8322470" y="4544350"/>
                    </a:lnTo>
                    <a:lnTo>
                      <a:pt x="8305046" y="4522415"/>
                    </a:lnTo>
                    <a:lnTo>
                      <a:pt x="8292061" y="4495806"/>
                    </a:lnTo>
                    <a:lnTo>
                      <a:pt x="8274162" y="4459078"/>
                    </a:lnTo>
                    <a:lnTo>
                      <a:pt x="8259713" y="4418791"/>
                    </a:lnTo>
                    <a:lnTo>
                      <a:pt x="8240370" y="4382908"/>
                    </a:lnTo>
                    <a:lnTo>
                      <a:pt x="7998785" y="4153971"/>
                    </a:lnTo>
                    <a:lnTo>
                      <a:pt x="7961953" y="4123154"/>
                    </a:lnTo>
                    <a:lnTo>
                      <a:pt x="7926122" y="4102241"/>
                    </a:lnTo>
                    <a:lnTo>
                      <a:pt x="7894876" y="4076864"/>
                    </a:lnTo>
                    <a:lnTo>
                      <a:pt x="7875098" y="4048816"/>
                    </a:lnTo>
                    <a:lnTo>
                      <a:pt x="7854812" y="4012419"/>
                    </a:lnTo>
                    <a:lnTo>
                      <a:pt x="7833668" y="3995252"/>
                    </a:lnTo>
                    <a:lnTo>
                      <a:pt x="7788296" y="3991598"/>
                    </a:lnTo>
                    <a:lnTo>
                      <a:pt x="7742923" y="3986884"/>
                    </a:lnTo>
                    <a:lnTo>
                      <a:pt x="7697649" y="3995252"/>
                    </a:lnTo>
                    <a:lnTo>
                      <a:pt x="7685686" y="3971920"/>
                    </a:lnTo>
                    <a:lnTo>
                      <a:pt x="7691074" y="3941457"/>
                    </a:lnTo>
                    <a:lnTo>
                      <a:pt x="7693573" y="3909564"/>
                    </a:lnTo>
                    <a:lnTo>
                      <a:pt x="7696264" y="3876735"/>
                    </a:lnTo>
                    <a:lnTo>
                      <a:pt x="7690883" y="3844454"/>
                    </a:lnTo>
                    <a:lnTo>
                      <a:pt x="7673169" y="3814347"/>
                    </a:lnTo>
                    <a:lnTo>
                      <a:pt x="7655020" y="3790883"/>
                    </a:lnTo>
                    <a:lnTo>
                      <a:pt x="7624756" y="3781789"/>
                    </a:lnTo>
                    <a:lnTo>
                      <a:pt x="7603803" y="3761297"/>
                    </a:lnTo>
                    <a:lnTo>
                      <a:pt x="7573513" y="3719474"/>
                    </a:lnTo>
                    <a:lnTo>
                      <a:pt x="7537149" y="3720495"/>
                    </a:lnTo>
                    <a:lnTo>
                      <a:pt x="7524453" y="3737583"/>
                    </a:lnTo>
                    <a:lnTo>
                      <a:pt x="7518234" y="3760256"/>
                    </a:lnTo>
                    <a:lnTo>
                      <a:pt x="7508586" y="3785784"/>
                    </a:lnTo>
                    <a:lnTo>
                      <a:pt x="7498945" y="3811307"/>
                    </a:lnTo>
                    <a:lnTo>
                      <a:pt x="7485623" y="3839170"/>
                    </a:lnTo>
                    <a:lnTo>
                      <a:pt x="7460977" y="3866038"/>
                    </a:lnTo>
                    <a:lnTo>
                      <a:pt x="7438291" y="3890730"/>
                    </a:lnTo>
                    <a:lnTo>
                      <a:pt x="7398972" y="3905081"/>
                    </a:lnTo>
                    <a:lnTo>
                      <a:pt x="7357609" y="3912282"/>
                    </a:lnTo>
                    <a:lnTo>
                      <a:pt x="7316240" y="3919483"/>
                    </a:lnTo>
                    <a:lnTo>
                      <a:pt x="7272924" y="3919550"/>
                    </a:lnTo>
                    <a:lnTo>
                      <a:pt x="7243346" y="3919082"/>
                    </a:lnTo>
                    <a:lnTo>
                      <a:pt x="7194471" y="3918303"/>
                    </a:lnTo>
                    <a:lnTo>
                      <a:pt x="7154664" y="3914781"/>
                    </a:lnTo>
                    <a:lnTo>
                      <a:pt x="7120931" y="3905482"/>
                    </a:lnTo>
                    <a:lnTo>
                      <a:pt x="7087205" y="3896178"/>
                    </a:lnTo>
                    <a:lnTo>
                      <a:pt x="7059671" y="3881741"/>
                    </a:lnTo>
                    <a:lnTo>
                      <a:pt x="7037960" y="3861956"/>
                    </a:lnTo>
                    <a:lnTo>
                      <a:pt x="7016250" y="3842172"/>
                    </a:lnTo>
                    <a:lnTo>
                      <a:pt x="7000449" y="3816649"/>
                    </a:lnTo>
                    <a:lnTo>
                      <a:pt x="6987635" y="3784420"/>
                    </a:lnTo>
                    <a:lnTo>
                      <a:pt x="6974821" y="3752197"/>
                    </a:lnTo>
                    <a:lnTo>
                      <a:pt x="6964751" y="3712713"/>
                    </a:lnTo>
                    <a:lnTo>
                      <a:pt x="6957707" y="3666088"/>
                    </a:lnTo>
                    <a:lnTo>
                      <a:pt x="6947076" y="3595740"/>
                    </a:lnTo>
                    <a:lnTo>
                      <a:pt x="6943020" y="3549780"/>
                    </a:lnTo>
                    <a:lnTo>
                      <a:pt x="6944109" y="3504222"/>
                    </a:lnTo>
                    <a:lnTo>
                      <a:pt x="6945190" y="3458665"/>
                    </a:lnTo>
                    <a:lnTo>
                      <a:pt x="6952366" y="3413602"/>
                    </a:lnTo>
                    <a:lnTo>
                      <a:pt x="6964507" y="3346439"/>
                    </a:lnTo>
                    <a:lnTo>
                      <a:pt x="6969400" y="3319386"/>
                    </a:lnTo>
                    <a:lnTo>
                      <a:pt x="6983230" y="3291115"/>
                    </a:lnTo>
                    <a:lnTo>
                      <a:pt x="6979470" y="3262111"/>
                    </a:lnTo>
                    <a:lnTo>
                      <a:pt x="6974966" y="3227434"/>
                    </a:lnTo>
                    <a:lnTo>
                      <a:pt x="6961790" y="3187297"/>
                    </a:lnTo>
                    <a:lnTo>
                      <a:pt x="6956171" y="3166417"/>
                    </a:lnTo>
                    <a:lnTo>
                      <a:pt x="6953137" y="3144028"/>
                    </a:lnTo>
                    <a:lnTo>
                      <a:pt x="6957714" y="3101603"/>
                    </a:lnTo>
                    <a:lnTo>
                      <a:pt x="6965838" y="3059277"/>
                    </a:lnTo>
                    <a:lnTo>
                      <a:pt x="6969954" y="3037672"/>
                    </a:lnTo>
                    <a:lnTo>
                      <a:pt x="6974069" y="3016075"/>
                    </a:lnTo>
                    <a:lnTo>
                      <a:pt x="6968596" y="2975107"/>
                    </a:lnTo>
                    <a:lnTo>
                      <a:pt x="6950559" y="2959252"/>
                    </a:lnTo>
                    <a:lnTo>
                      <a:pt x="6912829" y="2954702"/>
                    </a:lnTo>
                    <a:lnTo>
                      <a:pt x="6875469" y="2963757"/>
                    </a:lnTo>
                    <a:lnTo>
                      <a:pt x="6857062" y="2975107"/>
                    </a:lnTo>
                    <a:lnTo>
                      <a:pt x="6820243" y="2997806"/>
                    </a:lnTo>
                    <a:lnTo>
                      <a:pt x="6785646" y="3032891"/>
                    </a:lnTo>
                    <a:lnTo>
                      <a:pt x="6757763" y="3052637"/>
                    </a:lnTo>
                    <a:lnTo>
                      <a:pt x="6731812" y="3071016"/>
                    </a:lnTo>
                    <a:lnTo>
                      <a:pt x="6675538" y="3099051"/>
                    </a:lnTo>
                    <a:lnTo>
                      <a:pt x="6646230" y="3108402"/>
                    </a:lnTo>
                    <a:lnTo>
                      <a:pt x="6621407" y="3116323"/>
                    </a:lnTo>
                    <a:lnTo>
                      <a:pt x="6593550" y="3117833"/>
                    </a:lnTo>
                    <a:lnTo>
                      <a:pt x="6565977" y="3119284"/>
                    </a:lnTo>
                    <a:lnTo>
                      <a:pt x="6538403" y="3120735"/>
                    </a:lnTo>
                    <a:lnTo>
                      <a:pt x="6511965" y="3123181"/>
                    </a:lnTo>
                    <a:lnTo>
                      <a:pt x="6488447" y="3134249"/>
                    </a:lnTo>
                    <a:lnTo>
                      <a:pt x="6416061" y="3179707"/>
                    </a:lnTo>
                    <a:lnTo>
                      <a:pt x="6393381" y="3199815"/>
                    </a:lnTo>
                    <a:lnTo>
                      <a:pt x="6378497" y="3227671"/>
                    </a:lnTo>
                    <a:lnTo>
                      <a:pt x="6359227" y="3247146"/>
                    </a:lnTo>
                    <a:lnTo>
                      <a:pt x="6340273" y="3266298"/>
                    </a:lnTo>
                    <a:lnTo>
                      <a:pt x="6309916" y="3283945"/>
                    </a:lnTo>
                    <a:lnTo>
                      <a:pt x="6277615" y="3292031"/>
                    </a:lnTo>
                    <a:lnTo>
                      <a:pt x="6244099" y="3297907"/>
                    </a:lnTo>
                    <a:lnTo>
                      <a:pt x="6213196" y="3294306"/>
                    </a:lnTo>
                    <a:lnTo>
                      <a:pt x="6187841" y="3279784"/>
                    </a:lnTo>
                    <a:lnTo>
                      <a:pt x="6169692" y="3265204"/>
                    </a:lnTo>
                    <a:lnTo>
                      <a:pt x="6159278" y="3224019"/>
                    </a:lnTo>
                    <a:lnTo>
                      <a:pt x="6157173" y="3201978"/>
                    </a:lnTo>
                    <a:lnTo>
                      <a:pt x="6160160" y="3177307"/>
                    </a:lnTo>
                    <a:lnTo>
                      <a:pt x="6166078" y="3151922"/>
                    </a:lnTo>
                    <a:lnTo>
                      <a:pt x="6177911" y="3101169"/>
                    </a:lnTo>
                    <a:lnTo>
                      <a:pt x="6198860" y="3047130"/>
                    </a:lnTo>
                    <a:lnTo>
                      <a:pt x="6194641" y="3007745"/>
                    </a:lnTo>
                    <a:lnTo>
                      <a:pt x="6185515" y="2973404"/>
                    </a:lnTo>
                    <a:lnTo>
                      <a:pt x="6168404" y="2941433"/>
                    </a:lnTo>
                    <a:lnTo>
                      <a:pt x="6149756" y="2911169"/>
                    </a:lnTo>
                    <a:lnTo>
                      <a:pt x="6132282" y="2881281"/>
                    </a:lnTo>
                    <a:lnTo>
                      <a:pt x="6112096" y="2863106"/>
                    </a:lnTo>
                    <a:lnTo>
                      <a:pt x="6091267" y="2851320"/>
                    </a:lnTo>
                    <a:lnTo>
                      <a:pt x="6070439" y="2839541"/>
                    </a:lnTo>
                    <a:lnTo>
                      <a:pt x="6048447" y="2834272"/>
                    </a:lnTo>
                    <a:lnTo>
                      <a:pt x="6027338" y="2832281"/>
                    </a:lnTo>
                    <a:lnTo>
                      <a:pt x="5985118" y="2828291"/>
                    </a:lnTo>
                    <a:lnTo>
                      <a:pt x="5946161" y="2836118"/>
                    </a:lnTo>
                    <a:lnTo>
                      <a:pt x="5921243" y="2821400"/>
                    </a:lnTo>
                    <a:lnTo>
                      <a:pt x="5899989" y="2796042"/>
                    </a:lnTo>
                    <a:lnTo>
                      <a:pt x="5893571" y="2752773"/>
                    </a:lnTo>
                    <a:lnTo>
                      <a:pt x="5860087" y="2719732"/>
                    </a:lnTo>
                    <a:lnTo>
                      <a:pt x="5830635" y="2705447"/>
                    </a:lnTo>
                    <a:lnTo>
                      <a:pt x="5802905" y="2689462"/>
                    </a:lnTo>
                    <a:lnTo>
                      <a:pt x="5775175" y="2673469"/>
                    </a:lnTo>
                    <a:lnTo>
                      <a:pt x="5748274" y="2655570"/>
                    </a:lnTo>
                    <a:lnTo>
                      <a:pt x="5729454" y="2625531"/>
                    </a:lnTo>
                    <a:lnTo>
                      <a:pt x="5717107" y="2605811"/>
                    </a:lnTo>
                    <a:lnTo>
                      <a:pt x="5714048" y="2583831"/>
                    </a:lnTo>
                    <a:lnTo>
                      <a:pt x="5714492" y="2561600"/>
                    </a:lnTo>
                    <a:lnTo>
                      <a:pt x="5714954" y="2539367"/>
                    </a:lnTo>
                    <a:lnTo>
                      <a:pt x="5719353" y="2516676"/>
                    </a:lnTo>
                    <a:lnTo>
                      <a:pt x="5724013" y="2494951"/>
                    </a:lnTo>
                    <a:lnTo>
                      <a:pt x="5728676" y="2473221"/>
                    </a:lnTo>
                    <a:lnTo>
                      <a:pt x="5733535" y="2435102"/>
                    </a:lnTo>
                    <a:lnTo>
                      <a:pt x="5729835" y="2400526"/>
                    </a:lnTo>
                    <a:lnTo>
                      <a:pt x="5702973" y="2375695"/>
                    </a:lnTo>
                    <a:lnTo>
                      <a:pt x="5665525" y="2367089"/>
                    </a:lnTo>
                    <a:lnTo>
                      <a:pt x="5632157" y="2356741"/>
                    </a:lnTo>
                    <a:lnTo>
                      <a:pt x="5568526" y="2349704"/>
                    </a:lnTo>
                    <a:lnTo>
                      <a:pt x="5533586" y="2358932"/>
                    </a:lnTo>
                    <a:lnTo>
                      <a:pt x="5510261" y="2365071"/>
                    </a:lnTo>
                    <a:lnTo>
                      <a:pt x="5481502" y="2378822"/>
                    </a:lnTo>
                    <a:lnTo>
                      <a:pt x="5451973" y="2386135"/>
                    </a:lnTo>
                    <a:lnTo>
                      <a:pt x="5422203" y="2392038"/>
                    </a:lnTo>
                    <a:lnTo>
                      <a:pt x="5394691" y="2388391"/>
                    </a:lnTo>
                    <a:lnTo>
                      <a:pt x="5370361" y="2371165"/>
                    </a:lnTo>
                    <a:lnTo>
                      <a:pt x="5340565" y="2341072"/>
                    </a:lnTo>
                    <a:lnTo>
                      <a:pt x="5324817" y="2307281"/>
                    </a:lnTo>
                    <a:lnTo>
                      <a:pt x="5299631" y="2274590"/>
                    </a:lnTo>
                    <a:lnTo>
                      <a:pt x="5282778" y="2252740"/>
                    </a:lnTo>
                    <a:lnTo>
                      <a:pt x="5259781" y="2234380"/>
                    </a:lnTo>
                    <a:lnTo>
                      <a:pt x="5243863" y="2212023"/>
                    </a:lnTo>
                    <a:lnTo>
                      <a:pt x="5226202" y="2187167"/>
                    </a:lnTo>
                    <a:lnTo>
                      <a:pt x="5210903" y="2156989"/>
                    </a:lnTo>
                    <a:lnTo>
                      <a:pt x="5193536" y="2129053"/>
                    </a:lnTo>
                    <a:lnTo>
                      <a:pt x="5176169" y="2101110"/>
                    </a:lnTo>
                    <a:lnTo>
                      <a:pt x="5156545" y="2076175"/>
                    </a:lnTo>
                    <a:lnTo>
                      <a:pt x="5126886" y="2062398"/>
                    </a:lnTo>
                    <a:lnTo>
                      <a:pt x="5080778" y="2040998"/>
                    </a:lnTo>
                    <a:lnTo>
                      <a:pt x="5035301" y="2019399"/>
                    </a:lnTo>
                    <a:lnTo>
                      <a:pt x="4989506" y="2001191"/>
                    </a:lnTo>
                    <a:lnTo>
                      <a:pt x="4943711" y="1982989"/>
                    </a:lnTo>
                    <a:lnTo>
                      <a:pt x="4897023" y="1968216"/>
                    </a:lnTo>
                    <a:lnTo>
                      <a:pt x="4846685" y="1959023"/>
                    </a:lnTo>
                    <a:lnTo>
                      <a:pt x="4813682" y="1941962"/>
                    </a:lnTo>
                    <a:lnTo>
                      <a:pt x="4781755" y="1921683"/>
                    </a:lnTo>
                    <a:lnTo>
                      <a:pt x="4751471" y="1914139"/>
                    </a:lnTo>
                    <a:lnTo>
                      <a:pt x="4713110" y="1916881"/>
                    </a:lnTo>
                    <a:lnTo>
                      <a:pt x="4676811" y="1934978"/>
                    </a:lnTo>
                    <a:lnTo>
                      <a:pt x="4639935" y="1944066"/>
                    </a:lnTo>
                    <a:lnTo>
                      <a:pt x="4591192" y="1956082"/>
                    </a:lnTo>
                    <a:lnTo>
                      <a:pt x="4557962" y="1957466"/>
                    </a:lnTo>
                    <a:lnTo>
                      <a:pt x="4525678" y="1953589"/>
                    </a:lnTo>
                    <a:lnTo>
                      <a:pt x="4493395" y="1949704"/>
                    </a:lnTo>
                    <a:lnTo>
                      <a:pt x="4462460" y="1940274"/>
                    </a:lnTo>
                    <a:lnTo>
                      <a:pt x="4415502" y="1927744"/>
                    </a:lnTo>
                    <a:lnTo>
                      <a:pt x="4389063" y="1920687"/>
                    </a:lnTo>
                    <a:lnTo>
                      <a:pt x="4358269" y="1917429"/>
                    </a:lnTo>
                    <a:lnTo>
                      <a:pt x="4332530" y="1908697"/>
                    </a:lnTo>
                    <a:lnTo>
                      <a:pt x="4306740" y="1899952"/>
                    </a:lnTo>
                    <a:lnTo>
                      <a:pt x="4293589" y="1882200"/>
                    </a:lnTo>
                    <a:lnTo>
                      <a:pt x="4286283" y="1859730"/>
                    </a:lnTo>
                    <a:lnTo>
                      <a:pt x="4278975" y="1837261"/>
                    </a:lnTo>
                    <a:lnTo>
                      <a:pt x="4277937" y="1810348"/>
                    </a:lnTo>
                    <a:lnTo>
                      <a:pt x="4276762" y="1784925"/>
                    </a:lnTo>
                    <a:lnTo>
                      <a:pt x="4275588" y="1759494"/>
                    </a:lnTo>
                    <a:lnTo>
                      <a:pt x="4274638" y="1734527"/>
                    </a:lnTo>
                    <a:lnTo>
                      <a:pt x="4259844" y="1699296"/>
                    </a:lnTo>
                    <a:lnTo>
                      <a:pt x="4219633" y="1689708"/>
                    </a:lnTo>
                    <a:lnTo>
                      <a:pt x="4196398" y="1697178"/>
                    </a:lnTo>
                    <a:lnTo>
                      <a:pt x="4174858" y="1720321"/>
                    </a:lnTo>
                    <a:lnTo>
                      <a:pt x="4154344" y="1752279"/>
                    </a:lnTo>
                    <a:lnTo>
                      <a:pt x="4134894" y="1784978"/>
                    </a:lnTo>
                    <a:lnTo>
                      <a:pt x="4113945" y="1812069"/>
                    </a:lnTo>
                    <a:lnTo>
                      <a:pt x="4090415" y="1827085"/>
                    </a:lnTo>
                    <a:lnTo>
                      <a:pt x="4065931" y="1825727"/>
                    </a:lnTo>
                    <a:lnTo>
                      <a:pt x="4045060" y="1796603"/>
                    </a:lnTo>
                    <a:lnTo>
                      <a:pt x="4037835" y="1767797"/>
                    </a:lnTo>
                    <a:lnTo>
                      <a:pt x="4040090" y="1738674"/>
                    </a:lnTo>
                    <a:lnTo>
                      <a:pt x="4042327" y="1709920"/>
                    </a:lnTo>
                    <a:lnTo>
                      <a:pt x="4048803" y="1680930"/>
                    </a:lnTo>
                    <a:lnTo>
                      <a:pt x="4038732" y="1650263"/>
                    </a:lnTo>
                    <a:lnTo>
                      <a:pt x="4014122" y="1643721"/>
                    </a:lnTo>
                    <a:lnTo>
                      <a:pt x="3984132" y="1672468"/>
                    </a:lnTo>
                    <a:lnTo>
                      <a:pt x="3957184" y="1704012"/>
                    </a:lnTo>
                    <a:lnTo>
                      <a:pt x="3921755" y="1719634"/>
                    </a:lnTo>
                    <a:lnTo>
                      <a:pt x="3873808" y="1725729"/>
                    </a:lnTo>
                    <a:lnTo>
                      <a:pt x="3817152" y="1728228"/>
                    </a:lnTo>
                    <a:lnTo>
                      <a:pt x="3781382" y="1722747"/>
                    </a:lnTo>
                    <a:lnTo>
                      <a:pt x="3749009" y="1711471"/>
                    </a:lnTo>
                    <a:lnTo>
                      <a:pt x="3716638" y="1700194"/>
                    </a:lnTo>
                    <a:lnTo>
                      <a:pt x="3687435" y="1682882"/>
                    </a:lnTo>
                    <a:lnTo>
                      <a:pt x="3661956" y="1661145"/>
                    </a:lnTo>
                    <a:lnTo>
                      <a:pt x="3636480" y="1639408"/>
                    </a:lnTo>
                    <a:lnTo>
                      <a:pt x="3613934" y="1613193"/>
                    </a:lnTo>
                    <a:lnTo>
                      <a:pt x="3593947" y="1583615"/>
                    </a:lnTo>
                    <a:lnTo>
                      <a:pt x="3573961" y="1554031"/>
                    </a:lnTo>
                    <a:lnTo>
                      <a:pt x="3556804" y="1521846"/>
                    </a:lnTo>
                    <a:lnTo>
                      <a:pt x="3540899" y="1487039"/>
                    </a:lnTo>
                    <a:lnTo>
                      <a:pt x="3523175" y="1448248"/>
                    </a:lnTo>
                    <a:lnTo>
                      <a:pt x="3510620" y="1405407"/>
                    </a:lnTo>
                    <a:lnTo>
                      <a:pt x="3497373" y="1364625"/>
                    </a:lnTo>
                    <a:lnTo>
                      <a:pt x="3484125" y="1323835"/>
                    </a:lnTo>
                    <a:lnTo>
                      <a:pt x="3470643" y="1284582"/>
                    </a:lnTo>
                    <a:lnTo>
                      <a:pt x="3452487" y="1253085"/>
                    </a:lnTo>
                    <a:lnTo>
                      <a:pt x="3434329" y="1221587"/>
                    </a:lnTo>
                    <a:lnTo>
                      <a:pt x="3411489" y="1197352"/>
                    </a:lnTo>
                    <a:lnTo>
                      <a:pt x="3379035" y="1186438"/>
                    </a:lnTo>
                    <a:lnTo>
                      <a:pt x="3343467" y="1179188"/>
                    </a:lnTo>
                    <a:lnTo>
                      <a:pt x="3321907" y="1180996"/>
                    </a:lnTo>
                    <a:lnTo>
                      <a:pt x="3300347" y="1182804"/>
                    </a:lnTo>
                    <a:lnTo>
                      <a:pt x="3276523" y="1188197"/>
                    </a:lnTo>
                    <a:lnTo>
                      <a:pt x="3248457" y="1198677"/>
                    </a:lnTo>
                    <a:lnTo>
                      <a:pt x="3132457" y="1232384"/>
                    </a:lnTo>
                    <a:lnTo>
                      <a:pt x="3108356" y="1244921"/>
                    </a:lnTo>
                    <a:lnTo>
                      <a:pt x="3084488" y="1257359"/>
                    </a:lnTo>
                    <a:lnTo>
                      <a:pt x="3050677" y="1276325"/>
                    </a:lnTo>
                    <a:lnTo>
                      <a:pt x="3024024" y="1280289"/>
                    </a:lnTo>
                    <a:lnTo>
                      <a:pt x="2987480" y="1285723"/>
                    </a:lnTo>
                    <a:lnTo>
                      <a:pt x="2954055" y="1276708"/>
                    </a:lnTo>
                    <a:lnTo>
                      <a:pt x="2927450" y="1257167"/>
                    </a:lnTo>
                    <a:lnTo>
                      <a:pt x="2900843" y="1237627"/>
                    </a:lnTo>
                    <a:lnTo>
                      <a:pt x="2881347" y="1208227"/>
                    </a:lnTo>
                    <a:lnTo>
                      <a:pt x="2874402" y="1171473"/>
                    </a:lnTo>
                    <a:lnTo>
                      <a:pt x="2876630" y="1124696"/>
                    </a:lnTo>
                    <a:lnTo>
                      <a:pt x="2838101" y="1077384"/>
                    </a:lnTo>
                    <a:lnTo>
                      <a:pt x="2789240" y="1066186"/>
                    </a:lnTo>
                    <a:lnTo>
                      <a:pt x="2756064" y="1039535"/>
                    </a:lnTo>
                    <a:lnTo>
                      <a:pt x="2721038" y="1011395"/>
                    </a:lnTo>
                    <a:lnTo>
                      <a:pt x="2698940" y="982483"/>
                    </a:lnTo>
                    <a:lnTo>
                      <a:pt x="2669011" y="949759"/>
                    </a:lnTo>
                    <a:lnTo>
                      <a:pt x="2654635" y="934044"/>
                    </a:lnTo>
                    <a:lnTo>
                      <a:pt x="2632286" y="904873"/>
                    </a:lnTo>
                    <a:lnTo>
                      <a:pt x="2613028" y="874709"/>
                    </a:lnTo>
                    <a:lnTo>
                      <a:pt x="2599857" y="845269"/>
                    </a:lnTo>
                    <a:lnTo>
                      <a:pt x="2592840" y="815104"/>
                    </a:lnTo>
                    <a:lnTo>
                      <a:pt x="2587530" y="786357"/>
                    </a:lnTo>
                    <a:lnTo>
                      <a:pt x="2587314" y="756786"/>
                    </a:lnTo>
                    <a:lnTo>
                      <a:pt x="2591478" y="726686"/>
                    </a:lnTo>
                    <a:lnTo>
                      <a:pt x="2597308" y="696356"/>
                    </a:lnTo>
                    <a:lnTo>
                      <a:pt x="2612463" y="648616"/>
                    </a:lnTo>
                    <a:lnTo>
                      <a:pt x="2628102" y="614646"/>
                    </a:lnTo>
                    <a:lnTo>
                      <a:pt x="2645886" y="578427"/>
                    </a:lnTo>
                    <a:lnTo>
                      <a:pt x="2650008" y="545122"/>
                    </a:lnTo>
                    <a:lnTo>
                      <a:pt x="2627188" y="511798"/>
                    </a:lnTo>
                    <a:lnTo>
                      <a:pt x="2604556" y="491902"/>
                    </a:lnTo>
                    <a:lnTo>
                      <a:pt x="2587224" y="476120"/>
                    </a:lnTo>
                    <a:lnTo>
                      <a:pt x="2569715" y="460088"/>
                    </a:lnTo>
                    <a:lnTo>
                      <a:pt x="2547590" y="495179"/>
                    </a:lnTo>
                    <a:lnTo>
                      <a:pt x="2507146" y="492733"/>
                    </a:lnTo>
                    <a:lnTo>
                      <a:pt x="2391338" y="475988"/>
                    </a:lnTo>
                    <a:lnTo>
                      <a:pt x="2442833" y="415182"/>
                    </a:lnTo>
                    <a:lnTo>
                      <a:pt x="2395609" y="378476"/>
                    </a:lnTo>
                    <a:lnTo>
                      <a:pt x="2357226" y="348659"/>
                    </a:lnTo>
                    <a:lnTo>
                      <a:pt x="2327450" y="377769"/>
                    </a:lnTo>
                    <a:lnTo>
                      <a:pt x="2296315" y="364877"/>
                    </a:lnTo>
                    <a:lnTo>
                      <a:pt x="2275338" y="347769"/>
                    </a:lnTo>
                    <a:lnTo>
                      <a:pt x="2264733" y="315798"/>
                    </a:lnTo>
                    <a:lnTo>
                      <a:pt x="2248708" y="294146"/>
                    </a:lnTo>
                    <a:lnTo>
                      <a:pt x="2181909" y="226964"/>
                    </a:lnTo>
                    <a:lnTo>
                      <a:pt x="2153154" y="223758"/>
                    </a:lnTo>
                    <a:lnTo>
                      <a:pt x="2108459" y="251616"/>
                    </a:lnTo>
                    <a:lnTo>
                      <a:pt x="2084124" y="256060"/>
                    </a:lnTo>
                    <a:lnTo>
                      <a:pt x="2053732" y="261627"/>
                    </a:lnTo>
                    <a:lnTo>
                      <a:pt x="2027910" y="245199"/>
                    </a:lnTo>
                    <a:lnTo>
                      <a:pt x="1998431" y="249254"/>
                    </a:lnTo>
                    <a:lnTo>
                      <a:pt x="1942217" y="257017"/>
                    </a:lnTo>
                    <a:lnTo>
                      <a:pt x="1900560" y="292932"/>
                    </a:lnTo>
                    <a:lnTo>
                      <a:pt x="1837928" y="273741"/>
                    </a:lnTo>
                    <a:lnTo>
                      <a:pt x="1791511" y="259544"/>
                    </a:lnTo>
                    <a:lnTo>
                      <a:pt x="1740248" y="217315"/>
                    </a:lnTo>
                    <a:lnTo>
                      <a:pt x="1707348" y="182607"/>
                    </a:lnTo>
                    <a:lnTo>
                      <a:pt x="1653727" y="126056"/>
                    </a:lnTo>
                    <a:lnTo>
                      <a:pt x="1617299" y="0"/>
                    </a:lnTo>
                    <a:lnTo>
                      <a:pt x="1515561" y="22107"/>
                    </a:lnTo>
                    <a:lnTo>
                      <a:pt x="1490652" y="27528"/>
                    </a:lnTo>
                    <a:lnTo>
                      <a:pt x="1463916" y="37512"/>
                    </a:lnTo>
                    <a:lnTo>
                      <a:pt x="1447551" y="58833"/>
                    </a:lnTo>
                    <a:lnTo>
                      <a:pt x="1438220" y="79060"/>
                    </a:lnTo>
                    <a:lnTo>
                      <a:pt x="1386576" y="178082"/>
                    </a:lnTo>
                    <a:lnTo>
                      <a:pt x="1423386" y="298737"/>
                    </a:lnTo>
                    <a:lnTo>
                      <a:pt x="1394503" y="336314"/>
                    </a:lnTo>
                    <a:lnTo>
                      <a:pt x="1375778" y="350955"/>
                    </a:lnTo>
                    <a:lnTo>
                      <a:pt x="1346301" y="419918"/>
                    </a:lnTo>
                    <a:lnTo>
                      <a:pt x="1376608" y="468061"/>
                    </a:lnTo>
                    <a:lnTo>
                      <a:pt x="1364578" y="509054"/>
                    </a:lnTo>
                    <a:lnTo>
                      <a:pt x="1337948" y="599807"/>
                    </a:lnTo>
                    <a:lnTo>
                      <a:pt x="1187774" y="503106"/>
                    </a:lnTo>
                    <a:lnTo>
                      <a:pt x="1114302" y="617871"/>
                    </a:lnTo>
                    <a:lnTo>
                      <a:pt x="1090966" y="654360"/>
                    </a:lnTo>
                    <a:lnTo>
                      <a:pt x="1102421" y="729047"/>
                    </a:lnTo>
                    <a:lnTo>
                      <a:pt x="1092539" y="771578"/>
                    </a:lnTo>
                    <a:lnTo>
                      <a:pt x="1078278" y="832785"/>
                    </a:lnTo>
                    <a:lnTo>
                      <a:pt x="998770" y="845770"/>
                    </a:lnTo>
                    <a:lnTo>
                      <a:pt x="991884" y="889910"/>
                    </a:lnTo>
                    <a:lnTo>
                      <a:pt x="982745" y="948249"/>
                    </a:lnTo>
                    <a:lnTo>
                      <a:pt x="1011564" y="997004"/>
                    </a:lnTo>
                    <a:lnTo>
                      <a:pt x="983723" y="1057216"/>
                    </a:lnTo>
                    <a:lnTo>
                      <a:pt x="955434" y="1118449"/>
                    </a:lnTo>
                    <a:lnTo>
                      <a:pt x="834441" y="1188904"/>
                    </a:lnTo>
                    <a:lnTo>
                      <a:pt x="797375" y="1284371"/>
                    </a:lnTo>
                    <a:lnTo>
                      <a:pt x="779119" y="1331426"/>
                    </a:lnTo>
                    <a:lnTo>
                      <a:pt x="849828" y="1515410"/>
                    </a:lnTo>
                    <a:lnTo>
                      <a:pt x="839542" y="1571375"/>
                    </a:lnTo>
                    <a:lnTo>
                      <a:pt x="822114" y="1666269"/>
                    </a:lnTo>
                    <a:lnTo>
                      <a:pt x="662461" y="1686864"/>
                    </a:lnTo>
                    <a:lnTo>
                      <a:pt x="689920" y="1818928"/>
                    </a:lnTo>
                    <a:lnTo>
                      <a:pt x="707113" y="1905025"/>
                    </a:lnTo>
                    <a:lnTo>
                      <a:pt x="689900" y="1979580"/>
                    </a:lnTo>
                    <a:lnTo>
                      <a:pt x="658635" y="2058322"/>
                    </a:lnTo>
                    <a:lnTo>
                      <a:pt x="644077" y="2094963"/>
                    </a:lnTo>
                    <a:lnTo>
                      <a:pt x="640379" y="2132219"/>
                    </a:lnTo>
                    <a:lnTo>
                      <a:pt x="619189" y="2167139"/>
                    </a:lnTo>
                    <a:lnTo>
                      <a:pt x="561444" y="2262184"/>
                    </a:lnTo>
                    <a:lnTo>
                      <a:pt x="427890" y="2235422"/>
                    </a:lnTo>
                    <a:lnTo>
                      <a:pt x="368913" y="2326280"/>
                    </a:lnTo>
                    <a:lnTo>
                      <a:pt x="329573" y="2386874"/>
                    </a:lnTo>
                    <a:lnTo>
                      <a:pt x="309298" y="2481729"/>
                    </a:lnTo>
                    <a:lnTo>
                      <a:pt x="270979" y="2522148"/>
                    </a:lnTo>
                    <a:lnTo>
                      <a:pt x="247026" y="2547421"/>
                    </a:lnTo>
                    <a:lnTo>
                      <a:pt x="210173" y="2558639"/>
                    </a:lnTo>
                    <a:lnTo>
                      <a:pt x="181205" y="2575198"/>
                    </a:lnTo>
                    <a:lnTo>
                      <a:pt x="162205" y="2586079"/>
                    </a:lnTo>
                    <a:lnTo>
                      <a:pt x="146945" y="2607011"/>
                    </a:lnTo>
                    <a:lnTo>
                      <a:pt x="129518" y="2620083"/>
                    </a:lnTo>
                    <a:lnTo>
                      <a:pt x="88031" y="2651198"/>
                    </a:lnTo>
                    <a:lnTo>
                      <a:pt x="40425" y="2672136"/>
                    </a:lnTo>
                    <a:lnTo>
                      <a:pt x="27503" y="2730258"/>
                    </a:lnTo>
                    <a:lnTo>
                      <a:pt x="23422" y="2758827"/>
                    </a:lnTo>
                    <a:lnTo>
                      <a:pt x="22061" y="2791445"/>
                    </a:lnTo>
                    <a:lnTo>
                      <a:pt x="34304" y="2824644"/>
                    </a:lnTo>
                    <a:lnTo>
                      <a:pt x="34304" y="2858120"/>
                    </a:lnTo>
                    <a:lnTo>
                      <a:pt x="34304" y="2889703"/>
                    </a:lnTo>
                    <a:lnTo>
                      <a:pt x="28013" y="2923344"/>
                    </a:lnTo>
                    <a:lnTo>
                      <a:pt x="30223" y="2954695"/>
                    </a:lnTo>
                    <a:lnTo>
                      <a:pt x="35281" y="2980599"/>
                    </a:lnTo>
                    <a:lnTo>
                      <a:pt x="45780" y="3017202"/>
                    </a:lnTo>
                    <a:lnTo>
                      <a:pt x="75470" y="3050420"/>
                    </a:lnTo>
                    <a:lnTo>
                      <a:pt x="77830" y="3074392"/>
                    </a:lnTo>
                    <a:lnTo>
                      <a:pt x="79955" y="3096262"/>
                    </a:lnTo>
                    <a:lnTo>
                      <a:pt x="62910" y="3117279"/>
                    </a:lnTo>
                    <a:lnTo>
                      <a:pt x="38214" y="3140763"/>
                    </a:lnTo>
                    <a:lnTo>
                      <a:pt x="17981" y="3157364"/>
                    </a:lnTo>
                    <a:lnTo>
                      <a:pt x="15962" y="3201741"/>
                    </a:lnTo>
                    <a:lnTo>
                      <a:pt x="0" y="3239720"/>
                    </a:lnTo>
                    <a:lnTo>
                      <a:pt x="3019" y="3286584"/>
                    </a:lnTo>
                    <a:lnTo>
                      <a:pt x="5144" y="3319526"/>
                    </a:lnTo>
                    <a:lnTo>
                      <a:pt x="15813" y="3354082"/>
                    </a:lnTo>
                    <a:lnTo>
                      <a:pt x="17981" y="3387235"/>
                    </a:lnTo>
                    <a:lnTo>
                      <a:pt x="19702" y="3414103"/>
                    </a:lnTo>
                    <a:lnTo>
                      <a:pt x="16515" y="3575329"/>
                    </a:lnTo>
                    <a:lnTo>
                      <a:pt x="7099" y="3596709"/>
                    </a:lnTo>
                    <a:lnTo>
                      <a:pt x="28820" y="3602189"/>
                    </a:lnTo>
                    <a:lnTo>
                      <a:pt x="48883" y="3612945"/>
                    </a:lnTo>
                    <a:lnTo>
                      <a:pt x="69668" y="3621190"/>
                    </a:lnTo>
                    <a:lnTo>
                      <a:pt x="121568" y="3593815"/>
                    </a:lnTo>
                    <a:lnTo>
                      <a:pt x="167985" y="3577070"/>
                    </a:lnTo>
                    <a:lnTo>
                      <a:pt x="224731" y="3559983"/>
                    </a:lnTo>
                    <a:lnTo>
                      <a:pt x="262306" y="3570139"/>
                    </a:lnTo>
                    <a:lnTo>
                      <a:pt x="309063" y="3600791"/>
                    </a:lnTo>
                    <a:lnTo>
                      <a:pt x="330784" y="3616771"/>
                    </a:lnTo>
                    <a:lnTo>
                      <a:pt x="365086" y="3613875"/>
                    </a:lnTo>
                    <a:lnTo>
                      <a:pt x="389315" y="3613032"/>
                    </a:lnTo>
                    <a:lnTo>
                      <a:pt x="423320" y="3645677"/>
                    </a:lnTo>
                    <a:lnTo>
                      <a:pt x="413799" y="3685121"/>
                    </a:lnTo>
                    <a:lnTo>
                      <a:pt x="375713" y="3719123"/>
                    </a:lnTo>
                    <a:lnTo>
                      <a:pt x="365448" y="3766435"/>
                    </a:lnTo>
                    <a:lnTo>
                      <a:pt x="357563" y="3820078"/>
                    </a:lnTo>
                    <a:lnTo>
                      <a:pt x="386594" y="3863308"/>
                    </a:lnTo>
                    <a:lnTo>
                      <a:pt x="441258" y="3871729"/>
                    </a:lnTo>
                    <a:lnTo>
                      <a:pt x="555429" y="3837549"/>
                    </a:lnTo>
                    <a:lnTo>
                      <a:pt x="583824" y="3846985"/>
                    </a:lnTo>
                    <a:lnTo>
                      <a:pt x="607882" y="3947215"/>
                    </a:lnTo>
                    <a:lnTo>
                      <a:pt x="552326" y="3973185"/>
                    </a:lnTo>
                    <a:lnTo>
                      <a:pt x="593345" y="4110861"/>
                    </a:lnTo>
                    <a:lnTo>
                      <a:pt x="602357" y="4141125"/>
                    </a:lnTo>
                    <a:lnTo>
                      <a:pt x="625883" y="4156300"/>
                    </a:lnTo>
                    <a:lnTo>
                      <a:pt x="640952" y="4181591"/>
                    </a:lnTo>
                    <a:lnTo>
                      <a:pt x="665499" y="4222737"/>
                    </a:lnTo>
                    <a:lnTo>
                      <a:pt x="665691" y="4276255"/>
                    </a:lnTo>
                    <a:lnTo>
                      <a:pt x="695360" y="4316253"/>
                    </a:lnTo>
                    <a:lnTo>
                      <a:pt x="731108" y="4364541"/>
                    </a:lnTo>
                    <a:lnTo>
                      <a:pt x="779501" y="4381714"/>
                    </a:lnTo>
                    <a:lnTo>
                      <a:pt x="791934" y="4446832"/>
                    </a:lnTo>
                    <a:lnTo>
                      <a:pt x="802816" y="4471319"/>
                    </a:lnTo>
                    <a:lnTo>
                      <a:pt x="826407" y="4490654"/>
                    </a:lnTo>
                    <a:lnTo>
                      <a:pt x="875629" y="4466208"/>
                    </a:lnTo>
                    <a:lnTo>
                      <a:pt x="895309" y="4446832"/>
                    </a:lnTo>
                    <a:lnTo>
                      <a:pt x="943681" y="4445045"/>
                    </a:lnTo>
                    <a:lnTo>
                      <a:pt x="1056471" y="4480664"/>
                    </a:lnTo>
                    <a:lnTo>
                      <a:pt x="1073177" y="4505612"/>
                    </a:lnTo>
                    <a:lnTo>
                      <a:pt x="1170069" y="4448190"/>
                    </a:lnTo>
                    <a:lnTo>
                      <a:pt x="1188645" y="4437224"/>
                    </a:lnTo>
                    <a:lnTo>
                      <a:pt x="1212193" y="4437394"/>
                    </a:lnTo>
                    <a:lnTo>
                      <a:pt x="1229918" y="4450908"/>
                    </a:lnTo>
                    <a:lnTo>
                      <a:pt x="1284326" y="4492482"/>
                    </a:lnTo>
                    <a:lnTo>
                      <a:pt x="1333803" y="4656892"/>
                    </a:lnTo>
                    <a:lnTo>
                      <a:pt x="1402663" y="4706624"/>
                    </a:lnTo>
                    <a:lnTo>
                      <a:pt x="1420346" y="4719419"/>
                    </a:lnTo>
                    <a:lnTo>
                      <a:pt x="1459218" y="4718529"/>
                    </a:lnTo>
                    <a:lnTo>
                      <a:pt x="1481555" y="4727029"/>
                    </a:lnTo>
                    <a:lnTo>
                      <a:pt x="1523763" y="4757294"/>
                    </a:lnTo>
                    <a:lnTo>
                      <a:pt x="1463383" y="4795504"/>
                    </a:lnTo>
                    <a:lnTo>
                      <a:pt x="1466592" y="4827680"/>
                    </a:lnTo>
                    <a:lnTo>
                      <a:pt x="1492883" y="4846853"/>
                    </a:lnTo>
                    <a:lnTo>
                      <a:pt x="1519640" y="4869848"/>
                    </a:lnTo>
                    <a:lnTo>
                      <a:pt x="1533837" y="4893228"/>
                    </a:lnTo>
                    <a:lnTo>
                      <a:pt x="1571052" y="4980491"/>
                    </a:lnTo>
                    <a:lnTo>
                      <a:pt x="1572688" y="5005868"/>
                    </a:lnTo>
                    <a:lnTo>
                      <a:pt x="1569500" y="5038178"/>
                    </a:lnTo>
                    <a:lnTo>
                      <a:pt x="1572688" y="5064991"/>
                    </a:lnTo>
                    <a:lnTo>
                      <a:pt x="1584929" y="5086122"/>
                    </a:lnTo>
                    <a:lnTo>
                      <a:pt x="1591241" y="5107457"/>
                    </a:lnTo>
                    <a:lnTo>
                      <a:pt x="1581338" y="5131350"/>
                    </a:lnTo>
                    <a:lnTo>
                      <a:pt x="1587650" y="5152771"/>
                    </a:lnTo>
                    <a:lnTo>
                      <a:pt x="1594154" y="5174791"/>
                    </a:lnTo>
                    <a:lnTo>
                      <a:pt x="1651324" y="5226732"/>
                    </a:lnTo>
                    <a:lnTo>
                      <a:pt x="1673342" y="5233023"/>
                    </a:lnTo>
                    <a:lnTo>
                      <a:pt x="1726327" y="5262990"/>
                    </a:lnTo>
                    <a:lnTo>
                      <a:pt x="1803411" y="5296994"/>
                    </a:lnTo>
                    <a:lnTo>
                      <a:pt x="1862410" y="5267027"/>
                    </a:lnTo>
                    <a:lnTo>
                      <a:pt x="1882749" y="5256699"/>
                    </a:lnTo>
                    <a:lnTo>
                      <a:pt x="1898264" y="5238972"/>
                    </a:lnTo>
                    <a:lnTo>
                      <a:pt x="1919539" y="5228941"/>
                    </a:lnTo>
                    <a:lnTo>
                      <a:pt x="1951206" y="5214023"/>
                    </a:lnTo>
                    <a:lnTo>
                      <a:pt x="1988483" y="5207225"/>
                    </a:lnTo>
                    <a:lnTo>
                      <a:pt x="2018833" y="5189497"/>
                    </a:lnTo>
                    <a:lnTo>
                      <a:pt x="2040086" y="5177039"/>
                    </a:lnTo>
                    <a:lnTo>
                      <a:pt x="2055112" y="5153792"/>
                    </a:lnTo>
                    <a:lnTo>
                      <a:pt x="2084122" y="5158211"/>
                    </a:lnTo>
                    <a:lnTo>
                      <a:pt x="2105418" y="5161443"/>
                    </a:lnTo>
                    <a:lnTo>
                      <a:pt x="2125566" y="5185547"/>
                    </a:lnTo>
                    <a:lnTo>
                      <a:pt x="2146692" y="5192215"/>
                    </a:lnTo>
                    <a:lnTo>
                      <a:pt x="2179464" y="5178490"/>
                    </a:lnTo>
                    <a:lnTo>
                      <a:pt x="2201100" y="5152777"/>
                    </a:lnTo>
                    <a:lnTo>
                      <a:pt x="2253786" y="5115449"/>
                    </a:lnTo>
                    <a:lnTo>
                      <a:pt x="2306196" y="5196554"/>
                    </a:lnTo>
                    <a:lnTo>
                      <a:pt x="2337119" y="5231665"/>
                    </a:lnTo>
                    <a:lnTo>
                      <a:pt x="2359797" y="5257378"/>
                    </a:lnTo>
                    <a:lnTo>
                      <a:pt x="2389530" y="5279867"/>
                    </a:lnTo>
                    <a:lnTo>
                      <a:pt x="2409210" y="5307836"/>
                    </a:lnTo>
                    <a:lnTo>
                      <a:pt x="2435054" y="5315993"/>
                    </a:lnTo>
                    <a:lnTo>
                      <a:pt x="2472161" y="5358591"/>
                    </a:lnTo>
                    <a:lnTo>
                      <a:pt x="2486061" y="5403858"/>
                    </a:lnTo>
                    <a:lnTo>
                      <a:pt x="2513945" y="5450655"/>
                    </a:lnTo>
                    <a:lnTo>
                      <a:pt x="2546973" y="5506000"/>
                    </a:lnTo>
                    <a:lnTo>
                      <a:pt x="2606736" y="5521768"/>
                    </a:lnTo>
                    <a:lnTo>
                      <a:pt x="2577874" y="5611161"/>
                    </a:lnTo>
                    <a:lnTo>
                      <a:pt x="2567546" y="5649247"/>
                    </a:lnTo>
                    <a:lnTo>
                      <a:pt x="2541659" y="5671651"/>
                    </a:lnTo>
                    <a:lnTo>
                      <a:pt x="2513945" y="5687333"/>
                    </a:lnTo>
                    <a:lnTo>
                      <a:pt x="2516815" y="5721251"/>
                    </a:lnTo>
                    <a:lnTo>
                      <a:pt x="2519386" y="5755340"/>
                    </a:lnTo>
                    <a:lnTo>
                      <a:pt x="2490737" y="5812682"/>
                    </a:lnTo>
                    <a:lnTo>
                      <a:pt x="2429613" y="5808343"/>
                    </a:lnTo>
                    <a:lnTo>
                      <a:pt x="2466338" y="5899523"/>
                    </a:lnTo>
                    <a:lnTo>
                      <a:pt x="2488655" y="5924434"/>
                    </a:lnTo>
                    <a:lnTo>
                      <a:pt x="2527505" y="5937946"/>
                    </a:lnTo>
                    <a:lnTo>
                      <a:pt x="2566993" y="5953933"/>
                    </a:lnTo>
                    <a:lnTo>
                      <a:pt x="2587205" y="5969107"/>
                    </a:lnTo>
                    <a:lnTo>
                      <a:pt x="2596280" y="5989512"/>
                    </a:lnTo>
                    <a:lnTo>
                      <a:pt x="2615960" y="6004258"/>
                    </a:lnTo>
                    <a:lnTo>
                      <a:pt x="2681462" y="5965195"/>
                    </a:lnTo>
                    <a:lnTo>
                      <a:pt x="2755784" y="6004719"/>
                    </a:lnTo>
                    <a:lnTo>
                      <a:pt x="2773744" y="5902241"/>
                    </a:lnTo>
                    <a:lnTo>
                      <a:pt x="2780395" y="5848215"/>
                    </a:lnTo>
                    <a:lnTo>
                      <a:pt x="2776507" y="5815915"/>
                    </a:lnTo>
                    <a:lnTo>
                      <a:pt x="2758164" y="5784754"/>
                    </a:lnTo>
                    <a:lnTo>
                      <a:pt x="2750620" y="5762146"/>
                    </a:lnTo>
                    <a:lnTo>
                      <a:pt x="2742839" y="5729962"/>
                    </a:lnTo>
                    <a:lnTo>
                      <a:pt x="2804223" y="5644572"/>
                    </a:lnTo>
                    <a:lnTo>
                      <a:pt x="2897651" y="5734982"/>
                    </a:lnTo>
                    <a:lnTo>
                      <a:pt x="2949212" y="5760780"/>
                    </a:lnTo>
                    <a:lnTo>
                      <a:pt x="3007658" y="5793643"/>
                    </a:lnTo>
                    <a:lnTo>
                      <a:pt x="3037986" y="5809583"/>
                    </a:lnTo>
                    <a:lnTo>
                      <a:pt x="3116389" y="5825140"/>
                    </a:lnTo>
                    <a:lnTo>
                      <a:pt x="3122339" y="5804267"/>
                    </a:lnTo>
                    <a:lnTo>
                      <a:pt x="3168203" y="5762146"/>
                    </a:lnTo>
                    <a:lnTo>
                      <a:pt x="3210263" y="5727667"/>
                    </a:lnTo>
                    <a:lnTo>
                      <a:pt x="3275765" y="5715639"/>
                    </a:lnTo>
                    <a:lnTo>
                      <a:pt x="3298782" y="5679168"/>
                    </a:lnTo>
                    <a:lnTo>
                      <a:pt x="3331236" y="5627780"/>
                    </a:lnTo>
                    <a:lnTo>
                      <a:pt x="3353849" y="5534991"/>
                    </a:lnTo>
                    <a:lnTo>
                      <a:pt x="3368153" y="5475142"/>
                    </a:lnTo>
                    <a:lnTo>
                      <a:pt x="3382775" y="5414014"/>
                    </a:lnTo>
                    <a:lnTo>
                      <a:pt x="3378971" y="5353064"/>
                    </a:lnTo>
                    <a:lnTo>
                      <a:pt x="3414399" y="5296954"/>
                    </a:lnTo>
                    <a:lnTo>
                      <a:pt x="3428809" y="5274169"/>
                    </a:lnTo>
                    <a:lnTo>
                      <a:pt x="3449148" y="5257893"/>
                    </a:lnTo>
                    <a:lnTo>
                      <a:pt x="3468807" y="5239829"/>
                    </a:lnTo>
                    <a:lnTo>
                      <a:pt x="3499411" y="5211728"/>
                    </a:lnTo>
                    <a:lnTo>
                      <a:pt x="3527189" y="5195241"/>
                    </a:lnTo>
                    <a:lnTo>
                      <a:pt x="3569462" y="5190855"/>
                    </a:lnTo>
                    <a:lnTo>
                      <a:pt x="3654814" y="5181972"/>
                    </a:lnTo>
                    <a:lnTo>
                      <a:pt x="3700445" y="5280420"/>
                    </a:lnTo>
                    <a:lnTo>
                      <a:pt x="3778932" y="5294238"/>
                    </a:lnTo>
                    <a:lnTo>
                      <a:pt x="3811768" y="5300014"/>
                    </a:lnTo>
                    <a:lnTo>
                      <a:pt x="3843945" y="5277954"/>
                    </a:lnTo>
                    <a:lnTo>
                      <a:pt x="3878227" y="5277915"/>
                    </a:lnTo>
                    <a:lnTo>
                      <a:pt x="3905750" y="5290491"/>
                    </a:lnTo>
                    <a:lnTo>
                      <a:pt x="3928554" y="5325517"/>
                    </a:lnTo>
                    <a:lnTo>
                      <a:pt x="3945046" y="5341331"/>
                    </a:lnTo>
                    <a:lnTo>
                      <a:pt x="3980242" y="5399393"/>
                    </a:lnTo>
                    <a:lnTo>
                      <a:pt x="3984790" y="5472036"/>
                    </a:lnTo>
                    <a:lnTo>
                      <a:pt x="4018328" y="5517310"/>
                    </a:lnTo>
                    <a:lnTo>
                      <a:pt x="4051907" y="5562617"/>
                    </a:lnTo>
                    <a:lnTo>
                      <a:pt x="4162870" y="5602576"/>
                    </a:lnTo>
                    <a:lnTo>
                      <a:pt x="4214196" y="5641083"/>
                    </a:lnTo>
                    <a:lnTo>
                      <a:pt x="4240124" y="5660465"/>
                    </a:lnTo>
                    <a:lnTo>
                      <a:pt x="4277806" y="5727035"/>
                    </a:lnTo>
                    <a:lnTo>
                      <a:pt x="4306690" y="5760780"/>
                    </a:lnTo>
                    <a:lnTo>
                      <a:pt x="4337570" y="5796953"/>
                    </a:lnTo>
                    <a:lnTo>
                      <a:pt x="4398035" y="5753942"/>
                    </a:lnTo>
                    <a:lnTo>
                      <a:pt x="4433188" y="5760780"/>
                    </a:lnTo>
                    <a:lnTo>
                      <a:pt x="4475121" y="5769031"/>
                    </a:lnTo>
                    <a:lnTo>
                      <a:pt x="4535479" y="5803627"/>
                    </a:lnTo>
                    <a:lnTo>
                      <a:pt x="4574648" y="5823353"/>
                    </a:lnTo>
                    <a:lnTo>
                      <a:pt x="4650352" y="5875592"/>
                    </a:lnTo>
                    <a:lnTo>
                      <a:pt x="4712220" y="5891149"/>
                    </a:lnTo>
                    <a:lnTo>
                      <a:pt x="4764141" y="5860713"/>
                    </a:lnTo>
                    <a:lnTo>
                      <a:pt x="4782759" y="5817911"/>
                    </a:lnTo>
                    <a:lnTo>
                      <a:pt x="4801993" y="5768945"/>
                    </a:lnTo>
                    <a:lnTo>
                      <a:pt x="4820207" y="5740977"/>
                    </a:lnTo>
                    <a:lnTo>
                      <a:pt x="4872808" y="5735746"/>
                    </a:lnTo>
                    <a:lnTo>
                      <a:pt x="4891575" y="5706372"/>
                    </a:lnTo>
                    <a:lnTo>
                      <a:pt x="4953570" y="5754067"/>
                    </a:lnTo>
                    <a:lnTo>
                      <a:pt x="5046442" y="5824711"/>
                    </a:lnTo>
                    <a:lnTo>
                      <a:pt x="5132623" y="5764645"/>
                    </a:lnTo>
                    <a:lnTo>
                      <a:pt x="5227539" y="5800224"/>
                    </a:lnTo>
                    <a:lnTo>
                      <a:pt x="5253723" y="5810084"/>
                    </a:lnTo>
                    <a:lnTo>
                      <a:pt x="5289811" y="5853953"/>
                    </a:lnTo>
                    <a:lnTo>
                      <a:pt x="5320033" y="5843752"/>
                    </a:lnTo>
                    <a:lnTo>
                      <a:pt x="5363327" y="5867084"/>
                    </a:lnTo>
                    <a:lnTo>
                      <a:pt x="5419031" y="5843752"/>
                    </a:lnTo>
                    <a:lnTo>
                      <a:pt x="5464215" y="5843752"/>
                    </a:lnTo>
                    <a:lnTo>
                      <a:pt x="5500855" y="5843752"/>
                    </a:lnTo>
                    <a:lnTo>
                      <a:pt x="5538197" y="5854587"/>
                    </a:lnTo>
                    <a:lnTo>
                      <a:pt x="5575751" y="5853274"/>
                    </a:lnTo>
                    <a:lnTo>
                      <a:pt x="5693048" y="5827771"/>
                    </a:lnTo>
                    <a:lnTo>
                      <a:pt x="5733683" y="5866451"/>
                    </a:lnTo>
                    <a:lnTo>
                      <a:pt x="5827388" y="5917198"/>
                    </a:lnTo>
                    <a:lnTo>
                      <a:pt x="5849215" y="5929016"/>
                    </a:lnTo>
                    <a:lnTo>
                      <a:pt x="5876972" y="5936416"/>
                    </a:lnTo>
                    <a:lnTo>
                      <a:pt x="5894038" y="5955291"/>
                    </a:lnTo>
                    <a:lnTo>
                      <a:pt x="5932485" y="5997710"/>
                    </a:lnTo>
                    <a:lnTo>
                      <a:pt x="5918012" y="6063637"/>
                    </a:lnTo>
                    <a:lnTo>
                      <a:pt x="5948445" y="6106267"/>
                    </a:lnTo>
                    <a:lnTo>
                      <a:pt x="5978349" y="6148178"/>
                    </a:lnTo>
                    <a:lnTo>
                      <a:pt x="6090055" y="6146522"/>
                    </a:lnTo>
                    <a:lnTo>
                      <a:pt x="6123912" y="6110343"/>
                    </a:lnTo>
                    <a:lnTo>
                      <a:pt x="6141105" y="6091983"/>
                    </a:lnTo>
                    <a:lnTo>
                      <a:pt x="6175791" y="6061080"/>
                    </a:lnTo>
                    <a:lnTo>
                      <a:pt x="6201442" y="6061376"/>
                    </a:lnTo>
                    <a:lnTo>
                      <a:pt x="6287050" y="6056536"/>
                    </a:lnTo>
                    <a:lnTo>
                      <a:pt x="6270707" y="6025717"/>
                    </a:lnTo>
                    <a:lnTo>
                      <a:pt x="6312976" y="5997445"/>
                    </a:lnTo>
                    <a:lnTo>
                      <a:pt x="6332385" y="5984486"/>
                    </a:lnTo>
                    <a:lnTo>
                      <a:pt x="6357379" y="5975603"/>
                    </a:lnTo>
                    <a:lnTo>
                      <a:pt x="6378266" y="5964806"/>
                    </a:lnTo>
                    <a:lnTo>
                      <a:pt x="6418969" y="5978452"/>
                    </a:lnTo>
                    <a:lnTo>
                      <a:pt x="6496500" y="5983379"/>
                    </a:lnTo>
                    <a:lnTo>
                      <a:pt x="6562982" y="5978069"/>
                    </a:lnTo>
                    <a:lnTo>
                      <a:pt x="6617661" y="5997445"/>
                    </a:lnTo>
                    <a:lnTo>
                      <a:pt x="6669391" y="6015766"/>
                    </a:lnTo>
                    <a:lnTo>
                      <a:pt x="6704166" y="6064225"/>
                    </a:lnTo>
                    <a:lnTo>
                      <a:pt x="6757763" y="6077699"/>
                    </a:lnTo>
                    <a:lnTo>
                      <a:pt x="6782270" y="6083904"/>
                    </a:lnTo>
                    <a:lnTo>
                      <a:pt x="6810812" y="6098104"/>
                    </a:lnTo>
                    <a:lnTo>
                      <a:pt x="6832536" y="6129726"/>
                    </a:lnTo>
                    <a:lnTo>
                      <a:pt x="6885453" y="6218394"/>
                    </a:lnTo>
                    <a:lnTo>
                      <a:pt x="6921752" y="6228807"/>
                    </a:lnTo>
                    <a:lnTo>
                      <a:pt x="7002599" y="6234123"/>
                    </a:lnTo>
                    <a:lnTo>
                      <a:pt x="7033437" y="6236160"/>
                    </a:lnTo>
                    <a:lnTo>
                      <a:pt x="7083189" y="6200417"/>
                    </a:lnTo>
                    <a:lnTo>
                      <a:pt x="7077411" y="6166117"/>
                    </a:lnTo>
                    <a:lnTo>
                      <a:pt x="7107847" y="6178779"/>
                    </a:lnTo>
                    <a:lnTo>
                      <a:pt x="7177535" y="6226302"/>
                    </a:lnTo>
                    <a:lnTo>
                      <a:pt x="7284438" y="6290827"/>
                    </a:lnTo>
                    <a:lnTo>
                      <a:pt x="7358974" y="6265410"/>
                    </a:lnTo>
                    <a:lnTo>
                      <a:pt x="7378013" y="6253162"/>
                    </a:lnTo>
                    <a:lnTo>
                      <a:pt x="7411087" y="6224178"/>
                    </a:lnTo>
                    <a:lnTo>
                      <a:pt x="7447682" y="6205646"/>
                    </a:lnTo>
                    <a:lnTo>
                      <a:pt x="7485471" y="6183798"/>
                    </a:lnTo>
                    <a:lnTo>
                      <a:pt x="7512293" y="6168240"/>
                    </a:lnTo>
                    <a:lnTo>
                      <a:pt x="7539582" y="6151153"/>
                    </a:lnTo>
                    <a:lnTo>
                      <a:pt x="7569800" y="6142988"/>
                    </a:lnTo>
                    <a:lnTo>
                      <a:pt x="7654941" y="6119952"/>
                    </a:lnTo>
                    <a:lnTo>
                      <a:pt x="7717045" y="6179207"/>
                    </a:lnTo>
                    <a:lnTo>
                      <a:pt x="7787432" y="6138912"/>
                    </a:lnTo>
                    <a:lnTo>
                      <a:pt x="7870765" y="6091225"/>
                    </a:lnTo>
                    <a:lnTo>
                      <a:pt x="7818679" y="6023257"/>
                    </a:lnTo>
                    <a:lnTo>
                      <a:pt x="7964261" y="5981129"/>
                    </a:lnTo>
                    <a:lnTo>
                      <a:pt x="8073604" y="5949506"/>
                    </a:lnTo>
                    <a:lnTo>
                      <a:pt x="8168267" y="6023508"/>
                    </a:lnTo>
                    <a:lnTo>
                      <a:pt x="8271663" y="6027379"/>
                    </a:lnTo>
                    <a:lnTo>
                      <a:pt x="8358465" y="6030664"/>
                    </a:lnTo>
                    <a:lnTo>
                      <a:pt x="8342347" y="5987572"/>
                    </a:lnTo>
                    <a:lnTo>
                      <a:pt x="8477054" y="6026021"/>
                    </a:lnTo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53" name="Ivano-Frankivsk¬0" descr="Ivano-Frankivsk¬0">
                <a:extLst>
                  <a:ext uri="{FF2B5EF4-FFF2-40B4-BE49-F238E27FC236}">
                    <a16:creationId xmlns:a16="http://schemas.microsoft.com/office/drawing/2014/main" id="{2FAE7A50-E2EE-44F9-A57E-A52652633B2A}"/>
                  </a:ext>
                </a:extLst>
              </p:cNvPr>
              <p:cNvSpPr/>
              <p:nvPr/>
            </p:nvSpPr>
            <p:spPr>
              <a:xfrm>
                <a:off x="4856065" y="15004551"/>
                <a:ext cx="7418675" cy="9533500"/>
              </a:xfrm>
              <a:custGeom>
                <a:avLst/>
                <a:gdLst/>
                <a:ahLst/>
                <a:cxnLst/>
                <a:rect l="0" t="0" r="0" b="0"/>
                <a:pathLst>
                  <a:path w="7418671" h="9533502">
                    <a:moveTo>
                      <a:pt x="4885970" y="9491260"/>
                    </a:moveTo>
                    <a:lnTo>
                      <a:pt x="4885970" y="9465415"/>
                    </a:lnTo>
                    <a:lnTo>
                      <a:pt x="4883247" y="9411006"/>
                    </a:lnTo>
                    <a:lnTo>
                      <a:pt x="4889881" y="9342083"/>
                    </a:lnTo>
                    <a:lnTo>
                      <a:pt x="4894029" y="9307598"/>
                    </a:lnTo>
                    <a:lnTo>
                      <a:pt x="4903652" y="9274986"/>
                    </a:lnTo>
                    <a:lnTo>
                      <a:pt x="4913273" y="9242374"/>
                    </a:lnTo>
                    <a:lnTo>
                      <a:pt x="4928890" y="9212480"/>
                    </a:lnTo>
                    <a:lnTo>
                      <a:pt x="4959418" y="9153930"/>
                    </a:lnTo>
                    <a:lnTo>
                      <a:pt x="5017908" y="9039673"/>
                    </a:lnTo>
                    <a:lnTo>
                      <a:pt x="5039598" y="9011883"/>
                    </a:lnTo>
                    <a:lnTo>
                      <a:pt x="5062021" y="8956109"/>
                    </a:lnTo>
                    <a:lnTo>
                      <a:pt x="5073925" y="8919119"/>
                    </a:lnTo>
                    <a:lnTo>
                      <a:pt x="5077756" y="8881891"/>
                    </a:lnTo>
                    <a:lnTo>
                      <a:pt x="5081588" y="8844662"/>
                    </a:lnTo>
                    <a:lnTo>
                      <a:pt x="5077691" y="8806827"/>
                    </a:lnTo>
                    <a:lnTo>
                      <a:pt x="5060076" y="8767634"/>
                    </a:lnTo>
                    <a:lnTo>
                      <a:pt x="5043997" y="8733097"/>
                    </a:lnTo>
                    <a:lnTo>
                      <a:pt x="5029904" y="8696073"/>
                    </a:lnTo>
                    <a:lnTo>
                      <a:pt x="5023349" y="8658818"/>
                    </a:lnTo>
                    <a:lnTo>
                      <a:pt x="5018614" y="8576547"/>
                    </a:lnTo>
                    <a:lnTo>
                      <a:pt x="5026257" y="8546910"/>
                    </a:lnTo>
                    <a:lnTo>
                      <a:pt x="5021990" y="8521440"/>
                    </a:lnTo>
                    <a:lnTo>
                      <a:pt x="5017723" y="8495964"/>
                    </a:lnTo>
                    <a:lnTo>
                      <a:pt x="5001684" y="8473936"/>
                    </a:lnTo>
                    <a:lnTo>
                      <a:pt x="4948543" y="8409899"/>
                    </a:lnTo>
                    <a:lnTo>
                      <a:pt x="4933843" y="8392200"/>
                    </a:lnTo>
                    <a:lnTo>
                      <a:pt x="4922467" y="8369691"/>
                    </a:lnTo>
                    <a:lnTo>
                      <a:pt x="4914533" y="8343252"/>
                    </a:lnTo>
                    <a:lnTo>
                      <a:pt x="4906599" y="8316814"/>
                    </a:lnTo>
                    <a:lnTo>
                      <a:pt x="4902035" y="8287617"/>
                    </a:lnTo>
                    <a:lnTo>
                      <a:pt x="4898211" y="8257558"/>
                    </a:lnTo>
                    <a:lnTo>
                      <a:pt x="4890560" y="8197446"/>
                    </a:lnTo>
                    <a:lnTo>
                      <a:pt x="4887698" y="8134121"/>
                    </a:lnTo>
                    <a:lnTo>
                      <a:pt x="4880530" y="8090252"/>
                    </a:lnTo>
                    <a:lnTo>
                      <a:pt x="4874997" y="8056386"/>
                    </a:lnTo>
                    <a:lnTo>
                      <a:pt x="4878294" y="8022080"/>
                    </a:lnTo>
                    <a:lnTo>
                      <a:pt x="4887329" y="7986883"/>
                    </a:lnTo>
                    <a:lnTo>
                      <a:pt x="4896371" y="7951679"/>
                    </a:lnTo>
                    <a:lnTo>
                      <a:pt x="4911730" y="7916469"/>
                    </a:lnTo>
                    <a:lnTo>
                      <a:pt x="4929496" y="7882142"/>
                    </a:lnTo>
                    <a:lnTo>
                      <a:pt x="4965024" y="7813503"/>
                    </a:lnTo>
                    <a:lnTo>
                      <a:pt x="5012467" y="7749058"/>
                    </a:lnTo>
                    <a:lnTo>
                      <a:pt x="5047836" y="7697155"/>
                    </a:lnTo>
                    <a:lnTo>
                      <a:pt x="5063927" y="7673546"/>
                    </a:lnTo>
                    <a:lnTo>
                      <a:pt x="5072316" y="7645024"/>
                    </a:lnTo>
                    <a:lnTo>
                      <a:pt x="5077756" y="7615543"/>
                    </a:lnTo>
                    <a:lnTo>
                      <a:pt x="5083197" y="7586071"/>
                    </a:lnTo>
                    <a:lnTo>
                      <a:pt x="5085855" y="7554752"/>
                    </a:lnTo>
                    <a:lnTo>
                      <a:pt x="5090004" y="7524415"/>
                    </a:lnTo>
                    <a:lnTo>
                      <a:pt x="5094138" y="7494073"/>
                    </a:lnTo>
                    <a:lnTo>
                      <a:pt x="5099553" y="7464929"/>
                    </a:lnTo>
                    <a:lnTo>
                      <a:pt x="5111767" y="7438721"/>
                    </a:lnTo>
                    <a:lnTo>
                      <a:pt x="5123974" y="7412514"/>
                    </a:lnTo>
                    <a:lnTo>
                      <a:pt x="5141978" y="7389160"/>
                    </a:lnTo>
                    <a:lnTo>
                      <a:pt x="5171609" y="7372073"/>
                    </a:lnTo>
                    <a:lnTo>
                      <a:pt x="5221499" y="7374882"/>
                    </a:lnTo>
                    <a:lnTo>
                      <a:pt x="5251862" y="7370715"/>
                    </a:lnTo>
                    <a:lnTo>
                      <a:pt x="5282225" y="7366546"/>
                    </a:lnTo>
                    <a:lnTo>
                      <a:pt x="5311256" y="7357981"/>
                    </a:lnTo>
                    <a:lnTo>
                      <a:pt x="5351907" y="7307292"/>
                    </a:lnTo>
                    <a:lnTo>
                      <a:pt x="5386372" y="7270268"/>
                    </a:lnTo>
                    <a:lnTo>
                      <a:pt x="5411004" y="7233329"/>
                    </a:lnTo>
                    <a:lnTo>
                      <a:pt x="5422855" y="7215563"/>
                    </a:lnTo>
                    <a:lnTo>
                      <a:pt x="5437575" y="7180043"/>
                    </a:lnTo>
                    <a:lnTo>
                      <a:pt x="5457253" y="7147642"/>
                    </a:lnTo>
                    <a:lnTo>
                      <a:pt x="5477612" y="7115445"/>
                    </a:lnTo>
                    <a:lnTo>
                      <a:pt x="5502185" y="7092780"/>
                    </a:lnTo>
                    <a:lnTo>
                      <a:pt x="5530708" y="7085070"/>
                    </a:lnTo>
                    <a:lnTo>
                      <a:pt x="5561981" y="7085135"/>
                    </a:lnTo>
                    <a:lnTo>
                      <a:pt x="5583750" y="7083711"/>
                    </a:lnTo>
                    <a:lnTo>
                      <a:pt x="5605527" y="7082247"/>
                    </a:lnTo>
                    <a:lnTo>
                      <a:pt x="5630001" y="7071471"/>
                    </a:lnTo>
                    <a:lnTo>
                      <a:pt x="5638561" y="7052023"/>
                    </a:lnTo>
                    <a:lnTo>
                      <a:pt x="5625925" y="7018422"/>
                    </a:lnTo>
                    <a:lnTo>
                      <a:pt x="5605415" y="6985948"/>
                    </a:lnTo>
                    <a:lnTo>
                      <a:pt x="5594744" y="6938003"/>
                    </a:lnTo>
                    <a:lnTo>
                      <a:pt x="5595595" y="6913220"/>
                    </a:lnTo>
                    <a:lnTo>
                      <a:pt x="5597363" y="6882402"/>
                    </a:lnTo>
                    <a:lnTo>
                      <a:pt x="5599256" y="6847027"/>
                    </a:lnTo>
                    <a:lnTo>
                      <a:pt x="5618347" y="6795843"/>
                    </a:lnTo>
                    <a:lnTo>
                      <a:pt x="5635468" y="6769147"/>
                    </a:lnTo>
                    <a:lnTo>
                      <a:pt x="5654494" y="6750464"/>
                    </a:lnTo>
                    <a:lnTo>
                      <a:pt x="5673520" y="6731774"/>
                    </a:lnTo>
                    <a:lnTo>
                      <a:pt x="5694637" y="6721703"/>
                    </a:lnTo>
                    <a:lnTo>
                      <a:pt x="5734048" y="6708487"/>
                    </a:lnTo>
                    <a:lnTo>
                      <a:pt x="5770110" y="6700139"/>
                    </a:lnTo>
                    <a:lnTo>
                      <a:pt x="5803651" y="6686704"/>
                    </a:lnTo>
                    <a:lnTo>
                      <a:pt x="5839448" y="6644069"/>
                    </a:lnTo>
                    <a:lnTo>
                      <a:pt x="5859365" y="6615150"/>
                    </a:lnTo>
                    <a:lnTo>
                      <a:pt x="5878925" y="6585882"/>
                    </a:lnTo>
                    <a:lnTo>
                      <a:pt x="5898485" y="6556606"/>
                    </a:lnTo>
                    <a:lnTo>
                      <a:pt x="5918455" y="6526647"/>
                    </a:lnTo>
                    <a:lnTo>
                      <a:pt x="5938774" y="6497470"/>
                    </a:lnTo>
                    <a:lnTo>
                      <a:pt x="5951865" y="6478675"/>
                    </a:lnTo>
                    <a:lnTo>
                      <a:pt x="5968062" y="6463334"/>
                    </a:lnTo>
                    <a:lnTo>
                      <a:pt x="5980942" y="6444421"/>
                    </a:lnTo>
                    <a:lnTo>
                      <a:pt x="6014457" y="6395111"/>
                    </a:lnTo>
                    <a:lnTo>
                      <a:pt x="6040046" y="6342319"/>
                    </a:lnTo>
                    <a:lnTo>
                      <a:pt x="6080235" y="6297520"/>
                    </a:lnTo>
                    <a:lnTo>
                      <a:pt x="6111106" y="6263068"/>
                    </a:lnTo>
                    <a:lnTo>
                      <a:pt x="6153312" y="6228623"/>
                    </a:lnTo>
                    <a:lnTo>
                      <a:pt x="6197215" y="6195503"/>
                    </a:lnTo>
                    <a:lnTo>
                      <a:pt x="6241111" y="6162376"/>
                    </a:lnTo>
                    <a:lnTo>
                      <a:pt x="6286444" y="6131552"/>
                    </a:lnTo>
                    <a:lnTo>
                      <a:pt x="6322353" y="6105727"/>
                    </a:lnTo>
                    <a:lnTo>
                      <a:pt x="6356588" y="6081114"/>
                    </a:lnTo>
                    <a:lnTo>
                      <a:pt x="6388428" y="6041208"/>
                    </a:lnTo>
                    <a:lnTo>
                      <a:pt x="6427087" y="6017315"/>
                    </a:lnTo>
                    <a:lnTo>
                      <a:pt x="6478996" y="5985224"/>
                    </a:lnTo>
                    <a:lnTo>
                      <a:pt x="6537097" y="5961153"/>
                    </a:lnTo>
                    <a:lnTo>
                      <a:pt x="6597110" y="5942503"/>
                    </a:lnTo>
                    <a:lnTo>
                      <a:pt x="6657124" y="5923853"/>
                    </a:lnTo>
                    <a:lnTo>
                      <a:pt x="6718601" y="5910373"/>
                    </a:lnTo>
                    <a:lnTo>
                      <a:pt x="6778015" y="5901701"/>
                    </a:lnTo>
                    <a:lnTo>
                      <a:pt x="6825221" y="5896589"/>
                    </a:lnTo>
                    <a:lnTo>
                      <a:pt x="6929190" y="5892941"/>
                    </a:lnTo>
                    <a:lnTo>
                      <a:pt x="6952120" y="5901701"/>
                    </a:lnTo>
                    <a:lnTo>
                      <a:pt x="6982087" y="5913221"/>
                    </a:lnTo>
                    <a:lnTo>
                      <a:pt x="7015564" y="5923721"/>
                    </a:lnTo>
                    <a:lnTo>
                      <a:pt x="7044614" y="5937069"/>
                    </a:lnTo>
                    <a:lnTo>
                      <a:pt x="7065388" y="5946605"/>
                    </a:lnTo>
                    <a:lnTo>
                      <a:pt x="7087000" y="5963039"/>
                    </a:lnTo>
                    <a:lnTo>
                      <a:pt x="7109904" y="5972431"/>
                    </a:lnTo>
                    <a:lnTo>
                      <a:pt x="7133322" y="5979942"/>
                    </a:lnTo>
                    <a:lnTo>
                      <a:pt x="7157222" y="5978518"/>
                    </a:lnTo>
                    <a:lnTo>
                      <a:pt x="7180634" y="5964266"/>
                    </a:lnTo>
                    <a:lnTo>
                      <a:pt x="7198098" y="5936046"/>
                    </a:lnTo>
                    <a:lnTo>
                      <a:pt x="7206433" y="5907385"/>
                    </a:lnTo>
                    <a:lnTo>
                      <a:pt x="7211920" y="5877220"/>
                    </a:lnTo>
                    <a:lnTo>
                      <a:pt x="7217407" y="5847048"/>
                    </a:lnTo>
                    <a:lnTo>
                      <a:pt x="7220533" y="5815366"/>
                    </a:lnTo>
                    <a:lnTo>
                      <a:pt x="7226884" y="5784720"/>
                    </a:lnTo>
                    <a:lnTo>
                      <a:pt x="7232530" y="5757477"/>
                    </a:lnTo>
                    <a:lnTo>
                      <a:pt x="7241458" y="5727852"/>
                    </a:lnTo>
                    <a:lnTo>
                      <a:pt x="7244565" y="5700390"/>
                    </a:lnTo>
                    <a:lnTo>
                      <a:pt x="7246991" y="5678753"/>
                    </a:lnTo>
                    <a:lnTo>
                      <a:pt x="7276425" y="5291460"/>
                    </a:lnTo>
                    <a:lnTo>
                      <a:pt x="7270410" y="5269209"/>
                    </a:lnTo>
                    <a:lnTo>
                      <a:pt x="7263776" y="5244657"/>
                    </a:lnTo>
                    <a:lnTo>
                      <a:pt x="7250283" y="5225280"/>
                    </a:lnTo>
                    <a:lnTo>
                      <a:pt x="7241848" y="5202554"/>
                    </a:lnTo>
                    <a:lnTo>
                      <a:pt x="7227115" y="5162958"/>
                    </a:lnTo>
                    <a:lnTo>
                      <a:pt x="7214262" y="5121649"/>
                    </a:lnTo>
                    <a:lnTo>
                      <a:pt x="7201038" y="5081498"/>
                    </a:lnTo>
                    <a:lnTo>
                      <a:pt x="7188502" y="5043393"/>
                    </a:lnTo>
                    <a:lnTo>
                      <a:pt x="7165947" y="5003903"/>
                    </a:lnTo>
                    <a:lnTo>
                      <a:pt x="7156154" y="4964525"/>
                    </a:lnTo>
                    <a:lnTo>
                      <a:pt x="7150627" y="4942274"/>
                    </a:lnTo>
                    <a:lnTo>
                      <a:pt x="7132695" y="4882583"/>
                    </a:lnTo>
                    <a:lnTo>
                      <a:pt x="7120785" y="4821698"/>
                    </a:lnTo>
                    <a:lnTo>
                      <a:pt x="7114830" y="4791257"/>
                    </a:lnTo>
                    <a:lnTo>
                      <a:pt x="7110807" y="4760722"/>
                    </a:lnTo>
                    <a:lnTo>
                      <a:pt x="7109904" y="4734646"/>
                    </a:lnTo>
                    <a:lnTo>
                      <a:pt x="7109000" y="4708576"/>
                    </a:lnTo>
                    <a:lnTo>
                      <a:pt x="7110846" y="4687156"/>
                    </a:lnTo>
                    <a:lnTo>
                      <a:pt x="7179275" y="4604067"/>
                    </a:lnTo>
                    <a:lnTo>
                      <a:pt x="7201612" y="4577846"/>
                    </a:lnTo>
                    <a:lnTo>
                      <a:pt x="7221140" y="4556333"/>
                    </a:lnTo>
                    <a:lnTo>
                      <a:pt x="7248647" y="4536060"/>
                    </a:lnTo>
                    <a:lnTo>
                      <a:pt x="7283903" y="4512985"/>
                    </a:lnTo>
                    <a:lnTo>
                      <a:pt x="7319476" y="4491129"/>
                    </a:lnTo>
                    <a:lnTo>
                      <a:pt x="7350663" y="4465331"/>
                    </a:lnTo>
                    <a:lnTo>
                      <a:pt x="7374023" y="4441542"/>
                    </a:lnTo>
                    <a:lnTo>
                      <a:pt x="7400752" y="4418380"/>
                    </a:lnTo>
                    <a:lnTo>
                      <a:pt x="7418670" y="4389159"/>
                    </a:lnTo>
                    <a:lnTo>
                      <a:pt x="7414588" y="4348350"/>
                    </a:lnTo>
                    <a:lnTo>
                      <a:pt x="7393333" y="4322181"/>
                    </a:lnTo>
                    <a:lnTo>
                      <a:pt x="7370561" y="4306511"/>
                    </a:lnTo>
                    <a:lnTo>
                      <a:pt x="7347940" y="4298023"/>
                    </a:lnTo>
                    <a:lnTo>
                      <a:pt x="7328505" y="4289280"/>
                    </a:lnTo>
                    <a:lnTo>
                      <a:pt x="7307401" y="4273801"/>
                    </a:lnTo>
                    <a:lnTo>
                      <a:pt x="7305383" y="4252914"/>
                    </a:lnTo>
                    <a:lnTo>
                      <a:pt x="7311213" y="4232734"/>
                    </a:lnTo>
                    <a:lnTo>
                      <a:pt x="7327535" y="4206889"/>
                    </a:lnTo>
                    <a:lnTo>
                      <a:pt x="7342235" y="4191634"/>
                    </a:lnTo>
                    <a:lnTo>
                      <a:pt x="7359085" y="4178617"/>
                    </a:lnTo>
                    <a:lnTo>
                      <a:pt x="7377861" y="4167445"/>
                    </a:lnTo>
                    <a:lnTo>
                      <a:pt x="7384667" y="4137525"/>
                    </a:lnTo>
                    <a:lnTo>
                      <a:pt x="7380901" y="4115569"/>
                    </a:lnTo>
                    <a:lnTo>
                      <a:pt x="7372104" y="4094181"/>
                    </a:lnTo>
                    <a:lnTo>
                      <a:pt x="7360180" y="4074952"/>
                    </a:lnTo>
                    <a:lnTo>
                      <a:pt x="7345038" y="4059131"/>
                    </a:lnTo>
                    <a:lnTo>
                      <a:pt x="7324185" y="4047153"/>
                    </a:lnTo>
                    <a:lnTo>
                      <a:pt x="7304414" y="4039589"/>
                    </a:lnTo>
                    <a:lnTo>
                      <a:pt x="7281292" y="4028708"/>
                    </a:lnTo>
                    <a:lnTo>
                      <a:pt x="7260888" y="4013744"/>
                    </a:lnTo>
                    <a:lnTo>
                      <a:pt x="7245699" y="3997772"/>
                    </a:lnTo>
                    <a:lnTo>
                      <a:pt x="7232925" y="3978599"/>
                    </a:lnTo>
                    <a:lnTo>
                      <a:pt x="7222801" y="3959335"/>
                    </a:lnTo>
                    <a:lnTo>
                      <a:pt x="7209421" y="3936095"/>
                    </a:lnTo>
                    <a:lnTo>
                      <a:pt x="7195374" y="3911839"/>
                    </a:lnTo>
                    <a:lnTo>
                      <a:pt x="7181992" y="3889964"/>
                    </a:lnTo>
                    <a:lnTo>
                      <a:pt x="7167497" y="3872164"/>
                    </a:lnTo>
                    <a:lnTo>
                      <a:pt x="7143597" y="3856126"/>
                    </a:lnTo>
                    <a:lnTo>
                      <a:pt x="7104463" y="3843721"/>
                    </a:lnTo>
                    <a:lnTo>
                      <a:pt x="7065395" y="3835200"/>
                    </a:lnTo>
                    <a:lnTo>
                      <a:pt x="7026557" y="3830478"/>
                    </a:lnTo>
                    <a:lnTo>
                      <a:pt x="6990206" y="3824675"/>
                    </a:lnTo>
                    <a:lnTo>
                      <a:pt x="6956420" y="3817374"/>
                    </a:lnTo>
                    <a:lnTo>
                      <a:pt x="6932322" y="3804019"/>
                    </a:lnTo>
                    <a:lnTo>
                      <a:pt x="6912676" y="3790671"/>
                    </a:lnTo>
                    <a:lnTo>
                      <a:pt x="6891526" y="3778438"/>
                    </a:lnTo>
                    <a:lnTo>
                      <a:pt x="6871260" y="3764820"/>
                    </a:lnTo>
                    <a:lnTo>
                      <a:pt x="6851469" y="3751227"/>
                    </a:lnTo>
                    <a:lnTo>
                      <a:pt x="6830715" y="3738552"/>
                    </a:lnTo>
                    <a:lnTo>
                      <a:pt x="6806769" y="3731166"/>
                    </a:lnTo>
                    <a:lnTo>
                      <a:pt x="6756252" y="3721307"/>
                    </a:lnTo>
                    <a:lnTo>
                      <a:pt x="6735847" y="3696826"/>
                    </a:lnTo>
                    <a:lnTo>
                      <a:pt x="6726291" y="3675221"/>
                    </a:lnTo>
                    <a:lnTo>
                      <a:pt x="6720923" y="3653135"/>
                    </a:lnTo>
                    <a:lnTo>
                      <a:pt x="6720890" y="3631531"/>
                    </a:lnTo>
                    <a:lnTo>
                      <a:pt x="6727096" y="3611454"/>
                    </a:lnTo>
                    <a:lnTo>
                      <a:pt x="6749261" y="3586031"/>
                    </a:lnTo>
                    <a:lnTo>
                      <a:pt x="6767390" y="3573171"/>
                    </a:lnTo>
                    <a:lnTo>
                      <a:pt x="6780739" y="3554000"/>
                    </a:lnTo>
                    <a:lnTo>
                      <a:pt x="6782097" y="3529520"/>
                    </a:lnTo>
                    <a:lnTo>
                      <a:pt x="6756252" y="3507757"/>
                    </a:lnTo>
                    <a:lnTo>
                      <a:pt x="6731719" y="3492200"/>
                    </a:lnTo>
                    <a:lnTo>
                      <a:pt x="6704614" y="3479788"/>
                    </a:lnTo>
                    <a:lnTo>
                      <a:pt x="6678722" y="3472388"/>
                    </a:lnTo>
                    <a:lnTo>
                      <a:pt x="6654414" y="3467680"/>
                    </a:lnTo>
                    <a:lnTo>
                      <a:pt x="6633824" y="3481904"/>
                    </a:lnTo>
                    <a:lnTo>
                      <a:pt x="6629755" y="3510474"/>
                    </a:lnTo>
                    <a:lnTo>
                      <a:pt x="6633824" y="3540395"/>
                    </a:lnTo>
                    <a:lnTo>
                      <a:pt x="6635182" y="3568958"/>
                    </a:lnTo>
                    <a:lnTo>
                      <a:pt x="6620225" y="3593445"/>
                    </a:lnTo>
                    <a:lnTo>
                      <a:pt x="6586710" y="3604385"/>
                    </a:lnTo>
                    <a:lnTo>
                      <a:pt x="6564459" y="3597520"/>
                    </a:lnTo>
                    <a:lnTo>
                      <a:pt x="6542207" y="3590654"/>
                    </a:lnTo>
                    <a:lnTo>
                      <a:pt x="6517503" y="3577525"/>
                    </a:lnTo>
                    <a:lnTo>
                      <a:pt x="6492363" y="3564876"/>
                    </a:lnTo>
                    <a:lnTo>
                      <a:pt x="6467224" y="3552227"/>
                    </a:lnTo>
                    <a:lnTo>
                      <a:pt x="6441596" y="3540620"/>
                    </a:lnTo>
                    <a:lnTo>
                      <a:pt x="6418916" y="3534947"/>
                    </a:lnTo>
                    <a:lnTo>
                      <a:pt x="6396236" y="3529276"/>
                    </a:lnTo>
                    <a:lnTo>
                      <a:pt x="6361784" y="3544471"/>
                    </a:lnTo>
                    <a:lnTo>
                      <a:pt x="6347368" y="3577273"/>
                    </a:lnTo>
                    <a:lnTo>
                      <a:pt x="6354444" y="3617766"/>
                    </a:lnTo>
                    <a:lnTo>
                      <a:pt x="6362991" y="3640604"/>
                    </a:lnTo>
                    <a:lnTo>
                      <a:pt x="6371308" y="3662809"/>
                    </a:lnTo>
                    <a:lnTo>
                      <a:pt x="6379623" y="3685014"/>
                    </a:lnTo>
                    <a:lnTo>
                      <a:pt x="6387722" y="3707002"/>
                    </a:lnTo>
                    <a:lnTo>
                      <a:pt x="6388988" y="3728098"/>
                    </a:lnTo>
                    <a:lnTo>
                      <a:pt x="6390255" y="3749196"/>
                    </a:lnTo>
                    <a:lnTo>
                      <a:pt x="6384827" y="3769673"/>
                    </a:lnTo>
                    <a:lnTo>
                      <a:pt x="6367225" y="3786589"/>
                    </a:lnTo>
                    <a:lnTo>
                      <a:pt x="6350777" y="3799885"/>
                    </a:lnTo>
                    <a:lnTo>
                      <a:pt x="6324233" y="3795499"/>
                    </a:lnTo>
                    <a:lnTo>
                      <a:pt x="6297135" y="3779591"/>
                    </a:lnTo>
                    <a:lnTo>
                      <a:pt x="6271586" y="3764279"/>
                    </a:lnTo>
                    <a:lnTo>
                      <a:pt x="6243498" y="3760434"/>
                    </a:lnTo>
                    <a:lnTo>
                      <a:pt x="6213624" y="3774145"/>
                    </a:lnTo>
                    <a:lnTo>
                      <a:pt x="6191761" y="3808352"/>
                    </a:lnTo>
                    <a:lnTo>
                      <a:pt x="6175432" y="3848449"/>
                    </a:lnTo>
                    <a:lnTo>
                      <a:pt x="6168639" y="3869559"/>
                    </a:lnTo>
                    <a:lnTo>
                      <a:pt x="6161840" y="3890670"/>
                    </a:lnTo>
                    <a:lnTo>
                      <a:pt x="6154553" y="3910765"/>
                    </a:lnTo>
                    <a:lnTo>
                      <a:pt x="6131036" y="3945342"/>
                    </a:lnTo>
                    <a:lnTo>
                      <a:pt x="6114284" y="3959151"/>
                    </a:lnTo>
                    <a:lnTo>
                      <a:pt x="6089744" y="3966135"/>
                    </a:lnTo>
                    <a:lnTo>
                      <a:pt x="6052319" y="3956309"/>
                    </a:lnTo>
                    <a:lnTo>
                      <a:pt x="6021072" y="3943324"/>
                    </a:lnTo>
                    <a:lnTo>
                      <a:pt x="5995893" y="3925333"/>
                    </a:lnTo>
                    <a:lnTo>
                      <a:pt x="5976378" y="3903912"/>
                    </a:lnTo>
                    <a:lnTo>
                      <a:pt x="5963716" y="3873299"/>
                    </a:lnTo>
                    <a:lnTo>
                      <a:pt x="5957807" y="3832839"/>
                    </a:lnTo>
                    <a:lnTo>
                      <a:pt x="5957807" y="3805635"/>
                    </a:lnTo>
                    <a:lnTo>
                      <a:pt x="5960524" y="3782507"/>
                    </a:lnTo>
                    <a:lnTo>
                      <a:pt x="5968689" y="3760751"/>
                    </a:lnTo>
                    <a:lnTo>
                      <a:pt x="5985011" y="3738981"/>
                    </a:lnTo>
                    <a:lnTo>
                      <a:pt x="6017056" y="3718966"/>
                    </a:lnTo>
                    <a:lnTo>
                      <a:pt x="6043494" y="3714501"/>
                    </a:lnTo>
                    <a:lnTo>
                      <a:pt x="6069940" y="3710036"/>
                    </a:lnTo>
                    <a:lnTo>
                      <a:pt x="6101682" y="3707470"/>
                    </a:lnTo>
                    <a:lnTo>
                      <a:pt x="6133271" y="3704977"/>
                    </a:lnTo>
                    <a:lnTo>
                      <a:pt x="6164861" y="3702484"/>
                    </a:lnTo>
                    <a:lnTo>
                      <a:pt x="6195705" y="3699371"/>
                    </a:lnTo>
                    <a:lnTo>
                      <a:pt x="6221682" y="3692738"/>
                    </a:lnTo>
                    <a:lnTo>
                      <a:pt x="6247659" y="3686102"/>
                    </a:lnTo>
                    <a:lnTo>
                      <a:pt x="6267847" y="3676988"/>
                    </a:lnTo>
                    <a:lnTo>
                      <a:pt x="6279262" y="3653273"/>
                    </a:lnTo>
                    <a:lnTo>
                      <a:pt x="6277303" y="3628734"/>
                    </a:lnTo>
                    <a:lnTo>
                      <a:pt x="6265209" y="3608402"/>
                    </a:lnTo>
                    <a:lnTo>
                      <a:pt x="6233540" y="3593082"/>
                    </a:lnTo>
                    <a:lnTo>
                      <a:pt x="6177451" y="3585814"/>
                    </a:lnTo>
                    <a:lnTo>
                      <a:pt x="6142596" y="3554969"/>
                    </a:lnTo>
                    <a:lnTo>
                      <a:pt x="6128338" y="3525563"/>
                    </a:lnTo>
                    <a:lnTo>
                      <a:pt x="6108784" y="3505033"/>
                    </a:lnTo>
                    <a:lnTo>
                      <a:pt x="6088419" y="3486040"/>
                    </a:lnTo>
                    <a:lnTo>
                      <a:pt x="6061142" y="3480493"/>
                    </a:lnTo>
                    <a:lnTo>
                      <a:pt x="6024448" y="3492786"/>
                    </a:lnTo>
                    <a:lnTo>
                      <a:pt x="6004703" y="3502349"/>
                    </a:lnTo>
                    <a:lnTo>
                      <a:pt x="5988658" y="3521243"/>
                    </a:lnTo>
                    <a:lnTo>
                      <a:pt x="5974123" y="3540395"/>
                    </a:lnTo>
                    <a:lnTo>
                      <a:pt x="5959588" y="3559540"/>
                    </a:lnTo>
                    <a:lnTo>
                      <a:pt x="5946378" y="3579035"/>
                    </a:lnTo>
                    <a:lnTo>
                      <a:pt x="5927879" y="3590721"/>
                    </a:lnTo>
                    <a:lnTo>
                      <a:pt x="5893869" y="3583915"/>
                    </a:lnTo>
                    <a:lnTo>
                      <a:pt x="5885764" y="3554428"/>
                    </a:lnTo>
                    <a:lnTo>
                      <a:pt x="5891093" y="3518190"/>
                    </a:lnTo>
                    <a:lnTo>
                      <a:pt x="5904751" y="3479182"/>
                    </a:lnTo>
                    <a:lnTo>
                      <a:pt x="5919490" y="3439144"/>
                    </a:lnTo>
                    <a:lnTo>
                      <a:pt x="5939018" y="3398249"/>
                    </a:lnTo>
                    <a:lnTo>
                      <a:pt x="5944195" y="3373083"/>
                    </a:lnTo>
                    <a:lnTo>
                      <a:pt x="5949662" y="3346564"/>
                    </a:lnTo>
                    <a:lnTo>
                      <a:pt x="5925624" y="3321148"/>
                    </a:lnTo>
                    <a:lnTo>
                      <a:pt x="5931955" y="3294195"/>
                    </a:lnTo>
                    <a:lnTo>
                      <a:pt x="5937521" y="3270539"/>
                    </a:lnTo>
                    <a:lnTo>
                      <a:pt x="5985070" y="3157324"/>
                    </a:lnTo>
                    <a:lnTo>
                      <a:pt x="5971406" y="3136410"/>
                    </a:lnTo>
                    <a:lnTo>
                      <a:pt x="5949999" y="3134993"/>
                    </a:lnTo>
                    <a:lnTo>
                      <a:pt x="5920849" y="3145466"/>
                    </a:lnTo>
                    <a:lnTo>
                      <a:pt x="5893869" y="3159539"/>
                    </a:lnTo>
                    <a:lnTo>
                      <a:pt x="5866890" y="3173599"/>
                    </a:lnTo>
                    <a:lnTo>
                      <a:pt x="5841783" y="3191326"/>
                    </a:lnTo>
                    <a:lnTo>
                      <a:pt x="5827222" y="3207141"/>
                    </a:lnTo>
                    <a:lnTo>
                      <a:pt x="5792961" y="3239615"/>
                    </a:lnTo>
                    <a:lnTo>
                      <a:pt x="5791859" y="3266990"/>
                    </a:lnTo>
                    <a:lnTo>
                      <a:pt x="5779487" y="3293007"/>
                    </a:lnTo>
                    <a:lnTo>
                      <a:pt x="5760573" y="3336361"/>
                    </a:lnTo>
                    <a:lnTo>
                      <a:pt x="5757724" y="3358343"/>
                    </a:lnTo>
                    <a:lnTo>
                      <a:pt x="5759057" y="3381840"/>
                    </a:lnTo>
                    <a:lnTo>
                      <a:pt x="5756497" y="3404368"/>
                    </a:lnTo>
                    <a:lnTo>
                      <a:pt x="5753938" y="3426903"/>
                    </a:lnTo>
                    <a:lnTo>
                      <a:pt x="5747733" y="3449089"/>
                    </a:lnTo>
                    <a:lnTo>
                      <a:pt x="5730652" y="3466941"/>
                    </a:lnTo>
                    <a:lnTo>
                      <a:pt x="5699366" y="3469658"/>
                    </a:lnTo>
                    <a:lnTo>
                      <a:pt x="5678051" y="3473852"/>
                    </a:lnTo>
                    <a:lnTo>
                      <a:pt x="5649970" y="3466823"/>
                    </a:lnTo>
                    <a:lnTo>
                      <a:pt x="5631359" y="3446529"/>
                    </a:lnTo>
                    <a:lnTo>
                      <a:pt x="5620874" y="3421100"/>
                    </a:lnTo>
                    <a:lnTo>
                      <a:pt x="5615610" y="3374982"/>
                    </a:lnTo>
                    <a:lnTo>
                      <a:pt x="5618921" y="3339362"/>
                    </a:lnTo>
                    <a:lnTo>
                      <a:pt x="5610955" y="3315950"/>
                    </a:lnTo>
                    <a:lnTo>
                      <a:pt x="5559436" y="3228371"/>
                    </a:lnTo>
                    <a:lnTo>
                      <a:pt x="5547024" y="3211217"/>
                    </a:lnTo>
                    <a:lnTo>
                      <a:pt x="5548382" y="3164967"/>
                    </a:lnTo>
                    <a:lnTo>
                      <a:pt x="5570145" y="3136404"/>
                    </a:lnTo>
                    <a:lnTo>
                      <a:pt x="5602790" y="3124165"/>
                    </a:lnTo>
                    <a:lnTo>
                      <a:pt x="5616857" y="3099236"/>
                    </a:lnTo>
                    <a:lnTo>
                      <a:pt x="5609589" y="3073839"/>
                    </a:lnTo>
                    <a:lnTo>
                      <a:pt x="5596795" y="3052834"/>
                    </a:lnTo>
                    <a:lnTo>
                      <a:pt x="5562119" y="3041154"/>
                    </a:lnTo>
                    <a:lnTo>
                      <a:pt x="5536821" y="3033564"/>
                    </a:lnTo>
                    <a:lnTo>
                      <a:pt x="5513021" y="3024872"/>
                    </a:lnTo>
                    <a:lnTo>
                      <a:pt x="5489213" y="3016179"/>
                    </a:lnTo>
                    <a:lnTo>
                      <a:pt x="5466190" y="3006135"/>
                    </a:lnTo>
                    <a:lnTo>
                      <a:pt x="5443649" y="2993585"/>
                    </a:lnTo>
                    <a:lnTo>
                      <a:pt x="5426172" y="2978713"/>
                    </a:lnTo>
                    <a:lnTo>
                      <a:pt x="5406717" y="2951332"/>
                    </a:lnTo>
                    <a:lnTo>
                      <a:pt x="5385159" y="2920138"/>
                    </a:lnTo>
                    <a:lnTo>
                      <a:pt x="5359992" y="2891576"/>
                    </a:lnTo>
                    <a:lnTo>
                      <a:pt x="5331436" y="2875247"/>
                    </a:lnTo>
                    <a:lnTo>
                      <a:pt x="5298106" y="2877970"/>
                    </a:lnTo>
                    <a:lnTo>
                      <a:pt x="5262144" y="2904073"/>
                    </a:lnTo>
                    <a:lnTo>
                      <a:pt x="5240736" y="2917090"/>
                    </a:lnTo>
                    <a:lnTo>
                      <a:pt x="5220576" y="2928296"/>
                    </a:lnTo>
                    <a:lnTo>
                      <a:pt x="5200409" y="2939506"/>
                    </a:lnTo>
                    <a:lnTo>
                      <a:pt x="5163444" y="2952775"/>
                    </a:lnTo>
                    <a:lnTo>
                      <a:pt x="5126420" y="2955302"/>
                    </a:lnTo>
                    <a:lnTo>
                      <a:pt x="5088942" y="2939374"/>
                    </a:lnTo>
                    <a:lnTo>
                      <a:pt x="5070067" y="2924220"/>
                    </a:lnTo>
                    <a:lnTo>
                      <a:pt x="5049188" y="2899733"/>
                    </a:lnTo>
                    <a:lnTo>
                      <a:pt x="5035589" y="2882052"/>
                    </a:lnTo>
                    <a:lnTo>
                      <a:pt x="5023349" y="2860289"/>
                    </a:lnTo>
                    <a:lnTo>
                      <a:pt x="5013825" y="2837160"/>
                    </a:lnTo>
                    <a:lnTo>
                      <a:pt x="5011109" y="2814039"/>
                    </a:lnTo>
                    <a:lnTo>
                      <a:pt x="5009750" y="2770512"/>
                    </a:lnTo>
                    <a:lnTo>
                      <a:pt x="5008392" y="2726986"/>
                    </a:lnTo>
                    <a:lnTo>
                      <a:pt x="4999073" y="2701998"/>
                    </a:lnTo>
                    <a:lnTo>
                      <a:pt x="4968736" y="2675803"/>
                    </a:lnTo>
                    <a:lnTo>
                      <a:pt x="4948048" y="2662382"/>
                    </a:lnTo>
                    <a:lnTo>
                      <a:pt x="4926780" y="2650815"/>
                    </a:lnTo>
                    <a:lnTo>
                      <a:pt x="4884236" y="2627686"/>
                    </a:lnTo>
                    <a:lnTo>
                      <a:pt x="4837484" y="2610777"/>
                    </a:lnTo>
                    <a:lnTo>
                      <a:pt x="4812523" y="2599130"/>
                    </a:lnTo>
                    <a:lnTo>
                      <a:pt x="4787271" y="2577282"/>
                    </a:lnTo>
                    <a:lnTo>
                      <a:pt x="4768357" y="2543437"/>
                    </a:lnTo>
                    <a:lnTo>
                      <a:pt x="4758115" y="2514796"/>
                    </a:lnTo>
                    <a:lnTo>
                      <a:pt x="4757917" y="2483074"/>
                    </a:lnTo>
                    <a:lnTo>
                      <a:pt x="4763555" y="2456305"/>
                    </a:lnTo>
                    <a:lnTo>
                      <a:pt x="4801371" y="2430737"/>
                    </a:lnTo>
                    <a:lnTo>
                      <a:pt x="4826102" y="2430954"/>
                    </a:lnTo>
                    <a:lnTo>
                      <a:pt x="4850608" y="2437266"/>
                    </a:lnTo>
                    <a:lnTo>
                      <a:pt x="4875108" y="2443577"/>
                    </a:lnTo>
                    <a:lnTo>
                      <a:pt x="4899022" y="2457077"/>
                    </a:lnTo>
                    <a:lnTo>
                      <a:pt x="4922698" y="2469910"/>
                    </a:lnTo>
                    <a:lnTo>
                      <a:pt x="4946373" y="2482737"/>
                    </a:lnTo>
                    <a:lnTo>
                      <a:pt x="4970345" y="2494964"/>
                    </a:lnTo>
                    <a:lnTo>
                      <a:pt x="4994786" y="2502555"/>
                    </a:lnTo>
                    <a:lnTo>
                      <a:pt x="5019234" y="2510159"/>
                    </a:lnTo>
                    <a:lnTo>
                      <a:pt x="5044142" y="2513331"/>
                    </a:lnTo>
                    <a:lnTo>
                      <a:pt x="5070958" y="2503914"/>
                    </a:lnTo>
                    <a:lnTo>
                      <a:pt x="5087280" y="2485646"/>
                    </a:lnTo>
                    <a:lnTo>
                      <a:pt x="5102277" y="2464503"/>
                    </a:lnTo>
                    <a:lnTo>
                      <a:pt x="5110408" y="2442705"/>
                    </a:lnTo>
                    <a:lnTo>
                      <a:pt x="5109050" y="2419578"/>
                    </a:lnTo>
                    <a:lnTo>
                      <a:pt x="5096005" y="2396832"/>
                    </a:lnTo>
                    <a:lnTo>
                      <a:pt x="5084563" y="2376058"/>
                    </a:lnTo>
                    <a:lnTo>
                      <a:pt x="5078581" y="2352759"/>
                    </a:lnTo>
                    <a:lnTo>
                      <a:pt x="5076932" y="2328621"/>
                    </a:lnTo>
                    <a:lnTo>
                      <a:pt x="5077763" y="2303962"/>
                    </a:lnTo>
                    <a:lnTo>
                      <a:pt x="5078423" y="2279343"/>
                    </a:lnTo>
                    <a:lnTo>
                      <a:pt x="5077104" y="2255134"/>
                    </a:lnTo>
                    <a:lnTo>
                      <a:pt x="5072323" y="2231873"/>
                    </a:lnTo>
                    <a:lnTo>
                      <a:pt x="5063756" y="2211944"/>
                    </a:lnTo>
                    <a:lnTo>
                      <a:pt x="5052076" y="2189936"/>
                    </a:lnTo>
                    <a:lnTo>
                      <a:pt x="5033597" y="2174517"/>
                    </a:lnTo>
                    <a:lnTo>
                      <a:pt x="5009757" y="2163860"/>
                    </a:lnTo>
                    <a:lnTo>
                      <a:pt x="4986885" y="2158684"/>
                    </a:lnTo>
                    <a:lnTo>
                      <a:pt x="4964621" y="2158155"/>
                    </a:lnTo>
                    <a:lnTo>
                      <a:pt x="4943109" y="2158419"/>
                    </a:lnTo>
                    <a:lnTo>
                      <a:pt x="4919051" y="2155610"/>
                    </a:lnTo>
                    <a:lnTo>
                      <a:pt x="4894306" y="2143786"/>
                    </a:lnTo>
                    <a:lnTo>
                      <a:pt x="4872985" y="2130332"/>
                    </a:lnTo>
                    <a:lnTo>
                      <a:pt x="4849777" y="2116516"/>
                    </a:lnTo>
                    <a:lnTo>
                      <a:pt x="4828753" y="2109149"/>
                    </a:lnTo>
                    <a:lnTo>
                      <a:pt x="4798021" y="2119232"/>
                    </a:lnTo>
                    <a:lnTo>
                      <a:pt x="4772630" y="2137778"/>
                    </a:lnTo>
                    <a:lnTo>
                      <a:pt x="4747240" y="2159791"/>
                    </a:lnTo>
                    <a:lnTo>
                      <a:pt x="4725128" y="2180743"/>
                    </a:lnTo>
                    <a:lnTo>
                      <a:pt x="4706780" y="2195958"/>
                    </a:lnTo>
                    <a:lnTo>
                      <a:pt x="4685551" y="2197646"/>
                    </a:lnTo>
                    <a:lnTo>
                      <a:pt x="4669565" y="2182385"/>
                    </a:lnTo>
                    <a:lnTo>
                      <a:pt x="4657463" y="2163867"/>
                    </a:lnTo>
                    <a:lnTo>
                      <a:pt x="4641906" y="2136056"/>
                    </a:lnTo>
                    <a:lnTo>
                      <a:pt x="4635469" y="2113608"/>
                    </a:lnTo>
                    <a:lnTo>
                      <a:pt x="4630497" y="2072666"/>
                    </a:lnTo>
                    <a:lnTo>
                      <a:pt x="4635700" y="2037371"/>
                    </a:lnTo>
                    <a:lnTo>
                      <a:pt x="4641589" y="2003459"/>
                    </a:lnTo>
                    <a:lnTo>
                      <a:pt x="4643410" y="1967907"/>
                    </a:lnTo>
                    <a:lnTo>
                      <a:pt x="4632977" y="1927196"/>
                    </a:lnTo>
                    <a:lnTo>
                      <a:pt x="4624594" y="1905769"/>
                    </a:lnTo>
                    <a:lnTo>
                      <a:pt x="4613244" y="1881177"/>
                    </a:lnTo>
                    <a:lnTo>
                      <a:pt x="4607138" y="1859183"/>
                    </a:lnTo>
                    <a:lnTo>
                      <a:pt x="4606808" y="1824704"/>
                    </a:lnTo>
                    <a:lnTo>
                      <a:pt x="4629198" y="1798456"/>
                    </a:lnTo>
                    <a:lnTo>
                      <a:pt x="4662904" y="1772129"/>
                    </a:lnTo>
                    <a:lnTo>
                      <a:pt x="4679787" y="1757364"/>
                    </a:lnTo>
                    <a:lnTo>
                      <a:pt x="4696294" y="1738747"/>
                    </a:lnTo>
                    <a:lnTo>
                      <a:pt x="4707789" y="1713640"/>
                    </a:lnTo>
                    <a:lnTo>
                      <a:pt x="4719284" y="1688539"/>
                    </a:lnTo>
                    <a:lnTo>
                      <a:pt x="4725028" y="1657115"/>
                    </a:lnTo>
                    <a:lnTo>
                      <a:pt x="4720029" y="1612989"/>
                    </a:lnTo>
                    <a:lnTo>
                      <a:pt x="4714589" y="1578985"/>
                    </a:lnTo>
                    <a:lnTo>
                      <a:pt x="4708125" y="1545055"/>
                    </a:lnTo>
                    <a:lnTo>
                      <a:pt x="4699288" y="1509541"/>
                    </a:lnTo>
                    <a:lnTo>
                      <a:pt x="4688750" y="1478327"/>
                    </a:lnTo>
                    <a:lnTo>
                      <a:pt x="4677868" y="1454136"/>
                    </a:lnTo>
                    <a:lnTo>
                      <a:pt x="4655485" y="1439530"/>
                    </a:lnTo>
                    <a:lnTo>
                      <a:pt x="4624436" y="1434998"/>
                    </a:lnTo>
                    <a:lnTo>
                      <a:pt x="4603438" y="1431893"/>
                    </a:lnTo>
                    <a:lnTo>
                      <a:pt x="4577243" y="1420667"/>
                    </a:lnTo>
                    <a:lnTo>
                      <a:pt x="4564310" y="1390133"/>
                    </a:lnTo>
                    <a:lnTo>
                      <a:pt x="4559529" y="1358637"/>
                    </a:lnTo>
                    <a:lnTo>
                      <a:pt x="4554596" y="1324132"/>
                    </a:lnTo>
                    <a:lnTo>
                      <a:pt x="4550864" y="1287049"/>
                    </a:lnTo>
                    <a:lnTo>
                      <a:pt x="4547289" y="1249820"/>
                    </a:lnTo>
                    <a:lnTo>
                      <a:pt x="4543279" y="1215394"/>
                    </a:lnTo>
                    <a:lnTo>
                      <a:pt x="4537766" y="1186674"/>
                    </a:lnTo>
                    <a:lnTo>
                      <a:pt x="4524161" y="1155969"/>
                    </a:lnTo>
                    <a:lnTo>
                      <a:pt x="4511518" y="1127011"/>
                    </a:lnTo>
                    <a:lnTo>
                      <a:pt x="4508247" y="1081847"/>
                    </a:lnTo>
                    <a:lnTo>
                      <a:pt x="4519063" y="1057624"/>
                    </a:lnTo>
                    <a:lnTo>
                      <a:pt x="4530967" y="1037628"/>
                    </a:lnTo>
                    <a:lnTo>
                      <a:pt x="4542863" y="1017633"/>
                    </a:lnTo>
                    <a:lnTo>
                      <a:pt x="4555447" y="981863"/>
                    </a:lnTo>
                    <a:lnTo>
                      <a:pt x="4555974" y="959843"/>
                    </a:lnTo>
                    <a:lnTo>
                      <a:pt x="4529602" y="936971"/>
                    </a:lnTo>
                    <a:lnTo>
                      <a:pt x="4508307" y="903885"/>
                    </a:lnTo>
                    <a:lnTo>
                      <a:pt x="4495684" y="856974"/>
                    </a:lnTo>
                    <a:lnTo>
                      <a:pt x="4483358" y="819997"/>
                    </a:lnTo>
                    <a:lnTo>
                      <a:pt x="4472562" y="787589"/>
                    </a:lnTo>
                    <a:lnTo>
                      <a:pt x="4461213" y="746846"/>
                    </a:lnTo>
                    <a:lnTo>
                      <a:pt x="4446631" y="716622"/>
                    </a:lnTo>
                    <a:lnTo>
                      <a:pt x="4421445" y="664443"/>
                    </a:lnTo>
                    <a:lnTo>
                      <a:pt x="4389697" y="614744"/>
                    </a:lnTo>
                    <a:lnTo>
                      <a:pt x="4363660" y="562921"/>
                    </a:lnTo>
                    <a:lnTo>
                      <a:pt x="4344278" y="524342"/>
                    </a:lnTo>
                    <a:lnTo>
                      <a:pt x="4331590" y="495218"/>
                    </a:lnTo>
                    <a:lnTo>
                      <a:pt x="4317411" y="467704"/>
                    </a:lnTo>
                    <a:lnTo>
                      <a:pt x="4303232" y="440197"/>
                    </a:lnTo>
                    <a:lnTo>
                      <a:pt x="4286968" y="414530"/>
                    </a:lnTo>
                    <a:lnTo>
                      <a:pt x="4258927" y="380652"/>
                    </a:lnTo>
                    <a:lnTo>
                      <a:pt x="4232402" y="348613"/>
                    </a:lnTo>
                    <a:lnTo>
                      <a:pt x="4208647" y="317373"/>
                    </a:lnTo>
                    <a:lnTo>
                      <a:pt x="4185473" y="285440"/>
                    </a:lnTo>
                    <a:lnTo>
                      <a:pt x="4162305" y="253501"/>
                    </a:lnTo>
                    <a:lnTo>
                      <a:pt x="4139803" y="220619"/>
                    </a:lnTo>
                    <a:lnTo>
                      <a:pt x="4118825" y="184783"/>
                    </a:lnTo>
                    <a:lnTo>
                      <a:pt x="4090869" y="183735"/>
                    </a:lnTo>
                    <a:lnTo>
                      <a:pt x="4065776" y="186149"/>
                    </a:lnTo>
                    <a:lnTo>
                      <a:pt x="4040418" y="180464"/>
                    </a:lnTo>
                    <a:lnTo>
                      <a:pt x="4014969" y="167345"/>
                    </a:lnTo>
                    <a:lnTo>
                      <a:pt x="3989604" y="152145"/>
                    </a:lnTo>
                    <a:lnTo>
                      <a:pt x="3965058" y="137696"/>
                    </a:lnTo>
                    <a:lnTo>
                      <a:pt x="3924314" y="156226"/>
                    </a:lnTo>
                    <a:lnTo>
                      <a:pt x="3877741" y="132017"/>
                    </a:lnTo>
                    <a:lnTo>
                      <a:pt x="3846785" y="104537"/>
                    </a:lnTo>
                    <a:lnTo>
                      <a:pt x="3815829" y="77055"/>
                    </a:lnTo>
                    <a:lnTo>
                      <a:pt x="3784721" y="47661"/>
                    </a:lnTo>
                    <a:lnTo>
                      <a:pt x="3741709" y="20484"/>
                    </a:lnTo>
                    <a:lnTo>
                      <a:pt x="3708134" y="12663"/>
                    </a:lnTo>
                    <a:lnTo>
                      <a:pt x="3676762" y="6601"/>
                    </a:lnTo>
                    <a:lnTo>
                      <a:pt x="3624972" y="0"/>
                    </a:lnTo>
                    <a:lnTo>
                      <a:pt x="3571052" y="15519"/>
                    </a:lnTo>
                    <a:lnTo>
                      <a:pt x="3516328" y="35883"/>
                    </a:lnTo>
                    <a:lnTo>
                      <a:pt x="3460488" y="51493"/>
                    </a:lnTo>
                    <a:lnTo>
                      <a:pt x="3404649" y="67109"/>
                    </a:lnTo>
                    <a:lnTo>
                      <a:pt x="3347689" y="77490"/>
                    </a:lnTo>
                    <a:lnTo>
                      <a:pt x="3306788" y="70532"/>
                    </a:lnTo>
                    <a:lnTo>
                      <a:pt x="3263208" y="57659"/>
                    </a:lnTo>
                    <a:lnTo>
                      <a:pt x="3234699" y="50135"/>
                    </a:lnTo>
                    <a:lnTo>
                      <a:pt x="3206182" y="42604"/>
                    </a:lnTo>
                    <a:lnTo>
                      <a:pt x="3177416" y="38040"/>
                    </a:lnTo>
                    <a:lnTo>
                      <a:pt x="3143867" y="59268"/>
                    </a:lnTo>
                    <a:lnTo>
                      <a:pt x="3121801" y="92303"/>
                    </a:lnTo>
                    <a:lnTo>
                      <a:pt x="3103823" y="128904"/>
                    </a:lnTo>
                    <a:lnTo>
                      <a:pt x="3092414" y="156695"/>
                    </a:lnTo>
                    <a:lnTo>
                      <a:pt x="3079224" y="182705"/>
                    </a:lnTo>
                    <a:lnTo>
                      <a:pt x="3064715" y="222243"/>
                    </a:lnTo>
                    <a:lnTo>
                      <a:pt x="3087224" y="245917"/>
                    </a:lnTo>
                    <a:lnTo>
                      <a:pt x="3105478" y="280006"/>
                    </a:lnTo>
                    <a:lnTo>
                      <a:pt x="3117719" y="307211"/>
                    </a:lnTo>
                    <a:lnTo>
                      <a:pt x="3124168" y="328354"/>
                    </a:lnTo>
                    <a:lnTo>
                      <a:pt x="3127591" y="351357"/>
                    </a:lnTo>
                    <a:lnTo>
                      <a:pt x="3127241" y="376582"/>
                    </a:lnTo>
                    <a:lnTo>
                      <a:pt x="3122849" y="404729"/>
                    </a:lnTo>
                    <a:lnTo>
                      <a:pt x="3110998" y="440282"/>
                    </a:lnTo>
                    <a:lnTo>
                      <a:pt x="3095118" y="459473"/>
                    </a:lnTo>
                    <a:lnTo>
                      <a:pt x="3075551" y="478599"/>
                    </a:lnTo>
                    <a:lnTo>
                      <a:pt x="3055984" y="497723"/>
                    </a:lnTo>
                    <a:lnTo>
                      <a:pt x="3032961" y="516302"/>
                    </a:lnTo>
                    <a:lnTo>
                      <a:pt x="3011620" y="535724"/>
                    </a:lnTo>
                    <a:lnTo>
                      <a:pt x="2990285" y="555152"/>
                    </a:lnTo>
                    <a:lnTo>
                      <a:pt x="2970599" y="575880"/>
                    </a:lnTo>
                    <a:lnTo>
                      <a:pt x="2958576" y="596938"/>
                    </a:lnTo>
                    <a:lnTo>
                      <a:pt x="2946548" y="617995"/>
                    </a:lnTo>
                    <a:lnTo>
                      <a:pt x="2942050" y="639554"/>
                    </a:lnTo>
                    <a:lnTo>
                      <a:pt x="2950413" y="663586"/>
                    </a:lnTo>
                    <a:lnTo>
                      <a:pt x="2964334" y="689589"/>
                    </a:lnTo>
                    <a:lnTo>
                      <a:pt x="2990905" y="711030"/>
                    </a:lnTo>
                    <a:lnTo>
                      <a:pt x="3025225" y="730235"/>
                    </a:lnTo>
                    <a:lnTo>
                      <a:pt x="3060573" y="748905"/>
                    </a:lnTo>
                    <a:lnTo>
                      <a:pt x="3093251" y="768696"/>
                    </a:lnTo>
                    <a:lnTo>
                      <a:pt x="3117719" y="790082"/>
                    </a:lnTo>
                    <a:lnTo>
                      <a:pt x="3118114" y="817333"/>
                    </a:lnTo>
                    <a:lnTo>
                      <a:pt x="3105478" y="854013"/>
                    </a:lnTo>
                    <a:lnTo>
                      <a:pt x="3083135" y="881593"/>
                    </a:lnTo>
                    <a:lnTo>
                      <a:pt x="3054368" y="902606"/>
                    </a:lnTo>
                    <a:lnTo>
                      <a:pt x="3022507" y="923386"/>
                    </a:lnTo>
                    <a:lnTo>
                      <a:pt x="2989771" y="945347"/>
                    </a:lnTo>
                    <a:lnTo>
                      <a:pt x="2974900" y="961472"/>
                    </a:lnTo>
                    <a:lnTo>
                      <a:pt x="2961294" y="985951"/>
                    </a:lnTo>
                    <a:lnTo>
                      <a:pt x="2953136" y="1014514"/>
                    </a:lnTo>
                    <a:lnTo>
                      <a:pt x="2943613" y="1041718"/>
                    </a:lnTo>
                    <a:lnTo>
                      <a:pt x="2924573" y="1062123"/>
                    </a:lnTo>
                    <a:lnTo>
                      <a:pt x="2893267" y="1073538"/>
                    </a:lnTo>
                    <a:lnTo>
                      <a:pt x="2852498" y="1077917"/>
                    </a:lnTo>
                    <a:lnTo>
                      <a:pt x="2829640" y="1078643"/>
                    </a:lnTo>
                    <a:lnTo>
                      <a:pt x="2804876" y="1079804"/>
                    </a:lnTo>
                    <a:lnTo>
                      <a:pt x="2780105" y="1080964"/>
                    </a:lnTo>
                    <a:lnTo>
                      <a:pt x="2752895" y="1082368"/>
                    </a:lnTo>
                    <a:lnTo>
                      <a:pt x="2725981" y="1086602"/>
                    </a:lnTo>
                    <a:lnTo>
                      <a:pt x="2699067" y="1090844"/>
                    </a:lnTo>
                    <a:lnTo>
                      <a:pt x="2672569" y="1096950"/>
                    </a:lnTo>
                    <a:lnTo>
                      <a:pt x="2645728" y="1108367"/>
                    </a:lnTo>
                    <a:lnTo>
                      <a:pt x="2618662" y="1127986"/>
                    </a:lnTo>
                    <a:lnTo>
                      <a:pt x="2607510" y="1156753"/>
                    </a:lnTo>
                    <a:lnTo>
                      <a:pt x="2609007" y="1189977"/>
                    </a:lnTo>
                    <a:lnTo>
                      <a:pt x="2618550" y="1223005"/>
                    </a:lnTo>
                    <a:lnTo>
                      <a:pt x="2634833" y="1249437"/>
                    </a:lnTo>
                    <a:lnTo>
                      <a:pt x="2656616" y="1263432"/>
                    </a:lnTo>
                    <a:lnTo>
                      <a:pt x="2684486" y="1266506"/>
                    </a:lnTo>
                    <a:lnTo>
                      <a:pt x="2713075" y="1252194"/>
                    </a:lnTo>
                    <a:lnTo>
                      <a:pt x="2740945" y="1226705"/>
                    </a:lnTo>
                    <a:lnTo>
                      <a:pt x="2767707" y="1199533"/>
                    </a:lnTo>
                    <a:lnTo>
                      <a:pt x="2793084" y="1174994"/>
                    </a:lnTo>
                    <a:lnTo>
                      <a:pt x="2817116" y="1160057"/>
                    </a:lnTo>
                    <a:lnTo>
                      <a:pt x="2840819" y="1153575"/>
                    </a:lnTo>
                    <a:lnTo>
                      <a:pt x="2859303" y="1167166"/>
                    </a:lnTo>
                    <a:lnTo>
                      <a:pt x="2878330" y="1179104"/>
                    </a:lnTo>
                    <a:lnTo>
                      <a:pt x="2902791" y="1194450"/>
                    </a:lnTo>
                    <a:lnTo>
                      <a:pt x="2917774" y="1222630"/>
                    </a:lnTo>
                    <a:lnTo>
                      <a:pt x="2916053" y="1248699"/>
                    </a:lnTo>
                    <a:lnTo>
                      <a:pt x="2900449" y="1275448"/>
                    </a:lnTo>
                    <a:lnTo>
                      <a:pt x="2881047" y="1302882"/>
                    </a:lnTo>
                    <a:lnTo>
                      <a:pt x="2865509" y="1331043"/>
                    </a:lnTo>
                    <a:lnTo>
                      <a:pt x="2868194" y="1402684"/>
                    </a:lnTo>
                    <a:lnTo>
                      <a:pt x="2876457" y="1459624"/>
                    </a:lnTo>
                    <a:lnTo>
                      <a:pt x="2878330" y="1516432"/>
                    </a:lnTo>
                    <a:lnTo>
                      <a:pt x="2900383" y="1548028"/>
                    </a:lnTo>
                    <a:lnTo>
                      <a:pt x="2935455" y="1558594"/>
                    </a:lnTo>
                    <a:lnTo>
                      <a:pt x="2972110" y="1560335"/>
                    </a:lnTo>
                    <a:lnTo>
                      <a:pt x="3010340" y="1554135"/>
                    </a:lnTo>
                    <a:lnTo>
                      <a:pt x="3048353" y="1543636"/>
                    </a:lnTo>
                    <a:lnTo>
                      <a:pt x="3084671" y="1535386"/>
                    </a:lnTo>
                    <a:lnTo>
                      <a:pt x="3110022" y="1554465"/>
                    </a:lnTo>
                    <a:lnTo>
                      <a:pt x="3128606" y="1584446"/>
                    </a:lnTo>
                    <a:lnTo>
                      <a:pt x="3146043" y="1609507"/>
                    </a:lnTo>
                    <a:lnTo>
                      <a:pt x="3171263" y="1636321"/>
                    </a:lnTo>
                    <a:lnTo>
                      <a:pt x="3193896" y="1659251"/>
                    </a:lnTo>
                    <a:lnTo>
                      <a:pt x="3200214" y="1686297"/>
                    </a:lnTo>
                    <a:lnTo>
                      <a:pt x="3188455" y="1710942"/>
                    </a:lnTo>
                    <a:lnTo>
                      <a:pt x="3176696" y="1735581"/>
                    </a:lnTo>
                    <a:lnTo>
                      <a:pt x="3153542" y="1769610"/>
                    </a:lnTo>
                    <a:lnTo>
                      <a:pt x="3113643" y="1823833"/>
                    </a:lnTo>
                    <a:lnTo>
                      <a:pt x="3096727" y="1839676"/>
                    </a:lnTo>
                    <a:lnTo>
                      <a:pt x="3070710" y="1851532"/>
                    </a:lnTo>
                    <a:lnTo>
                      <a:pt x="3046994" y="1853762"/>
                    </a:lnTo>
                    <a:lnTo>
                      <a:pt x="3024810" y="1839721"/>
                    </a:lnTo>
                    <a:lnTo>
                      <a:pt x="3003884" y="1818835"/>
                    </a:lnTo>
                    <a:lnTo>
                      <a:pt x="2980340" y="1802078"/>
                    </a:lnTo>
                    <a:lnTo>
                      <a:pt x="2953288" y="1791010"/>
                    </a:lnTo>
                    <a:lnTo>
                      <a:pt x="2908983" y="1797408"/>
                    </a:lnTo>
                    <a:lnTo>
                      <a:pt x="2864725" y="1808876"/>
                    </a:lnTo>
                    <a:lnTo>
                      <a:pt x="2820473" y="1820345"/>
                    </a:lnTo>
                    <a:lnTo>
                      <a:pt x="2776122" y="1837756"/>
                    </a:lnTo>
                    <a:lnTo>
                      <a:pt x="2750468" y="1849680"/>
                    </a:lnTo>
                    <a:lnTo>
                      <a:pt x="2729094" y="1860898"/>
                    </a:lnTo>
                    <a:lnTo>
                      <a:pt x="2710364" y="1873751"/>
                    </a:lnTo>
                    <a:lnTo>
                      <a:pt x="2690619" y="1885048"/>
                    </a:lnTo>
                    <a:lnTo>
                      <a:pt x="2657394" y="1904886"/>
                    </a:lnTo>
                    <a:lnTo>
                      <a:pt x="2623193" y="1925060"/>
                    </a:lnTo>
                    <a:lnTo>
                      <a:pt x="2604852" y="1935921"/>
                    </a:lnTo>
                    <a:lnTo>
                      <a:pt x="2569636" y="1953872"/>
                    </a:lnTo>
                    <a:lnTo>
                      <a:pt x="2534195" y="1968018"/>
                    </a:lnTo>
                    <a:lnTo>
                      <a:pt x="2494771" y="1977501"/>
                    </a:lnTo>
                    <a:lnTo>
                      <a:pt x="2463887" y="1979619"/>
                    </a:lnTo>
                    <a:lnTo>
                      <a:pt x="2432026" y="1976091"/>
                    </a:lnTo>
                    <a:lnTo>
                      <a:pt x="2409057" y="1972100"/>
                    </a:lnTo>
                    <a:lnTo>
                      <a:pt x="2387122" y="1969074"/>
                    </a:lnTo>
                    <a:lnTo>
                      <a:pt x="2365708" y="1969706"/>
                    </a:lnTo>
                    <a:lnTo>
                      <a:pt x="2345132" y="1976176"/>
                    </a:lnTo>
                    <a:lnTo>
                      <a:pt x="2314664" y="1990632"/>
                    </a:lnTo>
                    <a:lnTo>
                      <a:pt x="2296165" y="2000663"/>
                    </a:lnTo>
                    <a:lnTo>
                      <a:pt x="2277660" y="2010695"/>
                    </a:lnTo>
                    <a:lnTo>
                      <a:pt x="2258304" y="2022486"/>
                    </a:lnTo>
                    <a:lnTo>
                      <a:pt x="2237675" y="2031949"/>
                    </a:lnTo>
                    <a:lnTo>
                      <a:pt x="2217040" y="2041406"/>
                    </a:lnTo>
                    <a:lnTo>
                      <a:pt x="2195270" y="2049525"/>
                    </a:lnTo>
                    <a:lnTo>
                      <a:pt x="2154942" y="2057893"/>
                    </a:lnTo>
                    <a:lnTo>
                      <a:pt x="2119335" y="2052348"/>
                    </a:lnTo>
                    <a:lnTo>
                      <a:pt x="2081270" y="2039460"/>
                    </a:lnTo>
                    <a:lnTo>
                      <a:pt x="2045592" y="2024919"/>
                    </a:lnTo>
                    <a:lnTo>
                      <a:pt x="2013243" y="2014268"/>
                    </a:lnTo>
                    <a:lnTo>
                      <a:pt x="1980896" y="2003618"/>
                    </a:lnTo>
                    <a:lnTo>
                      <a:pt x="1951687" y="1996034"/>
                    </a:lnTo>
                    <a:lnTo>
                      <a:pt x="1923468" y="1995223"/>
                    </a:lnTo>
                    <a:lnTo>
                      <a:pt x="1895248" y="1994410"/>
                    </a:lnTo>
                    <a:lnTo>
                      <a:pt x="1868901" y="2000346"/>
                    </a:lnTo>
                    <a:lnTo>
                      <a:pt x="1843214" y="2016986"/>
                    </a:lnTo>
                    <a:lnTo>
                      <a:pt x="1817533" y="2033625"/>
                    </a:lnTo>
                    <a:lnTo>
                      <a:pt x="1791786" y="2060994"/>
                    </a:lnTo>
                    <a:lnTo>
                      <a:pt x="1767043" y="2102680"/>
                    </a:lnTo>
                    <a:lnTo>
                      <a:pt x="1756346" y="2120703"/>
                    </a:lnTo>
                    <a:lnTo>
                      <a:pt x="1749362" y="2140766"/>
                    </a:lnTo>
                    <a:lnTo>
                      <a:pt x="1736884" y="2157997"/>
                    </a:lnTo>
                    <a:lnTo>
                      <a:pt x="1715359" y="2169328"/>
                    </a:lnTo>
                    <a:lnTo>
                      <a:pt x="1672960" y="2166980"/>
                    </a:lnTo>
                    <a:lnTo>
                      <a:pt x="1615644" y="2134183"/>
                    </a:lnTo>
                    <a:lnTo>
                      <a:pt x="1560293" y="2110837"/>
                    </a:lnTo>
                    <a:lnTo>
                      <a:pt x="1532620" y="2099165"/>
                    </a:lnTo>
                    <a:lnTo>
                      <a:pt x="1505350" y="2090143"/>
                    </a:lnTo>
                    <a:lnTo>
                      <a:pt x="1481404" y="2087716"/>
                    </a:lnTo>
                    <a:lnTo>
                      <a:pt x="1457458" y="2085289"/>
                    </a:lnTo>
                    <a:lnTo>
                      <a:pt x="1435768" y="2090268"/>
                    </a:lnTo>
                    <a:lnTo>
                      <a:pt x="1420195" y="2106755"/>
                    </a:lnTo>
                    <a:lnTo>
                      <a:pt x="1401705" y="2126336"/>
                    </a:lnTo>
                    <a:lnTo>
                      <a:pt x="1386020" y="2154193"/>
                    </a:lnTo>
                    <a:lnTo>
                      <a:pt x="1369868" y="2176126"/>
                    </a:lnTo>
                    <a:lnTo>
                      <a:pt x="1323556" y="2194823"/>
                    </a:lnTo>
                    <a:lnTo>
                      <a:pt x="1269403" y="2197699"/>
                    </a:lnTo>
                    <a:lnTo>
                      <a:pt x="1220597" y="2203238"/>
                    </a:lnTo>
                    <a:lnTo>
                      <a:pt x="1171277" y="2206055"/>
                    </a:lnTo>
                    <a:lnTo>
                      <a:pt x="1121961" y="2208864"/>
                    </a:lnTo>
                    <a:lnTo>
                      <a:pt x="1071708" y="2208428"/>
                    </a:lnTo>
                    <a:lnTo>
                      <a:pt x="1024377" y="2201979"/>
                    </a:lnTo>
                    <a:lnTo>
                      <a:pt x="936687" y="2190023"/>
                    </a:lnTo>
                    <a:lnTo>
                      <a:pt x="868058" y="2166122"/>
                    </a:lnTo>
                    <a:lnTo>
                      <a:pt x="801304" y="2159811"/>
                    </a:lnTo>
                    <a:lnTo>
                      <a:pt x="767927" y="2156652"/>
                    </a:lnTo>
                    <a:lnTo>
                      <a:pt x="734908" y="2157971"/>
                    </a:lnTo>
                    <a:lnTo>
                      <a:pt x="700650" y="2167969"/>
                    </a:lnTo>
                    <a:lnTo>
                      <a:pt x="666392" y="2177974"/>
                    </a:lnTo>
                    <a:lnTo>
                      <a:pt x="631051" y="2196835"/>
                    </a:lnTo>
                    <a:lnTo>
                      <a:pt x="591834" y="2227818"/>
                    </a:lnTo>
                    <a:lnTo>
                      <a:pt x="551156" y="2267929"/>
                    </a:lnTo>
                    <a:lnTo>
                      <a:pt x="515004" y="2300151"/>
                    </a:lnTo>
                    <a:lnTo>
                      <a:pt x="502901" y="2340155"/>
                    </a:lnTo>
                    <a:lnTo>
                      <a:pt x="495260" y="2381525"/>
                    </a:lnTo>
                    <a:lnTo>
                      <a:pt x="487619" y="2422896"/>
                    </a:lnTo>
                    <a:lnTo>
                      <a:pt x="484146" y="2465808"/>
                    </a:lnTo>
                    <a:lnTo>
                      <a:pt x="478938" y="2494423"/>
                    </a:lnTo>
                    <a:lnTo>
                      <a:pt x="474433" y="2519161"/>
                    </a:lnTo>
                    <a:lnTo>
                      <a:pt x="463295" y="2544518"/>
                    </a:lnTo>
                    <a:lnTo>
                      <a:pt x="455814" y="2567871"/>
                    </a:lnTo>
                    <a:lnTo>
                      <a:pt x="447865" y="2592721"/>
                    </a:lnTo>
                    <a:lnTo>
                      <a:pt x="446399" y="2622153"/>
                    </a:lnTo>
                    <a:lnTo>
                      <a:pt x="431330" y="2644042"/>
                    </a:lnTo>
                    <a:lnTo>
                      <a:pt x="407017" y="2679325"/>
                    </a:lnTo>
                    <a:lnTo>
                      <a:pt x="245691" y="2821577"/>
                    </a:lnTo>
                    <a:lnTo>
                      <a:pt x="205537" y="2852158"/>
                    </a:lnTo>
                    <a:lnTo>
                      <a:pt x="182359" y="2865374"/>
                    </a:lnTo>
                    <a:lnTo>
                      <a:pt x="160059" y="2878471"/>
                    </a:lnTo>
                    <a:lnTo>
                      <a:pt x="143166" y="2894207"/>
                    </a:lnTo>
                    <a:lnTo>
                      <a:pt x="137305" y="2930927"/>
                    </a:lnTo>
                    <a:lnTo>
                      <a:pt x="135267" y="2955375"/>
                    </a:lnTo>
                    <a:lnTo>
                      <a:pt x="133447" y="2980012"/>
                    </a:lnTo>
                    <a:lnTo>
                      <a:pt x="131620" y="3004651"/>
                    </a:lnTo>
                    <a:lnTo>
                      <a:pt x="130631" y="3028822"/>
                    </a:lnTo>
                    <a:lnTo>
                      <a:pt x="128006" y="3053467"/>
                    </a:lnTo>
                    <a:lnTo>
                      <a:pt x="125381" y="3078105"/>
                    </a:lnTo>
                    <a:lnTo>
                      <a:pt x="121116" y="3102552"/>
                    </a:lnTo>
                    <a:lnTo>
                      <a:pt x="117124" y="3126915"/>
                    </a:lnTo>
                    <a:lnTo>
                      <a:pt x="113135" y="3151276"/>
                    </a:lnTo>
                    <a:lnTo>
                      <a:pt x="109442" y="3176554"/>
                    </a:lnTo>
                    <a:lnTo>
                      <a:pt x="103522" y="3200368"/>
                    </a:lnTo>
                    <a:lnTo>
                      <a:pt x="94616" y="3225442"/>
                    </a:lnTo>
                    <a:lnTo>
                      <a:pt x="79785" y="3262341"/>
                    </a:lnTo>
                    <a:lnTo>
                      <a:pt x="70756" y="3284242"/>
                    </a:lnTo>
                    <a:lnTo>
                      <a:pt x="62716" y="3305102"/>
                    </a:lnTo>
                    <a:lnTo>
                      <a:pt x="54677" y="3325962"/>
                    </a:lnTo>
                    <a:lnTo>
                      <a:pt x="48061" y="3346241"/>
                    </a:lnTo>
                    <a:lnTo>
                      <a:pt x="39288" y="3380937"/>
                    </a:lnTo>
                    <a:lnTo>
                      <a:pt x="40956" y="3403036"/>
                    </a:lnTo>
                    <a:lnTo>
                      <a:pt x="63110" y="3421264"/>
                    </a:lnTo>
                    <a:lnTo>
                      <a:pt x="79992" y="3439783"/>
                    </a:lnTo>
                    <a:lnTo>
                      <a:pt x="94004" y="3460161"/>
                    </a:lnTo>
                    <a:lnTo>
                      <a:pt x="108016" y="3480546"/>
                    </a:lnTo>
                    <a:lnTo>
                      <a:pt x="119420" y="3502019"/>
                    </a:lnTo>
                    <a:lnTo>
                      <a:pt x="126649" y="3524092"/>
                    </a:lnTo>
                    <a:lnTo>
                      <a:pt x="141107" y="3568238"/>
                    </a:lnTo>
                    <a:lnTo>
                      <a:pt x="143410" y="3616018"/>
                    </a:lnTo>
                    <a:lnTo>
                      <a:pt x="138891" y="3664194"/>
                    </a:lnTo>
                    <a:lnTo>
                      <a:pt x="134373" y="3712371"/>
                    </a:lnTo>
                    <a:lnTo>
                      <a:pt x="122951" y="3761172"/>
                    </a:lnTo>
                    <a:lnTo>
                      <a:pt x="110326" y="3809737"/>
                    </a:lnTo>
                    <a:lnTo>
                      <a:pt x="97702" y="3858295"/>
                    </a:lnTo>
                    <a:lnTo>
                      <a:pt x="83454" y="3905891"/>
                    </a:lnTo>
                    <a:lnTo>
                      <a:pt x="73601" y="3951192"/>
                    </a:lnTo>
                    <a:lnTo>
                      <a:pt x="66203" y="3986382"/>
                    </a:lnTo>
                    <a:lnTo>
                      <a:pt x="61359" y="4009681"/>
                    </a:lnTo>
                    <a:lnTo>
                      <a:pt x="56519" y="4032982"/>
                    </a:lnTo>
                    <a:lnTo>
                      <a:pt x="50465" y="4058385"/>
                    </a:lnTo>
                    <a:lnTo>
                      <a:pt x="43677" y="4084494"/>
                    </a:lnTo>
                    <a:lnTo>
                      <a:pt x="36888" y="4110604"/>
                    </a:lnTo>
                    <a:lnTo>
                      <a:pt x="29442" y="4136852"/>
                    </a:lnTo>
                    <a:lnTo>
                      <a:pt x="20553" y="4159306"/>
                    </a:lnTo>
                    <a:lnTo>
                      <a:pt x="0" y="4199311"/>
                    </a:lnTo>
                    <a:lnTo>
                      <a:pt x="40966" y="4222908"/>
                    </a:lnTo>
                    <a:lnTo>
                      <a:pt x="87654" y="4237673"/>
                    </a:lnTo>
                    <a:lnTo>
                      <a:pt x="133449" y="4255875"/>
                    </a:lnTo>
                    <a:lnTo>
                      <a:pt x="179244" y="4274085"/>
                    </a:lnTo>
                    <a:lnTo>
                      <a:pt x="224720" y="4295690"/>
                    </a:lnTo>
                    <a:lnTo>
                      <a:pt x="270829" y="4317090"/>
                    </a:lnTo>
                    <a:lnTo>
                      <a:pt x="300488" y="4330860"/>
                    </a:lnTo>
                    <a:lnTo>
                      <a:pt x="320112" y="4355795"/>
                    </a:lnTo>
                    <a:lnTo>
                      <a:pt x="337479" y="4383737"/>
                    </a:lnTo>
                    <a:lnTo>
                      <a:pt x="354845" y="4411680"/>
                    </a:lnTo>
                    <a:lnTo>
                      <a:pt x="370145" y="4441852"/>
                    </a:lnTo>
                    <a:lnTo>
                      <a:pt x="387806" y="4466709"/>
                    </a:lnTo>
                    <a:lnTo>
                      <a:pt x="403725" y="4489072"/>
                    </a:lnTo>
                    <a:lnTo>
                      <a:pt x="426720" y="4507432"/>
                    </a:lnTo>
                    <a:lnTo>
                      <a:pt x="443574" y="4529280"/>
                    </a:lnTo>
                    <a:lnTo>
                      <a:pt x="468759" y="4561965"/>
                    </a:lnTo>
                    <a:lnTo>
                      <a:pt x="484507" y="4595757"/>
                    </a:lnTo>
                    <a:lnTo>
                      <a:pt x="514304" y="4625856"/>
                    </a:lnTo>
                    <a:lnTo>
                      <a:pt x="538634" y="4643077"/>
                    </a:lnTo>
                    <a:lnTo>
                      <a:pt x="566146" y="4646723"/>
                    </a:lnTo>
                    <a:lnTo>
                      <a:pt x="595916" y="4640821"/>
                    </a:lnTo>
                    <a:lnTo>
                      <a:pt x="625445" y="4633507"/>
                    </a:lnTo>
                    <a:lnTo>
                      <a:pt x="654203" y="4619757"/>
                    </a:lnTo>
                    <a:lnTo>
                      <a:pt x="677528" y="4613616"/>
                    </a:lnTo>
                    <a:lnTo>
                      <a:pt x="712468" y="4604391"/>
                    </a:lnTo>
                    <a:lnTo>
                      <a:pt x="776100" y="4611427"/>
                    </a:lnTo>
                    <a:lnTo>
                      <a:pt x="809467" y="4621780"/>
                    </a:lnTo>
                    <a:lnTo>
                      <a:pt x="846915" y="4630387"/>
                    </a:lnTo>
                    <a:lnTo>
                      <a:pt x="873780" y="4655211"/>
                    </a:lnTo>
                    <a:lnTo>
                      <a:pt x="877477" y="4689787"/>
                    </a:lnTo>
                    <a:lnTo>
                      <a:pt x="872617" y="4727913"/>
                    </a:lnTo>
                    <a:lnTo>
                      <a:pt x="867956" y="4749636"/>
                    </a:lnTo>
                    <a:lnTo>
                      <a:pt x="863294" y="4771360"/>
                    </a:lnTo>
                    <a:lnTo>
                      <a:pt x="858879" y="4794060"/>
                    </a:lnTo>
                    <a:lnTo>
                      <a:pt x="858435" y="4816285"/>
                    </a:lnTo>
                    <a:lnTo>
                      <a:pt x="857973" y="4838516"/>
                    </a:lnTo>
                    <a:lnTo>
                      <a:pt x="861053" y="4860497"/>
                    </a:lnTo>
                    <a:lnTo>
                      <a:pt x="873397" y="4880216"/>
                    </a:lnTo>
                    <a:lnTo>
                      <a:pt x="892216" y="4910256"/>
                    </a:lnTo>
                    <a:lnTo>
                      <a:pt x="919118" y="4928154"/>
                    </a:lnTo>
                    <a:lnTo>
                      <a:pt x="946848" y="4944147"/>
                    </a:lnTo>
                    <a:lnTo>
                      <a:pt x="974577" y="4960133"/>
                    </a:lnTo>
                    <a:lnTo>
                      <a:pt x="1004029" y="4974424"/>
                    </a:lnTo>
                    <a:lnTo>
                      <a:pt x="1027099" y="4997196"/>
                    </a:lnTo>
                    <a:lnTo>
                      <a:pt x="1043932" y="5050726"/>
                    </a:lnTo>
                    <a:lnTo>
                      <a:pt x="1065185" y="5076084"/>
                    </a:lnTo>
                    <a:lnTo>
                      <a:pt x="1090104" y="5090804"/>
                    </a:lnTo>
                    <a:lnTo>
                      <a:pt x="1129062" y="5082975"/>
                    </a:lnTo>
                    <a:lnTo>
                      <a:pt x="1171279" y="5086966"/>
                    </a:lnTo>
                    <a:lnTo>
                      <a:pt x="1192390" y="5088958"/>
                    </a:lnTo>
                    <a:lnTo>
                      <a:pt x="1214381" y="5094227"/>
                    </a:lnTo>
                    <a:lnTo>
                      <a:pt x="1235210" y="5106011"/>
                    </a:lnTo>
                    <a:lnTo>
                      <a:pt x="1256038" y="5117790"/>
                    </a:lnTo>
                    <a:lnTo>
                      <a:pt x="1276224" y="5135972"/>
                    </a:lnTo>
                    <a:lnTo>
                      <a:pt x="1293699" y="5165860"/>
                    </a:lnTo>
                    <a:lnTo>
                      <a:pt x="1312347" y="5196117"/>
                    </a:lnTo>
                    <a:lnTo>
                      <a:pt x="1329456" y="5228091"/>
                    </a:lnTo>
                    <a:lnTo>
                      <a:pt x="1338585" y="5262430"/>
                    </a:lnTo>
                    <a:lnTo>
                      <a:pt x="1342806" y="5301815"/>
                    </a:lnTo>
                    <a:lnTo>
                      <a:pt x="1321853" y="5355853"/>
                    </a:lnTo>
                    <a:lnTo>
                      <a:pt x="1310021" y="5406615"/>
                    </a:lnTo>
                    <a:lnTo>
                      <a:pt x="1304105" y="5431991"/>
                    </a:lnTo>
                    <a:lnTo>
                      <a:pt x="1301113" y="5456663"/>
                    </a:lnTo>
                    <a:lnTo>
                      <a:pt x="1303221" y="5478703"/>
                    </a:lnTo>
                    <a:lnTo>
                      <a:pt x="1305324" y="5500744"/>
                    </a:lnTo>
                    <a:lnTo>
                      <a:pt x="1331784" y="5534469"/>
                    </a:lnTo>
                    <a:lnTo>
                      <a:pt x="1357139" y="5548998"/>
                    </a:lnTo>
                    <a:lnTo>
                      <a:pt x="1388041" y="5552592"/>
                    </a:lnTo>
                    <a:lnTo>
                      <a:pt x="1421556" y="5546716"/>
                    </a:lnTo>
                    <a:lnTo>
                      <a:pt x="1453864" y="5538631"/>
                    </a:lnTo>
                    <a:lnTo>
                      <a:pt x="1484214" y="5520983"/>
                    </a:lnTo>
                    <a:lnTo>
                      <a:pt x="1503168" y="5501832"/>
                    </a:lnTo>
                    <a:lnTo>
                      <a:pt x="1522438" y="5482357"/>
                    </a:lnTo>
                    <a:lnTo>
                      <a:pt x="1537322" y="5454500"/>
                    </a:lnTo>
                    <a:lnTo>
                      <a:pt x="1557575" y="5436541"/>
                    </a:lnTo>
                    <a:lnTo>
                      <a:pt x="1629262" y="5390377"/>
                    </a:lnTo>
                    <a:lnTo>
                      <a:pt x="1655906" y="5377874"/>
                    </a:lnTo>
                    <a:lnTo>
                      <a:pt x="1682344" y="5375420"/>
                    </a:lnTo>
                    <a:lnTo>
                      <a:pt x="1709918" y="5373976"/>
                    </a:lnTo>
                    <a:lnTo>
                      <a:pt x="1737491" y="5372525"/>
                    </a:lnTo>
                    <a:lnTo>
                      <a:pt x="1765348" y="5371001"/>
                    </a:lnTo>
                    <a:lnTo>
                      <a:pt x="1790171" y="5363087"/>
                    </a:lnTo>
                    <a:lnTo>
                      <a:pt x="1819479" y="5353743"/>
                    </a:lnTo>
                    <a:lnTo>
                      <a:pt x="1875753" y="5325708"/>
                    </a:lnTo>
                    <a:lnTo>
                      <a:pt x="1901711" y="5307321"/>
                    </a:lnTo>
                    <a:lnTo>
                      <a:pt x="1929587" y="5287577"/>
                    </a:lnTo>
                    <a:lnTo>
                      <a:pt x="1964191" y="5252491"/>
                    </a:lnTo>
                    <a:lnTo>
                      <a:pt x="2001003" y="5229791"/>
                    </a:lnTo>
                    <a:lnTo>
                      <a:pt x="2019410" y="5218441"/>
                    </a:lnTo>
                    <a:lnTo>
                      <a:pt x="2056770" y="5209386"/>
                    </a:lnTo>
                    <a:lnTo>
                      <a:pt x="2094500" y="5213938"/>
                    </a:lnTo>
                    <a:lnTo>
                      <a:pt x="2112537" y="5229791"/>
                    </a:lnTo>
                    <a:lnTo>
                      <a:pt x="2119501" y="5250202"/>
                    </a:lnTo>
                    <a:lnTo>
                      <a:pt x="2113895" y="5292358"/>
                    </a:lnTo>
                    <a:lnTo>
                      <a:pt x="2109779" y="5313963"/>
                    </a:lnTo>
                    <a:lnTo>
                      <a:pt x="2103831" y="5336075"/>
                    </a:lnTo>
                    <a:lnTo>
                      <a:pt x="2097085" y="5398713"/>
                    </a:lnTo>
                    <a:lnTo>
                      <a:pt x="2100118" y="5421104"/>
                    </a:lnTo>
                    <a:lnTo>
                      <a:pt x="2105731" y="5441983"/>
                    </a:lnTo>
                    <a:lnTo>
                      <a:pt x="2111349" y="5462862"/>
                    </a:lnTo>
                    <a:lnTo>
                      <a:pt x="2123411" y="5516795"/>
                    </a:lnTo>
                    <a:lnTo>
                      <a:pt x="2127171" y="5545806"/>
                    </a:lnTo>
                    <a:lnTo>
                      <a:pt x="2113341" y="5574072"/>
                    </a:lnTo>
                    <a:lnTo>
                      <a:pt x="2108454" y="5601124"/>
                    </a:lnTo>
                    <a:lnTo>
                      <a:pt x="2096307" y="5668287"/>
                    </a:lnTo>
                    <a:lnTo>
                      <a:pt x="2089131" y="5713349"/>
                    </a:lnTo>
                    <a:lnTo>
                      <a:pt x="2088050" y="5758908"/>
                    </a:lnTo>
                    <a:lnTo>
                      <a:pt x="2086968" y="5804465"/>
                    </a:lnTo>
                    <a:lnTo>
                      <a:pt x="2091024" y="5850425"/>
                    </a:lnTo>
                    <a:lnTo>
                      <a:pt x="2101648" y="5920772"/>
                    </a:lnTo>
                    <a:lnTo>
                      <a:pt x="2108692" y="5967399"/>
                    </a:lnTo>
                    <a:lnTo>
                      <a:pt x="2118762" y="6006882"/>
                    </a:lnTo>
                    <a:lnTo>
                      <a:pt x="2131576" y="6039111"/>
                    </a:lnTo>
                    <a:lnTo>
                      <a:pt x="2144390" y="6071334"/>
                    </a:lnTo>
                    <a:lnTo>
                      <a:pt x="2160191" y="6096856"/>
                    </a:lnTo>
                    <a:lnTo>
                      <a:pt x="2181901" y="6116641"/>
                    </a:lnTo>
                    <a:lnTo>
                      <a:pt x="2203612" y="6136426"/>
                    </a:lnTo>
                    <a:lnTo>
                      <a:pt x="2231146" y="6150868"/>
                    </a:lnTo>
                    <a:lnTo>
                      <a:pt x="2264872" y="6160167"/>
                    </a:lnTo>
                    <a:lnTo>
                      <a:pt x="2298605" y="6169466"/>
                    </a:lnTo>
                    <a:lnTo>
                      <a:pt x="2338418" y="6172994"/>
                    </a:lnTo>
                    <a:lnTo>
                      <a:pt x="2387294" y="6173772"/>
                    </a:lnTo>
                    <a:lnTo>
                      <a:pt x="2416865" y="6174228"/>
                    </a:lnTo>
                    <a:lnTo>
                      <a:pt x="2460187" y="6174161"/>
                    </a:lnTo>
                    <a:lnTo>
                      <a:pt x="2501550" y="6166967"/>
                    </a:lnTo>
                    <a:lnTo>
                      <a:pt x="2542913" y="6159765"/>
                    </a:lnTo>
                    <a:lnTo>
                      <a:pt x="2582239" y="6145421"/>
                    </a:lnTo>
                    <a:lnTo>
                      <a:pt x="2604925" y="6120723"/>
                    </a:lnTo>
                    <a:lnTo>
                      <a:pt x="2629564" y="6093856"/>
                    </a:lnTo>
                    <a:lnTo>
                      <a:pt x="2642886" y="6065993"/>
                    </a:lnTo>
                    <a:lnTo>
                      <a:pt x="2652534" y="6040470"/>
                    </a:lnTo>
                    <a:lnTo>
                      <a:pt x="2662175" y="6014948"/>
                    </a:lnTo>
                    <a:lnTo>
                      <a:pt x="2668394" y="5992267"/>
                    </a:lnTo>
                    <a:lnTo>
                      <a:pt x="2681097" y="5975180"/>
                    </a:lnTo>
                    <a:lnTo>
                      <a:pt x="2717460" y="5974158"/>
                    </a:lnTo>
                    <a:lnTo>
                      <a:pt x="2733994" y="6002556"/>
                    </a:lnTo>
                    <a:lnTo>
                      <a:pt x="2768697" y="6036474"/>
                    </a:lnTo>
                    <a:lnTo>
                      <a:pt x="2798967" y="6045568"/>
                    </a:lnTo>
                    <a:lnTo>
                      <a:pt x="2817116" y="6069033"/>
                    </a:lnTo>
                    <a:lnTo>
                      <a:pt x="2834830" y="6099138"/>
                    </a:lnTo>
                    <a:lnTo>
                      <a:pt x="2840212" y="6131420"/>
                    </a:lnTo>
                    <a:lnTo>
                      <a:pt x="2837514" y="6164250"/>
                    </a:lnTo>
                    <a:lnTo>
                      <a:pt x="2835028" y="6196143"/>
                    </a:lnTo>
                    <a:lnTo>
                      <a:pt x="2829633" y="6226605"/>
                    </a:lnTo>
                    <a:lnTo>
                      <a:pt x="2841590" y="6249944"/>
                    </a:lnTo>
                    <a:lnTo>
                      <a:pt x="2886864" y="6241568"/>
                    </a:lnTo>
                    <a:lnTo>
                      <a:pt x="2932237" y="6246290"/>
                    </a:lnTo>
                    <a:lnTo>
                      <a:pt x="2977609" y="6249944"/>
                    </a:lnTo>
                    <a:lnTo>
                      <a:pt x="2998753" y="6267105"/>
                    </a:lnTo>
                    <a:lnTo>
                      <a:pt x="3019046" y="6303501"/>
                    </a:lnTo>
                    <a:lnTo>
                      <a:pt x="3028780" y="6323438"/>
                    </a:lnTo>
                    <a:lnTo>
                      <a:pt x="3070063" y="6356927"/>
                    </a:lnTo>
                    <a:lnTo>
                      <a:pt x="3105900" y="6377839"/>
                    </a:lnTo>
                    <a:lnTo>
                      <a:pt x="3136758" y="6403645"/>
                    </a:lnTo>
                    <a:lnTo>
                      <a:pt x="3382358" y="6633985"/>
                    </a:lnTo>
                    <a:lnTo>
                      <a:pt x="3403654" y="6673475"/>
                    </a:lnTo>
                    <a:lnTo>
                      <a:pt x="3418103" y="6713770"/>
                    </a:lnTo>
                    <a:lnTo>
                      <a:pt x="3436002" y="6750497"/>
                    </a:lnTo>
                    <a:lnTo>
                      <a:pt x="3448987" y="6777101"/>
                    </a:lnTo>
                    <a:lnTo>
                      <a:pt x="3466411" y="6799035"/>
                    </a:lnTo>
                    <a:lnTo>
                      <a:pt x="3480886" y="6823945"/>
                    </a:lnTo>
                    <a:lnTo>
                      <a:pt x="3497934" y="6856972"/>
                    </a:lnTo>
                    <a:lnTo>
                      <a:pt x="3539819" y="6913760"/>
                    </a:lnTo>
                    <a:lnTo>
                      <a:pt x="3539232" y="6953653"/>
                    </a:lnTo>
                    <a:lnTo>
                      <a:pt x="3528449" y="6976136"/>
                    </a:lnTo>
                    <a:lnTo>
                      <a:pt x="3514890" y="6998051"/>
                    </a:lnTo>
                    <a:lnTo>
                      <a:pt x="3501337" y="7019964"/>
                    </a:lnTo>
                    <a:lnTo>
                      <a:pt x="3484540" y="7041873"/>
                    </a:lnTo>
                    <a:lnTo>
                      <a:pt x="3474087" y="7061982"/>
                    </a:lnTo>
                    <a:lnTo>
                      <a:pt x="3455028" y="7098641"/>
                    </a:lnTo>
                    <a:lnTo>
                      <a:pt x="3448314" y="7132098"/>
                    </a:lnTo>
                    <a:lnTo>
                      <a:pt x="3449600" y="7163991"/>
                    </a:lnTo>
                    <a:lnTo>
                      <a:pt x="3450887" y="7195890"/>
                    </a:lnTo>
                    <a:lnTo>
                      <a:pt x="3461287" y="7225765"/>
                    </a:lnTo>
                    <a:lnTo>
                      <a:pt x="3476805" y="7253767"/>
                    </a:lnTo>
                    <a:lnTo>
                      <a:pt x="3507840" y="7309777"/>
                    </a:lnTo>
                    <a:lnTo>
                      <a:pt x="3560237" y="7359015"/>
                    </a:lnTo>
                    <a:lnTo>
                      <a:pt x="3611465" y="7404751"/>
                    </a:lnTo>
                    <a:lnTo>
                      <a:pt x="3681431" y="7467211"/>
                    </a:lnTo>
                    <a:lnTo>
                      <a:pt x="3721884" y="7513856"/>
                    </a:lnTo>
                    <a:lnTo>
                      <a:pt x="3758367" y="7562534"/>
                    </a:lnTo>
                    <a:lnTo>
                      <a:pt x="3794850" y="7611204"/>
                    </a:lnTo>
                    <a:lnTo>
                      <a:pt x="3827468" y="7661306"/>
                    </a:lnTo>
                    <a:lnTo>
                      <a:pt x="3882147" y="7731198"/>
                    </a:lnTo>
                    <a:lnTo>
                      <a:pt x="3869794" y="7779612"/>
                    </a:lnTo>
                    <a:lnTo>
                      <a:pt x="3845334" y="7802865"/>
                    </a:lnTo>
                    <a:lnTo>
                      <a:pt x="3823657" y="7830491"/>
                    </a:lnTo>
                    <a:lnTo>
                      <a:pt x="3798411" y="7862629"/>
                    </a:lnTo>
                    <a:lnTo>
                      <a:pt x="3783289" y="7905482"/>
                    </a:lnTo>
                    <a:lnTo>
                      <a:pt x="3761091" y="7939308"/>
                    </a:lnTo>
                    <a:lnTo>
                      <a:pt x="3725676" y="7993260"/>
                    </a:lnTo>
                    <a:lnTo>
                      <a:pt x="3701651" y="8022410"/>
                    </a:lnTo>
                    <a:lnTo>
                      <a:pt x="3683555" y="8054923"/>
                    </a:lnTo>
                    <a:lnTo>
                      <a:pt x="3665464" y="8087442"/>
                    </a:lnTo>
                    <a:lnTo>
                      <a:pt x="3653323" y="8122599"/>
                    </a:lnTo>
                    <a:lnTo>
                      <a:pt x="3641387" y="8188226"/>
                    </a:lnTo>
                    <a:lnTo>
                      <a:pt x="3633229" y="8224953"/>
                    </a:lnTo>
                    <a:lnTo>
                      <a:pt x="3625183" y="8261205"/>
                    </a:lnTo>
                    <a:lnTo>
                      <a:pt x="3627452" y="8282566"/>
                    </a:lnTo>
                    <a:lnTo>
                      <a:pt x="3684768" y="8297971"/>
                    </a:lnTo>
                    <a:lnTo>
                      <a:pt x="3769506" y="8340397"/>
                    </a:lnTo>
                    <a:lnTo>
                      <a:pt x="3803252" y="8381371"/>
                    </a:lnTo>
                    <a:lnTo>
                      <a:pt x="3827844" y="8411251"/>
                    </a:lnTo>
                    <a:lnTo>
                      <a:pt x="3843633" y="8452061"/>
                    </a:lnTo>
                    <a:lnTo>
                      <a:pt x="3878065" y="8475223"/>
                    </a:lnTo>
                    <a:lnTo>
                      <a:pt x="3916256" y="8500982"/>
                    </a:lnTo>
                    <a:lnTo>
                      <a:pt x="3968540" y="8507999"/>
                    </a:lnTo>
                    <a:lnTo>
                      <a:pt x="3985522" y="8559558"/>
                    </a:lnTo>
                    <a:lnTo>
                      <a:pt x="4006388" y="8622849"/>
                    </a:lnTo>
                    <a:lnTo>
                      <a:pt x="3931536" y="8678274"/>
                    </a:lnTo>
                    <a:lnTo>
                      <a:pt x="3997762" y="8751345"/>
                    </a:lnTo>
                    <a:lnTo>
                      <a:pt x="4030255" y="8787221"/>
                    </a:lnTo>
                    <a:lnTo>
                      <a:pt x="4119840" y="8863221"/>
                    </a:lnTo>
                    <a:lnTo>
                      <a:pt x="4165068" y="8877841"/>
                    </a:lnTo>
                    <a:lnTo>
                      <a:pt x="4196565" y="8888004"/>
                    </a:lnTo>
                    <a:lnTo>
                      <a:pt x="4225893" y="8884641"/>
                    </a:lnTo>
                    <a:lnTo>
                      <a:pt x="4257562" y="8900962"/>
                    </a:lnTo>
                    <a:lnTo>
                      <a:pt x="4284041" y="8914568"/>
                    </a:lnTo>
                    <a:lnTo>
                      <a:pt x="4297791" y="8947338"/>
                    </a:lnTo>
                    <a:lnTo>
                      <a:pt x="4326933" y="8959453"/>
                    </a:lnTo>
                    <a:lnTo>
                      <a:pt x="4371304" y="8977945"/>
                    </a:lnTo>
                    <a:lnTo>
                      <a:pt x="4426121" y="8962599"/>
                    </a:lnTo>
                    <a:lnTo>
                      <a:pt x="4476552" y="8988022"/>
                    </a:lnTo>
                    <a:lnTo>
                      <a:pt x="4521905" y="9010888"/>
                    </a:lnTo>
                    <a:lnTo>
                      <a:pt x="4637883" y="9270562"/>
                    </a:lnTo>
                    <a:lnTo>
                      <a:pt x="4687385" y="9329428"/>
                    </a:lnTo>
                    <a:lnTo>
                      <a:pt x="4698735" y="9348513"/>
                    </a:lnTo>
                    <a:lnTo>
                      <a:pt x="4715947" y="9378395"/>
                    </a:lnTo>
                    <a:lnTo>
                      <a:pt x="4741153" y="9438330"/>
                    </a:lnTo>
                    <a:lnTo>
                      <a:pt x="4744642" y="9514500"/>
                    </a:lnTo>
                    <a:lnTo>
                      <a:pt x="4819322" y="9529378"/>
                    </a:lnTo>
                    <a:lnTo>
                      <a:pt x="4840169" y="9533501"/>
                    </a:lnTo>
                    <a:lnTo>
                      <a:pt x="4863297" y="9532056"/>
                    </a:lnTo>
                    <a:lnTo>
                      <a:pt x="4883254" y="9523937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54" name="Chernivtsi¬0" descr="Chernivtsi¬0">
                <a:extLst>
                  <a:ext uri="{FF2B5EF4-FFF2-40B4-BE49-F238E27FC236}">
                    <a16:creationId xmlns:a16="http://schemas.microsoft.com/office/drawing/2014/main" id="{1279455F-5E0E-49AB-83C0-31FF7EDE8E3F}"/>
                  </a:ext>
                </a:extLst>
              </p:cNvPr>
              <p:cNvSpPr/>
              <p:nvPr/>
            </p:nvSpPr>
            <p:spPr>
              <a:xfrm>
                <a:off x="9731047" y="19469893"/>
                <a:ext cx="9082133" cy="5057212"/>
              </a:xfrm>
              <a:custGeom>
                <a:avLst/>
                <a:gdLst/>
                <a:ahLst/>
                <a:cxnLst/>
                <a:rect l="0" t="0" r="0" b="0"/>
                <a:pathLst>
                  <a:path w="9082132" h="5057210">
                    <a:moveTo>
                      <a:pt x="5106420" y="821342"/>
                    </a:moveTo>
                    <a:lnTo>
                      <a:pt x="5091325" y="837868"/>
                    </a:lnTo>
                    <a:lnTo>
                      <a:pt x="5076077" y="857890"/>
                    </a:lnTo>
                    <a:lnTo>
                      <a:pt x="5060322" y="877702"/>
                    </a:lnTo>
                    <a:lnTo>
                      <a:pt x="5043715" y="895001"/>
                    </a:lnTo>
                    <a:lnTo>
                      <a:pt x="5024023" y="907973"/>
                    </a:lnTo>
                    <a:lnTo>
                      <a:pt x="5001898" y="911779"/>
                    </a:lnTo>
                    <a:lnTo>
                      <a:pt x="4981144" y="907241"/>
                    </a:lnTo>
                    <a:lnTo>
                      <a:pt x="4961009" y="899367"/>
                    </a:lnTo>
                    <a:lnTo>
                      <a:pt x="4941436" y="887918"/>
                    </a:lnTo>
                    <a:lnTo>
                      <a:pt x="4922660" y="874596"/>
                    </a:lnTo>
                    <a:lnTo>
                      <a:pt x="4905038" y="862738"/>
                    </a:lnTo>
                    <a:lnTo>
                      <a:pt x="4871326" y="853585"/>
                    </a:lnTo>
                    <a:lnTo>
                      <a:pt x="4832534" y="852061"/>
                    </a:lnTo>
                    <a:lnTo>
                      <a:pt x="4807044" y="852839"/>
                    </a:lnTo>
                    <a:lnTo>
                      <a:pt x="4786481" y="841147"/>
                    </a:lnTo>
                    <a:lnTo>
                      <a:pt x="4769092" y="823446"/>
                    </a:lnTo>
                    <a:lnTo>
                      <a:pt x="4752631" y="806590"/>
                    </a:lnTo>
                    <a:lnTo>
                      <a:pt x="4736176" y="789726"/>
                    </a:lnTo>
                    <a:lnTo>
                      <a:pt x="4720256" y="774367"/>
                    </a:lnTo>
                    <a:lnTo>
                      <a:pt x="4699587" y="764422"/>
                    </a:lnTo>
                    <a:lnTo>
                      <a:pt x="4657604" y="756726"/>
                    </a:lnTo>
                    <a:lnTo>
                      <a:pt x="4627499" y="761704"/>
                    </a:lnTo>
                    <a:lnTo>
                      <a:pt x="4597386" y="766684"/>
                    </a:lnTo>
                    <a:lnTo>
                      <a:pt x="4562447" y="776219"/>
                    </a:lnTo>
                    <a:lnTo>
                      <a:pt x="4525482" y="783467"/>
                    </a:lnTo>
                    <a:lnTo>
                      <a:pt x="4488518" y="790716"/>
                    </a:lnTo>
                    <a:lnTo>
                      <a:pt x="4450116" y="795708"/>
                    </a:lnTo>
                    <a:lnTo>
                      <a:pt x="4412583" y="794348"/>
                    </a:lnTo>
                    <a:lnTo>
                      <a:pt x="4375052" y="792990"/>
                    </a:lnTo>
                    <a:lnTo>
                      <a:pt x="4338292" y="785261"/>
                    </a:lnTo>
                    <a:lnTo>
                      <a:pt x="4306484" y="764422"/>
                    </a:lnTo>
                    <a:lnTo>
                      <a:pt x="4286555" y="744221"/>
                    </a:lnTo>
                    <a:lnTo>
                      <a:pt x="4269758" y="714102"/>
                    </a:lnTo>
                    <a:lnTo>
                      <a:pt x="4259648" y="681174"/>
                    </a:lnTo>
                    <a:lnTo>
                      <a:pt x="4255388" y="646367"/>
                    </a:lnTo>
                    <a:lnTo>
                      <a:pt x="4256159" y="610721"/>
                    </a:lnTo>
                    <a:lnTo>
                      <a:pt x="4258876" y="575101"/>
                    </a:lnTo>
                    <a:lnTo>
                      <a:pt x="4264324" y="540248"/>
                    </a:lnTo>
                    <a:lnTo>
                      <a:pt x="4271124" y="507346"/>
                    </a:lnTo>
                    <a:lnTo>
                      <a:pt x="4276505" y="475948"/>
                    </a:lnTo>
                    <a:lnTo>
                      <a:pt x="4279346" y="448974"/>
                    </a:lnTo>
                    <a:lnTo>
                      <a:pt x="4277922" y="427100"/>
                    </a:lnTo>
                    <a:lnTo>
                      <a:pt x="4267040" y="402613"/>
                    </a:lnTo>
                    <a:lnTo>
                      <a:pt x="4248344" y="385353"/>
                    </a:lnTo>
                    <a:lnTo>
                      <a:pt x="4225612" y="375157"/>
                    </a:lnTo>
                    <a:lnTo>
                      <a:pt x="4207193" y="356361"/>
                    </a:lnTo>
                    <a:lnTo>
                      <a:pt x="4184044" y="337567"/>
                    </a:lnTo>
                    <a:lnTo>
                      <a:pt x="4154169" y="326203"/>
                    </a:lnTo>
                    <a:lnTo>
                      <a:pt x="4125580" y="329164"/>
                    </a:lnTo>
                    <a:lnTo>
                      <a:pt x="4107431" y="341602"/>
                    </a:lnTo>
                    <a:lnTo>
                      <a:pt x="4098376" y="382214"/>
                    </a:lnTo>
                    <a:lnTo>
                      <a:pt x="4097050" y="404267"/>
                    </a:lnTo>
                    <a:lnTo>
                      <a:pt x="4102135" y="428932"/>
                    </a:lnTo>
                    <a:lnTo>
                      <a:pt x="4110615" y="454303"/>
                    </a:lnTo>
                    <a:lnTo>
                      <a:pt x="4119103" y="479673"/>
                    </a:lnTo>
                    <a:lnTo>
                      <a:pt x="4130611" y="505360"/>
                    </a:lnTo>
                    <a:lnTo>
                      <a:pt x="4141902" y="527757"/>
                    </a:lnTo>
                    <a:lnTo>
                      <a:pt x="4153193" y="550146"/>
                    </a:lnTo>
                    <a:lnTo>
                      <a:pt x="4163395" y="569034"/>
                    </a:lnTo>
                    <a:lnTo>
                      <a:pt x="4178042" y="596226"/>
                    </a:lnTo>
                    <a:lnTo>
                      <a:pt x="4199033" y="625684"/>
                    </a:lnTo>
                    <a:lnTo>
                      <a:pt x="4207278" y="651511"/>
                    </a:lnTo>
                    <a:lnTo>
                      <a:pt x="4192228" y="692339"/>
                    </a:lnTo>
                    <a:lnTo>
                      <a:pt x="4169502" y="719082"/>
                    </a:lnTo>
                    <a:lnTo>
                      <a:pt x="4144230" y="728163"/>
                    </a:lnTo>
                    <a:lnTo>
                      <a:pt x="4117423" y="723626"/>
                    </a:lnTo>
                    <a:lnTo>
                      <a:pt x="4090238" y="715870"/>
                    </a:lnTo>
                    <a:lnTo>
                      <a:pt x="4061200" y="695327"/>
                    </a:lnTo>
                    <a:lnTo>
                      <a:pt x="4037169" y="676016"/>
                    </a:lnTo>
                    <a:lnTo>
                      <a:pt x="4015452" y="658560"/>
                    </a:lnTo>
                    <a:lnTo>
                      <a:pt x="3985201" y="638420"/>
                    </a:lnTo>
                    <a:lnTo>
                      <a:pt x="3970514" y="613445"/>
                    </a:lnTo>
                    <a:lnTo>
                      <a:pt x="3956744" y="581076"/>
                    </a:lnTo>
                    <a:lnTo>
                      <a:pt x="3939234" y="547667"/>
                    </a:lnTo>
                    <a:lnTo>
                      <a:pt x="3920847" y="520615"/>
                    </a:lnTo>
                    <a:lnTo>
                      <a:pt x="3924270" y="497829"/>
                    </a:lnTo>
                    <a:lnTo>
                      <a:pt x="3929837" y="460786"/>
                    </a:lnTo>
                    <a:lnTo>
                      <a:pt x="3960911" y="409477"/>
                    </a:lnTo>
                    <a:lnTo>
                      <a:pt x="3981402" y="379496"/>
                    </a:lnTo>
                    <a:lnTo>
                      <a:pt x="3980044" y="350927"/>
                    </a:lnTo>
                    <a:lnTo>
                      <a:pt x="3974596" y="323723"/>
                    </a:lnTo>
                    <a:lnTo>
                      <a:pt x="3966979" y="304011"/>
                    </a:lnTo>
                    <a:lnTo>
                      <a:pt x="3964612" y="271334"/>
                    </a:lnTo>
                    <a:lnTo>
                      <a:pt x="3970982" y="242812"/>
                    </a:lnTo>
                    <a:lnTo>
                      <a:pt x="3971872" y="213550"/>
                    </a:lnTo>
                    <a:lnTo>
                      <a:pt x="3944458" y="164753"/>
                    </a:lnTo>
                    <a:lnTo>
                      <a:pt x="3910665" y="156417"/>
                    </a:lnTo>
                    <a:lnTo>
                      <a:pt x="3889410" y="167886"/>
                    </a:lnTo>
                    <a:lnTo>
                      <a:pt x="3877822" y="203070"/>
                    </a:lnTo>
                    <a:lnTo>
                      <a:pt x="3867139" y="239395"/>
                    </a:lnTo>
                    <a:lnTo>
                      <a:pt x="3856456" y="275713"/>
                    </a:lnTo>
                    <a:lnTo>
                      <a:pt x="3847011" y="313534"/>
                    </a:lnTo>
                    <a:lnTo>
                      <a:pt x="3833136" y="330530"/>
                    </a:lnTo>
                    <a:lnTo>
                      <a:pt x="3800101" y="344207"/>
                    </a:lnTo>
                    <a:lnTo>
                      <a:pt x="3770959" y="341333"/>
                    </a:lnTo>
                    <a:lnTo>
                      <a:pt x="3744718" y="327806"/>
                    </a:lnTo>
                    <a:lnTo>
                      <a:pt x="3719980" y="313224"/>
                    </a:lnTo>
                    <a:lnTo>
                      <a:pt x="3698751" y="293539"/>
                    </a:lnTo>
                    <a:lnTo>
                      <a:pt x="3670249" y="329363"/>
                    </a:lnTo>
                    <a:lnTo>
                      <a:pt x="3662347" y="361987"/>
                    </a:lnTo>
                    <a:lnTo>
                      <a:pt x="3650865" y="390378"/>
                    </a:lnTo>
                    <a:lnTo>
                      <a:pt x="3639390" y="418762"/>
                    </a:lnTo>
                    <a:lnTo>
                      <a:pt x="3624493" y="442789"/>
                    </a:lnTo>
                    <a:lnTo>
                      <a:pt x="3605981" y="459744"/>
                    </a:lnTo>
                    <a:lnTo>
                      <a:pt x="3587469" y="476706"/>
                    </a:lnTo>
                    <a:lnTo>
                      <a:pt x="3565540" y="487053"/>
                    </a:lnTo>
                    <a:lnTo>
                      <a:pt x="3536609" y="488307"/>
                    </a:lnTo>
                    <a:lnTo>
                      <a:pt x="3507683" y="489572"/>
                    </a:lnTo>
                    <a:lnTo>
                      <a:pt x="3471879" y="481171"/>
                    </a:lnTo>
                    <a:lnTo>
                      <a:pt x="3429158" y="462468"/>
                    </a:lnTo>
                    <a:lnTo>
                      <a:pt x="3408984" y="453636"/>
                    </a:lnTo>
                    <a:lnTo>
                      <a:pt x="3389219" y="434242"/>
                    </a:lnTo>
                    <a:lnTo>
                      <a:pt x="3366586" y="425740"/>
                    </a:lnTo>
                    <a:lnTo>
                      <a:pt x="3298553" y="434775"/>
                    </a:lnTo>
                    <a:lnTo>
                      <a:pt x="3270009" y="427100"/>
                    </a:lnTo>
                    <a:lnTo>
                      <a:pt x="3256965" y="408310"/>
                    </a:lnTo>
                    <a:lnTo>
                      <a:pt x="3261852" y="378132"/>
                    </a:lnTo>
                    <a:lnTo>
                      <a:pt x="3274924" y="350287"/>
                    </a:lnTo>
                    <a:lnTo>
                      <a:pt x="3272352" y="316627"/>
                    </a:lnTo>
                    <a:lnTo>
                      <a:pt x="3247251" y="288889"/>
                    </a:lnTo>
                    <a:lnTo>
                      <a:pt x="3212371" y="260069"/>
                    </a:lnTo>
                    <a:lnTo>
                      <a:pt x="3196563" y="227155"/>
                    </a:lnTo>
                    <a:lnTo>
                      <a:pt x="3179423" y="191469"/>
                    </a:lnTo>
                    <a:lnTo>
                      <a:pt x="3161194" y="153701"/>
                    </a:lnTo>
                    <a:lnTo>
                      <a:pt x="3150155" y="135248"/>
                    </a:lnTo>
                    <a:lnTo>
                      <a:pt x="3134853" y="116624"/>
                    </a:lnTo>
                    <a:lnTo>
                      <a:pt x="3102703" y="81612"/>
                    </a:lnTo>
                    <a:lnTo>
                      <a:pt x="3078092" y="61128"/>
                    </a:lnTo>
                    <a:lnTo>
                      <a:pt x="3048434" y="50405"/>
                    </a:lnTo>
                    <a:lnTo>
                      <a:pt x="3017016" y="50326"/>
                    </a:lnTo>
                    <a:lnTo>
                      <a:pt x="2986462" y="56815"/>
                    </a:lnTo>
                    <a:lnTo>
                      <a:pt x="2960511" y="73763"/>
                    </a:lnTo>
                    <a:lnTo>
                      <a:pt x="2942204" y="100651"/>
                    </a:lnTo>
                    <a:lnTo>
                      <a:pt x="2928295" y="130110"/>
                    </a:lnTo>
                    <a:lnTo>
                      <a:pt x="2930887" y="155533"/>
                    </a:lnTo>
                    <a:lnTo>
                      <a:pt x="2928598" y="179546"/>
                    </a:lnTo>
                    <a:lnTo>
                      <a:pt x="2926323" y="203558"/>
                    </a:lnTo>
                    <a:lnTo>
                      <a:pt x="2920025" y="226758"/>
                    </a:lnTo>
                    <a:lnTo>
                      <a:pt x="2890513" y="251634"/>
                    </a:lnTo>
                    <a:lnTo>
                      <a:pt x="2867094" y="262055"/>
                    </a:lnTo>
                    <a:lnTo>
                      <a:pt x="2836105" y="250276"/>
                    </a:lnTo>
                    <a:lnTo>
                      <a:pt x="2816162" y="223329"/>
                    </a:lnTo>
                    <a:lnTo>
                      <a:pt x="2798468" y="165433"/>
                    </a:lnTo>
                    <a:lnTo>
                      <a:pt x="2796107" y="117283"/>
                    </a:lnTo>
                    <a:lnTo>
                      <a:pt x="2774165" y="89419"/>
                    </a:lnTo>
                    <a:lnTo>
                      <a:pt x="2742490" y="78584"/>
                    </a:lnTo>
                    <a:lnTo>
                      <a:pt x="2709608" y="69371"/>
                    </a:lnTo>
                    <a:lnTo>
                      <a:pt x="2676732" y="60151"/>
                    </a:lnTo>
                    <a:lnTo>
                      <a:pt x="2642182" y="53524"/>
                    </a:lnTo>
                    <a:lnTo>
                      <a:pt x="2605870" y="47172"/>
                    </a:lnTo>
                    <a:lnTo>
                      <a:pt x="2565021" y="54698"/>
                    </a:lnTo>
                    <a:lnTo>
                      <a:pt x="2530062" y="53042"/>
                    </a:lnTo>
                    <a:lnTo>
                      <a:pt x="2496870" y="48690"/>
                    </a:lnTo>
                    <a:lnTo>
                      <a:pt x="2476208" y="32908"/>
                    </a:lnTo>
                    <a:lnTo>
                      <a:pt x="2475654" y="0"/>
                    </a:lnTo>
                    <a:lnTo>
                      <a:pt x="2444473" y="25792"/>
                    </a:lnTo>
                    <a:lnTo>
                      <a:pt x="2408900" y="47648"/>
                    </a:lnTo>
                    <a:lnTo>
                      <a:pt x="2389643" y="58931"/>
                    </a:lnTo>
                    <a:lnTo>
                      <a:pt x="2346136" y="91002"/>
                    </a:lnTo>
                    <a:lnTo>
                      <a:pt x="2326609" y="112509"/>
                    </a:lnTo>
                    <a:lnTo>
                      <a:pt x="2304272" y="138737"/>
                    </a:lnTo>
                    <a:lnTo>
                      <a:pt x="2244423" y="209466"/>
                    </a:lnTo>
                    <a:lnTo>
                      <a:pt x="2233997" y="243239"/>
                    </a:lnTo>
                    <a:lnTo>
                      <a:pt x="2234901" y="269315"/>
                    </a:lnTo>
                    <a:lnTo>
                      <a:pt x="2235804" y="295391"/>
                    </a:lnTo>
                    <a:lnTo>
                      <a:pt x="2239827" y="325926"/>
                    </a:lnTo>
                    <a:lnTo>
                      <a:pt x="2245782" y="356369"/>
                    </a:lnTo>
                    <a:lnTo>
                      <a:pt x="2257686" y="417252"/>
                    </a:lnTo>
                    <a:lnTo>
                      <a:pt x="2275624" y="476937"/>
                    </a:lnTo>
                    <a:lnTo>
                      <a:pt x="2281150" y="499188"/>
                    </a:lnTo>
                    <a:lnTo>
                      <a:pt x="2290944" y="538572"/>
                    </a:lnTo>
                    <a:lnTo>
                      <a:pt x="2313492" y="578056"/>
                    </a:lnTo>
                    <a:lnTo>
                      <a:pt x="2326035" y="616169"/>
                    </a:lnTo>
                    <a:lnTo>
                      <a:pt x="2339252" y="656312"/>
                    </a:lnTo>
                    <a:lnTo>
                      <a:pt x="2352112" y="697629"/>
                    </a:lnTo>
                    <a:lnTo>
                      <a:pt x="2366838" y="737225"/>
                    </a:lnTo>
                    <a:lnTo>
                      <a:pt x="2375280" y="759943"/>
                    </a:lnTo>
                    <a:lnTo>
                      <a:pt x="2388773" y="779326"/>
                    </a:lnTo>
                    <a:lnTo>
                      <a:pt x="2395407" y="803872"/>
                    </a:lnTo>
                    <a:lnTo>
                      <a:pt x="2401421" y="826129"/>
                    </a:lnTo>
                    <a:lnTo>
                      <a:pt x="2371982" y="1213422"/>
                    </a:lnTo>
                    <a:lnTo>
                      <a:pt x="2369562" y="1235060"/>
                    </a:lnTo>
                    <a:lnTo>
                      <a:pt x="2366455" y="1262515"/>
                    </a:lnTo>
                    <a:lnTo>
                      <a:pt x="2357526" y="1292140"/>
                    </a:lnTo>
                    <a:lnTo>
                      <a:pt x="2351874" y="1319389"/>
                    </a:lnTo>
                    <a:lnTo>
                      <a:pt x="2345530" y="1350035"/>
                    </a:lnTo>
                    <a:lnTo>
                      <a:pt x="2342404" y="1381717"/>
                    </a:lnTo>
                    <a:lnTo>
                      <a:pt x="2336917" y="1411883"/>
                    </a:lnTo>
                    <a:lnTo>
                      <a:pt x="2331430" y="1442055"/>
                    </a:lnTo>
                    <a:lnTo>
                      <a:pt x="2323094" y="1470709"/>
                    </a:lnTo>
                    <a:lnTo>
                      <a:pt x="2305631" y="1498935"/>
                    </a:lnTo>
                    <a:lnTo>
                      <a:pt x="2282212" y="1513187"/>
                    </a:lnTo>
                    <a:lnTo>
                      <a:pt x="2258319" y="1514611"/>
                    </a:lnTo>
                    <a:lnTo>
                      <a:pt x="2234901" y="1507100"/>
                    </a:lnTo>
                    <a:lnTo>
                      <a:pt x="2211996" y="1497709"/>
                    </a:lnTo>
                    <a:lnTo>
                      <a:pt x="2190385" y="1481274"/>
                    </a:lnTo>
                    <a:lnTo>
                      <a:pt x="2169611" y="1471732"/>
                    </a:lnTo>
                    <a:lnTo>
                      <a:pt x="2140561" y="1458384"/>
                    </a:lnTo>
                    <a:lnTo>
                      <a:pt x="2107084" y="1447884"/>
                    </a:lnTo>
                    <a:lnTo>
                      <a:pt x="2077117" y="1436370"/>
                    </a:lnTo>
                    <a:lnTo>
                      <a:pt x="2054187" y="1427612"/>
                    </a:lnTo>
                    <a:lnTo>
                      <a:pt x="1950218" y="1431226"/>
                    </a:lnTo>
                    <a:lnTo>
                      <a:pt x="1920693" y="1430928"/>
                    </a:lnTo>
                    <a:lnTo>
                      <a:pt x="1843598" y="1445036"/>
                    </a:lnTo>
                    <a:lnTo>
                      <a:pt x="1782120" y="1458522"/>
                    </a:lnTo>
                    <a:lnTo>
                      <a:pt x="1722107" y="1477172"/>
                    </a:lnTo>
                    <a:lnTo>
                      <a:pt x="1662094" y="1495822"/>
                    </a:lnTo>
                    <a:lnTo>
                      <a:pt x="1603993" y="1519893"/>
                    </a:lnTo>
                    <a:lnTo>
                      <a:pt x="1552077" y="1551984"/>
                    </a:lnTo>
                    <a:lnTo>
                      <a:pt x="1513424" y="1575871"/>
                    </a:lnTo>
                    <a:lnTo>
                      <a:pt x="1481584" y="1615784"/>
                    </a:lnTo>
                    <a:lnTo>
                      <a:pt x="1447344" y="1640396"/>
                    </a:lnTo>
                    <a:lnTo>
                      <a:pt x="1411441" y="1666215"/>
                    </a:lnTo>
                    <a:lnTo>
                      <a:pt x="1366108" y="1697047"/>
                    </a:lnTo>
                    <a:lnTo>
                      <a:pt x="1322205" y="1730166"/>
                    </a:lnTo>
                    <a:lnTo>
                      <a:pt x="1278309" y="1763292"/>
                    </a:lnTo>
                    <a:lnTo>
                      <a:pt x="1236103" y="1797737"/>
                    </a:lnTo>
                    <a:lnTo>
                      <a:pt x="1205232" y="1832183"/>
                    </a:lnTo>
                    <a:lnTo>
                      <a:pt x="1165043" y="1876988"/>
                    </a:lnTo>
                    <a:lnTo>
                      <a:pt x="1139454" y="1929780"/>
                    </a:lnTo>
                    <a:lnTo>
                      <a:pt x="1105932" y="1979084"/>
                    </a:lnTo>
                    <a:lnTo>
                      <a:pt x="1093059" y="1998005"/>
                    </a:lnTo>
                    <a:lnTo>
                      <a:pt x="1076855" y="2013344"/>
                    </a:lnTo>
                    <a:lnTo>
                      <a:pt x="1063771" y="2032133"/>
                    </a:lnTo>
                    <a:lnTo>
                      <a:pt x="1043445" y="2061310"/>
                    </a:lnTo>
                    <a:lnTo>
                      <a:pt x="1023482" y="2091277"/>
                    </a:lnTo>
                    <a:lnTo>
                      <a:pt x="1003922" y="2120545"/>
                    </a:lnTo>
                    <a:lnTo>
                      <a:pt x="984361" y="2149819"/>
                    </a:lnTo>
                    <a:lnTo>
                      <a:pt x="964445" y="2178738"/>
                    </a:lnTo>
                    <a:lnTo>
                      <a:pt x="941350" y="2206239"/>
                    </a:lnTo>
                    <a:lnTo>
                      <a:pt x="912708" y="2229380"/>
                    </a:lnTo>
                    <a:lnTo>
                      <a:pt x="877504" y="2240223"/>
                    </a:lnTo>
                    <a:lnTo>
                      <a:pt x="839340" y="2249765"/>
                    </a:lnTo>
                    <a:lnTo>
                      <a:pt x="798517" y="2266443"/>
                    </a:lnTo>
                    <a:lnTo>
                      <a:pt x="779491" y="2285133"/>
                    </a:lnTo>
                    <a:lnTo>
                      <a:pt x="760458" y="2303818"/>
                    </a:lnTo>
                    <a:lnTo>
                      <a:pt x="743344" y="2330514"/>
                    </a:lnTo>
                    <a:lnTo>
                      <a:pt x="727800" y="2372187"/>
                    </a:lnTo>
                    <a:lnTo>
                      <a:pt x="722762" y="2409633"/>
                    </a:lnTo>
                    <a:lnTo>
                      <a:pt x="720598" y="2447889"/>
                    </a:lnTo>
                    <a:lnTo>
                      <a:pt x="719748" y="2472666"/>
                    </a:lnTo>
                    <a:lnTo>
                      <a:pt x="726435" y="2502765"/>
                    </a:lnTo>
                    <a:lnTo>
                      <a:pt x="742474" y="2536518"/>
                    </a:lnTo>
                    <a:lnTo>
                      <a:pt x="759370" y="2569657"/>
                    </a:lnTo>
                    <a:lnTo>
                      <a:pt x="754998" y="2606134"/>
                    </a:lnTo>
                    <a:lnTo>
                      <a:pt x="730530" y="2616910"/>
                    </a:lnTo>
                    <a:lnTo>
                      <a:pt x="708754" y="2618381"/>
                    </a:lnTo>
                    <a:lnTo>
                      <a:pt x="686978" y="2619845"/>
                    </a:lnTo>
                    <a:lnTo>
                      <a:pt x="663783" y="2619324"/>
                    </a:lnTo>
                    <a:lnTo>
                      <a:pt x="640635" y="2620524"/>
                    </a:lnTo>
                    <a:lnTo>
                      <a:pt x="614902" y="2638779"/>
                    </a:lnTo>
                    <a:lnTo>
                      <a:pt x="592097" y="2666101"/>
                    </a:lnTo>
                    <a:lnTo>
                      <a:pt x="562578" y="2714712"/>
                    </a:lnTo>
                    <a:lnTo>
                      <a:pt x="547859" y="2750232"/>
                    </a:lnTo>
                    <a:lnTo>
                      <a:pt x="536007" y="2767999"/>
                    </a:lnTo>
                    <a:lnTo>
                      <a:pt x="511375" y="2804937"/>
                    </a:lnTo>
                    <a:lnTo>
                      <a:pt x="476904" y="2841961"/>
                    </a:lnTo>
                    <a:lnTo>
                      <a:pt x="448954" y="2876815"/>
                    </a:lnTo>
                    <a:lnTo>
                      <a:pt x="407228" y="2901209"/>
                    </a:lnTo>
                    <a:lnTo>
                      <a:pt x="376866" y="2905378"/>
                    </a:lnTo>
                    <a:lnTo>
                      <a:pt x="346503" y="2909545"/>
                    </a:lnTo>
                    <a:lnTo>
                      <a:pt x="314293" y="2908570"/>
                    </a:lnTo>
                    <a:lnTo>
                      <a:pt x="266981" y="2923823"/>
                    </a:lnTo>
                    <a:lnTo>
                      <a:pt x="248977" y="2947177"/>
                    </a:lnTo>
                    <a:lnTo>
                      <a:pt x="236764" y="2973384"/>
                    </a:lnTo>
                    <a:lnTo>
                      <a:pt x="224557" y="2999598"/>
                    </a:lnTo>
                    <a:lnTo>
                      <a:pt x="219148" y="3028742"/>
                    </a:lnTo>
                    <a:lnTo>
                      <a:pt x="215001" y="3059078"/>
                    </a:lnTo>
                    <a:lnTo>
                      <a:pt x="210859" y="3089415"/>
                    </a:lnTo>
                    <a:lnTo>
                      <a:pt x="208201" y="3120741"/>
                    </a:lnTo>
                    <a:lnTo>
                      <a:pt x="202760" y="3150214"/>
                    </a:lnTo>
                    <a:lnTo>
                      <a:pt x="197319" y="3179687"/>
                    </a:lnTo>
                    <a:lnTo>
                      <a:pt x="188931" y="3208215"/>
                    </a:lnTo>
                    <a:lnTo>
                      <a:pt x="172833" y="3231826"/>
                    </a:lnTo>
                    <a:lnTo>
                      <a:pt x="137464" y="3283721"/>
                    </a:lnTo>
                    <a:lnTo>
                      <a:pt x="90027" y="3348172"/>
                    </a:lnTo>
                    <a:lnTo>
                      <a:pt x="54500" y="3416813"/>
                    </a:lnTo>
                    <a:lnTo>
                      <a:pt x="36733" y="3451132"/>
                    </a:lnTo>
                    <a:lnTo>
                      <a:pt x="21367" y="3486349"/>
                    </a:lnTo>
                    <a:lnTo>
                      <a:pt x="12332" y="3521546"/>
                    </a:lnTo>
                    <a:lnTo>
                      <a:pt x="3297" y="3556743"/>
                    </a:lnTo>
                    <a:lnTo>
                      <a:pt x="0" y="3591057"/>
                    </a:lnTo>
                    <a:lnTo>
                      <a:pt x="5533" y="3624921"/>
                    </a:lnTo>
                    <a:lnTo>
                      <a:pt x="12701" y="3668790"/>
                    </a:lnTo>
                    <a:lnTo>
                      <a:pt x="15564" y="3732115"/>
                    </a:lnTo>
                    <a:lnTo>
                      <a:pt x="23214" y="3792228"/>
                    </a:lnTo>
                    <a:lnTo>
                      <a:pt x="27039" y="3822288"/>
                    </a:lnTo>
                    <a:lnTo>
                      <a:pt x="31602" y="3851477"/>
                    </a:lnTo>
                    <a:lnTo>
                      <a:pt x="39536" y="3877922"/>
                    </a:lnTo>
                    <a:lnTo>
                      <a:pt x="47470" y="3904360"/>
                    </a:lnTo>
                    <a:lnTo>
                      <a:pt x="58846" y="3926863"/>
                    </a:lnTo>
                    <a:lnTo>
                      <a:pt x="73539" y="3944570"/>
                    </a:lnTo>
                    <a:lnTo>
                      <a:pt x="126688" y="4008599"/>
                    </a:lnTo>
                    <a:lnTo>
                      <a:pt x="142727" y="4030633"/>
                    </a:lnTo>
                    <a:lnTo>
                      <a:pt x="146994" y="4056109"/>
                    </a:lnTo>
                    <a:lnTo>
                      <a:pt x="151260" y="4081579"/>
                    </a:lnTo>
                    <a:lnTo>
                      <a:pt x="143617" y="4111216"/>
                    </a:lnTo>
                    <a:lnTo>
                      <a:pt x="148352" y="4193488"/>
                    </a:lnTo>
                    <a:lnTo>
                      <a:pt x="154901" y="4230742"/>
                    </a:lnTo>
                    <a:lnTo>
                      <a:pt x="169001" y="4267766"/>
                    </a:lnTo>
                    <a:lnTo>
                      <a:pt x="185079" y="4302303"/>
                    </a:lnTo>
                    <a:lnTo>
                      <a:pt x="202655" y="4341496"/>
                    </a:lnTo>
                    <a:lnTo>
                      <a:pt x="206592" y="4379333"/>
                    </a:lnTo>
                    <a:lnTo>
                      <a:pt x="202760" y="4416560"/>
                    </a:lnTo>
                    <a:lnTo>
                      <a:pt x="198929" y="4453782"/>
                    </a:lnTo>
                    <a:lnTo>
                      <a:pt x="187025" y="4490779"/>
                    </a:lnTo>
                    <a:lnTo>
                      <a:pt x="171474" y="4529452"/>
                    </a:lnTo>
                    <a:lnTo>
                      <a:pt x="150858" y="4559083"/>
                    </a:lnTo>
                    <a:lnTo>
                      <a:pt x="84421" y="4688601"/>
                    </a:lnTo>
                    <a:lnTo>
                      <a:pt x="53893" y="4747149"/>
                    </a:lnTo>
                    <a:lnTo>
                      <a:pt x="38270" y="4777045"/>
                    </a:lnTo>
                    <a:lnTo>
                      <a:pt x="28655" y="4809655"/>
                    </a:lnTo>
                    <a:lnTo>
                      <a:pt x="19033" y="4842267"/>
                    </a:lnTo>
                    <a:lnTo>
                      <a:pt x="14878" y="4876752"/>
                    </a:lnTo>
                    <a:lnTo>
                      <a:pt x="8250" y="4945676"/>
                    </a:lnTo>
                    <a:lnTo>
                      <a:pt x="10967" y="5000084"/>
                    </a:lnTo>
                    <a:lnTo>
                      <a:pt x="10967" y="5025929"/>
                    </a:lnTo>
                    <a:lnTo>
                      <a:pt x="12325" y="5057209"/>
                    </a:lnTo>
                    <a:lnTo>
                      <a:pt x="58285" y="5042126"/>
                    </a:lnTo>
                    <a:lnTo>
                      <a:pt x="101647" y="5021959"/>
                    </a:lnTo>
                    <a:lnTo>
                      <a:pt x="148346" y="5010966"/>
                    </a:lnTo>
                    <a:lnTo>
                      <a:pt x="183094" y="5002808"/>
                    </a:lnTo>
                    <a:lnTo>
                      <a:pt x="221351" y="5008327"/>
                    </a:lnTo>
                    <a:lnTo>
                      <a:pt x="255803" y="5000084"/>
                    </a:lnTo>
                    <a:lnTo>
                      <a:pt x="312849" y="4979172"/>
                    </a:lnTo>
                    <a:lnTo>
                      <a:pt x="374781" y="4977642"/>
                    </a:lnTo>
                    <a:lnTo>
                      <a:pt x="429908" y="4952475"/>
                    </a:lnTo>
                    <a:lnTo>
                      <a:pt x="556411" y="4893991"/>
                    </a:lnTo>
                    <a:lnTo>
                      <a:pt x="583570" y="4874437"/>
                    </a:lnTo>
                    <a:lnTo>
                      <a:pt x="673491" y="4821303"/>
                    </a:lnTo>
                    <a:lnTo>
                      <a:pt x="792384" y="4684136"/>
                    </a:lnTo>
                    <a:lnTo>
                      <a:pt x="824370" y="4608347"/>
                    </a:lnTo>
                    <a:lnTo>
                      <a:pt x="845750" y="4557723"/>
                    </a:lnTo>
                    <a:lnTo>
                      <a:pt x="855504" y="4490266"/>
                    </a:lnTo>
                    <a:lnTo>
                      <a:pt x="885577" y="4445123"/>
                    </a:lnTo>
                    <a:lnTo>
                      <a:pt x="962071" y="4330398"/>
                    </a:lnTo>
                    <a:lnTo>
                      <a:pt x="1012522" y="4414476"/>
                    </a:lnTo>
                    <a:lnTo>
                      <a:pt x="1022961" y="4230215"/>
                    </a:lnTo>
                    <a:lnTo>
                      <a:pt x="1044000" y="4220732"/>
                    </a:lnTo>
                    <a:lnTo>
                      <a:pt x="1063659" y="4171302"/>
                    </a:lnTo>
                    <a:lnTo>
                      <a:pt x="1090968" y="4152678"/>
                    </a:lnTo>
                    <a:lnTo>
                      <a:pt x="1134561" y="4122969"/>
                    </a:lnTo>
                    <a:lnTo>
                      <a:pt x="1256507" y="4070987"/>
                    </a:lnTo>
                    <a:lnTo>
                      <a:pt x="1309959" y="4046586"/>
                    </a:lnTo>
                    <a:lnTo>
                      <a:pt x="1341054" y="4032433"/>
                    </a:lnTo>
                    <a:lnTo>
                      <a:pt x="1368554" y="4010117"/>
                    </a:lnTo>
                    <a:lnTo>
                      <a:pt x="1399735" y="3996260"/>
                    </a:lnTo>
                    <a:lnTo>
                      <a:pt x="1473525" y="3963484"/>
                    </a:lnTo>
                    <a:lnTo>
                      <a:pt x="1536691" y="4005098"/>
                    </a:lnTo>
                    <a:lnTo>
                      <a:pt x="1610561" y="4000336"/>
                    </a:lnTo>
                    <a:lnTo>
                      <a:pt x="1669565" y="3996511"/>
                    </a:lnTo>
                    <a:lnTo>
                      <a:pt x="1746073" y="3982780"/>
                    </a:lnTo>
                    <a:lnTo>
                      <a:pt x="1800995" y="3960885"/>
                    </a:lnTo>
                    <a:lnTo>
                      <a:pt x="1822837" y="3952173"/>
                    </a:lnTo>
                    <a:lnTo>
                      <a:pt x="1840650" y="3937724"/>
                    </a:lnTo>
                    <a:lnTo>
                      <a:pt x="1863561" y="3930965"/>
                    </a:lnTo>
                    <a:lnTo>
                      <a:pt x="1907048" y="3918130"/>
                    </a:lnTo>
                    <a:lnTo>
                      <a:pt x="1950719" y="3910560"/>
                    </a:lnTo>
                    <a:lnTo>
                      <a:pt x="1995499" y="3903760"/>
                    </a:lnTo>
                    <a:lnTo>
                      <a:pt x="2067614" y="3892753"/>
                    </a:lnTo>
                    <a:lnTo>
                      <a:pt x="2176067" y="3884932"/>
                    </a:lnTo>
                    <a:lnTo>
                      <a:pt x="2248499" y="3887439"/>
                    </a:lnTo>
                    <a:lnTo>
                      <a:pt x="2324499" y="3890029"/>
                    </a:lnTo>
                    <a:lnTo>
                      <a:pt x="2401646" y="3902487"/>
                    </a:lnTo>
                    <a:lnTo>
                      <a:pt x="2478371" y="3896961"/>
                    </a:lnTo>
                    <a:lnTo>
                      <a:pt x="2513225" y="3894494"/>
                    </a:lnTo>
                    <a:lnTo>
                      <a:pt x="2550229" y="3900998"/>
                    </a:lnTo>
                    <a:lnTo>
                      <a:pt x="2585829" y="3898320"/>
                    </a:lnTo>
                    <a:lnTo>
                      <a:pt x="2668376" y="3892114"/>
                    </a:lnTo>
                    <a:lnTo>
                      <a:pt x="2751664" y="3878594"/>
                    </a:lnTo>
                    <a:lnTo>
                      <a:pt x="2834740" y="3880631"/>
                    </a:lnTo>
                    <a:lnTo>
                      <a:pt x="2866560" y="3881489"/>
                    </a:lnTo>
                    <a:lnTo>
                      <a:pt x="2945772" y="3895345"/>
                    </a:lnTo>
                    <a:lnTo>
                      <a:pt x="2966684" y="3892879"/>
                    </a:lnTo>
                    <a:lnTo>
                      <a:pt x="3048038" y="3883270"/>
                    </a:lnTo>
                    <a:lnTo>
                      <a:pt x="3104894" y="3779216"/>
                    </a:lnTo>
                    <a:lnTo>
                      <a:pt x="3177516" y="3748694"/>
                    </a:lnTo>
                    <a:lnTo>
                      <a:pt x="3250218" y="3718173"/>
                    </a:lnTo>
                    <a:lnTo>
                      <a:pt x="3322585" y="3766038"/>
                    </a:lnTo>
                    <a:lnTo>
                      <a:pt x="3393783" y="3755501"/>
                    </a:lnTo>
                    <a:lnTo>
                      <a:pt x="3459370" y="3745806"/>
                    </a:lnTo>
                    <a:lnTo>
                      <a:pt x="3412506" y="3647449"/>
                    </a:lnTo>
                    <a:lnTo>
                      <a:pt x="3644059" y="3692928"/>
                    </a:lnTo>
                    <a:lnTo>
                      <a:pt x="3695810" y="3705893"/>
                    </a:lnTo>
                    <a:lnTo>
                      <a:pt x="3733190" y="3703427"/>
                    </a:lnTo>
                    <a:lnTo>
                      <a:pt x="3759056" y="3674053"/>
                    </a:lnTo>
                    <a:lnTo>
                      <a:pt x="3782797" y="3664366"/>
                    </a:lnTo>
                    <a:lnTo>
                      <a:pt x="3818416" y="3649824"/>
                    </a:lnTo>
                    <a:lnTo>
                      <a:pt x="3853890" y="3643109"/>
                    </a:lnTo>
                    <a:lnTo>
                      <a:pt x="3891613" y="3637161"/>
                    </a:lnTo>
                    <a:lnTo>
                      <a:pt x="3918494" y="3632994"/>
                    </a:lnTo>
                    <a:lnTo>
                      <a:pt x="3949205" y="3638521"/>
                    </a:lnTo>
                    <a:lnTo>
                      <a:pt x="3973218" y="3638521"/>
                    </a:lnTo>
                    <a:lnTo>
                      <a:pt x="4001338" y="3637161"/>
                    </a:lnTo>
                    <a:lnTo>
                      <a:pt x="4095046" y="3640598"/>
                    </a:lnTo>
                    <a:lnTo>
                      <a:pt x="4121485" y="3645319"/>
                    </a:lnTo>
                    <a:lnTo>
                      <a:pt x="4300497" y="3655436"/>
                    </a:lnTo>
                    <a:lnTo>
                      <a:pt x="4434328" y="3548743"/>
                    </a:lnTo>
                    <a:lnTo>
                      <a:pt x="4494604" y="3504789"/>
                    </a:lnTo>
                    <a:lnTo>
                      <a:pt x="4528733" y="3328730"/>
                    </a:lnTo>
                    <a:lnTo>
                      <a:pt x="4564906" y="3261741"/>
                    </a:lnTo>
                    <a:lnTo>
                      <a:pt x="4607199" y="3183359"/>
                    </a:lnTo>
                    <a:lnTo>
                      <a:pt x="4693916" y="3192289"/>
                    </a:lnTo>
                    <a:lnTo>
                      <a:pt x="4715890" y="3151566"/>
                    </a:lnTo>
                    <a:lnTo>
                      <a:pt x="4738180" y="3110249"/>
                    </a:lnTo>
                    <a:lnTo>
                      <a:pt x="4729212" y="3065325"/>
                    </a:lnTo>
                    <a:lnTo>
                      <a:pt x="4743093" y="3023704"/>
                    </a:lnTo>
                    <a:lnTo>
                      <a:pt x="4758354" y="2977882"/>
                    </a:lnTo>
                    <a:lnTo>
                      <a:pt x="4787425" y="2932278"/>
                    </a:lnTo>
                    <a:lnTo>
                      <a:pt x="4807024" y="2887684"/>
                    </a:lnTo>
                    <a:lnTo>
                      <a:pt x="4824389" y="2848153"/>
                    </a:lnTo>
                    <a:lnTo>
                      <a:pt x="4832739" y="2804713"/>
                    </a:lnTo>
                    <a:lnTo>
                      <a:pt x="4853268" y="2766628"/>
                    </a:lnTo>
                    <a:lnTo>
                      <a:pt x="4865067" y="2744778"/>
                    </a:lnTo>
                    <a:lnTo>
                      <a:pt x="4887292" y="2722085"/>
                    </a:lnTo>
                    <a:lnTo>
                      <a:pt x="4891354" y="2697262"/>
                    </a:lnTo>
                    <a:lnTo>
                      <a:pt x="4896861" y="2663464"/>
                    </a:lnTo>
                    <a:lnTo>
                      <a:pt x="4869169" y="2639241"/>
                    </a:lnTo>
                    <a:lnTo>
                      <a:pt x="4866873" y="2607486"/>
                    </a:lnTo>
                    <a:lnTo>
                      <a:pt x="4872994" y="2581430"/>
                    </a:lnTo>
                    <a:lnTo>
                      <a:pt x="4928080" y="2586910"/>
                    </a:lnTo>
                    <a:lnTo>
                      <a:pt x="5010286" y="2582405"/>
                    </a:lnTo>
                    <a:lnTo>
                      <a:pt x="5043697" y="2528591"/>
                    </a:lnTo>
                    <a:lnTo>
                      <a:pt x="5090883" y="2534968"/>
                    </a:lnTo>
                    <a:lnTo>
                      <a:pt x="5102397" y="2569525"/>
                    </a:lnTo>
                    <a:lnTo>
                      <a:pt x="5144354" y="2557154"/>
                    </a:lnTo>
                    <a:lnTo>
                      <a:pt x="5167983" y="2550182"/>
                    </a:lnTo>
                    <a:lnTo>
                      <a:pt x="5178997" y="2520130"/>
                    </a:lnTo>
                    <a:lnTo>
                      <a:pt x="5214023" y="2517749"/>
                    </a:lnTo>
                    <a:lnTo>
                      <a:pt x="5247261" y="2527108"/>
                    </a:lnTo>
                    <a:lnTo>
                      <a:pt x="5280690" y="2498537"/>
                    </a:lnTo>
                    <a:lnTo>
                      <a:pt x="5295740" y="2444296"/>
                    </a:lnTo>
                    <a:lnTo>
                      <a:pt x="5334783" y="2457861"/>
                    </a:lnTo>
                    <a:lnTo>
                      <a:pt x="5378671" y="2383385"/>
                    </a:lnTo>
                    <a:lnTo>
                      <a:pt x="5414626" y="2413523"/>
                    </a:lnTo>
                    <a:lnTo>
                      <a:pt x="5464003" y="2418411"/>
                    </a:lnTo>
                    <a:lnTo>
                      <a:pt x="5495222" y="2418806"/>
                    </a:lnTo>
                    <a:lnTo>
                      <a:pt x="5543043" y="2426739"/>
                    </a:lnTo>
                    <a:lnTo>
                      <a:pt x="5600721" y="2461983"/>
                    </a:lnTo>
                    <a:lnTo>
                      <a:pt x="5628374" y="2459687"/>
                    </a:lnTo>
                    <a:lnTo>
                      <a:pt x="5755484" y="2377350"/>
                    </a:lnTo>
                    <a:lnTo>
                      <a:pt x="5780036" y="2341902"/>
                    </a:lnTo>
                    <a:lnTo>
                      <a:pt x="5782734" y="2307938"/>
                    </a:lnTo>
                    <a:lnTo>
                      <a:pt x="5799967" y="2281031"/>
                    </a:lnTo>
                    <a:lnTo>
                      <a:pt x="5834609" y="2263774"/>
                    </a:lnTo>
                    <a:lnTo>
                      <a:pt x="5864088" y="2281031"/>
                    </a:lnTo>
                    <a:lnTo>
                      <a:pt x="5878861" y="2312318"/>
                    </a:lnTo>
                    <a:lnTo>
                      <a:pt x="5907298" y="2306706"/>
                    </a:lnTo>
                    <a:lnTo>
                      <a:pt x="5948998" y="2240355"/>
                    </a:lnTo>
                    <a:lnTo>
                      <a:pt x="5969719" y="2200726"/>
                    </a:lnTo>
                    <a:lnTo>
                      <a:pt x="5984769" y="2182510"/>
                    </a:lnTo>
                    <a:lnTo>
                      <a:pt x="5989042" y="2147729"/>
                    </a:lnTo>
                    <a:lnTo>
                      <a:pt x="6001514" y="2083205"/>
                    </a:lnTo>
                    <a:lnTo>
                      <a:pt x="6020131" y="2012138"/>
                    </a:lnTo>
                    <a:lnTo>
                      <a:pt x="6034817" y="1959729"/>
                    </a:lnTo>
                    <a:lnTo>
                      <a:pt x="6085611" y="1939620"/>
                    </a:lnTo>
                    <a:lnTo>
                      <a:pt x="6111438" y="1929464"/>
                    </a:lnTo>
                    <a:lnTo>
                      <a:pt x="6160280" y="1939488"/>
                    </a:lnTo>
                    <a:lnTo>
                      <a:pt x="6174029" y="1912417"/>
                    </a:lnTo>
                    <a:lnTo>
                      <a:pt x="6175962" y="1866852"/>
                    </a:lnTo>
                    <a:lnTo>
                      <a:pt x="6175922" y="1760542"/>
                    </a:lnTo>
                    <a:lnTo>
                      <a:pt x="6224355" y="1739669"/>
                    </a:lnTo>
                    <a:lnTo>
                      <a:pt x="6305756" y="1772486"/>
                    </a:lnTo>
                    <a:lnTo>
                      <a:pt x="6314296" y="2024128"/>
                    </a:lnTo>
                    <a:lnTo>
                      <a:pt x="6501835" y="2010350"/>
                    </a:lnTo>
                    <a:lnTo>
                      <a:pt x="6543020" y="2004442"/>
                    </a:lnTo>
                    <a:lnTo>
                      <a:pt x="6577789" y="1998828"/>
                    </a:lnTo>
                    <a:lnTo>
                      <a:pt x="6598411" y="1962742"/>
                    </a:lnTo>
                    <a:lnTo>
                      <a:pt x="6620360" y="1924320"/>
                    </a:lnTo>
                    <a:lnTo>
                      <a:pt x="6581727" y="1716204"/>
                    </a:lnTo>
                    <a:lnTo>
                      <a:pt x="6567126" y="1667580"/>
                    </a:lnTo>
                    <a:lnTo>
                      <a:pt x="6555440" y="1628769"/>
                    </a:lnTo>
                    <a:lnTo>
                      <a:pt x="6524640" y="1587841"/>
                    </a:lnTo>
                    <a:lnTo>
                      <a:pt x="6534480" y="1545158"/>
                    </a:lnTo>
                    <a:lnTo>
                      <a:pt x="6559409" y="1514176"/>
                    </a:lnTo>
                    <a:lnTo>
                      <a:pt x="6648309" y="1562847"/>
                    </a:lnTo>
                    <a:lnTo>
                      <a:pt x="6689540" y="1558764"/>
                    </a:lnTo>
                    <a:lnTo>
                      <a:pt x="6713091" y="1518298"/>
                    </a:lnTo>
                    <a:lnTo>
                      <a:pt x="6727902" y="1437239"/>
                    </a:lnTo>
                    <a:lnTo>
                      <a:pt x="6753471" y="1422744"/>
                    </a:lnTo>
                    <a:lnTo>
                      <a:pt x="6898672" y="1549881"/>
                    </a:lnTo>
                    <a:lnTo>
                      <a:pt x="6924853" y="1568287"/>
                    </a:lnTo>
                    <a:lnTo>
                      <a:pt x="6990254" y="1614280"/>
                    </a:lnTo>
                    <a:lnTo>
                      <a:pt x="7062066" y="1636934"/>
                    </a:lnTo>
                    <a:lnTo>
                      <a:pt x="7137051" y="1659423"/>
                    </a:lnTo>
                    <a:lnTo>
                      <a:pt x="7172543" y="1670047"/>
                    </a:lnTo>
                    <a:lnTo>
                      <a:pt x="7218596" y="1679056"/>
                    </a:lnTo>
                    <a:lnTo>
                      <a:pt x="7251307" y="1653981"/>
                    </a:lnTo>
                    <a:lnTo>
                      <a:pt x="7308840" y="1541091"/>
                    </a:lnTo>
                    <a:lnTo>
                      <a:pt x="7356337" y="1642084"/>
                    </a:lnTo>
                    <a:lnTo>
                      <a:pt x="7439011" y="1632224"/>
                    </a:lnTo>
                    <a:lnTo>
                      <a:pt x="7444728" y="1589807"/>
                    </a:lnTo>
                    <a:lnTo>
                      <a:pt x="7435040" y="1558731"/>
                    </a:lnTo>
                    <a:lnTo>
                      <a:pt x="7425413" y="1534291"/>
                    </a:lnTo>
                    <a:lnTo>
                      <a:pt x="7411834" y="1505643"/>
                    </a:lnTo>
                    <a:lnTo>
                      <a:pt x="7411279" y="1438822"/>
                    </a:lnTo>
                    <a:lnTo>
                      <a:pt x="7436295" y="1415952"/>
                    </a:lnTo>
                    <a:lnTo>
                      <a:pt x="7462733" y="1410933"/>
                    </a:lnTo>
                    <a:lnTo>
                      <a:pt x="7501049" y="1419479"/>
                    </a:lnTo>
                    <a:lnTo>
                      <a:pt x="7566597" y="1469602"/>
                    </a:lnTo>
                    <a:lnTo>
                      <a:pt x="7599517" y="1485330"/>
                    </a:lnTo>
                    <a:lnTo>
                      <a:pt x="7629545" y="1499654"/>
                    </a:lnTo>
                    <a:lnTo>
                      <a:pt x="7663640" y="1506624"/>
                    </a:lnTo>
                    <a:lnTo>
                      <a:pt x="7693370" y="1520692"/>
                    </a:lnTo>
                    <a:lnTo>
                      <a:pt x="7775193" y="1559418"/>
                    </a:lnTo>
                    <a:lnTo>
                      <a:pt x="7861125" y="1592999"/>
                    </a:lnTo>
                    <a:lnTo>
                      <a:pt x="7951810" y="1605028"/>
                    </a:lnTo>
                    <a:lnTo>
                      <a:pt x="8040710" y="1609446"/>
                    </a:lnTo>
                    <a:lnTo>
                      <a:pt x="8073691" y="1634395"/>
                    </a:lnTo>
                    <a:lnTo>
                      <a:pt x="8159920" y="1594146"/>
                    </a:lnTo>
                    <a:lnTo>
                      <a:pt x="8189083" y="1580541"/>
                    </a:lnTo>
                    <a:lnTo>
                      <a:pt x="8216069" y="1559503"/>
                    </a:lnTo>
                    <a:lnTo>
                      <a:pt x="8234733" y="1532939"/>
                    </a:lnTo>
                    <a:lnTo>
                      <a:pt x="8252625" y="1507429"/>
                    </a:lnTo>
                    <a:lnTo>
                      <a:pt x="8260829" y="1476236"/>
                    </a:lnTo>
                    <a:lnTo>
                      <a:pt x="8278259" y="1451321"/>
                    </a:lnTo>
                    <a:lnTo>
                      <a:pt x="8308372" y="1408433"/>
                    </a:lnTo>
                    <a:lnTo>
                      <a:pt x="8349622" y="1374259"/>
                    </a:lnTo>
                    <a:lnTo>
                      <a:pt x="8374828" y="1327547"/>
                    </a:lnTo>
                    <a:lnTo>
                      <a:pt x="8450617" y="1203471"/>
                    </a:lnTo>
                    <a:lnTo>
                      <a:pt x="8468469" y="1215585"/>
                    </a:lnTo>
                    <a:lnTo>
                      <a:pt x="8599259" y="1232330"/>
                    </a:lnTo>
                    <a:lnTo>
                      <a:pt x="8620534" y="1235094"/>
                    </a:lnTo>
                    <a:lnTo>
                      <a:pt x="8705227" y="1263142"/>
                    </a:lnTo>
                    <a:lnTo>
                      <a:pt x="8668480" y="1321586"/>
                    </a:lnTo>
                    <a:lnTo>
                      <a:pt x="8710792" y="1361543"/>
                    </a:lnTo>
                    <a:lnTo>
                      <a:pt x="8732555" y="1361543"/>
                    </a:lnTo>
                    <a:lnTo>
                      <a:pt x="8780144" y="1329961"/>
                    </a:lnTo>
                    <a:lnTo>
                      <a:pt x="8821903" y="1242994"/>
                    </a:lnTo>
                    <a:lnTo>
                      <a:pt x="8903943" y="1211918"/>
                    </a:lnTo>
                    <a:lnTo>
                      <a:pt x="8930171" y="1204782"/>
                    </a:lnTo>
                    <a:lnTo>
                      <a:pt x="8962302" y="1169758"/>
                    </a:lnTo>
                    <a:lnTo>
                      <a:pt x="8985555" y="1154793"/>
                    </a:lnTo>
                    <a:lnTo>
                      <a:pt x="9014203" y="1136301"/>
                    </a:lnTo>
                    <a:lnTo>
                      <a:pt x="9052520" y="1134627"/>
                    </a:lnTo>
                    <a:lnTo>
                      <a:pt x="9082131" y="1118067"/>
                    </a:lnTo>
                    <a:lnTo>
                      <a:pt x="9067173" y="1101758"/>
                    </a:lnTo>
                    <a:lnTo>
                      <a:pt x="9046973" y="1095347"/>
                    </a:lnTo>
                    <a:lnTo>
                      <a:pt x="9016842" y="1071829"/>
                    </a:lnTo>
                    <a:lnTo>
                      <a:pt x="8997677" y="1047442"/>
                    </a:lnTo>
                    <a:lnTo>
                      <a:pt x="8981447" y="980886"/>
                    </a:lnTo>
                    <a:lnTo>
                      <a:pt x="8967874" y="912689"/>
                    </a:lnTo>
                    <a:lnTo>
                      <a:pt x="8954309" y="844483"/>
                    </a:lnTo>
                    <a:lnTo>
                      <a:pt x="8943395" y="775257"/>
                    </a:lnTo>
                    <a:lnTo>
                      <a:pt x="8937953" y="745382"/>
                    </a:lnTo>
                    <a:lnTo>
                      <a:pt x="8934175" y="724641"/>
                    </a:lnTo>
                    <a:lnTo>
                      <a:pt x="8930171" y="702660"/>
                    </a:lnTo>
                    <a:lnTo>
                      <a:pt x="8924348" y="681458"/>
                    </a:lnTo>
                    <a:lnTo>
                      <a:pt x="8918525" y="660248"/>
                    </a:lnTo>
                    <a:lnTo>
                      <a:pt x="8911330" y="638854"/>
                    </a:lnTo>
                    <a:lnTo>
                      <a:pt x="8897336" y="592446"/>
                    </a:lnTo>
                    <a:lnTo>
                      <a:pt x="8890998" y="562051"/>
                    </a:lnTo>
                    <a:lnTo>
                      <a:pt x="8882186" y="531833"/>
                    </a:lnTo>
                    <a:lnTo>
                      <a:pt x="8873370" y="501614"/>
                    </a:lnTo>
                    <a:lnTo>
                      <a:pt x="8861987" y="472393"/>
                    </a:lnTo>
                    <a:lnTo>
                      <a:pt x="8846818" y="448863"/>
                    </a:lnTo>
                    <a:lnTo>
                      <a:pt x="8823843" y="420768"/>
                    </a:lnTo>
                    <a:lnTo>
                      <a:pt x="8796348" y="400779"/>
                    </a:lnTo>
                    <a:lnTo>
                      <a:pt x="8767930" y="380848"/>
                    </a:lnTo>
                    <a:lnTo>
                      <a:pt x="8741986" y="360939"/>
                    </a:lnTo>
                    <a:lnTo>
                      <a:pt x="8707831" y="331163"/>
                    </a:lnTo>
                    <a:lnTo>
                      <a:pt x="8671354" y="306043"/>
                    </a:lnTo>
                    <a:lnTo>
                      <a:pt x="8653113" y="293480"/>
                    </a:lnTo>
                    <a:lnTo>
                      <a:pt x="8634370" y="281160"/>
                    </a:lnTo>
                    <a:lnTo>
                      <a:pt x="8596799" y="265629"/>
                    </a:lnTo>
                    <a:lnTo>
                      <a:pt x="8559815" y="262516"/>
                    </a:lnTo>
                    <a:lnTo>
                      <a:pt x="8531167" y="273985"/>
                    </a:lnTo>
                    <a:lnTo>
                      <a:pt x="8512299" y="291850"/>
                    </a:lnTo>
                    <a:lnTo>
                      <a:pt x="8499966" y="314201"/>
                    </a:lnTo>
                    <a:lnTo>
                      <a:pt x="8488815" y="338094"/>
                    </a:lnTo>
                    <a:lnTo>
                      <a:pt x="8483156" y="366730"/>
                    </a:lnTo>
                    <a:lnTo>
                      <a:pt x="8470046" y="390372"/>
                    </a:lnTo>
                    <a:lnTo>
                      <a:pt x="8451270" y="404214"/>
                    </a:lnTo>
                    <a:lnTo>
                      <a:pt x="8419712" y="416217"/>
                    </a:lnTo>
                    <a:lnTo>
                      <a:pt x="8392945" y="420622"/>
                    </a:lnTo>
                    <a:lnTo>
                      <a:pt x="8359007" y="411488"/>
                    </a:lnTo>
                    <a:lnTo>
                      <a:pt x="8341292" y="393880"/>
                    </a:lnTo>
                    <a:lnTo>
                      <a:pt x="8323143" y="372684"/>
                    </a:lnTo>
                    <a:lnTo>
                      <a:pt x="8304995" y="351495"/>
                    </a:lnTo>
                    <a:lnTo>
                      <a:pt x="8286060" y="326402"/>
                    </a:lnTo>
                    <a:lnTo>
                      <a:pt x="8261936" y="308760"/>
                    </a:lnTo>
                    <a:lnTo>
                      <a:pt x="8236644" y="292793"/>
                    </a:lnTo>
                    <a:lnTo>
                      <a:pt x="8205609" y="283918"/>
                    </a:lnTo>
                    <a:lnTo>
                      <a:pt x="8168078" y="284279"/>
                    </a:lnTo>
                    <a:lnTo>
                      <a:pt x="8135559" y="291824"/>
                    </a:lnTo>
                    <a:lnTo>
                      <a:pt x="8105387" y="306662"/>
                    </a:lnTo>
                    <a:lnTo>
                      <a:pt x="8079666" y="329164"/>
                    </a:lnTo>
                    <a:lnTo>
                      <a:pt x="8071719" y="351614"/>
                    </a:lnTo>
                    <a:lnTo>
                      <a:pt x="8079449" y="374729"/>
                    </a:lnTo>
                    <a:lnTo>
                      <a:pt x="8095995" y="394454"/>
                    </a:lnTo>
                    <a:lnTo>
                      <a:pt x="8121168" y="394652"/>
                    </a:lnTo>
                    <a:lnTo>
                      <a:pt x="8154485" y="403977"/>
                    </a:lnTo>
                    <a:lnTo>
                      <a:pt x="8177845" y="420418"/>
                    </a:lnTo>
                    <a:lnTo>
                      <a:pt x="8193455" y="456789"/>
                    </a:lnTo>
                    <a:lnTo>
                      <a:pt x="8188199" y="491538"/>
                    </a:lnTo>
                    <a:lnTo>
                      <a:pt x="8172166" y="537273"/>
                    </a:lnTo>
                    <a:lnTo>
                      <a:pt x="8151412" y="559188"/>
                    </a:lnTo>
                    <a:lnTo>
                      <a:pt x="8122191" y="577937"/>
                    </a:lnTo>
                    <a:lnTo>
                      <a:pt x="8095995" y="590322"/>
                    </a:lnTo>
                    <a:lnTo>
                      <a:pt x="8074575" y="592809"/>
                    </a:lnTo>
                    <a:lnTo>
                      <a:pt x="8048625" y="585219"/>
                    </a:lnTo>
                    <a:lnTo>
                      <a:pt x="7993920" y="564972"/>
                    </a:lnTo>
                    <a:lnTo>
                      <a:pt x="7964763" y="552937"/>
                    </a:lnTo>
                    <a:lnTo>
                      <a:pt x="7934129" y="530475"/>
                    </a:lnTo>
                    <a:lnTo>
                      <a:pt x="7914517" y="516091"/>
                    </a:lnTo>
                    <a:lnTo>
                      <a:pt x="7890603" y="495112"/>
                    </a:lnTo>
                    <a:lnTo>
                      <a:pt x="7861883" y="483702"/>
                    </a:lnTo>
                    <a:lnTo>
                      <a:pt x="7834838" y="488307"/>
                    </a:lnTo>
                    <a:lnTo>
                      <a:pt x="7812593" y="492099"/>
                    </a:lnTo>
                    <a:lnTo>
                      <a:pt x="7783146" y="515517"/>
                    </a:lnTo>
                    <a:lnTo>
                      <a:pt x="7759701" y="545781"/>
                    </a:lnTo>
                    <a:lnTo>
                      <a:pt x="7738585" y="577740"/>
                    </a:lnTo>
                    <a:lnTo>
                      <a:pt x="7713782" y="603928"/>
                    </a:lnTo>
                    <a:lnTo>
                      <a:pt x="7681624" y="622162"/>
                    </a:lnTo>
                    <a:lnTo>
                      <a:pt x="7658008" y="621609"/>
                    </a:lnTo>
                    <a:lnTo>
                      <a:pt x="7608639" y="620455"/>
                    </a:lnTo>
                    <a:lnTo>
                      <a:pt x="7557738" y="614552"/>
                    </a:lnTo>
                    <a:lnTo>
                      <a:pt x="7508389" y="610727"/>
                    </a:lnTo>
                    <a:lnTo>
                      <a:pt x="7474130" y="591767"/>
                    </a:lnTo>
                    <a:lnTo>
                      <a:pt x="7434481" y="588206"/>
                    </a:lnTo>
                    <a:lnTo>
                      <a:pt x="7410264" y="594682"/>
                    </a:lnTo>
                    <a:lnTo>
                      <a:pt x="7385969" y="599846"/>
                    </a:lnTo>
                    <a:lnTo>
                      <a:pt x="7361679" y="605010"/>
                    </a:lnTo>
                    <a:lnTo>
                      <a:pt x="7337950" y="608281"/>
                    </a:lnTo>
                    <a:lnTo>
                      <a:pt x="7316603" y="598488"/>
                    </a:lnTo>
                    <a:lnTo>
                      <a:pt x="7295691" y="588891"/>
                    </a:lnTo>
                    <a:lnTo>
                      <a:pt x="7283425" y="564135"/>
                    </a:lnTo>
                    <a:lnTo>
                      <a:pt x="7271711" y="541362"/>
                    </a:lnTo>
                    <a:lnTo>
                      <a:pt x="7259998" y="518584"/>
                    </a:lnTo>
                    <a:lnTo>
                      <a:pt x="7247647" y="498067"/>
                    </a:lnTo>
                    <a:lnTo>
                      <a:pt x="7226827" y="495112"/>
                    </a:lnTo>
                    <a:lnTo>
                      <a:pt x="7178796" y="518999"/>
                    </a:lnTo>
                    <a:lnTo>
                      <a:pt x="7139603" y="530414"/>
                    </a:lnTo>
                    <a:lnTo>
                      <a:pt x="7109853" y="516875"/>
                    </a:lnTo>
                    <a:lnTo>
                      <a:pt x="7076772" y="507972"/>
                    </a:lnTo>
                    <a:lnTo>
                      <a:pt x="7044564" y="518234"/>
                    </a:lnTo>
                    <a:lnTo>
                      <a:pt x="7021291" y="536983"/>
                    </a:lnTo>
                    <a:lnTo>
                      <a:pt x="7002996" y="561450"/>
                    </a:lnTo>
                    <a:lnTo>
                      <a:pt x="6987432" y="587606"/>
                    </a:lnTo>
                    <a:lnTo>
                      <a:pt x="6971867" y="613755"/>
                    </a:lnTo>
                    <a:lnTo>
                      <a:pt x="6959021" y="642271"/>
                    </a:lnTo>
                    <a:lnTo>
                      <a:pt x="6945270" y="667859"/>
                    </a:lnTo>
                    <a:lnTo>
                      <a:pt x="6933888" y="686067"/>
                    </a:lnTo>
                    <a:lnTo>
                      <a:pt x="6914460" y="707053"/>
                    </a:lnTo>
                    <a:lnTo>
                      <a:pt x="6892148" y="723895"/>
                    </a:lnTo>
                    <a:lnTo>
                      <a:pt x="6868314" y="733887"/>
                    </a:lnTo>
                    <a:lnTo>
                      <a:pt x="6841605" y="739730"/>
                    </a:lnTo>
                    <a:lnTo>
                      <a:pt x="6813373" y="738735"/>
                    </a:lnTo>
                    <a:lnTo>
                      <a:pt x="6784975" y="733591"/>
                    </a:lnTo>
                    <a:lnTo>
                      <a:pt x="6755066" y="722953"/>
                    </a:lnTo>
                    <a:lnTo>
                      <a:pt x="6734438" y="708654"/>
                    </a:lnTo>
                    <a:lnTo>
                      <a:pt x="6719475" y="690973"/>
                    </a:lnTo>
                    <a:lnTo>
                      <a:pt x="6700428" y="667846"/>
                    </a:lnTo>
                    <a:lnTo>
                      <a:pt x="6687951" y="649881"/>
                    </a:lnTo>
                    <a:lnTo>
                      <a:pt x="6674826" y="631410"/>
                    </a:lnTo>
                    <a:lnTo>
                      <a:pt x="6662342" y="613437"/>
                    </a:lnTo>
                    <a:lnTo>
                      <a:pt x="6649707" y="595474"/>
                    </a:lnTo>
                    <a:lnTo>
                      <a:pt x="6635844" y="573057"/>
                    </a:lnTo>
                    <a:lnTo>
                      <a:pt x="6625622" y="553590"/>
                    </a:lnTo>
                    <a:lnTo>
                      <a:pt x="6623030" y="529135"/>
                    </a:lnTo>
                    <a:lnTo>
                      <a:pt x="6629705" y="507346"/>
                    </a:lnTo>
                    <a:lnTo>
                      <a:pt x="6638937" y="483578"/>
                    </a:lnTo>
                    <a:lnTo>
                      <a:pt x="6648295" y="457726"/>
                    </a:lnTo>
                    <a:lnTo>
                      <a:pt x="6654178" y="433891"/>
                    </a:lnTo>
                    <a:lnTo>
                      <a:pt x="6652101" y="410513"/>
                    </a:lnTo>
                    <a:lnTo>
                      <a:pt x="6640309" y="391480"/>
                    </a:lnTo>
                    <a:lnTo>
                      <a:pt x="6619799" y="375217"/>
                    </a:lnTo>
                    <a:lnTo>
                      <a:pt x="6599619" y="366973"/>
                    </a:lnTo>
                    <a:lnTo>
                      <a:pt x="6578008" y="363175"/>
                    </a:lnTo>
                    <a:lnTo>
                      <a:pt x="6556178" y="365246"/>
                    </a:lnTo>
                    <a:lnTo>
                      <a:pt x="6535951" y="373627"/>
                    </a:lnTo>
                    <a:lnTo>
                      <a:pt x="6516417" y="393478"/>
                    </a:lnTo>
                    <a:lnTo>
                      <a:pt x="6507046" y="419508"/>
                    </a:lnTo>
                    <a:lnTo>
                      <a:pt x="6503761" y="447643"/>
                    </a:lnTo>
                    <a:lnTo>
                      <a:pt x="6505153" y="477879"/>
                    </a:lnTo>
                    <a:lnTo>
                      <a:pt x="6508609" y="507504"/>
                    </a:lnTo>
                    <a:lnTo>
                      <a:pt x="6512672" y="533791"/>
                    </a:lnTo>
                    <a:lnTo>
                      <a:pt x="6514663" y="556735"/>
                    </a:lnTo>
                    <a:lnTo>
                      <a:pt x="6509361" y="595855"/>
                    </a:lnTo>
                    <a:lnTo>
                      <a:pt x="6502488" y="630024"/>
                    </a:lnTo>
                    <a:lnTo>
                      <a:pt x="6488224" y="655613"/>
                    </a:lnTo>
                    <a:lnTo>
                      <a:pt x="6472924" y="678951"/>
                    </a:lnTo>
                    <a:lnTo>
                      <a:pt x="6449116" y="692114"/>
                    </a:lnTo>
                    <a:lnTo>
                      <a:pt x="6416135" y="690973"/>
                    </a:lnTo>
                    <a:lnTo>
                      <a:pt x="6400927" y="665775"/>
                    </a:lnTo>
                    <a:lnTo>
                      <a:pt x="6395974" y="626404"/>
                    </a:lnTo>
                    <a:lnTo>
                      <a:pt x="6394668" y="603822"/>
                    </a:lnTo>
                    <a:lnTo>
                      <a:pt x="6391648" y="579441"/>
                    </a:lnTo>
                    <a:lnTo>
                      <a:pt x="6388635" y="555053"/>
                    </a:lnTo>
                    <a:lnTo>
                      <a:pt x="6383418" y="528971"/>
                    </a:lnTo>
                    <a:lnTo>
                      <a:pt x="6371250" y="505988"/>
                    </a:lnTo>
                    <a:lnTo>
                      <a:pt x="6359075" y="483003"/>
                    </a:lnTo>
                    <a:lnTo>
                      <a:pt x="6339997" y="462975"/>
                    </a:lnTo>
                    <a:lnTo>
                      <a:pt x="6310036" y="447497"/>
                    </a:lnTo>
                    <a:lnTo>
                      <a:pt x="6271950" y="448855"/>
                    </a:lnTo>
                    <a:lnTo>
                      <a:pt x="6257838" y="472636"/>
                    </a:lnTo>
                    <a:lnTo>
                      <a:pt x="6256010" y="509178"/>
                    </a:lnTo>
                    <a:lnTo>
                      <a:pt x="6279984" y="541251"/>
                    </a:lnTo>
                    <a:lnTo>
                      <a:pt x="6297426" y="562254"/>
                    </a:lnTo>
                    <a:lnTo>
                      <a:pt x="6312754" y="582158"/>
                    </a:lnTo>
                    <a:lnTo>
                      <a:pt x="6328086" y="602061"/>
                    </a:lnTo>
                    <a:lnTo>
                      <a:pt x="6341943" y="621635"/>
                    </a:lnTo>
                    <a:lnTo>
                      <a:pt x="6357018" y="659654"/>
                    </a:lnTo>
                    <a:lnTo>
                      <a:pt x="6350838" y="696415"/>
                    </a:lnTo>
                    <a:lnTo>
                      <a:pt x="6327975" y="735081"/>
                    </a:lnTo>
                    <a:lnTo>
                      <a:pt x="6299149" y="754898"/>
                    </a:lnTo>
                    <a:lnTo>
                      <a:pt x="6277392" y="767145"/>
                    </a:lnTo>
                    <a:lnTo>
                      <a:pt x="6252905" y="772585"/>
                    </a:lnTo>
                    <a:lnTo>
                      <a:pt x="6229782" y="772585"/>
                    </a:lnTo>
                    <a:lnTo>
                      <a:pt x="6205295" y="765780"/>
                    </a:lnTo>
                    <a:lnTo>
                      <a:pt x="6173159" y="742652"/>
                    </a:lnTo>
                    <a:lnTo>
                      <a:pt x="6150387" y="712744"/>
                    </a:lnTo>
                    <a:lnTo>
                      <a:pt x="6129125" y="680092"/>
                    </a:lnTo>
                    <a:lnTo>
                      <a:pt x="6103953" y="650601"/>
                    </a:lnTo>
                    <a:lnTo>
                      <a:pt x="6084239" y="639284"/>
                    </a:lnTo>
                    <a:lnTo>
                      <a:pt x="6064527" y="627973"/>
                    </a:lnTo>
                    <a:lnTo>
                      <a:pt x="6039282" y="619782"/>
                    </a:lnTo>
                    <a:lnTo>
                      <a:pt x="6003987" y="617521"/>
                    </a:lnTo>
                    <a:lnTo>
                      <a:pt x="5974066" y="620237"/>
                    </a:lnTo>
                    <a:lnTo>
                      <a:pt x="5948220" y="631118"/>
                    </a:lnTo>
                    <a:lnTo>
                      <a:pt x="5925099" y="650165"/>
                    </a:lnTo>
                    <a:lnTo>
                      <a:pt x="5906052" y="673286"/>
                    </a:lnTo>
                    <a:lnTo>
                      <a:pt x="5904694" y="700491"/>
                    </a:lnTo>
                    <a:lnTo>
                      <a:pt x="5906151" y="722564"/>
                    </a:lnTo>
                    <a:lnTo>
                      <a:pt x="5911394" y="743707"/>
                    </a:lnTo>
                    <a:lnTo>
                      <a:pt x="5927354" y="767251"/>
                    </a:lnTo>
                    <a:lnTo>
                      <a:pt x="5986411" y="769869"/>
                    </a:lnTo>
                    <a:lnTo>
                      <a:pt x="6012513" y="768023"/>
                    </a:lnTo>
                    <a:lnTo>
                      <a:pt x="6049860" y="768966"/>
                    </a:lnTo>
                    <a:lnTo>
                      <a:pt x="6071993" y="776669"/>
                    </a:lnTo>
                    <a:lnTo>
                      <a:pt x="6090710" y="791045"/>
                    </a:lnTo>
                    <a:lnTo>
                      <a:pt x="6118566" y="816693"/>
                    </a:lnTo>
                    <a:lnTo>
                      <a:pt x="6137151" y="833576"/>
                    </a:lnTo>
                    <a:lnTo>
                      <a:pt x="6167211" y="856915"/>
                    </a:lnTo>
                    <a:lnTo>
                      <a:pt x="6198490" y="878038"/>
                    </a:lnTo>
                    <a:lnTo>
                      <a:pt x="6216177" y="893642"/>
                    </a:lnTo>
                    <a:lnTo>
                      <a:pt x="6233866" y="909245"/>
                    </a:lnTo>
                    <a:lnTo>
                      <a:pt x="6248756" y="927698"/>
                    </a:lnTo>
                    <a:lnTo>
                      <a:pt x="6249786" y="953912"/>
                    </a:lnTo>
                    <a:lnTo>
                      <a:pt x="6235218" y="969814"/>
                    </a:lnTo>
                    <a:lnTo>
                      <a:pt x="6213507" y="987039"/>
                    </a:lnTo>
                    <a:lnTo>
                      <a:pt x="6186045" y="993845"/>
                    </a:lnTo>
                    <a:lnTo>
                      <a:pt x="6157258" y="989360"/>
                    </a:lnTo>
                    <a:lnTo>
                      <a:pt x="6136352" y="985628"/>
                    </a:lnTo>
                    <a:lnTo>
                      <a:pt x="6111444" y="984777"/>
                    </a:lnTo>
                    <a:lnTo>
                      <a:pt x="6076438" y="994597"/>
                    </a:lnTo>
                    <a:lnTo>
                      <a:pt x="6055670" y="990217"/>
                    </a:lnTo>
                    <a:lnTo>
                      <a:pt x="6033518" y="985541"/>
                    </a:lnTo>
                    <a:lnTo>
                      <a:pt x="6018792" y="968851"/>
                    </a:lnTo>
                    <a:lnTo>
                      <a:pt x="6003987" y="950767"/>
                    </a:lnTo>
                    <a:lnTo>
                      <a:pt x="5989181" y="932690"/>
                    </a:lnTo>
                    <a:lnTo>
                      <a:pt x="5974488" y="912425"/>
                    </a:lnTo>
                    <a:lnTo>
                      <a:pt x="5953655" y="901799"/>
                    </a:lnTo>
                    <a:lnTo>
                      <a:pt x="5920356" y="900020"/>
                    </a:lnTo>
                    <a:lnTo>
                      <a:pt x="5890324" y="912326"/>
                    </a:lnTo>
                    <a:lnTo>
                      <a:pt x="5874767" y="927646"/>
                    </a:lnTo>
                    <a:lnTo>
                      <a:pt x="5867967" y="953485"/>
                    </a:lnTo>
                    <a:lnTo>
                      <a:pt x="5877483" y="982047"/>
                    </a:lnTo>
                    <a:lnTo>
                      <a:pt x="5889335" y="1003559"/>
                    </a:lnTo>
                    <a:lnTo>
                      <a:pt x="5900050" y="1024010"/>
                    </a:lnTo>
                    <a:lnTo>
                      <a:pt x="5910127" y="1043260"/>
                    </a:lnTo>
                    <a:lnTo>
                      <a:pt x="5922375" y="1070465"/>
                    </a:lnTo>
                    <a:lnTo>
                      <a:pt x="5934614" y="1099028"/>
                    </a:lnTo>
                    <a:lnTo>
                      <a:pt x="5938690" y="1119662"/>
                    </a:lnTo>
                    <a:lnTo>
                      <a:pt x="5942535" y="1149629"/>
                    </a:lnTo>
                    <a:lnTo>
                      <a:pt x="5922375" y="1176556"/>
                    </a:lnTo>
                    <a:lnTo>
                      <a:pt x="5891563" y="1195721"/>
                    </a:lnTo>
                    <a:lnTo>
                      <a:pt x="5870683" y="1199685"/>
                    </a:lnTo>
                    <a:lnTo>
                      <a:pt x="5849812" y="1203649"/>
                    </a:lnTo>
                    <a:lnTo>
                      <a:pt x="5826385" y="1204638"/>
                    </a:lnTo>
                    <a:lnTo>
                      <a:pt x="5805394" y="1201043"/>
                    </a:lnTo>
                    <a:lnTo>
                      <a:pt x="5784409" y="1197449"/>
                    </a:lnTo>
                    <a:lnTo>
                      <a:pt x="5752351" y="1177916"/>
                    </a:lnTo>
                    <a:lnTo>
                      <a:pt x="5734862" y="1163465"/>
                    </a:lnTo>
                    <a:lnTo>
                      <a:pt x="5708819" y="1134390"/>
                    </a:lnTo>
                    <a:lnTo>
                      <a:pt x="5689206" y="1104165"/>
                    </a:lnTo>
                    <a:lnTo>
                      <a:pt x="5674030" y="1072127"/>
                    </a:lnTo>
                    <a:lnTo>
                      <a:pt x="5661217" y="1037820"/>
                    </a:lnTo>
                    <a:lnTo>
                      <a:pt x="5648449" y="1002682"/>
                    </a:lnTo>
                    <a:lnTo>
                      <a:pt x="5633471" y="964899"/>
                    </a:lnTo>
                    <a:lnTo>
                      <a:pt x="5620322" y="940564"/>
                    </a:lnTo>
                    <a:lnTo>
                      <a:pt x="5602726" y="915398"/>
                    </a:lnTo>
                    <a:lnTo>
                      <a:pt x="5585132" y="890233"/>
                    </a:lnTo>
                    <a:lnTo>
                      <a:pt x="5563559" y="863707"/>
                    </a:lnTo>
                    <a:lnTo>
                      <a:pt x="5540161" y="839228"/>
                    </a:lnTo>
                    <a:lnTo>
                      <a:pt x="5516754" y="814747"/>
                    </a:lnTo>
                    <a:lnTo>
                      <a:pt x="5491477" y="791770"/>
                    </a:lnTo>
                    <a:lnTo>
                      <a:pt x="5466706" y="775297"/>
                    </a:lnTo>
                    <a:lnTo>
                      <a:pt x="5441936" y="758830"/>
                    </a:lnTo>
                    <a:lnTo>
                      <a:pt x="5417666" y="749213"/>
                    </a:lnTo>
                    <a:lnTo>
                      <a:pt x="5395976" y="748092"/>
                    </a:lnTo>
                    <a:lnTo>
                      <a:pt x="5374859" y="748423"/>
                    </a:lnTo>
                    <a:lnTo>
                      <a:pt x="5344673" y="756521"/>
                    </a:lnTo>
                    <a:lnTo>
                      <a:pt x="5324864" y="764144"/>
                    </a:lnTo>
                    <a:lnTo>
                      <a:pt x="5304842" y="772573"/>
                    </a:lnTo>
                    <a:lnTo>
                      <a:pt x="5276279" y="780737"/>
                    </a:lnTo>
                    <a:lnTo>
                      <a:pt x="5243621" y="784944"/>
                    </a:lnTo>
                    <a:lnTo>
                      <a:pt x="5216443" y="784748"/>
                    </a:lnTo>
                    <a:lnTo>
                      <a:pt x="5191949" y="783455"/>
                    </a:lnTo>
                    <a:lnTo>
                      <a:pt x="5169112" y="786588"/>
                    </a:lnTo>
                    <a:lnTo>
                      <a:pt x="5144050" y="796644"/>
                    </a:lnTo>
                    <a:lnTo>
                      <a:pt x="5114413" y="818817"/>
                    </a:lnTo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55" name="Ternopil¬0" descr="Ternopil¬0">
                <a:extLst>
                  <a:ext uri="{FF2B5EF4-FFF2-40B4-BE49-F238E27FC236}">
                    <a16:creationId xmlns:a16="http://schemas.microsoft.com/office/drawing/2014/main" id="{BB6C4C13-A41D-4EA0-A91E-8377423C644D}"/>
                  </a:ext>
                </a:extLst>
              </p:cNvPr>
              <p:cNvSpPr/>
              <p:nvPr/>
            </p:nvSpPr>
            <p:spPr>
              <a:xfrm>
                <a:off x="8969601" y="11097951"/>
                <a:ext cx="5867864" cy="9283709"/>
              </a:xfrm>
              <a:custGeom>
                <a:avLst/>
                <a:gdLst/>
                <a:ahLst/>
                <a:cxnLst/>
                <a:rect l="0" t="0" r="0" b="0"/>
                <a:pathLst>
                  <a:path w="5867863" h="9283712">
                    <a:moveTo>
                      <a:pt x="4391725" y="0"/>
                    </a:moveTo>
                    <a:lnTo>
                      <a:pt x="4367126" y="4689"/>
                    </a:lnTo>
                    <a:lnTo>
                      <a:pt x="4341597" y="17589"/>
                    </a:lnTo>
                    <a:lnTo>
                      <a:pt x="4316069" y="30489"/>
                    </a:lnTo>
                    <a:lnTo>
                      <a:pt x="4290256" y="51605"/>
                    </a:lnTo>
                    <a:lnTo>
                      <a:pt x="4265425" y="74714"/>
                    </a:lnTo>
                    <a:lnTo>
                      <a:pt x="4215773" y="120931"/>
                    </a:lnTo>
                    <a:lnTo>
                      <a:pt x="4171033" y="175946"/>
                    </a:lnTo>
                    <a:lnTo>
                      <a:pt x="4149811" y="198493"/>
                    </a:lnTo>
                    <a:lnTo>
                      <a:pt x="4083407" y="269026"/>
                    </a:lnTo>
                    <a:lnTo>
                      <a:pt x="4018347" y="324469"/>
                    </a:lnTo>
                    <a:lnTo>
                      <a:pt x="3953942" y="399803"/>
                    </a:lnTo>
                    <a:lnTo>
                      <a:pt x="3924331" y="434433"/>
                    </a:lnTo>
                    <a:lnTo>
                      <a:pt x="3885955" y="457554"/>
                    </a:lnTo>
                    <a:lnTo>
                      <a:pt x="3843761" y="471892"/>
                    </a:lnTo>
                    <a:lnTo>
                      <a:pt x="3801573" y="486236"/>
                    </a:lnTo>
                    <a:lnTo>
                      <a:pt x="3755811" y="492296"/>
                    </a:lnTo>
                    <a:lnTo>
                      <a:pt x="3711823" y="492296"/>
                    </a:lnTo>
                    <a:lnTo>
                      <a:pt x="3678354" y="488043"/>
                    </a:lnTo>
                    <a:lnTo>
                      <a:pt x="3625654" y="488617"/>
                    </a:lnTo>
                    <a:lnTo>
                      <a:pt x="3562145" y="489448"/>
                    </a:lnTo>
                    <a:lnTo>
                      <a:pt x="3500998" y="495020"/>
                    </a:lnTo>
                    <a:lnTo>
                      <a:pt x="3439843" y="500600"/>
                    </a:lnTo>
                    <a:lnTo>
                      <a:pt x="3381241" y="510716"/>
                    </a:lnTo>
                    <a:lnTo>
                      <a:pt x="3354089" y="530388"/>
                    </a:lnTo>
                    <a:lnTo>
                      <a:pt x="3323931" y="557560"/>
                    </a:lnTo>
                    <a:lnTo>
                      <a:pt x="3310570" y="573915"/>
                    </a:lnTo>
                    <a:lnTo>
                      <a:pt x="3297201" y="590264"/>
                    </a:lnTo>
                    <a:lnTo>
                      <a:pt x="3284850" y="607853"/>
                    </a:lnTo>
                    <a:lnTo>
                      <a:pt x="3270189" y="625665"/>
                    </a:lnTo>
                    <a:lnTo>
                      <a:pt x="3246229" y="634192"/>
                    </a:lnTo>
                    <a:lnTo>
                      <a:pt x="3216711" y="626958"/>
                    </a:lnTo>
                    <a:lnTo>
                      <a:pt x="3187852" y="580886"/>
                    </a:lnTo>
                    <a:lnTo>
                      <a:pt x="3173184" y="550786"/>
                    </a:lnTo>
                    <a:lnTo>
                      <a:pt x="3128616" y="570195"/>
                    </a:lnTo>
                    <a:lnTo>
                      <a:pt x="3103179" y="597656"/>
                    </a:lnTo>
                    <a:lnTo>
                      <a:pt x="3077974" y="622876"/>
                    </a:lnTo>
                    <a:lnTo>
                      <a:pt x="3052768" y="648101"/>
                    </a:lnTo>
                    <a:lnTo>
                      <a:pt x="3027306" y="671625"/>
                    </a:lnTo>
                    <a:lnTo>
                      <a:pt x="2997721" y="682724"/>
                    </a:lnTo>
                    <a:lnTo>
                      <a:pt x="2974599" y="677283"/>
                    </a:lnTo>
                    <a:lnTo>
                      <a:pt x="2960327" y="654122"/>
                    </a:lnTo>
                    <a:lnTo>
                      <a:pt x="2953509" y="621557"/>
                    </a:lnTo>
                    <a:lnTo>
                      <a:pt x="2937871" y="597036"/>
                    </a:lnTo>
                    <a:lnTo>
                      <a:pt x="2902326" y="603572"/>
                    </a:lnTo>
                    <a:lnTo>
                      <a:pt x="2879381" y="611994"/>
                    </a:lnTo>
                    <a:lnTo>
                      <a:pt x="2855456" y="619737"/>
                    </a:lnTo>
                    <a:lnTo>
                      <a:pt x="2832578" y="617864"/>
                    </a:lnTo>
                    <a:lnTo>
                      <a:pt x="2811375" y="599754"/>
                    </a:lnTo>
                    <a:lnTo>
                      <a:pt x="2804253" y="571613"/>
                    </a:lnTo>
                    <a:lnTo>
                      <a:pt x="2796411" y="546705"/>
                    </a:lnTo>
                    <a:lnTo>
                      <a:pt x="2660114" y="535526"/>
                    </a:lnTo>
                    <a:lnTo>
                      <a:pt x="2634546" y="534464"/>
                    </a:lnTo>
                    <a:lnTo>
                      <a:pt x="2608707" y="549428"/>
                    </a:lnTo>
                    <a:lnTo>
                      <a:pt x="2598544" y="568883"/>
                    </a:lnTo>
                    <a:lnTo>
                      <a:pt x="2583264" y="603282"/>
                    </a:lnTo>
                    <a:lnTo>
                      <a:pt x="2570331" y="642944"/>
                    </a:lnTo>
                    <a:lnTo>
                      <a:pt x="2566539" y="681366"/>
                    </a:lnTo>
                    <a:lnTo>
                      <a:pt x="2564943" y="720151"/>
                    </a:lnTo>
                    <a:lnTo>
                      <a:pt x="2573576" y="754121"/>
                    </a:lnTo>
                    <a:lnTo>
                      <a:pt x="2595102" y="780658"/>
                    </a:lnTo>
                    <a:lnTo>
                      <a:pt x="2615328" y="795418"/>
                    </a:lnTo>
                    <a:lnTo>
                      <a:pt x="2634717" y="809426"/>
                    </a:lnTo>
                    <a:lnTo>
                      <a:pt x="2653585" y="829626"/>
                    </a:lnTo>
                    <a:lnTo>
                      <a:pt x="2660385" y="860912"/>
                    </a:lnTo>
                    <a:lnTo>
                      <a:pt x="2641846" y="881244"/>
                    </a:lnTo>
                    <a:lnTo>
                      <a:pt x="2630141" y="900534"/>
                    </a:lnTo>
                    <a:lnTo>
                      <a:pt x="2623664" y="922120"/>
                    </a:lnTo>
                    <a:lnTo>
                      <a:pt x="2617188" y="943711"/>
                    </a:lnTo>
                    <a:lnTo>
                      <a:pt x="2615849" y="966615"/>
                    </a:lnTo>
                    <a:lnTo>
                      <a:pt x="2615500" y="994214"/>
                    </a:lnTo>
                    <a:lnTo>
                      <a:pt x="2582677" y="1010306"/>
                    </a:lnTo>
                    <a:lnTo>
                      <a:pt x="2559733" y="1013254"/>
                    </a:lnTo>
                    <a:lnTo>
                      <a:pt x="2536790" y="1016202"/>
                    </a:lnTo>
                    <a:lnTo>
                      <a:pt x="2512732" y="1017535"/>
                    </a:lnTo>
                    <a:lnTo>
                      <a:pt x="2475404" y="1044541"/>
                    </a:lnTo>
                    <a:lnTo>
                      <a:pt x="2465848" y="1083879"/>
                    </a:lnTo>
                    <a:lnTo>
                      <a:pt x="2467834" y="1106618"/>
                    </a:lnTo>
                    <a:lnTo>
                      <a:pt x="2474277" y="1137344"/>
                    </a:lnTo>
                    <a:lnTo>
                      <a:pt x="2477390" y="1163037"/>
                    </a:lnTo>
                    <a:lnTo>
                      <a:pt x="2476196" y="1188731"/>
                    </a:lnTo>
                    <a:lnTo>
                      <a:pt x="2472681" y="1214564"/>
                    </a:lnTo>
                    <a:lnTo>
                      <a:pt x="2469165" y="1240396"/>
                    </a:lnTo>
                    <a:lnTo>
                      <a:pt x="2463929" y="1266604"/>
                    </a:lnTo>
                    <a:lnTo>
                      <a:pt x="2441460" y="1258387"/>
                    </a:lnTo>
                    <a:lnTo>
                      <a:pt x="2429385" y="1238641"/>
                    </a:lnTo>
                    <a:lnTo>
                      <a:pt x="2408578" y="1215540"/>
                    </a:lnTo>
                    <a:lnTo>
                      <a:pt x="2351624" y="1208061"/>
                    </a:lnTo>
                    <a:lnTo>
                      <a:pt x="2321697" y="1218646"/>
                    </a:lnTo>
                    <a:lnTo>
                      <a:pt x="2313658" y="1258855"/>
                    </a:lnTo>
                    <a:lnTo>
                      <a:pt x="2310815" y="1279854"/>
                    </a:lnTo>
                    <a:lnTo>
                      <a:pt x="2307973" y="1300852"/>
                    </a:lnTo>
                    <a:lnTo>
                      <a:pt x="2306647" y="1321922"/>
                    </a:lnTo>
                    <a:lnTo>
                      <a:pt x="2300283" y="1359573"/>
                    </a:lnTo>
                    <a:lnTo>
                      <a:pt x="2310815" y="1395468"/>
                    </a:lnTo>
                    <a:lnTo>
                      <a:pt x="2319012" y="1419382"/>
                    </a:lnTo>
                    <a:lnTo>
                      <a:pt x="2338019" y="1448518"/>
                    </a:lnTo>
                    <a:lnTo>
                      <a:pt x="2360204" y="1470037"/>
                    </a:lnTo>
                    <a:lnTo>
                      <a:pt x="2383847" y="1484130"/>
                    </a:lnTo>
                    <a:lnTo>
                      <a:pt x="2408750" y="1497485"/>
                    </a:lnTo>
                    <a:lnTo>
                      <a:pt x="2435063" y="1513563"/>
                    </a:lnTo>
                    <a:lnTo>
                      <a:pt x="2464542" y="1544645"/>
                    </a:lnTo>
                    <a:lnTo>
                      <a:pt x="2459418" y="1575291"/>
                    </a:lnTo>
                    <a:lnTo>
                      <a:pt x="2475397" y="1594061"/>
                    </a:lnTo>
                    <a:lnTo>
                      <a:pt x="2520289" y="1647110"/>
                    </a:lnTo>
                    <a:lnTo>
                      <a:pt x="2533888" y="1674315"/>
                    </a:lnTo>
                    <a:lnTo>
                      <a:pt x="2540001" y="1697416"/>
                    </a:lnTo>
                    <a:lnTo>
                      <a:pt x="2541386" y="1721943"/>
                    </a:lnTo>
                    <a:lnTo>
                      <a:pt x="2536618" y="1745044"/>
                    </a:lnTo>
                    <a:lnTo>
                      <a:pt x="2520295" y="1769524"/>
                    </a:lnTo>
                    <a:lnTo>
                      <a:pt x="2494450" y="1772242"/>
                    </a:lnTo>
                    <a:lnTo>
                      <a:pt x="2467246" y="1768166"/>
                    </a:lnTo>
                    <a:lnTo>
                      <a:pt x="2440042" y="1764091"/>
                    </a:lnTo>
                    <a:lnTo>
                      <a:pt x="2411480" y="1765449"/>
                    </a:lnTo>
                    <a:lnTo>
                      <a:pt x="2387586" y="1784581"/>
                    </a:lnTo>
                    <a:lnTo>
                      <a:pt x="2375135" y="1803205"/>
                    </a:lnTo>
                    <a:lnTo>
                      <a:pt x="2366206" y="1839226"/>
                    </a:lnTo>
                    <a:lnTo>
                      <a:pt x="2376111" y="1874265"/>
                    </a:lnTo>
                    <a:lnTo>
                      <a:pt x="2390561" y="1911863"/>
                    </a:lnTo>
                    <a:lnTo>
                      <a:pt x="2405188" y="1950924"/>
                    </a:lnTo>
                    <a:lnTo>
                      <a:pt x="2410115" y="1992604"/>
                    </a:lnTo>
                    <a:lnTo>
                      <a:pt x="2400328" y="2018852"/>
                    </a:lnTo>
                    <a:lnTo>
                      <a:pt x="2388952" y="2042733"/>
                    </a:lnTo>
                    <a:lnTo>
                      <a:pt x="2374753" y="2061976"/>
                    </a:lnTo>
                    <a:lnTo>
                      <a:pt x="2360554" y="2081212"/>
                    </a:lnTo>
                    <a:lnTo>
                      <a:pt x="2344568" y="2096830"/>
                    </a:lnTo>
                    <a:lnTo>
                      <a:pt x="2325786" y="2108219"/>
                    </a:lnTo>
                    <a:lnTo>
                      <a:pt x="2307003" y="2119609"/>
                    </a:lnTo>
                    <a:lnTo>
                      <a:pt x="2285398" y="2125926"/>
                    </a:lnTo>
                    <a:lnTo>
                      <a:pt x="2261855" y="2128623"/>
                    </a:lnTo>
                    <a:lnTo>
                      <a:pt x="2238317" y="2131321"/>
                    </a:lnTo>
                    <a:lnTo>
                      <a:pt x="2212795" y="2130036"/>
                    </a:lnTo>
                    <a:lnTo>
                      <a:pt x="2184325" y="2123184"/>
                    </a:lnTo>
                    <a:lnTo>
                      <a:pt x="2154674" y="2133998"/>
                    </a:lnTo>
                    <a:lnTo>
                      <a:pt x="2137910" y="2157569"/>
                    </a:lnTo>
                    <a:lnTo>
                      <a:pt x="2112236" y="2172150"/>
                    </a:lnTo>
                    <a:lnTo>
                      <a:pt x="2077975" y="2191618"/>
                    </a:lnTo>
                    <a:lnTo>
                      <a:pt x="2036955" y="2190319"/>
                    </a:lnTo>
                    <a:lnTo>
                      <a:pt x="2002055" y="2203436"/>
                    </a:lnTo>
                    <a:lnTo>
                      <a:pt x="1958746" y="2219674"/>
                    </a:lnTo>
                    <a:lnTo>
                      <a:pt x="1921828" y="2254335"/>
                    </a:lnTo>
                    <a:lnTo>
                      <a:pt x="1879641" y="2274167"/>
                    </a:lnTo>
                    <a:lnTo>
                      <a:pt x="1859618" y="2283578"/>
                    </a:lnTo>
                    <a:lnTo>
                      <a:pt x="1692292" y="2303217"/>
                    </a:lnTo>
                    <a:lnTo>
                      <a:pt x="1656568" y="2309529"/>
                    </a:lnTo>
                    <a:lnTo>
                      <a:pt x="1616465" y="2316604"/>
                    </a:lnTo>
                    <a:lnTo>
                      <a:pt x="1574850" y="2344344"/>
                    </a:lnTo>
                    <a:lnTo>
                      <a:pt x="1550469" y="2347615"/>
                    </a:lnTo>
                    <a:lnTo>
                      <a:pt x="1334967" y="2369911"/>
                    </a:lnTo>
                    <a:lnTo>
                      <a:pt x="1319087" y="2387059"/>
                    </a:lnTo>
                    <a:lnTo>
                      <a:pt x="1285427" y="2553303"/>
                    </a:lnTo>
                    <a:lnTo>
                      <a:pt x="1294283" y="2589792"/>
                    </a:lnTo>
                    <a:lnTo>
                      <a:pt x="1309293" y="2617570"/>
                    </a:lnTo>
                    <a:lnTo>
                      <a:pt x="1317880" y="2637335"/>
                    </a:lnTo>
                    <a:lnTo>
                      <a:pt x="1350465" y="2681422"/>
                    </a:lnTo>
                    <a:lnTo>
                      <a:pt x="1370428" y="2704333"/>
                    </a:lnTo>
                    <a:lnTo>
                      <a:pt x="1383169" y="2729829"/>
                    </a:lnTo>
                    <a:lnTo>
                      <a:pt x="1395904" y="2755331"/>
                    </a:lnTo>
                    <a:lnTo>
                      <a:pt x="1402084" y="2782100"/>
                    </a:lnTo>
                    <a:lnTo>
                      <a:pt x="1394051" y="2820964"/>
                    </a:lnTo>
                    <a:lnTo>
                      <a:pt x="1389131" y="2844764"/>
                    </a:lnTo>
                    <a:lnTo>
                      <a:pt x="1366847" y="2871290"/>
                    </a:lnTo>
                    <a:lnTo>
                      <a:pt x="1338330" y="2891120"/>
                    </a:lnTo>
                    <a:lnTo>
                      <a:pt x="1317880" y="2901217"/>
                    </a:lnTo>
                    <a:lnTo>
                      <a:pt x="1285433" y="2917236"/>
                    </a:lnTo>
                    <a:lnTo>
                      <a:pt x="1262555" y="2927029"/>
                    </a:lnTo>
                    <a:lnTo>
                      <a:pt x="1238985" y="2931137"/>
                    </a:lnTo>
                    <a:lnTo>
                      <a:pt x="1215422" y="2935253"/>
                    </a:lnTo>
                    <a:lnTo>
                      <a:pt x="1191146" y="2933241"/>
                    </a:lnTo>
                    <a:lnTo>
                      <a:pt x="1154656" y="2927062"/>
                    </a:lnTo>
                    <a:lnTo>
                      <a:pt x="1137760" y="2891634"/>
                    </a:lnTo>
                    <a:lnTo>
                      <a:pt x="1114242" y="2873465"/>
                    </a:lnTo>
                    <a:lnTo>
                      <a:pt x="1095078" y="2885923"/>
                    </a:lnTo>
                    <a:lnTo>
                      <a:pt x="1077120" y="2908022"/>
                    </a:lnTo>
                    <a:lnTo>
                      <a:pt x="1059168" y="2930116"/>
                    </a:lnTo>
                    <a:lnTo>
                      <a:pt x="1042015" y="2962087"/>
                    </a:lnTo>
                    <a:lnTo>
                      <a:pt x="1026794" y="2996434"/>
                    </a:lnTo>
                    <a:lnTo>
                      <a:pt x="996352" y="3065126"/>
                    </a:lnTo>
                    <a:lnTo>
                      <a:pt x="971450" y="3143757"/>
                    </a:lnTo>
                    <a:lnTo>
                      <a:pt x="956064" y="3174622"/>
                    </a:lnTo>
                    <a:lnTo>
                      <a:pt x="936918" y="3213024"/>
                    </a:lnTo>
                    <a:lnTo>
                      <a:pt x="915195" y="3251070"/>
                    </a:lnTo>
                    <a:lnTo>
                      <a:pt x="894857" y="3288878"/>
                    </a:lnTo>
                    <a:lnTo>
                      <a:pt x="883229" y="3310471"/>
                    </a:lnTo>
                    <a:lnTo>
                      <a:pt x="874867" y="3332313"/>
                    </a:lnTo>
                    <a:lnTo>
                      <a:pt x="859488" y="3352809"/>
                    </a:lnTo>
                    <a:lnTo>
                      <a:pt x="833880" y="3386945"/>
                    </a:lnTo>
                    <a:lnTo>
                      <a:pt x="796336" y="3412875"/>
                    </a:lnTo>
                    <a:lnTo>
                      <a:pt x="756113" y="3434421"/>
                    </a:lnTo>
                    <a:lnTo>
                      <a:pt x="715891" y="3455960"/>
                    </a:lnTo>
                    <a:lnTo>
                      <a:pt x="674171" y="3473186"/>
                    </a:lnTo>
                    <a:lnTo>
                      <a:pt x="637781" y="3491546"/>
                    </a:lnTo>
                    <a:lnTo>
                      <a:pt x="600902" y="3510158"/>
                    </a:lnTo>
                    <a:lnTo>
                      <a:pt x="564689" y="3533285"/>
                    </a:lnTo>
                    <a:lnTo>
                      <a:pt x="527599" y="3551396"/>
                    </a:lnTo>
                    <a:lnTo>
                      <a:pt x="463484" y="3582721"/>
                    </a:lnTo>
                    <a:lnTo>
                      <a:pt x="389456" y="3602658"/>
                    </a:lnTo>
                    <a:lnTo>
                      <a:pt x="329014" y="3641171"/>
                    </a:lnTo>
                    <a:lnTo>
                      <a:pt x="304468" y="3656814"/>
                    </a:lnTo>
                    <a:lnTo>
                      <a:pt x="263216" y="3704357"/>
                    </a:lnTo>
                    <a:lnTo>
                      <a:pt x="246044" y="3729583"/>
                    </a:lnTo>
                    <a:lnTo>
                      <a:pt x="203190" y="3728989"/>
                    </a:lnTo>
                    <a:lnTo>
                      <a:pt x="171231" y="3718702"/>
                    </a:lnTo>
                    <a:lnTo>
                      <a:pt x="139100" y="3708084"/>
                    </a:lnTo>
                    <a:lnTo>
                      <a:pt x="102710" y="3704833"/>
                    </a:lnTo>
                    <a:lnTo>
                      <a:pt x="63773" y="3714620"/>
                    </a:lnTo>
                    <a:lnTo>
                      <a:pt x="54633" y="3734510"/>
                    </a:lnTo>
                    <a:lnTo>
                      <a:pt x="63773" y="3755574"/>
                    </a:lnTo>
                    <a:lnTo>
                      <a:pt x="63773" y="3821714"/>
                    </a:lnTo>
                    <a:lnTo>
                      <a:pt x="50109" y="3864476"/>
                    </a:lnTo>
                    <a:lnTo>
                      <a:pt x="44734" y="3909129"/>
                    </a:lnTo>
                    <a:lnTo>
                      <a:pt x="48216" y="3938694"/>
                    </a:lnTo>
                    <a:lnTo>
                      <a:pt x="46989" y="3960754"/>
                    </a:lnTo>
                    <a:lnTo>
                      <a:pt x="42010" y="3983941"/>
                    </a:lnTo>
                    <a:lnTo>
                      <a:pt x="35844" y="4011442"/>
                    </a:lnTo>
                    <a:lnTo>
                      <a:pt x="26420" y="4038046"/>
                    </a:lnTo>
                    <a:lnTo>
                      <a:pt x="14806" y="4060113"/>
                    </a:lnTo>
                    <a:lnTo>
                      <a:pt x="0" y="4078289"/>
                    </a:lnTo>
                    <a:lnTo>
                      <a:pt x="26262" y="4127222"/>
                    </a:lnTo>
                    <a:lnTo>
                      <a:pt x="48763" y="4160112"/>
                    </a:lnTo>
                    <a:lnTo>
                      <a:pt x="71931" y="4192043"/>
                    </a:lnTo>
                    <a:lnTo>
                      <a:pt x="95105" y="4223982"/>
                    </a:lnTo>
                    <a:lnTo>
                      <a:pt x="118861" y="4255216"/>
                    </a:lnTo>
                    <a:lnTo>
                      <a:pt x="145385" y="4287261"/>
                    </a:lnTo>
                    <a:lnTo>
                      <a:pt x="173427" y="4321133"/>
                    </a:lnTo>
                    <a:lnTo>
                      <a:pt x="189690" y="4346800"/>
                    </a:lnTo>
                    <a:lnTo>
                      <a:pt x="203869" y="4374314"/>
                    </a:lnTo>
                    <a:lnTo>
                      <a:pt x="218048" y="4401821"/>
                    </a:lnTo>
                    <a:lnTo>
                      <a:pt x="230737" y="4430951"/>
                    </a:lnTo>
                    <a:lnTo>
                      <a:pt x="250119" y="4469524"/>
                    </a:lnTo>
                    <a:lnTo>
                      <a:pt x="276156" y="4521347"/>
                    </a:lnTo>
                    <a:lnTo>
                      <a:pt x="307903" y="4571053"/>
                    </a:lnTo>
                    <a:lnTo>
                      <a:pt x="333089" y="4623225"/>
                    </a:lnTo>
                    <a:lnTo>
                      <a:pt x="347671" y="4653449"/>
                    </a:lnTo>
                    <a:lnTo>
                      <a:pt x="359020" y="4694192"/>
                    </a:lnTo>
                    <a:lnTo>
                      <a:pt x="369817" y="4726600"/>
                    </a:lnTo>
                    <a:lnTo>
                      <a:pt x="382142" y="4763585"/>
                    </a:lnTo>
                    <a:lnTo>
                      <a:pt x="394765" y="4810488"/>
                    </a:lnTo>
                    <a:lnTo>
                      <a:pt x="416060" y="4843580"/>
                    </a:lnTo>
                    <a:lnTo>
                      <a:pt x="442439" y="4866446"/>
                    </a:lnTo>
                    <a:lnTo>
                      <a:pt x="441905" y="4888466"/>
                    </a:lnTo>
                    <a:lnTo>
                      <a:pt x="429322" y="4924236"/>
                    </a:lnTo>
                    <a:lnTo>
                      <a:pt x="417425" y="4944231"/>
                    </a:lnTo>
                    <a:lnTo>
                      <a:pt x="405521" y="4964227"/>
                    </a:lnTo>
                    <a:lnTo>
                      <a:pt x="394706" y="4988450"/>
                    </a:lnTo>
                    <a:lnTo>
                      <a:pt x="397020" y="5020404"/>
                    </a:lnTo>
                    <a:lnTo>
                      <a:pt x="403997" y="5047521"/>
                    </a:lnTo>
                    <a:lnTo>
                      <a:pt x="417247" y="5077620"/>
                    </a:lnTo>
                    <a:lnTo>
                      <a:pt x="426942" y="5107456"/>
                    </a:lnTo>
                    <a:lnTo>
                      <a:pt x="431723" y="5138570"/>
                    </a:lnTo>
                    <a:lnTo>
                      <a:pt x="435765" y="5174283"/>
                    </a:lnTo>
                    <a:lnTo>
                      <a:pt x="439188" y="5212197"/>
                    </a:lnTo>
                    <a:lnTo>
                      <a:pt x="443673" y="5248639"/>
                    </a:lnTo>
                    <a:lnTo>
                      <a:pt x="448303" y="5281839"/>
                    </a:lnTo>
                    <a:lnTo>
                      <a:pt x="454146" y="5308766"/>
                    </a:lnTo>
                    <a:lnTo>
                      <a:pt x="471833" y="5331893"/>
                    </a:lnTo>
                    <a:lnTo>
                      <a:pt x="500395" y="5340052"/>
                    </a:lnTo>
                    <a:lnTo>
                      <a:pt x="521414" y="5342122"/>
                    </a:lnTo>
                    <a:lnTo>
                      <a:pt x="551454" y="5350399"/>
                    </a:lnTo>
                    <a:lnTo>
                      <a:pt x="569939" y="5370771"/>
                    </a:lnTo>
                    <a:lnTo>
                      <a:pt x="580471" y="5399095"/>
                    </a:lnTo>
                    <a:lnTo>
                      <a:pt x="590165" y="5433904"/>
                    </a:lnTo>
                    <a:lnTo>
                      <a:pt x="598145" y="5470433"/>
                    </a:lnTo>
                    <a:lnTo>
                      <a:pt x="603955" y="5500743"/>
                    </a:lnTo>
                    <a:lnTo>
                      <a:pt x="611480" y="5563718"/>
                    </a:lnTo>
                    <a:lnTo>
                      <a:pt x="605743" y="5595142"/>
                    </a:lnTo>
                    <a:lnTo>
                      <a:pt x="594248" y="5620249"/>
                    </a:lnTo>
                    <a:lnTo>
                      <a:pt x="582752" y="5645350"/>
                    </a:lnTo>
                    <a:lnTo>
                      <a:pt x="566246" y="5663967"/>
                    </a:lnTo>
                    <a:lnTo>
                      <a:pt x="549363" y="5678740"/>
                    </a:lnTo>
                    <a:lnTo>
                      <a:pt x="532480" y="5693505"/>
                    </a:lnTo>
                    <a:lnTo>
                      <a:pt x="504477" y="5718184"/>
                    </a:lnTo>
                    <a:lnTo>
                      <a:pt x="487991" y="5745618"/>
                    </a:lnTo>
                    <a:lnTo>
                      <a:pt x="499703" y="5787786"/>
                    </a:lnTo>
                    <a:lnTo>
                      <a:pt x="511053" y="5812372"/>
                    </a:lnTo>
                    <a:lnTo>
                      <a:pt x="519435" y="5833799"/>
                    </a:lnTo>
                    <a:lnTo>
                      <a:pt x="528213" y="5856229"/>
                    </a:lnTo>
                    <a:lnTo>
                      <a:pt x="528958" y="5892288"/>
                    </a:lnTo>
                    <a:lnTo>
                      <a:pt x="525159" y="5926854"/>
                    </a:lnTo>
                    <a:lnTo>
                      <a:pt x="519158" y="5961100"/>
                    </a:lnTo>
                    <a:lnTo>
                      <a:pt x="519442" y="5999747"/>
                    </a:lnTo>
                    <a:lnTo>
                      <a:pt x="528358" y="6042659"/>
                    </a:lnTo>
                    <a:lnTo>
                      <a:pt x="543921" y="6070470"/>
                    </a:lnTo>
                    <a:lnTo>
                      <a:pt x="556030" y="6088996"/>
                    </a:lnTo>
                    <a:lnTo>
                      <a:pt x="572010" y="6104249"/>
                    </a:lnTo>
                    <a:lnTo>
                      <a:pt x="593239" y="6102561"/>
                    </a:lnTo>
                    <a:lnTo>
                      <a:pt x="611593" y="6087352"/>
                    </a:lnTo>
                    <a:lnTo>
                      <a:pt x="633698" y="6066394"/>
                    </a:lnTo>
                    <a:lnTo>
                      <a:pt x="659089" y="6044381"/>
                    </a:lnTo>
                    <a:lnTo>
                      <a:pt x="684479" y="6025835"/>
                    </a:lnTo>
                    <a:lnTo>
                      <a:pt x="708511" y="6016068"/>
                    </a:lnTo>
                    <a:lnTo>
                      <a:pt x="736236" y="6023125"/>
                    </a:lnTo>
                    <a:lnTo>
                      <a:pt x="759443" y="6036935"/>
                    </a:lnTo>
                    <a:lnTo>
                      <a:pt x="780764" y="6050389"/>
                    </a:lnTo>
                    <a:lnTo>
                      <a:pt x="805509" y="6062213"/>
                    </a:lnTo>
                    <a:lnTo>
                      <a:pt x="829567" y="6065030"/>
                    </a:lnTo>
                    <a:lnTo>
                      <a:pt x="851079" y="6064766"/>
                    </a:lnTo>
                    <a:lnTo>
                      <a:pt x="873344" y="6065293"/>
                    </a:lnTo>
                    <a:lnTo>
                      <a:pt x="896215" y="6070470"/>
                    </a:lnTo>
                    <a:lnTo>
                      <a:pt x="920056" y="6081120"/>
                    </a:lnTo>
                    <a:lnTo>
                      <a:pt x="938541" y="6096539"/>
                    </a:lnTo>
                    <a:lnTo>
                      <a:pt x="950221" y="6118554"/>
                    </a:lnTo>
                    <a:lnTo>
                      <a:pt x="958781" y="6138476"/>
                    </a:lnTo>
                    <a:lnTo>
                      <a:pt x="963589" y="6161737"/>
                    </a:lnTo>
                    <a:lnTo>
                      <a:pt x="964881" y="6185954"/>
                    </a:lnTo>
                    <a:lnTo>
                      <a:pt x="964221" y="6210565"/>
                    </a:lnTo>
                    <a:lnTo>
                      <a:pt x="963390" y="6235224"/>
                    </a:lnTo>
                    <a:lnTo>
                      <a:pt x="965039" y="6259368"/>
                    </a:lnTo>
                    <a:lnTo>
                      <a:pt x="971021" y="6282661"/>
                    </a:lnTo>
                    <a:lnTo>
                      <a:pt x="982463" y="6303435"/>
                    </a:lnTo>
                    <a:lnTo>
                      <a:pt x="995508" y="6326187"/>
                    </a:lnTo>
                    <a:lnTo>
                      <a:pt x="996867" y="6349308"/>
                    </a:lnTo>
                    <a:lnTo>
                      <a:pt x="988735" y="6371112"/>
                    </a:lnTo>
                    <a:lnTo>
                      <a:pt x="973738" y="6392255"/>
                    </a:lnTo>
                    <a:lnTo>
                      <a:pt x="957416" y="6410517"/>
                    </a:lnTo>
                    <a:lnTo>
                      <a:pt x="930601" y="6419934"/>
                    </a:lnTo>
                    <a:lnTo>
                      <a:pt x="905692" y="6416762"/>
                    </a:lnTo>
                    <a:lnTo>
                      <a:pt x="881244" y="6409158"/>
                    </a:lnTo>
                    <a:lnTo>
                      <a:pt x="856804" y="6401574"/>
                    </a:lnTo>
                    <a:lnTo>
                      <a:pt x="832832" y="6389346"/>
                    </a:lnTo>
                    <a:lnTo>
                      <a:pt x="809156" y="6376513"/>
                    </a:lnTo>
                    <a:lnTo>
                      <a:pt x="785480" y="6363686"/>
                    </a:lnTo>
                    <a:lnTo>
                      <a:pt x="761567" y="6350180"/>
                    </a:lnTo>
                    <a:lnTo>
                      <a:pt x="737067" y="6343869"/>
                    </a:lnTo>
                    <a:lnTo>
                      <a:pt x="712560" y="6337557"/>
                    </a:lnTo>
                    <a:lnTo>
                      <a:pt x="687829" y="6337340"/>
                    </a:lnTo>
                    <a:lnTo>
                      <a:pt x="660896" y="6349308"/>
                    </a:lnTo>
                    <a:lnTo>
                      <a:pt x="644395" y="6389683"/>
                    </a:lnTo>
                    <a:lnTo>
                      <a:pt x="644573" y="6421405"/>
                    </a:lnTo>
                    <a:lnTo>
                      <a:pt x="654815" y="6450040"/>
                    </a:lnTo>
                    <a:lnTo>
                      <a:pt x="667695" y="6473089"/>
                    </a:lnTo>
                    <a:lnTo>
                      <a:pt x="683701" y="6504928"/>
                    </a:lnTo>
                    <a:lnTo>
                      <a:pt x="709863" y="6519338"/>
                    </a:lnTo>
                    <a:lnTo>
                      <a:pt x="770694" y="6534296"/>
                    </a:lnTo>
                    <a:lnTo>
                      <a:pt x="813238" y="6557424"/>
                    </a:lnTo>
                    <a:lnTo>
                      <a:pt x="834507" y="6568985"/>
                    </a:lnTo>
                    <a:lnTo>
                      <a:pt x="855195" y="6582406"/>
                    </a:lnTo>
                    <a:lnTo>
                      <a:pt x="885532" y="6608607"/>
                    </a:lnTo>
                    <a:lnTo>
                      <a:pt x="894850" y="6633595"/>
                    </a:lnTo>
                    <a:lnTo>
                      <a:pt x="896209" y="6677115"/>
                    </a:lnTo>
                    <a:lnTo>
                      <a:pt x="897567" y="6720649"/>
                    </a:lnTo>
                    <a:lnTo>
                      <a:pt x="900284" y="6743770"/>
                    </a:lnTo>
                    <a:lnTo>
                      <a:pt x="909807" y="6766892"/>
                    </a:lnTo>
                    <a:lnTo>
                      <a:pt x="922047" y="6788655"/>
                    </a:lnTo>
                    <a:lnTo>
                      <a:pt x="935646" y="6806336"/>
                    </a:lnTo>
                    <a:lnTo>
                      <a:pt x="956526" y="6830829"/>
                    </a:lnTo>
                    <a:lnTo>
                      <a:pt x="975400" y="6845977"/>
                    </a:lnTo>
                    <a:lnTo>
                      <a:pt x="1012872" y="6861911"/>
                    </a:lnTo>
                    <a:lnTo>
                      <a:pt x="1049903" y="6859386"/>
                    </a:lnTo>
                    <a:lnTo>
                      <a:pt x="1086867" y="6846109"/>
                    </a:lnTo>
                    <a:lnTo>
                      <a:pt x="1107034" y="6834905"/>
                    </a:lnTo>
                    <a:lnTo>
                      <a:pt x="1127195" y="6823693"/>
                    </a:lnTo>
                    <a:lnTo>
                      <a:pt x="1148602" y="6810682"/>
                    </a:lnTo>
                    <a:lnTo>
                      <a:pt x="1172323" y="6796813"/>
                    </a:lnTo>
                    <a:lnTo>
                      <a:pt x="1201869" y="6778084"/>
                    </a:lnTo>
                    <a:lnTo>
                      <a:pt x="1232173" y="6790013"/>
                    </a:lnTo>
                    <a:lnTo>
                      <a:pt x="1259865" y="6811849"/>
                    </a:lnTo>
                    <a:lnTo>
                      <a:pt x="1283369" y="6841632"/>
                    </a:lnTo>
                    <a:lnTo>
                      <a:pt x="1302903" y="6871625"/>
                    </a:lnTo>
                    <a:lnTo>
                      <a:pt x="1321896" y="6895618"/>
                    </a:lnTo>
                    <a:lnTo>
                      <a:pt x="1352648" y="6912738"/>
                    </a:lnTo>
                    <a:lnTo>
                      <a:pt x="1375671" y="6922782"/>
                    </a:lnTo>
                    <a:lnTo>
                      <a:pt x="1399479" y="6931475"/>
                    </a:lnTo>
                    <a:lnTo>
                      <a:pt x="1423279" y="6940167"/>
                    </a:lnTo>
                    <a:lnTo>
                      <a:pt x="1448578" y="6947757"/>
                    </a:lnTo>
                    <a:lnTo>
                      <a:pt x="1472926" y="6955961"/>
                    </a:lnTo>
                    <a:lnTo>
                      <a:pt x="1490772" y="6968835"/>
                    </a:lnTo>
                    <a:lnTo>
                      <a:pt x="1501324" y="6992049"/>
                    </a:lnTo>
                    <a:lnTo>
                      <a:pt x="1500124" y="7015810"/>
                    </a:lnTo>
                    <a:lnTo>
                      <a:pt x="1456597" y="7043013"/>
                    </a:lnTo>
                    <a:lnTo>
                      <a:pt x="1434834" y="7071576"/>
                    </a:lnTo>
                    <a:lnTo>
                      <a:pt x="1433476" y="7117820"/>
                    </a:lnTo>
                    <a:lnTo>
                      <a:pt x="1445887" y="7134974"/>
                    </a:lnTo>
                    <a:lnTo>
                      <a:pt x="1496087" y="7218669"/>
                    </a:lnTo>
                    <a:lnTo>
                      <a:pt x="1505333" y="7245972"/>
                    </a:lnTo>
                    <a:lnTo>
                      <a:pt x="1502056" y="7281591"/>
                    </a:lnTo>
                    <a:lnTo>
                      <a:pt x="1505564" y="7312330"/>
                    </a:lnTo>
                    <a:lnTo>
                      <a:pt x="1510708" y="7341499"/>
                    </a:lnTo>
                    <a:lnTo>
                      <a:pt x="1524914" y="7364772"/>
                    </a:lnTo>
                    <a:lnTo>
                      <a:pt x="1553173" y="7377619"/>
                    </a:lnTo>
                    <a:lnTo>
                      <a:pt x="1575411" y="7378477"/>
                    </a:lnTo>
                    <a:lnTo>
                      <a:pt x="1596225" y="7374052"/>
                    </a:lnTo>
                    <a:lnTo>
                      <a:pt x="1634178" y="7355692"/>
                    </a:lnTo>
                    <a:lnTo>
                      <a:pt x="1640384" y="7333506"/>
                    </a:lnTo>
                    <a:lnTo>
                      <a:pt x="1642949" y="7310978"/>
                    </a:lnTo>
                    <a:lnTo>
                      <a:pt x="1645509" y="7288443"/>
                    </a:lnTo>
                    <a:lnTo>
                      <a:pt x="1644182" y="7264952"/>
                    </a:lnTo>
                    <a:lnTo>
                      <a:pt x="1647025" y="7242964"/>
                    </a:lnTo>
                    <a:lnTo>
                      <a:pt x="1651153" y="7211106"/>
                    </a:lnTo>
                    <a:lnTo>
                      <a:pt x="1678311" y="7173593"/>
                    </a:lnTo>
                    <a:lnTo>
                      <a:pt x="1694416" y="7139761"/>
                    </a:lnTo>
                    <a:lnTo>
                      <a:pt x="1713673" y="7113744"/>
                    </a:lnTo>
                    <a:lnTo>
                      <a:pt x="1728234" y="7097936"/>
                    </a:lnTo>
                    <a:lnTo>
                      <a:pt x="1753341" y="7080210"/>
                    </a:lnTo>
                    <a:lnTo>
                      <a:pt x="1780321" y="7066142"/>
                    </a:lnTo>
                    <a:lnTo>
                      <a:pt x="1807301" y="7052075"/>
                    </a:lnTo>
                    <a:lnTo>
                      <a:pt x="1836450" y="7041603"/>
                    </a:lnTo>
                    <a:lnTo>
                      <a:pt x="1857858" y="7043021"/>
                    </a:lnTo>
                    <a:lnTo>
                      <a:pt x="1871522" y="7063933"/>
                    </a:lnTo>
                    <a:lnTo>
                      <a:pt x="1823980" y="7177148"/>
                    </a:lnTo>
                    <a:lnTo>
                      <a:pt x="1818406" y="7200804"/>
                    </a:lnTo>
                    <a:lnTo>
                      <a:pt x="1812076" y="7227751"/>
                    </a:lnTo>
                    <a:lnTo>
                      <a:pt x="1836114" y="7253167"/>
                    </a:lnTo>
                    <a:lnTo>
                      <a:pt x="1830647" y="7279692"/>
                    </a:lnTo>
                    <a:lnTo>
                      <a:pt x="1825470" y="7304858"/>
                    </a:lnTo>
                    <a:lnTo>
                      <a:pt x="1805942" y="7345747"/>
                    </a:lnTo>
                    <a:lnTo>
                      <a:pt x="1791203" y="7385785"/>
                    </a:lnTo>
                    <a:lnTo>
                      <a:pt x="1783837" y="7405807"/>
                    </a:lnTo>
                    <a:lnTo>
                      <a:pt x="1774880" y="7442916"/>
                    </a:lnTo>
                    <a:lnTo>
                      <a:pt x="1773561" y="7478047"/>
                    </a:lnTo>
                    <a:lnTo>
                      <a:pt x="1793927" y="7500048"/>
                    </a:lnTo>
                    <a:lnTo>
                      <a:pt x="1832830" y="7485631"/>
                    </a:lnTo>
                    <a:lnTo>
                      <a:pt x="1846040" y="7466143"/>
                    </a:lnTo>
                    <a:lnTo>
                      <a:pt x="1860574" y="7446992"/>
                    </a:lnTo>
                    <a:lnTo>
                      <a:pt x="1875110" y="7427840"/>
                    </a:lnTo>
                    <a:lnTo>
                      <a:pt x="1891155" y="7408945"/>
                    </a:lnTo>
                    <a:lnTo>
                      <a:pt x="1910900" y="7399389"/>
                    </a:lnTo>
                    <a:lnTo>
                      <a:pt x="1931371" y="7389478"/>
                    </a:lnTo>
                    <a:lnTo>
                      <a:pt x="1961226" y="7389867"/>
                    </a:lnTo>
                    <a:lnTo>
                      <a:pt x="1985456" y="7401361"/>
                    </a:lnTo>
                    <a:lnTo>
                      <a:pt x="2014790" y="7432166"/>
                    </a:lnTo>
                    <a:lnTo>
                      <a:pt x="2029048" y="7461566"/>
                    </a:lnTo>
                    <a:lnTo>
                      <a:pt x="2051002" y="7480994"/>
                    </a:lnTo>
                    <a:lnTo>
                      <a:pt x="2119992" y="7499679"/>
                    </a:lnTo>
                    <a:lnTo>
                      <a:pt x="2142329" y="7505212"/>
                    </a:lnTo>
                    <a:lnTo>
                      <a:pt x="2158598" y="7524593"/>
                    </a:lnTo>
                    <a:lnTo>
                      <a:pt x="2166618" y="7546291"/>
                    </a:lnTo>
                    <a:lnTo>
                      <a:pt x="2154298" y="7583585"/>
                    </a:lnTo>
                    <a:lnTo>
                      <a:pt x="2134111" y="7592699"/>
                    </a:lnTo>
                    <a:lnTo>
                      <a:pt x="2108134" y="7599333"/>
                    </a:lnTo>
                    <a:lnTo>
                      <a:pt x="2082157" y="7605974"/>
                    </a:lnTo>
                    <a:lnTo>
                      <a:pt x="2051312" y="7609081"/>
                    </a:lnTo>
                    <a:lnTo>
                      <a:pt x="2019723" y="7611574"/>
                    </a:lnTo>
                    <a:lnTo>
                      <a:pt x="1988133" y="7614073"/>
                    </a:lnTo>
                    <a:lnTo>
                      <a:pt x="1956392" y="7616633"/>
                    </a:lnTo>
                    <a:lnTo>
                      <a:pt x="1929946" y="7621098"/>
                    </a:lnTo>
                    <a:lnTo>
                      <a:pt x="1903507" y="7625561"/>
                    </a:lnTo>
                    <a:lnTo>
                      <a:pt x="1881995" y="7633027"/>
                    </a:lnTo>
                    <a:lnTo>
                      <a:pt x="1864808" y="7653511"/>
                    </a:lnTo>
                    <a:lnTo>
                      <a:pt x="1851150" y="7674516"/>
                    </a:lnTo>
                    <a:lnTo>
                      <a:pt x="1845123" y="7696370"/>
                    </a:lnTo>
                    <a:lnTo>
                      <a:pt x="1843995" y="7720429"/>
                    </a:lnTo>
                    <a:lnTo>
                      <a:pt x="1845967" y="7761456"/>
                    </a:lnTo>
                    <a:lnTo>
                      <a:pt x="1856499" y="7795202"/>
                    </a:lnTo>
                    <a:lnTo>
                      <a:pt x="1871377" y="7821800"/>
                    </a:lnTo>
                    <a:lnTo>
                      <a:pt x="1893312" y="7842059"/>
                    </a:lnTo>
                    <a:lnTo>
                      <a:pt x="1923154" y="7856409"/>
                    </a:lnTo>
                    <a:lnTo>
                      <a:pt x="1955897" y="7868346"/>
                    </a:lnTo>
                    <a:lnTo>
                      <a:pt x="2000736" y="7865748"/>
                    </a:lnTo>
                    <a:lnTo>
                      <a:pt x="2017487" y="7851938"/>
                    </a:lnTo>
                    <a:lnTo>
                      <a:pt x="2041005" y="7817362"/>
                    </a:lnTo>
                    <a:lnTo>
                      <a:pt x="2048292" y="7797273"/>
                    </a:lnTo>
                    <a:lnTo>
                      <a:pt x="2055091" y="7776162"/>
                    </a:lnTo>
                    <a:lnTo>
                      <a:pt x="2061884" y="7755052"/>
                    </a:lnTo>
                    <a:lnTo>
                      <a:pt x="2068571" y="7733409"/>
                    </a:lnTo>
                    <a:lnTo>
                      <a:pt x="2087861" y="7696496"/>
                    </a:lnTo>
                    <a:lnTo>
                      <a:pt x="2120381" y="7671429"/>
                    </a:lnTo>
                    <a:lnTo>
                      <a:pt x="2148943" y="7668712"/>
                    </a:lnTo>
                    <a:lnTo>
                      <a:pt x="2174789" y="7680953"/>
                    </a:lnTo>
                    <a:lnTo>
                      <a:pt x="2193301" y="7692440"/>
                    </a:lnTo>
                    <a:lnTo>
                      <a:pt x="2219074" y="7705868"/>
                    </a:lnTo>
                    <a:lnTo>
                      <a:pt x="2247531" y="7699094"/>
                    </a:lnTo>
                    <a:lnTo>
                      <a:pt x="2271279" y="7676276"/>
                    </a:lnTo>
                    <a:lnTo>
                      <a:pt x="2276713" y="7655799"/>
                    </a:lnTo>
                    <a:lnTo>
                      <a:pt x="2275440" y="7634701"/>
                    </a:lnTo>
                    <a:lnTo>
                      <a:pt x="2274174" y="7613611"/>
                    </a:lnTo>
                    <a:lnTo>
                      <a:pt x="2266075" y="7591617"/>
                    </a:lnTo>
                    <a:lnTo>
                      <a:pt x="2257760" y="7569412"/>
                    </a:lnTo>
                    <a:lnTo>
                      <a:pt x="2249443" y="7547207"/>
                    </a:lnTo>
                    <a:lnTo>
                      <a:pt x="2240896" y="7524369"/>
                    </a:lnTo>
                    <a:lnTo>
                      <a:pt x="2233813" y="7483876"/>
                    </a:lnTo>
                    <a:lnTo>
                      <a:pt x="2248236" y="7451080"/>
                    </a:lnTo>
                    <a:lnTo>
                      <a:pt x="2282688" y="7435886"/>
                    </a:lnTo>
                    <a:lnTo>
                      <a:pt x="2305367" y="7441557"/>
                    </a:lnTo>
                    <a:lnTo>
                      <a:pt x="2328047" y="7447229"/>
                    </a:lnTo>
                    <a:lnTo>
                      <a:pt x="2353675" y="7458830"/>
                    </a:lnTo>
                    <a:lnTo>
                      <a:pt x="2378815" y="7471479"/>
                    </a:lnTo>
                    <a:lnTo>
                      <a:pt x="2403955" y="7484128"/>
                    </a:lnTo>
                    <a:lnTo>
                      <a:pt x="2428659" y="7497265"/>
                    </a:lnTo>
                    <a:lnTo>
                      <a:pt x="2450911" y="7504123"/>
                    </a:lnTo>
                    <a:lnTo>
                      <a:pt x="2473156" y="7510988"/>
                    </a:lnTo>
                    <a:lnTo>
                      <a:pt x="2506677" y="7500048"/>
                    </a:lnTo>
                    <a:lnTo>
                      <a:pt x="2521634" y="7475567"/>
                    </a:lnTo>
                    <a:lnTo>
                      <a:pt x="2520282" y="7446998"/>
                    </a:lnTo>
                    <a:lnTo>
                      <a:pt x="2516207" y="7417077"/>
                    </a:lnTo>
                    <a:lnTo>
                      <a:pt x="2520282" y="7388515"/>
                    </a:lnTo>
                    <a:lnTo>
                      <a:pt x="2540859" y="7374275"/>
                    </a:lnTo>
                    <a:lnTo>
                      <a:pt x="2565167" y="7378991"/>
                    </a:lnTo>
                    <a:lnTo>
                      <a:pt x="2591059" y="7386385"/>
                    </a:lnTo>
                    <a:lnTo>
                      <a:pt x="2618164" y="7398796"/>
                    </a:lnTo>
                    <a:lnTo>
                      <a:pt x="2642697" y="7414354"/>
                    </a:lnTo>
                    <a:lnTo>
                      <a:pt x="2662943" y="7429027"/>
                    </a:lnTo>
                    <a:lnTo>
                      <a:pt x="2667184" y="7460597"/>
                    </a:lnTo>
                    <a:lnTo>
                      <a:pt x="2653836" y="7479768"/>
                    </a:lnTo>
                    <a:lnTo>
                      <a:pt x="2635706" y="7492628"/>
                    </a:lnTo>
                    <a:lnTo>
                      <a:pt x="2620934" y="7509563"/>
                    </a:lnTo>
                    <a:lnTo>
                      <a:pt x="2609017" y="7527475"/>
                    </a:lnTo>
                    <a:lnTo>
                      <a:pt x="2605654" y="7548784"/>
                    </a:lnTo>
                    <a:lnTo>
                      <a:pt x="2610059" y="7570778"/>
                    </a:lnTo>
                    <a:lnTo>
                      <a:pt x="2616601" y="7593774"/>
                    </a:lnTo>
                    <a:lnTo>
                      <a:pt x="2627997" y="7613070"/>
                    </a:lnTo>
                    <a:lnTo>
                      <a:pt x="2684871" y="7636067"/>
                    </a:lnTo>
                    <a:lnTo>
                      <a:pt x="2706634" y="7640143"/>
                    </a:lnTo>
                    <a:lnTo>
                      <a:pt x="2727653" y="7651545"/>
                    </a:lnTo>
                    <a:lnTo>
                      <a:pt x="2748182" y="7664103"/>
                    </a:lnTo>
                    <a:lnTo>
                      <a:pt x="2767842" y="7678229"/>
                    </a:lnTo>
                    <a:lnTo>
                      <a:pt x="2788992" y="7690653"/>
                    </a:lnTo>
                    <a:lnTo>
                      <a:pt x="2809265" y="7703889"/>
                    </a:lnTo>
                    <a:lnTo>
                      <a:pt x="2829049" y="7716313"/>
                    </a:lnTo>
                    <a:lnTo>
                      <a:pt x="2859162" y="7728139"/>
                    </a:lnTo>
                    <a:lnTo>
                      <a:pt x="2894154" y="7734404"/>
                    </a:lnTo>
                    <a:lnTo>
                      <a:pt x="2932425" y="7739436"/>
                    </a:lnTo>
                    <a:lnTo>
                      <a:pt x="2971328" y="7744975"/>
                    </a:lnTo>
                    <a:lnTo>
                      <a:pt x="3010495" y="7755660"/>
                    </a:lnTo>
                    <a:lnTo>
                      <a:pt x="3048040" y="7774804"/>
                    </a:lnTo>
                    <a:lnTo>
                      <a:pt x="3068444" y="7796561"/>
                    </a:lnTo>
                    <a:lnTo>
                      <a:pt x="3081825" y="7818442"/>
                    </a:lnTo>
                    <a:lnTo>
                      <a:pt x="3095873" y="7842698"/>
                    </a:lnTo>
                    <a:lnTo>
                      <a:pt x="3109253" y="7865932"/>
                    </a:lnTo>
                    <a:lnTo>
                      <a:pt x="3119377" y="7885202"/>
                    </a:lnTo>
                    <a:lnTo>
                      <a:pt x="3132151" y="7904367"/>
                    </a:lnTo>
                    <a:lnTo>
                      <a:pt x="3147339" y="7920340"/>
                    </a:lnTo>
                    <a:lnTo>
                      <a:pt x="3167737" y="7935305"/>
                    </a:lnTo>
                    <a:lnTo>
                      <a:pt x="3190865" y="7946186"/>
                    </a:lnTo>
                    <a:lnTo>
                      <a:pt x="3210630" y="7953756"/>
                    </a:lnTo>
                    <a:lnTo>
                      <a:pt x="3231484" y="7965734"/>
                    </a:lnTo>
                    <a:lnTo>
                      <a:pt x="3246632" y="7981548"/>
                    </a:lnTo>
                    <a:lnTo>
                      <a:pt x="3258556" y="8000784"/>
                    </a:lnTo>
                    <a:lnTo>
                      <a:pt x="3267353" y="8022166"/>
                    </a:lnTo>
                    <a:lnTo>
                      <a:pt x="3271112" y="8044120"/>
                    </a:lnTo>
                    <a:lnTo>
                      <a:pt x="3269430" y="8065157"/>
                    </a:lnTo>
                    <a:lnTo>
                      <a:pt x="3245537" y="8085220"/>
                    </a:lnTo>
                    <a:lnTo>
                      <a:pt x="3228681" y="8098237"/>
                    </a:lnTo>
                    <a:lnTo>
                      <a:pt x="3213987" y="8113492"/>
                    </a:lnTo>
                    <a:lnTo>
                      <a:pt x="3197665" y="8139337"/>
                    </a:lnTo>
                    <a:lnTo>
                      <a:pt x="3191835" y="8159517"/>
                    </a:lnTo>
                    <a:lnTo>
                      <a:pt x="3193853" y="8180397"/>
                    </a:lnTo>
                    <a:lnTo>
                      <a:pt x="3214950" y="8195875"/>
                    </a:lnTo>
                    <a:lnTo>
                      <a:pt x="3234392" y="8204620"/>
                    </a:lnTo>
                    <a:lnTo>
                      <a:pt x="3257005" y="8213108"/>
                    </a:lnTo>
                    <a:lnTo>
                      <a:pt x="3279778" y="8228778"/>
                    </a:lnTo>
                    <a:lnTo>
                      <a:pt x="3301040" y="8254953"/>
                    </a:lnTo>
                    <a:lnTo>
                      <a:pt x="3305116" y="8295756"/>
                    </a:lnTo>
                    <a:lnTo>
                      <a:pt x="3287190" y="8324983"/>
                    </a:lnTo>
                    <a:lnTo>
                      <a:pt x="3260468" y="8348145"/>
                    </a:lnTo>
                    <a:lnTo>
                      <a:pt x="3237102" y="8371926"/>
                    </a:lnTo>
                    <a:lnTo>
                      <a:pt x="3237630" y="8404842"/>
                    </a:lnTo>
                    <a:lnTo>
                      <a:pt x="3258318" y="8420624"/>
                    </a:lnTo>
                    <a:lnTo>
                      <a:pt x="3291510" y="8424976"/>
                    </a:lnTo>
                    <a:lnTo>
                      <a:pt x="3326469" y="8426625"/>
                    </a:lnTo>
                    <a:lnTo>
                      <a:pt x="3367319" y="8419100"/>
                    </a:lnTo>
                    <a:lnTo>
                      <a:pt x="3403630" y="8425450"/>
                    </a:lnTo>
                    <a:lnTo>
                      <a:pt x="3438181" y="8432085"/>
                    </a:lnTo>
                    <a:lnTo>
                      <a:pt x="3471057" y="8441299"/>
                    </a:lnTo>
                    <a:lnTo>
                      <a:pt x="3503938" y="8450518"/>
                    </a:lnTo>
                    <a:lnTo>
                      <a:pt x="3535614" y="8461353"/>
                    </a:lnTo>
                    <a:lnTo>
                      <a:pt x="3551310" y="8475309"/>
                    </a:lnTo>
                    <a:lnTo>
                      <a:pt x="3559916" y="8537366"/>
                    </a:lnTo>
                    <a:lnTo>
                      <a:pt x="3571714" y="8575960"/>
                    </a:lnTo>
                    <a:lnTo>
                      <a:pt x="3584740" y="8612508"/>
                    </a:lnTo>
                    <a:lnTo>
                      <a:pt x="3610374" y="8631904"/>
                    </a:lnTo>
                    <a:lnTo>
                      <a:pt x="3651968" y="8623568"/>
                    </a:lnTo>
                    <a:lnTo>
                      <a:pt x="3681473" y="8598692"/>
                    </a:lnTo>
                    <a:lnTo>
                      <a:pt x="3687765" y="8575492"/>
                    </a:lnTo>
                    <a:lnTo>
                      <a:pt x="3690053" y="8551473"/>
                    </a:lnTo>
                    <a:lnTo>
                      <a:pt x="3692329" y="8527461"/>
                    </a:lnTo>
                    <a:lnTo>
                      <a:pt x="3689717" y="8502044"/>
                    </a:lnTo>
                    <a:lnTo>
                      <a:pt x="3703652" y="8472585"/>
                    </a:lnTo>
                    <a:lnTo>
                      <a:pt x="3721959" y="8445691"/>
                    </a:lnTo>
                    <a:lnTo>
                      <a:pt x="3747911" y="8428747"/>
                    </a:lnTo>
                    <a:lnTo>
                      <a:pt x="3778464" y="8422259"/>
                    </a:lnTo>
                    <a:lnTo>
                      <a:pt x="3809883" y="8422325"/>
                    </a:lnTo>
                    <a:lnTo>
                      <a:pt x="3839540" y="8433062"/>
                    </a:lnTo>
                    <a:lnTo>
                      <a:pt x="3864158" y="8453544"/>
                    </a:lnTo>
                    <a:lnTo>
                      <a:pt x="3896302" y="8488558"/>
                    </a:lnTo>
                    <a:lnTo>
                      <a:pt x="3911602" y="8507175"/>
                    </a:lnTo>
                    <a:lnTo>
                      <a:pt x="3922643" y="8525635"/>
                    </a:lnTo>
                    <a:lnTo>
                      <a:pt x="3933683" y="8544086"/>
                    </a:lnTo>
                    <a:lnTo>
                      <a:pt x="3958012" y="8599081"/>
                    </a:lnTo>
                    <a:lnTo>
                      <a:pt x="3973826" y="8632003"/>
                    </a:lnTo>
                    <a:lnTo>
                      <a:pt x="4008700" y="8660823"/>
                    </a:lnTo>
                    <a:lnTo>
                      <a:pt x="4032816" y="8687493"/>
                    </a:lnTo>
                    <a:lnTo>
                      <a:pt x="4036371" y="8722221"/>
                    </a:lnTo>
                    <a:lnTo>
                      <a:pt x="4023301" y="8750066"/>
                    </a:lnTo>
                    <a:lnTo>
                      <a:pt x="4018414" y="8780244"/>
                    </a:lnTo>
                    <a:lnTo>
                      <a:pt x="4031458" y="8799032"/>
                    </a:lnTo>
                    <a:lnTo>
                      <a:pt x="4060001" y="8806735"/>
                    </a:lnTo>
                    <a:lnTo>
                      <a:pt x="4119659" y="8794548"/>
                    </a:lnTo>
                    <a:lnTo>
                      <a:pt x="4150668" y="8806174"/>
                    </a:lnTo>
                    <a:lnTo>
                      <a:pt x="4170433" y="8825564"/>
                    </a:lnTo>
                    <a:lnTo>
                      <a:pt x="4190600" y="8834400"/>
                    </a:lnTo>
                    <a:lnTo>
                      <a:pt x="4233328" y="8853105"/>
                    </a:lnTo>
                    <a:lnTo>
                      <a:pt x="4269132" y="8861499"/>
                    </a:lnTo>
                    <a:lnTo>
                      <a:pt x="4298057" y="8860239"/>
                    </a:lnTo>
                    <a:lnTo>
                      <a:pt x="4326989" y="8858980"/>
                    </a:lnTo>
                    <a:lnTo>
                      <a:pt x="4348918" y="8848632"/>
                    </a:lnTo>
                    <a:lnTo>
                      <a:pt x="4367428" y="8831676"/>
                    </a:lnTo>
                    <a:lnTo>
                      <a:pt x="4385940" y="8814721"/>
                    </a:lnTo>
                    <a:lnTo>
                      <a:pt x="4400839" y="8790696"/>
                    </a:lnTo>
                    <a:lnTo>
                      <a:pt x="4412314" y="8762305"/>
                    </a:lnTo>
                    <a:lnTo>
                      <a:pt x="4423796" y="8733915"/>
                    </a:lnTo>
                    <a:lnTo>
                      <a:pt x="4431696" y="8701295"/>
                    </a:lnTo>
                    <a:lnTo>
                      <a:pt x="4439519" y="8665736"/>
                    </a:lnTo>
                    <a:lnTo>
                      <a:pt x="4481429" y="8685158"/>
                    </a:lnTo>
                    <a:lnTo>
                      <a:pt x="4506173" y="8699739"/>
                    </a:lnTo>
                    <a:lnTo>
                      <a:pt x="4532407" y="8713259"/>
                    </a:lnTo>
                    <a:lnTo>
                      <a:pt x="4561550" y="8716147"/>
                    </a:lnTo>
                    <a:lnTo>
                      <a:pt x="4594584" y="8702456"/>
                    </a:lnTo>
                    <a:lnTo>
                      <a:pt x="4608460" y="8685468"/>
                    </a:lnTo>
                    <a:lnTo>
                      <a:pt x="4617903" y="8647646"/>
                    </a:lnTo>
                    <a:lnTo>
                      <a:pt x="4628588" y="8611321"/>
                    </a:lnTo>
                    <a:lnTo>
                      <a:pt x="4639271" y="8575004"/>
                    </a:lnTo>
                    <a:lnTo>
                      <a:pt x="4650858" y="8539820"/>
                    </a:lnTo>
                    <a:lnTo>
                      <a:pt x="4672114" y="8528351"/>
                    </a:lnTo>
                    <a:lnTo>
                      <a:pt x="4705905" y="8536680"/>
                    </a:lnTo>
                    <a:lnTo>
                      <a:pt x="4726713" y="8572768"/>
                    </a:lnTo>
                    <a:lnTo>
                      <a:pt x="4735299" y="8600050"/>
                    </a:lnTo>
                    <a:lnTo>
                      <a:pt x="4729245" y="8629002"/>
                    </a:lnTo>
                    <a:lnTo>
                      <a:pt x="4721819" y="8656602"/>
                    </a:lnTo>
                    <a:lnTo>
                      <a:pt x="4733236" y="8685633"/>
                    </a:lnTo>
                    <a:lnTo>
                      <a:pt x="4740826" y="8716688"/>
                    </a:lnTo>
                    <a:lnTo>
                      <a:pt x="4742850" y="8751424"/>
                    </a:lnTo>
                    <a:lnTo>
                      <a:pt x="4722360" y="8781411"/>
                    </a:lnTo>
                    <a:lnTo>
                      <a:pt x="4691285" y="8832720"/>
                    </a:lnTo>
                    <a:lnTo>
                      <a:pt x="4685719" y="8869762"/>
                    </a:lnTo>
                    <a:lnTo>
                      <a:pt x="4682296" y="8892549"/>
                    </a:lnTo>
                    <a:lnTo>
                      <a:pt x="4700682" y="8919600"/>
                    </a:lnTo>
                    <a:lnTo>
                      <a:pt x="4718193" y="8953010"/>
                    </a:lnTo>
                    <a:lnTo>
                      <a:pt x="4731969" y="8985377"/>
                    </a:lnTo>
                    <a:lnTo>
                      <a:pt x="4746649" y="9010346"/>
                    </a:lnTo>
                    <a:lnTo>
                      <a:pt x="4776900" y="9030494"/>
                    </a:lnTo>
                    <a:lnTo>
                      <a:pt x="4798618" y="9047944"/>
                    </a:lnTo>
                    <a:lnTo>
                      <a:pt x="4822649" y="9067260"/>
                    </a:lnTo>
                    <a:lnTo>
                      <a:pt x="4851686" y="9087803"/>
                    </a:lnTo>
                    <a:lnTo>
                      <a:pt x="4878870" y="9095552"/>
                    </a:lnTo>
                    <a:lnTo>
                      <a:pt x="4905679" y="9100089"/>
                    </a:lnTo>
                    <a:lnTo>
                      <a:pt x="4930951" y="9091016"/>
                    </a:lnTo>
                    <a:lnTo>
                      <a:pt x="4953676" y="9064267"/>
                    </a:lnTo>
                    <a:lnTo>
                      <a:pt x="4967750" y="9041995"/>
                    </a:lnTo>
                    <a:lnTo>
                      <a:pt x="4960482" y="8997618"/>
                    </a:lnTo>
                    <a:lnTo>
                      <a:pt x="4939491" y="8968158"/>
                    </a:lnTo>
                    <a:lnTo>
                      <a:pt x="4924844" y="8940967"/>
                    </a:lnTo>
                    <a:lnTo>
                      <a:pt x="4914642" y="8922080"/>
                    </a:lnTo>
                    <a:lnTo>
                      <a:pt x="4903351" y="8899683"/>
                    </a:lnTo>
                    <a:lnTo>
                      <a:pt x="4892060" y="8877294"/>
                    </a:lnTo>
                    <a:lnTo>
                      <a:pt x="4880552" y="8851601"/>
                    </a:lnTo>
                    <a:lnTo>
                      <a:pt x="4872064" y="8826236"/>
                    </a:lnTo>
                    <a:lnTo>
                      <a:pt x="4863584" y="8800866"/>
                    </a:lnTo>
                    <a:lnTo>
                      <a:pt x="4858499" y="8776194"/>
                    </a:lnTo>
                    <a:lnTo>
                      <a:pt x="4859825" y="8754148"/>
                    </a:lnTo>
                    <a:lnTo>
                      <a:pt x="4861150" y="8732093"/>
                    </a:lnTo>
                    <a:lnTo>
                      <a:pt x="4887028" y="8701098"/>
                    </a:lnTo>
                    <a:lnTo>
                      <a:pt x="4915617" y="8698137"/>
                    </a:lnTo>
                    <a:lnTo>
                      <a:pt x="4945492" y="8709507"/>
                    </a:lnTo>
                    <a:lnTo>
                      <a:pt x="4968640" y="8728301"/>
                    </a:lnTo>
                    <a:lnTo>
                      <a:pt x="4987060" y="8747097"/>
                    </a:lnTo>
                    <a:lnTo>
                      <a:pt x="5009792" y="8757293"/>
                    </a:lnTo>
                    <a:lnTo>
                      <a:pt x="5028489" y="8774553"/>
                    </a:lnTo>
                    <a:lnTo>
                      <a:pt x="5039370" y="8799032"/>
                    </a:lnTo>
                    <a:lnTo>
                      <a:pt x="5040795" y="8820914"/>
                    </a:lnTo>
                    <a:lnTo>
                      <a:pt x="5037953" y="8847880"/>
                    </a:lnTo>
                    <a:lnTo>
                      <a:pt x="5032571" y="8879286"/>
                    </a:lnTo>
                    <a:lnTo>
                      <a:pt x="5025773" y="8912182"/>
                    </a:lnTo>
                    <a:lnTo>
                      <a:pt x="5020325" y="8947041"/>
                    </a:lnTo>
                    <a:lnTo>
                      <a:pt x="5017607" y="8982661"/>
                    </a:lnTo>
                    <a:lnTo>
                      <a:pt x="5016835" y="9018307"/>
                    </a:lnTo>
                    <a:lnTo>
                      <a:pt x="5021095" y="9053114"/>
                    </a:lnTo>
                    <a:lnTo>
                      <a:pt x="5031207" y="9086036"/>
                    </a:lnTo>
                    <a:lnTo>
                      <a:pt x="5048010" y="9116161"/>
                    </a:lnTo>
                    <a:lnTo>
                      <a:pt x="5067933" y="9136362"/>
                    </a:lnTo>
                    <a:lnTo>
                      <a:pt x="5099734" y="9157194"/>
                    </a:lnTo>
                    <a:lnTo>
                      <a:pt x="5136493" y="9164930"/>
                    </a:lnTo>
                    <a:lnTo>
                      <a:pt x="5174026" y="9166288"/>
                    </a:lnTo>
                    <a:lnTo>
                      <a:pt x="5211557" y="9167642"/>
                    </a:lnTo>
                    <a:lnTo>
                      <a:pt x="5249959" y="9162656"/>
                    </a:lnTo>
                    <a:lnTo>
                      <a:pt x="5286924" y="9155407"/>
                    </a:lnTo>
                    <a:lnTo>
                      <a:pt x="5323888" y="9148153"/>
                    </a:lnTo>
                    <a:lnTo>
                      <a:pt x="5358828" y="9138624"/>
                    </a:lnTo>
                    <a:lnTo>
                      <a:pt x="5388940" y="9133644"/>
                    </a:lnTo>
                    <a:lnTo>
                      <a:pt x="5419046" y="9128666"/>
                    </a:lnTo>
                    <a:lnTo>
                      <a:pt x="5444067" y="9128204"/>
                    </a:lnTo>
                    <a:lnTo>
                      <a:pt x="5481697" y="9146307"/>
                    </a:lnTo>
                    <a:lnTo>
                      <a:pt x="5497625" y="9161666"/>
                    </a:lnTo>
                    <a:lnTo>
                      <a:pt x="5514078" y="9178530"/>
                    </a:lnTo>
                    <a:lnTo>
                      <a:pt x="5530533" y="9195386"/>
                    </a:lnTo>
                    <a:lnTo>
                      <a:pt x="5547924" y="9213079"/>
                    </a:lnTo>
                    <a:lnTo>
                      <a:pt x="5568479" y="9224773"/>
                    </a:lnTo>
                    <a:lnTo>
                      <a:pt x="5593975" y="9224001"/>
                    </a:lnTo>
                    <a:lnTo>
                      <a:pt x="5632767" y="9225517"/>
                    </a:lnTo>
                    <a:lnTo>
                      <a:pt x="5658257" y="9230213"/>
                    </a:lnTo>
                    <a:lnTo>
                      <a:pt x="5684102" y="9246536"/>
                    </a:lnTo>
                    <a:lnTo>
                      <a:pt x="5702877" y="9259858"/>
                    </a:lnTo>
                    <a:lnTo>
                      <a:pt x="5722451" y="9271307"/>
                    </a:lnTo>
                    <a:lnTo>
                      <a:pt x="5742593" y="9279181"/>
                    </a:lnTo>
                    <a:lnTo>
                      <a:pt x="5763340" y="9283711"/>
                    </a:lnTo>
                    <a:lnTo>
                      <a:pt x="5785466" y="9279906"/>
                    </a:lnTo>
                    <a:lnTo>
                      <a:pt x="5805158" y="9266934"/>
                    </a:lnTo>
                    <a:lnTo>
                      <a:pt x="5821763" y="9249635"/>
                    </a:lnTo>
                    <a:lnTo>
                      <a:pt x="5837519" y="9229824"/>
                    </a:lnTo>
                    <a:lnTo>
                      <a:pt x="5852766" y="9209808"/>
                    </a:lnTo>
                    <a:lnTo>
                      <a:pt x="5867862" y="9193282"/>
                    </a:lnTo>
                    <a:lnTo>
                      <a:pt x="5866833" y="9169738"/>
                    </a:lnTo>
                    <a:lnTo>
                      <a:pt x="5848288" y="9151767"/>
                    </a:lnTo>
                    <a:lnTo>
                      <a:pt x="5829262" y="9133915"/>
                    </a:lnTo>
                    <a:lnTo>
                      <a:pt x="5809740" y="9116181"/>
                    </a:lnTo>
                    <a:lnTo>
                      <a:pt x="5802018" y="9087321"/>
                    </a:lnTo>
                    <a:lnTo>
                      <a:pt x="5797422" y="9062986"/>
                    </a:lnTo>
                    <a:lnTo>
                      <a:pt x="5790200" y="9038427"/>
                    </a:lnTo>
                    <a:lnTo>
                      <a:pt x="5781258" y="9015233"/>
                    </a:lnTo>
                    <a:lnTo>
                      <a:pt x="5769216" y="8993608"/>
                    </a:lnTo>
                    <a:lnTo>
                      <a:pt x="5753474" y="8974496"/>
                    </a:lnTo>
                    <a:lnTo>
                      <a:pt x="5782037" y="8939135"/>
                    </a:lnTo>
                    <a:lnTo>
                      <a:pt x="5812115" y="8945801"/>
                    </a:lnTo>
                    <a:lnTo>
                      <a:pt x="5836444" y="8935051"/>
                    </a:lnTo>
                    <a:lnTo>
                      <a:pt x="5837802" y="8899683"/>
                    </a:lnTo>
                    <a:lnTo>
                      <a:pt x="5809240" y="8890167"/>
                    </a:lnTo>
                    <a:lnTo>
                      <a:pt x="5788018" y="8879853"/>
                    </a:lnTo>
                    <a:lnTo>
                      <a:pt x="5767896" y="8867837"/>
                    </a:lnTo>
                    <a:lnTo>
                      <a:pt x="5752114" y="8853441"/>
                    </a:lnTo>
                    <a:lnTo>
                      <a:pt x="5735793" y="8828960"/>
                    </a:lnTo>
                    <a:lnTo>
                      <a:pt x="5713680" y="8814960"/>
                    </a:lnTo>
                    <a:lnTo>
                      <a:pt x="5684458" y="8802151"/>
                    </a:lnTo>
                    <a:lnTo>
                      <a:pt x="5652821" y="8789510"/>
                    </a:lnTo>
                    <a:lnTo>
                      <a:pt x="5620929" y="8775092"/>
                    </a:lnTo>
                    <a:lnTo>
                      <a:pt x="5594932" y="8757682"/>
                    </a:lnTo>
                    <a:lnTo>
                      <a:pt x="5579368" y="8735101"/>
                    </a:lnTo>
                    <a:lnTo>
                      <a:pt x="5584974" y="8704943"/>
                    </a:lnTo>
                    <a:lnTo>
                      <a:pt x="5595526" y="8680937"/>
                    </a:lnTo>
                    <a:lnTo>
                      <a:pt x="5607937" y="8658930"/>
                    </a:lnTo>
                    <a:lnTo>
                      <a:pt x="5620381" y="8635690"/>
                    </a:lnTo>
                    <a:lnTo>
                      <a:pt x="5630847" y="8606006"/>
                    </a:lnTo>
                    <a:lnTo>
                      <a:pt x="5637858" y="8565079"/>
                    </a:lnTo>
                    <a:lnTo>
                      <a:pt x="5642408" y="8535454"/>
                    </a:lnTo>
                    <a:lnTo>
                      <a:pt x="5620177" y="8526986"/>
                    </a:lnTo>
                    <a:lnTo>
                      <a:pt x="5607001" y="8549396"/>
                    </a:lnTo>
                    <a:lnTo>
                      <a:pt x="5595268" y="8567148"/>
                    </a:lnTo>
                    <a:lnTo>
                      <a:pt x="5575259" y="8584995"/>
                    </a:lnTo>
                    <a:lnTo>
                      <a:pt x="5549249" y="8588522"/>
                    </a:lnTo>
                    <a:lnTo>
                      <a:pt x="5522243" y="8581394"/>
                    </a:lnTo>
                    <a:lnTo>
                      <a:pt x="5506514" y="8561649"/>
                    </a:lnTo>
                    <a:lnTo>
                      <a:pt x="5503725" y="8539952"/>
                    </a:lnTo>
                    <a:lnTo>
                      <a:pt x="5511362" y="8512021"/>
                    </a:lnTo>
                    <a:lnTo>
                      <a:pt x="5520646" y="8483229"/>
                    </a:lnTo>
                    <a:lnTo>
                      <a:pt x="5527683" y="8452174"/>
                    </a:lnTo>
                    <a:lnTo>
                      <a:pt x="5489684" y="8441246"/>
                    </a:lnTo>
                    <a:lnTo>
                      <a:pt x="5465171" y="8440593"/>
                    </a:lnTo>
                    <a:lnTo>
                      <a:pt x="5443349" y="8437217"/>
                    </a:lnTo>
                    <a:lnTo>
                      <a:pt x="5421525" y="8433853"/>
                    </a:lnTo>
                    <a:lnTo>
                      <a:pt x="5387582" y="8416812"/>
                    </a:lnTo>
                    <a:lnTo>
                      <a:pt x="5360312" y="8392337"/>
                    </a:lnTo>
                    <a:lnTo>
                      <a:pt x="5346838" y="8354239"/>
                    </a:lnTo>
                    <a:lnTo>
                      <a:pt x="5345091" y="8331270"/>
                    </a:lnTo>
                    <a:lnTo>
                      <a:pt x="5348138" y="8301196"/>
                    </a:lnTo>
                    <a:lnTo>
                      <a:pt x="5353908" y="8274513"/>
                    </a:lnTo>
                    <a:lnTo>
                      <a:pt x="5364130" y="8248991"/>
                    </a:lnTo>
                    <a:lnTo>
                      <a:pt x="5373976" y="8223667"/>
                    </a:lnTo>
                    <a:lnTo>
                      <a:pt x="5379760" y="8195652"/>
                    </a:lnTo>
                    <a:lnTo>
                      <a:pt x="5381804" y="8167346"/>
                    </a:lnTo>
                    <a:lnTo>
                      <a:pt x="5380782" y="8139337"/>
                    </a:lnTo>
                    <a:lnTo>
                      <a:pt x="5379094" y="8110083"/>
                    </a:lnTo>
                    <a:lnTo>
                      <a:pt x="5377037" y="8081533"/>
                    </a:lnTo>
                    <a:lnTo>
                      <a:pt x="5375348" y="8053643"/>
                    </a:lnTo>
                    <a:lnTo>
                      <a:pt x="5380782" y="8030514"/>
                    </a:lnTo>
                    <a:lnTo>
                      <a:pt x="5395745" y="8010117"/>
                    </a:lnTo>
                    <a:lnTo>
                      <a:pt x="5409351" y="7989712"/>
                    </a:lnTo>
                    <a:lnTo>
                      <a:pt x="5413427" y="7966591"/>
                    </a:lnTo>
                    <a:lnTo>
                      <a:pt x="5405751" y="7945552"/>
                    </a:lnTo>
                    <a:lnTo>
                      <a:pt x="5390707" y="7930457"/>
                    </a:lnTo>
                    <a:lnTo>
                      <a:pt x="5359969" y="7904783"/>
                    </a:lnTo>
                    <a:lnTo>
                      <a:pt x="5331815" y="7882255"/>
                    </a:lnTo>
                    <a:lnTo>
                      <a:pt x="5313685" y="7857523"/>
                    </a:lnTo>
                    <a:lnTo>
                      <a:pt x="5318434" y="7831375"/>
                    </a:lnTo>
                    <a:lnTo>
                      <a:pt x="5330456" y="7810167"/>
                    </a:lnTo>
                    <a:lnTo>
                      <a:pt x="5348407" y="7785838"/>
                    </a:lnTo>
                    <a:lnTo>
                      <a:pt x="5363101" y="7770723"/>
                    </a:lnTo>
                    <a:lnTo>
                      <a:pt x="5360377" y="7740794"/>
                    </a:lnTo>
                    <a:lnTo>
                      <a:pt x="5361737" y="7710873"/>
                    </a:lnTo>
                    <a:lnTo>
                      <a:pt x="5393267" y="7704496"/>
                    </a:lnTo>
                    <a:lnTo>
                      <a:pt x="5428126" y="7706368"/>
                    </a:lnTo>
                    <a:lnTo>
                      <a:pt x="5455588" y="7690468"/>
                    </a:lnTo>
                    <a:lnTo>
                      <a:pt x="5450155" y="7656466"/>
                    </a:lnTo>
                    <a:lnTo>
                      <a:pt x="5412048" y="7643961"/>
                    </a:lnTo>
                    <a:lnTo>
                      <a:pt x="5387588" y="7633343"/>
                    </a:lnTo>
                    <a:lnTo>
                      <a:pt x="5363127" y="7622725"/>
                    </a:lnTo>
                    <a:lnTo>
                      <a:pt x="5340250" y="7610208"/>
                    </a:lnTo>
                    <a:lnTo>
                      <a:pt x="5325643" y="7589006"/>
                    </a:lnTo>
                    <a:lnTo>
                      <a:pt x="5315499" y="7568054"/>
                    </a:lnTo>
                    <a:lnTo>
                      <a:pt x="5301663" y="7551376"/>
                    </a:lnTo>
                    <a:lnTo>
                      <a:pt x="5281489" y="7536768"/>
                    </a:lnTo>
                    <a:lnTo>
                      <a:pt x="5270145" y="7517629"/>
                    </a:lnTo>
                    <a:lnTo>
                      <a:pt x="5271973" y="7493242"/>
                    </a:lnTo>
                    <a:lnTo>
                      <a:pt x="5274282" y="7462417"/>
                    </a:lnTo>
                    <a:lnTo>
                      <a:pt x="5275238" y="7431157"/>
                    </a:lnTo>
                    <a:lnTo>
                      <a:pt x="5277413" y="7399389"/>
                    </a:lnTo>
                    <a:lnTo>
                      <a:pt x="5279584" y="7367622"/>
                    </a:lnTo>
                    <a:lnTo>
                      <a:pt x="5282743" y="7335980"/>
                    </a:lnTo>
                    <a:lnTo>
                      <a:pt x="5288295" y="7305537"/>
                    </a:lnTo>
                    <a:lnTo>
                      <a:pt x="5296902" y="7270426"/>
                    </a:lnTo>
                    <a:lnTo>
                      <a:pt x="5306886" y="7234549"/>
                    </a:lnTo>
                    <a:lnTo>
                      <a:pt x="5310059" y="7198080"/>
                    </a:lnTo>
                    <a:lnTo>
                      <a:pt x="5282849" y="7176317"/>
                    </a:lnTo>
                    <a:lnTo>
                      <a:pt x="5216200" y="7203520"/>
                    </a:lnTo>
                    <a:lnTo>
                      <a:pt x="5192070" y="7190826"/>
                    </a:lnTo>
                    <a:lnTo>
                      <a:pt x="5194443" y="7164076"/>
                    </a:lnTo>
                    <a:lnTo>
                      <a:pt x="5204204" y="7133766"/>
                    </a:lnTo>
                    <a:lnTo>
                      <a:pt x="5217327" y="7101894"/>
                    </a:lnTo>
                    <a:lnTo>
                      <a:pt x="5229805" y="7071584"/>
                    </a:lnTo>
                    <a:lnTo>
                      <a:pt x="5240806" y="7042440"/>
                    </a:lnTo>
                    <a:lnTo>
                      <a:pt x="5243741" y="7014893"/>
                    </a:lnTo>
                    <a:lnTo>
                      <a:pt x="5235245" y="6989972"/>
                    </a:lnTo>
                    <a:lnTo>
                      <a:pt x="5221871" y="6967641"/>
                    </a:lnTo>
                    <a:lnTo>
                      <a:pt x="5205094" y="6949729"/>
                    </a:lnTo>
                    <a:lnTo>
                      <a:pt x="5189003" y="6934205"/>
                    </a:lnTo>
                    <a:lnTo>
                      <a:pt x="5172680" y="6909718"/>
                    </a:lnTo>
                    <a:lnTo>
                      <a:pt x="5180436" y="6882091"/>
                    </a:lnTo>
                    <a:lnTo>
                      <a:pt x="5242045" y="6858034"/>
                    </a:lnTo>
                    <a:lnTo>
                      <a:pt x="5259521" y="6826239"/>
                    </a:lnTo>
                    <a:lnTo>
                      <a:pt x="5247018" y="6805994"/>
                    </a:lnTo>
                    <a:lnTo>
                      <a:pt x="5232529" y="6785944"/>
                    </a:lnTo>
                    <a:lnTo>
                      <a:pt x="5218040" y="6765889"/>
                    </a:lnTo>
                    <a:lnTo>
                      <a:pt x="5201460" y="6747014"/>
                    </a:lnTo>
                    <a:lnTo>
                      <a:pt x="5212124" y="6717931"/>
                    </a:lnTo>
                    <a:lnTo>
                      <a:pt x="5236341" y="6712603"/>
                    </a:lnTo>
                    <a:lnTo>
                      <a:pt x="5272237" y="6715102"/>
                    </a:lnTo>
                    <a:lnTo>
                      <a:pt x="5297818" y="6719297"/>
                    </a:lnTo>
                    <a:lnTo>
                      <a:pt x="5303767" y="6688835"/>
                    </a:lnTo>
                    <a:lnTo>
                      <a:pt x="5297818" y="6664889"/>
                    </a:lnTo>
                    <a:lnTo>
                      <a:pt x="5289324" y="6640553"/>
                    </a:lnTo>
                    <a:lnTo>
                      <a:pt x="5279101" y="6618494"/>
                    </a:lnTo>
                    <a:lnTo>
                      <a:pt x="5266532" y="6596875"/>
                    </a:lnTo>
                    <a:lnTo>
                      <a:pt x="5253329" y="6574050"/>
                    </a:lnTo>
                    <a:lnTo>
                      <a:pt x="5224957" y="6524634"/>
                    </a:lnTo>
                    <a:lnTo>
                      <a:pt x="5216800" y="6497141"/>
                    </a:lnTo>
                    <a:lnTo>
                      <a:pt x="5216206" y="6474461"/>
                    </a:lnTo>
                    <a:lnTo>
                      <a:pt x="5215612" y="6451781"/>
                    </a:lnTo>
                    <a:lnTo>
                      <a:pt x="5236605" y="6417329"/>
                    </a:lnTo>
                    <a:lnTo>
                      <a:pt x="5266189" y="6386148"/>
                    </a:lnTo>
                    <a:lnTo>
                      <a:pt x="5285579" y="6368362"/>
                    </a:lnTo>
                    <a:lnTo>
                      <a:pt x="5304960" y="6350581"/>
                    </a:lnTo>
                    <a:lnTo>
                      <a:pt x="5326638" y="6330152"/>
                    </a:lnTo>
                    <a:lnTo>
                      <a:pt x="5345428" y="6303079"/>
                    </a:lnTo>
                    <a:lnTo>
                      <a:pt x="5346020" y="6280406"/>
                    </a:lnTo>
                    <a:lnTo>
                      <a:pt x="5341101" y="6257871"/>
                    </a:lnTo>
                    <a:lnTo>
                      <a:pt x="5333180" y="6235066"/>
                    </a:lnTo>
                    <a:lnTo>
                      <a:pt x="5325266" y="6212261"/>
                    </a:lnTo>
                    <a:lnTo>
                      <a:pt x="5314054" y="6189568"/>
                    </a:lnTo>
                    <a:lnTo>
                      <a:pt x="5303260" y="6168417"/>
                    </a:lnTo>
                    <a:lnTo>
                      <a:pt x="5292463" y="6147268"/>
                    </a:lnTo>
                    <a:lnTo>
                      <a:pt x="5281397" y="6127627"/>
                    </a:lnTo>
                    <a:lnTo>
                      <a:pt x="5265267" y="6092227"/>
                    </a:lnTo>
                    <a:lnTo>
                      <a:pt x="5261092" y="6063684"/>
                    </a:lnTo>
                    <a:lnTo>
                      <a:pt x="5261619" y="6040707"/>
                    </a:lnTo>
                    <a:lnTo>
                      <a:pt x="5261751" y="6019043"/>
                    </a:lnTo>
                    <a:lnTo>
                      <a:pt x="5268617" y="5977733"/>
                    </a:lnTo>
                    <a:lnTo>
                      <a:pt x="5285572" y="5938546"/>
                    </a:lnTo>
                    <a:lnTo>
                      <a:pt x="5300530" y="5912699"/>
                    </a:lnTo>
                    <a:lnTo>
                      <a:pt x="5308120" y="5892302"/>
                    </a:lnTo>
                    <a:lnTo>
                      <a:pt x="5297917" y="5856539"/>
                    </a:lnTo>
                    <a:lnTo>
                      <a:pt x="5279379" y="5841891"/>
                    </a:lnTo>
                    <a:lnTo>
                      <a:pt x="5259726" y="5822924"/>
                    </a:lnTo>
                    <a:lnTo>
                      <a:pt x="5240073" y="5803957"/>
                    </a:lnTo>
                    <a:lnTo>
                      <a:pt x="5219088" y="5780921"/>
                    </a:lnTo>
                    <a:lnTo>
                      <a:pt x="5209400" y="5739953"/>
                    </a:lnTo>
                    <a:lnTo>
                      <a:pt x="5213225" y="5706391"/>
                    </a:lnTo>
                    <a:lnTo>
                      <a:pt x="5222412" y="5675534"/>
                    </a:lnTo>
                    <a:lnTo>
                      <a:pt x="5229799" y="5644736"/>
                    </a:lnTo>
                    <a:lnTo>
                      <a:pt x="5237191" y="5613944"/>
                    </a:lnTo>
                    <a:lnTo>
                      <a:pt x="5243305" y="5582658"/>
                    </a:lnTo>
                    <a:lnTo>
                      <a:pt x="5242045" y="5548167"/>
                    </a:lnTo>
                    <a:lnTo>
                      <a:pt x="5238471" y="5521491"/>
                    </a:lnTo>
                    <a:lnTo>
                      <a:pt x="5237442" y="5495948"/>
                    </a:lnTo>
                    <a:lnTo>
                      <a:pt x="5250210" y="5470637"/>
                    </a:lnTo>
                    <a:lnTo>
                      <a:pt x="5278370" y="5436640"/>
                    </a:lnTo>
                    <a:lnTo>
                      <a:pt x="5309972" y="5422429"/>
                    </a:lnTo>
                    <a:lnTo>
                      <a:pt x="5337262" y="5412147"/>
                    </a:lnTo>
                    <a:lnTo>
                      <a:pt x="5364552" y="5401866"/>
                    </a:lnTo>
                    <a:lnTo>
                      <a:pt x="5387450" y="5396412"/>
                    </a:lnTo>
                    <a:lnTo>
                      <a:pt x="5406825" y="5362488"/>
                    </a:lnTo>
                    <a:lnTo>
                      <a:pt x="5401252" y="5340644"/>
                    </a:lnTo>
                    <a:lnTo>
                      <a:pt x="5395753" y="5316930"/>
                    </a:lnTo>
                    <a:lnTo>
                      <a:pt x="5390253" y="5293215"/>
                    </a:lnTo>
                    <a:lnTo>
                      <a:pt x="5385221" y="5267388"/>
                    </a:lnTo>
                    <a:lnTo>
                      <a:pt x="5391678" y="5243483"/>
                    </a:lnTo>
                    <a:lnTo>
                      <a:pt x="5417502" y="5223019"/>
                    </a:lnTo>
                    <a:lnTo>
                      <a:pt x="5431029" y="5204414"/>
                    </a:lnTo>
                    <a:lnTo>
                      <a:pt x="5442095" y="5168288"/>
                    </a:lnTo>
                    <a:lnTo>
                      <a:pt x="5431122" y="5133308"/>
                    </a:lnTo>
                    <a:lnTo>
                      <a:pt x="5408678" y="5096990"/>
                    </a:lnTo>
                    <a:lnTo>
                      <a:pt x="5393036" y="5077535"/>
                    </a:lnTo>
                    <a:lnTo>
                      <a:pt x="5377393" y="5058087"/>
                    </a:lnTo>
                    <a:lnTo>
                      <a:pt x="5359236" y="5036844"/>
                    </a:lnTo>
                    <a:lnTo>
                      <a:pt x="5342710" y="5013604"/>
                    </a:lnTo>
                    <a:lnTo>
                      <a:pt x="5332329" y="4990120"/>
                    </a:lnTo>
                    <a:lnTo>
                      <a:pt x="5334044" y="4963641"/>
                    </a:lnTo>
                    <a:lnTo>
                      <a:pt x="5344068" y="4936074"/>
                    </a:lnTo>
                    <a:lnTo>
                      <a:pt x="5354145" y="4908369"/>
                    </a:lnTo>
                    <a:lnTo>
                      <a:pt x="5368192" y="4881455"/>
                    </a:lnTo>
                    <a:lnTo>
                      <a:pt x="5367191" y="4859903"/>
                    </a:lnTo>
                    <a:lnTo>
                      <a:pt x="5365884" y="4831724"/>
                    </a:lnTo>
                    <a:lnTo>
                      <a:pt x="5355701" y="4804704"/>
                    </a:lnTo>
                    <a:lnTo>
                      <a:pt x="5345428" y="4778291"/>
                    </a:lnTo>
                    <a:lnTo>
                      <a:pt x="5335158" y="4751879"/>
                    </a:lnTo>
                    <a:lnTo>
                      <a:pt x="5324317" y="4724820"/>
                    </a:lnTo>
                    <a:lnTo>
                      <a:pt x="5320947" y="4698037"/>
                    </a:lnTo>
                    <a:lnTo>
                      <a:pt x="5323169" y="4663487"/>
                    </a:lnTo>
                    <a:lnTo>
                      <a:pt x="5332323" y="4626496"/>
                    </a:lnTo>
                    <a:lnTo>
                      <a:pt x="5334546" y="4590586"/>
                    </a:lnTo>
                    <a:lnTo>
                      <a:pt x="5322127" y="4560574"/>
                    </a:lnTo>
                    <a:lnTo>
                      <a:pt x="5295287" y="4536264"/>
                    </a:lnTo>
                    <a:lnTo>
                      <a:pt x="5261098" y="4514416"/>
                    </a:lnTo>
                    <a:lnTo>
                      <a:pt x="5226850" y="4493496"/>
                    </a:lnTo>
                    <a:lnTo>
                      <a:pt x="5200134" y="4470039"/>
                    </a:lnTo>
                    <a:lnTo>
                      <a:pt x="5189009" y="4442321"/>
                    </a:lnTo>
                    <a:lnTo>
                      <a:pt x="5185481" y="4418540"/>
                    </a:lnTo>
                    <a:lnTo>
                      <a:pt x="5181154" y="4393722"/>
                    </a:lnTo>
                    <a:lnTo>
                      <a:pt x="5176762" y="4368873"/>
                    </a:lnTo>
                    <a:lnTo>
                      <a:pt x="5172370" y="4344023"/>
                    </a:lnTo>
                    <a:lnTo>
                      <a:pt x="5167846" y="4318811"/>
                    </a:lnTo>
                    <a:lnTo>
                      <a:pt x="5161805" y="4294060"/>
                    </a:lnTo>
                    <a:lnTo>
                      <a:pt x="5155757" y="4269316"/>
                    </a:lnTo>
                    <a:lnTo>
                      <a:pt x="5148523" y="4244084"/>
                    </a:lnTo>
                    <a:lnTo>
                      <a:pt x="5140042" y="4220614"/>
                    </a:lnTo>
                    <a:lnTo>
                      <a:pt x="5131554" y="4197142"/>
                    </a:lnTo>
                    <a:lnTo>
                      <a:pt x="5121827" y="4174990"/>
                    </a:lnTo>
                    <a:lnTo>
                      <a:pt x="5110115" y="4153959"/>
                    </a:lnTo>
                    <a:lnTo>
                      <a:pt x="5090363" y="4118485"/>
                    </a:lnTo>
                    <a:lnTo>
                      <a:pt x="5074264" y="4091842"/>
                    </a:lnTo>
                    <a:lnTo>
                      <a:pt x="5062505" y="4069629"/>
                    </a:lnTo>
                    <a:lnTo>
                      <a:pt x="5050754" y="4047418"/>
                    </a:lnTo>
                    <a:lnTo>
                      <a:pt x="5039384" y="4012504"/>
                    </a:lnTo>
                    <a:lnTo>
                      <a:pt x="5036693" y="3975453"/>
                    </a:lnTo>
                    <a:lnTo>
                      <a:pt x="5042100" y="3952655"/>
                    </a:lnTo>
                    <a:lnTo>
                      <a:pt x="5047516" y="3929850"/>
                    </a:lnTo>
                    <a:lnTo>
                      <a:pt x="5057447" y="3902250"/>
                    </a:lnTo>
                    <a:lnTo>
                      <a:pt x="5072029" y="3865597"/>
                    </a:lnTo>
                    <a:lnTo>
                      <a:pt x="5082910" y="3838398"/>
                    </a:lnTo>
                    <a:lnTo>
                      <a:pt x="5091483" y="3818449"/>
                    </a:lnTo>
                    <a:lnTo>
                      <a:pt x="5101534" y="3798494"/>
                    </a:lnTo>
                    <a:lnTo>
                      <a:pt x="5114191" y="3781267"/>
                    </a:lnTo>
                    <a:lnTo>
                      <a:pt x="5127070" y="3764627"/>
                    </a:lnTo>
                    <a:lnTo>
                      <a:pt x="5149472" y="3756893"/>
                    </a:lnTo>
                    <a:lnTo>
                      <a:pt x="5177698" y="3742252"/>
                    </a:lnTo>
                    <a:lnTo>
                      <a:pt x="5207152" y="3729926"/>
                    </a:lnTo>
                    <a:lnTo>
                      <a:pt x="5231169" y="3714626"/>
                    </a:lnTo>
                    <a:lnTo>
                      <a:pt x="5255328" y="3687869"/>
                    </a:lnTo>
                    <a:lnTo>
                      <a:pt x="5262456" y="3664293"/>
                    </a:lnTo>
                    <a:lnTo>
                      <a:pt x="5269580" y="3640717"/>
                    </a:lnTo>
                    <a:lnTo>
                      <a:pt x="5274150" y="3611040"/>
                    </a:lnTo>
                    <a:lnTo>
                      <a:pt x="5277413" y="3581322"/>
                    </a:lnTo>
                    <a:lnTo>
                      <a:pt x="5280678" y="3551606"/>
                    </a:lnTo>
                    <a:lnTo>
                      <a:pt x="5283039" y="3521686"/>
                    </a:lnTo>
                    <a:lnTo>
                      <a:pt x="5285579" y="3494270"/>
                    </a:lnTo>
                    <a:lnTo>
                      <a:pt x="5288110" y="3466855"/>
                    </a:lnTo>
                    <a:lnTo>
                      <a:pt x="5290161" y="3441577"/>
                    </a:lnTo>
                    <a:lnTo>
                      <a:pt x="5302508" y="3399896"/>
                    </a:lnTo>
                    <a:lnTo>
                      <a:pt x="5325023" y="3370490"/>
                    </a:lnTo>
                    <a:lnTo>
                      <a:pt x="5350551" y="3347823"/>
                    </a:lnTo>
                    <a:lnTo>
                      <a:pt x="5375665" y="3327874"/>
                    </a:lnTo>
                    <a:lnTo>
                      <a:pt x="5397111" y="3302484"/>
                    </a:lnTo>
                    <a:lnTo>
                      <a:pt x="5413282" y="3267075"/>
                    </a:lnTo>
                    <a:lnTo>
                      <a:pt x="5416157" y="3238553"/>
                    </a:lnTo>
                    <a:lnTo>
                      <a:pt x="5417107" y="3212813"/>
                    </a:lnTo>
                    <a:lnTo>
                      <a:pt x="5409332" y="3185667"/>
                    </a:lnTo>
                    <a:lnTo>
                      <a:pt x="5391374" y="3165929"/>
                    </a:lnTo>
                    <a:lnTo>
                      <a:pt x="5365963" y="3146805"/>
                    </a:lnTo>
                    <a:lnTo>
                      <a:pt x="5337994" y="3124943"/>
                    </a:lnTo>
                    <a:lnTo>
                      <a:pt x="5319852" y="3109900"/>
                    </a:lnTo>
                    <a:lnTo>
                      <a:pt x="5301900" y="3094368"/>
                    </a:lnTo>
                    <a:lnTo>
                      <a:pt x="5283955" y="3078845"/>
                    </a:lnTo>
                    <a:lnTo>
                      <a:pt x="5266663" y="3063194"/>
                    </a:lnTo>
                    <a:lnTo>
                      <a:pt x="5254292" y="3045408"/>
                    </a:lnTo>
                    <a:lnTo>
                      <a:pt x="5241927" y="3027615"/>
                    </a:lnTo>
                    <a:lnTo>
                      <a:pt x="5234106" y="3008027"/>
                    </a:lnTo>
                    <a:lnTo>
                      <a:pt x="5232529" y="2986917"/>
                    </a:lnTo>
                    <a:lnTo>
                      <a:pt x="5230952" y="2965808"/>
                    </a:lnTo>
                    <a:lnTo>
                      <a:pt x="5235786" y="2943036"/>
                    </a:lnTo>
                    <a:lnTo>
                      <a:pt x="5250216" y="2917546"/>
                    </a:lnTo>
                    <a:lnTo>
                      <a:pt x="5269559" y="2879802"/>
                    </a:lnTo>
                    <a:lnTo>
                      <a:pt x="5295814" y="2858700"/>
                    </a:lnTo>
                    <a:lnTo>
                      <a:pt x="5315505" y="2845457"/>
                    </a:lnTo>
                    <a:lnTo>
                      <a:pt x="5332323" y="2830413"/>
                    </a:lnTo>
                    <a:lnTo>
                      <a:pt x="5341344" y="2810089"/>
                    </a:lnTo>
                    <a:lnTo>
                      <a:pt x="5348784" y="2763000"/>
                    </a:lnTo>
                    <a:lnTo>
                      <a:pt x="5349510" y="2728477"/>
                    </a:lnTo>
                    <a:lnTo>
                      <a:pt x="5350241" y="2693960"/>
                    </a:lnTo>
                    <a:lnTo>
                      <a:pt x="5349641" y="2658907"/>
                    </a:lnTo>
                    <a:lnTo>
                      <a:pt x="5349311" y="2625201"/>
                    </a:lnTo>
                    <a:lnTo>
                      <a:pt x="5346034" y="2594731"/>
                    </a:lnTo>
                    <a:lnTo>
                      <a:pt x="5338628" y="2565253"/>
                    </a:lnTo>
                    <a:lnTo>
                      <a:pt x="5331222" y="2535780"/>
                    </a:lnTo>
                    <a:lnTo>
                      <a:pt x="5320096" y="2508160"/>
                    </a:lnTo>
                    <a:lnTo>
                      <a:pt x="5301900" y="2494522"/>
                    </a:lnTo>
                    <a:lnTo>
                      <a:pt x="5272896" y="2472463"/>
                    </a:lnTo>
                    <a:lnTo>
                      <a:pt x="5243852" y="2451292"/>
                    </a:lnTo>
                    <a:lnTo>
                      <a:pt x="5216206" y="2429233"/>
                    </a:lnTo>
                    <a:lnTo>
                      <a:pt x="5188746" y="2406224"/>
                    </a:lnTo>
                    <a:lnTo>
                      <a:pt x="5175285" y="2383451"/>
                    </a:lnTo>
                    <a:lnTo>
                      <a:pt x="5171322" y="2359861"/>
                    </a:lnTo>
                    <a:lnTo>
                      <a:pt x="5167358" y="2336277"/>
                    </a:lnTo>
                    <a:lnTo>
                      <a:pt x="5172252" y="2312332"/>
                    </a:lnTo>
                    <a:lnTo>
                      <a:pt x="5179486" y="2287772"/>
                    </a:lnTo>
                    <a:lnTo>
                      <a:pt x="5186713" y="2263212"/>
                    </a:lnTo>
                    <a:lnTo>
                      <a:pt x="5196488" y="2238891"/>
                    </a:lnTo>
                    <a:lnTo>
                      <a:pt x="5202608" y="2212966"/>
                    </a:lnTo>
                    <a:lnTo>
                      <a:pt x="5208727" y="2187035"/>
                    </a:lnTo>
                    <a:lnTo>
                      <a:pt x="5211261" y="2159040"/>
                    </a:lnTo>
                    <a:lnTo>
                      <a:pt x="5203967" y="2131347"/>
                    </a:lnTo>
                    <a:lnTo>
                      <a:pt x="5196699" y="2103761"/>
                    </a:lnTo>
                    <a:lnTo>
                      <a:pt x="5174038" y="2072864"/>
                    </a:lnTo>
                    <a:lnTo>
                      <a:pt x="5148252" y="2050303"/>
                    </a:lnTo>
                    <a:lnTo>
                      <a:pt x="5120936" y="2035576"/>
                    </a:lnTo>
                    <a:lnTo>
                      <a:pt x="5095150" y="2019815"/>
                    </a:lnTo>
                    <a:lnTo>
                      <a:pt x="5072919" y="1998611"/>
                    </a:lnTo>
                    <a:lnTo>
                      <a:pt x="5065223" y="1979012"/>
                    </a:lnTo>
                    <a:lnTo>
                      <a:pt x="5058529" y="1950752"/>
                    </a:lnTo>
                    <a:lnTo>
                      <a:pt x="5063766" y="1925653"/>
                    </a:lnTo>
                    <a:lnTo>
                      <a:pt x="5076111" y="1902840"/>
                    </a:lnTo>
                    <a:lnTo>
                      <a:pt x="5090257" y="1880161"/>
                    </a:lnTo>
                    <a:lnTo>
                      <a:pt x="5102774" y="1857507"/>
                    </a:lnTo>
                    <a:lnTo>
                      <a:pt x="5110115" y="1833469"/>
                    </a:lnTo>
                    <a:lnTo>
                      <a:pt x="5115324" y="1798272"/>
                    </a:lnTo>
                    <a:lnTo>
                      <a:pt x="5098204" y="1754977"/>
                    </a:lnTo>
                    <a:lnTo>
                      <a:pt x="5080193" y="1715129"/>
                    </a:lnTo>
                    <a:lnTo>
                      <a:pt x="5062183" y="1675284"/>
                    </a:lnTo>
                    <a:lnTo>
                      <a:pt x="5042820" y="1639743"/>
                    </a:lnTo>
                    <a:lnTo>
                      <a:pt x="5054380" y="1585527"/>
                    </a:lnTo>
                    <a:lnTo>
                      <a:pt x="5072240" y="1554900"/>
                    </a:lnTo>
                    <a:lnTo>
                      <a:pt x="5101753" y="1532590"/>
                    </a:lnTo>
                    <a:lnTo>
                      <a:pt x="5138684" y="1513821"/>
                    </a:lnTo>
                    <a:lnTo>
                      <a:pt x="5177554" y="1499285"/>
                    </a:lnTo>
                    <a:lnTo>
                      <a:pt x="5214064" y="1487553"/>
                    </a:lnTo>
                    <a:lnTo>
                      <a:pt x="5243417" y="1478459"/>
                    </a:lnTo>
                    <a:lnTo>
                      <a:pt x="5278146" y="1468026"/>
                    </a:lnTo>
                    <a:lnTo>
                      <a:pt x="5301413" y="1467848"/>
                    </a:lnTo>
                    <a:lnTo>
                      <a:pt x="5335047" y="1453701"/>
                    </a:lnTo>
                    <a:lnTo>
                      <a:pt x="5353591" y="1402288"/>
                    </a:lnTo>
                    <a:lnTo>
                      <a:pt x="5362791" y="1368409"/>
                    </a:lnTo>
                    <a:lnTo>
                      <a:pt x="5340211" y="1337968"/>
                    </a:lnTo>
                    <a:lnTo>
                      <a:pt x="5296466" y="1338357"/>
                    </a:lnTo>
                    <a:lnTo>
                      <a:pt x="5271993" y="1336583"/>
                    </a:lnTo>
                    <a:lnTo>
                      <a:pt x="5242026" y="1331426"/>
                    </a:lnTo>
                    <a:lnTo>
                      <a:pt x="5203973" y="1304354"/>
                    </a:lnTo>
                    <a:lnTo>
                      <a:pt x="5196871" y="1276213"/>
                    </a:lnTo>
                    <a:lnTo>
                      <a:pt x="5229323" y="1229976"/>
                    </a:lnTo>
                    <a:lnTo>
                      <a:pt x="5252024" y="1228254"/>
                    </a:lnTo>
                    <a:lnTo>
                      <a:pt x="5271979" y="1221377"/>
                    </a:lnTo>
                    <a:lnTo>
                      <a:pt x="5291698" y="1213106"/>
                    </a:lnTo>
                    <a:lnTo>
                      <a:pt x="5309393" y="1191568"/>
                    </a:lnTo>
                    <a:lnTo>
                      <a:pt x="5326387" y="1146570"/>
                    </a:lnTo>
                    <a:lnTo>
                      <a:pt x="5344860" y="1108755"/>
                    </a:lnTo>
                    <a:lnTo>
                      <a:pt x="5342795" y="1077285"/>
                    </a:lnTo>
                    <a:lnTo>
                      <a:pt x="5319232" y="1061120"/>
                    </a:lnTo>
                    <a:lnTo>
                      <a:pt x="5293742" y="1041830"/>
                    </a:lnTo>
                    <a:lnTo>
                      <a:pt x="5268254" y="1022547"/>
                    </a:lnTo>
                    <a:lnTo>
                      <a:pt x="5241248" y="999689"/>
                    </a:lnTo>
                    <a:lnTo>
                      <a:pt x="5232535" y="975182"/>
                    </a:lnTo>
                    <a:lnTo>
                      <a:pt x="5245263" y="930514"/>
                    </a:lnTo>
                    <a:lnTo>
                      <a:pt x="5290802" y="929901"/>
                    </a:lnTo>
                    <a:lnTo>
                      <a:pt x="5320392" y="931392"/>
                    </a:lnTo>
                    <a:lnTo>
                      <a:pt x="5349510" y="930297"/>
                    </a:lnTo>
                    <a:lnTo>
                      <a:pt x="5378632" y="929202"/>
                    </a:lnTo>
                    <a:lnTo>
                      <a:pt x="5407723" y="925126"/>
                    </a:lnTo>
                    <a:lnTo>
                      <a:pt x="5435204" y="916692"/>
                    </a:lnTo>
                    <a:lnTo>
                      <a:pt x="5458306" y="909609"/>
                    </a:lnTo>
                    <a:lnTo>
                      <a:pt x="5481453" y="884047"/>
                    </a:lnTo>
                    <a:lnTo>
                      <a:pt x="5491076" y="851389"/>
                    </a:lnTo>
                    <a:lnTo>
                      <a:pt x="5485430" y="816053"/>
                    </a:lnTo>
                    <a:lnTo>
                      <a:pt x="5467848" y="782030"/>
                    </a:lnTo>
                    <a:lnTo>
                      <a:pt x="5444001" y="751786"/>
                    </a:lnTo>
                    <a:lnTo>
                      <a:pt x="5408883" y="725743"/>
                    </a:lnTo>
                    <a:lnTo>
                      <a:pt x="5372921" y="712184"/>
                    </a:lnTo>
                    <a:lnTo>
                      <a:pt x="5335910" y="701783"/>
                    </a:lnTo>
                    <a:lnTo>
                      <a:pt x="5298894" y="691383"/>
                    </a:lnTo>
                    <a:lnTo>
                      <a:pt x="5261394" y="682935"/>
                    </a:lnTo>
                    <a:lnTo>
                      <a:pt x="5236617" y="678662"/>
                    </a:lnTo>
                    <a:lnTo>
                      <a:pt x="5251858" y="649070"/>
                    </a:lnTo>
                    <a:lnTo>
                      <a:pt x="5308219" y="623845"/>
                    </a:lnTo>
                    <a:lnTo>
                      <a:pt x="5333193" y="620171"/>
                    </a:lnTo>
                    <a:lnTo>
                      <a:pt x="5347274" y="596773"/>
                    </a:lnTo>
                    <a:lnTo>
                      <a:pt x="5346911" y="557124"/>
                    </a:lnTo>
                    <a:lnTo>
                      <a:pt x="5344074" y="518155"/>
                    </a:lnTo>
                    <a:lnTo>
                      <a:pt x="5341239" y="479186"/>
                    </a:lnTo>
                    <a:lnTo>
                      <a:pt x="5335679" y="440975"/>
                    </a:lnTo>
                    <a:lnTo>
                      <a:pt x="5323671" y="412063"/>
                    </a:lnTo>
                    <a:lnTo>
                      <a:pt x="5229818" y="397099"/>
                    </a:lnTo>
                    <a:lnTo>
                      <a:pt x="5220659" y="366769"/>
                    </a:lnTo>
                    <a:lnTo>
                      <a:pt x="5223368" y="326237"/>
                    </a:lnTo>
                    <a:lnTo>
                      <a:pt x="5233893" y="286924"/>
                    </a:lnTo>
                    <a:lnTo>
                      <a:pt x="5244426" y="247600"/>
                    </a:lnTo>
                    <a:lnTo>
                      <a:pt x="5261876" y="210391"/>
                    </a:lnTo>
                    <a:lnTo>
                      <a:pt x="5281503" y="186267"/>
                    </a:lnTo>
                    <a:lnTo>
                      <a:pt x="5315051" y="145028"/>
                    </a:lnTo>
                    <a:lnTo>
                      <a:pt x="5337341" y="133883"/>
                    </a:lnTo>
                    <a:lnTo>
                      <a:pt x="5348085" y="105347"/>
                    </a:lnTo>
                    <a:lnTo>
                      <a:pt x="5337078" y="87475"/>
                    </a:lnTo>
                    <a:lnTo>
                      <a:pt x="5307348" y="33924"/>
                    </a:lnTo>
                    <a:lnTo>
                      <a:pt x="5281503" y="23043"/>
                    </a:lnTo>
                    <a:lnTo>
                      <a:pt x="5262839" y="48657"/>
                    </a:lnTo>
                    <a:lnTo>
                      <a:pt x="5248923" y="65508"/>
                    </a:lnTo>
                    <a:lnTo>
                      <a:pt x="5232535" y="78816"/>
                    </a:lnTo>
                    <a:lnTo>
                      <a:pt x="5216141" y="92118"/>
                    </a:lnTo>
                    <a:lnTo>
                      <a:pt x="5196231" y="102960"/>
                    </a:lnTo>
                    <a:lnTo>
                      <a:pt x="5167246" y="114177"/>
                    </a:lnTo>
                    <a:lnTo>
                      <a:pt x="5086992" y="145464"/>
                    </a:lnTo>
                    <a:lnTo>
                      <a:pt x="5061062" y="151769"/>
                    </a:lnTo>
                    <a:lnTo>
                      <a:pt x="5005453" y="126972"/>
                    </a:lnTo>
                    <a:lnTo>
                      <a:pt x="4949615" y="99214"/>
                    </a:lnTo>
                    <a:lnTo>
                      <a:pt x="4893768" y="71462"/>
                    </a:lnTo>
                    <a:lnTo>
                      <a:pt x="4838180" y="40367"/>
                    </a:lnTo>
                    <a:lnTo>
                      <a:pt x="4814953" y="31207"/>
                    </a:lnTo>
                    <a:lnTo>
                      <a:pt x="4769686" y="18341"/>
                    </a:lnTo>
                    <a:lnTo>
                      <a:pt x="4725289" y="10116"/>
                    </a:lnTo>
                    <a:lnTo>
                      <a:pt x="4699726" y="20813"/>
                    </a:lnTo>
                    <a:lnTo>
                      <a:pt x="4674850" y="35289"/>
                    </a:lnTo>
                    <a:lnTo>
                      <a:pt x="4649982" y="49765"/>
                    </a:lnTo>
                    <a:lnTo>
                      <a:pt x="4625124" y="68416"/>
                    </a:lnTo>
                    <a:lnTo>
                      <a:pt x="4598679" y="81533"/>
                    </a:lnTo>
                    <a:lnTo>
                      <a:pt x="4572241" y="94657"/>
                    </a:lnTo>
                    <a:lnTo>
                      <a:pt x="4544799" y="101239"/>
                    </a:lnTo>
                    <a:lnTo>
                      <a:pt x="4514350" y="92414"/>
                    </a:lnTo>
                    <a:lnTo>
                      <a:pt x="4483428" y="80333"/>
                    </a:lnTo>
                    <a:lnTo>
                      <a:pt x="4466742" y="66569"/>
                    </a:lnTo>
                    <a:lnTo>
                      <a:pt x="4450057" y="52812"/>
                    </a:lnTo>
                    <a:lnTo>
                      <a:pt x="4432145" y="33766"/>
                    </a:lnTo>
                    <a:lnTo>
                      <a:pt x="4413692" y="8085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56" name="Lviv¬0" descr="Lviv¬0">
                <a:extLst>
                  <a:ext uri="{FF2B5EF4-FFF2-40B4-BE49-F238E27FC236}">
                    <a16:creationId xmlns:a16="http://schemas.microsoft.com/office/drawing/2014/main" id="{C7D0F32E-9EA7-42FE-82B9-462D2FF69D22}"/>
                  </a:ext>
                </a:extLst>
              </p:cNvPr>
              <p:cNvSpPr/>
              <p:nvPr/>
            </p:nvSpPr>
            <p:spPr>
              <a:xfrm>
                <a:off x="1771189" y="9144482"/>
                <a:ext cx="9739799" cy="10073765"/>
              </a:xfrm>
              <a:custGeom>
                <a:avLst/>
                <a:gdLst/>
                <a:ahLst/>
                <a:cxnLst/>
                <a:rect l="0" t="0" r="0" b="0"/>
                <a:pathLst>
                  <a:path w="9739805" h="10073762">
                    <a:moveTo>
                      <a:pt x="9497890" y="3285890"/>
                    </a:moveTo>
                    <a:lnTo>
                      <a:pt x="9440454" y="3249539"/>
                    </a:lnTo>
                    <a:lnTo>
                      <a:pt x="9384517" y="3226219"/>
                    </a:lnTo>
                    <a:lnTo>
                      <a:pt x="9336486" y="3199319"/>
                    </a:lnTo>
                    <a:lnTo>
                      <a:pt x="9296554" y="3176916"/>
                    </a:lnTo>
                    <a:lnTo>
                      <a:pt x="9246776" y="3154790"/>
                    </a:lnTo>
                    <a:lnTo>
                      <a:pt x="9214064" y="3121783"/>
                    </a:lnTo>
                    <a:lnTo>
                      <a:pt x="9155812" y="3062996"/>
                    </a:lnTo>
                    <a:lnTo>
                      <a:pt x="9086209" y="3002085"/>
                    </a:lnTo>
                    <a:lnTo>
                      <a:pt x="9039708" y="2959370"/>
                    </a:lnTo>
                    <a:lnTo>
                      <a:pt x="9002559" y="2926640"/>
                    </a:lnTo>
                    <a:lnTo>
                      <a:pt x="8965153" y="2900075"/>
                    </a:lnTo>
                    <a:lnTo>
                      <a:pt x="8944815" y="2885639"/>
                    </a:lnTo>
                    <a:lnTo>
                      <a:pt x="8903939" y="2861989"/>
                    </a:lnTo>
                    <a:lnTo>
                      <a:pt x="8877751" y="2760830"/>
                    </a:lnTo>
                    <a:lnTo>
                      <a:pt x="8862932" y="2693542"/>
                    </a:lnTo>
                    <a:lnTo>
                      <a:pt x="8861778" y="2626670"/>
                    </a:lnTo>
                    <a:lnTo>
                      <a:pt x="8860618" y="2559805"/>
                    </a:lnTo>
                    <a:lnTo>
                      <a:pt x="8871954" y="2492814"/>
                    </a:lnTo>
                    <a:lnTo>
                      <a:pt x="8899863" y="2392716"/>
                    </a:lnTo>
                    <a:lnTo>
                      <a:pt x="8880006" y="2354037"/>
                    </a:lnTo>
                    <a:lnTo>
                      <a:pt x="8852255" y="2328785"/>
                    </a:lnTo>
                    <a:lnTo>
                      <a:pt x="8824504" y="2303540"/>
                    </a:lnTo>
                    <a:lnTo>
                      <a:pt x="8794042" y="2278024"/>
                    </a:lnTo>
                    <a:lnTo>
                      <a:pt x="8783298" y="2244040"/>
                    </a:lnTo>
                    <a:lnTo>
                      <a:pt x="8803288" y="2209094"/>
                    </a:lnTo>
                    <a:lnTo>
                      <a:pt x="8815983" y="2192047"/>
                    </a:lnTo>
                    <a:lnTo>
                      <a:pt x="8833644" y="2175203"/>
                    </a:lnTo>
                    <a:lnTo>
                      <a:pt x="8852255" y="2158762"/>
                    </a:lnTo>
                    <a:lnTo>
                      <a:pt x="8870866" y="2142321"/>
                    </a:lnTo>
                    <a:lnTo>
                      <a:pt x="8889859" y="2126078"/>
                    </a:lnTo>
                    <a:lnTo>
                      <a:pt x="8906663" y="2108436"/>
                    </a:lnTo>
                    <a:lnTo>
                      <a:pt x="8923467" y="2090795"/>
                    </a:lnTo>
                    <a:lnTo>
                      <a:pt x="8937461" y="2071953"/>
                    </a:lnTo>
                    <a:lnTo>
                      <a:pt x="8944748" y="2051311"/>
                    </a:lnTo>
                    <a:lnTo>
                      <a:pt x="8952425" y="2029535"/>
                    </a:lnTo>
                    <a:lnTo>
                      <a:pt x="8956923" y="2006486"/>
                    </a:lnTo>
                    <a:lnTo>
                      <a:pt x="8956989" y="1983298"/>
                    </a:lnTo>
                    <a:lnTo>
                      <a:pt x="8957054" y="1960110"/>
                    </a:lnTo>
                    <a:lnTo>
                      <a:pt x="8953797" y="1936441"/>
                    </a:lnTo>
                    <a:lnTo>
                      <a:pt x="8946107" y="1915291"/>
                    </a:lnTo>
                    <a:lnTo>
                      <a:pt x="8938418" y="1894135"/>
                    </a:lnTo>
                    <a:lnTo>
                      <a:pt x="8926342" y="1875201"/>
                    </a:lnTo>
                    <a:lnTo>
                      <a:pt x="8910746" y="1859518"/>
                    </a:lnTo>
                    <a:lnTo>
                      <a:pt x="8895148" y="1843842"/>
                    </a:lnTo>
                    <a:lnTo>
                      <a:pt x="8875904" y="1832275"/>
                    </a:lnTo>
                    <a:lnTo>
                      <a:pt x="8852255" y="1825515"/>
                    </a:lnTo>
                    <a:lnTo>
                      <a:pt x="8831151" y="1819480"/>
                    </a:lnTo>
                    <a:lnTo>
                      <a:pt x="8809236" y="1809700"/>
                    </a:lnTo>
                    <a:lnTo>
                      <a:pt x="8786966" y="1814633"/>
                    </a:lnTo>
                    <a:lnTo>
                      <a:pt x="8757322" y="1821195"/>
                    </a:lnTo>
                    <a:lnTo>
                      <a:pt x="8735862" y="1832281"/>
                    </a:lnTo>
                    <a:lnTo>
                      <a:pt x="8717594" y="1843196"/>
                    </a:lnTo>
                    <a:lnTo>
                      <a:pt x="8699332" y="1854117"/>
                    </a:lnTo>
                    <a:lnTo>
                      <a:pt x="8668626" y="1875840"/>
                    </a:lnTo>
                    <a:lnTo>
                      <a:pt x="8633212" y="1892717"/>
                    </a:lnTo>
                    <a:lnTo>
                      <a:pt x="8608778" y="1896245"/>
                    </a:lnTo>
                    <a:lnTo>
                      <a:pt x="8584344" y="1899774"/>
                    </a:lnTo>
                    <a:lnTo>
                      <a:pt x="8554192" y="1899028"/>
                    </a:lnTo>
                    <a:lnTo>
                      <a:pt x="8512202" y="1890805"/>
                    </a:lnTo>
                    <a:lnTo>
                      <a:pt x="8467469" y="1885641"/>
                    </a:lnTo>
                    <a:lnTo>
                      <a:pt x="8442811" y="1861154"/>
                    </a:lnTo>
                    <a:lnTo>
                      <a:pt x="8439309" y="1829617"/>
                    </a:lnTo>
                    <a:lnTo>
                      <a:pt x="8439705" y="1792804"/>
                    </a:lnTo>
                    <a:lnTo>
                      <a:pt x="8442738" y="1769076"/>
                    </a:lnTo>
                    <a:lnTo>
                      <a:pt x="8445554" y="1743903"/>
                    </a:lnTo>
                    <a:lnTo>
                      <a:pt x="8448377" y="1718730"/>
                    </a:lnTo>
                    <a:lnTo>
                      <a:pt x="8451436" y="1692825"/>
                    </a:lnTo>
                    <a:lnTo>
                      <a:pt x="8450995" y="1667732"/>
                    </a:lnTo>
                    <a:lnTo>
                      <a:pt x="8450533" y="1642638"/>
                    </a:lnTo>
                    <a:lnTo>
                      <a:pt x="8447586" y="1618593"/>
                    </a:lnTo>
                    <a:lnTo>
                      <a:pt x="8438754" y="1597002"/>
                    </a:lnTo>
                    <a:lnTo>
                      <a:pt x="8429924" y="1575410"/>
                    </a:lnTo>
                    <a:lnTo>
                      <a:pt x="8414861" y="1555909"/>
                    </a:lnTo>
                    <a:lnTo>
                      <a:pt x="8392504" y="1541235"/>
                    </a:lnTo>
                    <a:lnTo>
                      <a:pt x="8365987" y="1523039"/>
                    </a:lnTo>
                    <a:lnTo>
                      <a:pt x="8206159" y="1550752"/>
                    </a:lnTo>
                    <a:lnTo>
                      <a:pt x="8184778" y="1551286"/>
                    </a:lnTo>
                    <a:lnTo>
                      <a:pt x="8155154" y="1540048"/>
                    </a:lnTo>
                    <a:lnTo>
                      <a:pt x="8128623" y="1519109"/>
                    </a:lnTo>
                    <a:lnTo>
                      <a:pt x="8112663" y="1498381"/>
                    </a:lnTo>
                    <a:lnTo>
                      <a:pt x="8095985" y="1478662"/>
                    </a:lnTo>
                    <a:lnTo>
                      <a:pt x="8079306" y="1458937"/>
                    </a:lnTo>
                    <a:lnTo>
                      <a:pt x="8061546" y="1440207"/>
                    </a:lnTo>
                    <a:lnTo>
                      <a:pt x="8041576" y="1426972"/>
                    </a:lnTo>
                    <a:lnTo>
                      <a:pt x="8021607" y="1413742"/>
                    </a:lnTo>
                    <a:lnTo>
                      <a:pt x="7999772" y="1406521"/>
                    </a:lnTo>
                    <a:lnTo>
                      <a:pt x="7972205" y="1412014"/>
                    </a:lnTo>
                    <a:lnTo>
                      <a:pt x="7964951" y="1435044"/>
                    </a:lnTo>
                    <a:lnTo>
                      <a:pt x="7965867" y="1462432"/>
                    </a:lnTo>
                    <a:lnTo>
                      <a:pt x="7970846" y="1492261"/>
                    </a:lnTo>
                    <a:lnTo>
                      <a:pt x="7975542" y="1522637"/>
                    </a:lnTo>
                    <a:lnTo>
                      <a:pt x="7979367" y="1553198"/>
                    </a:lnTo>
                    <a:lnTo>
                      <a:pt x="7965406" y="1576597"/>
                    </a:lnTo>
                    <a:lnTo>
                      <a:pt x="7927788" y="1586773"/>
                    </a:lnTo>
                    <a:lnTo>
                      <a:pt x="7854677" y="1576472"/>
                    </a:lnTo>
                    <a:lnTo>
                      <a:pt x="7803540" y="1538511"/>
                    </a:lnTo>
                    <a:lnTo>
                      <a:pt x="7778816" y="1517599"/>
                    </a:lnTo>
                    <a:lnTo>
                      <a:pt x="7754652" y="1505378"/>
                    </a:lnTo>
                    <a:lnTo>
                      <a:pt x="7728734" y="1500426"/>
                    </a:lnTo>
                    <a:lnTo>
                      <a:pt x="7702816" y="1495473"/>
                    </a:lnTo>
                    <a:lnTo>
                      <a:pt x="7675968" y="1497834"/>
                    </a:lnTo>
                    <a:lnTo>
                      <a:pt x="7644399" y="1504501"/>
                    </a:lnTo>
                    <a:lnTo>
                      <a:pt x="7622338" y="1509164"/>
                    </a:lnTo>
                    <a:lnTo>
                      <a:pt x="7588929" y="1517619"/>
                    </a:lnTo>
                    <a:lnTo>
                      <a:pt x="7568228" y="1526265"/>
                    </a:lnTo>
                    <a:lnTo>
                      <a:pt x="7515297" y="1561198"/>
                    </a:lnTo>
                    <a:lnTo>
                      <a:pt x="7481175" y="1584755"/>
                    </a:lnTo>
                    <a:lnTo>
                      <a:pt x="7447053" y="1608305"/>
                    </a:lnTo>
                    <a:lnTo>
                      <a:pt x="7414005" y="1628597"/>
                    </a:lnTo>
                    <a:lnTo>
                      <a:pt x="7360758" y="1606511"/>
                    </a:lnTo>
                    <a:lnTo>
                      <a:pt x="7324645" y="1588685"/>
                    </a:lnTo>
                    <a:lnTo>
                      <a:pt x="7288023" y="1575232"/>
                    </a:lnTo>
                    <a:lnTo>
                      <a:pt x="7238271" y="1562378"/>
                    </a:lnTo>
                    <a:lnTo>
                      <a:pt x="7213217" y="1550745"/>
                    </a:lnTo>
                    <a:lnTo>
                      <a:pt x="7189601" y="1538445"/>
                    </a:lnTo>
                    <a:lnTo>
                      <a:pt x="7174261" y="1519525"/>
                    </a:lnTo>
                    <a:lnTo>
                      <a:pt x="7171050" y="1492261"/>
                    </a:lnTo>
                    <a:lnTo>
                      <a:pt x="7175824" y="1455679"/>
                    </a:lnTo>
                    <a:lnTo>
                      <a:pt x="7178865" y="1430974"/>
                    </a:lnTo>
                    <a:lnTo>
                      <a:pt x="7179075" y="1404444"/>
                    </a:lnTo>
                    <a:lnTo>
                      <a:pt x="7167290" y="1361781"/>
                    </a:lnTo>
                    <a:lnTo>
                      <a:pt x="7151528" y="1346105"/>
                    </a:lnTo>
                    <a:lnTo>
                      <a:pt x="7131605" y="1335837"/>
                    </a:lnTo>
                    <a:lnTo>
                      <a:pt x="7111682" y="1325568"/>
                    </a:lnTo>
                    <a:lnTo>
                      <a:pt x="7088165" y="1320325"/>
                    </a:lnTo>
                    <a:lnTo>
                      <a:pt x="7064957" y="1316791"/>
                    </a:lnTo>
                    <a:lnTo>
                      <a:pt x="7041750" y="1313256"/>
                    </a:lnTo>
                    <a:lnTo>
                      <a:pt x="7018720" y="1311442"/>
                    </a:lnTo>
                    <a:lnTo>
                      <a:pt x="6980608" y="1305817"/>
                    </a:lnTo>
                    <a:lnTo>
                      <a:pt x="6957500" y="1293669"/>
                    </a:lnTo>
                    <a:lnTo>
                      <a:pt x="6949342" y="1271906"/>
                    </a:lnTo>
                    <a:lnTo>
                      <a:pt x="6950700" y="1247425"/>
                    </a:lnTo>
                    <a:lnTo>
                      <a:pt x="6952059" y="1218856"/>
                    </a:lnTo>
                    <a:lnTo>
                      <a:pt x="6946532" y="1196783"/>
                    </a:lnTo>
                    <a:lnTo>
                      <a:pt x="6925231" y="1179056"/>
                    </a:lnTo>
                    <a:lnTo>
                      <a:pt x="6889487" y="1178053"/>
                    </a:lnTo>
                    <a:lnTo>
                      <a:pt x="6849693" y="1181266"/>
                    </a:lnTo>
                    <a:lnTo>
                      <a:pt x="6809589" y="1183007"/>
                    </a:lnTo>
                    <a:lnTo>
                      <a:pt x="6773871" y="1179412"/>
                    </a:lnTo>
                    <a:lnTo>
                      <a:pt x="6744946" y="1166598"/>
                    </a:lnTo>
                    <a:lnTo>
                      <a:pt x="6731974" y="1142666"/>
                    </a:lnTo>
                    <a:lnTo>
                      <a:pt x="6723546" y="1118205"/>
                    </a:lnTo>
                    <a:lnTo>
                      <a:pt x="6716291" y="1091931"/>
                    </a:lnTo>
                    <a:lnTo>
                      <a:pt x="6708245" y="1068756"/>
                    </a:lnTo>
                    <a:lnTo>
                      <a:pt x="6684095" y="1056991"/>
                    </a:lnTo>
                    <a:lnTo>
                      <a:pt x="6657788" y="1051761"/>
                    </a:lnTo>
                    <a:lnTo>
                      <a:pt x="6632410" y="1067879"/>
                    </a:lnTo>
                    <a:lnTo>
                      <a:pt x="6617131" y="1102496"/>
                    </a:lnTo>
                    <a:lnTo>
                      <a:pt x="6626753" y="1134903"/>
                    </a:lnTo>
                    <a:lnTo>
                      <a:pt x="6626970" y="1164448"/>
                    </a:lnTo>
                    <a:lnTo>
                      <a:pt x="6624636" y="1193591"/>
                    </a:lnTo>
                    <a:lnTo>
                      <a:pt x="6607541" y="1219641"/>
                    </a:lnTo>
                    <a:lnTo>
                      <a:pt x="6567121" y="1241984"/>
                    </a:lnTo>
                    <a:lnTo>
                      <a:pt x="6510372" y="1249444"/>
                    </a:lnTo>
                    <a:lnTo>
                      <a:pt x="6489677" y="1229850"/>
                    </a:lnTo>
                    <a:lnTo>
                      <a:pt x="6472405" y="1200311"/>
                    </a:lnTo>
                    <a:lnTo>
                      <a:pt x="6471067" y="1173648"/>
                    </a:lnTo>
                    <a:lnTo>
                      <a:pt x="6482640" y="1145514"/>
                    </a:lnTo>
                    <a:lnTo>
                      <a:pt x="6485509" y="1115488"/>
                    </a:lnTo>
                    <a:lnTo>
                      <a:pt x="6485707" y="1085013"/>
                    </a:lnTo>
                    <a:lnTo>
                      <a:pt x="6474456" y="1056193"/>
                    </a:lnTo>
                    <a:lnTo>
                      <a:pt x="6446065" y="1031159"/>
                    </a:lnTo>
                    <a:lnTo>
                      <a:pt x="6424025" y="1017461"/>
                    </a:lnTo>
                    <a:lnTo>
                      <a:pt x="6388043" y="997360"/>
                    </a:lnTo>
                    <a:lnTo>
                      <a:pt x="6354930" y="974027"/>
                    </a:lnTo>
                    <a:lnTo>
                      <a:pt x="6321817" y="950694"/>
                    </a:lnTo>
                    <a:lnTo>
                      <a:pt x="6292635" y="923893"/>
                    </a:lnTo>
                    <a:lnTo>
                      <a:pt x="6285559" y="895139"/>
                    </a:lnTo>
                    <a:lnTo>
                      <a:pt x="6296862" y="872888"/>
                    </a:lnTo>
                    <a:lnTo>
                      <a:pt x="6332019" y="847062"/>
                    </a:lnTo>
                    <a:lnTo>
                      <a:pt x="6377386" y="831089"/>
                    </a:lnTo>
                    <a:lnTo>
                      <a:pt x="6426491" y="829038"/>
                    </a:lnTo>
                    <a:lnTo>
                      <a:pt x="6471904" y="818968"/>
                    </a:lnTo>
                    <a:lnTo>
                      <a:pt x="6494616" y="813929"/>
                    </a:lnTo>
                    <a:lnTo>
                      <a:pt x="6516492" y="806471"/>
                    </a:lnTo>
                    <a:lnTo>
                      <a:pt x="6535835" y="794481"/>
                    </a:lnTo>
                    <a:lnTo>
                      <a:pt x="6555184" y="782492"/>
                    </a:lnTo>
                    <a:lnTo>
                      <a:pt x="6572846" y="765846"/>
                    </a:lnTo>
                    <a:lnTo>
                      <a:pt x="6586160" y="741431"/>
                    </a:lnTo>
                    <a:lnTo>
                      <a:pt x="6600043" y="707612"/>
                    </a:lnTo>
                    <a:lnTo>
                      <a:pt x="6602206" y="674599"/>
                    </a:lnTo>
                    <a:lnTo>
                      <a:pt x="6591601" y="639421"/>
                    </a:lnTo>
                    <a:lnTo>
                      <a:pt x="6575932" y="602120"/>
                    </a:lnTo>
                    <a:lnTo>
                      <a:pt x="6539594" y="568731"/>
                    </a:lnTo>
                    <a:lnTo>
                      <a:pt x="6514072" y="538764"/>
                    </a:lnTo>
                    <a:lnTo>
                      <a:pt x="6486762" y="506712"/>
                    </a:lnTo>
                    <a:lnTo>
                      <a:pt x="6462532" y="484085"/>
                    </a:lnTo>
                    <a:lnTo>
                      <a:pt x="6421578" y="472115"/>
                    </a:lnTo>
                    <a:lnTo>
                      <a:pt x="6401391" y="466213"/>
                    </a:lnTo>
                    <a:lnTo>
                      <a:pt x="6373970" y="468039"/>
                    </a:lnTo>
                    <a:lnTo>
                      <a:pt x="6354423" y="476554"/>
                    </a:lnTo>
                    <a:lnTo>
                      <a:pt x="6331452" y="495897"/>
                    </a:lnTo>
                    <a:lnTo>
                      <a:pt x="6297798" y="512924"/>
                    </a:lnTo>
                    <a:lnTo>
                      <a:pt x="6239427" y="481361"/>
                    </a:lnTo>
                    <a:lnTo>
                      <a:pt x="6201230" y="450359"/>
                    </a:lnTo>
                    <a:lnTo>
                      <a:pt x="6163031" y="419349"/>
                    </a:lnTo>
                    <a:lnTo>
                      <a:pt x="6127465" y="385887"/>
                    </a:lnTo>
                    <a:lnTo>
                      <a:pt x="6118008" y="349365"/>
                    </a:lnTo>
                    <a:lnTo>
                      <a:pt x="6133216" y="319779"/>
                    </a:lnTo>
                    <a:lnTo>
                      <a:pt x="6148760" y="292127"/>
                    </a:lnTo>
                    <a:lnTo>
                      <a:pt x="6146135" y="255935"/>
                    </a:lnTo>
                    <a:lnTo>
                      <a:pt x="6101303" y="219352"/>
                    </a:lnTo>
                    <a:lnTo>
                      <a:pt x="6051604" y="191918"/>
                    </a:lnTo>
                    <a:lnTo>
                      <a:pt x="6026754" y="178201"/>
                    </a:lnTo>
                    <a:lnTo>
                      <a:pt x="6001193" y="166962"/>
                    </a:lnTo>
                    <a:lnTo>
                      <a:pt x="5978156" y="160632"/>
                    </a:lnTo>
                    <a:lnTo>
                      <a:pt x="5955121" y="154307"/>
                    </a:lnTo>
                    <a:lnTo>
                      <a:pt x="5922384" y="160632"/>
                    </a:lnTo>
                    <a:lnTo>
                      <a:pt x="5901353" y="190263"/>
                    </a:lnTo>
                    <a:lnTo>
                      <a:pt x="5883572" y="223501"/>
                    </a:lnTo>
                    <a:lnTo>
                      <a:pt x="5857094" y="244967"/>
                    </a:lnTo>
                    <a:lnTo>
                      <a:pt x="5825511" y="255618"/>
                    </a:lnTo>
                    <a:lnTo>
                      <a:pt x="5798907" y="258796"/>
                    </a:lnTo>
                    <a:lnTo>
                      <a:pt x="5774123" y="259924"/>
                    </a:lnTo>
                    <a:lnTo>
                      <a:pt x="5747810" y="262239"/>
                    </a:lnTo>
                    <a:lnTo>
                      <a:pt x="5716102" y="271208"/>
                    </a:lnTo>
                    <a:lnTo>
                      <a:pt x="5676190" y="291211"/>
                    </a:lnTo>
                    <a:lnTo>
                      <a:pt x="5636257" y="318797"/>
                    </a:lnTo>
                    <a:lnTo>
                      <a:pt x="5625863" y="337454"/>
                    </a:lnTo>
                    <a:lnTo>
                      <a:pt x="5588893" y="328010"/>
                    </a:lnTo>
                    <a:lnTo>
                      <a:pt x="5563291" y="314333"/>
                    </a:lnTo>
                    <a:lnTo>
                      <a:pt x="5537690" y="300654"/>
                    </a:lnTo>
                    <a:lnTo>
                      <a:pt x="5507822" y="285368"/>
                    </a:lnTo>
                    <a:lnTo>
                      <a:pt x="5477603" y="281687"/>
                    </a:lnTo>
                    <a:lnTo>
                      <a:pt x="5446318" y="210153"/>
                    </a:lnTo>
                    <a:lnTo>
                      <a:pt x="5427271" y="189194"/>
                    </a:lnTo>
                    <a:lnTo>
                      <a:pt x="5404671" y="171137"/>
                    </a:lnTo>
                    <a:lnTo>
                      <a:pt x="5376424" y="161001"/>
                    </a:lnTo>
                    <a:lnTo>
                      <a:pt x="5348383" y="151108"/>
                    </a:lnTo>
                    <a:lnTo>
                      <a:pt x="5322953" y="136600"/>
                    </a:lnTo>
                    <a:lnTo>
                      <a:pt x="5308517" y="108485"/>
                    </a:lnTo>
                    <a:lnTo>
                      <a:pt x="5310297" y="59974"/>
                    </a:lnTo>
                    <a:lnTo>
                      <a:pt x="5291884" y="28371"/>
                    </a:lnTo>
                    <a:lnTo>
                      <a:pt x="5273571" y="17812"/>
                    </a:lnTo>
                    <a:lnTo>
                      <a:pt x="5255256" y="7247"/>
                    </a:lnTo>
                    <a:lnTo>
                      <a:pt x="5232431" y="0"/>
                    </a:lnTo>
                    <a:lnTo>
                      <a:pt x="5208281" y="125"/>
                    </a:lnTo>
                    <a:lnTo>
                      <a:pt x="5184130" y="256"/>
                    </a:lnTo>
                    <a:lnTo>
                      <a:pt x="5158159" y="7129"/>
                    </a:lnTo>
                    <a:lnTo>
                      <a:pt x="5136192" y="21888"/>
                    </a:lnTo>
                    <a:lnTo>
                      <a:pt x="5115926" y="35506"/>
                    </a:lnTo>
                    <a:lnTo>
                      <a:pt x="5100441" y="57883"/>
                    </a:lnTo>
                    <a:lnTo>
                      <a:pt x="5088584" y="87177"/>
                    </a:lnTo>
                    <a:lnTo>
                      <a:pt x="5084297" y="147771"/>
                    </a:lnTo>
                    <a:lnTo>
                      <a:pt x="5065370" y="222037"/>
                    </a:lnTo>
                    <a:lnTo>
                      <a:pt x="5066820" y="255842"/>
                    </a:lnTo>
                    <a:lnTo>
                      <a:pt x="5072861" y="284365"/>
                    </a:lnTo>
                    <a:lnTo>
                      <a:pt x="5087225" y="307533"/>
                    </a:lnTo>
                    <a:lnTo>
                      <a:pt x="5093200" y="349034"/>
                    </a:lnTo>
                    <a:lnTo>
                      <a:pt x="5112708" y="422212"/>
                    </a:lnTo>
                    <a:lnTo>
                      <a:pt x="5182845" y="447141"/>
                    </a:lnTo>
                    <a:lnTo>
                      <a:pt x="5178360" y="502037"/>
                    </a:lnTo>
                    <a:lnTo>
                      <a:pt x="5134306" y="557447"/>
                    </a:lnTo>
                    <a:lnTo>
                      <a:pt x="5085992" y="548583"/>
                    </a:lnTo>
                    <a:lnTo>
                      <a:pt x="5050505" y="594530"/>
                    </a:lnTo>
                    <a:lnTo>
                      <a:pt x="5049614" y="623119"/>
                    </a:lnTo>
                    <a:lnTo>
                      <a:pt x="5031946" y="642099"/>
                    </a:lnTo>
                    <a:lnTo>
                      <a:pt x="5008337" y="655743"/>
                    </a:lnTo>
                    <a:lnTo>
                      <a:pt x="4967804" y="679116"/>
                    </a:lnTo>
                    <a:lnTo>
                      <a:pt x="4922002" y="680033"/>
                    </a:lnTo>
                    <a:lnTo>
                      <a:pt x="4879116" y="693830"/>
                    </a:lnTo>
                    <a:lnTo>
                      <a:pt x="4853488" y="717775"/>
                    </a:lnTo>
                    <a:lnTo>
                      <a:pt x="4828790" y="719668"/>
                    </a:lnTo>
                    <a:lnTo>
                      <a:pt x="4810892" y="741668"/>
                    </a:lnTo>
                    <a:lnTo>
                      <a:pt x="4788047" y="801959"/>
                    </a:lnTo>
                    <a:lnTo>
                      <a:pt x="4797504" y="828484"/>
                    </a:lnTo>
                    <a:lnTo>
                      <a:pt x="4815126" y="846660"/>
                    </a:lnTo>
                    <a:lnTo>
                      <a:pt x="4837607" y="872459"/>
                    </a:lnTo>
                    <a:lnTo>
                      <a:pt x="4830703" y="910967"/>
                    </a:lnTo>
                    <a:lnTo>
                      <a:pt x="4823349" y="933218"/>
                    </a:lnTo>
                    <a:lnTo>
                      <a:pt x="4815548" y="956854"/>
                    </a:lnTo>
                    <a:lnTo>
                      <a:pt x="4797570" y="978254"/>
                    </a:lnTo>
                    <a:lnTo>
                      <a:pt x="4787988" y="1001231"/>
                    </a:lnTo>
                    <a:lnTo>
                      <a:pt x="4765565" y="1054940"/>
                    </a:lnTo>
                    <a:lnTo>
                      <a:pt x="4749579" y="1109005"/>
                    </a:lnTo>
                    <a:lnTo>
                      <a:pt x="4732215" y="1164455"/>
                    </a:lnTo>
                    <a:lnTo>
                      <a:pt x="4721887" y="1188236"/>
                    </a:lnTo>
                    <a:lnTo>
                      <a:pt x="4703863" y="1207896"/>
                    </a:lnTo>
                    <a:lnTo>
                      <a:pt x="4684613" y="1224303"/>
                    </a:lnTo>
                    <a:lnTo>
                      <a:pt x="4607782" y="1265792"/>
                    </a:lnTo>
                    <a:lnTo>
                      <a:pt x="4187074" y="1219074"/>
                    </a:lnTo>
                    <a:lnTo>
                      <a:pt x="4062999" y="1231103"/>
                    </a:lnTo>
                    <a:lnTo>
                      <a:pt x="3989485" y="1238245"/>
                    </a:lnTo>
                    <a:lnTo>
                      <a:pt x="3804816" y="1305342"/>
                    </a:lnTo>
                    <a:lnTo>
                      <a:pt x="3735191" y="1338561"/>
                    </a:lnTo>
                    <a:lnTo>
                      <a:pt x="3625333" y="1390990"/>
                    </a:lnTo>
                    <a:lnTo>
                      <a:pt x="3636556" y="1461166"/>
                    </a:lnTo>
                    <a:lnTo>
                      <a:pt x="3616854" y="1569798"/>
                    </a:lnTo>
                    <a:lnTo>
                      <a:pt x="3612435" y="1613383"/>
                    </a:lnTo>
                    <a:lnTo>
                      <a:pt x="3567972" y="1698675"/>
                    </a:lnTo>
                    <a:lnTo>
                      <a:pt x="3480366" y="1676655"/>
                    </a:lnTo>
                    <a:lnTo>
                      <a:pt x="3430507" y="1727580"/>
                    </a:lnTo>
                    <a:lnTo>
                      <a:pt x="3392399" y="1766471"/>
                    </a:lnTo>
                    <a:lnTo>
                      <a:pt x="3380774" y="1827678"/>
                    </a:lnTo>
                    <a:lnTo>
                      <a:pt x="3348895" y="1869035"/>
                    </a:lnTo>
                    <a:lnTo>
                      <a:pt x="3297228" y="1936052"/>
                    </a:lnTo>
                    <a:lnTo>
                      <a:pt x="3226774" y="2008458"/>
                    </a:lnTo>
                    <a:lnTo>
                      <a:pt x="3153026" y="2049946"/>
                    </a:lnTo>
                    <a:lnTo>
                      <a:pt x="2968549" y="2183183"/>
                    </a:lnTo>
                    <a:lnTo>
                      <a:pt x="2925022" y="2224473"/>
                    </a:lnTo>
                    <a:lnTo>
                      <a:pt x="2860859" y="2257843"/>
                    </a:lnTo>
                    <a:lnTo>
                      <a:pt x="2818417" y="2293416"/>
                    </a:lnTo>
                    <a:lnTo>
                      <a:pt x="2764434" y="2338671"/>
                    </a:lnTo>
                    <a:lnTo>
                      <a:pt x="2732065" y="2406466"/>
                    </a:lnTo>
                    <a:lnTo>
                      <a:pt x="2682397" y="2456641"/>
                    </a:lnTo>
                    <a:lnTo>
                      <a:pt x="2642186" y="2497305"/>
                    </a:lnTo>
                    <a:lnTo>
                      <a:pt x="2590924" y="2527377"/>
                    </a:lnTo>
                    <a:lnTo>
                      <a:pt x="2547737" y="2565456"/>
                    </a:lnTo>
                    <a:lnTo>
                      <a:pt x="2470440" y="2633661"/>
                    </a:lnTo>
                    <a:lnTo>
                      <a:pt x="2326408" y="2769747"/>
                    </a:lnTo>
                    <a:lnTo>
                      <a:pt x="2262096" y="2847019"/>
                    </a:lnTo>
                    <a:lnTo>
                      <a:pt x="2231534" y="2888488"/>
                    </a:lnTo>
                    <a:lnTo>
                      <a:pt x="2207178" y="2943146"/>
                    </a:lnTo>
                    <a:lnTo>
                      <a:pt x="2172322" y="2980322"/>
                    </a:lnTo>
                    <a:lnTo>
                      <a:pt x="2148881" y="3005356"/>
                    </a:lnTo>
                    <a:lnTo>
                      <a:pt x="2115322" y="3022701"/>
                    </a:lnTo>
                    <a:lnTo>
                      <a:pt x="2089350" y="3044253"/>
                    </a:lnTo>
                    <a:lnTo>
                      <a:pt x="2054390" y="3073257"/>
                    </a:lnTo>
                    <a:lnTo>
                      <a:pt x="2025485" y="3106694"/>
                    </a:lnTo>
                    <a:lnTo>
                      <a:pt x="1992777" y="3136740"/>
                    </a:lnTo>
                    <a:lnTo>
                      <a:pt x="1955626" y="3170855"/>
                    </a:lnTo>
                    <a:lnTo>
                      <a:pt x="1967528" y="3224795"/>
                    </a:lnTo>
                    <a:lnTo>
                      <a:pt x="1946529" y="3263243"/>
                    </a:lnTo>
                    <a:lnTo>
                      <a:pt x="1919283" y="3313167"/>
                    </a:lnTo>
                    <a:lnTo>
                      <a:pt x="1862984" y="3325070"/>
                    </a:lnTo>
                    <a:lnTo>
                      <a:pt x="1824112" y="3363894"/>
                    </a:lnTo>
                    <a:lnTo>
                      <a:pt x="1720885" y="3422747"/>
                    </a:lnTo>
                    <a:lnTo>
                      <a:pt x="1686306" y="3525378"/>
                    </a:lnTo>
                    <a:lnTo>
                      <a:pt x="1607840" y="3591050"/>
                    </a:lnTo>
                    <a:lnTo>
                      <a:pt x="1560892" y="3630368"/>
                    </a:lnTo>
                    <a:lnTo>
                      <a:pt x="1585716" y="3653108"/>
                    </a:lnTo>
                    <a:lnTo>
                      <a:pt x="1560233" y="3686267"/>
                    </a:lnTo>
                    <a:lnTo>
                      <a:pt x="1535835" y="3718034"/>
                    </a:lnTo>
                    <a:lnTo>
                      <a:pt x="1504742" y="3746538"/>
                    </a:lnTo>
                    <a:lnTo>
                      <a:pt x="1479981" y="3778754"/>
                    </a:lnTo>
                    <a:lnTo>
                      <a:pt x="1444064" y="3825472"/>
                    </a:lnTo>
                    <a:lnTo>
                      <a:pt x="1412015" y="3878244"/>
                    </a:lnTo>
                    <a:lnTo>
                      <a:pt x="1380687" y="3928379"/>
                    </a:lnTo>
                    <a:lnTo>
                      <a:pt x="1355970" y="3967909"/>
                    </a:lnTo>
                    <a:lnTo>
                      <a:pt x="1282498" y="4049969"/>
                    </a:lnTo>
                    <a:lnTo>
                      <a:pt x="1250107" y="4091602"/>
                    </a:lnTo>
                    <a:lnTo>
                      <a:pt x="1223882" y="4125329"/>
                    </a:lnTo>
                    <a:lnTo>
                      <a:pt x="1197400" y="4185330"/>
                    </a:lnTo>
                    <a:lnTo>
                      <a:pt x="1153109" y="4233598"/>
                    </a:lnTo>
                    <a:lnTo>
                      <a:pt x="1091092" y="4228262"/>
                    </a:lnTo>
                    <a:lnTo>
                      <a:pt x="1073282" y="4257544"/>
                    </a:lnTo>
                    <a:lnTo>
                      <a:pt x="1056025" y="4285942"/>
                    </a:lnTo>
                    <a:lnTo>
                      <a:pt x="1044738" y="4370231"/>
                    </a:lnTo>
                    <a:lnTo>
                      <a:pt x="1043357" y="4404451"/>
                    </a:lnTo>
                    <a:lnTo>
                      <a:pt x="1038299" y="4527506"/>
                    </a:lnTo>
                    <a:lnTo>
                      <a:pt x="838711" y="4422793"/>
                    </a:lnTo>
                    <a:lnTo>
                      <a:pt x="817565" y="4677850"/>
                    </a:lnTo>
                    <a:lnTo>
                      <a:pt x="808596" y="4802262"/>
                    </a:lnTo>
                    <a:lnTo>
                      <a:pt x="721054" y="4801326"/>
                    </a:lnTo>
                    <a:lnTo>
                      <a:pt x="666583" y="4887318"/>
                    </a:lnTo>
                    <a:lnTo>
                      <a:pt x="649134" y="4914865"/>
                    </a:lnTo>
                    <a:lnTo>
                      <a:pt x="649431" y="4945471"/>
                    </a:lnTo>
                    <a:lnTo>
                      <a:pt x="627137" y="4971654"/>
                    </a:lnTo>
                    <a:lnTo>
                      <a:pt x="591262" y="4980450"/>
                    </a:lnTo>
                    <a:lnTo>
                      <a:pt x="552474" y="4964597"/>
                    </a:lnTo>
                    <a:lnTo>
                      <a:pt x="518321" y="4983893"/>
                    </a:lnTo>
                    <a:lnTo>
                      <a:pt x="430503" y="5033586"/>
                    </a:lnTo>
                    <a:lnTo>
                      <a:pt x="441236" y="5082315"/>
                    </a:lnTo>
                    <a:lnTo>
                      <a:pt x="408145" y="5167522"/>
                    </a:lnTo>
                    <a:lnTo>
                      <a:pt x="361069" y="5288729"/>
                    </a:lnTo>
                    <a:lnTo>
                      <a:pt x="304770" y="5351803"/>
                    </a:lnTo>
                    <a:lnTo>
                      <a:pt x="217717" y="5443643"/>
                    </a:lnTo>
                    <a:lnTo>
                      <a:pt x="179568" y="5483892"/>
                    </a:lnTo>
                    <a:lnTo>
                      <a:pt x="144798" y="5538683"/>
                    </a:lnTo>
                    <a:lnTo>
                      <a:pt x="111622" y="5583739"/>
                    </a:lnTo>
                    <a:lnTo>
                      <a:pt x="97849" y="5602443"/>
                    </a:lnTo>
                    <a:lnTo>
                      <a:pt x="82101" y="5621785"/>
                    </a:lnTo>
                    <a:lnTo>
                      <a:pt x="73536" y="5643588"/>
                    </a:lnTo>
                    <a:lnTo>
                      <a:pt x="65757" y="5663438"/>
                    </a:lnTo>
                    <a:lnTo>
                      <a:pt x="58573" y="5703437"/>
                    </a:lnTo>
                    <a:lnTo>
                      <a:pt x="46289" y="5743607"/>
                    </a:lnTo>
                    <a:lnTo>
                      <a:pt x="15345" y="5782009"/>
                    </a:lnTo>
                    <a:lnTo>
                      <a:pt x="5526" y="5823133"/>
                    </a:lnTo>
                    <a:lnTo>
                      <a:pt x="0" y="5846151"/>
                    </a:lnTo>
                    <a:lnTo>
                      <a:pt x="4166" y="5888424"/>
                    </a:lnTo>
                    <a:lnTo>
                      <a:pt x="18172" y="5913037"/>
                    </a:lnTo>
                    <a:lnTo>
                      <a:pt x="43356" y="5929998"/>
                    </a:lnTo>
                    <a:lnTo>
                      <a:pt x="59934" y="5952355"/>
                    </a:lnTo>
                    <a:lnTo>
                      <a:pt x="74981" y="5978326"/>
                    </a:lnTo>
                    <a:lnTo>
                      <a:pt x="99040" y="6014432"/>
                    </a:lnTo>
                    <a:lnTo>
                      <a:pt x="121015" y="6098366"/>
                    </a:lnTo>
                    <a:lnTo>
                      <a:pt x="122503" y="6127819"/>
                    </a:lnTo>
                    <a:lnTo>
                      <a:pt x="124395" y="6165674"/>
                    </a:lnTo>
                    <a:lnTo>
                      <a:pt x="143140" y="6214258"/>
                    </a:lnTo>
                    <a:lnTo>
                      <a:pt x="138826" y="6250239"/>
                    </a:lnTo>
                    <a:lnTo>
                      <a:pt x="133555" y="6294426"/>
                    </a:lnTo>
                    <a:lnTo>
                      <a:pt x="112748" y="6331318"/>
                    </a:lnTo>
                    <a:lnTo>
                      <a:pt x="125224" y="6378095"/>
                    </a:lnTo>
                    <a:lnTo>
                      <a:pt x="142184" y="6441769"/>
                    </a:lnTo>
                    <a:lnTo>
                      <a:pt x="241457" y="6455585"/>
                    </a:lnTo>
                    <a:lnTo>
                      <a:pt x="285728" y="6550843"/>
                    </a:lnTo>
                    <a:lnTo>
                      <a:pt x="313441" y="6610461"/>
                    </a:lnTo>
                    <a:lnTo>
                      <a:pt x="282580" y="6778440"/>
                    </a:lnTo>
                    <a:lnTo>
                      <a:pt x="293889" y="6859608"/>
                    </a:lnTo>
                    <a:lnTo>
                      <a:pt x="305237" y="6940944"/>
                    </a:lnTo>
                    <a:lnTo>
                      <a:pt x="370059" y="6987914"/>
                    </a:lnTo>
                    <a:lnTo>
                      <a:pt x="370059" y="7090839"/>
                    </a:lnTo>
                    <a:lnTo>
                      <a:pt x="370059" y="7144634"/>
                    </a:lnTo>
                    <a:lnTo>
                      <a:pt x="331804" y="7250898"/>
                    </a:lnTo>
                    <a:lnTo>
                      <a:pt x="307490" y="7300313"/>
                    </a:lnTo>
                    <a:lnTo>
                      <a:pt x="282391" y="7351338"/>
                    </a:lnTo>
                    <a:lnTo>
                      <a:pt x="275824" y="7412782"/>
                    </a:lnTo>
                    <a:lnTo>
                      <a:pt x="242201" y="7460813"/>
                    </a:lnTo>
                    <a:lnTo>
                      <a:pt x="240944" y="7580471"/>
                    </a:lnTo>
                    <a:lnTo>
                      <a:pt x="149493" y="7682488"/>
                    </a:lnTo>
                    <a:lnTo>
                      <a:pt x="159227" y="7750541"/>
                    </a:lnTo>
                    <a:lnTo>
                      <a:pt x="215420" y="7774190"/>
                    </a:lnTo>
                    <a:lnTo>
                      <a:pt x="219054" y="7715852"/>
                    </a:lnTo>
                    <a:lnTo>
                      <a:pt x="242199" y="7694768"/>
                    </a:lnTo>
                    <a:lnTo>
                      <a:pt x="267809" y="7687612"/>
                    </a:lnTo>
                    <a:lnTo>
                      <a:pt x="293886" y="7698850"/>
                    </a:lnTo>
                    <a:lnTo>
                      <a:pt x="294992" y="7734581"/>
                    </a:lnTo>
                    <a:lnTo>
                      <a:pt x="277564" y="7766863"/>
                    </a:lnTo>
                    <a:lnTo>
                      <a:pt x="278922" y="7789986"/>
                    </a:lnTo>
                    <a:lnTo>
                      <a:pt x="298730" y="7809578"/>
                    </a:lnTo>
                    <a:lnTo>
                      <a:pt x="346485" y="7821351"/>
                    </a:lnTo>
                    <a:lnTo>
                      <a:pt x="383572" y="7814128"/>
                    </a:lnTo>
                    <a:lnTo>
                      <a:pt x="431264" y="7829430"/>
                    </a:lnTo>
                    <a:lnTo>
                      <a:pt x="461932" y="7859778"/>
                    </a:lnTo>
                    <a:lnTo>
                      <a:pt x="451667" y="7920564"/>
                    </a:lnTo>
                    <a:lnTo>
                      <a:pt x="461911" y="7940863"/>
                    </a:lnTo>
                    <a:lnTo>
                      <a:pt x="547221" y="7967275"/>
                    </a:lnTo>
                    <a:lnTo>
                      <a:pt x="576806" y="8000818"/>
                    </a:lnTo>
                    <a:lnTo>
                      <a:pt x="591512" y="8017476"/>
                    </a:lnTo>
                    <a:lnTo>
                      <a:pt x="590619" y="8044364"/>
                    </a:lnTo>
                    <a:lnTo>
                      <a:pt x="616251" y="8051143"/>
                    </a:lnTo>
                    <a:lnTo>
                      <a:pt x="642519" y="8049230"/>
                    </a:lnTo>
                    <a:lnTo>
                      <a:pt x="671934" y="8041812"/>
                    </a:lnTo>
                    <a:lnTo>
                      <a:pt x="692422" y="8063383"/>
                    </a:lnTo>
                    <a:lnTo>
                      <a:pt x="695482" y="8102531"/>
                    </a:lnTo>
                    <a:lnTo>
                      <a:pt x="721305" y="8137240"/>
                    </a:lnTo>
                    <a:lnTo>
                      <a:pt x="750443" y="8123001"/>
                    </a:lnTo>
                    <a:lnTo>
                      <a:pt x="775394" y="8147713"/>
                    </a:lnTo>
                    <a:lnTo>
                      <a:pt x="775394" y="8184439"/>
                    </a:lnTo>
                    <a:lnTo>
                      <a:pt x="692422" y="8263585"/>
                    </a:lnTo>
                    <a:lnTo>
                      <a:pt x="732569" y="8235978"/>
                    </a:lnTo>
                    <a:lnTo>
                      <a:pt x="729148" y="8319101"/>
                    </a:lnTo>
                    <a:lnTo>
                      <a:pt x="727999" y="8347049"/>
                    </a:lnTo>
                    <a:lnTo>
                      <a:pt x="720327" y="8371339"/>
                    </a:lnTo>
                    <a:lnTo>
                      <a:pt x="727789" y="8399355"/>
                    </a:lnTo>
                    <a:lnTo>
                      <a:pt x="748704" y="8428556"/>
                    </a:lnTo>
                    <a:lnTo>
                      <a:pt x="748195" y="8468719"/>
                    </a:lnTo>
                    <a:lnTo>
                      <a:pt x="786483" y="8505050"/>
                    </a:lnTo>
                    <a:lnTo>
                      <a:pt x="814712" y="8509601"/>
                    </a:lnTo>
                    <a:lnTo>
                      <a:pt x="798522" y="8574818"/>
                    </a:lnTo>
                    <a:lnTo>
                      <a:pt x="816031" y="8590850"/>
                    </a:lnTo>
                    <a:lnTo>
                      <a:pt x="833364" y="8606626"/>
                    </a:lnTo>
                    <a:lnTo>
                      <a:pt x="855996" y="8626528"/>
                    </a:lnTo>
                    <a:lnTo>
                      <a:pt x="871984" y="8640555"/>
                    </a:lnTo>
                    <a:lnTo>
                      <a:pt x="878572" y="8685256"/>
                    </a:lnTo>
                    <a:lnTo>
                      <a:pt x="856910" y="8729376"/>
                    </a:lnTo>
                    <a:lnTo>
                      <a:pt x="841270" y="8763340"/>
                    </a:lnTo>
                    <a:lnTo>
                      <a:pt x="831167" y="8795174"/>
                    </a:lnTo>
                    <a:lnTo>
                      <a:pt x="822922" y="8826203"/>
                    </a:lnTo>
                    <a:lnTo>
                      <a:pt x="817647" y="8856632"/>
                    </a:lnTo>
                    <a:lnTo>
                      <a:pt x="816207" y="8886302"/>
                    </a:lnTo>
                    <a:lnTo>
                      <a:pt x="818466" y="8915215"/>
                    </a:lnTo>
                    <a:lnTo>
                      <a:pt x="824830" y="8944448"/>
                    </a:lnTo>
                    <a:lnTo>
                      <a:pt x="835250" y="8974719"/>
                    </a:lnTo>
                    <a:lnTo>
                      <a:pt x="850777" y="9004516"/>
                    </a:lnTo>
                    <a:lnTo>
                      <a:pt x="871410" y="9034688"/>
                    </a:lnTo>
                    <a:lnTo>
                      <a:pt x="897819" y="9064489"/>
                    </a:lnTo>
                    <a:lnTo>
                      <a:pt x="927748" y="9097213"/>
                    </a:lnTo>
                    <a:lnTo>
                      <a:pt x="949847" y="9126126"/>
                    </a:lnTo>
                    <a:lnTo>
                      <a:pt x="984872" y="9154267"/>
                    </a:lnTo>
                    <a:lnTo>
                      <a:pt x="1018048" y="9180916"/>
                    </a:lnTo>
                    <a:lnTo>
                      <a:pt x="1066909" y="9192114"/>
                    </a:lnTo>
                    <a:lnTo>
                      <a:pt x="1093688" y="9224996"/>
                    </a:lnTo>
                    <a:lnTo>
                      <a:pt x="1100040" y="9269433"/>
                    </a:lnTo>
                    <a:lnTo>
                      <a:pt x="1110155" y="9322957"/>
                    </a:lnTo>
                    <a:lnTo>
                      <a:pt x="1129650" y="9352357"/>
                    </a:lnTo>
                    <a:lnTo>
                      <a:pt x="1156257" y="9371891"/>
                    </a:lnTo>
                    <a:lnTo>
                      <a:pt x="1182863" y="9391432"/>
                    </a:lnTo>
                    <a:lnTo>
                      <a:pt x="1216288" y="9400453"/>
                    </a:lnTo>
                    <a:lnTo>
                      <a:pt x="1252831" y="9395019"/>
                    </a:lnTo>
                    <a:lnTo>
                      <a:pt x="1279484" y="9391055"/>
                    </a:lnTo>
                    <a:lnTo>
                      <a:pt x="1313296" y="9372083"/>
                    </a:lnTo>
                    <a:lnTo>
                      <a:pt x="1337164" y="9359651"/>
                    </a:lnTo>
                    <a:lnTo>
                      <a:pt x="1361265" y="9347114"/>
                    </a:lnTo>
                    <a:lnTo>
                      <a:pt x="1470463" y="9317424"/>
                    </a:lnTo>
                    <a:lnTo>
                      <a:pt x="1505330" y="9302929"/>
                    </a:lnTo>
                    <a:lnTo>
                      <a:pt x="1529154" y="9297528"/>
                    </a:lnTo>
                    <a:lnTo>
                      <a:pt x="1550715" y="9295720"/>
                    </a:lnTo>
                    <a:lnTo>
                      <a:pt x="1572275" y="9293920"/>
                    </a:lnTo>
                    <a:lnTo>
                      <a:pt x="1607843" y="9301168"/>
                    </a:lnTo>
                    <a:lnTo>
                      <a:pt x="1640296" y="9312082"/>
                    </a:lnTo>
                    <a:lnTo>
                      <a:pt x="1663137" y="9336319"/>
                    </a:lnTo>
                    <a:lnTo>
                      <a:pt x="1681294" y="9367815"/>
                    </a:lnTo>
                    <a:lnTo>
                      <a:pt x="1699451" y="9399312"/>
                    </a:lnTo>
                    <a:lnTo>
                      <a:pt x="1712933" y="9438559"/>
                    </a:lnTo>
                    <a:lnTo>
                      <a:pt x="1726180" y="9479349"/>
                    </a:lnTo>
                    <a:lnTo>
                      <a:pt x="1739427" y="9520137"/>
                    </a:lnTo>
                    <a:lnTo>
                      <a:pt x="1751982" y="9562972"/>
                    </a:lnTo>
                    <a:lnTo>
                      <a:pt x="1769706" y="9601770"/>
                    </a:lnTo>
                    <a:lnTo>
                      <a:pt x="1785612" y="9636578"/>
                    </a:lnTo>
                    <a:lnTo>
                      <a:pt x="1802768" y="9668761"/>
                    </a:lnTo>
                    <a:lnTo>
                      <a:pt x="1822754" y="9698345"/>
                    </a:lnTo>
                    <a:lnTo>
                      <a:pt x="1842741" y="9727923"/>
                    </a:lnTo>
                    <a:lnTo>
                      <a:pt x="1865287" y="9754139"/>
                    </a:lnTo>
                    <a:lnTo>
                      <a:pt x="1890764" y="9775875"/>
                    </a:lnTo>
                    <a:lnTo>
                      <a:pt x="1916242" y="9797612"/>
                    </a:lnTo>
                    <a:lnTo>
                      <a:pt x="1945444" y="9814924"/>
                    </a:lnTo>
                    <a:lnTo>
                      <a:pt x="1977817" y="9826201"/>
                    </a:lnTo>
                    <a:lnTo>
                      <a:pt x="2010189" y="9837478"/>
                    </a:lnTo>
                    <a:lnTo>
                      <a:pt x="2045959" y="9842958"/>
                    </a:lnTo>
                    <a:lnTo>
                      <a:pt x="2086633" y="9841164"/>
                    </a:lnTo>
                    <a:lnTo>
                      <a:pt x="2135069" y="9841205"/>
                    </a:lnTo>
                    <a:lnTo>
                      <a:pt x="2185991" y="9818742"/>
                    </a:lnTo>
                    <a:lnTo>
                      <a:pt x="2212941" y="9787199"/>
                    </a:lnTo>
                    <a:lnTo>
                      <a:pt x="2240336" y="9760912"/>
                    </a:lnTo>
                    <a:lnTo>
                      <a:pt x="2267540" y="9764994"/>
                    </a:lnTo>
                    <a:lnTo>
                      <a:pt x="2277613" y="9795660"/>
                    </a:lnTo>
                    <a:lnTo>
                      <a:pt x="2271135" y="9824650"/>
                    </a:lnTo>
                    <a:lnTo>
                      <a:pt x="2268898" y="9853405"/>
                    </a:lnTo>
                    <a:lnTo>
                      <a:pt x="2266647" y="9882528"/>
                    </a:lnTo>
                    <a:lnTo>
                      <a:pt x="2273868" y="9911335"/>
                    </a:lnTo>
                    <a:lnTo>
                      <a:pt x="2294738" y="9940457"/>
                    </a:lnTo>
                    <a:lnTo>
                      <a:pt x="2319222" y="9941815"/>
                    </a:lnTo>
                    <a:lnTo>
                      <a:pt x="2342752" y="9926799"/>
                    </a:lnTo>
                    <a:lnTo>
                      <a:pt x="2363701" y="9899708"/>
                    </a:lnTo>
                    <a:lnTo>
                      <a:pt x="2383151" y="9867011"/>
                    </a:lnTo>
                    <a:lnTo>
                      <a:pt x="2403666" y="9835051"/>
                    </a:lnTo>
                    <a:lnTo>
                      <a:pt x="2425205" y="9811910"/>
                    </a:lnTo>
                    <a:lnTo>
                      <a:pt x="2448441" y="9804438"/>
                    </a:lnTo>
                    <a:lnTo>
                      <a:pt x="2474412" y="9803469"/>
                    </a:lnTo>
                    <a:lnTo>
                      <a:pt x="2496048" y="9831642"/>
                    </a:lnTo>
                    <a:lnTo>
                      <a:pt x="2504395" y="9874224"/>
                    </a:lnTo>
                    <a:lnTo>
                      <a:pt x="2505569" y="9899649"/>
                    </a:lnTo>
                    <a:lnTo>
                      <a:pt x="2506743" y="9925078"/>
                    </a:lnTo>
                    <a:lnTo>
                      <a:pt x="2507778" y="9951992"/>
                    </a:lnTo>
                    <a:lnTo>
                      <a:pt x="2515091" y="9974462"/>
                    </a:lnTo>
                    <a:lnTo>
                      <a:pt x="2522396" y="9996930"/>
                    </a:lnTo>
                    <a:lnTo>
                      <a:pt x="2535547" y="10014684"/>
                    </a:lnTo>
                    <a:lnTo>
                      <a:pt x="2561337" y="10023428"/>
                    </a:lnTo>
                    <a:lnTo>
                      <a:pt x="2587076" y="10032160"/>
                    </a:lnTo>
                    <a:lnTo>
                      <a:pt x="2617870" y="10035417"/>
                    </a:lnTo>
                    <a:lnTo>
                      <a:pt x="2644309" y="10042474"/>
                    </a:lnTo>
                    <a:lnTo>
                      <a:pt x="2691268" y="10055004"/>
                    </a:lnTo>
                    <a:lnTo>
                      <a:pt x="2722202" y="10064436"/>
                    </a:lnTo>
                    <a:lnTo>
                      <a:pt x="2754485" y="10068313"/>
                    </a:lnTo>
                    <a:lnTo>
                      <a:pt x="2786769" y="10072197"/>
                    </a:lnTo>
                    <a:lnTo>
                      <a:pt x="2820000" y="10070806"/>
                    </a:lnTo>
                    <a:lnTo>
                      <a:pt x="2868742" y="10058796"/>
                    </a:lnTo>
                    <a:lnTo>
                      <a:pt x="2905618" y="10049702"/>
                    </a:lnTo>
                    <a:lnTo>
                      <a:pt x="2941917" y="10031613"/>
                    </a:lnTo>
                    <a:lnTo>
                      <a:pt x="2980279" y="10028869"/>
                    </a:lnTo>
                    <a:lnTo>
                      <a:pt x="3010562" y="10036413"/>
                    </a:lnTo>
                    <a:lnTo>
                      <a:pt x="3042150" y="10056475"/>
                    </a:lnTo>
                    <a:lnTo>
                      <a:pt x="3074132" y="10073761"/>
                    </a:lnTo>
                    <a:lnTo>
                      <a:pt x="3097850" y="10038464"/>
                    </a:lnTo>
                    <a:lnTo>
                      <a:pt x="3114305" y="9996897"/>
                    </a:lnTo>
                    <a:lnTo>
                      <a:pt x="3121751" y="9970649"/>
                    </a:lnTo>
                    <a:lnTo>
                      <a:pt x="3128540" y="9944539"/>
                    </a:lnTo>
                    <a:lnTo>
                      <a:pt x="3135329" y="9918431"/>
                    </a:lnTo>
                    <a:lnTo>
                      <a:pt x="3141380" y="9893028"/>
                    </a:lnTo>
                    <a:lnTo>
                      <a:pt x="3146223" y="9869727"/>
                    </a:lnTo>
                    <a:lnTo>
                      <a:pt x="3151064" y="9846427"/>
                    </a:lnTo>
                    <a:lnTo>
                      <a:pt x="3155413" y="9825271"/>
                    </a:lnTo>
                    <a:lnTo>
                      <a:pt x="3168317" y="9765936"/>
                    </a:lnTo>
                    <a:lnTo>
                      <a:pt x="3182565" y="9718341"/>
                    </a:lnTo>
                    <a:lnTo>
                      <a:pt x="3195190" y="9669776"/>
                    </a:lnTo>
                    <a:lnTo>
                      <a:pt x="3207815" y="9621218"/>
                    </a:lnTo>
                    <a:lnTo>
                      <a:pt x="3219235" y="9572416"/>
                    </a:lnTo>
                    <a:lnTo>
                      <a:pt x="3223754" y="9524233"/>
                    </a:lnTo>
                    <a:lnTo>
                      <a:pt x="3228271" y="9476058"/>
                    </a:lnTo>
                    <a:lnTo>
                      <a:pt x="3225970" y="9428278"/>
                    </a:lnTo>
                    <a:lnTo>
                      <a:pt x="3211512" y="9384138"/>
                    </a:lnTo>
                    <a:lnTo>
                      <a:pt x="3204284" y="9362065"/>
                    </a:lnTo>
                    <a:lnTo>
                      <a:pt x="3192880" y="9340585"/>
                    </a:lnTo>
                    <a:lnTo>
                      <a:pt x="3178868" y="9320207"/>
                    </a:lnTo>
                    <a:lnTo>
                      <a:pt x="3164855" y="9299828"/>
                    </a:lnTo>
                    <a:lnTo>
                      <a:pt x="3147974" y="9281310"/>
                    </a:lnTo>
                    <a:lnTo>
                      <a:pt x="3125819" y="9263082"/>
                    </a:lnTo>
                    <a:lnTo>
                      <a:pt x="3124151" y="9240982"/>
                    </a:lnTo>
                    <a:lnTo>
                      <a:pt x="3132922" y="9206280"/>
                    </a:lnTo>
                    <a:lnTo>
                      <a:pt x="3139541" y="9186001"/>
                    </a:lnTo>
                    <a:lnTo>
                      <a:pt x="3147579" y="9165140"/>
                    </a:lnTo>
                    <a:lnTo>
                      <a:pt x="3155619" y="9144287"/>
                    </a:lnTo>
                    <a:lnTo>
                      <a:pt x="3164648" y="9122386"/>
                    </a:lnTo>
                    <a:lnTo>
                      <a:pt x="3179480" y="9085488"/>
                    </a:lnTo>
                    <a:lnTo>
                      <a:pt x="3188385" y="9060407"/>
                    </a:lnTo>
                    <a:lnTo>
                      <a:pt x="3194307" y="9036599"/>
                    </a:lnTo>
                    <a:lnTo>
                      <a:pt x="3197998" y="9011322"/>
                    </a:lnTo>
                    <a:lnTo>
                      <a:pt x="3201987" y="8986961"/>
                    </a:lnTo>
                    <a:lnTo>
                      <a:pt x="3205977" y="8962591"/>
                    </a:lnTo>
                    <a:lnTo>
                      <a:pt x="3210245" y="8938151"/>
                    </a:lnTo>
                    <a:lnTo>
                      <a:pt x="3212869" y="8913506"/>
                    </a:lnTo>
                    <a:lnTo>
                      <a:pt x="3215494" y="8888867"/>
                    </a:lnTo>
                    <a:lnTo>
                      <a:pt x="3216489" y="8864697"/>
                    </a:lnTo>
                    <a:lnTo>
                      <a:pt x="3218310" y="8840058"/>
                    </a:lnTo>
                    <a:lnTo>
                      <a:pt x="3220136" y="8815421"/>
                    </a:lnTo>
                    <a:lnTo>
                      <a:pt x="3222168" y="8790966"/>
                    </a:lnTo>
                    <a:lnTo>
                      <a:pt x="3223751" y="8766605"/>
                    </a:lnTo>
                    <a:lnTo>
                      <a:pt x="3238509" y="8743594"/>
                    </a:lnTo>
                    <a:lnTo>
                      <a:pt x="3259708" y="8729403"/>
                    </a:lnTo>
                    <a:lnTo>
                      <a:pt x="3280934" y="8718020"/>
                    </a:lnTo>
                    <a:lnTo>
                      <a:pt x="3330554" y="8681623"/>
                    </a:lnTo>
                    <a:lnTo>
                      <a:pt x="3491880" y="8539363"/>
                    </a:lnTo>
                    <a:lnTo>
                      <a:pt x="3516194" y="8504088"/>
                    </a:lnTo>
                    <a:lnTo>
                      <a:pt x="3531262" y="8482199"/>
                    </a:lnTo>
                    <a:lnTo>
                      <a:pt x="3532729" y="8452759"/>
                    </a:lnTo>
                    <a:lnTo>
                      <a:pt x="3540677" y="8427917"/>
                    </a:lnTo>
                    <a:lnTo>
                      <a:pt x="3548158" y="8404557"/>
                    </a:lnTo>
                    <a:lnTo>
                      <a:pt x="3559296" y="8379207"/>
                    </a:lnTo>
                    <a:lnTo>
                      <a:pt x="3563800" y="8354469"/>
                    </a:lnTo>
                    <a:lnTo>
                      <a:pt x="3569010" y="8325847"/>
                    </a:lnTo>
                    <a:lnTo>
                      <a:pt x="3572482" y="8282941"/>
                    </a:lnTo>
                    <a:lnTo>
                      <a:pt x="3580123" y="8241570"/>
                    </a:lnTo>
                    <a:lnTo>
                      <a:pt x="3587764" y="8200195"/>
                    </a:lnTo>
                    <a:lnTo>
                      <a:pt x="3599867" y="8160189"/>
                    </a:lnTo>
                    <a:lnTo>
                      <a:pt x="3619569" y="8138195"/>
                    </a:lnTo>
                    <a:lnTo>
                      <a:pt x="3671001" y="8099681"/>
                    </a:lnTo>
                    <a:lnTo>
                      <a:pt x="3715914" y="8056881"/>
                    </a:lnTo>
                    <a:lnTo>
                      <a:pt x="3751254" y="8038020"/>
                    </a:lnTo>
                    <a:lnTo>
                      <a:pt x="3785513" y="8028014"/>
                    </a:lnTo>
                    <a:lnTo>
                      <a:pt x="3819772" y="8018017"/>
                    </a:lnTo>
                    <a:lnTo>
                      <a:pt x="3852791" y="8016697"/>
                    </a:lnTo>
                    <a:lnTo>
                      <a:pt x="3886167" y="8019857"/>
                    </a:lnTo>
                    <a:lnTo>
                      <a:pt x="3952921" y="8026168"/>
                    </a:lnTo>
                    <a:lnTo>
                      <a:pt x="4021550" y="8050061"/>
                    </a:lnTo>
                    <a:lnTo>
                      <a:pt x="4109240" y="8062019"/>
                    </a:lnTo>
                    <a:lnTo>
                      <a:pt x="4156573" y="8068474"/>
                    </a:lnTo>
                    <a:lnTo>
                      <a:pt x="4206824" y="8068916"/>
                    </a:lnTo>
                    <a:lnTo>
                      <a:pt x="4256142" y="8066094"/>
                    </a:lnTo>
                    <a:lnTo>
                      <a:pt x="4305460" y="8063284"/>
                    </a:lnTo>
                    <a:lnTo>
                      <a:pt x="4354266" y="8057744"/>
                    </a:lnTo>
                    <a:lnTo>
                      <a:pt x="4401682" y="8055219"/>
                    </a:lnTo>
                    <a:lnTo>
                      <a:pt x="4449737" y="8042951"/>
                    </a:lnTo>
                    <a:lnTo>
                      <a:pt x="4470883" y="8014239"/>
                    </a:lnTo>
                    <a:lnTo>
                      <a:pt x="4486568" y="7986375"/>
                    </a:lnTo>
                    <a:lnTo>
                      <a:pt x="4505058" y="7966801"/>
                    </a:lnTo>
                    <a:lnTo>
                      <a:pt x="4520631" y="7950314"/>
                    </a:lnTo>
                    <a:lnTo>
                      <a:pt x="4542321" y="7945334"/>
                    </a:lnTo>
                    <a:lnTo>
                      <a:pt x="4566267" y="7947762"/>
                    </a:lnTo>
                    <a:lnTo>
                      <a:pt x="4590213" y="7950188"/>
                    </a:lnTo>
                    <a:lnTo>
                      <a:pt x="4617483" y="7959211"/>
                    </a:lnTo>
                    <a:lnTo>
                      <a:pt x="4645155" y="7970883"/>
                    </a:lnTo>
                    <a:lnTo>
                      <a:pt x="4700507" y="7994229"/>
                    </a:lnTo>
                    <a:lnTo>
                      <a:pt x="4757822" y="8027025"/>
                    </a:lnTo>
                    <a:lnTo>
                      <a:pt x="4800221" y="8029374"/>
                    </a:lnTo>
                    <a:lnTo>
                      <a:pt x="4821753" y="8018043"/>
                    </a:lnTo>
                    <a:lnTo>
                      <a:pt x="4834225" y="8000804"/>
                    </a:lnTo>
                    <a:lnTo>
                      <a:pt x="4841209" y="7980743"/>
                    </a:lnTo>
                    <a:lnTo>
                      <a:pt x="4851912" y="7962725"/>
                    </a:lnTo>
                    <a:lnTo>
                      <a:pt x="4876649" y="7921040"/>
                    </a:lnTo>
                    <a:lnTo>
                      <a:pt x="4902396" y="7893671"/>
                    </a:lnTo>
                    <a:lnTo>
                      <a:pt x="4928083" y="7877031"/>
                    </a:lnTo>
                    <a:lnTo>
                      <a:pt x="4953764" y="7860392"/>
                    </a:lnTo>
                    <a:lnTo>
                      <a:pt x="4980110" y="7854456"/>
                    </a:lnTo>
                    <a:lnTo>
                      <a:pt x="5008330" y="7855268"/>
                    </a:lnTo>
                    <a:lnTo>
                      <a:pt x="5036550" y="7856079"/>
                    </a:lnTo>
                    <a:lnTo>
                      <a:pt x="5065759" y="7863657"/>
                    </a:lnTo>
                    <a:lnTo>
                      <a:pt x="5098106" y="7874308"/>
                    </a:lnTo>
                    <a:lnTo>
                      <a:pt x="5130455" y="7884958"/>
                    </a:lnTo>
                    <a:lnTo>
                      <a:pt x="5166133" y="7899500"/>
                    </a:lnTo>
                    <a:lnTo>
                      <a:pt x="5204198" y="7912394"/>
                    </a:lnTo>
                    <a:lnTo>
                      <a:pt x="5239805" y="7917945"/>
                    </a:lnTo>
                    <a:lnTo>
                      <a:pt x="5280132" y="7909564"/>
                    </a:lnTo>
                    <a:lnTo>
                      <a:pt x="5301902" y="7901452"/>
                    </a:lnTo>
                    <a:lnTo>
                      <a:pt x="5322538" y="7891989"/>
                    </a:lnTo>
                    <a:lnTo>
                      <a:pt x="5343173" y="7882532"/>
                    </a:lnTo>
                    <a:lnTo>
                      <a:pt x="5362523" y="7870733"/>
                    </a:lnTo>
                    <a:lnTo>
                      <a:pt x="5381028" y="7860702"/>
                    </a:lnTo>
                    <a:lnTo>
                      <a:pt x="5399527" y="7850672"/>
                    </a:lnTo>
                    <a:lnTo>
                      <a:pt x="5429995" y="7836221"/>
                    </a:lnTo>
                    <a:lnTo>
                      <a:pt x="5450571" y="7829706"/>
                    </a:lnTo>
                    <a:lnTo>
                      <a:pt x="5471985" y="7829093"/>
                    </a:lnTo>
                    <a:lnTo>
                      <a:pt x="5493926" y="7832140"/>
                    </a:lnTo>
                    <a:lnTo>
                      <a:pt x="5516896" y="7836130"/>
                    </a:lnTo>
                    <a:lnTo>
                      <a:pt x="5538962" y="7839031"/>
                    </a:lnTo>
                    <a:lnTo>
                      <a:pt x="5579640" y="7837541"/>
                    </a:lnTo>
                    <a:lnTo>
                      <a:pt x="5600342" y="7834132"/>
                    </a:lnTo>
                    <a:lnTo>
                      <a:pt x="5637774" y="7821984"/>
                    </a:lnTo>
                    <a:lnTo>
                      <a:pt x="5672107" y="7804935"/>
                    </a:lnTo>
                    <a:lnTo>
                      <a:pt x="5708056" y="7785097"/>
                    </a:lnTo>
                    <a:lnTo>
                      <a:pt x="5742257" y="7764917"/>
                    </a:lnTo>
                    <a:lnTo>
                      <a:pt x="5775482" y="7745088"/>
                    </a:lnTo>
                    <a:lnTo>
                      <a:pt x="5795227" y="7733791"/>
                    </a:lnTo>
                    <a:lnTo>
                      <a:pt x="5813956" y="7720929"/>
                    </a:lnTo>
                    <a:lnTo>
                      <a:pt x="5835331" y="7709719"/>
                    </a:lnTo>
                    <a:lnTo>
                      <a:pt x="5860992" y="7697794"/>
                    </a:lnTo>
                    <a:lnTo>
                      <a:pt x="5905336" y="7680378"/>
                    </a:lnTo>
                    <a:lnTo>
                      <a:pt x="5949588" y="7668915"/>
                    </a:lnTo>
                    <a:lnTo>
                      <a:pt x="5993846" y="7657448"/>
                    </a:lnTo>
                    <a:lnTo>
                      <a:pt x="6038150" y="7651044"/>
                    </a:lnTo>
                    <a:lnTo>
                      <a:pt x="6065203" y="7662110"/>
                    </a:lnTo>
                    <a:lnTo>
                      <a:pt x="6088747" y="7678867"/>
                    </a:lnTo>
                    <a:lnTo>
                      <a:pt x="6109672" y="7699760"/>
                    </a:lnTo>
                    <a:lnTo>
                      <a:pt x="6131857" y="7713801"/>
                    </a:lnTo>
                    <a:lnTo>
                      <a:pt x="6155573" y="7711566"/>
                    </a:lnTo>
                    <a:lnTo>
                      <a:pt x="6181590" y="7699707"/>
                    </a:lnTo>
                    <a:lnTo>
                      <a:pt x="6198506" y="7683873"/>
                    </a:lnTo>
                    <a:lnTo>
                      <a:pt x="6238405" y="7629650"/>
                    </a:lnTo>
                    <a:lnTo>
                      <a:pt x="6261559" y="7595621"/>
                    </a:lnTo>
                    <a:lnTo>
                      <a:pt x="6273318" y="7570974"/>
                    </a:lnTo>
                    <a:lnTo>
                      <a:pt x="6285077" y="7546337"/>
                    </a:lnTo>
                    <a:lnTo>
                      <a:pt x="6278759" y="7519290"/>
                    </a:lnTo>
                    <a:lnTo>
                      <a:pt x="6256126" y="7496360"/>
                    </a:lnTo>
                    <a:lnTo>
                      <a:pt x="6239308" y="7478481"/>
                    </a:lnTo>
                    <a:lnTo>
                      <a:pt x="6222557" y="7458031"/>
                    </a:lnTo>
                    <a:lnTo>
                      <a:pt x="6204375" y="7430925"/>
                    </a:lnTo>
                    <a:lnTo>
                      <a:pt x="6186265" y="7394152"/>
                    </a:lnTo>
                    <a:lnTo>
                      <a:pt x="6151919" y="7399138"/>
                    </a:lnTo>
                    <a:lnTo>
                      <a:pt x="6114513" y="7408212"/>
                    </a:lnTo>
                    <a:lnTo>
                      <a:pt x="6076091" y="7417273"/>
                    </a:lnTo>
                    <a:lnTo>
                      <a:pt x="6038282" y="7421686"/>
                    </a:lnTo>
                    <a:lnTo>
                      <a:pt x="6002353" y="7415579"/>
                    </a:lnTo>
                    <a:lnTo>
                      <a:pt x="5969992" y="7394152"/>
                    </a:lnTo>
                    <a:lnTo>
                      <a:pt x="5961320" y="7319656"/>
                    </a:lnTo>
                    <a:lnTo>
                      <a:pt x="5953056" y="7262723"/>
                    </a:lnTo>
                    <a:lnTo>
                      <a:pt x="5950946" y="7206441"/>
                    </a:lnTo>
                    <a:lnTo>
                      <a:pt x="5957224" y="7176790"/>
                    </a:lnTo>
                    <a:lnTo>
                      <a:pt x="5974602" y="7149046"/>
                    </a:lnTo>
                    <a:lnTo>
                      <a:pt x="5993114" y="7122113"/>
                    </a:lnTo>
                    <a:lnTo>
                      <a:pt x="6005888" y="7096524"/>
                    </a:lnTo>
                    <a:lnTo>
                      <a:pt x="5999385" y="7068799"/>
                    </a:lnTo>
                    <a:lnTo>
                      <a:pt x="5963193" y="7039135"/>
                    </a:lnTo>
                    <a:lnTo>
                      <a:pt x="5944166" y="7027198"/>
                    </a:lnTo>
                    <a:lnTo>
                      <a:pt x="5925681" y="7013613"/>
                    </a:lnTo>
                    <a:lnTo>
                      <a:pt x="5901986" y="7020096"/>
                    </a:lnTo>
                    <a:lnTo>
                      <a:pt x="5877947" y="7035033"/>
                    </a:lnTo>
                    <a:lnTo>
                      <a:pt x="5852570" y="7059567"/>
                    </a:lnTo>
                    <a:lnTo>
                      <a:pt x="5825815" y="7086745"/>
                    </a:lnTo>
                    <a:lnTo>
                      <a:pt x="5797938" y="7112233"/>
                    </a:lnTo>
                    <a:lnTo>
                      <a:pt x="5769349" y="7126552"/>
                    </a:lnTo>
                    <a:lnTo>
                      <a:pt x="5741479" y="7123465"/>
                    </a:lnTo>
                    <a:lnTo>
                      <a:pt x="5719695" y="7109477"/>
                    </a:lnTo>
                    <a:lnTo>
                      <a:pt x="5703413" y="7083044"/>
                    </a:lnTo>
                    <a:lnTo>
                      <a:pt x="5693870" y="7050017"/>
                    </a:lnTo>
                    <a:lnTo>
                      <a:pt x="5692380" y="7016792"/>
                    </a:lnTo>
                    <a:lnTo>
                      <a:pt x="5703531" y="6988025"/>
                    </a:lnTo>
                    <a:lnTo>
                      <a:pt x="5730597" y="6968405"/>
                    </a:lnTo>
                    <a:lnTo>
                      <a:pt x="5757438" y="6956982"/>
                    </a:lnTo>
                    <a:lnTo>
                      <a:pt x="5783937" y="6950876"/>
                    </a:lnTo>
                    <a:lnTo>
                      <a:pt x="5810850" y="6946642"/>
                    </a:lnTo>
                    <a:lnTo>
                      <a:pt x="5837764" y="6942402"/>
                    </a:lnTo>
                    <a:lnTo>
                      <a:pt x="5864975" y="6941003"/>
                    </a:lnTo>
                    <a:lnTo>
                      <a:pt x="5889739" y="6939842"/>
                    </a:lnTo>
                    <a:lnTo>
                      <a:pt x="5914509" y="6938675"/>
                    </a:lnTo>
                    <a:lnTo>
                      <a:pt x="5937367" y="6937949"/>
                    </a:lnTo>
                    <a:lnTo>
                      <a:pt x="5978137" y="6933577"/>
                    </a:lnTo>
                    <a:lnTo>
                      <a:pt x="6009436" y="6922161"/>
                    </a:lnTo>
                    <a:lnTo>
                      <a:pt x="6028482" y="6901758"/>
                    </a:lnTo>
                    <a:lnTo>
                      <a:pt x="6038006" y="6874553"/>
                    </a:lnTo>
                    <a:lnTo>
                      <a:pt x="6046163" y="6845990"/>
                    </a:lnTo>
                    <a:lnTo>
                      <a:pt x="6059769" y="6821504"/>
                    </a:lnTo>
                    <a:lnTo>
                      <a:pt x="6074647" y="6805379"/>
                    </a:lnTo>
                    <a:lnTo>
                      <a:pt x="6107370" y="6783418"/>
                    </a:lnTo>
                    <a:lnTo>
                      <a:pt x="6139237" y="6762644"/>
                    </a:lnTo>
                    <a:lnTo>
                      <a:pt x="6168004" y="6741632"/>
                    </a:lnTo>
                    <a:lnTo>
                      <a:pt x="6190347" y="6714053"/>
                    </a:lnTo>
                    <a:lnTo>
                      <a:pt x="6202971" y="6677371"/>
                    </a:lnTo>
                    <a:lnTo>
                      <a:pt x="6202588" y="6650122"/>
                    </a:lnTo>
                    <a:lnTo>
                      <a:pt x="6178121" y="6628728"/>
                    </a:lnTo>
                    <a:lnTo>
                      <a:pt x="6145443" y="6608943"/>
                    </a:lnTo>
                    <a:lnTo>
                      <a:pt x="6110094" y="6590273"/>
                    </a:lnTo>
                    <a:lnTo>
                      <a:pt x="6075775" y="6571069"/>
                    </a:lnTo>
                    <a:lnTo>
                      <a:pt x="6049203" y="6549629"/>
                    </a:lnTo>
                    <a:lnTo>
                      <a:pt x="6035282" y="6523626"/>
                    </a:lnTo>
                    <a:lnTo>
                      <a:pt x="6026919" y="6499593"/>
                    </a:lnTo>
                    <a:lnTo>
                      <a:pt x="6031417" y="6478035"/>
                    </a:lnTo>
                    <a:lnTo>
                      <a:pt x="6043446" y="6456971"/>
                    </a:lnTo>
                    <a:lnTo>
                      <a:pt x="6055469" y="6435913"/>
                    </a:lnTo>
                    <a:lnTo>
                      <a:pt x="6075154" y="6415192"/>
                    </a:lnTo>
                    <a:lnTo>
                      <a:pt x="6096489" y="6395764"/>
                    </a:lnTo>
                    <a:lnTo>
                      <a:pt x="6117830" y="6376342"/>
                    </a:lnTo>
                    <a:lnTo>
                      <a:pt x="6140853" y="6357763"/>
                    </a:lnTo>
                    <a:lnTo>
                      <a:pt x="6160420" y="6338638"/>
                    </a:lnTo>
                    <a:lnTo>
                      <a:pt x="6179994" y="6319506"/>
                    </a:lnTo>
                    <a:lnTo>
                      <a:pt x="6195861" y="6300315"/>
                    </a:lnTo>
                    <a:lnTo>
                      <a:pt x="6202588" y="6280147"/>
                    </a:lnTo>
                    <a:lnTo>
                      <a:pt x="6210897" y="6249949"/>
                    </a:lnTo>
                    <a:lnTo>
                      <a:pt x="6213318" y="6223294"/>
                    </a:lnTo>
                    <a:lnTo>
                      <a:pt x="6210752" y="6199895"/>
                    </a:lnTo>
                    <a:lnTo>
                      <a:pt x="6206229" y="6177149"/>
                    </a:lnTo>
                    <a:lnTo>
                      <a:pt x="6198948" y="6157350"/>
                    </a:lnTo>
                    <a:lnTo>
                      <a:pt x="6172093" y="6105957"/>
                    </a:lnTo>
                    <a:lnTo>
                      <a:pt x="6149585" y="6082280"/>
                    </a:lnTo>
                    <a:lnTo>
                      <a:pt x="6156344" y="6061158"/>
                    </a:lnTo>
                    <a:lnTo>
                      <a:pt x="6168584" y="6033953"/>
                    </a:lnTo>
                    <a:lnTo>
                      <a:pt x="6180825" y="6008108"/>
                    </a:lnTo>
                    <a:lnTo>
                      <a:pt x="6196534" y="5969773"/>
                    </a:lnTo>
                    <a:lnTo>
                      <a:pt x="6216806" y="5934905"/>
                    </a:lnTo>
                    <a:lnTo>
                      <a:pt x="6247480" y="5907449"/>
                    </a:lnTo>
                    <a:lnTo>
                      <a:pt x="6291052" y="5902650"/>
                    </a:lnTo>
                    <a:lnTo>
                      <a:pt x="6319568" y="5910173"/>
                    </a:lnTo>
                    <a:lnTo>
                      <a:pt x="6348078" y="5917698"/>
                    </a:lnTo>
                    <a:lnTo>
                      <a:pt x="6376469" y="5927986"/>
                    </a:lnTo>
                    <a:lnTo>
                      <a:pt x="6432559" y="5937530"/>
                    </a:lnTo>
                    <a:lnTo>
                      <a:pt x="6489519" y="5927143"/>
                    </a:lnTo>
                    <a:lnTo>
                      <a:pt x="6545358" y="5911533"/>
                    </a:lnTo>
                    <a:lnTo>
                      <a:pt x="6601197" y="5895915"/>
                    </a:lnTo>
                    <a:lnTo>
                      <a:pt x="6655921" y="5875557"/>
                    </a:lnTo>
                    <a:lnTo>
                      <a:pt x="6696341" y="5863923"/>
                    </a:lnTo>
                    <a:lnTo>
                      <a:pt x="6748092" y="5863990"/>
                    </a:lnTo>
                    <a:lnTo>
                      <a:pt x="6793003" y="5872695"/>
                    </a:lnTo>
                    <a:lnTo>
                      <a:pt x="6826578" y="5880522"/>
                    </a:lnTo>
                    <a:lnTo>
                      <a:pt x="6854125" y="5897927"/>
                    </a:lnTo>
                    <a:lnTo>
                      <a:pt x="6900698" y="5937094"/>
                    </a:lnTo>
                    <a:lnTo>
                      <a:pt x="6931654" y="5964574"/>
                    </a:lnTo>
                    <a:lnTo>
                      <a:pt x="6962617" y="5992057"/>
                    </a:lnTo>
                    <a:lnTo>
                      <a:pt x="6993706" y="6017664"/>
                    </a:lnTo>
                    <a:lnTo>
                      <a:pt x="7037753" y="5994497"/>
                    </a:lnTo>
                    <a:lnTo>
                      <a:pt x="7062048" y="6004902"/>
                    </a:lnTo>
                    <a:lnTo>
                      <a:pt x="7086905" y="6019458"/>
                    </a:lnTo>
                    <a:lnTo>
                      <a:pt x="7112559" y="6033947"/>
                    </a:lnTo>
                    <a:lnTo>
                      <a:pt x="7137580" y="6045098"/>
                    </a:lnTo>
                    <a:lnTo>
                      <a:pt x="7163716" y="6047269"/>
                    </a:lnTo>
                    <a:lnTo>
                      <a:pt x="7190096" y="6035305"/>
                    </a:lnTo>
                    <a:lnTo>
                      <a:pt x="7213217" y="6013542"/>
                    </a:lnTo>
                    <a:lnTo>
                      <a:pt x="7224825" y="5991475"/>
                    </a:lnTo>
                    <a:lnTo>
                      <a:pt x="7234248" y="5964878"/>
                    </a:lnTo>
                    <a:lnTo>
                      <a:pt x="7240421" y="5937371"/>
                    </a:lnTo>
                    <a:lnTo>
                      <a:pt x="7245420" y="5914190"/>
                    </a:lnTo>
                    <a:lnTo>
                      <a:pt x="7246620" y="5892123"/>
                    </a:lnTo>
                    <a:lnTo>
                      <a:pt x="7243145" y="5862559"/>
                    </a:lnTo>
                    <a:lnTo>
                      <a:pt x="7248520" y="5817904"/>
                    </a:lnTo>
                    <a:lnTo>
                      <a:pt x="7262184" y="5775143"/>
                    </a:lnTo>
                    <a:lnTo>
                      <a:pt x="7262184" y="5729262"/>
                    </a:lnTo>
                    <a:lnTo>
                      <a:pt x="7253051" y="5687945"/>
                    </a:lnTo>
                    <a:lnTo>
                      <a:pt x="7262184" y="5668048"/>
                    </a:lnTo>
                    <a:lnTo>
                      <a:pt x="7301121" y="5658261"/>
                    </a:lnTo>
                    <a:lnTo>
                      <a:pt x="7337511" y="5661520"/>
                    </a:lnTo>
                    <a:lnTo>
                      <a:pt x="7369642" y="5672130"/>
                    </a:lnTo>
                    <a:lnTo>
                      <a:pt x="7401601" y="5682432"/>
                    </a:lnTo>
                    <a:lnTo>
                      <a:pt x="7428633" y="5694013"/>
                    </a:lnTo>
                    <a:lnTo>
                      <a:pt x="7461627" y="5657787"/>
                    </a:lnTo>
                    <a:lnTo>
                      <a:pt x="7502879" y="5610244"/>
                    </a:lnTo>
                    <a:lnTo>
                      <a:pt x="7527425" y="5594602"/>
                    </a:lnTo>
                    <a:lnTo>
                      <a:pt x="7587867" y="5556094"/>
                    </a:lnTo>
                    <a:lnTo>
                      <a:pt x="7661895" y="5536157"/>
                    </a:lnTo>
                    <a:lnTo>
                      <a:pt x="7726017" y="5504830"/>
                    </a:lnTo>
                    <a:lnTo>
                      <a:pt x="7763100" y="5486721"/>
                    </a:lnTo>
                    <a:lnTo>
                      <a:pt x="7799313" y="5463586"/>
                    </a:lnTo>
                    <a:lnTo>
                      <a:pt x="7836192" y="5444983"/>
                    </a:lnTo>
                    <a:lnTo>
                      <a:pt x="7872582" y="5426615"/>
                    </a:lnTo>
                    <a:lnTo>
                      <a:pt x="7914308" y="5409390"/>
                    </a:lnTo>
                    <a:lnTo>
                      <a:pt x="7954530" y="5387850"/>
                    </a:lnTo>
                    <a:lnTo>
                      <a:pt x="7994753" y="5366312"/>
                    </a:lnTo>
                    <a:lnTo>
                      <a:pt x="8032298" y="5340374"/>
                    </a:lnTo>
                    <a:lnTo>
                      <a:pt x="8057905" y="5306239"/>
                    </a:lnTo>
                    <a:lnTo>
                      <a:pt x="8073278" y="5285741"/>
                    </a:lnTo>
                    <a:lnTo>
                      <a:pt x="8081640" y="5263899"/>
                    </a:lnTo>
                    <a:lnTo>
                      <a:pt x="8093268" y="5242308"/>
                    </a:lnTo>
                    <a:lnTo>
                      <a:pt x="8113606" y="5204500"/>
                    </a:lnTo>
                    <a:lnTo>
                      <a:pt x="8135329" y="5166460"/>
                    </a:lnTo>
                    <a:lnTo>
                      <a:pt x="8154475" y="5128052"/>
                    </a:lnTo>
                    <a:lnTo>
                      <a:pt x="8169868" y="5097193"/>
                    </a:lnTo>
                    <a:lnTo>
                      <a:pt x="8194770" y="5018556"/>
                    </a:lnTo>
                    <a:lnTo>
                      <a:pt x="8225212" y="4949863"/>
                    </a:lnTo>
                    <a:lnTo>
                      <a:pt x="8240426" y="4915518"/>
                    </a:lnTo>
                    <a:lnTo>
                      <a:pt x="8257579" y="4883552"/>
                    </a:lnTo>
                    <a:lnTo>
                      <a:pt x="8275537" y="4861453"/>
                    </a:lnTo>
                    <a:lnTo>
                      <a:pt x="8293495" y="4839359"/>
                    </a:lnTo>
                    <a:lnTo>
                      <a:pt x="8312653" y="4826901"/>
                    </a:lnTo>
                    <a:lnTo>
                      <a:pt x="8336171" y="4845071"/>
                    </a:lnTo>
                    <a:lnTo>
                      <a:pt x="8343907" y="4869359"/>
                    </a:lnTo>
                    <a:lnTo>
                      <a:pt x="8389557" y="4886684"/>
                    </a:lnTo>
                    <a:lnTo>
                      <a:pt x="8413833" y="4888690"/>
                    </a:lnTo>
                    <a:lnTo>
                      <a:pt x="8437402" y="4884574"/>
                    </a:lnTo>
                    <a:lnTo>
                      <a:pt x="8460966" y="4880459"/>
                    </a:lnTo>
                    <a:lnTo>
                      <a:pt x="8483844" y="4870665"/>
                    </a:lnTo>
                    <a:lnTo>
                      <a:pt x="8516291" y="4854647"/>
                    </a:lnTo>
                    <a:lnTo>
                      <a:pt x="8536741" y="4844550"/>
                    </a:lnTo>
                    <a:lnTo>
                      <a:pt x="8565258" y="4824725"/>
                    </a:lnTo>
                    <a:lnTo>
                      <a:pt x="8587536" y="4798201"/>
                    </a:lnTo>
                    <a:lnTo>
                      <a:pt x="8592462" y="4774399"/>
                    </a:lnTo>
                    <a:lnTo>
                      <a:pt x="8600501" y="4735536"/>
                    </a:lnTo>
                    <a:lnTo>
                      <a:pt x="8594322" y="4708760"/>
                    </a:lnTo>
                    <a:lnTo>
                      <a:pt x="8581580" y="4683265"/>
                    </a:lnTo>
                    <a:lnTo>
                      <a:pt x="8568839" y="4657761"/>
                    </a:lnTo>
                    <a:lnTo>
                      <a:pt x="8548876" y="4634857"/>
                    </a:lnTo>
                    <a:lnTo>
                      <a:pt x="8528531" y="4604369"/>
                    </a:lnTo>
                    <a:lnTo>
                      <a:pt x="8507704" y="4571005"/>
                    </a:lnTo>
                    <a:lnTo>
                      <a:pt x="8492701" y="4543229"/>
                    </a:lnTo>
                    <a:lnTo>
                      <a:pt x="8487728" y="4522757"/>
                    </a:lnTo>
                    <a:lnTo>
                      <a:pt x="8517505" y="4340494"/>
                    </a:lnTo>
                    <a:lnTo>
                      <a:pt x="8533378" y="4323341"/>
                    </a:lnTo>
                    <a:lnTo>
                      <a:pt x="8731331" y="4303405"/>
                    </a:lnTo>
                    <a:lnTo>
                      <a:pt x="8773261" y="4297772"/>
                    </a:lnTo>
                    <a:lnTo>
                      <a:pt x="8814876" y="4270041"/>
                    </a:lnTo>
                    <a:lnTo>
                      <a:pt x="8854979" y="4262965"/>
                    </a:lnTo>
                    <a:lnTo>
                      <a:pt x="8890703" y="4256646"/>
                    </a:lnTo>
                    <a:lnTo>
                      <a:pt x="9058036" y="4237013"/>
                    </a:lnTo>
                    <a:lnTo>
                      <a:pt x="9078052" y="4227597"/>
                    </a:lnTo>
                    <a:lnTo>
                      <a:pt x="9120239" y="4207765"/>
                    </a:lnTo>
                    <a:lnTo>
                      <a:pt x="9157157" y="4173102"/>
                    </a:lnTo>
                    <a:lnTo>
                      <a:pt x="9200473" y="4156866"/>
                    </a:lnTo>
                    <a:lnTo>
                      <a:pt x="9235366" y="4143755"/>
                    </a:lnTo>
                    <a:lnTo>
                      <a:pt x="9276386" y="4145048"/>
                    </a:lnTo>
                    <a:lnTo>
                      <a:pt x="9310647" y="4125580"/>
                    </a:lnTo>
                    <a:lnTo>
                      <a:pt x="9336321" y="4111005"/>
                    </a:lnTo>
                    <a:lnTo>
                      <a:pt x="9353092" y="4087435"/>
                    </a:lnTo>
                    <a:lnTo>
                      <a:pt x="9382736" y="4076612"/>
                    </a:lnTo>
                    <a:lnTo>
                      <a:pt x="9411206" y="4083464"/>
                    </a:lnTo>
                    <a:lnTo>
                      <a:pt x="9436728" y="4084751"/>
                    </a:lnTo>
                    <a:lnTo>
                      <a:pt x="9460266" y="4082054"/>
                    </a:lnTo>
                    <a:lnTo>
                      <a:pt x="9483809" y="4079362"/>
                    </a:lnTo>
                    <a:lnTo>
                      <a:pt x="9505414" y="4073045"/>
                    </a:lnTo>
                    <a:lnTo>
                      <a:pt x="9524197" y="4061649"/>
                    </a:lnTo>
                    <a:lnTo>
                      <a:pt x="9542979" y="4050259"/>
                    </a:lnTo>
                    <a:lnTo>
                      <a:pt x="9558965" y="4034649"/>
                    </a:lnTo>
                    <a:lnTo>
                      <a:pt x="9573164" y="4015405"/>
                    </a:lnTo>
                    <a:lnTo>
                      <a:pt x="9587369" y="3996161"/>
                    </a:lnTo>
                    <a:lnTo>
                      <a:pt x="9598739" y="3972281"/>
                    </a:lnTo>
                    <a:lnTo>
                      <a:pt x="9608533" y="3946034"/>
                    </a:lnTo>
                    <a:lnTo>
                      <a:pt x="9608862" y="3923854"/>
                    </a:lnTo>
                    <a:lnTo>
                      <a:pt x="9596285" y="3884825"/>
                    </a:lnTo>
                    <a:lnTo>
                      <a:pt x="9580464" y="3845843"/>
                    </a:lnTo>
                    <a:lnTo>
                      <a:pt x="9568587" y="3809553"/>
                    </a:lnTo>
                    <a:lnTo>
                      <a:pt x="9569088" y="3774652"/>
                    </a:lnTo>
                    <a:lnTo>
                      <a:pt x="9586004" y="3738017"/>
                    </a:lnTo>
                    <a:lnTo>
                      <a:pt x="9609891" y="3718885"/>
                    </a:lnTo>
                    <a:lnTo>
                      <a:pt x="9638453" y="3717527"/>
                    </a:lnTo>
                    <a:lnTo>
                      <a:pt x="9665657" y="3721603"/>
                    </a:lnTo>
                    <a:lnTo>
                      <a:pt x="9692861" y="3725671"/>
                    </a:lnTo>
                    <a:lnTo>
                      <a:pt x="9718706" y="3722955"/>
                    </a:lnTo>
                    <a:lnTo>
                      <a:pt x="9735029" y="3698474"/>
                    </a:lnTo>
                    <a:lnTo>
                      <a:pt x="9739804" y="3675372"/>
                    </a:lnTo>
                    <a:lnTo>
                      <a:pt x="9738419" y="3650846"/>
                    </a:lnTo>
                    <a:lnTo>
                      <a:pt x="9732306" y="3627743"/>
                    </a:lnTo>
                    <a:lnTo>
                      <a:pt x="9724220" y="3607022"/>
                    </a:lnTo>
                    <a:lnTo>
                      <a:pt x="9673815" y="3547490"/>
                    </a:lnTo>
                    <a:lnTo>
                      <a:pt x="9657836" y="3528728"/>
                    </a:lnTo>
                    <a:lnTo>
                      <a:pt x="9662960" y="3498075"/>
                    </a:lnTo>
                    <a:lnTo>
                      <a:pt x="9646611" y="3480842"/>
                    </a:lnTo>
                    <a:lnTo>
                      <a:pt x="9619935" y="3458407"/>
                    </a:lnTo>
                    <a:lnTo>
                      <a:pt x="9594399" y="3443429"/>
                    </a:lnTo>
                    <a:lnTo>
                      <a:pt x="9570440" y="3430517"/>
                    </a:lnTo>
                    <a:lnTo>
                      <a:pt x="9546738" y="3414471"/>
                    </a:lnTo>
                    <a:lnTo>
                      <a:pt x="9526135" y="3389430"/>
                    </a:lnTo>
                    <a:lnTo>
                      <a:pt x="9509232" y="3348905"/>
                    </a:lnTo>
                    <a:lnTo>
                      <a:pt x="9498694" y="3313008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57" name="Khmelnytsky¬0" descr="Khmelnytsky¬0">
                <a:extLst>
                  <a:ext uri="{FF2B5EF4-FFF2-40B4-BE49-F238E27FC236}">
                    <a16:creationId xmlns:a16="http://schemas.microsoft.com/office/drawing/2014/main" id="{7C2231EA-CB47-44E2-98CB-3449825EA8F1}"/>
                  </a:ext>
                </a:extLst>
              </p:cNvPr>
              <p:cNvSpPr/>
              <p:nvPr/>
            </p:nvSpPr>
            <p:spPr>
              <a:xfrm>
                <a:off x="14006303" y="9420546"/>
                <a:ext cx="6112883" cy="11253985"/>
              </a:xfrm>
              <a:custGeom>
                <a:avLst/>
                <a:gdLst/>
                <a:ahLst/>
                <a:cxnLst/>
                <a:rect l="0" t="0" r="0" b="0"/>
                <a:pathLst>
                  <a:path w="6112888" h="11253986">
                    <a:moveTo>
                      <a:pt x="4288341" y="10295067"/>
                    </a:moveTo>
                    <a:lnTo>
                      <a:pt x="4292741" y="10266965"/>
                    </a:lnTo>
                    <a:lnTo>
                      <a:pt x="4300054" y="10236939"/>
                    </a:lnTo>
                    <a:lnTo>
                      <a:pt x="4314834" y="10192363"/>
                    </a:lnTo>
                    <a:lnTo>
                      <a:pt x="4327483" y="10163010"/>
                    </a:lnTo>
                    <a:lnTo>
                      <a:pt x="4338985" y="10133669"/>
                    </a:lnTo>
                    <a:lnTo>
                      <a:pt x="4350493" y="10104328"/>
                    </a:lnTo>
                    <a:lnTo>
                      <a:pt x="4361790" y="10074922"/>
                    </a:lnTo>
                    <a:lnTo>
                      <a:pt x="4370270" y="10045251"/>
                    </a:lnTo>
                    <a:lnTo>
                      <a:pt x="4378751" y="10015588"/>
                    </a:lnTo>
                    <a:lnTo>
                      <a:pt x="4384449" y="9984822"/>
                    </a:lnTo>
                    <a:lnTo>
                      <a:pt x="4385235" y="9954123"/>
                    </a:lnTo>
                    <a:lnTo>
                      <a:pt x="4385952" y="9925877"/>
                    </a:lnTo>
                    <a:lnTo>
                      <a:pt x="4382965" y="9895916"/>
                    </a:lnTo>
                    <a:lnTo>
                      <a:pt x="4382517" y="9865706"/>
                    </a:lnTo>
                    <a:lnTo>
                      <a:pt x="4382055" y="9835507"/>
                    </a:lnTo>
                    <a:lnTo>
                      <a:pt x="4384535" y="9806252"/>
                    </a:lnTo>
                    <a:lnTo>
                      <a:pt x="4393398" y="9778658"/>
                    </a:lnTo>
                    <a:lnTo>
                      <a:pt x="4404002" y="9754746"/>
                    </a:lnTo>
                    <a:lnTo>
                      <a:pt x="4397435" y="9727970"/>
                    </a:lnTo>
                    <a:lnTo>
                      <a:pt x="4386599" y="9705205"/>
                    </a:lnTo>
                    <a:lnTo>
                      <a:pt x="4382860" y="9678343"/>
                    </a:lnTo>
                    <a:lnTo>
                      <a:pt x="4370257" y="9593559"/>
                    </a:lnTo>
                    <a:lnTo>
                      <a:pt x="4381159" y="9571908"/>
                    </a:lnTo>
                    <a:lnTo>
                      <a:pt x="4446065" y="9582019"/>
                    </a:lnTo>
                    <a:lnTo>
                      <a:pt x="4470420" y="9586470"/>
                    </a:lnTo>
                    <a:lnTo>
                      <a:pt x="4491334" y="9571908"/>
                    </a:lnTo>
                    <a:lnTo>
                      <a:pt x="4492751" y="9550337"/>
                    </a:lnTo>
                    <a:lnTo>
                      <a:pt x="4482074" y="9522361"/>
                    </a:lnTo>
                    <a:lnTo>
                      <a:pt x="4470671" y="9504469"/>
                    </a:lnTo>
                    <a:lnTo>
                      <a:pt x="4458695" y="9486214"/>
                    </a:lnTo>
                    <a:lnTo>
                      <a:pt x="4447504" y="9467485"/>
                    </a:lnTo>
                    <a:lnTo>
                      <a:pt x="4433258" y="9430355"/>
                    </a:lnTo>
                    <a:lnTo>
                      <a:pt x="4421645" y="9400072"/>
                    </a:lnTo>
                    <a:lnTo>
                      <a:pt x="4413803" y="9371957"/>
                    </a:lnTo>
                    <a:lnTo>
                      <a:pt x="4401979" y="9329558"/>
                    </a:lnTo>
                    <a:lnTo>
                      <a:pt x="4390095" y="9282406"/>
                    </a:lnTo>
                    <a:lnTo>
                      <a:pt x="4382523" y="9234580"/>
                    </a:lnTo>
                    <a:lnTo>
                      <a:pt x="4374945" y="9186747"/>
                    </a:lnTo>
                    <a:lnTo>
                      <a:pt x="4371755" y="9138181"/>
                    </a:lnTo>
                    <a:lnTo>
                      <a:pt x="4379807" y="9094477"/>
                    </a:lnTo>
                    <a:lnTo>
                      <a:pt x="4383670" y="9073545"/>
                    </a:lnTo>
                    <a:lnTo>
                      <a:pt x="4392957" y="9052864"/>
                    </a:lnTo>
                    <a:lnTo>
                      <a:pt x="4396129" y="9031905"/>
                    </a:lnTo>
                    <a:lnTo>
                      <a:pt x="4347412" y="8839123"/>
                    </a:lnTo>
                    <a:lnTo>
                      <a:pt x="4329520" y="8796276"/>
                    </a:lnTo>
                    <a:lnTo>
                      <a:pt x="4307988" y="8760353"/>
                    </a:lnTo>
                    <a:lnTo>
                      <a:pt x="4290030" y="8725862"/>
                    </a:lnTo>
                    <a:lnTo>
                      <a:pt x="4286568" y="8701203"/>
                    </a:lnTo>
                    <a:lnTo>
                      <a:pt x="4293493" y="8668909"/>
                    </a:lnTo>
                    <a:lnTo>
                      <a:pt x="4307711" y="8649690"/>
                    </a:lnTo>
                    <a:lnTo>
                      <a:pt x="4373001" y="8619769"/>
                    </a:lnTo>
                    <a:lnTo>
                      <a:pt x="4393478" y="8600177"/>
                    </a:lnTo>
                    <a:lnTo>
                      <a:pt x="4390609" y="8568627"/>
                    </a:lnTo>
                    <a:lnTo>
                      <a:pt x="4373001" y="8531351"/>
                    </a:lnTo>
                    <a:lnTo>
                      <a:pt x="4351804" y="8495403"/>
                    </a:lnTo>
                    <a:lnTo>
                      <a:pt x="4320789" y="8461663"/>
                    </a:lnTo>
                    <a:lnTo>
                      <a:pt x="4306353" y="8443620"/>
                    </a:lnTo>
                    <a:lnTo>
                      <a:pt x="4308205" y="8406728"/>
                    </a:lnTo>
                    <a:lnTo>
                      <a:pt x="4327990" y="8372955"/>
                    </a:lnTo>
                    <a:lnTo>
                      <a:pt x="4343839" y="8353922"/>
                    </a:lnTo>
                    <a:lnTo>
                      <a:pt x="4353961" y="8332767"/>
                    </a:lnTo>
                    <a:lnTo>
                      <a:pt x="4364090" y="8311604"/>
                    </a:lnTo>
                    <a:lnTo>
                      <a:pt x="4368978" y="8288079"/>
                    </a:lnTo>
                    <a:lnTo>
                      <a:pt x="4363484" y="8259312"/>
                    </a:lnTo>
                    <a:lnTo>
                      <a:pt x="4384951" y="8229898"/>
                    </a:lnTo>
                    <a:lnTo>
                      <a:pt x="4432962" y="8187625"/>
                    </a:lnTo>
                    <a:lnTo>
                      <a:pt x="4479654" y="8172193"/>
                    </a:lnTo>
                    <a:lnTo>
                      <a:pt x="4500869" y="8139614"/>
                    </a:lnTo>
                    <a:lnTo>
                      <a:pt x="4526497" y="8100257"/>
                    </a:lnTo>
                    <a:lnTo>
                      <a:pt x="4525218" y="8058900"/>
                    </a:lnTo>
                    <a:lnTo>
                      <a:pt x="4534872" y="8028081"/>
                    </a:lnTo>
                    <a:lnTo>
                      <a:pt x="4546915" y="8000072"/>
                    </a:lnTo>
                    <a:lnTo>
                      <a:pt x="4577238" y="7982636"/>
                    </a:lnTo>
                    <a:lnTo>
                      <a:pt x="4600479" y="7978098"/>
                    </a:lnTo>
                    <a:lnTo>
                      <a:pt x="4635523" y="7979114"/>
                    </a:lnTo>
                    <a:lnTo>
                      <a:pt x="4653204" y="7946469"/>
                    </a:lnTo>
                    <a:lnTo>
                      <a:pt x="4630651" y="7890446"/>
                    </a:lnTo>
                    <a:lnTo>
                      <a:pt x="4638241" y="7870299"/>
                    </a:lnTo>
                    <a:lnTo>
                      <a:pt x="4647995" y="7844302"/>
                    </a:lnTo>
                    <a:lnTo>
                      <a:pt x="4681767" y="7814525"/>
                    </a:lnTo>
                    <a:lnTo>
                      <a:pt x="4698836" y="7792827"/>
                    </a:lnTo>
                    <a:lnTo>
                      <a:pt x="4688996" y="7736659"/>
                    </a:lnTo>
                    <a:lnTo>
                      <a:pt x="4704890" y="7702993"/>
                    </a:lnTo>
                    <a:lnTo>
                      <a:pt x="4725294" y="7681230"/>
                    </a:lnTo>
                    <a:lnTo>
                      <a:pt x="4766782" y="7680768"/>
                    </a:lnTo>
                    <a:lnTo>
                      <a:pt x="4810500" y="7677701"/>
                    </a:lnTo>
                    <a:lnTo>
                      <a:pt x="4851791" y="7679870"/>
                    </a:lnTo>
                    <a:lnTo>
                      <a:pt x="4877431" y="7681222"/>
                    </a:lnTo>
                    <a:lnTo>
                      <a:pt x="4901510" y="7688390"/>
                    </a:lnTo>
                    <a:lnTo>
                      <a:pt x="4926603" y="7694835"/>
                    </a:lnTo>
                    <a:lnTo>
                      <a:pt x="4951696" y="7701270"/>
                    </a:lnTo>
                    <a:lnTo>
                      <a:pt x="4976961" y="7706639"/>
                    </a:lnTo>
                    <a:lnTo>
                      <a:pt x="5002774" y="7704351"/>
                    </a:lnTo>
                    <a:lnTo>
                      <a:pt x="5034186" y="7680543"/>
                    </a:lnTo>
                    <a:lnTo>
                      <a:pt x="5049775" y="7646684"/>
                    </a:lnTo>
                    <a:lnTo>
                      <a:pt x="5062623" y="7610499"/>
                    </a:lnTo>
                    <a:lnTo>
                      <a:pt x="5075470" y="7574312"/>
                    </a:lnTo>
                    <a:lnTo>
                      <a:pt x="5086542" y="7535732"/>
                    </a:lnTo>
                    <a:lnTo>
                      <a:pt x="5108873" y="7505764"/>
                    </a:lnTo>
                    <a:lnTo>
                      <a:pt x="5153758" y="7502290"/>
                    </a:lnTo>
                    <a:lnTo>
                      <a:pt x="5187761" y="7511206"/>
                    </a:lnTo>
                    <a:lnTo>
                      <a:pt x="5221765" y="7520122"/>
                    </a:lnTo>
                    <a:lnTo>
                      <a:pt x="5255960" y="7532527"/>
                    </a:lnTo>
                    <a:lnTo>
                      <a:pt x="5305355" y="7549187"/>
                    </a:lnTo>
                    <a:lnTo>
                      <a:pt x="5337493" y="7592988"/>
                    </a:lnTo>
                    <a:lnTo>
                      <a:pt x="5375472" y="7610499"/>
                    </a:lnTo>
                    <a:lnTo>
                      <a:pt x="5394934" y="7619488"/>
                    </a:lnTo>
                    <a:lnTo>
                      <a:pt x="5416156" y="7620714"/>
                    </a:lnTo>
                    <a:lnTo>
                      <a:pt x="5438039" y="7622745"/>
                    </a:lnTo>
                    <a:lnTo>
                      <a:pt x="5459919" y="7624769"/>
                    </a:lnTo>
                    <a:lnTo>
                      <a:pt x="5481650" y="7626966"/>
                    </a:lnTo>
                    <a:lnTo>
                      <a:pt x="5499246" y="7639068"/>
                    </a:lnTo>
                    <a:lnTo>
                      <a:pt x="5522604" y="7655113"/>
                    </a:lnTo>
                    <a:lnTo>
                      <a:pt x="5542263" y="7680741"/>
                    </a:lnTo>
                    <a:lnTo>
                      <a:pt x="5565893" y="7696193"/>
                    </a:lnTo>
                    <a:lnTo>
                      <a:pt x="5587281" y="7710181"/>
                    </a:lnTo>
                    <a:lnTo>
                      <a:pt x="5625300" y="7725757"/>
                    </a:lnTo>
                    <a:lnTo>
                      <a:pt x="5650229" y="7731555"/>
                    </a:lnTo>
                    <a:lnTo>
                      <a:pt x="5671003" y="7736395"/>
                    </a:lnTo>
                    <a:lnTo>
                      <a:pt x="5701914" y="7732913"/>
                    </a:lnTo>
                    <a:lnTo>
                      <a:pt x="5727238" y="7722401"/>
                    </a:lnTo>
                    <a:lnTo>
                      <a:pt x="5757369" y="7692744"/>
                    </a:lnTo>
                    <a:lnTo>
                      <a:pt x="5772452" y="7662744"/>
                    </a:lnTo>
                    <a:lnTo>
                      <a:pt x="5791690" y="7630904"/>
                    </a:lnTo>
                    <a:lnTo>
                      <a:pt x="5809371" y="7613215"/>
                    </a:lnTo>
                    <a:lnTo>
                      <a:pt x="5827863" y="7599115"/>
                    </a:lnTo>
                    <a:lnTo>
                      <a:pt x="5885272" y="7573205"/>
                    </a:lnTo>
                    <a:lnTo>
                      <a:pt x="5911459" y="7562614"/>
                    </a:lnTo>
                    <a:lnTo>
                      <a:pt x="5939949" y="7558814"/>
                    </a:lnTo>
                    <a:lnTo>
                      <a:pt x="5968446" y="7555009"/>
                    </a:lnTo>
                    <a:lnTo>
                      <a:pt x="5998842" y="7557991"/>
                    </a:lnTo>
                    <a:lnTo>
                      <a:pt x="6061013" y="7558814"/>
                    </a:lnTo>
                    <a:lnTo>
                      <a:pt x="6097034" y="7538984"/>
                    </a:lnTo>
                    <a:lnTo>
                      <a:pt x="6112887" y="7516402"/>
                    </a:lnTo>
                    <a:lnTo>
                      <a:pt x="6108112" y="7492542"/>
                    </a:lnTo>
                    <a:lnTo>
                      <a:pt x="6100463" y="7467680"/>
                    </a:lnTo>
                    <a:lnTo>
                      <a:pt x="6092800" y="7442816"/>
                    </a:lnTo>
                    <a:lnTo>
                      <a:pt x="6081726" y="7417373"/>
                    </a:lnTo>
                    <a:lnTo>
                      <a:pt x="6072738" y="7376980"/>
                    </a:lnTo>
                    <a:lnTo>
                      <a:pt x="6075917" y="7349710"/>
                    </a:lnTo>
                    <a:lnTo>
                      <a:pt x="6077334" y="7322137"/>
                    </a:lnTo>
                    <a:lnTo>
                      <a:pt x="6078759" y="7294563"/>
                    </a:lnTo>
                    <a:lnTo>
                      <a:pt x="6077862" y="7266996"/>
                    </a:lnTo>
                    <a:lnTo>
                      <a:pt x="6066459" y="7240525"/>
                    </a:lnTo>
                    <a:lnTo>
                      <a:pt x="6053494" y="7210472"/>
                    </a:lnTo>
                    <a:lnTo>
                      <a:pt x="6036321" y="7190390"/>
                    </a:lnTo>
                    <a:lnTo>
                      <a:pt x="6020209" y="7168436"/>
                    </a:lnTo>
                    <a:lnTo>
                      <a:pt x="6004099" y="7146475"/>
                    </a:lnTo>
                    <a:lnTo>
                      <a:pt x="5989385" y="7122245"/>
                    </a:lnTo>
                    <a:lnTo>
                      <a:pt x="5982125" y="7086824"/>
                    </a:lnTo>
                    <a:lnTo>
                      <a:pt x="5983404" y="7058472"/>
                    </a:lnTo>
                    <a:lnTo>
                      <a:pt x="5989444" y="7023347"/>
                    </a:lnTo>
                    <a:lnTo>
                      <a:pt x="6000761" y="7004981"/>
                    </a:lnTo>
                    <a:lnTo>
                      <a:pt x="6026058" y="6975515"/>
                    </a:lnTo>
                    <a:lnTo>
                      <a:pt x="6051496" y="6953521"/>
                    </a:lnTo>
                    <a:lnTo>
                      <a:pt x="6070383" y="6929779"/>
                    </a:lnTo>
                    <a:lnTo>
                      <a:pt x="6070739" y="6895657"/>
                    </a:lnTo>
                    <a:lnTo>
                      <a:pt x="6062371" y="6873380"/>
                    </a:lnTo>
                    <a:lnTo>
                      <a:pt x="6041972" y="6841988"/>
                    </a:lnTo>
                    <a:lnTo>
                      <a:pt x="6014940" y="6814165"/>
                    </a:lnTo>
                    <a:lnTo>
                      <a:pt x="5975899" y="6768705"/>
                    </a:lnTo>
                    <a:lnTo>
                      <a:pt x="5972607" y="6744054"/>
                    </a:lnTo>
                    <a:lnTo>
                      <a:pt x="5968803" y="6715530"/>
                    </a:lnTo>
                    <a:lnTo>
                      <a:pt x="5981134" y="6679246"/>
                    </a:lnTo>
                    <a:lnTo>
                      <a:pt x="5983489" y="6647477"/>
                    </a:lnTo>
                    <a:lnTo>
                      <a:pt x="5983291" y="6617287"/>
                    </a:lnTo>
                    <a:lnTo>
                      <a:pt x="5970062" y="6593333"/>
                    </a:lnTo>
                    <a:lnTo>
                      <a:pt x="5937239" y="6578106"/>
                    </a:lnTo>
                    <a:lnTo>
                      <a:pt x="5902511" y="6568676"/>
                    </a:lnTo>
                    <a:lnTo>
                      <a:pt x="5858351" y="6553626"/>
                    </a:lnTo>
                    <a:lnTo>
                      <a:pt x="5846085" y="6524747"/>
                    </a:lnTo>
                    <a:lnTo>
                      <a:pt x="5846130" y="6484565"/>
                    </a:lnTo>
                    <a:lnTo>
                      <a:pt x="5847463" y="6463461"/>
                    </a:lnTo>
                    <a:lnTo>
                      <a:pt x="5836740" y="6428613"/>
                    </a:lnTo>
                    <a:lnTo>
                      <a:pt x="5808025" y="6398561"/>
                    </a:lnTo>
                    <a:lnTo>
                      <a:pt x="5792257" y="6376664"/>
                    </a:lnTo>
                    <a:lnTo>
                      <a:pt x="5798502" y="6341435"/>
                    </a:lnTo>
                    <a:lnTo>
                      <a:pt x="5822204" y="6313696"/>
                    </a:lnTo>
                    <a:lnTo>
                      <a:pt x="5842028" y="6303349"/>
                    </a:lnTo>
                    <a:lnTo>
                      <a:pt x="5881677" y="6282655"/>
                    </a:lnTo>
                    <a:lnTo>
                      <a:pt x="5935202" y="6271449"/>
                    </a:lnTo>
                    <a:lnTo>
                      <a:pt x="5959008" y="6266623"/>
                    </a:lnTo>
                    <a:lnTo>
                      <a:pt x="5951333" y="6210242"/>
                    </a:lnTo>
                    <a:lnTo>
                      <a:pt x="5935881" y="6167330"/>
                    </a:lnTo>
                    <a:lnTo>
                      <a:pt x="5920435" y="6124410"/>
                    </a:lnTo>
                    <a:lnTo>
                      <a:pt x="5900941" y="6083792"/>
                    </a:lnTo>
                    <a:lnTo>
                      <a:pt x="5845953" y="6077631"/>
                    </a:lnTo>
                    <a:lnTo>
                      <a:pt x="5799168" y="6083798"/>
                    </a:lnTo>
                    <a:lnTo>
                      <a:pt x="5753618" y="6087076"/>
                    </a:lnTo>
                    <a:lnTo>
                      <a:pt x="5708065" y="6090353"/>
                    </a:lnTo>
                    <a:lnTo>
                      <a:pt x="5663247" y="6089787"/>
                    </a:lnTo>
                    <a:lnTo>
                      <a:pt x="5623038" y="6074836"/>
                    </a:lnTo>
                    <a:lnTo>
                      <a:pt x="5596553" y="6061191"/>
                    </a:lnTo>
                    <a:lnTo>
                      <a:pt x="5578793" y="6039507"/>
                    </a:lnTo>
                    <a:lnTo>
                      <a:pt x="5569989" y="6013629"/>
                    </a:lnTo>
                    <a:lnTo>
                      <a:pt x="5569330" y="5985818"/>
                    </a:lnTo>
                    <a:lnTo>
                      <a:pt x="5578799" y="5959821"/>
                    </a:lnTo>
                    <a:lnTo>
                      <a:pt x="5599909" y="5937451"/>
                    </a:lnTo>
                    <a:lnTo>
                      <a:pt x="5617993" y="5923576"/>
                    </a:lnTo>
                    <a:lnTo>
                      <a:pt x="5663307" y="5911975"/>
                    </a:lnTo>
                    <a:lnTo>
                      <a:pt x="5673358" y="5891207"/>
                    </a:lnTo>
                    <a:lnTo>
                      <a:pt x="5661341" y="5864089"/>
                    </a:lnTo>
                    <a:lnTo>
                      <a:pt x="5620975" y="5835962"/>
                    </a:lnTo>
                    <a:lnTo>
                      <a:pt x="5583588" y="5806871"/>
                    </a:lnTo>
                    <a:lnTo>
                      <a:pt x="5546201" y="5777788"/>
                    </a:lnTo>
                    <a:lnTo>
                      <a:pt x="5511195" y="5748665"/>
                    </a:lnTo>
                    <a:lnTo>
                      <a:pt x="5513879" y="5708305"/>
                    </a:lnTo>
                    <a:lnTo>
                      <a:pt x="5516459" y="5668339"/>
                    </a:lnTo>
                    <a:lnTo>
                      <a:pt x="5525097" y="5634131"/>
                    </a:lnTo>
                    <a:lnTo>
                      <a:pt x="5535056" y="5601098"/>
                    </a:lnTo>
                    <a:lnTo>
                      <a:pt x="5553232" y="5577389"/>
                    </a:lnTo>
                    <a:lnTo>
                      <a:pt x="5582228" y="5567483"/>
                    </a:lnTo>
                    <a:lnTo>
                      <a:pt x="5616060" y="5562405"/>
                    </a:lnTo>
                    <a:lnTo>
                      <a:pt x="5648475" y="5593408"/>
                    </a:lnTo>
                    <a:lnTo>
                      <a:pt x="5681521" y="5604204"/>
                    </a:lnTo>
                    <a:lnTo>
                      <a:pt x="5712702" y="5595913"/>
                    </a:lnTo>
                    <a:lnTo>
                      <a:pt x="5737394" y="5568968"/>
                    </a:lnTo>
                    <a:lnTo>
                      <a:pt x="5753610" y="5533474"/>
                    </a:lnTo>
                    <a:lnTo>
                      <a:pt x="5759341" y="5498811"/>
                    </a:lnTo>
                    <a:lnTo>
                      <a:pt x="5744575" y="5470994"/>
                    </a:lnTo>
                    <a:lnTo>
                      <a:pt x="5731445" y="5454507"/>
                    </a:lnTo>
                    <a:lnTo>
                      <a:pt x="5702322" y="5424736"/>
                    </a:lnTo>
                    <a:lnTo>
                      <a:pt x="5671998" y="5398812"/>
                    </a:lnTo>
                    <a:lnTo>
                      <a:pt x="5667283" y="5363345"/>
                    </a:lnTo>
                    <a:lnTo>
                      <a:pt x="5702540" y="5334334"/>
                    </a:lnTo>
                    <a:lnTo>
                      <a:pt x="5750339" y="5260946"/>
                    </a:lnTo>
                    <a:lnTo>
                      <a:pt x="5777946" y="5200992"/>
                    </a:lnTo>
                    <a:lnTo>
                      <a:pt x="5806659" y="5139019"/>
                    </a:lnTo>
                    <a:lnTo>
                      <a:pt x="5833765" y="5080503"/>
                    </a:lnTo>
                    <a:lnTo>
                      <a:pt x="5850913" y="5042271"/>
                    </a:lnTo>
                    <a:lnTo>
                      <a:pt x="5848821" y="5007081"/>
                    </a:lnTo>
                    <a:lnTo>
                      <a:pt x="5842530" y="4973369"/>
                    </a:lnTo>
                    <a:lnTo>
                      <a:pt x="5829782" y="4955391"/>
                    </a:lnTo>
                    <a:lnTo>
                      <a:pt x="5817034" y="4937413"/>
                    </a:lnTo>
                    <a:lnTo>
                      <a:pt x="5797314" y="4918051"/>
                    </a:lnTo>
                    <a:lnTo>
                      <a:pt x="5769933" y="4895542"/>
                    </a:lnTo>
                    <a:lnTo>
                      <a:pt x="5744919" y="4874985"/>
                    </a:lnTo>
                    <a:lnTo>
                      <a:pt x="5716099" y="4862819"/>
                    </a:lnTo>
                    <a:lnTo>
                      <a:pt x="5686963" y="4850657"/>
                    </a:lnTo>
                    <a:lnTo>
                      <a:pt x="5657827" y="4838496"/>
                    </a:lnTo>
                    <a:lnTo>
                      <a:pt x="5628875" y="4826605"/>
                    </a:lnTo>
                    <a:lnTo>
                      <a:pt x="5603985" y="4805773"/>
                    </a:lnTo>
                    <a:lnTo>
                      <a:pt x="5617195" y="4750784"/>
                    </a:lnTo>
                    <a:lnTo>
                      <a:pt x="5633913" y="4714637"/>
                    </a:lnTo>
                    <a:lnTo>
                      <a:pt x="5650632" y="4678490"/>
                    </a:lnTo>
                    <a:lnTo>
                      <a:pt x="5669493" y="4644310"/>
                    </a:lnTo>
                    <a:lnTo>
                      <a:pt x="5702243" y="4635412"/>
                    </a:lnTo>
                    <a:lnTo>
                      <a:pt x="5724851" y="4642384"/>
                    </a:lnTo>
                    <a:lnTo>
                      <a:pt x="5746812" y="4649348"/>
                    </a:lnTo>
                    <a:lnTo>
                      <a:pt x="5768766" y="4656312"/>
                    </a:lnTo>
                    <a:lnTo>
                      <a:pt x="5790028" y="4662688"/>
                    </a:lnTo>
                    <a:lnTo>
                      <a:pt x="5813459" y="4662946"/>
                    </a:lnTo>
                    <a:lnTo>
                      <a:pt x="5858456" y="4633065"/>
                    </a:lnTo>
                    <a:lnTo>
                      <a:pt x="5884190" y="4608538"/>
                    </a:lnTo>
                    <a:lnTo>
                      <a:pt x="5909923" y="4584019"/>
                    </a:lnTo>
                    <a:lnTo>
                      <a:pt x="5932294" y="4556644"/>
                    </a:lnTo>
                    <a:lnTo>
                      <a:pt x="5931329" y="4524301"/>
                    </a:lnTo>
                    <a:lnTo>
                      <a:pt x="5909211" y="4506845"/>
                    </a:lnTo>
                    <a:lnTo>
                      <a:pt x="5884190" y="4491564"/>
                    </a:lnTo>
                    <a:lnTo>
                      <a:pt x="5859168" y="4476284"/>
                    </a:lnTo>
                    <a:lnTo>
                      <a:pt x="5832439" y="4463469"/>
                    </a:lnTo>
                    <a:lnTo>
                      <a:pt x="5855627" y="4442598"/>
                    </a:lnTo>
                    <a:lnTo>
                      <a:pt x="5893336" y="4440217"/>
                    </a:lnTo>
                    <a:lnTo>
                      <a:pt x="5955672" y="4443277"/>
                    </a:lnTo>
                    <a:lnTo>
                      <a:pt x="5997285" y="4447497"/>
                    </a:lnTo>
                    <a:lnTo>
                      <a:pt x="6015000" y="4420906"/>
                    </a:lnTo>
                    <a:lnTo>
                      <a:pt x="6022471" y="4371774"/>
                    </a:lnTo>
                    <a:lnTo>
                      <a:pt x="6028367" y="4351469"/>
                    </a:lnTo>
                    <a:lnTo>
                      <a:pt x="6010714" y="4334600"/>
                    </a:lnTo>
                    <a:lnTo>
                      <a:pt x="5989391" y="4329857"/>
                    </a:lnTo>
                    <a:lnTo>
                      <a:pt x="5967160" y="4328347"/>
                    </a:lnTo>
                    <a:lnTo>
                      <a:pt x="5944929" y="4326830"/>
                    </a:lnTo>
                    <a:lnTo>
                      <a:pt x="5922276" y="4327417"/>
                    </a:lnTo>
                    <a:lnTo>
                      <a:pt x="5899153" y="4324272"/>
                    </a:lnTo>
                    <a:lnTo>
                      <a:pt x="5867419" y="4319945"/>
                    </a:lnTo>
                    <a:lnTo>
                      <a:pt x="5835335" y="4307053"/>
                    </a:lnTo>
                    <a:lnTo>
                      <a:pt x="5805295" y="4291627"/>
                    </a:lnTo>
                    <a:lnTo>
                      <a:pt x="5775261" y="4276202"/>
                    </a:lnTo>
                    <a:lnTo>
                      <a:pt x="5746435" y="4258197"/>
                    </a:lnTo>
                    <a:lnTo>
                      <a:pt x="5718242" y="4245377"/>
                    </a:lnTo>
                    <a:lnTo>
                      <a:pt x="5683210" y="4229450"/>
                    </a:lnTo>
                    <a:lnTo>
                      <a:pt x="5647584" y="4222413"/>
                    </a:lnTo>
                    <a:lnTo>
                      <a:pt x="5610791" y="4216815"/>
                    </a:lnTo>
                    <a:lnTo>
                      <a:pt x="5573991" y="4211215"/>
                    </a:lnTo>
                    <a:lnTo>
                      <a:pt x="5536045" y="4207443"/>
                    </a:lnTo>
                    <a:lnTo>
                      <a:pt x="5499252" y="4200492"/>
                    </a:lnTo>
                    <a:lnTo>
                      <a:pt x="5478425" y="4196554"/>
                    </a:lnTo>
                    <a:lnTo>
                      <a:pt x="5457400" y="4187644"/>
                    </a:lnTo>
                    <a:lnTo>
                      <a:pt x="5436687" y="4182811"/>
                    </a:lnTo>
                    <a:lnTo>
                      <a:pt x="5409073" y="4176368"/>
                    </a:lnTo>
                    <a:lnTo>
                      <a:pt x="5376838" y="4181453"/>
                    </a:lnTo>
                    <a:lnTo>
                      <a:pt x="5343150" y="4178538"/>
                    </a:lnTo>
                    <a:lnTo>
                      <a:pt x="5312907" y="4154248"/>
                    </a:lnTo>
                    <a:lnTo>
                      <a:pt x="5268100" y="4106040"/>
                    </a:lnTo>
                    <a:lnTo>
                      <a:pt x="5260549" y="4076515"/>
                    </a:lnTo>
                    <a:lnTo>
                      <a:pt x="5253058" y="4045433"/>
                    </a:lnTo>
                    <a:lnTo>
                      <a:pt x="5245565" y="4014351"/>
                    </a:lnTo>
                    <a:lnTo>
                      <a:pt x="5238139" y="3982161"/>
                    </a:lnTo>
                    <a:lnTo>
                      <a:pt x="5204090" y="3940698"/>
                    </a:lnTo>
                    <a:lnTo>
                      <a:pt x="5186383" y="3919134"/>
                    </a:lnTo>
                    <a:lnTo>
                      <a:pt x="5157003" y="3888348"/>
                    </a:lnTo>
                    <a:lnTo>
                      <a:pt x="5130636" y="3855004"/>
                    </a:lnTo>
                    <a:lnTo>
                      <a:pt x="5104270" y="3821661"/>
                    </a:lnTo>
                    <a:lnTo>
                      <a:pt x="5081319" y="3786201"/>
                    </a:lnTo>
                    <a:lnTo>
                      <a:pt x="5078952" y="3755711"/>
                    </a:lnTo>
                    <a:lnTo>
                      <a:pt x="5099337" y="3707404"/>
                    </a:lnTo>
                    <a:lnTo>
                      <a:pt x="5102740" y="3675558"/>
                    </a:lnTo>
                    <a:lnTo>
                      <a:pt x="5095275" y="3655054"/>
                    </a:lnTo>
                    <a:lnTo>
                      <a:pt x="5087809" y="3634549"/>
                    </a:lnTo>
                    <a:lnTo>
                      <a:pt x="5047665" y="3621051"/>
                    </a:lnTo>
                    <a:lnTo>
                      <a:pt x="5025803" y="3616889"/>
                    </a:lnTo>
                    <a:lnTo>
                      <a:pt x="4999747" y="3617614"/>
                    </a:lnTo>
                    <a:lnTo>
                      <a:pt x="4976935" y="3618333"/>
                    </a:lnTo>
                    <a:lnTo>
                      <a:pt x="4954124" y="3619053"/>
                    </a:lnTo>
                    <a:lnTo>
                      <a:pt x="4923885" y="3614258"/>
                    </a:lnTo>
                    <a:lnTo>
                      <a:pt x="4899003" y="3592217"/>
                    </a:lnTo>
                    <a:lnTo>
                      <a:pt x="4883262" y="3575638"/>
                    </a:lnTo>
                    <a:lnTo>
                      <a:pt x="4882641" y="3535718"/>
                    </a:lnTo>
                    <a:lnTo>
                      <a:pt x="4885801" y="3494560"/>
                    </a:lnTo>
                    <a:lnTo>
                      <a:pt x="4888967" y="3453401"/>
                    </a:lnTo>
                    <a:lnTo>
                      <a:pt x="4896332" y="3412163"/>
                    </a:lnTo>
                    <a:lnTo>
                      <a:pt x="4906462" y="3380771"/>
                    </a:lnTo>
                    <a:lnTo>
                      <a:pt x="4945083" y="3379472"/>
                    </a:lnTo>
                    <a:lnTo>
                      <a:pt x="4970135" y="3377587"/>
                    </a:lnTo>
                    <a:lnTo>
                      <a:pt x="4995190" y="3375727"/>
                    </a:lnTo>
                    <a:lnTo>
                      <a:pt x="5020179" y="3371414"/>
                    </a:lnTo>
                    <a:lnTo>
                      <a:pt x="5030183" y="3333117"/>
                    </a:lnTo>
                    <a:lnTo>
                      <a:pt x="5020983" y="3304924"/>
                    </a:lnTo>
                    <a:lnTo>
                      <a:pt x="5008221" y="3278287"/>
                    </a:lnTo>
                    <a:lnTo>
                      <a:pt x="4995461" y="3251657"/>
                    </a:lnTo>
                    <a:lnTo>
                      <a:pt x="4977971" y="3227143"/>
                    </a:lnTo>
                    <a:lnTo>
                      <a:pt x="4960613" y="3202116"/>
                    </a:lnTo>
                    <a:lnTo>
                      <a:pt x="4943263" y="3177094"/>
                    </a:lnTo>
                    <a:lnTo>
                      <a:pt x="4926563" y="3151981"/>
                    </a:lnTo>
                    <a:lnTo>
                      <a:pt x="4913004" y="3125945"/>
                    </a:lnTo>
                    <a:lnTo>
                      <a:pt x="4899451" y="3099915"/>
                    </a:lnTo>
                    <a:lnTo>
                      <a:pt x="4889889" y="3072638"/>
                    </a:lnTo>
                    <a:lnTo>
                      <a:pt x="4888525" y="3042974"/>
                    </a:lnTo>
                    <a:lnTo>
                      <a:pt x="4912134" y="3049747"/>
                    </a:lnTo>
                    <a:lnTo>
                      <a:pt x="4935644" y="3055248"/>
                    </a:lnTo>
                    <a:lnTo>
                      <a:pt x="4959254" y="3059296"/>
                    </a:lnTo>
                    <a:lnTo>
                      <a:pt x="4982680" y="3064295"/>
                    </a:lnTo>
                    <a:lnTo>
                      <a:pt x="5006559" y="3067896"/>
                    </a:lnTo>
                    <a:lnTo>
                      <a:pt x="5029984" y="3070172"/>
                    </a:lnTo>
                    <a:lnTo>
                      <a:pt x="5082487" y="3077347"/>
                    </a:lnTo>
                    <a:lnTo>
                      <a:pt x="5114677" y="3075474"/>
                    </a:lnTo>
                    <a:lnTo>
                      <a:pt x="5136077" y="3067455"/>
                    </a:lnTo>
                    <a:lnTo>
                      <a:pt x="5157484" y="3059435"/>
                    </a:lnTo>
                    <a:lnTo>
                      <a:pt x="5178245" y="3032092"/>
                    </a:lnTo>
                    <a:lnTo>
                      <a:pt x="5195734" y="3003497"/>
                    </a:lnTo>
                    <a:lnTo>
                      <a:pt x="5228769" y="2981793"/>
                    </a:lnTo>
                    <a:lnTo>
                      <a:pt x="5253862" y="2974816"/>
                    </a:lnTo>
                    <a:lnTo>
                      <a:pt x="5296584" y="2976326"/>
                    </a:lnTo>
                    <a:lnTo>
                      <a:pt x="5309753" y="2945020"/>
                    </a:lnTo>
                    <a:lnTo>
                      <a:pt x="5318347" y="2904230"/>
                    </a:lnTo>
                    <a:lnTo>
                      <a:pt x="5322238" y="2883556"/>
                    </a:lnTo>
                    <a:lnTo>
                      <a:pt x="5325114" y="2861641"/>
                    </a:lnTo>
                    <a:lnTo>
                      <a:pt x="5325187" y="2821689"/>
                    </a:lnTo>
                    <a:lnTo>
                      <a:pt x="5312907" y="2787257"/>
                    </a:lnTo>
                    <a:lnTo>
                      <a:pt x="5287958" y="2759413"/>
                    </a:lnTo>
                    <a:lnTo>
                      <a:pt x="5263939" y="2751889"/>
                    </a:lnTo>
                    <a:lnTo>
                      <a:pt x="5234651" y="2742722"/>
                    </a:lnTo>
                    <a:lnTo>
                      <a:pt x="5205113" y="2742029"/>
                    </a:lnTo>
                    <a:lnTo>
                      <a:pt x="5179609" y="2723326"/>
                    </a:lnTo>
                    <a:lnTo>
                      <a:pt x="5166117" y="2689527"/>
                    </a:lnTo>
                    <a:lnTo>
                      <a:pt x="5167364" y="2667560"/>
                    </a:lnTo>
                    <a:lnTo>
                      <a:pt x="5168610" y="2645592"/>
                    </a:lnTo>
                    <a:lnTo>
                      <a:pt x="5174737" y="2620940"/>
                    </a:lnTo>
                    <a:lnTo>
                      <a:pt x="5183685" y="2598187"/>
                    </a:lnTo>
                    <a:lnTo>
                      <a:pt x="5192641" y="2575435"/>
                    </a:lnTo>
                    <a:lnTo>
                      <a:pt x="5204485" y="2554753"/>
                    </a:lnTo>
                    <a:lnTo>
                      <a:pt x="5217689" y="2538339"/>
                    </a:lnTo>
                    <a:lnTo>
                      <a:pt x="5230899" y="2521924"/>
                    </a:lnTo>
                    <a:lnTo>
                      <a:pt x="5258498" y="2507052"/>
                    </a:lnTo>
                    <a:lnTo>
                      <a:pt x="5271140" y="2479789"/>
                    </a:lnTo>
                    <a:lnTo>
                      <a:pt x="5248342" y="2439112"/>
                    </a:lnTo>
                    <a:lnTo>
                      <a:pt x="5192740" y="2421873"/>
                    </a:lnTo>
                    <a:lnTo>
                      <a:pt x="5182716" y="2399496"/>
                    </a:lnTo>
                    <a:lnTo>
                      <a:pt x="5181628" y="2377812"/>
                    </a:lnTo>
                    <a:lnTo>
                      <a:pt x="5188164" y="2352639"/>
                    </a:lnTo>
                    <a:lnTo>
                      <a:pt x="5259849" y="2315266"/>
                    </a:lnTo>
                    <a:lnTo>
                      <a:pt x="5273844" y="2295930"/>
                    </a:lnTo>
                    <a:lnTo>
                      <a:pt x="5283209" y="2269814"/>
                    </a:lnTo>
                    <a:lnTo>
                      <a:pt x="5272097" y="2229572"/>
                    </a:lnTo>
                    <a:lnTo>
                      <a:pt x="5263714" y="2209128"/>
                    </a:lnTo>
                    <a:lnTo>
                      <a:pt x="5249166" y="2189138"/>
                    </a:lnTo>
                    <a:lnTo>
                      <a:pt x="5232653" y="2169723"/>
                    </a:lnTo>
                    <a:lnTo>
                      <a:pt x="5199631" y="2130899"/>
                    </a:lnTo>
                    <a:lnTo>
                      <a:pt x="5157880" y="2095274"/>
                    </a:lnTo>
                    <a:lnTo>
                      <a:pt x="5136077" y="2071789"/>
                    </a:lnTo>
                    <a:lnTo>
                      <a:pt x="5119815" y="2054266"/>
                    </a:lnTo>
                    <a:lnTo>
                      <a:pt x="5108913" y="2005972"/>
                    </a:lnTo>
                    <a:lnTo>
                      <a:pt x="5111596" y="1982019"/>
                    </a:lnTo>
                    <a:lnTo>
                      <a:pt x="5123369" y="1917488"/>
                    </a:lnTo>
                    <a:lnTo>
                      <a:pt x="5127919" y="1863680"/>
                    </a:lnTo>
                    <a:lnTo>
                      <a:pt x="5130194" y="1836779"/>
                    </a:lnTo>
                    <a:lnTo>
                      <a:pt x="5131460" y="1809074"/>
                    </a:lnTo>
                    <a:lnTo>
                      <a:pt x="5129278" y="1787509"/>
                    </a:lnTo>
                    <a:lnTo>
                      <a:pt x="5127095" y="1765943"/>
                    </a:lnTo>
                    <a:lnTo>
                      <a:pt x="5111596" y="1745342"/>
                    </a:lnTo>
                    <a:lnTo>
                      <a:pt x="5060756" y="1735779"/>
                    </a:lnTo>
                    <a:lnTo>
                      <a:pt x="5027261" y="1746707"/>
                    </a:lnTo>
                    <a:lnTo>
                      <a:pt x="5005584" y="1808870"/>
                    </a:lnTo>
                    <a:lnTo>
                      <a:pt x="4987863" y="1824638"/>
                    </a:lnTo>
                    <a:lnTo>
                      <a:pt x="4967413" y="1839200"/>
                    </a:lnTo>
                    <a:lnTo>
                      <a:pt x="4958074" y="1878242"/>
                    </a:lnTo>
                    <a:lnTo>
                      <a:pt x="4946830" y="1914408"/>
                    </a:lnTo>
                    <a:lnTo>
                      <a:pt x="4919810" y="1945292"/>
                    </a:lnTo>
                    <a:lnTo>
                      <a:pt x="4855714" y="1944897"/>
                    </a:lnTo>
                    <a:lnTo>
                      <a:pt x="4801471" y="1938493"/>
                    </a:lnTo>
                    <a:lnTo>
                      <a:pt x="4747228" y="1932096"/>
                    </a:lnTo>
                    <a:lnTo>
                      <a:pt x="4693803" y="1922810"/>
                    </a:lnTo>
                    <a:lnTo>
                      <a:pt x="4687162" y="1898442"/>
                    </a:lnTo>
                    <a:lnTo>
                      <a:pt x="4695372" y="1865039"/>
                    </a:lnTo>
                    <a:lnTo>
                      <a:pt x="4701045" y="1830046"/>
                    </a:lnTo>
                    <a:lnTo>
                      <a:pt x="4684491" y="1789877"/>
                    </a:lnTo>
                    <a:lnTo>
                      <a:pt x="4655928" y="1768470"/>
                    </a:lnTo>
                    <a:lnTo>
                      <a:pt x="4626877" y="1756427"/>
                    </a:lnTo>
                    <a:lnTo>
                      <a:pt x="4583438" y="1751745"/>
                    </a:lnTo>
                    <a:lnTo>
                      <a:pt x="4556306" y="1757087"/>
                    </a:lnTo>
                    <a:lnTo>
                      <a:pt x="4538948" y="1745342"/>
                    </a:lnTo>
                    <a:lnTo>
                      <a:pt x="4521623" y="1714543"/>
                    </a:lnTo>
                    <a:lnTo>
                      <a:pt x="4519909" y="1693657"/>
                    </a:lnTo>
                    <a:lnTo>
                      <a:pt x="4518188" y="1672765"/>
                    </a:lnTo>
                    <a:lnTo>
                      <a:pt x="4517594" y="1650685"/>
                    </a:lnTo>
                    <a:lnTo>
                      <a:pt x="4479640" y="1630458"/>
                    </a:lnTo>
                    <a:lnTo>
                      <a:pt x="4451896" y="1644690"/>
                    </a:lnTo>
                    <a:lnTo>
                      <a:pt x="4428826" y="1660333"/>
                    </a:lnTo>
                    <a:lnTo>
                      <a:pt x="4396129" y="1650130"/>
                    </a:lnTo>
                    <a:lnTo>
                      <a:pt x="4379807" y="1617486"/>
                    </a:lnTo>
                    <a:lnTo>
                      <a:pt x="4385247" y="1597082"/>
                    </a:lnTo>
                    <a:lnTo>
                      <a:pt x="4429709" y="1561462"/>
                    </a:lnTo>
                    <a:lnTo>
                      <a:pt x="4410307" y="1518147"/>
                    </a:lnTo>
                    <a:lnTo>
                      <a:pt x="4370284" y="1504588"/>
                    </a:lnTo>
                    <a:lnTo>
                      <a:pt x="4346587" y="1488542"/>
                    </a:lnTo>
                    <a:lnTo>
                      <a:pt x="4322655" y="1467504"/>
                    </a:lnTo>
                    <a:lnTo>
                      <a:pt x="4299553" y="1450180"/>
                    </a:lnTo>
                    <a:lnTo>
                      <a:pt x="4276623" y="1432987"/>
                    </a:lnTo>
                    <a:lnTo>
                      <a:pt x="4251840" y="1410353"/>
                    </a:lnTo>
                    <a:lnTo>
                      <a:pt x="4227464" y="1395772"/>
                    </a:lnTo>
                    <a:lnTo>
                      <a:pt x="4206176" y="1383043"/>
                    </a:lnTo>
                    <a:lnTo>
                      <a:pt x="4183134" y="1372677"/>
                    </a:lnTo>
                    <a:lnTo>
                      <a:pt x="4159451" y="1361769"/>
                    </a:lnTo>
                    <a:lnTo>
                      <a:pt x="4135775" y="1350860"/>
                    </a:lnTo>
                    <a:lnTo>
                      <a:pt x="4110932" y="1340005"/>
                    </a:lnTo>
                    <a:lnTo>
                      <a:pt x="4088727" y="1327765"/>
                    </a:lnTo>
                    <a:lnTo>
                      <a:pt x="4069814" y="1317339"/>
                    </a:lnTo>
                    <a:lnTo>
                      <a:pt x="4050635" y="1288314"/>
                    </a:lnTo>
                    <a:lnTo>
                      <a:pt x="4039800" y="1257200"/>
                    </a:lnTo>
                    <a:lnTo>
                      <a:pt x="4034273" y="1224218"/>
                    </a:lnTo>
                    <a:lnTo>
                      <a:pt x="4027514" y="1193104"/>
                    </a:lnTo>
                    <a:lnTo>
                      <a:pt x="4015893" y="1164145"/>
                    </a:lnTo>
                    <a:lnTo>
                      <a:pt x="3979720" y="1134653"/>
                    </a:lnTo>
                    <a:lnTo>
                      <a:pt x="3952233" y="1128164"/>
                    </a:lnTo>
                    <a:lnTo>
                      <a:pt x="3924139" y="1125090"/>
                    </a:lnTo>
                    <a:lnTo>
                      <a:pt x="3896044" y="1122024"/>
                    </a:lnTo>
                    <a:lnTo>
                      <a:pt x="3868313" y="1122973"/>
                    </a:lnTo>
                    <a:lnTo>
                      <a:pt x="3845251" y="1118291"/>
                    </a:lnTo>
                    <a:lnTo>
                      <a:pt x="3822181" y="1113609"/>
                    </a:lnTo>
                    <a:lnTo>
                      <a:pt x="3803141" y="1102701"/>
                    </a:lnTo>
                    <a:lnTo>
                      <a:pt x="3794917" y="1078847"/>
                    </a:lnTo>
                    <a:lnTo>
                      <a:pt x="3786701" y="1054993"/>
                    </a:lnTo>
                    <a:lnTo>
                      <a:pt x="3789366" y="1017000"/>
                    </a:lnTo>
                    <a:lnTo>
                      <a:pt x="3805806" y="956426"/>
                    </a:lnTo>
                    <a:lnTo>
                      <a:pt x="3835727" y="847610"/>
                    </a:lnTo>
                    <a:lnTo>
                      <a:pt x="3847723" y="803371"/>
                    </a:lnTo>
                    <a:lnTo>
                      <a:pt x="3855802" y="773727"/>
                    </a:lnTo>
                    <a:lnTo>
                      <a:pt x="3869730" y="748317"/>
                    </a:lnTo>
                    <a:lnTo>
                      <a:pt x="3883659" y="722907"/>
                    </a:lnTo>
                    <a:lnTo>
                      <a:pt x="3903252" y="701671"/>
                    </a:lnTo>
                    <a:lnTo>
                      <a:pt x="3937744" y="669429"/>
                    </a:lnTo>
                    <a:lnTo>
                      <a:pt x="3972083" y="648418"/>
                    </a:lnTo>
                    <a:lnTo>
                      <a:pt x="3993978" y="638473"/>
                    </a:lnTo>
                    <a:lnTo>
                      <a:pt x="4015273" y="627261"/>
                    </a:lnTo>
                    <a:lnTo>
                      <a:pt x="4036568" y="616043"/>
                    </a:lnTo>
                    <a:lnTo>
                      <a:pt x="4057059" y="603025"/>
                    </a:lnTo>
                    <a:lnTo>
                      <a:pt x="4073764" y="586452"/>
                    </a:lnTo>
                    <a:lnTo>
                      <a:pt x="4040558" y="560422"/>
                    </a:lnTo>
                    <a:lnTo>
                      <a:pt x="4012319" y="555285"/>
                    </a:lnTo>
                    <a:lnTo>
                      <a:pt x="3983988" y="549732"/>
                    </a:lnTo>
                    <a:lnTo>
                      <a:pt x="3955648" y="544462"/>
                    </a:lnTo>
                    <a:lnTo>
                      <a:pt x="3927996" y="535961"/>
                    </a:lnTo>
                    <a:lnTo>
                      <a:pt x="3901016" y="522528"/>
                    </a:lnTo>
                    <a:lnTo>
                      <a:pt x="3886073" y="498984"/>
                    </a:lnTo>
                    <a:lnTo>
                      <a:pt x="3877875" y="475341"/>
                    </a:lnTo>
                    <a:lnTo>
                      <a:pt x="3873813" y="451797"/>
                    </a:lnTo>
                    <a:lnTo>
                      <a:pt x="3870013" y="429078"/>
                    </a:lnTo>
                    <a:lnTo>
                      <a:pt x="3864012" y="406497"/>
                    </a:lnTo>
                    <a:lnTo>
                      <a:pt x="3852050" y="383784"/>
                    </a:lnTo>
                    <a:lnTo>
                      <a:pt x="3828927" y="381067"/>
                    </a:lnTo>
                    <a:lnTo>
                      <a:pt x="3799001" y="375626"/>
                    </a:lnTo>
                    <a:lnTo>
                      <a:pt x="3777633" y="371161"/>
                    </a:lnTo>
                    <a:lnTo>
                      <a:pt x="3754589" y="359561"/>
                    </a:lnTo>
                    <a:lnTo>
                      <a:pt x="3741776" y="331651"/>
                    </a:lnTo>
                    <a:lnTo>
                      <a:pt x="3739257" y="310785"/>
                    </a:lnTo>
                    <a:lnTo>
                      <a:pt x="3732088" y="282123"/>
                    </a:lnTo>
                    <a:lnTo>
                      <a:pt x="3716029" y="266810"/>
                    </a:lnTo>
                    <a:lnTo>
                      <a:pt x="3694266" y="257287"/>
                    </a:lnTo>
                    <a:lnTo>
                      <a:pt x="3665928" y="248450"/>
                    </a:lnTo>
                    <a:lnTo>
                      <a:pt x="3643940" y="240964"/>
                    </a:lnTo>
                    <a:lnTo>
                      <a:pt x="3592125" y="238768"/>
                    </a:lnTo>
                    <a:lnTo>
                      <a:pt x="3551447" y="228725"/>
                    </a:lnTo>
                    <a:lnTo>
                      <a:pt x="3501794" y="216464"/>
                    </a:lnTo>
                    <a:lnTo>
                      <a:pt x="3455222" y="200723"/>
                    </a:lnTo>
                    <a:lnTo>
                      <a:pt x="3445737" y="175807"/>
                    </a:lnTo>
                    <a:lnTo>
                      <a:pt x="3449754" y="140775"/>
                    </a:lnTo>
                    <a:lnTo>
                      <a:pt x="3453513" y="106310"/>
                    </a:lnTo>
                    <a:lnTo>
                      <a:pt x="3457265" y="71838"/>
                    </a:lnTo>
                    <a:lnTo>
                      <a:pt x="3459620" y="37374"/>
                    </a:lnTo>
                    <a:lnTo>
                      <a:pt x="3440680" y="8837"/>
                    </a:lnTo>
                    <a:lnTo>
                      <a:pt x="3411173" y="3139"/>
                    </a:lnTo>
                    <a:lnTo>
                      <a:pt x="3380059" y="1570"/>
                    </a:lnTo>
                    <a:lnTo>
                      <a:pt x="3348951" y="0"/>
                    </a:lnTo>
                    <a:lnTo>
                      <a:pt x="3316491" y="2098"/>
                    </a:lnTo>
                    <a:lnTo>
                      <a:pt x="3289215" y="25067"/>
                    </a:lnTo>
                    <a:lnTo>
                      <a:pt x="3278761" y="47417"/>
                    </a:lnTo>
                    <a:lnTo>
                      <a:pt x="3271242" y="70941"/>
                    </a:lnTo>
                    <a:lnTo>
                      <a:pt x="3263725" y="94466"/>
                    </a:lnTo>
                    <a:lnTo>
                      <a:pt x="3258844" y="119612"/>
                    </a:lnTo>
                    <a:lnTo>
                      <a:pt x="3256279" y="141672"/>
                    </a:lnTo>
                    <a:lnTo>
                      <a:pt x="3209672" y="172404"/>
                    </a:lnTo>
                    <a:lnTo>
                      <a:pt x="3166509" y="186557"/>
                    </a:lnTo>
                    <a:lnTo>
                      <a:pt x="3123346" y="200716"/>
                    </a:lnTo>
                    <a:lnTo>
                      <a:pt x="3076245" y="213741"/>
                    </a:lnTo>
                    <a:lnTo>
                      <a:pt x="3053610" y="228725"/>
                    </a:lnTo>
                    <a:lnTo>
                      <a:pt x="3030865" y="246162"/>
                    </a:lnTo>
                    <a:lnTo>
                      <a:pt x="3008343" y="265695"/>
                    </a:lnTo>
                    <a:lnTo>
                      <a:pt x="2985604" y="284491"/>
                    </a:lnTo>
                    <a:lnTo>
                      <a:pt x="2964962" y="312473"/>
                    </a:lnTo>
                    <a:lnTo>
                      <a:pt x="2946391" y="343568"/>
                    </a:lnTo>
                    <a:lnTo>
                      <a:pt x="2917591" y="366103"/>
                    </a:lnTo>
                    <a:lnTo>
                      <a:pt x="2894588" y="377261"/>
                    </a:lnTo>
                    <a:lnTo>
                      <a:pt x="2871915" y="379042"/>
                    </a:lnTo>
                    <a:lnTo>
                      <a:pt x="2849584" y="374267"/>
                    </a:lnTo>
                    <a:lnTo>
                      <a:pt x="2827254" y="369493"/>
                    </a:lnTo>
                    <a:lnTo>
                      <a:pt x="2806046" y="358149"/>
                    </a:lnTo>
                    <a:lnTo>
                      <a:pt x="2784289" y="345705"/>
                    </a:lnTo>
                    <a:lnTo>
                      <a:pt x="2740781" y="320809"/>
                    </a:lnTo>
                    <a:lnTo>
                      <a:pt x="2698224" y="289107"/>
                    </a:lnTo>
                    <a:lnTo>
                      <a:pt x="2656433" y="283132"/>
                    </a:lnTo>
                    <a:lnTo>
                      <a:pt x="2620682" y="297080"/>
                    </a:lnTo>
                    <a:lnTo>
                      <a:pt x="2603384" y="311695"/>
                    </a:lnTo>
                    <a:lnTo>
                      <a:pt x="2586086" y="326310"/>
                    </a:lnTo>
                    <a:lnTo>
                      <a:pt x="2569572" y="344089"/>
                    </a:lnTo>
                    <a:lnTo>
                      <a:pt x="2526046" y="383065"/>
                    </a:lnTo>
                    <a:lnTo>
                      <a:pt x="2493209" y="403720"/>
                    </a:lnTo>
                    <a:lnTo>
                      <a:pt x="2457847" y="427317"/>
                    </a:lnTo>
                    <a:lnTo>
                      <a:pt x="2437205" y="441048"/>
                    </a:lnTo>
                    <a:lnTo>
                      <a:pt x="2372661" y="432633"/>
                    </a:lnTo>
                    <a:lnTo>
                      <a:pt x="2346308" y="431392"/>
                    </a:lnTo>
                    <a:lnTo>
                      <a:pt x="2321847" y="446864"/>
                    </a:lnTo>
                    <a:lnTo>
                      <a:pt x="2298125" y="475341"/>
                    </a:lnTo>
                    <a:lnTo>
                      <a:pt x="2282377" y="508922"/>
                    </a:lnTo>
                    <a:lnTo>
                      <a:pt x="2278512" y="537630"/>
                    </a:lnTo>
                    <a:lnTo>
                      <a:pt x="2283524" y="564544"/>
                    </a:lnTo>
                    <a:lnTo>
                      <a:pt x="2290541" y="595975"/>
                    </a:lnTo>
                    <a:lnTo>
                      <a:pt x="2295125" y="633124"/>
                    </a:lnTo>
                    <a:lnTo>
                      <a:pt x="2291900" y="659906"/>
                    </a:lnTo>
                    <a:lnTo>
                      <a:pt x="2254678" y="681096"/>
                    </a:lnTo>
                    <a:lnTo>
                      <a:pt x="2218452" y="677580"/>
                    </a:lnTo>
                    <a:lnTo>
                      <a:pt x="2189217" y="664806"/>
                    </a:lnTo>
                    <a:lnTo>
                      <a:pt x="2166069" y="646828"/>
                    </a:lnTo>
                    <a:lnTo>
                      <a:pt x="2143640" y="629972"/>
                    </a:lnTo>
                    <a:lnTo>
                      <a:pt x="2115381" y="617085"/>
                    </a:lnTo>
                    <a:lnTo>
                      <a:pt x="2082775" y="619802"/>
                    </a:lnTo>
                    <a:lnTo>
                      <a:pt x="2070185" y="643577"/>
                    </a:lnTo>
                    <a:lnTo>
                      <a:pt x="2063262" y="674903"/>
                    </a:lnTo>
                    <a:lnTo>
                      <a:pt x="2059555" y="731909"/>
                    </a:lnTo>
                    <a:lnTo>
                      <a:pt x="2059713" y="774084"/>
                    </a:lnTo>
                    <a:lnTo>
                      <a:pt x="2048422" y="794561"/>
                    </a:lnTo>
                    <a:lnTo>
                      <a:pt x="2022551" y="809782"/>
                    </a:lnTo>
                    <a:lnTo>
                      <a:pt x="1989965" y="820136"/>
                    </a:lnTo>
                    <a:lnTo>
                      <a:pt x="1970892" y="836722"/>
                    </a:lnTo>
                    <a:lnTo>
                      <a:pt x="1961376" y="949613"/>
                    </a:lnTo>
                    <a:lnTo>
                      <a:pt x="1959366" y="972953"/>
                    </a:lnTo>
                    <a:lnTo>
                      <a:pt x="1934180" y="998581"/>
                    </a:lnTo>
                    <a:lnTo>
                      <a:pt x="1898343" y="1015253"/>
                    </a:lnTo>
                    <a:lnTo>
                      <a:pt x="1877047" y="1020344"/>
                    </a:lnTo>
                    <a:lnTo>
                      <a:pt x="1855752" y="1025435"/>
                    </a:lnTo>
                    <a:lnTo>
                      <a:pt x="1833731" y="1030526"/>
                    </a:lnTo>
                    <a:lnTo>
                      <a:pt x="1813116" y="1036666"/>
                    </a:lnTo>
                    <a:lnTo>
                      <a:pt x="1792508" y="1042806"/>
                    </a:lnTo>
                    <a:lnTo>
                      <a:pt x="1761432" y="1063870"/>
                    </a:lnTo>
                    <a:lnTo>
                      <a:pt x="1749983" y="1083708"/>
                    </a:lnTo>
                    <a:lnTo>
                      <a:pt x="1757356" y="1123719"/>
                    </a:lnTo>
                    <a:lnTo>
                      <a:pt x="1760060" y="1144981"/>
                    </a:lnTo>
                    <a:lnTo>
                      <a:pt x="1760858" y="1168762"/>
                    </a:lnTo>
                    <a:lnTo>
                      <a:pt x="1741035" y="1202613"/>
                    </a:lnTo>
                    <a:lnTo>
                      <a:pt x="1728405" y="1224173"/>
                    </a:lnTo>
                    <a:lnTo>
                      <a:pt x="1693630" y="1247459"/>
                    </a:lnTo>
                    <a:lnTo>
                      <a:pt x="1656699" y="1269262"/>
                    </a:lnTo>
                    <a:lnTo>
                      <a:pt x="1619774" y="1291058"/>
                    </a:lnTo>
                    <a:lnTo>
                      <a:pt x="1580052" y="1312115"/>
                    </a:lnTo>
                    <a:lnTo>
                      <a:pt x="1557406" y="1331827"/>
                    </a:lnTo>
                    <a:lnTo>
                      <a:pt x="1529641" y="1355998"/>
                    </a:lnTo>
                    <a:lnTo>
                      <a:pt x="1510378" y="1397546"/>
                    </a:lnTo>
                    <a:lnTo>
                      <a:pt x="1492117" y="1437926"/>
                    </a:lnTo>
                    <a:lnTo>
                      <a:pt x="1473854" y="1478307"/>
                    </a:lnTo>
                    <a:lnTo>
                      <a:pt x="1456998" y="1517243"/>
                    </a:lnTo>
                    <a:lnTo>
                      <a:pt x="1432268" y="1534502"/>
                    </a:lnTo>
                    <a:lnTo>
                      <a:pt x="1387858" y="1555164"/>
                    </a:lnTo>
                    <a:lnTo>
                      <a:pt x="1361537" y="1564423"/>
                    </a:lnTo>
                    <a:lnTo>
                      <a:pt x="1335216" y="1573689"/>
                    </a:lnTo>
                    <a:lnTo>
                      <a:pt x="1310861" y="1582606"/>
                    </a:lnTo>
                    <a:lnTo>
                      <a:pt x="1293022" y="1608088"/>
                    </a:lnTo>
                    <a:lnTo>
                      <a:pt x="1264064" y="1650447"/>
                    </a:lnTo>
                    <a:lnTo>
                      <a:pt x="1233681" y="1690920"/>
                    </a:lnTo>
                    <a:lnTo>
                      <a:pt x="1203292" y="1731393"/>
                    </a:lnTo>
                    <a:lnTo>
                      <a:pt x="1171201" y="1769960"/>
                    </a:lnTo>
                    <a:lnTo>
                      <a:pt x="1086780" y="1786137"/>
                    </a:lnTo>
                    <a:lnTo>
                      <a:pt x="1064932" y="1789646"/>
                    </a:lnTo>
                    <a:lnTo>
                      <a:pt x="1028204" y="1795614"/>
                    </a:lnTo>
                    <a:lnTo>
                      <a:pt x="1005162" y="1790213"/>
                    </a:lnTo>
                    <a:lnTo>
                      <a:pt x="972286" y="1782497"/>
                    </a:lnTo>
                    <a:lnTo>
                      <a:pt x="937986" y="1756783"/>
                    </a:lnTo>
                    <a:lnTo>
                      <a:pt x="903151" y="1758927"/>
                    </a:lnTo>
                    <a:lnTo>
                      <a:pt x="870910" y="1773238"/>
                    </a:lnTo>
                    <a:lnTo>
                      <a:pt x="842083" y="1792923"/>
                    </a:lnTo>
                    <a:lnTo>
                      <a:pt x="816099" y="1814693"/>
                    </a:lnTo>
                    <a:lnTo>
                      <a:pt x="790115" y="1836463"/>
                    </a:lnTo>
                    <a:lnTo>
                      <a:pt x="766690" y="1861411"/>
                    </a:lnTo>
                    <a:lnTo>
                      <a:pt x="745368" y="1888148"/>
                    </a:lnTo>
                    <a:lnTo>
                      <a:pt x="724047" y="1914876"/>
                    </a:lnTo>
                    <a:lnTo>
                      <a:pt x="705134" y="1943281"/>
                    </a:lnTo>
                    <a:lnTo>
                      <a:pt x="686879" y="1972477"/>
                    </a:lnTo>
                    <a:lnTo>
                      <a:pt x="668624" y="2001679"/>
                    </a:lnTo>
                    <a:lnTo>
                      <a:pt x="651979" y="2031719"/>
                    </a:lnTo>
                    <a:lnTo>
                      <a:pt x="635194" y="2060894"/>
                    </a:lnTo>
                    <a:lnTo>
                      <a:pt x="621898" y="2083996"/>
                    </a:lnTo>
                    <a:lnTo>
                      <a:pt x="605346" y="2110818"/>
                    </a:lnTo>
                    <a:lnTo>
                      <a:pt x="586226" y="2135700"/>
                    </a:lnTo>
                    <a:lnTo>
                      <a:pt x="567102" y="2160589"/>
                    </a:lnTo>
                    <a:lnTo>
                      <a:pt x="544640" y="2182544"/>
                    </a:lnTo>
                    <a:lnTo>
                      <a:pt x="519573" y="2194190"/>
                    </a:lnTo>
                    <a:lnTo>
                      <a:pt x="490489" y="2203193"/>
                    </a:lnTo>
                    <a:lnTo>
                      <a:pt x="458887" y="2209668"/>
                    </a:lnTo>
                    <a:lnTo>
                      <a:pt x="429802" y="2221395"/>
                    </a:lnTo>
                    <a:lnTo>
                      <a:pt x="392297" y="2244417"/>
                    </a:lnTo>
                    <a:lnTo>
                      <a:pt x="369954" y="2259480"/>
                    </a:lnTo>
                    <a:lnTo>
                      <a:pt x="346343" y="2273798"/>
                    </a:lnTo>
                    <a:lnTo>
                      <a:pt x="314609" y="2286763"/>
                    </a:lnTo>
                    <a:lnTo>
                      <a:pt x="296500" y="2297565"/>
                    </a:lnTo>
                    <a:lnTo>
                      <a:pt x="271531" y="2301246"/>
                    </a:lnTo>
                    <a:lnTo>
                      <a:pt x="215165" y="2326471"/>
                    </a:lnTo>
                    <a:lnTo>
                      <a:pt x="197207" y="2343809"/>
                    </a:lnTo>
                    <a:lnTo>
                      <a:pt x="224707" y="2360329"/>
                    </a:lnTo>
                    <a:lnTo>
                      <a:pt x="262206" y="2368777"/>
                    </a:lnTo>
                    <a:lnTo>
                      <a:pt x="299217" y="2379177"/>
                    </a:lnTo>
                    <a:lnTo>
                      <a:pt x="336234" y="2389577"/>
                    </a:lnTo>
                    <a:lnTo>
                      <a:pt x="372190" y="2403137"/>
                    </a:lnTo>
                    <a:lnTo>
                      <a:pt x="393075" y="2418621"/>
                    </a:lnTo>
                    <a:lnTo>
                      <a:pt x="420813" y="2443102"/>
                    </a:lnTo>
                    <a:lnTo>
                      <a:pt x="441502" y="2475760"/>
                    </a:lnTo>
                    <a:lnTo>
                      <a:pt x="451558" y="2511115"/>
                    </a:lnTo>
                    <a:lnTo>
                      <a:pt x="453082" y="2546859"/>
                    </a:lnTo>
                    <a:lnTo>
                      <a:pt x="436437" y="2576029"/>
                    </a:lnTo>
                    <a:lnTo>
                      <a:pt x="398517" y="2594086"/>
                    </a:lnTo>
                    <a:lnTo>
                      <a:pt x="371028" y="2602520"/>
                    </a:lnTo>
                    <a:lnTo>
                      <a:pt x="341939" y="2606596"/>
                    </a:lnTo>
                    <a:lnTo>
                      <a:pt x="312823" y="2607690"/>
                    </a:lnTo>
                    <a:lnTo>
                      <a:pt x="283705" y="2608786"/>
                    </a:lnTo>
                    <a:lnTo>
                      <a:pt x="254107" y="2607295"/>
                    </a:lnTo>
                    <a:lnTo>
                      <a:pt x="225769" y="2607690"/>
                    </a:lnTo>
                    <a:lnTo>
                      <a:pt x="196607" y="2639043"/>
                    </a:lnTo>
                    <a:lnTo>
                      <a:pt x="204560" y="2677082"/>
                    </a:lnTo>
                    <a:lnTo>
                      <a:pt x="231566" y="2699941"/>
                    </a:lnTo>
                    <a:lnTo>
                      <a:pt x="257056" y="2719230"/>
                    </a:lnTo>
                    <a:lnTo>
                      <a:pt x="282538" y="2738514"/>
                    </a:lnTo>
                    <a:lnTo>
                      <a:pt x="306102" y="2754678"/>
                    </a:lnTo>
                    <a:lnTo>
                      <a:pt x="308172" y="2786156"/>
                    </a:lnTo>
                    <a:lnTo>
                      <a:pt x="295788" y="2804766"/>
                    </a:lnTo>
                    <a:lnTo>
                      <a:pt x="280922" y="2851630"/>
                    </a:lnTo>
                    <a:lnTo>
                      <a:pt x="263855" y="2879730"/>
                    </a:lnTo>
                    <a:lnTo>
                      <a:pt x="245270" y="2895334"/>
                    </a:lnTo>
                    <a:lnTo>
                      <a:pt x="215336" y="2905648"/>
                    </a:lnTo>
                    <a:lnTo>
                      <a:pt x="192636" y="2907370"/>
                    </a:lnTo>
                    <a:lnTo>
                      <a:pt x="161838" y="2942296"/>
                    </a:lnTo>
                    <a:lnTo>
                      <a:pt x="161773" y="2971525"/>
                    </a:lnTo>
                    <a:lnTo>
                      <a:pt x="205332" y="3008819"/>
                    </a:lnTo>
                    <a:lnTo>
                      <a:pt x="235299" y="3013977"/>
                    </a:lnTo>
                    <a:lnTo>
                      <a:pt x="259773" y="3015751"/>
                    </a:lnTo>
                    <a:lnTo>
                      <a:pt x="284246" y="3017524"/>
                    </a:lnTo>
                    <a:lnTo>
                      <a:pt x="322345" y="3029355"/>
                    </a:lnTo>
                    <a:lnTo>
                      <a:pt x="320518" y="3063913"/>
                    </a:lnTo>
                    <a:lnTo>
                      <a:pt x="308259" y="3117371"/>
                    </a:lnTo>
                    <a:lnTo>
                      <a:pt x="281536" y="3138165"/>
                    </a:lnTo>
                    <a:lnTo>
                      <a:pt x="241452" y="3145420"/>
                    </a:lnTo>
                    <a:lnTo>
                      <a:pt x="206724" y="3155852"/>
                    </a:lnTo>
                    <a:lnTo>
                      <a:pt x="177375" y="3164947"/>
                    </a:lnTo>
                    <a:lnTo>
                      <a:pt x="140860" y="3176679"/>
                    </a:lnTo>
                    <a:lnTo>
                      <a:pt x="101989" y="3191215"/>
                    </a:lnTo>
                    <a:lnTo>
                      <a:pt x="65058" y="3209983"/>
                    </a:lnTo>
                    <a:lnTo>
                      <a:pt x="35547" y="3232294"/>
                    </a:lnTo>
                    <a:lnTo>
                      <a:pt x="19019" y="3259227"/>
                    </a:lnTo>
                    <a:lnTo>
                      <a:pt x="6871" y="3297544"/>
                    </a:lnTo>
                    <a:lnTo>
                      <a:pt x="25488" y="3352677"/>
                    </a:lnTo>
                    <a:lnTo>
                      <a:pt x="43500" y="3392524"/>
                    </a:lnTo>
                    <a:lnTo>
                      <a:pt x="61517" y="3432377"/>
                    </a:lnTo>
                    <a:lnTo>
                      <a:pt x="78637" y="3475666"/>
                    </a:lnTo>
                    <a:lnTo>
                      <a:pt x="73426" y="3510862"/>
                    </a:lnTo>
                    <a:lnTo>
                      <a:pt x="66080" y="3534901"/>
                    </a:lnTo>
                    <a:lnTo>
                      <a:pt x="53563" y="3557554"/>
                    </a:lnTo>
                    <a:lnTo>
                      <a:pt x="39424" y="3580235"/>
                    </a:lnTo>
                    <a:lnTo>
                      <a:pt x="27077" y="3603046"/>
                    </a:lnTo>
                    <a:lnTo>
                      <a:pt x="21842" y="3628147"/>
                    </a:lnTo>
                    <a:lnTo>
                      <a:pt x="28536" y="3656406"/>
                    </a:lnTo>
                    <a:lnTo>
                      <a:pt x="36232" y="3676012"/>
                    </a:lnTo>
                    <a:lnTo>
                      <a:pt x="58457" y="3697208"/>
                    </a:lnTo>
                    <a:lnTo>
                      <a:pt x="84249" y="3712969"/>
                    </a:lnTo>
                    <a:lnTo>
                      <a:pt x="111565" y="3727697"/>
                    </a:lnTo>
                    <a:lnTo>
                      <a:pt x="137351" y="3750257"/>
                    </a:lnTo>
                    <a:lnTo>
                      <a:pt x="160012" y="3781162"/>
                    </a:lnTo>
                    <a:lnTo>
                      <a:pt x="167272" y="3808748"/>
                    </a:lnTo>
                    <a:lnTo>
                      <a:pt x="174566" y="3836433"/>
                    </a:lnTo>
                    <a:lnTo>
                      <a:pt x="172027" y="3864428"/>
                    </a:lnTo>
                    <a:lnTo>
                      <a:pt x="165914" y="3890360"/>
                    </a:lnTo>
                    <a:lnTo>
                      <a:pt x="159793" y="3916284"/>
                    </a:lnTo>
                    <a:lnTo>
                      <a:pt x="150020" y="3940607"/>
                    </a:lnTo>
                    <a:lnTo>
                      <a:pt x="142793" y="3965173"/>
                    </a:lnTo>
                    <a:lnTo>
                      <a:pt x="135564" y="3989732"/>
                    </a:lnTo>
                    <a:lnTo>
                      <a:pt x="130665" y="4013672"/>
                    </a:lnTo>
                    <a:lnTo>
                      <a:pt x="134634" y="4037261"/>
                    </a:lnTo>
                    <a:lnTo>
                      <a:pt x="138598" y="4060844"/>
                    </a:lnTo>
                    <a:lnTo>
                      <a:pt x="152051" y="4083623"/>
                    </a:lnTo>
                    <a:lnTo>
                      <a:pt x="179519" y="4106626"/>
                    </a:lnTo>
                    <a:lnTo>
                      <a:pt x="207166" y="4128693"/>
                    </a:lnTo>
                    <a:lnTo>
                      <a:pt x="236209" y="4149856"/>
                    </a:lnTo>
                    <a:lnTo>
                      <a:pt x="265213" y="4171917"/>
                    </a:lnTo>
                    <a:lnTo>
                      <a:pt x="283409" y="4185561"/>
                    </a:lnTo>
                    <a:lnTo>
                      <a:pt x="294528" y="4213173"/>
                    </a:lnTo>
                    <a:lnTo>
                      <a:pt x="301933" y="4242646"/>
                    </a:lnTo>
                    <a:lnTo>
                      <a:pt x="309339" y="4272126"/>
                    </a:lnTo>
                    <a:lnTo>
                      <a:pt x="312637" y="4302594"/>
                    </a:lnTo>
                    <a:lnTo>
                      <a:pt x="312947" y="4336300"/>
                    </a:lnTo>
                    <a:lnTo>
                      <a:pt x="313554" y="4371353"/>
                    </a:lnTo>
                    <a:lnTo>
                      <a:pt x="312815" y="4405870"/>
                    </a:lnTo>
                    <a:lnTo>
                      <a:pt x="312089" y="4440395"/>
                    </a:lnTo>
                    <a:lnTo>
                      <a:pt x="310006" y="4475427"/>
                    </a:lnTo>
                    <a:lnTo>
                      <a:pt x="295628" y="4507814"/>
                    </a:lnTo>
                    <a:lnTo>
                      <a:pt x="278812" y="4522850"/>
                    </a:lnTo>
                    <a:lnTo>
                      <a:pt x="259127" y="4536093"/>
                    </a:lnTo>
                    <a:lnTo>
                      <a:pt x="232865" y="4557197"/>
                    </a:lnTo>
                    <a:lnTo>
                      <a:pt x="219762" y="4583919"/>
                    </a:lnTo>
                    <a:lnTo>
                      <a:pt x="199099" y="4620429"/>
                    </a:lnTo>
                    <a:lnTo>
                      <a:pt x="194266" y="4643201"/>
                    </a:lnTo>
                    <a:lnTo>
                      <a:pt x="195842" y="4664311"/>
                    </a:lnTo>
                    <a:lnTo>
                      <a:pt x="197417" y="4685422"/>
                    </a:lnTo>
                    <a:lnTo>
                      <a:pt x="205232" y="4705008"/>
                    </a:lnTo>
                    <a:lnTo>
                      <a:pt x="217605" y="4722801"/>
                    </a:lnTo>
                    <a:lnTo>
                      <a:pt x="229970" y="4740587"/>
                    </a:lnTo>
                    <a:lnTo>
                      <a:pt x="247262" y="4756244"/>
                    </a:lnTo>
                    <a:lnTo>
                      <a:pt x="265213" y="4771768"/>
                    </a:lnTo>
                    <a:lnTo>
                      <a:pt x="283158" y="4787293"/>
                    </a:lnTo>
                    <a:lnTo>
                      <a:pt x="301301" y="4802343"/>
                    </a:lnTo>
                    <a:lnTo>
                      <a:pt x="319621" y="4816654"/>
                    </a:lnTo>
                    <a:lnTo>
                      <a:pt x="338964" y="4830787"/>
                    </a:lnTo>
                    <a:lnTo>
                      <a:pt x="361815" y="4849140"/>
                    </a:lnTo>
                    <a:lnTo>
                      <a:pt x="375797" y="4870956"/>
                    </a:lnTo>
                    <a:lnTo>
                      <a:pt x="380901" y="4901681"/>
                    </a:lnTo>
                    <a:lnTo>
                      <a:pt x="376588" y="4944470"/>
                    </a:lnTo>
                    <a:lnTo>
                      <a:pt x="369999" y="4964828"/>
                    </a:lnTo>
                    <a:lnTo>
                      <a:pt x="350848" y="4994927"/>
                    </a:lnTo>
                    <a:lnTo>
                      <a:pt x="326420" y="5015247"/>
                    </a:lnTo>
                    <a:lnTo>
                      <a:pt x="300166" y="5034596"/>
                    </a:lnTo>
                    <a:lnTo>
                      <a:pt x="276498" y="5061180"/>
                    </a:lnTo>
                    <a:lnTo>
                      <a:pt x="258407" y="5102292"/>
                    </a:lnTo>
                    <a:lnTo>
                      <a:pt x="251423" y="5144250"/>
                    </a:lnTo>
                    <a:lnTo>
                      <a:pt x="248884" y="5171663"/>
                    </a:lnTo>
                    <a:lnTo>
                      <a:pt x="246352" y="5199085"/>
                    </a:lnTo>
                    <a:lnTo>
                      <a:pt x="243991" y="5228999"/>
                    </a:lnTo>
                    <a:lnTo>
                      <a:pt x="240726" y="5258717"/>
                    </a:lnTo>
                    <a:lnTo>
                      <a:pt x="237461" y="5288433"/>
                    </a:lnTo>
                    <a:lnTo>
                      <a:pt x="232891" y="5318116"/>
                    </a:lnTo>
                    <a:lnTo>
                      <a:pt x="225763" y="5341693"/>
                    </a:lnTo>
                    <a:lnTo>
                      <a:pt x="218641" y="5365264"/>
                    </a:lnTo>
                    <a:lnTo>
                      <a:pt x="194476" y="5392019"/>
                    </a:lnTo>
                    <a:lnTo>
                      <a:pt x="170464" y="5407320"/>
                    </a:lnTo>
                    <a:lnTo>
                      <a:pt x="141005" y="5419645"/>
                    </a:lnTo>
                    <a:lnTo>
                      <a:pt x="115588" y="5432823"/>
                    </a:lnTo>
                    <a:lnTo>
                      <a:pt x="90382" y="5442022"/>
                    </a:lnTo>
                    <a:lnTo>
                      <a:pt x="77502" y="5458661"/>
                    </a:lnTo>
                    <a:lnTo>
                      <a:pt x="64847" y="5475887"/>
                    </a:lnTo>
                    <a:lnTo>
                      <a:pt x="54797" y="5495850"/>
                    </a:lnTo>
                    <a:lnTo>
                      <a:pt x="46216" y="5515793"/>
                    </a:lnTo>
                    <a:lnTo>
                      <a:pt x="35334" y="5542996"/>
                    </a:lnTo>
                    <a:lnTo>
                      <a:pt x="20760" y="5579651"/>
                    </a:lnTo>
                    <a:lnTo>
                      <a:pt x="10821" y="5607251"/>
                    </a:lnTo>
                    <a:lnTo>
                      <a:pt x="5414" y="5630049"/>
                    </a:lnTo>
                    <a:lnTo>
                      <a:pt x="0" y="5652848"/>
                    </a:lnTo>
                    <a:lnTo>
                      <a:pt x="2696" y="5689898"/>
                    </a:lnTo>
                    <a:lnTo>
                      <a:pt x="14060" y="5724811"/>
                    </a:lnTo>
                    <a:lnTo>
                      <a:pt x="25819" y="5747024"/>
                    </a:lnTo>
                    <a:lnTo>
                      <a:pt x="37577" y="5769235"/>
                    </a:lnTo>
                    <a:lnTo>
                      <a:pt x="53668" y="5795878"/>
                    </a:lnTo>
                    <a:lnTo>
                      <a:pt x="73426" y="5831358"/>
                    </a:lnTo>
                    <a:lnTo>
                      <a:pt x="85133" y="5852383"/>
                    </a:lnTo>
                    <a:lnTo>
                      <a:pt x="94861" y="5874535"/>
                    </a:lnTo>
                    <a:lnTo>
                      <a:pt x="103349" y="5898007"/>
                    </a:lnTo>
                    <a:lnTo>
                      <a:pt x="111835" y="5921478"/>
                    </a:lnTo>
                    <a:lnTo>
                      <a:pt x="119070" y="5946711"/>
                    </a:lnTo>
                    <a:lnTo>
                      <a:pt x="125112" y="5971461"/>
                    </a:lnTo>
                    <a:lnTo>
                      <a:pt x="131159" y="5996205"/>
                    </a:lnTo>
                    <a:lnTo>
                      <a:pt x="135683" y="6021418"/>
                    </a:lnTo>
                    <a:lnTo>
                      <a:pt x="140075" y="6046267"/>
                    </a:lnTo>
                    <a:lnTo>
                      <a:pt x="144467" y="6071123"/>
                    </a:lnTo>
                    <a:lnTo>
                      <a:pt x="148794" y="6095933"/>
                    </a:lnTo>
                    <a:lnTo>
                      <a:pt x="152315" y="6119720"/>
                    </a:lnTo>
                    <a:lnTo>
                      <a:pt x="163441" y="6147440"/>
                    </a:lnTo>
                    <a:lnTo>
                      <a:pt x="190157" y="6170891"/>
                    </a:lnTo>
                    <a:lnTo>
                      <a:pt x="224405" y="6191810"/>
                    </a:lnTo>
                    <a:lnTo>
                      <a:pt x="258592" y="6213665"/>
                    </a:lnTo>
                    <a:lnTo>
                      <a:pt x="285434" y="6237967"/>
                    </a:lnTo>
                    <a:lnTo>
                      <a:pt x="297858" y="6267981"/>
                    </a:lnTo>
                    <a:lnTo>
                      <a:pt x="295636" y="6303897"/>
                    </a:lnTo>
                    <a:lnTo>
                      <a:pt x="286482" y="6340888"/>
                    </a:lnTo>
                    <a:lnTo>
                      <a:pt x="284252" y="6375438"/>
                    </a:lnTo>
                    <a:lnTo>
                      <a:pt x="287629" y="6402213"/>
                    </a:lnTo>
                    <a:lnTo>
                      <a:pt x="298472" y="6429280"/>
                    </a:lnTo>
                    <a:lnTo>
                      <a:pt x="308739" y="6455692"/>
                    </a:lnTo>
                    <a:lnTo>
                      <a:pt x="319008" y="6482098"/>
                    </a:lnTo>
                    <a:lnTo>
                      <a:pt x="329197" y="6509117"/>
                    </a:lnTo>
                    <a:lnTo>
                      <a:pt x="330502" y="6537304"/>
                    </a:lnTo>
                    <a:lnTo>
                      <a:pt x="331505" y="6558849"/>
                    </a:lnTo>
                    <a:lnTo>
                      <a:pt x="317452" y="6585769"/>
                    </a:lnTo>
                    <a:lnTo>
                      <a:pt x="307381" y="6613475"/>
                    </a:lnTo>
                    <a:lnTo>
                      <a:pt x="297351" y="6641042"/>
                    </a:lnTo>
                    <a:lnTo>
                      <a:pt x="295642" y="6667513"/>
                    </a:lnTo>
                    <a:lnTo>
                      <a:pt x="306015" y="6691005"/>
                    </a:lnTo>
                    <a:lnTo>
                      <a:pt x="322549" y="6714237"/>
                    </a:lnTo>
                    <a:lnTo>
                      <a:pt x="340699" y="6735480"/>
                    </a:lnTo>
                    <a:lnTo>
                      <a:pt x="356349" y="6754936"/>
                    </a:lnTo>
                    <a:lnTo>
                      <a:pt x="371991" y="6774384"/>
                    </a:lnTo>
                    <a:lnTo>
                      <a:pt x="386144" y="6792975"/>
                    </a:lnTo>
                    <a:lnTo>
                      <a:pt x="402716" y="6828429"/>
                    </a:lnTo>
                    <a:lnTo>
                      <a:pt x="399875" y="6863751"/>
                    </a:lnTo>
                    <a:lnTo>
                      <a:pt x="380815" y="6900412"/>
                    </a:lnTo>
                    <a:lnTo>
                      <a:pt x="354983" y="6920876"/>
                    </a:lnTo>
                    <a:lnTo>
                      <a:pt x="348534" y="6944789"/>
                    </a:lnTo>
                    <a:lnTo>
                      <a:pt x="353558" y="6970608"/>
                    </a:lnTo>
                    <a:lnTo>
                      <a:pt x="359059" y="6994324"/>
                    </a:lnTo>
                    <a:lnTo>
                      <a:pt x="364559" y="7018045"/>
                    </a:lnTo>
                    <a:lnTo>
                      <a:pt x="370139" y="7039887"/>
                    </a:lnTo>
                    <a:lnTo>
                      <a:pt x="350755" y="7073806"/>
                    </a:lnTo>
                    <a:lnTo>
                      <a:pt x="327859" y="7079260"/>
                    </a:lnTo>
                    <a:lnTo>
                      <a:pt x="300569" y="7089540"/>
                    </a:lnTo>
                    <a:lnTo>
                      <a:pt x="273279" y="7099822"/>
                    </a:lnTo>
                    <a:lnTo>
                      <a:pt x="241677" y="7114035"/>
                    </a:lnTo>
                    <a:lnTo>
                      <a:pt x="213516" y="7148031"/>
                    </a:lnTo>
                    <a:lnTo>
                      <a:pt x="200768" y="7173343"/>
                    </a:lnTo>
                    <a:lnTo>
                      <a:pt x="201803" y="7198892"/>
                    </a:lnTo>
                    <a:lnTo>
                      <a:pt x="205352" y="7225561"/>
                    </a:lnTo>
                    <a:lnTo>
                      <a:pt x="206611" y="7260052"/>
                    </a:lnTo>
                    <a:lnTo>
                      <a:pt x="200498" y="7291339"/>
                    </a:lnTo>
                    <a:lnTo>
                      <a:pt x="193111" y="7322137"/>
                    </a:lnTo>
                    <a:lnTo>
                      <a:pt x="185719" y="7352929"/>
                    </a:lnTo>
                    <a:lnTo>
                      <a:pt x="176532" y="7383792"/>
                    </a:lnTo>
                    <a:lnTo>
                      <a:pt x="172707" y="7417346"/>
                    </a:lnTo>
                    <a:lnTo>
                      <a:pt x="182395" y="7458315"/>
                    </a:lnTo>
                    <a:lnTo>
                      <a:pt x="203380" y="7481350"/>
                    </a:lnTo>
                    <a:lnTo>
                      <a:pt x="223033" y="7500324"/>
                    </a:lnTo>
                    <a:lnTo>
                      <a:pt x="242686" y="7519291"/>
                    </a:lnTo>
                    <a:lnTo>
                      <a:pt x="261223" y="7533932"/>
                    </a:lnTo>
                    <a:lnTo>
                      <a:pt x="269283" y="7560173"/>
                    </a:lnTo>
                    <a:lnTo>
                      <a:pt x="263841" y="7590094"/>
                    </a:lnTo>
                    <a:lnTo>
                      <a:pt x="253118" y="7608434"/>
                    </a:lnTo>
                    <a:lnTo>
                      <a:pt x="237581" y="7635908"/>
                    </a:lnTo>
                    <a:lnTo>
                      <a:pt x="228473" y="7675788"/>
                    </a:lnTo>
                    <a:lnTo>
                      <a:pt x="224899" y="7718102"/>
                    </a:lnTo>
                    <a:lnTo>
                      <a:pt x="224397" y="7741077"/>
                    </a:lnTo>
                    <a:lnTo>
                      <a:pt x="228578" y="7769627"/>
                    </a:lnTo>
                    <a:lnTo>
                      <a:pt x="244703" y="7805022"/>
                    </a:lnTo>
                    <a:lnTo>
                      <a:pt x="255769" y="7824661"/>
                    </a:lnTo>
                    <a:lnTo>
                      <a:pt x="266565" y="7845812"/>
                    </a:lnTo>
                    <a:lnTo>
                      <a:pt x="277361" y="7866961"/>
                    </a:lnTo>
                    <a:lnTo>
                      <a:pt x="288573" y="7889654"/>
                    </a:lnTo>
                    <a:lnTo>
                      <a:pt x="296486" y="7912459"/>
                    </a:lnTo>
                    <a:lnTo>
                      <a:pt x="304406" y="7935265"/>
                    </a:lnTo>
                    <a:lnTo>
                      <a:pt x="309307" y="7957807"/>
                    </a:lnTo>
                    <a:lnTo>
                      <a:pt x="308733" y="7980473"/>
                    </a:lnTo>
                    <a:lnTo>
                      <a:pt x="289951" y="8007551"/>
                    </a:lnTo>
                    <a:lnTo>
                      <a:pt x="268267" y="8027976"/>
                    </a:lnTo>
                    <a:lnTo>
                      <a:pt x="248884" y="8045762"/>
                    </a:lnTo>
                    <a:lnTo>
                      <a:pt x="229496" y="8063543"/>
                    </a:lnTo>
                    <a:lnTo>
                      <a:pt x="212843" y="8078407"/>
                    </a:lnTo>
                    <a:lnTo>
                      <a:pt x="186992" y="8111045"/>
                    </a:lnTo>
                    <a:lnTo>
                      <a:pt x="179513" y="8151855"/>
                    </a:lnTo>
                    <a:lnTo>
                      <a:pt x="180107" y="8174534"/>
                    </a:lnTo>
                    <a:lnTo>
                      <a:pt x="188264" y="8202029"/>
                    </a:lnTo>
                    <a:lnTo>
                      <a:pt x="209434" y="8238907"/>
                    </a:lnTo>
                    <a:lnTo>
                      <a:pt x="223586" y="8263064"/>
                    </a:lnTo>
                    <a:lnTo>
                      <a:pt x="236091" y="8285481"/>
                    </a:lnTo>
                    <a:lnTo>
                      <a:pt x="247520" y="8306920"/>
                    </a:lnTo>
                    <a:lnTo>
                      <a:pt x="257366" y="8330274"/>
                    </a:lnTo>
                    <a:lnTo>
                      <a:pt x="264883" y="8354292"/>
                    </a:lnTo>
                    <a:lnTo>
                      <a:pt x="269283" y="8380368"/>
                    </a:lnTo>
                    <a:lnTo>
                      <a:pt x="253705" y="8395212"/>
                    </a:lnTo>
                    <a:lnTo>
                      <a:pt x="217598" y="8391250"/>
                    </a:lnTo>
                    <a:lnTo>
                      <a:pt x="181874" y="8390352"/>
                    </a:lnTo>
                    <a:lnTo>
                      <a:pt x="164548" y="8408931"/>
                    </a:lnTo>
                    <a:lnTo>
                      <a:pt x="181345" y="8443284"/>
                    </a:lnTo>
                    <a:lnTo>
                      <a:pt x="195835" y="8463338"/>
                    </a:lnTo>
                    <a:lnTo>
                      <a:pt x="210324" y="8483393"/>
                    </a:lnTo>
                    <a:lnTo>
                      <a:pt x="222828" y="8503634"/>
                    </a:lnTo>
                    <a:lnTo>
                      <a:pt x="205358" y="8535427"/>
                    </a:lnTo>
                    <a:lnTo>
                      <a:pt x="152308" y="8553108"/>
                    </a:lnTo>
                    <a:lnTo>
                      <a:pt x="136330" y="8576831"/>
                    </a:lnTo>
                    <a:lnTo>
                      <a:pt x="144797" y="8603533"/>
                    </a:lnTo>
                    <a:lnTo>
                      <a:pt x="159820" y="8619664"/>
                    </a:lnTo>
                    <a:lnTo>
                      <a:pt x="176789" y="8636086"/>
                    </a:lnTo>
                    <a:lnTo>
                      <a:pt x="193230" y="8655804"/>
                    </a:lnTo>
                    <a:lnTo>
                      <a:pt x="203874" y="8678925"/>
                    </a:lnTo>
                    <a:lnTo>
                      <a:pt x="205358" y="8708175"/>
                    </a:lnTo>
                    <a:lnTo>
                      <a:pt x="199140" y="8733900"/>
                    </a:lnTo>
                    <a:lnTo>
                      <a:pt x="187083" y="8764060"/>
                    </a:lnTo>
                    <a:lnTo>
                      <a:pt x="174071" y="8795227"/>
                    </a:lnTo>
                    <a:lnTo>
                      <a:pt x="160606" y="8827233"/>
                    </a:lnTo>
                    <a:lnTo>
                      <a:pt x="154894" y="8855708"/>
                    </a:lnTo>
                    <a:lnTo>
                      <a:pt x="160466" y="8878197"/>
                    </a:lnTo>
                    <a:lnTo>
                      <a:pt x="246160" y="8853710"/>
                    </a:lnTo>
                    <a:lnTo>
                      <a:pt x="273365" y="8875473"/>
                    </a:lnTo>
                    <a:lnTo>
                      <a:pt x="270193" y="8911944"/>
                    </a:lnTo>
                    <a:lnTo>
                      <a:pt x="260207" y="8947821"/>
                    </a:lnTo>
                    <a:lnTo>
                      <a:pt x="251602" y="8982932"/>
                    </a:lnTo>
                    <a:lnTo>
                      <a:pt x="246048" y="9013373"/>
                    </a:lnTo>
                    <a:lnTo>
                      <a:pt x="242883" y="9045016"/>
                    </a:lnTo>
                    <a:lnTo>
                      <a:pt x="240720" y="9076783"/>
                    </a:lnTo>
                    <a:lnTo>
                      <a:pt x="238550" y="9108550"/>
                    </a:lnTo>
                    <a:lnTo>
                      <a:pt x="237587" y="9139810"/>
                    </a:lnTo>
                    <a:lnTo>
                      <a:pt x="235279" y="9170635"/>
                    </a:lnTo>
                    <a:lnTo>
                      <a:pt x="233452" y="9195022"/>
                    </a:lnTo>
                    <a:lnTo>
                      <a:pt x="244796" y="9214161"/>
                    </a:lnTo>
                    <a:lnTo>
                      <a:pt x="264970" y="9228775"/>
                    </a:lnTo>
                    <a:lnTo>
                      <a:pt x="278806" y="9245447"/>
                    </a:lnTo>
                    <a:lnTo>
                      <a:pt x="288942" y="9266400"/>
                    </a:lnTo>
                    <a:lnTo>
                      <a:pt x="303557" y="9287603"/>
                    </a:lnTo>
                    <a:lnTo>
                      <a:pt x="326434" y="9300120"/>
                    </a:lnTo>
                    <a:lnTo>
                      <a:pt x="350895" y="9310738"/>
                    </a:lnTo>
                    <a:lnTo>
                      <a:pt x="375355" y="9321356"/>
                    </a:lnTo>
                    <a:lnTo>
                      <a:pt x="400975" y="9330186"/>
                    </a:lnTo>
                    <a:lnTo>
                      <a:pt x="421625" y="9348822"/>
                    </a:lnTo>
                    <a:lnTo>
                      <a:pt x="407558" y="9383400"/>
                    </a:lnTo>
                    <a:lnTo>
                      <a:pt x="374022" y="9382827"/>
                    </a:lnTo>
                    <a:lnTo>
                      <a:pt x="338430" y="9379655"/>
                    </a:lnTo>
                    <a:lnTo>
                      <a:pt x="323011" y="9397407"/>
                    </a:lnTo>
                    <a:lnTo>
                      <a:pt x="324158" y="9428594"/>
                    </a:lnTo>
                    <a:lnTo>
                      <a:pt x="311720" y="9463231"/>
                    </a:lnTo>
                    <a:lnTo>
                      <a:pt x="293770" y="9487566"/>
                    </a:lnTo>
                    <a:lnTo>
                      <a:pt x="281747" y="9508775"/>
                    </a:lnTo>
                    <a:lnTo>
                      <a:pt x="276999" y="9534918"/>
                    </a:lnTo>
                    <a:lnTo>
                      <a:pt x="295128" y="9559656"/>
                    </a:lnTo>
                    <a:lnTo>
                      <a:pt x="323289" y="9582183"/>
                    </a:lnTo>
                    <a:lnTo>
                      <a:pt x="354020" y="9607858"/>
                    </a:lnTo>
                    <a:lnTo>
                      <a:pt x="369063" y="9622953"/>
                    </a:lnTo>
                    <a:lnTo>
                      <a:pt x="376740" y="9643984"/>
                    </a:lnTo>
                    <a:lnTo>
                      <a:pt x="372664" y="9667113"/>
                    </a:lnTo>
                    <a:lnTo>
                      <a:pt x="359065" y="9687510"/>
                    </a:lnTo>
                    <a:lnTo>
                      <a:pt x="344101" y="9707915"/>
                    </a:lnTo>
                    <a:lnTo>
                      <a:pt x="338661" y="9731038"/>
                    </a:lnTo>
                    <a:lnTo>
                      <a:pt x="340350" y="9758928"/>
                    </a:lnTo>
                    <a:lnTo>
                      <a:pt x="342407" y="9787482"/>
                    </a:lnTo>
                    <a:lnTo>
                      <a:pt x="344095" y="9816732"/>
                    </a:lnTo>
                    <a:lnTo>
                      <a:pt x="345111" y="9844747"/>
                    </a:lnTo>
                    <a:lnTo>
                      <a:pt x="343072" y="9873045"/>
                    </a:lnTo>
                    <a:lnTo>
                      <a:pt x="337289" y="9901060"/>
                    </a:lnTo>
                    <a:lnTo>
                      <a:pt x="327436" y="9926392"/>
                    </a:lnTo>
                    <a:lnTo>
                      <a:pt x="317221" y="9951907"/>
                    </a:lnTo>
                    <a:lnTo>
                      <a:pt x="311451" y="9978596"/>
                    </a:lnTo>
                    <a:lnTo>
                      <a:pt x="308403" y="10008663"/>
                    </a:lnTo>
                    <a:lnTo>
                      <a:pt x="310152" y="10031633"/>
                    </a:lnTo>
                    <a:lnTo>
                      <a:pt x="323625" y="10069738"/>
                    </a:lnTo>
                    <a:lnTo>
                      <a:pt x="350895" y="10094213"/>
                    </a:lnTo>
                    <a:lnTo>
                      <a:pt x="384838" y="10111253"/>
                    </a:lnTo>
                    <a:lnTo>
                      <a:pt x="406660" y="10114616"/>
                    </a:lnTo>
                    <a:lnTo>
                      <a:pt x="428490" y="10117980"/>
                    </a:lnTo>
                    <a:lnTo>
                      <a:pt x="452997" y="10118653"/>
                    </a:lnTo>
                    <a:lnTo>
                      <a:pt x="480115" y="10117334"/>
                    </a:lnTo>
                    <a:lnTo>
                      <a:pt x="490996" y="10151336"/>
                    </a:lnTo>
                    <a:lnTo>
                      <a:pt x="479106" y="10175284"/>
                    </a:lnTo>
                    <a:lnTo>
                      <a:pt x="470229" y="10203562"/>
                    </a:lnTo>
                    <a:lnTo>
                      <a:pt x="466509" y="10228866"/>
                    </a:lnTo>
                    <a:lnTo>
                      <a:pt x="477391" y="10251823"/>
                    </a:lnTo>
                    <a:lnTo>
                      <a:pt x="500078" y="10263728"/>
                    </a:lnTo>
                    <a:lnTo>
                      <a:pt x="522277" y="10265594"/>
                    </a:lnTo>
                    <a:lnTo>
                      <a:pt x="545404" y="10257435"/>
                    </a:lnTo>
                    <a:lnTo>
                      <a:pt x="564445" y="10235666"/>
                    </a:lnTo>
                    <a:lnTo>
                      <a:pt x="576664" y="10216495"/>
                    </a:lnTo>
                    <a:lnTo>
                      <a:pt x="601171" y="10200310"/>
                    </a:lnTo>
                    <a:lnTo>
                      <a:pt x="602279" y="10230871"/>
                    </a:lnTo>
                    <a:lnTo>
                      <a:pt x="598962" y="10265666"/>
                    </a:lnTo>
                    <a:lnTo>
                      <a:pt x="588931" y="10298245"/>
                    </a:lnTo>
                    <a:lnTo>
                      <a:pt x="577495" y="10325211"/>
                    </a:lnTo>
                    <a:lnTo>
                      <a:pt x="564992" y="10347444"/>
                    </a:lnTo>
                    <a:lnTo>
                      <a:pt x="553563" y="10370334"/>
                    </a:lnTo>
                    <a:lnTo>
                      <a:pt x="544982" y="10394985"/>
                    </a:lnTo>
                    <a:lnTo>
                      <a:pt x="548162" y="10424458"/>
                    </a:lnTo>
                    <a:lnTo>
                      <a:pt x="571243" y="10443782"/>
                    </a:lnTo>
                    <a:lnTo>
                      <a:pt x="600089" y="10460057"/>
                    </a:lnTo>
                    <a:lnTo>
                      <a:pt x="632174" y="10473761"/>
                    </a:lnTo>
                    <a:lnTo>
                      <a:pt x="662378" y="10485948"/>
                    </a:lnTo>
                    <a:lnTo>
                      <a:pt x="690393" y="10498994"/>
                    </a:lnTo>
                    <a:lnTo>
                      <a:pt x="707882" y="10523270"/>
                    </a:lnTo>
                    <a:lnTo>
                      <a:pt x="722973" y="10538406"/>
                    </a:lnTo>
                    <a:lnTo>
                      <a:pt x="741273" y="10551239"/>
                    </a:lnTo>
                    <a:lnTo>
                      <a:pt x="762291" y="10563373"/>
                    </a:lnTo>
                    <a:lnTo>
                      <a:pt x="782814" y="10571755"/>
                    </a:lnTo>
                    <a:lnTo>
                      <a:pt x="806563" y="10594765"/>
                    </a:lnTo>
                    <a:lnTo>
                      <a:pt x="790538" y="10618678"/>
                    </a:lnTo>
                    <a:lnTo>
                      <a:pt x="764395" y="10623334"/>
                    </a:lnTo>
                    <a:lnTo>
                      <a:pt x="716786" y="10635581"/>
                    </a:lnTo>
                    <a:lnTo>
                      <a:pt x="724430" y="10660431"/>
                    </a:lnTo>
                    <a:lnTo>
                      <a:pt x="738549" y="10681825"/>
                    </a:lnTo>
                    <a:lnTo>
                      <a:pt x="749272" y="10703805"/>
                    </a:lnTo>
                    <a:lnTo>
                      <a:pt x="757760" y="10727856"/>
                    </a:lnTo>
                    <a:lnTo>
                      <a:pt x="763036" y="10752555"/>
                    </a:lnTo>
                    <a:lnTo>
                      <a:pt x="766921" y="10776679"/>
                    </a:lnTo>
                    <a:lnTo>
                      <a:pt x="779728" y="10799886"/>
                    </a:lnTo>
                    <a:lnTo>
                      <a:pt x="798787" y="10817396"/>
                    </a:lnTo>
                    <a:lnTo>
                      <a:pt x="818328" y="10834794"/>
                    </a:lnTo>
                    <a:lnTo>
                      <a:pt x="835639" y="10853424"/>
                    </a:lnTo>
                    <a:lnTo>
                      <a:pt x="868838" y="10845998"/>
                    </a:lnTo>
                    <a:lnTo>
                      <a:pt x="893899" y="10835935"/>
                    </a:lnTo>
                    <a:lnTo>
                      <a:pt x="916730" y="10832808"/>
                    </a:lnTo>
                    <a:lnTo>
                      <a:pt x="941231" y="10834060"/>
                    </a:lnTo>
                    <a:lnTo>
                      <a:pt x="968408" y="10834299"/>
                    </a:lnTo>
                    <a:lnTo>
                      <a:pt x="1001066" y="10830092"/>
                    </a:lnTo>
                    <a:lnTo>
                      <a:pt x="1029629" y="10821926"/>
                    </a:lnTo>
                    <a:lnTo>
                      <a:pt x="1049651" y="10813499"/>
                    </a:lnTo>
                    <a:lnTo>
                      <a:pt x="1069456" y="10805875"/>
                    </a:lnTo>
                    <a:lnTo>
                      <a:pt x="1099640" y="10797743"/>
                    </a:lnTo>
                    <a:lnTo>
                      <a:pt x="1120764" y="10797446"/>
                    </a:lnTo>
                    <a:lnTo>
                      <a:pt x="1142454" y="10798568"/>
                    </a:lnTo>
                    <a:lnTo>
                      <a:pt x="1166724" y="10808183"/>
                    </a:lnTo>
                    <a:lnTo>
                      <a:pt x="1191495" y="10824650"/>
                    </a:lnTo>
                    <a:lnTo>
                      <a:pt x="1216264" y="10841124"/>
                    </a:lnTo>
                    <a:lnTo>
                      <a:pt x="1241537" y="10864100"/>
                    </a:lnTo>
                    <a:lnTo>
                      <a:pt x="1264941" y="10888581"/>
                    </a:lnTo>
                    <a:lnTo>
                      <a:pt x="1288346" y="10913062"/>
                    </a:lnTo>
                    <a:lnTo>
                      <a:pt x="1309918" y="10939592"/>
                    </a:lnTo>
                    <a:lnTo>
                      <a:pt x="1327514" y="10964752"/>
                    </a:lnTo>
                    <a:lnTo>
                      <a:pt x="1345102" y="10989911"/>
                    </a:lnTo>
                    <a:lnTo>
                      <a:pt x="1358260" y="11014254"/>
                    </a:lnTo>
                    <a:lnTo>
                      <a:pt x="1373236" y="11052036"/>
                    </a:lnTo>
                    <a:lnTo>
                      <a:pt x="1386004" y="11087167"/>
                    </a:lnTo>
                    <a:lnTo>
                      <a:pt x="1398818" y="11121474"/>
                    </a:lnTo>
                    <a:lnTo>
                      <a:pt x="1413993" y="11153518"/>
                    </a:lnTo>
                    <a:lnTo>
                      <a:pt x="1433605" y="11183743"/>
                    </a:lnTo>
                    <a:lnTo>
                      <a:pt x="1459643" y="11212820"/>
                    </a:lnTo>
                    <a:lnTo>
                      <a:pt x="1477133" y="11227269"/>
                    </a:lnTo>
                    <a:lnTo>
                      <a:pt x="1509190" y="11246796"/>
                    </a:lnTo>
                    <a:lnTo>
                      <a:pt x="1530183" y="11250398"/>
                    </a:lnTo>
                    <a:lnTo>
                      <a:pt x="1551173" y="11253985"/>
                    </a:lnTo>
                    <a:lnTo>
                      <a:pt x="1574598" y="11252996"/>
                    </a:lnTo>
                    <a:lnTo>
                      <a:pt x="1595472" y="11249038"/>
                    </a:lnTo>
                    <a:lnTo>
                      <a:pt x="1616345" y="11245068"/>
                    </a:lnTo>
                    <a:lnTo>
                      <a:pt x="1647161" y="11225911"/>
                    </a:lnTo>
                    <a:lnTo>
                      <a:pt x="1667323" y="11198984"/>
                    </a:lnTo>
                    <a:lnTo>
                      <a:pt x="1663478" y="11169009"/>
                    </a:lnTo>
                    <a:lnTo>
                      <a:pt x="1659403" y="11148381"/>
                    </a:lnTo>
                    <a:lnTo>
                      <a:pt x="1647161" y="11119818"/>
                    </a:lnTo>
                    <a:lnTo>
                      <a:pt x="1634922" y="11092614"/>
                    </a:lnTo>
                    <a:lnTo>
                      <a:pt x="1624833" y="11073364"/>
                    </a:lnTo>
                    <a:lnTo>
                      <a:pt x="1614128" y="11052912"/>
                    </a:lnTo>
                    <a:lnTo>
                      <a:pt x="1602277" y="11031400"/>
                    </a:lnTo>
                    <a:lnTo>
                      <a:pt x="1593889" y="11012136"/>
                    </a:lnTo>
                    <a:lnTo>
                      <a:pt x="1593796" y="10984992"/>
                    </a:lnTo>
                    <a:lnTo>
                      <a:pt x="1615111" y="10961673"/>
                    </a:lnTo>
                    <a:lnTo>
                      <a:pt x="1645144" y="10949367"/>
                    </a:lnTo>
                    <a:lnTo>
                      <a:pt x="1678448" y="10951154"/>
                    </a:lnTo>
                    <a:lnTo>
                      <a:pt x="1699275" y="10961778"/>
                    </a:lnTo>
                    <a:lnTo>
                      <a:pt x="1713968" y="10982044"/>
                    </a:lnTo>
                    <a:lnTo>
                      <a:pt x="1728767" y="11000120"/>
                    </a:lnTo>
                    <a:lnTo>
                      <a:pt x="1743580" y="11018204"/>
                    </a:lnTo>
                    <a:lnTo>
                      <a:pt x="1758307" y="11034896"/>
                    </a:lnTo>
                    <a:lnTo>
                      <a:pt x="1780459" y="11039572"/>
                    </a:lnTo>
                    <a:lnTo>
                      <a:pt x="1801219" y="11043950"/>
                    </a:lnTo>
                    <a:lnTo>
                      <a:pt x="1836224" y="11034130"/>
                    </a:lnTo>
                    <a:lnTo>
                      <a:pt x="1861141" y="11034988"/>
                    </a:lnTo>
                    <a:lnTo>
                      <a:pt x="1882046" y="11038715"/>
                    </a:lnTo>
                    <a:lnTo>
                      <a:pt x="1910834" y="11043198"/>
                    </a:lnTo>
                    <a:lnTo>
                      <a:pt x="1938294" y="11036400"/>
                    </a:lnTo>
                    <a:lnTo>
                      <a:pt x="1960004" y="11019173"/>
                    </a:lnTo>
                    <a:lnTo>
                      <a:pt x="1974566" y="11003280"/>
                    </a:lnTo>
                    <a:lnTo>
                      <a:pt x="1973545" y="10977058"/>
                    </a:lnTo>
                    <a:lnTo>
                      <a:pt x="1958646" y="10958606"/>
                    </a:lnTo>
                    <a:lnTo>
                      <a:pt x="1940965" y="10943003"/>
                    </a:lnTo>
                    <a:lnTo>
                      <a:pt x="1923278" y="10927399"/>
                    </a:lnTo>
                    <a:lnTo>
                      <a:pt x="1902247" y="10914235"/>
                    </a:lnTo>
                    <a:lnTo>
                      <a:pt x="1861939" y="10882937"/>
                    </a:lnTo>
                    <a:lnTo>
                      <a:pt x="1843354" y="10866052"/>
                    </a:lnTo>
                    <a:lnTo>
                      <a:pt x="1815497" y="10840406"/>
                    </a:lnTo>
                    <a:lnTo>
                      <a:pt x="1796780" y="10826022"/>
                    </a:lnTo>
                    <a:lnTo>
                      <a:pt x="1774654" y="10818345"/>
                    </a:lnTo>
                    <a:lnTo>
                      <a:pt x="1737302" y="10817403"/>
                    </a:lnTo>
                    <a:lnTo>
                      <a:pt x="1711192" y="10819235"/>
                    </a:lnTo>
                    <a:lnTo>
                      <a:pt x="1671642" y="10820588"/>
                    </a:lnTo>
                    <a:lnTo>
                      <a:pt x="1645797" y="10809705"/>
                    </a:lnTo>
                    <a:lnTo>
                      <a:pt x="1633558" y="10782502"/>
                    </a:lnTo>
                    <a:lnTo>
                      <a:pt x="1629553" y="10760468"/>
                    </a:lnTo>
                    <a:lnTo>
                      <a:pt x="1629415" y="10739246"/>
                    </a:lnTo>
                    <a:lnTo>
                      <a:pt x="1636413" y="10714001"/>
                    </a:lnTo>
                    <a:lnTo>
                      <a:pt x="1656717" y="10692449"/>
                    </a:lnTo>
                    <a:lnTo>
                      <a:pt x="1681093" y="10675479"/>
                    </a:lnTo>
                    <a:lnTo>
                      <a:pt x="1708192" y="10667190"/>
                    </a:lnTo>
                    <a:lnTo>
                      <a:pt x="1764063" y="10669142"/>
                    </a:lnTo>
                    <a:lnTo>
                      <a:pt x="1789316" y="10677340"/>
                    </a:lnTo>
                    <a:lnTo>
                      <a:pt x="1809028" y="10688651"/>
                    </a:lnTo>
                    <a:lnTo>
                      <a:pt x="1828739" y="10699960"/>
                    </a:lnTo>
                    <a:lnTo>
                      <a:pt x="1853913" y="10729459"/>
                    </a:lnTo>
                    <a:lnTo>
                      <a:pt x="1875174" y="10762111"/>
                    </a:lnTo>
                    <a:lnTo>
                      <a:pt x="1897940" y="10792018"/>
                    </a:lnTo>
                    <a:lnTo>
                      <a:pt x="1930084" y="10815153"/>
                    </a:lnTo>
                    <a:lnTo>
                      <a:pt x="1954571" y="10821953"/>
                    </a:lnTo>
                    <a:lnTo>
                      <a:pt x="1977692" y="10821953"/>
                    </a:lnTo>
                    <a:lnTo>
                      <a:pt x="2002172" y="10816513"/>
                    </a:lnTo>
                    <a:lnTo>
                      <a:pt x="2023942" y="10804265"/>
                    </a:lnTo>
                    <a:lnTo>
                      <a:pt x="2052755" y="10784448"/>
                    </a:lnTo>
                    <a:lnTo>
                      <a:pt x="2068450" y="10764762"/>
                    </a:lnTo>
                    <a:lnTo>
                      <a:pt x="2082801" y="10726796"/>
                    </a:lnTo>
                    <a:lnTo>
                      <a:pt x="2074267" y="10690009"/>
                    </a:lnTo>
                    <a:lnTo>
                      <a:pt x="2052867" y="10651428"/>
                    </a:lnTo>
                    <a:lnTo>
                      <a:pt x="2037541" y="10631525"/>
                    </a:lnTo>
                    <a:lnTo>
                      <a:pt x="2022214" y="10611615"/>
                    </a:lnTo>
                    <a:lnTo>
                      <a:pt x="2004764" y="10590616"/>
                    </a:lnTo>
                    <a:lnTo>
                      <a:pt x="1988573" y="10568953"/>
                    </a:lnTo>
                    <a:lnTo>
                      <a:pt x="1982618" y="10522003"/>
                    </a:lnTo>
                    <a:lnTo>
                      <a:pt x="1996739" y="10498222"/>
                    </a:lnTo>
                    <a:lnTo>
                      <a:pt x="2034831" y="10496864"/>
                    </a:lnTo>
                    <a:lnTo>
                      <a:pt x="2064784" y="10512342"/>
                    </a:lnTo>
                    <a:lnTo>
                      <a:pt x="2083863" y="10532370"/>
                    </a:lnTo>
                    <a:lnTo>
                      <a:pt x="2096038" y="10555353"/>
                    </a:lnTo>
                    <a:lnTo>
                      <a:pt x="2108205" y="10578336"/>
                    </a:lnTo>
                    <a:lnTo>
                      <a:pt x="2113429" y="10604420"/>
                    </a:lnTo>
                    <a:lnTo>
                      <a:pt x="2116435" y="10628808"/>
                    </a:lnTo>
                    <a:lnTo>
                      <a:pt x="2119449" y="10653189"/>
                    </a:lnTo>
                    <a:lnTo>
                      <a:pt x="2120768" y="10675771"/>
                    </a:lnTo>
                    <a:lnTo>
                      <a:pt x="2125721" y="10715142"/>
                    </a:lnTo>
                    <a:lnTo>
                      <a:pt x="2140922" y="10740341"/>
                    </a:lnTo>
                    <a:lnTo>
                      <a:pt x="2173904" y="10741488"/>
                    </a:lnTo>
                    <a:lnTo>
                      <a:pt x="2197711" y="10728318"/>
                    </a:lnTo>
                    <a:lnTo>
                      <a:pt x="2213012" y="10704978"/>
                    </a:lnTo>
                    <a:lnTo>
                      <a:pt x="2227276" y="10679391"/>
                    </a:lnTo>
                    <a:lnTo>
                      <a:pt x="2234149" y="10645222"/>
                    </a:lnTo>
                    <a:lnTo>
                      <a:pt x="2238857" y="10617926"/>
                    </a:lnTo>
                    <a:lnTo>
                      <a:pt x="2238263" y="10591658"/>
                    </a:lnTo>
                    <a:lnTo>
                      <a:pt x="2234820" y="10565641"/>
                    </a:lnTo>
                    <a:lnTo>
                      <a:pt x="2230732" y="10537514"/>
                    </a:lnTo>
                    <a:lnTo>
                      <a:pt x="2228748" y="10507290"/>
                    </a:lnTo>
                    <a:lnTo>
                      <a:pt x="2230144" y="10477679"/>
                    </a:lnTo>
                    <a:lnTo>
                      <a:pt x="2237728" y="10451405"/>
                    </a:lnTo>
                    <a:lnTo>
                      <a:pt x="2252845" y="10428468"/>
                    </a:lnTo>
                    <a:lnTo>
                      <a:pt x="2275537" y="10416373"/>
                    </a:lnTo>
                    <a:lnTo>
                      <a:pt x="2297314" y="10412364"/>
                    </a:lnTo>
                    <a:lnTo>
                      <a:pt x="2319117" y="10415258"/>
                    </a:lnTo>
                    <a:lnTo>
                      <a:pt x="2344579" y="10424591"/>
                    </a:lnTo>
                    <a:lnTo>
                      <a:pt x="2365090" y="10440847"/>
                    </a:lnTo>
                    <a:lnTo>
                      <a:pt x="2376881" y="10459886"/>
                    </a:lnTo>
                    <a:lnTo>
                      <a:pt x="2378966" y="10483265"/>
                    </a:lnTo>
                    <a:lnTo>
                      <a:pt x="2373083" y="10507093"/>
                    </a:lnTo>
                    <a:lnTo>
                      <a:pt x="2363718" y="10532944"/>
                    </a:lnTo>
                    <a:lnTo>
                      <a:pt x="2354486" y="10556713"/>
                    </a:lnTo>
                    <a:lnTo>
                      <a:pt x="2347804" y="10578502"/>
                    </a:lnTo>
                    <a:lnTo>
                      <a:pt x="2350404" y="10602963"/>
                    </a:lnTo>
                    <a:lnTo>
                      <a:pt x="2360625" y="10622424"/>
                    </a:lnTo>
                    <a:lnTo>
                      <a:pt x="2374488" y="10644839"/>
                    </a:lnTo>
                    <a:lnTo>
                      <a:pt x="2387130" y="10662812"/>
                    </a:lnTo>
                    <a:lnTo>
                      <a:pt x="2399607" y="10680775"/>
                    </a:lnTo>
                    <a:lnTo>
                      <a:pt x="2412732" y="10699248"/>
                    </a:lnTo>
                    <a:lnTo>
                      <a:pt x="2425209" y="10717213"/>
                    </a:lnTo>
                    <a:lnTo>
                      <a:pt x="2444255" y="10740341"/>
                    </a:lnTo>
                    <a:lnTo>
                      <a:pt x="2459219" y="10758022"/>
                    </a:lnTo>
                    <a:lnTo>
                      <a:pt x="2479849" y="10772326"/>
                    </a:lnTo>
                    <a:lnTo>
                      <a:pt x="2500021" y="10779785"/>
                    </a:lnTo>
                    <a:lnTo>
                      <a:pt x="2528591" y="10786584"/>
                    </a:lnTo>
                    <a:lnTo>
                      <a:pt x="2557154" y="10789308"/>
                    </a:lnTo>
                    <a:lnTo>
                      <a:pt x="2584357" y="10785232"/>
                    </a:lnTo>
                    <a:lnTo>
                      <a:pt x="2608838" y="10777075"/>
                    </a:lnTo>
                    <a:lnTo>
                      <a:pt x="2631966" y="10762111"/>
                    </a:lnTo>
                    <a:lnTo>
                      <a:pt x="2652364" y="10743064"/>
                    </a:lnTo>
                    <a:lnTo>
                      <a:pt x="2670045" y="10717226"/>
                    </a:lnTo>
                    <a:lnTo>
                      <a:pt x="2683796" y="10691638"/>
                    </a:lnTo>
                    <a:lnTo>
                      <a:pt x="2696649" y="10663120"/>
                    </a:lnTo>
                    <a:lnTo>
                      <a:pt x="2712213" y="10636972"/>
                    </a:lnTo>
                    <a:lnTo>
                      <a:pt x="2727776" y="10610823"/>
                    </a:lnTo>
                    <a:lnTo>
                      <a:pt x="2746071" y="10586350"/>
                    </a:lnTo>
                    <a:lnTo>
                      <a:pt x="2769344" y="10567601"/>
                    </a:lnTo>
                    <a:lnTo>
                      <a:pt x="2801555" y="10557339"/>
                    </a:lnTo>
                    <a:lnTo>
                      <a:pt x="2834633" y="10566243"/>
                    </a:lnTo>
                    <a:lnTo>
                      <a:pt x="2864389" y="10579781"/>
                    </a:lnTo>
                    <a:lnTo>
                      <a:pt x="2890400" y="10577124"/>
                    </a:lnTo>
                    <a:lnTo>
                      <a:pt x="2935629" y="10547137"/>
                    </a:lnTo>
                    <a:lnTo>
                      <a:pt x="2972428" y="10547433"/>
                    </a:lnTo>
                    <a:lnTo>
                      <a:pt x="2984781" y="10567950"/>
                    </a:lnTo>
                    <a:lnTo>
                      <a:pt x="2996499" y="10590730"/>
                    </a:lnTo>
                    <a:lnTo>
                      <a:pt x="3008212" y="10613502"/>
                    </a:lnTo>
                    <a:lnTo>
                      <a:pt x="3020471" y="10638258"/>
                    </a:lnTo>
                    <a:lnTo>
                      <a:pt x="3041385" y="10647853"/>
                    </a:lnTo>
                    <a:lnTo>
                      <a:pt x="3062732" y="10657654"/>
                    </a:lnTo>
                    <a:lnTo>
                      <a:pt x="3086460" y="10654377"/>
                    </a:lnTo>
                    <a:lnTo>
                      <a:pt x="3110750" y="10649213"/>
                    </a:lnTo>
                    <a:lnTo>
                      <a:pt x="3135044" y="10644049"/>
                    </a:lnTo>
                    <a:lnTo>
                      <a:pt x="3159261" y="10637579"/>
                    </a:lnTo>
                    <a:lnTo>
                      <a:pt x="3182844" y="10639689"/>
                    </a:lnTo>
                    <a:lnTo>
                      <a:pt x="3227795" y="10659673"/>
                    </a:lnTo>
                    <a:lnTo>
                      <a:pt x="3282521" y="10663919"/>
                    </a:lnTo>
                    <a:lnTo>
                      <a:pt x="3333420" y="10669829"/>
                    </a:lnTo>
                    <a:lnTo>
                      <a:pt x="3382789" y="10670976"/>
                    </a:lnTo>
                    <a:lnTo>
                      <a:pt x="3406406" y="10671503"/>
                    </a:lnTo>
                    <a:lnTo>
                      <a:pt x="3438562" y="10653295"/>
                    </a:lnTo>
                    <a:lnTo>
                      <a:pt x="3463365" y="10627107"/>
                    </a:lnTo>
                    <a:lnTo>
                      <a:pt x="3484482" y="10595148"/>
                    </a:lnTo>
                    <a:lnTo>
                      <a:pt x="3507935" y="10564883"/>
                    </a:lnTo>
                    <a:lnTo>
                      <a:pt x="3537381" y="10541464"/>
                    </a:lnTo>
                    <a:lnTo>
                      <a:pt x="3559618" y="10537680"/>
                    </a:lnTo>
                    <a:lnTo>
                      <a:pt x="3586663" y="10533069"/>
                    </a:lnTo>
                    <a:lnTo>
                      <a:pt x="3615384" y="10544478"/>
                    </a:lnTo>
                    <a:lnTo>
                      <a:pt x="3639297" y="10565457"/>
                    </a:lnTo>
                    <a:lnTo>
                      <a:pt x="3658911" y="10579840"/>
                    </a:lnTo>
                    <a:lnTo>
                      <a:pt x="3689544" y="10602302"/>
                    </a:lnTo>
                    <a:lnTo>
                      <a:pt x="3718700" y="10614339"/>
                    </a:lnTo>
                    <a:lnTo>
                      <a:pt x="3754129" y="10627450"/>
                    </a:lnTo>
                    <a:lnTo>
                      <a:pt x="3799356" y="10642176"/>
                    </a:lnTo>
                    <a:lnTo>
                      <a:pt x="3820776" y="10639689"/>
                    </a:lnTo>
                    <a:lnTo>
                      <a:pt x="3846971" y="10627304"/>
                    </a:lnTo>
                    <a:lnTo>
                      <a:pt x="3876193" y="10608555"/>
                    </a:lnTo>
                    <a:lnTo>
                      <a:pt x="3896948" y="10586646"/>
                    </a:lnTo>
                    <a:lnTo>
                      <a:pt x="3912980" y="10540911"/>
                    </a:lnTo>
                    <a:lnTo>
                      <a:pt x="3918235" y="10506156"/>
                    </a:lnTo>
                    <a:lnTo>
                      <a:pt x="3907830" y="10481907"/>
                    </a:lnTo>
                    <a:lnTo>
                      <a:pt x="3893610" y="10459649"/>
                    </a:lnTo>
                    <a:lnTo>
                      <a:pt x="3864916" y="10447039"/>
                    </a:lnTo>
                    <a:lnTo>
                      <a:pt x="3820776" y="10443821"/>
                    </a:lnTo>
                    <a:lnTo>
                      <a:pt x="3804236" y="10424102"/>
                    </a:lnTo>
                    <a:lnTo>
                      <a:pt x="3796508" y="10400980"/>
                    </a:lnTo>
                    <a:lnTo>
                      <a:pt x="3804447" y="10378532"/>
                    </a:lnTo>
                    <a:lnTo>
                      <a:pt x="3830168" y="10356029"/>
                    </a:lnTo>
                    <a:lnTo>
                      <a:pt x="3860340" y="10341191"/>
                    </a:lnTo>
                    <a:lnTo>
                      <a:pt x="3892865" y="10333646"/>
                    </a:lnTo>
                    <a:lnTo>
                      <a:pt x="3930389" y="10333317"/>
                    </a:lnTo>
                    <a:lnTo>
                      <a:pt x="3961426" y="10342160"/>
                    </a:lnTo>
                    <a:lnTo>
                      <a:pt x="3986718" y="10358127"/>
                    </a:lnTo>
                    <a:lnTo>
                      <a:pt x="4010842" y="10375775"/>
                    </a:lnTo>
                    <a:lnTo>
                      <a:pt x="4029776" y="10400862"/>
                    </a:lnTo>
                    <a:lnTo>
                      <a:pt x="4047925" y="10422058"/>
                    </a:lnTo>
                    <a:lnTo>
                      <a:pt x="4066074" y="10443253"/>
                    </a:lnTo>
                    <a:lnTo>
                      <a:pt x="4083788" y="10460855"/>
                    </a:lnTo>
                    <a:lnTo>
                      <a:pt x="4106414" y="10466943"/>
                    </a:lnTo>
                    <a:lnTo>
                      <a:pt x="4130111" y="10469818"/>
                    </a:lnTo>
                    <a:lnTo>
                      <a:pt x="4158890" y="10461350"/>
                    </a:lnTo>
                    <a:lnTo>
                      <a:pt x="4194826" y="10439739"/>
                    </a:lnTo>
                    <a:lnTo>
                      <a:pt x="4207937" y="10416095"/>
                    </a:lnTo>
                    <a:lnTo>
                      <a:pt x="4213602" y="10387468"/>
                    </a:lnTo>
                    <a:lnTo>
                      <a:pt x="4224754" y="10363568"/>
                    </a:lnTo>
                    <a:lnTo>
                      <a:pt x="4237079" y="10341218"/>
                    </a:lnTo>
                    <a:lnTo>
                      <a:pt x="4255948" y="10323352"/>
                    </a:lnTo>
                    <a:lnTo>
                      <a:pt x="4284602" y="10311883"/>
                    </a:lnTo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58" name="Vinnytsia¬0" descr="Vinnytsia¬0">
                <a:extLst>
                  <a:ext uri="{FF2B5EF4-FFF2-40B4-BE49-F238E27FC236}">
                    <a16:creationId xmlns:a16="http://schemas.microsoft.com/office/drawing/2014/main" id="{55226AE1-3F4E-4B53-ACE2-5CAD4C16EDE2}"/>
                  </a:ext>
                </a:extLst>
              </p:cNvPr>
              <p:cNvSpPr/>
              <p:nvPr/>
            </p:nvSpPr>
            <p:spPr>
              <a:xfrm>
                <a:off x="18292232" y="13124582"/>
                <a:ext cx="9483300" cy="9842102"/>
              </a:xfrm>
              <a:custGeom>
                <a:avLst/>
                <a:gdLst/>
                <a:ahLst/>
                <a:cxnLst/>
                <a:rect l="0" t="0" r="0" b="0"/>
                <a:pathLst>
                  <a:path w="9483300" h="9842096">
                    <a:moveTo>
                      <a:pt x="7272498" y="1213760"/>
                    </a:moveTo>
                    <a:lnTo>
                      <a:pt x="7244529" y="1209664"/>
                    </a:lnTo>
                    <a:lnTo>
                      <a:pt x="7211580" y="1208245"/>
                    </a:lnTo>
                    <a:lnTo>
                      <a:pt x="7188504" y="1209585"/>
                    </a:lnTo>
                    <a:lnTo>
                      <a:pt x="7139630" y="1239512"/>
                    </a:lnTo>
                    <a:lnTo>
                      <a:pt x="7122905" y="1271465"/>
                    </a:lnTo>
                    <a:lnTo>
                      <a:pt x="7101610" y="1303047"/>
                    </a:lnTo>
                    <a:lnTo>
                      <a:pt x="7078996" y="1333819"/>
                    </a:lnTo>
                    <a:lnTo>
                      <a:pt x="7062160" y="1349297"/>
                    </a:lnTo>
                    <a:lnTo>
                      <a:pt x="7045330" y="1364769"/>
                    </a:lnTo>
                    <a:lnTo>
                      <a:pt x="7023211" y="1379898"/>
                    </a:lnTo>
                    <a:lnTo>
                      <a:pt x="6992795" y="1394183"/>
                    </a:lnTo>
                    <a:lnTo>
                      <a:pt x="6962551" y="1403019"/>
                    </a:lnTo>
                    <a:lnTo>
                      <a:pt x="6933263" y="1398944"/>
                    </a:lnTo>
                    <a:lnTo>
                      <a:pt x="6905742" y="1387383"/>
                    </a:lnTo>
                    <a:lnTo>
                      <a:pt x="6878281" y="1375275"/>
                    </a:lnTo>
                    <a:lnTo>
                      <a:pt x="6852449" y="1360912"/>
                    </a:lnTo>
                    <a:lnTo>
                      <a:pt x="6829571" y="1364254"/>
                    </a:lnTo>
                    <a:lnTo>
                      <a:pt x="6806864" y="1367578"/>
                    </a:lnTo>
                    <a:lnTo>
                      <a:pt x="6782728" y="1374682"/>
                    </a:lnTo>
                    <a:lnTo>
                      <a:pt x="6758841" y="1383301"/>
                    </a:lnTo>
                    <a:lnTo>
                      <a:pt x="6734954" y="1391921"/>
                    </a:lnTo>
                    <a:lnTo>
                      <a:pt x="6711766" y="1401629"/>
                    </a:lnTo>
                    <a:lnTo>
                      <a:pt x="6690828" y="1410504"/>
                    </a:lnTo>
                    <a:lnTo>
                      <a:pt x="6669776" y="1435625"/>
                    </a:lnTo>
                    <a:lnTo>
                      <a:pt x="6664849" y="1462011"/>
                    </a:lnTo>
                    <a:lnTo>
                      <a:pt x="6663623" y="1489392"/>
                    </a:lnTo>
                    <a:lnTo>
                      <a:pt x="6662397" y="1516781"/>
                    </a:lnTo>
                    <a:lnTo>
                      <a:pt x="6664732" y="1544863"/>
                    </a:lnTo>
                    <a:lnTo>
                      <a:pt x="6659547" y="1573728"/>
                    </a:lnTo>
                    <a:lnTo>
                      <a:pt x="6576069" y="1556661"/>
                    </a:lnTo>
                    <a:lnTo>
                      <a:pt x="6550732" y="1554683"/>
                    </a:lnTo>
                    <a:lnTo>
                      <a:pt x="6514578" y="1551860"/>
                    </a:lnTo>
                    <a:lnTo>
                      <a:pt x="6481427" y="1561422"/>
                    </a:lnTo>
                    <a:lnTo>
                      <a:pt x="6445998" y="1564205"/>
                    </a:lnTo>
                    <a:lnTo>
                      <a:pt x="6404344" y="1567502"/>
                    </a:lnTo>
                    <a:lnTo>
                      <a:pt x="6362474" y="1566013"/>
                    </a:lnTo>
                    <a:lnTo>
                      <a:pt x="6320860" y="1569646"/>
                    </a:lnTo>
                    <a:lnTo>
                      <a:pt x="6272084" y="1573900"/>
                    </a:lnTo>
                    <a:lnTo>
                      <a:pt x="6226921" y="1584887"/>
                    </a:lnTo>
                    <a:lnTo>
                      <a:pt x="6176682" y="1583252"/>
                    </a:lnTo>
                    <a:lnTo>
                      <a:pt x="6144480" y="1582190"/>
                    </a:lnTo>
                    <a:lnTo>
                      <a:pt x="6117255" y="1569073"/>
                    </a:lnTo>
                    <a:lnTo>
                      <a:pt x="6086905" y="1562847"/>
                    </a:lnTo>
                    <a:lnTo>
                      <a:pt x="6025613" y="1550303"/>
                    </a:lnTo>
                    <a:lnTo>
                      <a:pt x="5965717" y="1541400"/>
                    </a:lnTo>
                    <a:lnTo>
                      <a:pt x="5904642" y="1526120"/>
                    </a:lnTo>
                    <a:lnTo>
                      <a:pt x="5850082" y="1550964"/>
                    </a:lnTo>
                    <a:lnTo>
                      <a:pt x="5805290" y="1560816"/>
                    </a:lnTo>
                    <a:lnTo>
                      <a:pt x="5760590" y="1557287"/>
                    </a:lnTo>
                    <a:lnTo>
                      <a:pt x="5721014" y="1542442"/>
                    </a:lnTo>
                    <a:lnTo>
                      <a:pt x="5701223" y="1535016"/>
                    </a:lnTo>
                    <a:lnTo>
                      <a:pt x="5682123" y="1524986"/>
                    </a:lnTo>
                    <a:lnTo>
                      <a:pt x="5651082" y="1500057"/>
                    </a:lnTo>
                    <a:lnTo>
                      <a:pt x="5631237" y="1467629"/>
                    </a:lnTo>
                    <a:lnTo>
                      <a:pt x="5647402" y="1437946"/>
                    </a:lnTo>
                    <a:lnTo>
                      <a:pt x="5663883" y="1420028"/>
                    </a:lnTo>
                    <a:lnTo>
                      <a:pt x="5680362" y="1402103"/>
                    </a:lnTo>
                    <a:lnTo>
                      <a:pt x="5698459" y="1383056"/>
                    </a:lnTo>
                    <a:lnTo>
                      <a:pt x="5711036" y="1345097"/>
                    </a:lnTo>
                    <a:lnTo>
                      <a:pt x="5687334" y="1319225"/>
                    </a:lnTo>
                    <a:lnTo>
                      <a:pt x="5665241" y="1286726"/>
                    </a:lnTo>
                    <a:lnTo>
                      <a:pt x="5643958" y="1252505"/>
                    </a:lnTo>
                    <a:lnTo>
                      <a:pt x="5638036" y="1232317"/>
                    </a:lnTo>
                    <a:lnTo>
                      <a:pt x="5632120" y="1212130"/>
                    </a:lnTo>
                    <a:lnTo>
                      <a:pt x="5630894" y="1190426"/>
                    </a:lnTo>
                    <a:lnTo>
                      <a:pt x="5638036" y="1165670"/>
                    </a:lnTo>
                    <a:lnTo>
                      <a:pt x="5616279" y="1144110"/>
                    </a:lnTo>
                    <a:lnTo>
                      <a:pt x="5594247" y="1137291"/>
                    </a:lnTo>
                    <a:lnTo>
                      <a:pt x="5574113" y="1128942"/>
                    </a:lnTo>
                    <a:lnTo>
                      <a:pt x="5553978" y="1120593"/>
                    </a:lnTo>
                    <a:lnTo>
                      <a:pt x="5527862" y="1096297"/>
                    </a:lnTo>
                    <a:lnTo>
                      <a:pt x="5530454" y="1049520"/>
                    </a:lnTo>
                    <a:lnTo>
                      <a:pt x="5550990" y="1017409"/>
                    </a:lnTo>
                    <a:lnTo>
                      <a:pt x="5571521" y="985299"/>
                    </a:lnTo>
                    <a:lnTo>
                      <a:pt x="5602041" y="949106"/>
                    </a:lnTo>
                    <a:lnTo>
                      <a:pt x="5632602" y="914034"/>
                    </a:lnTo>
                    <a:lnTo>
                      <a:pt x="5663157" y="878955"/>
                    </a:lnTo>
                    <a:lnTo>
                      <a:pt x="5694568" y="844227"/>
                    </a:lnTo>
                    <a:lnTo>
                      <a:pt x="5716932" y="816100"/>
                    </a:lnTo>
                    <a:lnTo>
                      <a:pt x="5739295" y="787965"/>
                    </a:lnTo>
                    <a:lnTo>
                      <a:pt x="5752266" y="766164"/>
                    </a:lnTo>
                    <a:lnTo>
                      <a:pt x="5724687" y="742125"/>
                    </a:lnTo>
                    <a:lnTo>
                      <a:pt x="5699296" y="732549"/>
                    </a:lnTo>
                    <a:lnTo>
                      <a:pt x="5674764" y="720883"/>
                    </a:lnTo>
                    <a:lnTo>
                      <a:pt x="5650231" y="709217"/>
                    </a:lnTo>
                    <a:lnTo>
                      <a:pt x="5627221" y="695334"/>
                    </a:lnTo>
                    <a:lnTo>
                      <a:pt x="5606757" y="677357"/>
                    </a:lnTo>
                    <a:lnTo>
                      <a:pt x="5567920" y="624281"/>
                    </a:lnTo>
                    <a:lnTo>
                      <a:pt x="5546908" y="582145"/>
                    </a:lnTo>
                    <a:lnTo>
                      <a:pt x="5525890" y="540004"/>
                    </a:lnTo>
                    <a:lnTo>
                      <a:pt x="5507286" y="495844"/>
                    </a:lnTo>
                    <a:lnTo>
                      <a:pt x="5495118" y="453242"/>
                    </a:lnTo>
                    <a:lnTo>
                      <a:pt x="5508374" y="428082"/>
                    </a:lnTo>
                    <a:lnTo>
                      <a:pt x="5506092" y="403958"/>
                    </a:lnTo>
                    <a:lnTo>
                      <a:pt x="5503672" y="378600"/>
                    </a:lnTo>
                    <a:lnTo>
                      <a:pt x="5481822" y="342704"/>
                    </a:lnTo>
                    <a:lnTo>
                      <a:pt x="5484335" y="319622"/>
                    </a:lnTo>
                    <a:lnTo>
                      <a:pt x="5487726" y="288554"/>
                    </a:lnTo>
                    <a:lnTo>
                      <a:pt x="5527243" y="227043"/>
                    </a:lnTo>
                    <a:lnTo>
                      <a:pt x="5508585" y="193937"/>
                    </a:lnTo>
                    <a:lnTo>
                      <a:pt x="5483967" y="179553"/>
                    </a:lnTo>
                    <a:lnTo>
                      <a:pt x="5457125" y="168645"/>
                    </a:lnTo>
                    <a:lnTo>
                      <a:pt x="5430291" y="157737"/>
                    </a:lnTo>
                    <a:lnTo>
                      <a:pt x="5401702" y="149177"/>
                    </a:lnTo>
                    <a:lnTo>
                      <a:pt x="5379596" y="145516"/>
                    </a:lnTo>
                    <a:lnTo>
                      <a:pt x="5409286" y="71792"/>
                    </a:lnTo>
                    <a:lnTo>
                      <a:pt x="5402723" y="47583"/>
                    </a:lnTo>
                    <a:lnTo>
                      <a:pt x="5367949" y="35962"/>
                    </a:lnTo>
                    <a:lnTo>
                      <a:pt x="5109000" y="0"/>
                    </a:lnTo>
                    <a:lnTo>
                      <a:pt x="5091141" y="24111"/>
                    </a:lnTo>
                    <a:lnTo>
                      <a:pt x="5086003" y="49145"/>
                    </a:lnTo>
                    <a:lnTo>
                      <a:pt x="5080352" y="73428"/>
                    </a:lnTo>
                    <a:lnTo>
                      <a:pt x="5074706" y="97710"/>
                    </a:lnTo>
                    <a:lnTo>
                      <a:pt x="5068269" y="121597"/>
                    </a:lnTo>
                    <a:lnTo>
                      <a:pt x="5051790" y="138717"/>
                    </a:lnTo>
                    <a:lnTo>
                      <a:pt x="5023953" y="167636"/>
                    </a:lnTo>
                    <a:lnTo>
                      <a:pt x="4983836" y="181221"/>
                    </a:lnTo>
                    <a:lnTo>
                      <a:pt x="4945691" y="194484"/>
                    </a:lnTo>
                    <a:lnTo>
                      <a:pt x="4907552" y="207753"/>
                    </a:lnTo>
                    <a:lnTo>
                      <a:pt x="4870765" y="221253"/>
                    </a:lnTo>
                    <a:lnTo>
                      <a:pt x="4847763" y="250257"/>
                    </a:lnTo>
                    <a:lnTo>
                      <a:pt x="4828439" y="274612"/>
                    </a:lnTo>
                    <a:lnTo>
                      <a:pt x="4810970" y="319965"/>
                    </a:lnTo>
                    <a:lnTo>
                      <a:pt x="4796072" y="348191"/>
                    </a:lnTo>
                    <a:lnTo>
                      <a:pt x="4781642" y="375560"/>
                    </a:lnTo>
                    <a:lnTo>
                      <a:pt x="4780112" y="414608"/>
                    </a:lnTo>
                    <a:lnTo>
                      <a:pt x="4762068" y="442044"/>
                    </a:lnTo>
                    <a:lnTo>
                      <a:pt x="4746385" y="465877"/>
                    </a:lnTo>
                    <a:lnTo>
                      <a:pt x="4721398" y="477036"/>
                    </a:lnTo>
                    <a:lnTo>
                      <a:pt x="4692697" y="480128"/>
                    </a:lnTo>
                    <a:lnTo>
                      <a:pt x="4663996" y="483221"/>
                    </a:lnTo>
                    <a:lnTo>
                      <a:pt x="4631595" y="478474"/>
                    </a:lnTo>
                    <a:lnTo>
                      <a:pt x="4597480" y="470607"/>
                    </a:lnTo>
                    <a:lnTo>
                      <a:pt x="4529256" y="454883"/>
                    </a:lnTo>
                    <a:lnTo>
                      <a:pt x="4456705" y="427898"/>
                    </a:lnTo>
                    <a:lnTo>
                      <a:pt x="4412492" y="427079"/>
                    </a:lnTo>
                    <a:lnTo>
                      <a:pt x="4389753" y="433285"/>
                    </a:lnTo>
                    <a:lnTo>
                      <a:pt x="4327246" y="479832"/>
                    </a:lnTo>
                    <a:lnTo>
                      <a:pt x="4285996" y="491010"/>
                    </a:lnTo>
                    <a:lnTo>
                      <a:pt x="4194867" y="515491"/>
                    </a:lnTo>
                    <a:lnTo>
                      <a:pt x="4188233" y="488888"/>
                    </a:lnTo>
                    <a:lnTo>
                      <a:pt x="4146797" y="444160"/>
                    </a:lnTo>
                    <a:lnTo>
                      <a:pt x="4126854" y="427079"/>
                    </a:lnTo>
                    <a:lnTo>
                      <a:pt x="4095983" y="400640"/>
                    </a:lnTo>
                    <a:lnTo>
                      <a:pt x="4071636" y="390122"/>
                    </a:lnTo>
                    <a:lnTo>
                      <a:pt x="4049324" y="387635"/>
                    </a:lnTo>
                    <a:lnTo>
                      <a:pt x="4027014" y="385150"/>
                    </a:lnTo>
                    <a:lnTo>
                      <a:pt x="4007123" y="391751"/>
                    </a:lnTo>
                    <a:lnTo>
                      <a:pt x="3971828" y="410723"/>
                    </a:lnTo>
                    <a:lnTo>
                      <a:pt x="3939151" y="432520"/>
                    </a:lnTo>
                    <a:lnTo>
                      <a:pt x="3904778" y="448631"/>
                    </a:lnTo>
                    <a:lnTo>
                      <a:pt x="3857367" y="442703"/>
                    </a:lnTo>
                    <a:lnTo>
                      <a:pt x="3823502" y="422330"/>
                    </a:lnTo>
                    <a:lnTo>
                      <a:pt x="3789524" y="406676"/>
                    </a:lnTo>
                    <a:lnTo>
                      <a:pt x="3755384" y="392667"/>
                    </a:lnTo>
                    <a:lnTo>
                      <a:pt x="3723015" y="385320"/>
                    </a:lnTo>
                    <a:lnTo>
                      <a:pt x="3694308" y="390353"/>
                    </a:lnTo>
                    <a:lnTo>
                      <a:pt x="3670519" y="409286"/>
                    </a:lnTo>
                    <a:lnTo>
                      <a:pt x="3658946" y="428439"/>
                    </a:lnTo>
                    <a:lnTo>
                      <a:pt x="3647372" y="447589"/>
                    </a:lnTo>
                    <a:lnTo>
                      <a:pt x="3634538" y="471245"/>
                    </a:lnTo>
                    <a:lnTo>
                      <a:pt x="3620860" y="495086"/>
                    </a:lnTo>
                    <a:lnTo>
                      <a:pt x="3607182" y="518934"/>
                    </a:lnTo>
                    <a:lnTo>
                      <a:pt x="3592001" y="542873"/>
                    </a:lnTo>
                    <a:lnTo>
                      <a:pt x="3573252" y="561741"/>
                    </a:lnTo>
                    <a:lnTo>
                      <a:pt x="3554509" y="580609"/>
                    </a:lnTo>
                    <a:lnTo>
                      <a:pt x="3532027" y="594233"/>
                    </a:lnTo>
                    <a:lnTo>
                      <a:pt x="3505245" y="598461"/>
                    </a:lnTo>
                    <a:lnTo>
                      <a:pt x="3475463" y="603163"/>
                    </a:lnTo>
                    <a:lnTo>
                      <a:pt x="3449254" y="600836"/>
                    </a:lnTo>
                    <a:lnTo>
                      <a:pt x="3423633" y="594385"/>
                    </a:lnTo>
                    <a:lnTo>
                      <a:pt x="3398012" y="587930"/>
                    </a:lnTo>
                    <a:lnTo>
                      <a:pt x="3373703" y="578195"/>
                    </a:lnTo>
                    <a:lnTo>
                      <a:pt x="3350179" y="565822"/>
                    </a:lnTo>
                    <a:lnTo>
                      <a:pt x="3303131" y="541086"/>
                    </a:lnTo>
                    <a:lnTo>
                      <a:pt x="3258417" y="509384"/>
                    </a:lnTo>
                    <a:lnTo>
                      <a:pt x="3207360" y="492376"/>
                    </a:lnTo>
                    <a:lnTo>
                      <a:pt x="3183947" y="484573"/>
                    </a:lnTo>
                    <a:lnTo>
                      <a:pt x="3162462" y="489579"/>
                    </a:lnTo>
                    <a:lnTo>
                      <a:pt x="3142071" y="499175"/>
                    </a:lnTo>
                    <a:lnTo>
                      <a:pt x="3121678" y="508770"/>
                    </a:lnTo>
                    <a:lnTo>
                      <a:pt x="3101855" y="523089"/>
                    </a:lnTo>
                    <a:lnTo>
                      <a:pt x="3082222" y="530462"/>
                    </a:lnTo>
                    <a:lnTo>
                      <a:pt x="3049979" y="542563"/>
                    </a:lnTo>
                    <a:lnTo>
                      <a:pt x="3018060" y="542892"/>
                    </a:lnTo>
                    <a:lnTo>
                      <a:pt x="2985646" y="546783"/>
                    </a:lnTo>
                    <a:lnTo>
                      <a:pt x="2931897" y="553240"/>
                    </a:lnTo>
                    <a:lnTo>
                      <a:pt x="2871264" y="565974"/>
                    </a:lnTo>
                    <a:lnTo>
                      <a:pt x="2816980" y="559024"/>
                    </a:lnTo>
                    <a:lnTo>
                      <a:pt x="2794413" y="556135"/>
                    </a:lnTo>
                    <a:lnTo>
                      <a:pt x="2771562" y="548867"/>
                    </a:lnTo>
                    <a:lnTo>
                      <a:pt x="2748974" y="546783"/>
                    </a:lnTo>
                    <a:lnTo>
                      <a:pt x="2728049" y="544852"/>
                    </a:lnTo>
                    <a:lnTo>
                      <a:pt x="2696538" y="550048"/>
                    </a:lnTo>
                    <a:lnTo>
                      <a:pt x="2664639" y="557659"/>
                    </a:lnTo>
                    <a:lnTo>
                      <a:pt x="2632745" y="565269"/>
                    </a:lnTo>
                    <a:lnTo>
                      <a:pt x="2601169" y="574371"/>
                    </a:lnTo>
                    <a:lnTo>
                      <a:pt x="2580310" y="579428"/>
                    </a:lnTo>
                    <a:lnTo>
                      <a:pt x="2540438" y="589097"/>
                    </a:lnTo>
                    <a:lnTo>
                      <a:pt x="2481669" y="613886"/>
                    </a:lnTo>
                    <a:lnTo>
                      <a:pt x="2422527" y="632471"/>
                    </a:lnTo>
                    <a:lnTo>
                      <a:pt x="2392955" y="641764"/>
                    </a:lnTo>
                    <a:lnTo>
                      <a:pt x="2362638" y="649123"/>
                    </a:lnTo>
                    <a:lnTo>
                      <a:pt x="2335473" y="652876"/>
                    </a:lnTo>
                    <a:lnTo>
                      <a:pt x="2308309" y="656628"/>
                    </a:lnTo>
                    <a:lnTo>
                      <a:pt x="2283322" y="657130"/>
                    </a:lnTo>
                    <a:lnTo>
                      <a:pt x="2263385" y="650152"/>
                    </a:lnTo>
                    <a:lnTo>
                      <a:pt x="2225807" y="635564"/>
                    </a:lnTo>
                    <a:lnTo>
                      <a:pt x="2186700" y="621213"/>
                    </a:lnTo>
                    <a:lnTo>
                      <a:pt x="2165885" y="614810"/>
                    </a:lnTo>
                    <a:lnTo>
                      <a:pt x="2110740" y="599338"/>
                    </a:lnTo>
                    <a:lnTo>
                      <a:pt x="2039073" y="606513"/>
                    </a:lnTo>
                    <a:lnTo>
                      <a:pt x="1966859" y="618866"/>
                    </a:lnTo>
                    <a:lnTo>
                      <a:pt x="1894645" y="631218"/>
                    </a:lnTo>
                    <a:lnTo>
                      <a:pt x="1822542" y="648265"/>
                    </a:lnTo>
                    <a:lnTo>
                      <a:pt x="1785953" y="655592"/>
                    </a:lnTo>
                    <a:lnTo>
                      <a:pt x="1752880" y="654571"/>
                    </a:lnTo>
                    <a:lnTo>
                      <a:pt x="1736611" y="671461"/>
                    </a:lnTo>
                    <a:lnTo>
                      <a:pt x="1728769" y="717348"/>
                    </a:lnTo>
                    <a:lnTo>
                      <a:pt x="1711346" y="743463"/>
                    </a:lnTo>
                    <a:lnTo>
                      <a:pt x="1669725" y="739243"/>
                    </a:lnTo>
                    <a:lnTo>
                      <a:pt x="1628171" y="737198"/>
                    </a:lnTo>
                    <a:lnTo>
                      <a:pt x="1586787" y="736803"/>
                    </a:lnTo>
                    <a:lnTo>
                      <a:pt x="1552574" y="740291"/>
                    </a:lnTo>
                    <a:lnTo>
                      <a:pt x="1534319" y="752161"/>
                    </a:lnTo>
                    <a:lnTo>
                      <a:pt x="1573222" y="772250"/>
                    </a:lnTo>
                    <a:lnTo>
                      <a:pt x="1598242" y="787524"/>
                    </a:lnTo>
                    <a:lnTo>
                      <a:pt x="1623264" y="802805"/>
                    </a:lnTo>
                    <a:lnTo>
                      <a:pt x="1645384" y="820267"/>
                    </a:lnTo>
                    <a:lnTo>
                      <a:pt x="1646353" y="852602"/>
                    </a:lnTo>
                    <a:lnTo>
                      <a:pt x="1623976" y="879978"/>
                    </a:lnTo>
                    <a:lnTo>
                      <a:pt x="1598242" y="904504"/>
                    </a:lnTo>
                    <a:lnTo>
                      <a:pt x="1572509" y="929024"/>
                    </a:lnTo>
                    <a:lnTo>
                      <a:pt x="1543657" y="950399"/>
                    </a:lnTo>
                    <a:lnTo>
                      <a:pt x="1504081" y="958648"/>
                    </a:lnTo>
                    <a:lnTo>
                      <a:pt x="1482819" y="952272"/>
                    </a:lnTo>
                    <a:lnTo>
                      <a:pt x="1460865" y="945306"/>
                    </a:lnTo>
                    <a:lnTo>
                      <a:pt x="1438903" y="938350"/>
                    </a:lnTo>
                    <a:lnTo>
                      <a:pt x="1416295" y="931358"/>
                    </a:lnTo>
                    <a:lnTo>
                      <a:pt x="1394216" y="931709"/>
                    </a:lnTo>
                    <a:lnTo>
                      <a:pt x="1364685" y="974450"/>
                    </a:lnTo>
                    <a:lnTo>
                      <a:pt x="1347966" y="1010597"/>
                    </a:lnTo>
                    <a:lnTo>
                      <a:pt x="1331254" y="1046743"/>
                    </a:lnTo>
                    <a:lnTo>
                      <a:pt x="1317425" y="1085495"/>
                    </a:lnTo>
                    <a:lnTo>
                      <a:pt x="1342934" y="1122571"/>
                    </a:lnTo>
                    <a:lnTo>
                      <a:pt x="1371880" y="1134456"/>
                    </a:lnTo>
                    <a:lnTo>
                      <a:pt x="1401016" y="1146616"/>
                    </a:lnTo>
                    <a:lnTo>
                      <a:pt x="1430152" y="1158785"/>
                    </a:lnTo>
                    <a:lnTo>
                      <a:pt x="1458972" y="1170945"/>
                    </a:lnTo>
                    <a:lnTo>
                      <a:pt x="1483986" y="1191508"/>
                    </a:lnTo>
                    <a:lnTo>
                      <a:pt x="1511369" y="1214009"/>
                    </a:lnTo>
                    <a:lnTo>
                      <a:pt x="1531087" y="1233379"/>
                    </a:lnTo>
                    <a:lnTo>
                      <a:pt x="1543835" y="1251357"/>
                    </a:lnTo>
                    <a:lnTo>
                      <a:pt x="1556583" y="1269328"/>
                    </a:lnTo>
                    <a:lnTo>
                      <a:pt x="1562880" y="1303041"/>
                    </a:lnTo>
                    <a:lnTo>
                      <a:pt x="1564972" y="1338231"/>
                    </a:lnTo>
                    <a:lnTo>
                      <a:pt x="1547825" y="1376461"/>
                    </a:lnTo>
                    <a:lnTo>
                      <a:pt x="1520714" y="1434979"/>
                    </a:lnTo>
                    <a:lnTo>
                      <a:pt x="1492006" y="1496958"/>
                    </a:lnTo>
                    <a:lnTo>
                      <a:pt x="1464393" y="1556912"/>
                    </a:lnTo>
                    <a:lnTo>
                      <a:pt x="1426861" y="1614524"/>
                    </a:lnTo>
                    <a:lnTo>
                      <a:pt x="1381336" y="1659311"/>
                    </a:lnTo>
                    <a:lnTo>
                      <a:pt x="1386052" y="1694778"/>
                    </a:lnTo>
                    <a:lnTo>
                      <a:pt x="1416382" y="1720702"/>
                    </a:lnTo>
                    <a:lnTo>
                      <a:pt x="1445504" y="1750473"/>
                    </a:lnTo>
                    <a:lnTo>
                      <a:pt x="1458635" y="1766952"/>
                    </a:lnTo>
                    <a:lnTo>
                      <a:pt x="1473402" y="1794777"/>
                    </a:lnTo>
                    <a:lnTo>
                      <a:pt x="1467664" y="1829440"/>
                    </a:lnTo>
                    <a:lnTo>
                      <a:pt x="1451447" y="1864934"/>
                    </a:lnTo>
                    <a:lnTo>
                      <a:pt x="1426755" y="1891879"/>
                    </a:lnTo>
                    <a:lnTo>
                      <a:pt x="1395574" y="1900170"/>
                    </a:lnTo>
                    <a:lnTo>
                      <a:pt x="1362534" y="1889374"/>
                    </a:lnTo>
                    <a:lnTo>
                      <a:pt x="1345249" y="1864802"/>
                    </a:lnTo>
                    <a:lnTo>
                      <a:pt x="1311820" y="1861787"/>
                    </a:lnTo>
                    <a:lnTo>
                      <a:pt x="1279386" y="1865250"/>
                    </a:lnTo>
                    <a:lnTo>
                      <a:pt x="1258197" y="1885205"/>
                    </a:lnTo>
                    <a:lnTo>
                      <a:pt x="1243470" y="1912990"/>
                    </a:lnTo>
                    <a:lnTo>
                      <a:pt x="1230518" y="1964305"/>
                    </a:lnTo>
                    <a:lnTo>
                      <a:pt x="1227932" y="2004271"/>
                    </a:lnTo>
                    <a:lnTo>
                      <a:pt x="1220111" y="2030749"/>
                    </a:lnTo>
                    <a:lnTo>
                      <a:pt x="1260254" y="2073747"/>
                    </a:lnTo>
                    <a:lnTo>
                      <a:pt x="1297641" y="2102837"/>
                    </a:lnTo>
                    <a:lnTo>
                      <a:pt x="1335028" y="2131928"/>
                    </a:lnTo>
                    <a:lnTo>
                      <a:pt x="1375394" y="2160055"/>
                    </a:lnTo>
                    <a:lnTo>
                      <a:pt x="1387417" y="2187173"/>
                    </a:lnTo>
                    <a:lnTo>
                      <a:pt x="1377360" y="2207935"/>
                    </a:lnTo>
                    <a:lnTo>
                      <a:pt x="1332053" y="2219542"/>
                    </a:lnTo>
                    <a:lnTo>
                      <a:pt x="1313964" y="2233417"/>
                    </a:lnTo>
                    <a:lnTo>
                      <a:pt x="1292853" y="2255787"/>
                    </a:lnTo>
                    <a:lnTo>
                      <a:pt x="1283389" y="2281784"/>
                    </a:lnTo>
                    <a:lnTo>
                      <a:pt x="1284041" y="2309587"/>
                    </a:lnTo>
                    <a:lnTo>
                      <a:pt x="1292846" y="2335473"/>
                    </a:lnTo>
                    <a:lnTo>
                      <a:pt x="1310614" y="2357157"/>
                    </a:lnTo>
                    <a:lnTo>
                      <a:pt x="1337091" y="2370802"/>
                    </a:lnTo>
                    <a:lnTo>
                      <a:pt x="1377301" y="2385753"/>
                    </a:lnTo>
                    <a:lnTo>
                      <a:pt x="1422120" y="2386319"/>
                    </a:lnTo>
                    <a:lnTo>
                      <a:pt x="1467671" y="2383042"/>
                    </a:lnTo>
                    <a:lnTo>
                      <a:pt x="1513227" y="2379764"/>
                    </a:lnTo>
                    <a:lnTo>
                      <a:pt x="1560006" y="2373591"/>
                    </a:lnTo>
                    <a:lnTo>
                      <a:pt x="1602332" y="2377602"/>
                    </a:lnTo>
                    <a:lnTo>
                      <a:pt x="1634488" y="2420376"/>
                    </a:lnTo>
                    <a:lnTo>
                      <a:pt x="1649940" y="2463296"/>
                    </a:lnTo>
                    <a:lnTo>
                      <a:pt x="1665392" y="2506208"/>
                    </a:lnTo>
                    <a:lnTo>
                      <a:pt x="1676484" y="2550974"/>
                    </a:lnTo>
                    <a:lnTo>
                      <a:pt x="1649261" y="2567415"/>
                    </a:lnTo>
                    <a:lnTo>
                      <a:pt x="1595731" y="2578621"/>
                    </a:lnTo>
                    <a:lnTo>
                      <a:pt x="1556082" y="2599315"/>
                    </a:lnTo>
                    <a:lnTo>
                      <a:pt x="1536263" y="2609662"/>
                    </a:lnTo>
                    <a:lnTo>
                      <a:pt x="1512555" y="2637401"/>
                    </a:lnTo>
                    <a:lnTo>
                      <a:pt x="1506310" y="2672630"/>
                    </a:lnTo>
                    <a:lnTo>
                      <a:pt x="1522078" y="2694527"/>
                    </a:lnTo>
                    <a:lnTo>
                      <a:pt x="1535077" y="2712577"/>
                    </a:lnTo>
                    <a:lnTo>
                      <a:pt x="1557447" y="2746216"/>
                    </a:lnTo>
                    <a:lnTo>
                      <a:pt x="1560191" y="2780531"/>
                    </a:lnTo>
                    <a:lnTo>
                      <a:pt x="1560138" y="2820713"/>
                    </a:lnTo>
                    <a:lnTo>
                      <a:pt x="1572404" y="2849592"/>
                    </a:lnTo>
                    <a:lnTo>
                      <a:pt x="1599608" y="2867273"/>
                    </a:lnTo>
                    <a:lnTo>
                      <a:pt x="1635121" y="2870214"/>
                    </a:lnTo>
                    <a:lnTo>
                      <a:pt x="1671940" y="2878999"/>
                    </a:lnTo>
                    <a:lnTo>
                      <a:pt x="1690742" y="2901277"/>
                    </a:lnTo>
                    <a:lnTo>
                      <a:pt x="1698723" y="2927564"/>
                    </a:lnTo>
                    <a:lnTo>
                      <a:pt x="1695188" y="2975212"/>
                    </a:lnTo>
                    <a:lnTo>
                      <a:pt x="1682856" y="3011496"/>
                    </a:lnTo>
                    <a:lnTo>
                      <a:pt x="1686660" y="3040020"/>
                    </a:lnTo>
                    <a:lnTo>
                      <a:pt x="1689952" y="3064671"/>
                    </a:lnTo>
                    <a:lnTo>
                      <a:pt x="1729000" y="3110131"/>
                    </a:lnTo>
                    <a:lnTo>
                      <a:pt x="1742427" y="3127072"/>
                    </a:lnTo>
                    <a:lnTo>
                      <a:pt x="1776424" y="3169346"/>
                    </a:lnTo>
                    <a:lnTo>
                      <a:pt x="1784754" y="3191623"/>
                    </a:lnTo>
                    <a:lnTo>
                      <a:pt x="1784397" y="3225739"/>
                    </a:lnTo>
                    <a:lnTo>
                      <a:pt x="1765549" y="3249487"/>
                    </a:lnTo>
                    <a:lnTo>
                      <a:pt x="1740113" y="3271481"/>
                    </a:lnTo>
                    <a:lnTo>
                      <a:pt x="1714821" y="3300947"/>
                    </a:lnTo>
                    <a:lnTo>
                      <a:pt x="1703504" y="3319313"/>
                    </a:lnTo>
                    <a:lnTo>
                      <a:pt x="1698901" y="3346062"/>
                    </a:lnTo>
                    <a:lnTo>
                      <a:pt x="1694305" y="3373629"/>
                    </a:lnTo>
                    <a:lnTo>
                      <a:pt x="1703445" y="3418205"/>
                    </a:lnTo>
                    <a:lnTo>
                      <a:pt x="1718165" y="3442441"/>
                    </a:lnTo>
                    <a:lnTo>
                      <a:pt x="1734270" y="3464402"/>
                    </a:lnTo>
                    <a:lnTo>
                      <a:pt x="1750380" y="3486356"/>
                    </a:lnTo>
                    <a:lnTo>
                      <a:pt x="1767555" y="3506438"/>
                    </a:lnTo>
                    <a:lnTo>
                      <a:pt x="1780520" y="3536491"/>
                    </a:lnTo>
                    <a:lnTo>
                      <a:pt x="1791935" y="3562956"/>
                    </a:lnTo>
                    <a:lnTo>
                      <a:pt x="1792818" y="3590529"/>
                    </a:lnTo>
                    <a:lnTo>
                      <a:pt x="1791401" y="3618103"/>
                    </a:lnTo>
                    <a:lnTo>
                      <a:pt x="1789983" y="3645676"/>
                    </a:lnTo>
                    <a:lnTo>
                      <a:pt x="1786805" y="3672946"/>
                    </a:lnTo>
                    <a:lnTo>
                      <a:pt x="1792759" y="3699715"/>
                    </a:lnTo>
                    <a:lnTo>
                      <a:pt x="1806865" y="3738782"/>
                    </a:lnTo>
                    <a:lnTo>
                      <a:pt x="1814522" y="3763646"/>
                    </a:lnTo>
                    <a:lnTo>
                      <a:pt x="1822179" y="3788508"/>
                    </a:lnTo>
                    <a:lnTo>
                      <a:pt x="1826954" y="3812368"/>
                    </a:lnTo>
                    <a:lnTo>
                      <a:pt x="1811093" y="3834950"/>
                    </a:lnTo>
                    <a:lnTo>
                      <a:pt x="1789053" y="3854958"/>
                    </a:lnTo>
                    <a:lnTo>
                      <a:pt x="1712902" y="3853957"/>
                    </a:lnTo>
                    <a:lnTo>
                      <a:pt x="1682506" y="3850969"/>
                    </a:lnTo>
                    <a:lnTo>
                      <a:pt x="1654010" y="3854774"/>
                    </a:lnTo>
                    <a:lnTo>
                      <a:pt x="1625520" y="3858580"/>
                    </a:lnTo>
                    <a:lnTo>
                      <a:pt x="1599331" y="3869171"/>
                    </a:lnTo>
                    <a:lnTo>
                      <a:pt x="1543835" y="3894224"/>
                    </a:lnTo>
                    <a:lnTo>
                      <a:pt x="1523436" y="3909181"/>
                    </a:lnTo>
                    <a:lnTo>
                      <a:pt x="1507056" y="3924714"/>
                    </a:lnTo>
                    <a:lnTo>
                      <a:pt x="1486511" y="3958710"/>
                    </a:lnTo>
                    <a:lnTo>
                      <a:pt x="1471430" y="3988710"/>
                    </a:lnTo>
                    <a:lnTo>
                      <a:pt x="1451341" y="4008481"/>
                    </a:lnTo>
                    <a:lnTo>
                      <a:pt x="1430099" y="4025272"/>
                    </a:lnTo>
                    <a:lnTo>
                      <a:pt x="1401859" y="4032493"/>
                    </a:lnTo>
                    <a:lnTo>
                      <a:pt x="1364289" y="4027521"/>
                    </a:lnTo>
                    <a:lnTo>
                      <a:pt x="1339361" y="4021723"/>
                    </a:lnTo>
                    <a:lnTo>
                      <a:pt x="1301340" y="4006140"/>
                    </a:lnTo>
                    <a:lnTo>
                      <a:pt x="1279960" y="3992159"/>
                    </a:lnTo>
                    <a:lnTo>
                      <a:pt x="1256324" y="3976707"/>
                    </a:lnTo>
                    <a:lnTo>
                      <a:pt x="1236665" y="3951073"/>
                    </a:lnTo>
                    <a:lnTo>
                      <a:pt x="1213305" y="3935034"/>
                    </a:lnTo>
                    <a:lnTo>
                      <a:pt x="1195710" y="3922926"/>
                    </a:lnTo>
                    <a:lnTo>
                      <a:pt x="1173980" y="3920735"/>
                    </a:lnTo>
                    <a:lnTo>
                      <a:pt x="1152098" y="3918705"/>
                    </a:lnTo>
                    <a:lnTo>
                      <a:pt x="1130223" y="3916674"/>
                    </a:lnTo>
                    <a:lnTo>
                      <a:pt x="1108999" y="3915454"/>
                    </a:lnTo>
                    <a:lnTo>
                      <a:pt x="1089532" y="3906465"/>
                    </a:lnTo>
                    <a:lnTo>
                      <a:pt x="1051552" y="3888954"/>
                    </a:lnTo>
                    <a:lnTo>
                      <a:pt x="1019414" y="3845153"/>
                    </a:lnTo>
                    <a:lnTo>
                      <a:pt x="983433" y="3833017"/>
                    </a:lnTo>
                    <a:lnTo>
                      <a:pt x="935824" y="3816081"/>
                    </a:lnTo>
                    <a:lnTo>
                      <a:pt x="901821" y="3807172"/>
                    </a:lnTo>
                    <a:lnTo>
                      <a:pt x="867817" y="3798256"/>
                    </a:lnTo>
                    <a:lnTo>
                      <a:pt x="835074" y="3792174"/>
                    </a:lnTo>
                    <a:lnTo>
                      <a:pt x="800603" y="3831698"/>
                    </a:lnTo>
                    <a:lnTo>
                      <a:pt x="789537" y="3870278"/>
                    </a:lnTo>
                    <a:lnTo>
                      <a:pt x="776683" y="3906465"/>
                    </a:lnTo>
                    <a:lnTo>
                      <a:pt x="763836" y="3942650"/>
                    </a:lnTo>
                    <a:lnTo>
                      <a:pt x="748252" y="3976503"/>
                    </a:lnTo>
                    <a:lnTo>
                      <a:pt x="716834" y="4000317"/>
                    </a:lnTo>
                    <a:lnTo>
                      <a:pt x="691022" y="4002605"/>
                    </a:lnTo>
                    <a:lnTo>
                      <a:pt x="665763" y="3997244"/>
                    </a:lnTo>
                    <a:lnTo>
                      <a:pt x="640664" y="3990801"/>
                    </a:lnTo>
                    <a:lnTo>
                      <a:pt x="615569" y="3984364"/>
                    </a:lnTo>
                    <a:lnTo>
                      <a:pt x="591498" y="3977182"/>
                    </a:lnTo>
                    <a:lnTo>
                      <a:pt x="565850" y="3975836"/>
                    </a:lnTo>
                    <a:lnTo>
                      <a:pt x="524559" y="3973667"/>
                    </a:lnTo>
                    <a:lnTo>
                      <a:pt x="480842" y="3976713"/>
                    </a:lnTo>
                    <a:lnTo>
                      <a:pt x="439354" y="3977196"/>
                    </a:lnTo>
                    <a:lnTo>
                      <a:pt x="421845" y="3989989"/>
                    </a:lnTo>
                    <a:lnTo>
                      <a:pt x="403055" y="4032625"/>
                    </a:lnTo>
                    <a:lnTo>
                      <a:pt x="412901" y="4088793"/>
                    </a:lnTo>
                    <a:lnTo>
                      <a:pt x="395827" y="4110491"/>
                    </a:lnTo>
                    <a:lnTo>
                      <a:pt x="380297" y="4130282"/>
                    </a:lnTo>
                    <a:lnTo>
                      <a:pt x="352301" y="4166265"/>
                    </a:lnTo>
                    <a:lnTo>
                      <a:pt x="344717" y="4186412"/>
                    </a:lnTo>
                    <a:lnTo>
                      <a:pt x="358189" y="4224920"/>
                    </a:lnTo>
                    <a:lnTo>
                      <a:pt x="363189" y="4262834"/>
                    </a:lnTo>
                    <a:lnTo>
                      <a:pt x="314538" y="4274064"/>
                    </a:lnTo>
                    <a:lnTo>
                      <a:pt x="291297" y="4278608"/>
                    </a:lnTo>
                    <a:lnTo>
                      <a:pt x="260975" y="4296038"/>
                    </a:lnTo>
                    <a:lnTo>
                      <a:pt x="248933" y="4324047"/>
                    </a:lnTo>
                    <a:lnTo>
                      <a:pt x="239277" y="4354866"/>
                    </a:lnTo>
                    <a:lnTo>
                      <a:pt x="240556" y="4396223"/>
                    </a:lnTo>
                    <a:lnTo>
                      <a:pt x="214928" y="4435580"/>
                    </a:lnTo>
                    <a:lnTo>
                      <a:pt x="193713" y="4468159"/>
                    </a:lnTo>
                    <a:lnTo>
                      <a:pt x="147021" y="4483591"/>
                    </a:lnTo>
                    <a:lnTo>
                      <a:pt x="115637" y="4526716"/>
                    </a:lnTo>
                    <a:lnTo>
                      <a:pt x="82180" y="4539978"/>
                    </a:lnTo>
                    <a:lnTo>
                      <a:pt x="83043" y="4584045"/>
                    </a:lnTo>
                    <a:lnTo>
                      <a:pt x="78137" y="4607570"/>
                    </a:lnTo>
                    <a:lnTo>
                      <a:pt x="68027" y="4628733"/>
                    </a:lnTo>
                    <a:lnTo>
                      <a:pt x="57904" y="4649888"/>
                    </a:lnTo>
                    <a:lnTo>
                      <a:pt x="42057" y="4668921"/>
                    </a:lnTo>
                    <a:lnTo>
                      <a:pt x="24501" y="4691298"/>
                    </a:lnTo>
                    <a:lnTo>
                      <a:pt x="20426" y="4739586"/>
                    </a:lnTo>
                    <a:lnTo>
                      <a:pt x="34848" y="4757629"/>
                    </a:lnTo>
                    <a:lnTo>
                      <a:pt x="65865" y="4791369"/>
                    </a:lnTo>
                    <a:lnTo>
                      <a:pt x="87066" y="4827317"/>
                    </a:lnTo>
                    <a:lnTo>
                      <a:pt x="104675" y="4864593"/>
                    </a:lnTo>
                    <a:lnTo>
                      <a:pt x="107544" y="4896143"/>
                    </a:lnTo>
                    <a:lnTo>
                      <a:pt x="87066" y="4915729"/>
                    </a:lnTo>
                    <a:lnTo>
                      <a:pt x="21771" y="4945656"/>
                    </a:lnTo>
                    <a:lnTo>
                      <a:pt x="7558" y="4964867"/>
                    </a:lnTo>
                    <a:lnTo>
                      <a:pt x="628" y="4997169"/>
                    </a:lnTo>
                    <a:lnTo>
                      <a:pt x="4090" y="5021828"/>
                    </a:lnTo>
                    <a:lnTo>
                      <a:pt x="22047" y="5056319"/>
                    </a:lnTo>
                    <a:lnTo>
                      <a:pt x="43581" y="5092242"/>
                    </a:lnTo>
                    <a:lnTo>
                      <a:pt x="58498" y="5127919"/>
                    </a:lnTo>
                    <a:lnTo>
                      <a:pt x="111995" y="5315928"/>
                    </a:lnTo>
                    <a:lnTo>
                      <a:pt x="107023" y="5348830"/>
                    </a:lnTo>
                    <a:lnTo>
                      <a:pt x="97737" y="5369504"/>
                    </a:lnTo>
                    <a:lnTo>
                      <a:pt x="93866" y="5390443"/>
                    </a:lnTo>
                    <a:lnTo>
                      <a:pt x="85820" y="5434147"/>
                    </a:lnTo>
                    <a:lnTo>
                      <a:pt x="89012" y="5482713"/>
                    </a:lnTo>
                    <a:lnTo>
                      <a:pt x="96584" y="5530538"/>
                    </a:lnTo>
                    <a:lnTo>
                      <a:pt x="104154" y="5578372"/>
                    </a:lnTo>
                    <a:lnTo>
                      <a:pt x="116038" y="5625524"/>
                    </a:lnTo>
                    <a:lnTo>
                      <a:pt x="127862" y="5667923"/>
                    </a:lnTo>
                    <a:lnTo>
                      <a:pt x="135712" y="5696038"/>
                    </a:lnTo>
                    <a:lnTo>
                      <a:pt x="147319" y="5726321"/>
                    </a:lnTo>
                    <a:lnTo>
                      <a:pt x="157791" y="5753611"/>
                    </a:lnTo>
                    <a:lnTo>
                      <a:pt x="166721" y="5773191"/>
                    </a:lnTo>
                    <a:lnTo>
                      <a:pt x="178790" y="5791162"/>
                    </a:lnTo>
                    <a:lnTo>
                      <a:pt x="190435" y="5809385"/>
                    </a:lnTo>
                    <a:lnTo>
                      <a:pt x="204035" y="5836589"/>
                    </a:lnTo>
                    <a:lnTo>
                      <a:pt x="205393" y="5867868"/>
                    </a:lnTo>
                    <a:lnTo>
                      <a:pt x="184481" y="5882430"/>
                    </a:lnTo>
                    <a:lnTo>
                      <a:pt x="160126" y="5877985"/>
                    </a:lnTo>
                    <a:lnTo>
                      <a:pt x="110327" y="5859710"/>
                    </a:lnTo>
                    <a:lnTo>
                      <a:pt x="85702" y="5882839"/>
                    </a:lnTo>
                    <a:lnTo>
                      <a:pt x="96926" y="5974309"/>
                    </a:lnTo>
                    <a:lnTo>
                      <a:pt x="100659" y="6001171"/>
                    </a:lnTo>
                    <a:lnTo>
                      <a:pt x="111494" y="6023936"/>
                    </a:lnTo>
                    <a:lnTo>
                      <a:pt x="118063" y="6050712"/>
                    </a:lnTo>
                    <a:lnTo>
                      <a:pt x="107459" y="6074624"/>
                    </a:lnTo>
                    <a:lnTo>
                      <a:pt x="98602" y="6102218"/>
                    </a:lnTo>
                    <a:lnTo>
                      <a:pt x="96128" y="6131473"/>
                    </a:lnTo>
                    <a:lnTo>
                      <a:pt x="96578" y="6161678"/>
                    </a:lnTo>
                    <a:lnTo>
                      <a:pt x="97038" y="6191882"/>
                    </a:lnTo>
                    <a:lnTo>
                      <a:pt x="100013" y="6221843"/>
                    </a:lnTo>
                    <a:lnTo>
                      <a:pt x="99294" y="6250089"/>
                    </a:lnTo>
                    <a:lnTo>
                      <a:pt x="98509" y="6280788"/>
                    </a:lnTo>
                    <a:lnTo>
                      <a:pt x="92812" y="6311554"/>
                    </a:lnTo>
                    <a:lnTo>
                      <a:pt x="84330" y="6341223"/>
                    </a:lnTo>
                    <a:lnTo>
                      <a:pt x="75849" y="6370888"/>
                    </a:lnTo>
                    <a:lnTo>
                      <a:pt x="64552" y="6400294"/>
                    </a:lnTo>
                    <a:lnTo>
                      <a:pt x="53050" y="6429635"/>
                    </a:lnTo>
                    <a:lnTo>
                      <a:pt x="41542" y="6458976"/>
                    </a:lnTo>
                    <a:lnTo>
                      <a:pt x="28899" y="6488329"/>
                    </a:lnTo>
                    <a:lnTo>
                      <a:pt x="19047" y="6518047"/>
                    </a:lnTo>
                    <a:lnTo>
                      <a:pt x="10440" y="6547848"/>
                    </a:lnTo>
                    <a:lnTo>
                      <a:pt x="4453" y="6572685"/>
                    </a:lnTo>
                    <a:lnTo>
                      <a:pt x="0" y="6607823"/>
                    </a:lnTo>
                    <a:lnTo>
                      <a:pt x="36062" y="6611120"/>
                    </a:lnTo>
                    <a:lnTo>
                      <a:pt x="73198" y="6626466"/>
                    </a:lnTo>
                    <a:lnTo>
                      <a:pt x="91941" y="6638787"/>
                    </a:lnTo>
                    <a:lnTo>
                      <a:pt x="110175" y="6651349"/>
                    </a:lnTo>
                    <a:lnTo>
                      <a:pt x="146652" y="6676470"/>
                    </a:lnTo>
                    <a:lnTo>
                      <a:pt x="180814" y="6706245"/>
                    </a:lnTo>
                    <a:lnTo>
                      <a:pt x="206751" y="6726161"/>
                    </a:lnTo>
                    <a:lnTo>
                      <a:pt x="235169" y="6746086"/>
                    </a:lnTo>
                    <a:lnTo>
                      <a:pt x="262670" y="6766073"/>
                    </a:lnTo>
                    <a:lnTo>
                      <a:pt x="285647" y="6794168"/>
                    </a:lnTo>
                    <a:lnTo>
                      <a:pt x="300808" y="6817706"/>
                    </a:lnTo>
                    <a:lnTo>
                      <a:pt x="312197" y="6846921"/>
                    </a:lnTo>
                    <a:lnTo>
                      <a:pt x="321007" y="6877140"/>
                    </a:lnTo>
                    <a:lnTo>
                      <a:pt x="329825" y="6907356"/>
                    </a:lnTo>
                    <a:lnTo>
                      <a:pt x="336163" y="6937753"/>
                    </a:lnTo>
                    <a:lnTo>
                      <a:pt x="344130" y="6964192"/>
                    </a:lnTo>
                    <a:lnTo>
                      <a:pt x="357352" y="7005555"/>
                    </a:lnTo>
                    <a:lnTo>
                      <a:pt x="363175" y="7026765"/>
                    </a:lnTo>
                    <a:lnTo>
                      <a:pt x="369000" y="7047973"/>
                    </a:lnTo>
                    <a:lnTo>
                      <a:pt x="372996" y="7069948"/>
                    </a:lnTo>
                    <a:lnTo>
                      <a:pt x="376774" y="7090695"/>
                    </a:lnTo>
                    <a:lnTo>
                      <a:pt x="382222" y="7120563"/>
                    </a:lnTo>
                    <a:lnTo>
                      <a:pt x="393136" y="7189796"/>
                    </a:lnTo>
                    <a:lnTo>
                      <a:pt x="406703" y="7257994"/>
                    </a:lnTo>
                    <a:lnTo>
                      <a:pt x="420268" y="7326199"/>
                    </a:lnTo>
                    <a:lnTo>
                      <a:pt x="436498" y="7392748"/>
                    </a:lnTo>
                    <a:lnTo>
                      <a:pt x="455669" y="7417136"/>
                    </a:lnTo>
                    <a:lnTo>
                      <a:pt x="485802" y="7440654"/>
                    </a:lnTo>
                    <a:lnTo>
                      <a:pt x="505994" y="7447064"/>
                    </a:lnTo>
                    <a:lnTo>
                      <a:pt x="577299" y="7447954"/>
                    </a:lnTo>
                    <a:lnTo>
                      <a:pt x="674593" y="7425492"/>
                    </a:lnTo>
                    <a:lnTo>
                      <a:pt x="720904" y="7395373"/>
                    </a:lnTo>
                    <a:lnTo>
                      <a:pt x="749215" y="7376966"/>
                    </a:lnTo>
                    <a:lnTo>
                      <a:pt x="767575" y="7342007"/>
                    </a:lnTo>
                    <a:lnTo>
                      <a:pt x="805238" y="7338248"/>
                    </a:lnTo>
                    <a:lnTo>
                      <a:pt x="867996" y="7372779"/>
                    </a:lnTo>
                    <a:lnTo>
                      <a:pt x="794614" y="7462555"/>
                    </a:lnTo>
                    <a:lnTo>
                      <a:pt x="832443" y="7508272"/>
                    </a:lnTo>
                    <a:lnTo>
                      <a:pt x="897369" y="7536194"/>
                    </a:lnTo>
                    <a:lnTo>
                      <a:pt x="1009925" y="7588011"/>
                    </a:lnTo>
                    <a:lnTo>
                      <a:pt x="1058240" y="7591242"/>
                    </a:lnTo>
                    <a:lnTo>
                      <a:pt x="1229192" y="7555537"/>
                    </a:lnTo>
                    <a:lnTo>
                      <a:pt x="1295464" y="7529118"/>
                    </a:lnTo>
                    <a:lnTo>
                      <a:pt x="1305620" y="7505996"/>
                    </a:lnTo>
                    <a:lnTo>
                      <a:pt x="1369723" y="7531393"/>
                    </a:lnTo>
                    <a:lnTo>
                      <a:pt x="1402751" y="7539339"/>
                    </a:lnTo>
                    <a:lnTo>
                      <a:pt x="1435012" y="7566755"/>
                    </a:lnTo>
                    <a:lnTo>
                      <a:pt x="1454157" y="7589369"/>
                    </a:lnTo>
                    <a:lnTo>
                      <a:pt x="1487786" y="7613051"/>
                    </a:lnTo>
                    <a:lnTo>
                      <a:pt x="1499959" y="7644838"/>
                    </a:lnTo>
                    <a:lnTo>
                      <a:pt x="1516624" y="7666054"/>
                    </a:lnTo>
                    <a:lnTo>
                      <a:pt x="1541488" y="7696147"/>
                    </a:lnTo>
                    <a:lnTo>
                      <a:pt x="1566099" y="7722203"/>
                    </a:lnTo>
                    <a:lnTo>
                      <a:pt x="1605036" y="7734061"/>
                    </a:lnTo>
                    <a:lnTo>
                      <a:pt x="1636361" y="7743584"/>
                    </a:lnTo>
                    <a:lnTo>
                      <a:pt x="1663566" y="7759312"/>
                    </a:lnTo>
                    <a:lnTo>
                      <a:pt x="1693448" y="7770787"/>
                    </a:lnTo>
                    <a:lnTo>
                      <a:pt x="1715659" y="7773979"/>
                    </a:lnTo>
                    <a:lnTo>
                      <a:pt x="1787814" y="7808233"/>
                    </a:lnTo>
                    <a:lnTo>
                      <a:pt x="1786943" y="7973628"/>
                    </a:lnTo>
                    <a:lnTo>
                      <a:pt x="1872993" y="8034663"/>
                    </a:lnTo>
                    <a:lnTo>
                      <a:pt x="1897500" y="8073263"/>
                    </a:lnTo>
                    <a:lnTo>
                      <a:pt x="1954163" y="8102716"/>
                    </a:lnTo>
                    <a:lnTo>
                      <a:pt x="1988608" y="8132604"/>
                    </a:lnTo>
                    <a:lnTo>
                      <a:pt x="2089774" y="8220290"/>
                    </a:lnTo>
                    <a:lnTo>
                      <a:pt x="2165504" y="8186326"/>
                    </a:lnTo>
                    <a:lnTo>
                      <a:pt x="2200799" y="8210134"/>
                    </a:lnTo>
                    <a:lnTo>
                      <a:pt x="2237276" y="8234700"/>
                    </a:lnTo>
                    <a:lnTo>
                      <a:pt x="2282286" y="8234826"/>
                    </a:lnTo>
                    <a:lnTo>
                      <a:pt x="2324580" y="8237337"/>
                    </a:lnTo>
                    <a:lnTo>
                      <a:pt x="2408954" y="8242310"/>
                    </a:lnTo>
                    <a:lnTo>
                      <a:pt x="2489993" y="8236230"/>
                    </a:lnTo>
                    <a:lnTo>
                      <a:pt x="2531330" y="8320309"/>
                    </a:lnTo>
                    <a:lnTo>
                      <a:pt x="2550758" y="8359798"/>
                    </a:lnTo>
                    <a:lnTo>
                      <a:pt x="2548970" y="8408297"/>
                    </a:lnTo>
                    <a:lnTo>
                      <a:pt x="2538135" y="8450887"/>
                    </a:lnTo>
                    <a:lnTo>
                      <a:pt x="2526377" y="8497045"/>
                    </a:lnTo>
                    <a:lnTo>
                      <a:pt x="2512759" y="8530330"/>
                    </a:lnTo>
                    <a:lnTo>
                      <a:pt x="2501409" y="8581467"/>
                    </a:lnTo>
                    <a:lnTo>
                      <a:pt x="2467999" y="8719438"/>
                    </a:lnTo>
                    <a:lnTo>
                      <a:pt x="2624634" y="8722583"/>
                    </a:lnTo>
                    <a:lnTo>
                      <a:pt x="2670073" y="8668519"/>
                    </a:lnTo>
                    <a:lnTo>
                      <a:pt x="2690134" y="8644672"/>
                    </a:lnTo>
                    <a:lnTo>
                      <a:pt x="2701676" y="8608414"/>
                    </a:lnTo>
                    <a:lnTo>
                      <a:pt x="2717675" y="8581467"/>
                    </a:lnTo>
                    <a:lnTo>
                      <a:pt x="2746686" y="8532499"/>
                    </a:lnTo>
                    <a:lnTo>
                      <a:pt x="2820286" y="8526419"/>
                    </a:lnTo>
                    <a:lnTo>
                      <a:pt x="2844179" y="8581467"/>
                    </a:lnTo>
                    <a:lnTo>
                      <a:pt x="2863178" y="8646717"/>
                    </a:lnTo>
                    <a:lnTo>
                      <a:pt x="2819566" y="8746049"/>
                    </a:lnTo>
                    <a:lnTo>
                      <a:pt x="2887705" y="8784135"/>
                    </a:lnTo>
                    <a:lnTo>
                      <a:pt x="3005786" y="8850103"/>
                    </a:lnTo>
                    <a:lnTo>
                      <a:pt x="3031988" y="8816358"/>
                    </a:lnTo>
                    <a:lnTo>
                      <a:pt x="3118936" y="8736525"/>
                    </a:lnTo>
                    <a:lnTo>
                      <a:pt x="3139341" y="8717743"/>
                    </a:lnTo>
                    <a:lnTo>
                      <a:pt x="3166505" y="8704778"/>
                    </a:lnTo>
                    <a:lnTo>
                      <a:pt x="3186949" y="8686200"/>
                    </a:lnTo>
                    <a:lnTo>
                      <a:pt x="3210005" y="8660572"/>
                    </a:lnTo>
                    <a:lnTo>
                      <a:pt x="3283220" y="8619763"/>
                    </a:lnTo>
                    <a:lnTo>
                      <a:pt x="3314276" y="8685950"/>
                    </a:lnTo>
                    <a:lnTo>
                      <a:pt x="3351531" y="8668519"/>
                    </a:lnTo>
                    <a:lnTo>
                      <a:pt x="3388620" y="8630090"/>
                    </a:lnTo>
                    <a:lnTo>
                      <a:pt x="3417863" y="8612923"/>
                    </a:lnTo>
                    <a:lnTo>
                      <a:pt x="3442857" y="8615477"/>
                    </a:lnTo>
                    <a:lnTo>
                      <a:pt x="3493671" y="8662181"/>
                    </a:lnTo>
                    <a:lnTo>
                      <a:pt x="3499429" y="8691218"/>
                    </a:lnTo>
                    <a:lnTo>
                      <a:pt x="3512031" y="8736525"/>
                    </a:lnTo>
                    <a:lnTo>
                      <a:pt x="3522787" y="8775165"/>
                    </a:lnTo>
                    <a:lnTo>
                      <a:pt x="3516944" y="8803010"/>
                    </a:lnTo>
                    <a:lnTo>
                      <a:pt x="3509313" y="8841266"/>
                    </a:lnTo>
                    <a:lnTo>
                      <a:pt x="3491904" y="8928490"/>
                    </a:lnTo>
                    <a:lnTo>
                      <a:pt x="3456714" y="8963978"/>
                    </a:lnTo>
                    <a:lnTo>
                      <a:pt x="3389617" y="9018088"/>
                    </a:lnTo>
                    <a:lnTo>
                      <a:pt x="3369595" y="9028799"/>
                    </a:lnTo>
                    <a:lnTo>
                      <a:pt x="3352632" y="9045339"/>
                    </a:lnTo>
                    <a:lnTo>
                      <a:pt x="3337925" y="9064338"/>
                    </a:lnTo>
                    <a:lnTo>
                      <a:pt x="3310425" y="9085805"/>
                    </a:lnTo>
                    <a:lnTo>
                      <a:pt x="3291187" y="9134772"/>
                    </a:lnTo>
                    <a:lnTo>
                      <a:pt x="3303005" y="9154069"/>
                    </a:lnTo>
                    <a:lnTo>
                      <a:pt x="3314804" y="9182678"/>
                    </a:lnTo>
                    <a:lnTo>
                      <a:pt x="3327790" y="9214088"/>
                    </a:lnTo>
                    <a:lnTo>
                      <a:pt x="3344006" y="9228281"/>
                    </a:lnTo>
                    <a:lnTo>
                      <a:pt x="3378728" y="9233003"/>
                    </a:lnTo>
                    <a:lnTo>
                      <a:pt x="3493262" y="9248514"/>
                    </a:lnTo>
                    <a:lnTo>
                      <a:pt x="3478363" y="9083806"/>
                    </a:lnTo>
                    <a:lnTo>
                      <a:pt x="3600443" y="9020812"/>
                    </a:lnTo>
                    <a:lnTo>
                      <a:pt x="3623353" y="9008955"/>
                    </a:lnTo>
                    <a:lnTo>
                      <a:pt x="3648967" y="8998963"/>
                    </a:lnTo>
                    <a:lnTo>
                      <a:pt x="3675255" y="9005848"/>
                    </a:lnTo>
                    <a:lnTo>
                      <a:pt x="3711534" y="9041890"/>
                    </a:lnTo>
                    <a:lnTo>
                      <a:pt x="3755039" y="9139527"/>
                    </a:lnTo>
                    <a:lnTo>
                      <a:pt x="3741902" y="9190836"/>
                    </a:lnTo>
                    <a:lnTo>
                      <a:pt x="3736166" y="9213278"/>
                    </a:lnTo>
                    <a:lnTo>
                      <a:pt x="3698779" y="9223863"/>
                    </a:lnTo>
                    <a:lnTo>
                      <a:pt x="3683413" y="9253408"/>
                    </a:lnTo>
                    <a:lnTo>
                      <a:pt x="3699379" y="9302968"/>
                    </a:lnTo>
                    <a:lnTo>
                      <a:pt x="3744139" y="9418070"/>
                    </a:lnTo>
                    <a:lnTo>
                      <a:pt x="3730810" y="9464194"/>
                    </a:lnTo>
                    <a:lnTo>
                      <a:pt x="3828956" y="9525448"/>
                    </a:lnTo>
                    <a:lnTo>
                      <a:pt x="3849255" y="9493310"/>
                    </a:lnTo>
                    <a:lnTo>
                      <a:pt x="3866724" y="9422962"/>
                    </a:lnTo>
                    <a:lnTo>
                      <a:pt x="3856199" y="9318394"/>
                    </a:lnTo>
                    <a:lnTo>
                      <a:pt x="3882005" y="9273806"/>
                    </a:lnTo>
                    <a:lnTo>
                      <a:pt x="3897160" y="9251364"/>
                    </a:lnTo>
                    <a:lnTo>
                      <a:pt x="4135962" y="9054776"/>
                    </a:lnTo>
                    <a:lnTo>
                      <a:pt x="4166371" y="9039470"/>
                    </a:lnTo>
                    <a:lnTo>
                      <a:pt x="4188134" y="9036324"/>
                    </a:lnTo>
                    <a:lnTo>
                      <a:pt x="4219335" y="9043934"/>
                    </a:lnTo>
                    <a:lnTo>
                      <a:pt x="4269086" y="9053793"/>
                    </a:lnTo>
                    <a:lnTo>
                      <a:pt x="4316655" y="9072878"/>
                    </a:lnTo>
                    <a:lnTo>
                      <a:pt x="4367594" y="9080661"/>
                    </a:lnTo>
                    <a:lnTo>
                      <a:pt x="4412480" y="9087546"/>
                    </a:lnTo>
                    <a:lnTo>
                      <a:pt x="4457964" y="9084064"/>
                    </a:lnTo>
                    <a:lnTo>
                      <a:pt x="4500898" y="9101066"/>
                    </a:lnTo>
                    <a:lnTo>
                      <a:pt x="4524276" y="9110332"/>
                    </a:lnTo>
                    <a:lnTo>
                      <a:pt x="4573072" y="9160064"/>
                    </a:lnTo>
                    <a:lnTo>
                      <a:pt x="4596108" y="9178596"/>
                    </a:lnTo>
                    <a:lnTo>
                      <a:pt x="4619230" y="9181312"/>
                    </a:lnTo>
                    <a:lnTo>
                      <a:pt x="4656662" y="9152196"/>
                    </a:lnTo>
                    <a:lnTo>
                      <a:pt x="4688344" y="9164991"/>
                    </a:lnTo>
                    <a:lnTo>
                      <a:pt x="4730769" y="9164991"/>
                    </a:lnTo>
                    <a:lnTo>
                      <a:pt x="4752236" y="9164991"/>
                    </a:lnTo>
                    <a:lnTo>
                      <a:pt x="4791976" y="9167714"/>
                    </a:lnTo>
                    <a:lnTo>
                      <a:pt x="4830616" y="9183436"/>
                    </a:lnTo>
                    <a:lnTo>
                      <a:pt x="4859971" y="9221356"/>
                    </a:lnTo>
                    <a:lnTo>
                      <a:pt x="4902157" y="9233003"/>
                    </a:lnTo>
                    <a:lnTo>
                      <a:pt x="4937499" y="9242777"/>
                    </a:lnTo>
                    <a:lnTo>
                      <a:pt x="4964578" y="9218594"/>
                    </a:lnTo>
                    <a:lnTo>
                      <a:pt x="5000086" y="9223480"/>
                    </a:lnTo>
                    <a:lnTo>
                      <a:pt x="5059749" y="9231684"/>
                    </a:lnTo>
                    <a:lnTo>
                      <a:pt x="5130749" y="9321797"/>
                    </a:lnTo>
                    <a:lnTo>
                      <a:pt x="5129306" y="9381263"/>
                    </a:lnTo>
                    <a:lnTo>
                      <a:pt x="5128627" y="9409825"/>
                    </a:lnTo>
                    <a:lnTo>
                      <a:pt x="5112389" y="9436351"/>
                    </a:lnTo>
                    <a:lnTo>
                      <a:pt x="5106183" y="9464234"/>
                    </a:lnTo>
                    <a:lnTo>
                      <a:pt x="5102339" y="9518259"/>
                    </a:lnTo>
                    <a:lnTo>
                      <a:pt x="5180041" y="9544276"/>
                    </a:lnTo>
                    <a:lnTo>
                      <a:pt x="5195955" y="9586655"/>
                    </a:lnTo>
                    <a:lnTo>
                      <a:pt x="5212217" y="9629964"/>
                    </a:lnTo>
                    <a:lnTo>
                      <a:pt x="5187070" y="9673708"/>
                    </a:lnTo>
                    <a:lnTo>
                      <a:pt x="5193237" y="9728116"/>
                    </a:lnTo>
                    <a:lnTo>
                      <a:pt x="5288830" y="9839821"/>
                    </a:lnTo>
                    <a:lnTo>
                      <a:pt x="5311655" y="9842095"/>
                    </a:lnTo>
                    <a:lnTo>
                      <a:pt x="5344214" y="9834207"/>
                    </a:lnTo>
                    <a:lnTo>
                      <a:pt x="5373245" y="9826623"/>
                    </a:lnTo>
                    <a:lnTo>
                      <a:pt x="5409008" y="9816013"/>
                    </a:lnTo>
                    <a:lnTo>
                      <a:pt x="5446231" y="9804286"/>
                    </a:lnTo>
                    <a:lnTo>
                      <a:pt x="5520667" y="9780823"/>
                    </a:lnTo>
                    <a:lnTo>
                      <a:pt x="5598124" y="9753189"/>
                    </a:lnTo>
                    <a:lnTo>
                      <a:pt x="5617613" y="9738997"/>
                    </a:lnTo>
                    <a:lnTo>
                      <a:pt x="5629027" y="9709643"/>
                    </a:lnTo>
                    <a:lnTo>
                      <a:pt x="5640734" y="9690030"/>
                    </a:lnTo>
                    <a:lnTo>
                      <a:pt x="5652446" y="9670417"/>
                    </a:lnTo>
                    <a:lnTo>
                      <a:pt x="5665300" y="9651299"/>
                    </a:lnTo>
                    <a:lnTo>
                      <a:pt x="5691791" y="9607402"/>
                    </a:lnTo>
                    <a:lnTo>
                      <a:pt x="5711029" y="9583167"/>
                    </a:lnTo>
                    <a:lnTo>
                      <a:pt x="5729145" y="9564892"/>
                    </a:lnTo>
                    <a:lnTo>
                      <a:pt x="5747268" y="9546611"/>
                    </a:lnTo>
                    <a:lnTo>
                      <a:pt x="5780837" y="9524082"/>
                    </a:lnTo>
                    <a:lnTo>
                      <a:pt x="5814523" y="9503579"/>
                    </a:lnTo>
                    <a:lnTo>
                      <a:pt x="5847861" y="9489907"/>
                    </a:lnTo>
                    <a:lnTo>
                      <a:pt x="5886934" y="9449269"/>
                    </a:lnTo>
                    <a:lnTo>
                      <a:pt x="5893464" y="9413104"/>
                    </a:lnTo>
                    <a:lnTo>
                      <a:pt x="5889652" y="9389422"/>
                    </a:lnTo>
                    <a:lnTo>
                      <a:pt x="5885840" y="9365746"/>
                    </a:lnTo>
                    <a:lnTo>
                      <a:pt x="5878718" y="9339261"/>
                    </a:lnTo>
                    <a:lnTo>
                      <a:pt x="5871965" y="9313250"/>
                    </a:lnTo>
                    <a:lnTo>
                      <a:pt x="5865218" y="9287247"/>
                    </a:lnTo>
                    <a:lnTo>
                      <a:pt x="5858999" y="9261982"/>
                    </a:lnTo>
                    <a:lnTo>
                      <a:pt x="5857007" y="9239803"/>
                    </a:lnTo>
                    <a:lnTo>
                      <a:pt x="5855009" y="9217625"/>
                    </a:lnTo>
                    <a:lnTo>
                      <a:pt x="5866523" y="9186754"/>
                    </a:lnTo>
                    <a:lnTo>
                      <a:pt x="5926366" y="9158988"/>
                    </a:lnTo>
                    <a:lnTo>
                      <a:pt x="5969898" y="9141868"/>
                    </a:lnTo>
                    <a:lnTo>
                      <a:pt x="6013438" y="9124748"/>
                    </a:lnTo>
                    <a:lnTo>
                      <a:pt x="6056530" y="9110516"/>
                    </a:lnTo>
                    <a:lnTo>
                      <a:pt x="6084888" y="9140358"/>
                    </a:lnTo>
                    <a:lnTo>
                      <a:pt x="6104488" y="9165808"/>
                    </a:lnTo>
                    <a:lnTo>
                      <a:pt x="6126323" y="9188112"/>
                    </a:lnTo>
                    <a:lnTo>
                      <a:pt x="6148159" y="9210422"/>
                    </a:lnTo>
                    <a:lnTo>
                      <a:pt x="6172388" y="9230069"/>
                    </a:lnTo>
                    <a:lnTo>
                      <a:pt x="6198413" y="9246603"/>
                    </a:lnTo>
                    <a:lnTo>
                      <a:pt x="6222900" y="9262924"/>
                    </a:lnTo>
                    <a:lnTo>
                      <a:pt x="6248745" y="9279247"/>
                    </a:lnTo>
                    <a:lnTo>
                      <a:pt x="6266268" y="9303430"/>
                    </a:lnTo>
                    <a:lnTo>
                      <a:pt x="6280183" y="9325793"/>
                    </a:lnTo>
                    <a:lnTo>
                      <a:pt x="6323551" y="9349978"/>
                    </a:lnTo>
                    <a:lnTo>
                      <a:pt x="6359994" y="9365172"/>
                    </a:lnTo>
                    <a:lnTo>
                      <a:pt x="6402273" y="9377089"/>
                    </a:lnTo>
                    <a:lnTo>
                      <a:pt x="6443248" y="9392144"/>
                    </a:lnTo>
                    <a:lnTo>
                      <a:pt x="6484222" y="9407194"/>
                    </a:lnTo>
                    <a:lnTo>
                      <a:pt x="6524061" y="9425086"/>
                    </a:lnTo>
                    <a:lnTo>
                      <a:pt x="6553428" y="9453353"/>
                    </a:lnTo>
                    <a:lnTo>
                      <a:pt x="6578081" y="9455351"/>
                    </a:lnTo>
                    <a:lnTo>
                      <a:pt x="6600550" y="9452185"/>
                    </a:lnTo>
                    <a:lnTo>
                      <a:pt x="6622795" y="9447911"/>
                    </a:lnTo>
                    <a:lnTo>
                      <a:pt x="6645038" y="9443645"/>
                    </a:lnTo>
                    <a:lnTo>
                      <a:pt x="6667184" y="9439490"/>
                    </a:lnTo>
                    <a:lnTo>
                      <a:pt x="6690808" y="9437030"/>
                    </a:lnTo>
                    <a:lnTo>
                      <a:pt x="6735013" y="9432433"/>
                    </a:lnTo>
                    <a:lnTo>
                      <a:pt x="6781639" y="9443150"/>
                    </a:lnTo>
                    <a:lnTo>
                      <a:pt x="6825469" y="9446553"/>
                    </a:lnTo>
                    <a:lnTo>
                      <a:pt x="6945101" y="9441963"/>
                    </a:lnTo>
                    <a:lnTo>
                      <a:pt x="6986193" y="9434754"/>
                    </a:lnTo>
                    <a:lnTo>
                      <a:pt x="7007732" y="9415267"/>
                    </a:lnTo>
                    <a:lnTo>
                      <a:pt x="7023936" y="9395759"/>
                    </a:lnTo>
                    <a:lnTo>
                      <a:pt x="7054957" y="9384534"/>
                    </a:lnTo>
                    <a:lnTo>
                      <a:pt x="7078358" y="9386664"/>
                    </a:lnTo>
                    <a:lnTo>
                      <a:pt x="7126995" y="9371873"/>
                    </a:lnTo>
                    <a:lnTo>
                      <a:pt x="7156388" y="9359704"/>
                    </a:lnTo>
                    <a:lnTo>
                      <a:pt x="7183196" y="9343178"/>
                    </a:lnTo>
                    <a:lnTo>
                      <a:pt x="7210012" y="9326650"/>
                    </a:lnTo>
                    <a:lnTo>
                      <a:pt x="7233588" y="9306049"/>
                    </a:lnTo>
                    <a:lnTo>
                      <a:pt x="7251209" y="9277888"/>
                    </a:lnTo>
                    <a:lnTo>
                      <a:pt x="7272972" y="9277888"/>
                    </a:lnTo>
                    <a:lnTo>
                      <a:pt x="7291590" y="9291744"/>
                    </a:lnTo>
                    <a:lnTo>
                      <a:pt x="7318920" y="9328511"/>
                    </a:lnTo>
                    <a:lnTo>
                      <a:pt x="7348800" y="9344879"/>
                    </a:lnTo>
                    <a:lnTo>
                      <a:pt x="7379065" y="9363582"/>
                    </a:lnTo>
                    <a:lnTo>
                      <a:pt x="7403953" y="9379009"/>
                    </a:lnTo>
                    <a:lnTo>
                      <a:pt x="7430497" y="9398476"/>
                    </a:lnTo>
                    <a:lnTo>
                      <a:pt x="7456595" y="9411185"/>
                    </a:lnTo>
                    <a:lnTo>
                      <a:pt x="7478194" y="9421730"/>
                    </a:lnTo>
                    <a:lnTo>
                      <a:pt x="7510455" y="9427117"/>
                    </a:lnTo>
                    <a:lnTo>
                      <a:pt x="7543647" y="9430230"/>
                    </a:lnTo>
                    <a:lnTo>
                      <a:pt x="7576845" y="9433343"/>
                    </a:lnTo>
                    <a:lnTo>
                      <a:pt x="7611035" y="9433931"/>
                    </a:lnTo>
                    <a:lnTo>
                      <a:pt x="7634783" y="9434306"/>
                    </a:lnTo>
                    <a:lnTo>
                      <a:pt x="7717903" y="9435751"/>
                    </a:lnTo>
                    <a:lnTo>
                      <a:pt x="7803771" y="9440723"/>
                    </a:lnTo>
                    <a:lnTo>
                      <a:pt x="7886423" y="9432948"/>
                    </a:lnTo>
                    <a:lnTo>
                      <a:pt x="7930054" y="9428872"/>
                    </a:lnTo>
                    <a:lnTo>
                      <a:pt x="8003148" y="9400561"/>
                    </a:lnTo>
                    <a:lnTo>
                      <a:pt x="8041992" y="9399031"/>
                    </a:lnTo>
                    <a:lnTo>
                      <a:pt x="8064797" y="9436476"/>
                    </a:lnTo>
                    <a:lnTo>
                      <a:pt x="8097250" y="9438388"/>
                    </a:lnTo>
                    <a:lnTo>
                      <a:pt x="8121736" y="9413901"/>
                    </a:lnTo>
                    <a:lnTo>
                      <a:pt x="8110750" y="9349806"/>
                    </a:lnTo>
                    <a:lnTo>
                      <a:pt x="8116421" y="9320009"/>
                    </a:lnTo>
                    <a:lnTo>
                      <a:pt x="8132619" y="9305092"/>
                    </a:lnTo>
                    <a:lnTo>
                      <a:pt x="8156993" y="9270297"/>
                    </a:lnTo>
                    <a:lnTo>
                      <a:pt x="8168843" y="9245620"/>
                    </a:lnTo>
                    <a:lnTo>
                      <a:pt x="8167981" y="9220756"/>
                    </a:lnTo>
                    <a:lnTo>
                      <a:pt x="8167116" y="9195894"/>
                    </a:lnTo>
                    <a:lnTo>
                      <a:pt x="8153371" y="9170088"/>
                    </a:lnTo>
                    <a:lnTo>
                      <a:pt x="8128535" y="9136420"/>
                    </a:lnTo>
                    <a:lnTo>
                      <a:pt x="8078210" y="9068414"/>
                    </a:lnTo>
                    <a:lnTo>
                      <a:pt x="8057213" y="9039958"/>
                    </a:lnTo>
                    <a:lnTo>
                      <a:pt x="8042525" y="9017224"/>
                    </a:lnTo>
                    <a:lnTo>
                      <a:pt x="8040125" y="8996325"/>
                    </a:lnTo>
                    <a:lnTo>
                      <a:pt x="8037725" y="8975419"/>
                    </a:lnTo>
                    <a:lnTo>
                      <a:pt x="8047985" y="8956050"/>
                    </a:lnTo>
                    <a:lnTo>
                      <a:pt x="8079568" y="8932394"/>
                    </a:lnTo>
                    <a:lnTo>
                      <a:pt x="8109278" y="8909867"/>
                    </a:lnTo>
                    <a:lnTo>
                      <a:pt x="8129893" y="8916072"/>
                    </a:lnTo>
                    <a:lnTo>
                      <a:pt x="8150425" y="8925766"/>
                    </a:lnTo>
                    <a:lnTo>
                      <a:pt x="8153867" y="8955642"/>
                    </a:lnTo>
                    <a:lnTo>
                      <a:pt x="8173419" y="8967756"/>
                    </a:lnTo>
                    <a:lnTo>
                      <a:pt x="8224991" y="8951652"/>
                    </a:lnTo>
                    <a:lnTo>
                      <a:pt x="8261839" y="8928312"/>
                    </a:lnTo>
                    <a:lnTo>
                      <a:pt x="8280259" y="8916646"/>
                    </a:lnTo>
                    <a:lnTo>
                      <a:pt x="8299886" y="8903865"/>
                    </a:lnTo>
                    <a:lnTo>
                      <a:pt x="8335320" y="8887470"/>
                    </a:lnTo>
                    <a:lnTo>
                      <a:pt x="8365212" y="8886144"/>
                    </a:lnTo>
                    <a:lnTo>
                      <a:pt x="8381193" y="8862897"/>
                    </a:lnTo>
                    <a:lnTo>
                      <a:pt x="8417730" y="8852484"/>
                    </a:lnTo>
                    <a:lnTo>
                      <a:pt x="8426421" y="8829019"/>
                    </a:lnTo>
                    <a:lnTo>
                      <a:pt x="8425063" y="8807256"/>
                    </a:lnTo>
                    <a:lnTo>
                      <a:pt x="8416899" y="8786851"/>
                    </a:lnTo>
                    <a:lnTo>
                      <a:pt x="8430284" y="8757670"/>
                    </a:lnTo>
                    <a:lnTo>
                      <a:pt x="8455201" y="8726264"/>
                    </a:lnTo>
                    <a:lnTo>
                      <a:pt x="8475389" y="8695717"/>
                    </a:lnTo>
                    <a:lnTo>
                      <a:pt x="8469953" y="8657631"/>
                    </a:lnTo>
                    <a:lnTo>
                      <a:pt x="8455985" y="8640221"/>
                    </a:lnTo>
                    <a:lnTo>
                      <a:pt x="8459889" y="8613762"/>
                    </a:lnTo>
                    <a:lnTo>
                      <a:pt x="8468660" y="8585159"/>
                    </a:lnTo>
                    <a:lnTo>
                      <a:pt x="8461796" y="8562420"/>
                    </a:lnTo>
                    <a:lnTo>
                      <a:pt x="8439723" y="8547754"/>
                    </a:lnTo>
                    <a:lnTo>
                      <a:pt x="8399858" y="8542998"/>
                    </a:lnTo>
                    <a:lnTo>
                      <a:pt x="8363861" y="8533857"/>
                    </a:lnTo>
                    <a:lnTo>
                      <a:pt x="8329001" y="8523589"/>
                    </a:lnTo>
                    <a:lnTo>
                      <a:pt x="8303511" y="8506034"/>
                    </a:lnTo>
                    <a:lnTo>
                      <a:pt x="8293133" y="8476726"/>
                    </a:lnTo>
                    <a:lnTo>
                      <a:pt x="8317070" y="8430648"/>
                    </a:lnTo>
                    <a:lnTo>
                      <a:pt x="8342249" y="8398913"/>
                    </a:lnTo>
                    <a:lnTo>
                      <a:pt x="8366580" y="8363829"/>
                    </a:lnTo>
                    <a:lnTo>
                      <a:pt x="8390907" y="8328742"/>
                    </a:lnTo>
                    <a:lnTo>
                      <a:pt x="8413529" y="8290697"/>
                    </a:lnTo>
                    <a:lnTo>
                      <a:pt x="8430511" y="8233249"/>
                    </a:lnTo>
                    <a:lnTo>
                      <a:pt x="8438892" y="8204897"/>
                    </a:lnTo>
                    <a:lnTo>
                      <a:pt x="8438761" y="8164537"/>
                    </a:lnTo>
                    <a:lnTo>
                      <a:pt x="8437310" y="8127156"/>
                    </a:lnTo>
                    <a:lnTo>
                      <a:pt x="8435859" y="8089777"/>
                    </a:lnTo>
                    <a:lnTo>
                      <a:pt x="8432883" y="8054956"/>
                    </a:lnTo>
                    <a:lnTo>
                      <a:pt x="8456956" y="8004927"/>
                    </a:lnTo>
                    <a:lnTo>
                      <a:pt x="8486349" y="7976733"/>
                    </a:lnTo>
                    <a:lnTo>
                      <a:pt x="8517563" y="7948969"/>
                    </a:lnTo>
                    <a:lnTo>
                      <a:pt x="8548783" y="7921211"/>
                    </a:lnTo>
                    <a:lnTo>
                      <a:pt x="8583091" y="7894983"/>
                    </a:lnTo>
                    <a:lnTo>
                      <a:pt x="8608698" y="7865999"/>
                    </a:lnTo>
                    <a:lnTo>
                      <a:pt x="8626905" y="7843615"/>
                    </a:lnTo>
                    <a:lnTo>
                      <a:pt x="8644904" y="7820369"/>
                    </a:lnTo>
                    <a:lnTo>
                      <a:pt x="8663104" y="7796626"/>
                    </a:lnTo>
                    <a:lnTo>
                      <a:pt x="8676803" y="7774620"/>
                    </a:lnTo>
                    <a:lnTo>
                      <a:pt x="8687593" y="7755824"/>
                    </a:lnTo>
                    <a:lnTo>
                      <a:pt x="8698383" y="7737022"/>
                    </a:lnTo>
                    <a:lnTo>
                      <a:pt x="8710311" y="7715549"/>
                    </a:lnTo>
                    <a:lnTo>
                      <a:pt x="8732582" y="7686895"/>
                    </a:lnTo>
                    <a:lnTo>
                      <a:pt x="8776207" y="7645590"/>
                    </a:lnTo>
                    <a:lnTo>
                      <a:pt x="8822248" y="7615722"/>
                    </a:lnTo>
                    <a:lnTo>
                      <a:pt x="8845270" y="7600791"/>
                    </a:lnTo>
                    <a:lnTo>
                      <a:pt x="8868372" y="7588155"/>
                    </a:lnTo>
                    <a:lnTo>
                      <a:pt x="8909430" y="7580717"/>
                    </a:lnTo>
                    <a:lnTo>
                      <a:pt x="8937869" y="7602117"/>
                    </a:lnTo>
                    <a:lnTo>
                      <a:pt x="8943078" y="7622541"/>
                    </a:lnTo>
                    <a:lnTo>
                      <a:pt x="8937277" y="7644502"/>
                    </a:lnTo>
                    <a:lnTo>
                      <a:pt x="8931069" y="7666048"/>
                    </a:lnTo>
                    <a:lnTo>
                      <a:pt x="8924850" y="7687592"/>
                    </a:lnTo>
                    <a:lnTo>
                      <a:pt x="8917848" y="7709448"/>
                    </a:lnTo>
                    <a:lnTo>
                      <a:pt x="8922905" y="7731337"/>
                    </a:lnTo>
                    <a:lnTo>
                      <a:pt x="8948057" y="7755856"/>
                    </a:lnTo>
                    <a:lnTo>
                      <a:pt x="8963043" y="7793870"/>
                    </a:lnTo>
                    <a:lnTo>
                      <a:pt x="8968403" y="7815448"/>
                    </a:lnTo>
                    <a:lnTo>
                      <a:pt x="8973231" y="7837436"/>
                    </a:lnTo>
                    <a:lnTo>
                      <a:pt x="8978059" y="7859416"/>
                    </a:lnTo>
                    <a:lnTo>
                      <a:pt x="8981717" y="7880923"/>
                    </a:lnTo>
                    <a:lnTo>
                      <a:pt x="8994672" y="7916364"/>
                    </a:lnTo>
                    <a:lnTo>
                      <a:pt x="9015399" y="7936729"/>
                    </a:lnTo>
                    <a:lnTo>
                      <a:pt x="9041540" y="7933833"/>
                    </a:lnTo>
                    <a:lnTo>
                      <a:pt x="9063877" y="7917729"/>
                    </a:lnTo>
                    <a:lnTo>
                      <a:pt x="9094445" y="7888751"/>
                    </a:lnTo>
                    <a:lnTo>
                      <a:pt x="9122856" y="7859199"/>
                    </a:lnTo>
                    <a:lnTo>
                      <a:pt x="9151267" y="7829647"/>
                    </a:lnTo>
                    <a:lnTo>
                      <a:pt x="9176902" y="7799686"/>
                    </a:lnTo>
                    <a:lnTo>
                      <a:pt x="9183522" y="7772654"/>
                    </a:lnTo>
                    <a:lnTo>
                      <a:pt x="9188145" y="7739502"/>
                    </a:lnTo>
                    <a:lnTo>
                      <a:pt x="9190387" y="7706811"/>
                    </a:lnTo>
                    <a:lnTo>
                      <a:pt x="9204460" y="7676929"/>
                    </a:lnTo>
                    <a:lnTo>
                      <a:pt x="9240945" y="7656168"/>
                    </a:lnTo>
                    <a:lnTo>
                      <a:pt x="9279510" y="7656314"/>
                    </a:lnTo>
                    <a:lnTo>
                      <a:pt x="9316001" y="7653807"/>
                    </a:lnTo>
                    <a:lnTo>
                      <a:pt x="9352485" y="7651302"/>
                    </a:lnTo>
                    <a:lnTo>
                      <a:pt x="9385987" y="7646606"/>
                    </a:lnTo>
                    <a:lnTo>
                      <a:pt x="9401689" y="7629320"/>
                    </a:lnTo>
                    <a:lnTo>
                      <a:pt x="9418044" y="7611330"/>
                    </a:lnTo>
                    <a:lnTo>
                      <a:pt x="9436787" y="7592192"/>
                    </a:lnTo>
                    <a:lnTo>
                      <a:pt x="9452020" y="7572195"/>
                    </a:lnTo>
                    <a:lnTo>
                      <a:pt x="9467247" y="7552199"/>
                    </a:lnTo>
                    <a:lnTo>
                      <a:pt x="9479371" y="7531050"/>
                    </a:lnTo>
                    <a:lnTo>
                      <a:pt x="9483299" y="7505548"/>
                    </a:lnTo>
                    <a:lnTo>
                      <a:pt x="9467294" y="7480672"/>
                    </a:lnTo>
                    <a:lnTo>
                      <a:pt x="9444898" y="7459693"/>
                    </a:lnTo>
                    <a:lnTo>
                      <a:pt x="9422094" y="7441617"/>
                    </a:lnTo>
                    <a:lnTo>
                      <a:pt x="9404690" y="7425875"/>
                    </a:lnTo>
                    <a:lnTo>
                      <a:pt x="9371768" y="7410330"/>
                    </a:lnTo>
                    <a:lnTo>
                      <a:pt x="9339327" y="7403841"/>
                    </a:lnTo>
                    <a:lnTo>
                      <a:pt x="9289739" y="7411082"/>
                    </a:lnTo>
                    <a:lnTo>
                      <a:pt x="9255670" y="7428783"/>
                    </a:lnTo>
                    <a:lnTo>
                      <a:pt x="9216701" y="7449781"/>
                    </a:lnTo>
                    <a:lnTo>
                      <a:pt x="9174989" y="7471967"/>
                    </a:lnTo>
                    <a:lnTo>
                      <a:pt x="9143255" y="7483791"/>
                    </a:lnTo>
                    <a:lnTo>
                      <a:pt x="9111520" y="7495609"/>
                    </a:lnTo>
                    <a:lnTo>
                      <a:pt x="9078282" y="7503641"/>
                    </a:lnTo>
                    <a:lnTo>
                      <a:pt x="9052634" y="7471835"/>
                    </a:lnTo>
                    <a:lnTo>
                      <a:pt x="9053477" y="7438899"/>
                    </a:lnTo>
                    <a:lnTo>
                      <a:pt x="9067228" y="7409829"/>
                    </a:lnTo>
                    <a:lnTo>
                      <a:pt x="9103515" y="7370550"/>
                    </a:lnTo>
                    <a:lnTo>
                      <a:pt x="9137305" y="7347277"/>
                    </a:lnTo>
                    <a:lnTo>
                      <a:pt x="9155493" y="7326008"/>
                    </a:lnTo>
                    <a:lnTo>
                      <a:pt x="9170425" y="7308550"/>
                    </a:lnTo>
                    <a:lnTo>
                      <a:pt x="9181339" y="7270235"/>
                    </a:lnTo>
                    <a:lnTo>
                      <a:pt x="9190393" y="7232386"/>
                    </a:lnTo>
                    <a:lnTo>
                      <a:pt x="9208544" y="7215827"/>
                    </a:lnTo>
                    <a:lnTo>
                      <a:pt x="9240622" y="7216150"/>
                    </a:lnTo>
                    <a:lnTo>
                      <a:pt x="9260333" y="7192685"/>
                    </a:lnTo>
                    <a:lnTo>
                      <a:pt x="9273827" y="7165494"/>
                    </a:lnTo>
                    <a:lnTo>
                      <a:pt x="9287320" y="7138303"/>
                    </a:lnTo>
                    <a:lnTo>
                      <a:pt x="9295069" y="7108119"/>
                    </a:lnTo>
                    <a:lnTo>
                      <a:pt x="9293636" y="7078995"/>
                    </a:lnTo>
                    <a:lnTo>
                      <a:pt x="9288790" y="7052597"/>
                    </a:lnTo>
                    <a:lnTo>
                      <a:pt x="9283969" y="7027543"/>
                    </a:lnTo>
                    <a:lnTo>
                      <a:pt x="9278713" y="6996566"/>
                    </a:lnTo>
                    <a:lnTo>
                      <a:pt x="9268332" y="6972428"/>
                    </a:lnTo>
                    <a:lnTo>
                      <a:pt x="9256147" y="6950580"/>
                    </a:lnTo>
                    <a:lnTo>
                      <a:pt x="9243953" y="6928738"/>
                    </a:lnTo>
                    <a:lnTo>
                      <a:pt x="9229851" y="6908366"/>
                    </a:lnTo>
                    <a:lnTo>
                      <a:pt x="9185417" y="6855369"/>
                    </a:lnTo>
                    <a:lnTo>
                      <a:pt x="9152770" y="6814560"/>
                    </a:lnTo>
                    <a:lnTo>
                      <a:pt x="9132899" y="6785258"/>
                    </a:lnTo>
                    <a:lnTo>
                      <a:pt x="9115511" y="6751374"/>
                    </a:lnTo>
                    <a:lnTo>
                      <a:pt x="9101081" y="6719349"/>
                    </a:lnTo>
                    <a:lnTo>
                      <a:pt x="9082080" y="6679575"/>
                    </a:lnTo>
                    <a:lnTo>
                      <a:pt x="9072806" y="6645453"/>
                    </a:lnTo>
                    <a:lnTo>
                      <a:pt x="9068435" y="6615974"/>
                    </a:lnTo>
                    <a:lnTo>
                      <a:pt x="9064069" y="6586495"/>
                    </a:lnTo>
                    <a:lnTo>
                      <a:pt x="9064512" y="6561757"/>
                    </a:lnTo>
                    <a:lnTo>
                      <a:pt x="9067076" y="6539804"/>
                    </a:lnTo>
                    <a:lnTo>
                      <a:pt x="9072208" y="6495887"/>
                    </a:lnTo>
                    <a:lnTo>
                      <a:pt x="9083156" y="6464205"/>
                    </a:lnTo>
                    <a:lnTo>
                      <a:pt x="9069793" y="6433711"/>
                    </a:lnTo>
                    <a:lnTo>
                      <a:pt x="9031907" y="6415067"/>
                    </a:lnTo>
                    <a:lnTo>
                      <a:pt x="9008612" y="6407337"/>
                    </a:lnTo>
                    <a:lnTo>
                      <a:pt x="8985466" y="6399700"/>
                    </a:lnTo>
                    <a:lnTo>
                      <a:pt x="8962311" y="6392070"/>
                    </a:lnTo>
                    <a:lnTo>
                      <a:pt x="8938771" y="6385047"/>
                    </a:lnTo>
                    <a:lnTo>
                      <a:pt x="8916093" y="6376579"/>
                    </a:lnTo>
                    <a:lnTo>
                      <a:pt x="8892476" y="6364946"/>
                    </a:lnTo>
                    <a:lnTo>
                      <a:pt x="8868980" y="6350133"/>
                    </a:lnTo>
                    <a:lnTo>
                      <a:pt x="8848085" y="6335777"/>
                    </a:lnTo>
                    <a:lnTo>
                      <a:pt x="8815579" y="6313954"/>
                    </a:lnTo>
                    <a:lnTo>
                      <a:pt x="8780753" y="6293068"/>
                    </a:lnTo>
                    <a:lnTo>
                      <a:pt x="8752869" y="6266405"/>
                    </a:lnTo>
                    <a:lnTo>
                      <a:pt x="8726725" y="6238185"/>
                    </a:lnTo>
                    <a:lnTo>
                      <a:pt x="8708286" y="6204847"/>
                    </a:lnTo>
                    <a:lnTo>
                      <a:pt x="8699818" y="6164388"/>
                    </a:lnTo>
                    <a:lnTo>
                      <a:pt x="8698460" y="6141267"/>
                    </a:lnTo>
                    <a:lnTo>
                      <a:pt x="8703902" y="6118138"/>
                    </a:lnTo>
                    <a:lnTo>
                      <a:pt x="8717389" y="6094304"/>
                    </a:lnTo>
                    <a:lnTo>
                      <a:pt x="8738873" y="6080521"/>
                    </a:lnTo>
                    <a:lnTo>
                      <a:pt x="8762391" y="6069178"/>
                    </a:lnTo>
                    <a:lnTo>
                      <a:pt x="8785909" y="6057834"/>
                    </a:lnTo>
                    <a:lnTo>
                      <a:pt x="8811424" y="6048127"/>
                    </a:lnTo>
                    <a:lnTo>
                      <a:pt x="8830406" y="6029726"/>
                    </a:lnTo>
                    <a:lnTo>
                      <a:pt x="8835847" y="6007963"/>
                    </a:lnTo>
                    <a:lnTo>
                      <a:pt x="8800463" y="5975919"/>
                    </a:lnTo>
                    <a:lnTo>
                      <a:pt x="8765802" y="5965203"/>
                    </a:lnTo>
                    <a:lnTo>
                      <a:pt x="8735202" y="5956279"/>
                    </a:lnTo>
                    <a:lnTo>
                      <a:pt x="8732347" y="5911988"/>
                    </a:lnTo>
                    <a:lnTo>
                      <a:pt x="8727035" y="5888273"/>
                    </a:lnTo>
                    <a:lnTo>
                      <a:pt x="8714791" y="5865144"/>
                    </a:lnTo>
                    <a:lnTo>
                      <a:pt x="8675438" y="5870097"/>
                    </a:lnTo>
                    <a:lnTo>
                      <a:pt x="8617833" y="5875736"/>
                    </a:lnTo>
                    <a:lnTo>
                      <a:pt x="8561089" y="5876025"/>
                    </a:lnTo>
                    <a:lnTo>
                      <a:pt x="8504345" y="5876356"/>
                    </a:lnTo>
                    <a:lnTo>
                      <a:pt x="8448612" y="5871832"/>
                    </a:lnTo>
                    <a:lnTo>
                      <a:pt x="8414186" y="5856986"/>
                    </a:lnTo>
                    <a:lnTo>
                      <a:pt x="8397313" y="5835282"/>
                    </a:lnTo>
                    <a:lnTo>
                      <a:pt x="8387537" y="5797072"/>
                    </a:lnTo>
                    <a:lnTo>
                      <a:pt x="8384703" y="5773390"/>
                    </a:lnTo>
                    <a:lnTo>
                      <a:pt x="8382901" y="5749529"/>
                    </a:lnTo>
                    <a:lnTo>
                      <a:pt x="8379308" y="5701808"/>
                    </a:lnTo>
                    <a:lnTo>
                      <a:pt x="8380256" y="5651562"/>
                    </a:lnTo>
                    <a:lnTo>
                      <a:pt x="8377460" y="5629831"/>
                    </a:lnTo>
                    <a:lnTo>
                      <a:pt x="8371755" y="5600267"/>
                    </a:lnTo>
                    <a:lnTo>
                      <a:pt x="8364118" y="5569621"/>
                    </a:lnTo>
                    <a:lnTo>
                      <a:pt x="8357055" y="5540061"/>
                    </a:lnTo>
                    <a:lnTo>
                      <a:pt x="8351002" y="5505643"/>
                    </a:lnTo>
                    <a:lnTo>
                      <a:pt x="8346175" y="5482930"/>
                    </a:lnTo>
                    <a:lnTo>
                      <a:pt x="8341347" y="5460217"/>
                    </a:lnTo>
                    <a:lnTo>
                      <a:pt x="8335220" y="5438620"/>
                    </a:lnTo>
                    <a:lnTo>
                      <a:pt x="8256999" y="5416474"/>
                    </a:lnTo>
                    <a:lnTo>
                      <a:pt x="8222883" y="5411375"/>
                    </a:lnTo>
                    <a:lnTo>
                      <a:pt x="8201998" y="5391795"/>
                    </a:lnTo>
                    <a:lnTo>
                      <a:pt x="8181112" y="5372222"/>
                    </a:lnTo>
                    <a:lnTo>
                      <a:pt x="8173581" y="5338759"/>
                    </a:lnTo>
                    <a:lnTo>
                      <a:pt x="8154388" y="5265298"/>
                    </a:lnTo>
                    <a:lnTo>
                      <a:pt x="8176074" y="5240759"/>
                    </a:lnTo>
                    <a:lnTo>
                      <a:pt x="8197914" y="5228572"/>
                    </a:lnTo>
                    <a:lnTo>
                      <a:pt x="8219764" y="5216384"/>
                    </a:lnTo>
                    <a:lnTo>
                      <a:pt x="8243477" y="5203609"/>
                    </a:lnTo>
                    <a:lnTo>
                      <a:pt x="8254915" y="5176102"/>
                    </a:lnTo>
                    <a:lnTo>
                      <a:pt x="8248240" y="5153759"/>
                    </a:lnTo>
                    <a:lnTo>
                      <a:pt x="8238256" y="5131085"/>
                    </a:lnTo>
                    <a:lnTo>
                      <a:pt x="8217482" y="5078088"/>
                    </a:lnTo>
                    <a:lnTo>
                      <a:pt x="8201371" y="5054486"/>
                    </a:lnTo>
                    <a:lnTo>
                      <a:pt x="8185673" y="5039509"/>
                    </a:lnTo>
                    <a:lnTo>
                      <a:pt x="8169978" y="5024525"/>
                    </a:lnTo>
                    <a:lnTo>
                      <a:pt x="8139425" y="5017738"/>
                    </a:lnTo>
                    <a:lnTo>
                      <a:pt x="8109926" y="5015945"/>
                    </a:lnTo>
                    <a:lnTo>
                      <a:pt x="8083986" y="5030679"/>
                    </a:lnTo>
                    <a:lnTo>
                      <a:pt x="8063252" y="5017738"/>
                    </a:lnTo>
                    <a:lnTo>
                      <a:pt x="8045499" y="4987349"/>
                    </a:lnTo>
                    <a:lnTo>
                      <a:pt x="8012955" y="4969656"/>
                    </a:lnTo>
                    <a:lnTo>
                      <a:pt x="7984364" y="4953815"/>
                    </a:lnTo>
                    <a:lnTo>
                      <a:pt x="7955777" y="4937966"/>
                    </a:lnTo>
                    <a:lnTo>
                      <a:pt x="7930411" y="4924843"/>
                    </a:lnTo>
                    <a:lnTo>
                      <a:pt x="7931406" y="4895154"/>
                    </a:lnTo>
                    <a:lnTo>
                      <a:pt x="7950360" y="4880361"/>
                    </a:lnTo>
                    <a:lnTo>
                      <a:pt x="7970567" y="4867197"/>
                    </a:lnTo>
                    <a:lnTo>
                      <a:pt x="7982631" y="4845888"/>
                    </a:lnTo>
                    <a:lnTo>
                      <a:pt x="7977559" y="4816436"/>
                    </a:lnTo>
                    <a:lnTo>
                      <a:pt x="7974235" y="4782683"/>
                    </a:lnTo>
                    <a:lnTo>
                      <a:pt x="7985722" y="4762022"/>
                    </a:lnTo>
                    <a:lnTo>
                      <a:pt x="8011780" y="4746715"/>
                    </a:lnTo>
                    <a:lnTo>
                      <a:pt x="8046720" y="4739250"/>
                    </a:lnTo>
                    <a:lnTo>
                      <a:pt x="8075500" y="4737541"/>
                    </a:lnTo>
                    <a:lnTo>
                      <a:pt x="8094308" y="4711399"/>
                    </a:lnTo>
                    <a:lnTo>
                      <a:pt x="8084826" y="4678971"/>
                    </a:lnTo>
                    <a:lnTo>
                      <a:pt x="8071416" y="4649130"/>
                    </a:lnTo>
                    <a:lnTo>
                      <a:pt x="8058009" y="4619282"/>
                    </a:lnTo>
                    <a:lnTo>
                      <a:pt x="8040203" y="4592276"/>
                    </a:lnTo>
                    <a:lnTo>
                      <a:pt x="8003021" y="4571383"/>
                    </a:lnTo>
                    <a:lnTo>
                      <a:pt x="7973689" y="4570815"/>
                    </a:lnTo>
                    <a:lnTo>
                      <a:pt x="7943554" y="4571600"/>
                    </a:lnTo>
                    <a:lnTo>
                      <a:pt x="7913429" y="4572386"/>
                    </a:lnTo>
                    <a:lnTo>
                      <a:pt x="7883015" y="4574350"/>
                    </a:lnTo>
                    <a:lnTo>
                      <a:pt x="7855144" y="4566153"/>
                    </a:lnTo>
                    <a:lnTo>
                      <a:pt x="7830795" y="4553584"/>
                    </a:lnTo>
                    <a:lnTo>
                      <a:pt x="7811485" y="4532486"/>
                    </a:lnTo>
                    <a:lnTo>
                      <a:pt x="7798013" y="4509028"/>
                    </a:lnTo>
                    <a:lnTo>
                      <a:pt x="7785421" y="4474029"/>
                    </a:lnTo>
                    <a:lnTo>
                      <a:pt x="7783412" y="4437935"/>
                    </a:lnTo>
                    <a:lnTo>
                      <a:pt x="7789855" y="4401570"/>
                    </a:lnTo>
                    <a:lnTo>
                      <a:pt x="7800189" y="4366327"/>
                    </a:lnTo>
                    <a:lnTo>
                      <a:pt x="7821608" y="4334302"/>
                    </a:lnTo>
                    <a:lnTo>
                      <a:pt x="7848345" y="4310436"/>
                    </a:lnTo>
                    <a:lnTo>
                      <a:pt x="7881121" y="4286113"/>
                    </a:lnTo>
                    <a:lnTo>
                      <a:pt x="7916220" y="4266758"/>
                    </a:lnTo>
                    <a:lnTo>
                      <a:pt x="7951721" y="4247869"/>
                    </a:lnTo>
                    <a:lnTo>
                      <a:pt x="7971354" y="4233130"/>
                    </a:lnTo>
                    <a:lnTo>
                      <a:pt x="7995985" y="4220078"/>
                    </a:lnTo>
                    <a:lnTo>
                      <a:pt x="8018052" y="4213583"/>
                    </a:lnTo>
                    <a:lnTo>
                      <a:pt x="8038773" y="4205703"/>
                    </a:lnTo>
                    <a:lnTo>
                      <a:pt x="8059495" y="4197827"/>
                    </a:lnTo>
                    <a:lnTo>
                      <a:pt x="8078666" y="4188172"/>
                    </a:lnTo>
                    <a:lnTo>
                      <a:pt x="8090451" y="4147410"/>
                    </a:lnTo>
                    <a:lnTo>
                      <a:pt x="8086343" y="4126616"/>
                    </a:lnTo>
                    <a:lnTo>
                      <a:pt x="8075534" y="4086203"/>
                    </a:lnTo>
                    <a:lnTo>
                      <a:pt x="8069665" y="4065956"/>
                    </a:lnTo>
                    <a:lnTo>
                      <a:pt x="8064611" y="4042478"/>
                    </a:lnTo>
                    <a:lnTo>
                      <a:pt x="8069742" y="4018697"/>
                    </a:lnTo>
                    <a:lnTo>
                      <a:pt x="8095824" y="4003278"/>
                    </a:lnTo>
                    <a:lnTo>
                      <a:pt x="8125825" y="3989429"/>
                    </a:lnTo>
                    <a:lnTo>
                      <a:pt x="8155820" y="3975586"/>
                    </a:lnTo>
                    <a:lnTo>
                      <a:pt x="8189270" y="3964223"/>
                    </a:lnTo>
                    <a:lnTo>
                      <a:pt x="8210155" y="3949985"/>
                    </a:lnTo>
                    <a:lnTo>
                      <a:pt x="8214626" y="3912789"/>
                    </a:lnTo>
                    <a:lnTo>
                      <a:pt x="8197526" y="3875647"/>
                    </a:lnTo>
                    <a:lnTo>
                      <a:pt x="8183763" y="3856997"/>
                    </a:lnTo>
                    <a:lnTo>
                      <a:pt x="8173435" y="3838452"/>
                    </a:lnTo>
                    <a:lnTo>
                      <a:pt x="8163107" y="3819906"/>
                    </a:lnTo>
                    <a:lnTo>
                      <a:pt x="8159836" y="3784043"/>
                    </a:lnTo>
                    <a:lnTo>
                      <a:pt x="8175577" y="3748168"/>
                    </a:lnTo>
                    <a:lnTo>
                      <a:pt x="8207445" y="3730994"/>
                    </a:lnTo>
                    <a:lnTo>
                      <a:pt x="8218601" y="3704358"/>
                    </a:lnTo>
                    <a:lnTo>
                      <a:pt x="8218759" y="3683345"/>
                    </a:lnTo>
                    <a:lnTo>
                      <a:pt x="8201560" y="3650780"/>
                    </a:lnTo>
                    <a:lnTo>
                      <a:pt x="8165271" y="3627618"/>
                    </a:lnTo>
                    <a:lnTo>
                      <a:pt x="8146237" y="3616269"/>
                    </a:lnTo>
                    <a:lnTo>
                      <a:pt x="8124204" y="3605454"/>
                    </a:lnTo>
                    <a:lnTo>
                      <a:pt x="8104062" y="3593616"/>
                    </a:lnTo>
                    <a:lnTo>
                      <a:pt x="8083921" y="3581772"/>
                    </a:lnTo>
                    <a:lnTo>
                      <a:pt x="8065662" y="3569208"/>
                    </a:lnTo>
                    <a:lnTo>
                      <a:pt x="8053737" y="3551448"/>
                    </a:lnTo>
                    <a:lnTo>
                      <a:pt x="8056902" y="3524884"/>
                    </a:lnTo>
                    <a:lnTo>
                      <a:pt x="8076824" y="3501973"/>
                    </a:lnTo>
                    <a:lnTo>
                      <a:pt x="8098621" y="3482075"/>
                    </a:lnTo>
                    <a:lnTo>
                      <a:pt x="8120418" y="3462185"/>
                    </a:lnTo>
                    <a:lnTo>
                      <a:pt x="8144826" y="3444716"/>
                    </a:lnTo>
                    <a:lnTo>
                      <a:pt x="8152047" y="3411602"/>
                    </a:lnTo>
                    <a:lnTo>
                      <a:pt x="8144857" y="3382598"/>
                    </a:lnTo>
                    <a:lnTo>
                      <a:pt x="8125825" y="3359661"/>
                    </a:lnTo>
                    <a:lnTo>
                      <a:pt x="8104062" y="3355585"/>
                    </a:lnTo>
                    <a:lnTo>
                      <a:pt x="8080941" y="3352862"/>
                    </a:lnTo>
                    <a:lnTo>
                      <a:pt x="8058347" y="3366296"/>
                    </a:lnTo>
                    <a:lnTo>
                      <a:pt x="8039886" y="3377046"/>
                    </a:lnTo>
                    <a:lnTo>
                      <a:pt x="8002289" y="3385804"/>
                    </a:lnTo>
                    <a:lnTo>
                      <a:pt x="7959879" y="3370543"/>
                    </a:lnTo>
                    <a:lnTo>
                      <a:pt x="7948956" y="3340140"/>
                    </a:lnTo>
                    <a:lnTo>
                      <a:pt x="7943601" y="3308452"/>
                    </a:lnTo>
                    <a:lnTo>
                      <a:pt x="7936755" y="3278049"/>
                    </a:lnTo>
                    <a:lnTo>
                      <a:pt x="7930064" y="3257368"/>
                    </a:lnTo>
                    <a:lnTo>
                      <a:pt x="7908192" y="3234523"/>
                    </a:lnTo>
                    <a:lnTo>
                      <a:pt x="7881729" y="3215259"/>
                    </a:lnTo>
                    <a:lnTo>
                      <a:pt x="7854254" y="3184060"/>
                    </a:lnTo>
                    <a:lnTo>
                      <a:pt x="7844019" y="3140994"/>
                    </a:lnTo>
                    <a:lnTo>
                      <a:pt x="7829304" y="3101227"/>
                    </a:lnTo>
                    <a:lnTo>
                      <a:pt x="7821946" y="3081337"/>
                    </a:lnTo>
                    <a:lnTo>
                      <a:pt x="7803461" y="3048178"/>
                    </a:lnTo>
                    <a:lnTo>
                      <a:pt x="7779890" y="3023624"/>
                    </a:lnTo>
                    <a:lnTo>
                      <a:pt x="7741719" y="3020519"/>
                    </a:lnTo>
                    <a:lnTo>
                      <a:pt x="7701662" y="3020142"/>
                    </a:lnTo>
                    <a:lnTo>
                      <a:pt x="7661999" y="3016891"/>
                    </a:lnTo>
                    <a:lnTo>
                      <a:pt x="7622331" y="3013640"/>
                    </a:lnTo>
                    <a:lnTo>
                      <a:pt x="7582631" y="3008073"/>
                    </a:lnTo>
                    <a:lnTo>
                      <a:pt x="7564064" y="2995128"/>
                    </a:lnTo>
                    <a:lnTo>
                      <a:pt x="7547309" y="2972342"/>
                    </a:lnTo>
                    <a:lnTo>
                      <a:pt x="7542630" y="2948206"/>
                    </a:lnTo>
                    <a:lnTo>
                      <a:pt x="7540937" y="2923040"/>
                    </a:lnTo>
                    <a:lnTo>
                      <a:pt x="7539253" y="2897874"/>
                    </a:lnTo>
                    <a:lnTo>
                      <a:pt x="7540615" y="2871071"/>
                    </a:lnTo>
                    <a:lnTo>
                      <a:pt x="7536860" y="2844144"/>
                    </a:lnTo>
                    <a:lnTo>
                      <a:pt x="7533945" y="2823120"/>
                    </a:lnTo>
                    <a:lnTo>
                      <a:pt x="7517822" y="2796542"/>
                    </a:lnTo>
                    <a:lnTo>
                      <a:pt x="7497727" y="2773553"/>
                    </a:lnTo>
                    <a:lnTo>
                      <a:pt x="7478067" y="2751518"/>
                    </a:lnTo>
                    <a:lnTo>
                      <a:pt x="7464771" y="2723089"/>
                    </a:lnTo>
                    <a:lnTo>
                      <a:pt x="7458737" y="2684257"/>
                    </a:lnTo>
                    <a:lnTo>
                      <a:pt x="7464771" y="2653717"/>
                    </a:lnTo>
                    <a:lnTo>
                      <a:pt x="7476860" y="2616119"/>
                    </a:lnTo>
                    <a:lnTo>
                      <a:pt x="7498940" y="2585222"/>
                    </a:lnTo>
                    <a:lnTo>
                      <a:pt x="7530060" y="2562589"/>
                    </a:lnTo>
                    <a:lnTo>
                      <a:pt x="7590934" y="2531651"/>
                    </a:lnTo>
                    <a:lnTo>
                      <a:pt x="7630721" y="2506816"/>
                    </a:lnTo>
                    <a:lnTo>
                      <a:pt x="7650611" y="2494404"/>
                    </a:lnTo>
                    <a:lnTo>
                      <a:pt x="7669677" y="2481168"/>
                    </a:lnTo>
                    <a:lnTo>
                      <a:pt x="7697861" y="2453574"/>
                    </a:lnTo>
                    <a:lnTo>
                      <a:pt x="7708248" y="2425204"/>
                    </a:lnTo>
                    <a:lnTo>
                      <a:pt x="7710967" y="2369436"/>
                    </a:lnTo>
                    <a:lnTo>
                      <a:pt x="7713683" y="2315029"/>
                    </a:lnTo>
                    <a:lnTo>
                      <a:pt x="7684566" y="2249521"/>
                    </a:lnTo>
                    <a:lnTo>
                      <a:pt x="7655194" y="2199414"/>
                    </a:lnTo>
                    <a:lnTo>
                      <a:pt x="7640512" y="2174352"/>
                    </a:lnTo>
                    <a:lnTo>
                      <a:pt x="7626169" y="2147735"/>
                    </a:lnTo>
                    <a:lnTo>
                      <a:pt x="7615748" y="2123242"/>
                    </a:lnTo>
                    <a:lnTo>
                      <a:pt x="7605330" y="2098743"/>
                    </a:lnTo>
                    <a:lnTo>
                      <a:pt x="7599023" y="2076425"/>
                    </a:lnTo>
                    <a:lnTo>
                      <a:pt x="7602105" y="2044163"/>
                    </a:lnTo>
                    <a:lnTo>
                      <a:pt x="7618473" y="2026667"/>
                    </a:lnTo>
                    <a:lnTo>
                      <a:pt x="7639306" y="2013833"/>
                    </a:lnTo>
                    <a:lnTo>
                      <a:pt x="7662923" y="2004138"/>
                    </a:lnTo>
                    <a:lnTo>
                      <a:pt x="7683762" y="1994022"/>
                    </a:lnTo>
                    <a:lnTo>
                      <a:pt x="7698720" y="1969541"/>
                    </a:lnTo>
                    <a:lnTo>
                      <a:pt x="7698317" y="1938038"/>
                    </a:lnTo>
                    <a:lnTo>
                      <a:pt x="7704167" y="1902887"/>
                    </a:lnTo>
                    <a:lnTo>
                      <a:pt x="7706738" y="1867960"/>
                    </a:lnTo>
                    <a:lnTo>
                      <a:pt x="7701867" y="1836226"/>
                    </a:lnTo>
                    <a:lnTo>
                      <a:pt x="7668799" y="1815835"/>
                    </a:lnTo>
                    <a:lnTo>
                      <a:pt x="7649312" y="1805626"/>
                    </a:lnTo>
                    <a:lnTo>
                      <a:pt x="7623596" y="1795997"/>
                    </a:lnTo>
                    <a:lnTo>
                      <a:pt x="7596710" y="1784554"/>
                    </a:lnTo>
                    <a:lnTo>
                      <a:pt x="7569822" y="1773105"/>
                    </a:lnTo>
                    <a:lnTo>
                      <a:pt x="7542308" y="1759719"/>
                    </a:lnTo>
                    <a:lnTo>
                      <a:pt x="7517816" y="1741028"/>
                    </a:lnTo>
                    <a:lnTo>
                      <a:pt x="7493328" y="1722332"/>
                    </a:lnTo>
                    <a:lnTo>
                      <a:pt x="7471636" y="1698161"/>
                    </a:lnTo>
                    <a:lnTo>
                      <a:pt x="7459333" y="1666216"/>
                    </a:lnTo>
                    <a:lnTo>
                      <a:pt x="7448363" y="1637746"/>
                    </a:lnTo>
                    <a:lnTo>
                      <a:pt x="7443979" y="1601077"/>
                    </a:lnTo>
                    <a:lnTo>
                      <a:pt x="7444366" y="1564199"/>
                    </a:lnTo>
                    <a:lnTo>
                      <a:pt x="7444763" y="1527320"/>
                    </a:lnTo>
                    <a:lnTo>
                      <a:pt x="7450357" y="1490594"/>
                    </a:lnTo>
                    <a:lnTo>
                      <a:pt x="7460691" y="1462183"/>
                    </a:lnTo>
                    <a:lnTo>
                      <a:pt x="7473992" y="1440657"/>
                    </a:lnTo>
                    <a:lnTo>
                      <a:pt x="7491349" y="1408645"/>
                    </a:lnTo>
                    <a:lnTo>
                      <a:pt x="7502164" y="1388630"/>
                    </a:lnTo>
                    <a:lnTo>
                      <a:pt x="7509658" y="1368330"/>
                    </a:lnTo>
                    <a:lnTo>
                      <a:pt x="7517149" y="1348032"/>
                    </a:lnTo>
                    <a:lnTo>
                      <a:pt x="7521896" y="1303041"/>
                    </a:lnTo>
                    <a:lnTo>
                      <a:pt x="7511947" y="1280512"/>
                    </a:lnTo>
                    <a:lnTo>
                      <a:pt x="7497027" y="1264434"/>
                    </a:lnTo>
                    <a:lnTo>
                      <a:pt x="7478370" y="1254073"/>
                    </a:lnTo>
                    <a:lnTo>
                      <a:pt x="7459714" y="1243713"/>
                    </a:lnTo>
                    <a:lnTo>
                      <a:pt x="7437514" y="1238484"/>
                    </a:lnTo>
                    <a:lnTo>
                      <a:pt x="7414439" y="1235034"/>
                    </a:lnTo>
                    <a:lnTo>
                      <a:pt x="7368295" y="1228123"/>
                    </a:lnTo>
                    <a:lnTo>
                      <a:pt x="7317890" y="1229593"/>
                    </a:lnTo>
                    <a:lnTo>
                      <a:pt x="7279786" y="1218711"/>
                    </a:lnTo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59" name="Zhytomyr¬0" descr="Zhytomyr¬0">
                <a:extLst>
                  <a:ext uri="{FF2B5EF4-FFF2-40B4-BE49-F238E27FC236}">
                    <a16:creationId xmlns:a16="http://schemas.microsoft.com/office/drawing/2014/main" id="{8A0F30E3-440A-41F3-BABB-232E1455083D}"/>
                  </a:ext>
                </a:extLst>
              </p:cNvPr>
              <p:cNvSpPr/>
              <p:nvPr/>
            </p:nvSpPr>
            <p:spPr>
              <a:xfrm>
                <a:off x="17652026" y="3777267"/>
                <a:ext cx="8953618" cy="10932177"/>
              </a:xfrm>
              <a:custGeom>
                <a:avLst/>
                <a:gdLst/>
                <a:ahLst/>
                <a:cxnLst/>
                <a:rect l="0" t="0" r="0" b="0"/>
                <a:pathLst>
                  <a:path w="8953623" h="10932180">
                    <a:moveTo>
                      <a:pt x="3647014" y="0"/>
                    </a:moveTo>
                    <a:lnTo>
                      <a:pt x="3540790" y="46501"/>
                    </a:lnTo>
                    <a:lnTo>
                      <a:pt x="3473503" y="134660"/>
                    </a:lnTo>
                    <a:lnTo>
                      <a:pt x="3444900" y="172129"/>
                    </a:lnTo>
                    <a:lnTo>
                      <a:pt x="3421179" y="226877"/>
                    </a:lnTo>
                    <a:lnTo>
                      <a:pt x="3400054" y="269320"/>
                    </a:lnTo>
                    <a:lnTo>
                      <a:pt x="3374526" y="320518"/>
                    </a:lnTo>
                    <a:lnTo>
                      <a:pt x="3360097" y="382853"/>
                    </a:lnTo>
                    <a:lnTo>
                      <a:pt x="3321160" y="425742"/>
                    </a:lnTo>
                    <a:lnTo>
                      <a:pt x="3302504" y="446294"/>
                    </a:lnTo>
                    <a:lnTo>
                      <a:pt x="3241652" y="480001"/>
                    </a:lnTo>
                    <a:lnTo>
                      <a:pt x="3215069" y="489671"/>
                    </a:lnTo>
                    <a:lnTo>
                      <a:pt x="3137577" y="517896"/>
                    </a:lnTo>
                    <a:lnTo>
                      <a:pt x="3062363" y="508714"/>
                    </a:lnTo>
                    <a:lnTo>
                      <a:pt x="2982472" y="508714"/>
                    </a:lnTo>
                    <a:lnTo>
                      <a:pt x="2935734" y="508714"/>
                    </a:lnTo>
                    <a:lnTo>
                      <a:pt x="2896336" y="522423"/>
                    </a:lnTo>
                    <a:lnTo>
                      <a:pt x="2843735" y="516875"/>
                    </a:lnTo>
                    <a:lnTo>
                      <a:pt x="2817679" y="510138"/>
                    </a:lnTo>
                    <a:lnTo>
                      <a:pt x="2786690" y="501850"/>
                    </a:lnTo>
                    <a:lnTo>
                      <a:pt x="2762116" y="491032"/>
                    </a:lnTo>
                    <a:lnTo>
                      <a:pt x="2737530" y="480192"/>
                    </a:lnTo>
                    <a:lnTo>
                      <a:pt x="2717060" y="463743"/>
                    </a:lnTo>
                    <a:lnTo>
                      <a:pt x="2691394" y="452946"/>
                    </a:lnTo>
                    <a:lnTo>
                      <a:pt x="2630588" y="421024"/>
                    </a:lnTo>
                    <a:lnTo>
                      <a:pt x="2554418" y="329890"/>
                    </a:lnTo>
                    <a:lnTo>
                      <a:pt x="2503683" y="280201"/>
                    </a:lnTo>
                    <a:lnTo>
                      <a:pt x="2484471" y="261392"/>
                    </a:lnTo>
                    <a:lnTo>
                      <a:pt x="2469382" y="229916"/>
                    </a:lnTo>
                    <a:lnTo>
                      <a:pt x="2445192" y="216272"/>
                    </a:lnTo>
                    <a:lnTo>
                      <a:pt x="2374356" y="191108"/>
                    </a:lnTo>
                    <a:lnTo>
                      <a:pt x="2342648" y="208408"/>
                    </a:lnTo>
                    <a:lnTo>
                      <a:pt x="2313254" y="225792"/>
                    </a:lnTo>
                    <a:lnTo>
                      <a:pt x="2255253" y="267024"/>
                    </a:lnTo>
                    <a:lnTo>
                      <a:pt x="2179022" y="353163"/>
                    </a:lnTo>
                    <a:lnTo>
                      <a:pt x="2182676" y="428463"/>
                    </a:lnTo>
                    <a:lnTo>
                      <a:pt x="2184119" y="458451"/>
                    </a:lnTo>
                    <a:lnTo>
                      <a:pt x="2200442" y="489204"/>
                    </a:lnTo>
                    <a:lnTo>
                      <a:pt x="2207163" y="518236"/>
                    </a:lnTo>
                    <a:lnTo>
                      <a:pt x="2212834" y="542762"/>
                    </a:lnTo>
                    <a:lnTo>
                      <a:pt x="2217082" y="665669"/>
                    </a:lnTo>
                    <a:lnTo>
                      <a:pt x="2208521" y="686900"/>
                    </a:lnTo>
                    <a:lnTo>
                      <a:pt x="2188862" y="717802"/>
                    </a:lnTo>
                    <a:lnTo>
                      <a:pt x="2144122" y="766918"/>
                    </a:lnTo>
                    <a:lnTo>
                      <a:pt x="2117999" y="806279"/>
                    </a:lnTo>
                    <a:lnTo>
                      <a:pt x="2091540" y="850124"/>
                    </a:lnTo>
                    <a:lnTo>
                      <a:pt x="2069737" y="886276"/>
                    </a:lnTo>
                    <a:lnTo>
                      <a:pt x="2030459" y="912205"/>
                    </a:lnTo>
                    <a:lnTo>
                      <a:pt x="2008570" y="946698"/>
                    </a:lnTo>
                    <a:lnTo>
                      <a:pt x="1994246" y="969269"/>
                    </a:lnTo>
                    <a:lnTo>
                      <a:pt x="1995816" y="996431"/>
                    </a:lnTo>
                    <a:lnTo>
                      <a:pt x="1978642" y="1020149"/>
                    </a:lnTo>
                    <a:lnTo>
                      <a:pt x="1934179" y="1025399"/>
                    </a:lnTo>
                    <a:lnTo>
                      <a:pt x="1883728" y="970672"/>
                    </a:lnTo>
                    <a:lnTo>
                      <a:pt x="1857586" y="953499"/>
                    </a:lnTo>
                    <a:lnTo>
                      <a:pt x="1828575" y="934435"/>
                    </a:lnTo>
                    <a:lnTo>
                      <a:pt x="1742842" y="901068"/>
                    </a:lnTo>
                    <a:lnTo>
                      <a:pt x="1727008" y="875967"/>
                    </a:lnTo>
                    <a:lnTo>
                      <a:pt x="1735165" y="851485"/>
                    </a:lnTo>
                    <a:lnTo>
                      <a:pt x="1712782" y="876946"/>
                    </a:lnTo>
                    <a:lnTo>
                      <a:pt x="1689357" y="893860"/>
                    </a:lnTo>
                    <a:lnTo>
                      <a:pt x="1668338" y="903094"/>
                    </a:lnTo>
                    <a:lnTo>
                      <a:pt x="1645395" y="905892"/>
                    </a:lnTo>
                    <a:lnTo>
                      <a:pt x="1621318" y="908831"/>
                    </a:lnTo>
                    <a:lnTo>
                      <a:pt x="1583509" y="908230"/>
                    </a:lnTo>
                    <a:lnTo>
                      <a:pt x="1561066" y="915413"/>
                    </a:lnTo>
                    <a:lnTo>
                      <a:pt x="1535221" y="930376"/>
                    </a:lnTo>
                    <a:lnTo>
                      <a:pt x="1480813" y="957580"/>
                    </a:lnTo>
                    <a:lnTo>
                      <a:pt x="1450865" y="969907"/>
                    </a:lnTo>
                    <a:lnTo>
                      <a:pt x="1425831" y="967908"/>
                    </a:lnTo>
                    <a:lnTo>
                      <a:pt x="1396477" y="990225"/>
                    </a:lnTo>
                    <a:lnTo>
                      <a:pt x="1370473" y="1049656"/>
                    </a:lnTo>
                    <a:lnTo>
                      <a:pt x="1357033" y="1097680"/>
                    </a:lnTo>
                    <a:lnTo>
                      <a:pt x="1343592" y="1145704"/>
                    </a:lnTo>
                    <a:lnTo>
                      <a:pt x="1332994" y="1194775"/>
                    </a:lnTo>
                    <a:lnTo>
                      <a:pt x="1369267" y="1254836"/>
                    </a:lnTo>
                    <a:lnTo>
                      <a:pt x="1405446" y="1275433"/>
                    </a:lnTo>
                    <a:lnTo>
                      <a:pt x="1430480" y="1301710"/>
                    </a:lnTo>
                    <a:lnTo>
                      <a:pt x="1452606" y="1329992"/>
                    </a:lnTo>
                    <a:lnTo>
                      <a:pt x="1462769" y="1368642"/>
                    </a:lnTo>
                    <a:lnTo>
                      <a:pt x="1463738" y="1392854"/>
                    </a:lnTo>
                    <a:lnTo>
                      <a:pt x="1457684" y="1425489"/>
                    </a:lnTo>
                    <a:lnTo>
                      <a:pt x="1416031" y="1424276"/>
                    </a:lnTo>
                    <a:lnTo>
                      <a:pt x="1369557" y="1393547"/>
                    </a:lnTo>
                    <a:lnTo>
                      <a:pt x="1325747" y="1358838"/>
                    </a:lnTo>
                    <a:lnTo>
                      <a:pt x="1281937" y="1324130"/>
                    </a:lnTo>
                    <a:lnTo>
                      <a:pt x="1240026" y="1286036"/>
                    </a:lnTo>
                    <a:lnTo>
                      <a:pt x="1226454" y="1264984"/>
                    </a:lnTo>
                    <a:lnTo>
                      <a:pt x="1213977" y="1212207"/>
                    </a:lnTo>
                    <a:lnTo>
                      <a:pt x="1195167" y="1186093"/>
                    </a:lnTo>
                    <a:lnTo>
                      <a:pt x="1175330" y="1161590"/>
                    </a:lnTo>
                    <a:lnTo>
                      <a:pt x="1152433" y="1145307"/>
                    </a:lnTo>
                    <a:lnTo>
                      <a:pt x="1128520" y="1142567"/>
                    </a:lnTo>
                    <a:lnTo>
                      <a:pt x="1103802" y="1154788"/>
                    </a:lnTo>
                    <a:lnTo>
                      <a:pt x="1086701" y="1201269"/>
                    </a:lnTo>
                    <a:lnTo>
                      <a:pt x="1081952" y="1233318"/>
                    </a:lnTo>
                    <a:lnTo>
                      <a:pt x="1085013" y="1263923"/>
                    </a:lnTo>
                    <a:lnTo>
                      <a:pt x="1080911" y="1293549"/>
                    </a:lnTo>
                    <a:lnTo>
                      <a:pt x="1077001" y="1321816"/>
                    </a:lnTo>
                    <a:lnTo>
                      <a:pt x="1067781" y="1353504"/>
                    </a:lnTo>
                    <a:lnTo>
                      <a:pt x="1061871" y="1381961"/>
                    </a:lnTo>
                    <a:lnTo>
                      <a:pt x="1053047" y="1424489"/>
                    </a:lnTo>
                    <a:lnTo>
                      <a:pt x="1032393" y="1462362"/>
                    </a:lnTo>
                    <a:lnTo>
                      <a:pt x="1027869" y="1505740"/>
                    </a:lnTo>
                    <a:lnTo>
                      <a:pt x="1037470" y="1530797"/>
                    </a:lnTo>
                    <a:lnTo>
                      <a:pt x="1059808" y="1546812"/>
                    </a:lnTo>
                    <a:lnTo>
                      <a:pt x="1082270" y="1562868"/>
                    </a:lnTo>
                    <a:lnTo>
                      <a:pt x="1104739" y="1578926"/>
                    </a:lnTo>
                    <a:lnTo>
                      <a:pt x="1127511" y="1595428"/>
                    </a:lnTo>
                    <a:lnTo>
                      <a:pt x="1138042" y="1619997"/>
                    </a:lnTo>
                    <a:lnTo>
                      <a:pt x="1146880" y="1647626"/>
                    </a:lnTo>
                    <a:lnTo>
                      <a:pt x="1136090" y="1674744"/>
                    </a:lnTo>
                    <a:lnTo>
                      <a:pt x="1127160" y="1700249"/>
                    </a:lnTo>
                    <a:lnTo>
                      <a:pt x="1118423" y="1725263"/>
                    </a:lnTo>
                    <a:lnTo>
                      <a:pt x="1090434" y="1757377"/>
                    </a:lnTo>
                    <a:lnTo>
                      <a:pt x="1066699" y="1786141"/>
                    </a:lnTo>
                    <a:lnTo>
                      <a:pt x="1044995" y="1804504"/>
                    </a:lnTo>
                    <a:lnTo>
                      <a:pt x="1023785" y="1815865"/>
                    </a:lnTo>
                    <a:lnTo>
                      <a:pt x="1002570" y="1827227"/>
                    </a:lnTo>
                    <a:lnTo>
                      <a:pt x="981579" y="1831874"/>
                    </a:lnTo>
                    <a:lnTo>
                      <a:pt x="959854" y="1834908"/>
                    </a:lnTo>
                    <a:lnTo>
                      <a:pt x="916414" y="1840976"/>
                    </a:lnTo>
                    <a:lnTo>
                      <a:pt x="868437" y="1838969"/>
                    </a:lnTo>
                    <a:lnTo>
                      <a:pt x="804796" y="1866193"/>
                    </a:lnTo>
                    <a:lnTo>
                      <a:pt x="811569" y="1941195"/>
                    </a:lnTo>
                    <a:lnTo>
                      <a:pt x="855899" y="2002002"/>
                    </a:lnTo>
                    <a:lnTo>
                      <a:pt x="885042" y="2055260"/>
                    </a:lnTo>
                    <a:lnTo>
                      <a:pt x="904952" y="2091648"/>
                    </a:lnTo>
                    <a:lnTo>
                      <a:pt x="921427" y="2126142"/>
                    </a:lnTo>
                    <a:lnTo>
                      <a:pt x="929928" y="2162716"/>
                    </a:lnTo>
                    <a:lnTo>
                      <a:pt x="938436" y="2199290"/>
                    </a:lnTo>
                    <a:lnTo>
                      <a:pt x="939259" y="2237495"/>
                    </a:lnTo>
                    <a:lnTo>
                      <a:pt x="927210" y="2279693"/>
                    </a:lnTo>
                    <a:lnTo>
                      <a:pt x="918446" y="2310393"/>
                    </a:lnTo>
                    <a:lnTo>
                      <a:pt x="905777" y="2331897"/>
                    </a:lnTo>
                    <a:lnTo>
                      <a:pt x="891848" y="2347703"/>
                    </a:lnTo>
                    <a:lnTo>
                      <a:pt x="877920" y="2363509"/>
                    </a:lnTo>
                    <a:lnTo>
                      <a:pt x="845606" y="2381708"/>
                    </a:lnTo>
                    <a:lnTo>
                      <a:pt x="812321" y="2399134"/>
                    </a:lnTo>
                    <a:lnTo>
                      <a:pt x="778231" y="2418690"/>
                    </a:lnTo>
                    <a:lnTo>
                      <a:pt x="746306" y="2448358"/>
                    </a:lnTo>
                    <a:lnTo>
                      <a:pt x="727958" y="2471162"/>
                    </a:lnTo>
                    <a:lnTo>
                      <a:pt x="722004" y="2500528"/>
                    </a:lnTo>
                    <a:lnTo>
                      <a:pt x="719102" y="2527249"/>
                    </a:lnTo>
                    <a:lnTo>
                      <a:pt x="716199" y="2553968"/>
                    </a:lnTo>
                    <a:lnTo>
                      <a:pt x="715824" y="2578976"/>
                    </a:lnTo>
                    <a:lnTo>
                      <a:pt x="692511" y="2621315"/>
                    </a:lnTo>
                    <a:lnTo>
                      <a:pt x="671486" y="2640784"/>
                    </a:lnTo>
                    <a:lnTo>
                      <a:pt x="651095" y="2660548"/>
                    </a:lnTo>
                    <a:lnTo>
                      <a:pt x="630696" y="2680313"/>
                    </a:lnTo>
                    <a:lnTo>
                      <a:pt x="611142" y="2699458"/>
                    </a:lnTo>
                    <a:lnTo>
                      <a:pt x="598045" y="2727196"/>
                    </a:lnTo>
                    <a:lnTo>
                      <a:pt x="581189" y="2762921"/>
                    </a:lnTo>
                    <a:lnTo>
                      <a:pt x="580450" y="2817823"/>
                    </a:lnTo>
                    <a:lnTo>
                      <a:pt x="580364" y="2867299"/>
                    </a:lnTo>
                    <a:lnTo>
                      <a:pt x="580299" y="2916774"/>
                    </a:lnTo>
                    <a:lnTo>
                      <a:pt x="581268" y="2961296"/>
                    </a:lnTo>
                    <a:lnTo>
                      <a:pt x="565401" y="2978838"/>
                    </a:lnTo>
                    <a:lnTo>
                      <a:pt x="550219" y="2995642"/>
                    </a:lnTo>
                    <a:lnTo>
                      <a:pt x="458563" y="3081910"/>
                    </a:lnTo>
                    <a:lnTo>
                      <a:pt x="436714" y="3130924"/>
                    </a:lnTo>
                    <a:lnTo>
                      <a:pt x="439643" y="3205584"/>
                    </a:lnTo>
                    <a:lnTo>
                      <a:pt x="422582" y="3219592"/>
                    </a:lnTo>
                    <a:lnTo>
                      <a:pt x="384007" y="3238163"/>
                    </a:lnTo>
                    <a:lnTo>
                      <a:pt x="336953" y="3277673"/>
                    </a:lnTo>
                    <a:lnTo>
                      <a:pt x="296078" y="3288964"/>
                    </a:lnTo>
                    <a:lnTo>
                      <a:pt x="271585" y="3295724"/>
                    </a:lnTo>
                    <a:lnTo>
                      <a:pt x="239408" y="3296620"/>
                    </a:lnTo>
                    <a:lnTo>
                      <a:pt x="207666" y="3301204"/>
                    </a:lnTo>
                    <a:lnTo>
                      <a:pt x="175925" y="3305787"/>
                    </a:lnTo>
                    <a:lnTo>
                      <a:pt x="145516" y="3313833"/>
                    </a:lnTo>
                    <a:lnTo>
                      <a:pt x="124696" y="3331125"/>
                    </a:lnTo>
                    <a:lnTo>
                      <a:pt x="103170" y="3354246"/>
                    </a:lnTo>
                    <a:lnTo>
                      <a:pt x="94530" y="3381457"/>
                    </a:lnTo>
                    <a:lnTo>
                      <a:pt x="90693" y="3411378"/>
                    </a:lnTo>
                    <a:lnTo>
                      <a:pt x="83544" y="3443370"/>
                    </a:lnTo>
                    <a:lnTo>
                      <a:pt x="65191" y="3477320"/>
                    </a:lnTo>
                    <a:lnTo>
                      <a:pt x="51282" y="3495490"/>
                    </a:lnTo>
                    <a:lnTo>
                      <a:pt x="28121" y="3513395"/>
                    </a:lnTo>
                    <a:lnTo>
                      <a:pt x="42788" y="3563232"/>
                    </a:lnTo>
                    <a:lnTo>
                      <a:pt x="86314" y="3602531"/>
                    </a:lnTo>
                    <a:lnTo>
                      <a:pt x="107015" y="3650773"/>
                    </a:lnTo>
                    <a:lnTo>
                      <a:pt x="108551" y="3683220"/>
                    </a:lnTo>
                    <a:lnTo>
                      <a:pt x="102761" y="3721702"/>
                    </a:lnTo>
                    <a:lnTo>
                      <a:pt x="109733" y="3756872"/>
                    </a:lnTo>
                    <a:lnTo>
                      <a:pt x="135987" y="3776307"/>
                    </a:lnTo>
                    <a:lnTo>
                      <a:pt x="165083" y="3802726"/>
                    </a:lnTo>
                    <a:lnTo>
                      <a:pt x="184545" y="3830320"/>
                    </a:lnTo>
                    <a:lnTo>
                      <a:pt x="184999" y="3853098"/>
                    </a:lnTo>
                    <a:lnTo>
                      <a:pt x="168836" y="3877057"/>
                    </a:lnTo>
                    <a:lnTo>
                      <a:pt x="142515" y="3891903"/>
                    </a:lnTo>
                    <a:lnTo>
                      <a:pt x="118576" y="3894943"/>
                    </a:lnTo>
                    <a:lnTo>
                      <a:pt x="87976" y="3907849"/>
                    </a:lnTo>
                    <a:lnTo>
                      <a:pt x="96180" y="3931056"/>
                    </a:lnTo>
                    <a:lnTo>
                      <a:pt x="117943" y="3957073"/>
                    </a:lnTo>
                    <a:lnTo>
                      <a:pt x="141962" y="3982174"/>
                    </a:lnTo>
                    <a:lnTo>
                      <a:pt x="161423" y="4008507"/>
                    </a:lnTo>
                    <a:lnTo>
                      <a:pt x="180885" y="4034834"/>
                    </a:lnTo>
                    <a:lnTo>
                      <a:pt x="195994" y="4063007"/>
                    </a:lnTo>
                    <a:lnTo>
                      <a:pt x="192709" y="4090119"/>
                    </a:lnTo>
                    <a:lnTo>
                      <a:pt x="187599" y="4132254"/>
                    </a:lnTo>
                    <a:lnTo>
                      <a:pt x="180496" y="4172279"/>
                    </a:lnTo>
                    <a:lnTo>
                      <a:pt x="172306" y="4212534"/>
                    </a:lnTo>
                    <a:lnTo>
                      <a:pt x="164114" y="4252795"/>
                    </a:lnTo>
                    <a:lnTo>
                      <a:pt x="154914" y="4292899"/>
                    </a:lnTo>
                    <a:lnTo>
                      <a:pt x="145101" y="4333596"/>
                    </a:lnTo>
                    <a:lnTo>
                      <a:pt x="138652" y="4360319"/>
                    </a:lnTo>
                    <a:lnTo>
                      <a:pt x="131970" y="4384990"/>
                    </a:lnTo>
                    <a:lnTo>
                      <a:pt x="127420" y="4409767"/>
                    </a:lnTo>
                    <a:lnTo>
                      <a:pt x="122876" y="4434538"/>
                    </a:lnTo>
                    <a:lnTo>
                      <a:pt x="119335" y="4459849"/>
                    </a:lnTo>
                    <a:lnTo>
                      <a:pt x="120620" y="4487297"/>
                    </a:lnTo>
                    <a:lnTo>
                      <a:pt x="122124" y="4519540"/>
                    </a:lnTo>
                    <a:lnTo>
                      <a:pt x="139925" y="4563514"/>
                    </a:lnTo>
                    <a:lnTo>
                      <a:pt x="161423" y="4605636"/>
                    </a:lnTo>
                    <a:lnTo>
                      <a:pt x="182922" y="4647751"/>
                    </a:lnTo>
                    <a:lnTo>
                      <a:pt x="209085" y="4687512"/>
                    </a:lnTo>
                    <a:lnTo>
                      <a:pt x="226713" y="4713087"/>
                    </a:lnTo>
                    <a:lnTo>
                      <a:pt x="250454" y="4738932"/>
                    </a:lnTo>
                    <a:lnTo>
                      <a:pt x="277276" y="4774512"/>
                    </a:lnTo>
                    <a:lnTo>
                      <a:pt x="304586" y="4866729"/>
                    </a:lnTo>
                    <a:lnTo>
                      <a:pt x="302884" y="4891274"/>
                    </a:lnTo>
                    <a:lnTo>
                      <a:pt x="301202" y="4915570"/>
                    </a:lnTo>
                    <a:lnTo>
                      <a:pt x="290815" y="4956056"/>
                    </a:lnTo>
                    <a:lnTo>
                      <a:pt x="283844" y="4979686"/>
                    </a:lnTo>
                    <a:lnTo>
                      <a:pt x="272290" y="5018918"/>
                    </a:lnTo>
                    <a:lnTo>
                      <a:pt x="254147" y="5055329"/>
                    </a:lnTo>
                    <a:lnTo>
                      <a:pt x="233513" y="5091226"/>
                    </a:lnTo>
                    <a:lnTo>
                      <a:pt x="212877" y="5127121"/>
                    </a:lnTo>
                    <a:lnTo>
                      <a:pt x="189010" y="5162596"/>
                    </a:lnTo>
                    <a:lnTo>
                      <a:pt x="168222" y="5197318"/>
                    </a:lnTo>
                    <a:lnTo>
                      <a:pt x="147950" y="5231176"/>
                    </a:lnTo>
                    <a:lnTo>
                      <a:pt x="113182" y="5260609"/>
                    </a:lnTo>
                    <a:lnTo>
                      <a:pt x="83894" y="5295252"/>
                    </a:lnTo>
                    <a:lnTo>
                      <a:pt x="74581" y="5321117"/>
                    </a:lnTo>
                    <a:lnTo>
                      <a:pt x="80365" y="5347984"/>
                    </a:lnTo>
                    <a:lnTo>
                      <a:pt x="71653" y="5374146"/>
                    </a:lnTo>
                    <a:lnTo>
                      <a:pt x="57561" y="5416374"/>
                    </a:lnTo>
                    <a:lnTo>
                      <a:pt x="30528" y="5451446"/>
                    </a:lnTo>
                    <a:lnTo>
                      <a:pt x="6358" y="5488404"/>
                    </a:lnTo>
                    <a:lnTo>
                      <a:pt x="0" y="5522703"/>
                    </a:lnTo>
                    <a:lnTo>
                      <a:pt x="7280" y="5546498"/>
                    </a:lnTo>
                    <a:lnTo>
                      <a:pt x="32202" y="5568657"/>
                    </a:lnTo>
                    <a:lnTo>
                      <a:pt x="62672" y="5587611"/>
                    </a:lnTo>
                    <a:lnTo>
                      <a:pt x="114098" y="5612348"/>
                    </a:lnTo>
                    <a:lnTo>
                      <a:pt x="151260" y="5629013"/>
                    </a:lnTo>
                    <a:lnTo>
                      <a:pt x="173664" y="5661144"/>
                    </a:lnTo>
                    <a:lnTo>
                      <a:pt x="175510" y="5686138"/>
                    </a:lnTo>
                    <a:lnTo>
                      <a:pt x="167504" y="5731109"/>
                    </a:lnTo>
                    <a:lnTo>
                      <a:pt x="157341" y="5749561"/>
                    </a:lnTo>
                    <a:lnTo>
                      <a:pt x="137227" y="5764671"/>
                    </a:lnTo>
                    <a:lnTo>
                      <a:pt x="111097" y="5791722"/>
                    </a:lnTo>
                    <a:lnTo>
                      <a:pt x="95890" y="5807465"/>
                    </a:lnTo>
                    <a:lnTo>
                      <a:pt x="80933" y="5825568"/>
                    </a:lnTo>
                    <a:lnTo>
                      <a:pt x="66207" y="5842055"/>
                    </a:lnTo>
                    <a:lnTo>
                      <a:pt x="51487" y="5858535"/>
                    </a:lnTo>
                    <a:lnTo>
                      <a:pt x="36819" y="5874271"/>
                    </a:lnTo>
                    <a:lnTo>
                      <a:pt x="18603" y="5886940"/>
                    </a:lnTo>
                    <a:lnTo>
                      <a:pt x="45123" y="5899411"/>
                    </a:lnTo>
                    <a:lnTo>
                      <a:pt x="70289" y="5910062"/>
                    </a:lnTo>
                    <a:lnTo>
                      <a:pt x="86354" y="5925375"/>
                    </a:lnTo>
                    <a:lnTo>
                      <a:pt x="93515" y="5954030"/>
                    </a:lnTo>
                    <a:lnTo>
                      <a:pt x="96034" y="5974903"/>
                    </a:lnTo>
                    <a:lnTo>
                      <a:pt x="104299" y="5997115"/>
                    </a:lnTo>
                    <a:lnTo>
                      <a:pt x="123338" y="6010713"/>
                    </a:lnTo>
                    <a:lnTo>
                      <a:pt x="153265" y="6018878"/>
                    </a:lnTo>
                    <a:lnTo>
                      <a:pt x="183187" y="6024318"/>
                    </a:lnTo>
                    <a:lnTo>
                      <a:pt x="206308" y="6027042"/>
                    </a:lnTo>
                    <a:lnTo>
                      <a:pt x="218272" y="6049755"/>
                    </a:lnTo>
                    <a:lnTo>
                      <a:pt x="224273" y="6072336"/>
                    </a:lnTo>
                    <a:lnTo>
                      <a:pt x="228071" y="6095049"/>
                    </a:lnTo>
                    <a:lnTo>
                      <a:pt x="232134" y="6118592"/>
                    </a:lnTo>
                    <a:lnTo>
                      <a:pt x="240339" y="6142235"/>
                    </a:lnTo>
                    <a:lnTo>
                      <a:pt x="255276" y="6165779"/>
                    </a:lnTo>
                    <a:lnTo>
                      <a:pt x="282262" y="6179220"/>
                    </a:lnTo>
                    <a:lnTo>
                      <a:pt x="309908" y="6187714"/>
                    </a:lnTo>
                    <a:lnTo>
                      <a:pt x="338246" y="6192983"/>
                    </a:lnTo>
                    <a:lnTo>
                      <a:pt x="366577" y="6198536"/>
                    </a:lnTo>
                    <a:lnTo>
                      <a:pt x="394818" y="6203673"/>
                    </a:lnTo>
                    <a:lnTo>
                      <a:pt x="422582" y="6213387"/>
                    </a:lnTo>
                    <a:lnTo>
                      <a:pt x="411317" y="6246276"/>
                    </a:lnTo>
                    <a:lnTo>
                      <a:pt x="390827" y="6259302"/>
                    </a:lnTo>
                    <a:lnTo>
                      <a:pt x="369532" y="6270520"/>
                    </a:lnTo>
                    <a:lnTo>
                      <a:pt x="348237" y="6281731"/>
                    </a:lnTo>
                    <a:lnTo>
                      <a:pt x="326343" y="6291676"/>
                    </a:lnTo>
                    <a:lnTo>
                      <a:pt x="305601" y="6301799"/>
                    </a:lnTo>
                    <a:lnTo>
                      <a:pt x="257511" y="6344923"/>
                    </a:lnTo>
                    <a:lnTo>
                      <a:pt x="237917" y="6366165"/>
                    </a:lnTo>
                    <a:lnTo>
                      <a:pt x="223995" y="6391576"/>
                    </a:lnTo>
                    <a:lnTo>
                      <a:pt x="210061" y="6416986"/>
                    </a:lnTo>
                    <a:lnTo>
                      <a:pt x="201989" y="6446630"/>
                    </a:lnTo>
                    <a:lnTo>
                      <a:pt x="189985" y="6490868"/>
                    </a:lnTo>
                    <a:lnTo>
                      <a:pt x="160064" y="6599684"/>
                    </a:lnTo>
                    <a:lnTo>
                      <a:pt x="143630" y="6660259"/>
                    </a:lnTo>
                    <a:lnTo>
                      <a:pt x="140959" y="6698252"/>
                    </a:lnTo>
                    <a:lnTo>
                      <a:pt x="149183" y="6722105"/>
                    </a:lnTo>
                    <a:lnTo>
                      <a:pt x="157407" y="6745953"/>
                    </a:lnTo>
                    <a:lnTo>
                      <a:pt x="176446" y="6756860"/>
                    </a:lnTo>
                    <a:lnTo>
                      <a:pt x="199509" y="6761549"/>
                    </a:lnTo>
                    <a:lnTo>
                      <a:pt x="222571" y="6766232"/>
                    </a:lnTo>
                    <a:lnTo>
                      <a:pt x="250302" y="6765282"/>
                    </a:lnTo>
                    <a:lnTo>
                      <a:pt x="278397" y="6768349"/>
                    </a:lnTo>
                    <a:lnTo>
                      <a:pt x="306491" y="6771415"/>
                    </a:lnTo>
                    <a:lnTo>
                      <a:pt x="333979" y="6777905"/>
                    </a:lnTo>
                    <a:lnTo>
                      <a:pt x="357291" y="6796911"/>
                    </a:lnTo>
                    <a:lnTo>
                      <a:pt x="377242" y="6821365"/>
                    </a:lnTo>
                    <a:lnTo>
                      <a:pt x="386303" y="6851359"/>
                    </a:lnTo>
                    <a:lnTo>
                      <a:pt x="391295" y="6883964"/>
                    </a:lnTo>
                    <a:lnTo>
                      <a:pt x="397343" y="6916602"/>
                    </a:lnTo>
                    <a:lnTo>
                      <a:pt x="412452" y="6946543"/>
                    </a:lnTo>
                    <a:lnTo>
                      <a:pt x="442987" y="6971017"/>
                    </a:lnTo>
                    <a:lnTo>
                      <a:pt x="465192" y="6983264"/>
                    </a:lnTo>
                    <a:lnTo>
                      <a:pt x="490033" y="6994119"/>
                    </a:lnTo>
                    <a:lnTo>
                      <a:pt x="513716" y="7005027"/>
                    </a:lnTo>
                    <a:lnTo>
                      <a:pt x="537392" y="7015935"/>
                    </a:lnTo>
                    <a:lnTo>
                      <a:pt x="560442" y="7026295"/>
                    </a:lnTo>
                    <a:lnTo>
                      <a:pt x="581722" y="7039030"/>
                    </a:lnTo>
                    <a:lnTo>
                      <a:pt x="606104" y="7053605"/>
                    </a:lnTo>
                    <a:lnTo>
                      <a:pt x="630882" y="7076245"/>
                    </a:lnTo>
                    <a:lnTo>
                      <a:pt x="653813" y="7093438"/>
                    </a:lnTo>
                    <a:lnTo>
                      <a:pt x="676920" y="7110756"/>
                    </a:lnTo>
                    <a:lnTo>
                      <a:pt x="700847" y="7131800"/>
                    </a:lnTo>
                    <a:lnTo>
                      <a:pt x="724549" y="7147846"/>
                    </a:lnTo>
                    <a:lnTo>
                      <a:pt x="750177" y="7165191"/>
                    </a:lnTo>
                    <a:lnTo>
                      <a:pt x="785756" y="7188649"/>
                    </a:lnTo>
                    <a:lnTo>
                      <a:pt x="751345" y="7231859"/>
                    </a:lnTo>
                    <a:lnTo>
                      <a:pt x="734065" y="7260744"/>
                    </a:lnTo>
                    <a:lnTo>
                      <a:pt x="750388" y="7293382"/>
                    </a:lnTo>
                    <a:lnTo>
                      <a:pt x="783092" y="7303591"/>
                    </a:lnTo>
                    <a:lnTo>
                      <a:pt x="806154" y="7287941"/>
                    </a:lnTo>
                    <a:lnTo>
                      <a:pt x="833905" y="7273716"/>
                    </a:lnTo>
                    <a:lnTo>
                      <a:pt x="860569" y="7282507"/>
                    </a:lnTo>
                    <a:lnTo>
                      <a:pt x="872446" y="7316022"/>
                    </a:lnTo>
                    <a:lnTo>
                      <a:pt x="874168" y="7336909"/>
                    </a:lnTo>
                    <a:lnTo>
                      <a:pt x="875889" y="7357801"/>
                    </a:lnTo>
                    <a:lnTo>
                      <a:pt x="893213" y="7388599"/>
                    </a:lnTo>
                    <a:lnTo>
                      <a:pt x="937702" y="7395003"/>
                    </a:lnTo>
                    <a:lnTo>
                      <a:pt x="966662" y="7398123"/>
                    </a:lnTo>
                    <a:lnTo>
                      <a:pt x="995824" y="7403504"/>
                    </a:lnTo>
                    <a:lnTo>
                      <a:pt x="1024551" y="7419945"/>
                    </a:lnTo>
                    <a:lnTo>
                      <a:pt x="1050990" y="7453889"/>
                    </a:lnTo>
                    <a:lnTo>
                      <a:pt x="1053008" y="7491064"/>
                    </a:lnTo>
                    <a:lnTo>
                      <a:pt x="1046262" y="7525530"/>
                    </a:lnTo>
                    <a:lnTo>
                      <a:pt x="1042832" y="7559981"/>
                    </a:lnTo>
                    <a:lnTo>
                      <a:pt x="1101488" y="7575354"/>
                    </a:lnTo>
                    <a:lnTo>
                      <a:pt x="1155731" y="7581744"/>
                    </a:lnTo>
                    <a:lnTo>
                      <a:pt x="1209974" y="7588148"/>
                    </a:lnTo>
                    <a:lnTo>
                      <a:pt x="1264613" y="7592514"/>
                    </a:lnTo>
                    <a:lnTo>
                      <a:pt x="1292014" y="7574609"/>
                    </a:lnTo>
                    <a:lnTo>
                      <a:pt x="1306714" y="7539583"/>
                    </a:lnTo>
                    <a:lnTo>
                      <a:pt x="1314397" y="7501313"/>
                    </a:lnTo>
                    <a:lnTo>
                      <a:pt x="1326361" y="7470311"/>
                    </a:lnTo>
                    <a:lnTo>
                      <a:pt x="1350240" y="7460688"/>
                    </a:lnTo>
                    <a:lnTo>
                      <a:pt x="1377616" y="7402225"/>
                    </a:lnTo>
                    <a:lnTo>
                      <a:pt x="1396484" y="7379077"/>
                    </a:lnTo>
                    <a:lnTo>
                      <a:pt x="1448319" y="7381094"/>
                    </a:lnTo>
                    <a:lnTo>
                      <a:pt x="1476032" y="7394047"/>
                    </a:lnTo>
                    <a:lnTo>
                      <a:pt x="1483537" y="7430767"/>
                    </a:lnTo>
                    <a:lnTo>
                      <a:pt x="1485720" y="7452333"/>
                    </a:lnTo>
                    <a:lnTo>
                      <a:pt x="1484453" y="7480031"/>
                    </a:lnTo>
                    <a:lnTo>
                      <a:pt x="1482178" y="7506939"/>
                    </a:lnTo>
                    <a:lnTo>
                      <a:pt x="1477621" y="7560746"/>
                    </a:lnTo>
                    <a:lnTo>
                      <a:pt x="1467030" y="7614824"/>
                    </a:lnTo>
                    <a:lnTo>
                      <a:pt x="1463171" y="7649224"/>
                    </a:lnTo>
                    <a:lnTo>
                      <a:pt x="1474073" y="7697525"/>
                    </a:lnTo>
                    <a:lnTo>
                      <a:pt x="1490343" y="7715047"/>
                    </a:lnTo>
                    <a:lnTo>
                      <a:pt x="1512139" y="7738532"/>
                    </a:lnTo>
                    <a:lnTo>
                      <a:pt x="1553891" y="7774151"/>
                    </a:lnTo>
                    <a:lnTo>
                      <a:pt x="1586918" y="7812981"/>
                    </a:lnTo>
                    <a:lnTo>
                      <a:pt x="1603426" y="7832397"/>
                    </a:lnTo>
                    <a:lnTo>
                      <a:pt x="1617974" y="7852380"/>
                    </a:lnTo>
                    <a:lnTo>
                      <a:pt x="1626363" y="7872830"/>
                    </a:lnTo>
                    <a:lnTo>
                      <a:pt x="1634745" y="7893281"/>
                    </a:lnTo>
                    <a:lnTo>
                      <a:pt x="1630438" y="7932679"/>
                    </a:lnTo>
                    <a:lnTo>
                      <a:pt x="1621020" y="7955504"/>
                    </a:lnTo>
                    <a:lnTo>
                      <a:pt x="1547460" y="7988446"/>
                    </a:lnTo>
                    <a:lnTo>
                      <a:pt x="1537318" y="8010235"/>
                    </a:lnTo>
                    <a:lnTo>
                      <a:pt x="1535227" y="8031972"/>
                    </a:lnTo>
                    <a:lnTo>
                      <a:pt x="1547000" y="8065131"/>
                    </a:lnTo>
                    <a:lnTo>
                      <a:pt x="1602601" y="8082363"/>
                    </a:lnTo>
                    <a:lnTo>
                      <a:pt x="1623639" y="8112225"/>
                    </a:lnTo>
                    <a:lnTo>
                      <a:pt x="1620447" y="8142021"/>
                    </a:lnTo>
                    <a:lnTo>
                      <a:pt x="1598749" y="8153272"/>
                    </a:lnTo>
                    <a:lnTo>
                      <a:pt x="1571955" y="8181597"/>
                    </a:lnTo>
                    <a:lnTo>
                      <a:pt x="1558745" y="8198012"/>
                    </a:lnTo>
                    <a:lnTo>
                      <a:pt x="1546901" y="8218694"/>
                    </a:lnTo>
                    <a:lnTo>
                      <a:pt x="1537945" y="8241446"/>
                    </a:lnTo>
                    <a:lnTo>
                      <a:pt x="1528995" y="8264192"/>
                    </a:lnTo>
                    <a:lnTo>
                      <a:pt x="1522868" y="8288844"/>
                    </a:lnTo>
                    <a:lnTo>
                      <a:pt x="1521622" y="8310818"/>
                    </a:lnTo>
                    <a:lnTo>
                      <a:pt x="1520375" y="8332785"/>
                    </a:lnTo>
                    <a:lnTo>
                      <a:pt x="1533869" y="8366584"/>
                    </a:lnTo>
                    <a:lnTo>
                      <a:pt x="1559371" y="8385287"/>
                    </a:lnTo>
                    <a:lnTo>
                      <a:pt x="1588911" y="8385973"/>
                    </a:lnTo>
                    <a:lnTo>
                      <a:pt x="1618197" y="8395146"/>
                    </a:lnTo>
                    <a:lnTo>
                      <a:pt x="1642216" y="8402672"/>
                    </a:lnTo>
                    <a:lnTo>
                      <a:pt x="1667165" y="8430515"/>
                    </a:lnTo>
                    <a:lnTo>
                      <a:pt x="1679445" y="8464947"/>
                    </a:lnTo>
                    <a:lnTo>
                      <a:pt x="1679372" y="8504892"/>
                    </a:lnTo>
                    <a:lnTo>
                      <a:pt x="1676497" y="8526807"/>
                    </a:lnTo>
                    <a:lnTo>
                      <a:pt x="1672606" y="8547489"/>
                    </a:lnTo>
                    <a:lnTo>
                      <a:pt x="1668721" y="8568171"/>
                    </a:lnTo>
                    <a:lnTo>
                      <a:pt x="1661725" y="8605979"/>
                    </a:lnTo>
                    <a:lnTo>
                      <a:pt x="1608120" y="8618068"/>
                    </a:lnTo>
                    <a:lnTo>
                      <a:pt x="1583027" y="8625052"/>
                    </a:lnTo>
                    <a:lnTo>
                      <a:pt x="1549994" y="8646755"/>
                    </a:lnTo>
                    <a:lnTo>
                      <a:pt x="1532503" y="8675344"/>
                    </a:lnTo>
                    <a:lnTo>
                      <a:pt x="1511743" y="8702687"/>
                    </a:lnTo>
                    <a:lnTo>
                      <a:pt x="1490343" y="8710712"/>
                    </a:lnTo>
                    <a:lnTo>
                      <a:pt x="1468935" y="8718738"/>
                    </a:lnTo>
                    <a:lnTo>
                      <a:pt x="1436746" y="8720605"/>
                    </a:lnTo>
                    <a:lnTo>
                      <a:pt x="1384244" y="8713430"/>
                    </a:lnTo>
                    <a:lnTo>
                      <a:pt x="1360819" y="8711154"/>
                    </a:lnTo>
                    <a:lnTo>
                      <a:pt x="1336938" y="8707554"/>
                    </a:lnTo>
                    <a:lnTo>
                      <a:pt x="1313513" y="8702555"/>
                    </a:lnTo>
                    <a:lnTo>
                      <a:pt x="1289904" y="8698499"/>
                    </a:lnTo>
                    <a:lnTo>
                      <a:pt x="1266392" y="8693005"/>
                    </a:lnTo>
                    <a:lnTo>
                      <a:pt x="1242783" y="8686233"/>
                    </a:lnTo>
                    <a:lnTo>
                      <a:pt x="1244149" y="8715897"/>
                    </a:lnTo>
                    <a:lnTo>
                      <a:pt x="1253711" y="8743173"/>
                    </a:lnTo>
                    <a:lnTo>
                      <a:pt x="1267270" y="8769203"/>
                    </a:lnTo>
                    <a:lnTo>
                      <a:pt x="1280829" y="8795240"/>
                    </a:lnTo>
                    <a:lnTo>
                      <a:pt x="1297521" y="8820353"/>
                    </a:lnTo>
                    <a:lnTo>
                      <a:pt x="1314871" y="8845374"/>
                    </a:lnTo>
                    <a:lnTo>
                      <a:pt x="1332230" y="8870395"/>
                    </a:lnTo>
                    <a:lnTo>
                      <a:pt x="1349719" y="8894915"/>
                    </a:lnTo>
                    <a:lnTo>
                      <a:pt x="1362481" y="8921545"/>
                    </a:lnTo>
                    <a:lnTo>
                      <a:pt x="1375241" y="8948176"/>
                    </a:lnTo>
                    <a:lnTo>
                      <a:pt x="1384475" y="8976375"/>
                    </a:lnTo>
                    <a:lnTo>
                      <a:pt x="1384244" y="9007239"/>
                    </a:lnTo>
                    <a:lnTo>
                      <a:pt x="1349449" y="9018984"/>
                    </a:lnTo>
                    <a:lnTo>
                      <a:pt x="1324395" y="9020839"/>
                    </a:lnTo>
                    <a:lnTo>
                      <a:pt x="1299341" y="9022711"/>
                    </a:lnTo>
                    <a:lnTo>
                      <a:pt x="1273463" y="9022460"/>
                    </a:lnTo>
                    <a:lnTo>
                      <a:pt x="1252438" y="9037338"/>
                    </a:lnTo>
                    <a:lnTo>
                      <a:pt x="1243225" y="9096660"/>
                    </a:lnTo>
                    <a:lnTo>
                      <a:pt x="1240065" y="9137811"/>
                    </a:lnTo>
                    <a:lnTo>
                      <a:pt x="1236893" y="9178970"/>
                    </a:lnTo>
                    <a:lnTo>
                      <a:pt x="1237527" y="9218896"/>
                    </a:lnTo>
                    <a:lnTo>
                      <a:pt x="1253263" y="9235469"/>
                    </a:lnTo>
                    <a:lnTo>
                      <a:pt x="1275751" y="9256151"/>
                    </a:lnTo>
                    <a:lnTo>
                      <a:pt x="1308382" y="9262311"/>
                    </a:lnTo>
                    <a:lnTo>
                      <a:pt x="1331195" y="9261585"/>
                    </a:lnTo>
                    <a:lnTo>
                      <a:pt x="1354013" y="9260873"/>
                    </a:lnTo>
                    <a:lnTo>
                      <a:pt x="1380063" y="9260148"/>
                    </a:lnTo>
                    <a:lnTo>
                      <a:pt x="1401925" y="9264315"/>
                    </a:lnTo>
                    <a:lnTo>
                      <a:pt x="1423794" y="9268470"/>
                    </a:lnTo>
                    <a:lnTo>
                      <a:pt x="1449533" y="9298319"/>
                    </a:lnTo>
                    <a:lnTo>
                      <a:pt x="1456999" y="9318822"/>
                    </a:lnTo>
                    <a:lnTo>
                      <a:pt x="1453596" y="9350662"/>
                    </a:lnTo>
                    <a:lnTo>
                      <a:pt x="1433212" y="9398970"/>
                    </a:lnTo>
                    <a:lnTo>
                      <a:pt x="1435579" y="9429459"/>
                    </a:lnTo>
                    <a:lnTo>
                      <a:pt x="1458529" y="9464918"/>
                    </a:lnTo>
                    <a:lnTo>
                      <a:pt x="1484895" y="9498270"/>
                    </a:lnTo>
                    <a:lnTo>
                      <a:pt x="1511269" y="9531614"/>
                    </a:lnTo>
                    <a:lnTo>
                      <a:pt x="1540648" y="9562398"/>
                    </a:lnTo>
                    <a:lnTo>
                      <a:pt x="1558350" y="9583958"/>
                    </a:lnTo>
                    <a:lnTo>
                      <a:pt x="1592399" y="9625426"/>
                    </a:lnTo>
                    <a:lnTo>
                      <a:pt x="1599825" y="9657615"/>
                    </a:lnTo>
                    <a:lnTo>
                      <a:pt x="1607316" y="9688697"/>
                    </a:lnTo>
                    <a:lnTo>
                      <a:pt x="1614808" y="9719773"/>
                    </a:lnTo>
                    <a:lnTo>
                      <a:pt x="1622366" y="9749298"/>
                    </a:lnTo>
                    <a:lnTo>
                      <a:pt x="1657641" y="9789348"/>
                    </a:lnTo>
                    <a:lnTo>
                      <a:pt x="1697409" y="9821802"/>
                    </a:lnTo>
                    <a:lnTo>
                      <a:pt x="1731096" y="9824717"/>
                    </a:lnTo>
                    <a:lnTo>
                      <a:pt x="1763332" y="9819639"/>
                    </a:lnTo>
                    <a:lnTo>
                      <a:pt x="1790945" y="9826068"/>
                    </a:lnTo>
                    <a:lnTo>
                      <a:pt x="1811660" y="9830910"/>
                    </a:lnTo>
                    <a:lnTo>
                      <a:pt x="1832683" y="9839820"/>
                    </a:lnTo>
                    <a:lnTo>
                      <a:pt x="1853510" y="9843757"/>
                    </a:lnTo>
                    <a:lnTo>
                      <a:pt x="1890303" y="9850701"/>
                    </a:lnTo>
                    <a:lnTo>
                      <a:pt x="1928251" y="9854481"/>
                    </a:lnTo>
                    <a:lnTo>
                      <a:pt x="1965050" y="9860079"/>
                    </a:lnTo>
                    <a:lnTo>
                      <a:pt x="2001844" y="9865678"/>
                    </a:lnTo>
                    <a:lnTo>
                      <a:pt x="2037469" y="9872715"/>
                    </a:lnTo>
                    <a:lnTo>
                      <a:pt x="2072501" y="9888641"/>
                    </a:lnTo>
                    <a:lnTo>
                      <a:pt x="2100695" y="9901456"/>
                    </a:lnTo>
                    <a:lnTo>
                      <a:pt x="2129521" y="9919460"/>
                    </a:lnTo>
                    <a:lnTo>
                      <a:pt x="2159561" y="9934885"/>
                    </a:lnTo>
                    <a:lnTo>
                      <a:pt x="2189593" y="9950317"/>
                    </a:lnTo>
                    <a:lnTo>
                      <a:pt x="2221678" y="9963210"/>
                    </a:lnTo>
                    <a:lnTo>
                      <a:pt x="2253413" y="9967536"/>
                    </a:lnTo>
                    <a:lnTo>
                      <a:pt x="2276534" y="9970683"/>
                    </a:lnTo>
                    <a:lnTo>
                      <a:pt x="2299188" y="9970095"/>
                    </a:lnTo>
                    <a:lnTo>
                      <a:pt x="2321419" y="9971611"/>
                    </a:lnTo>
                    <a:lnTo>
                      <a:pt x="2343657" y="9973123"/>
                    </a:lnTo>
                    <a:lnTo>
                      <a:pt x="2364972" y="9977864"/>
                    </a:lnTo>
                    <a:lnTo>
                      <a:pt x="2382633" y="9994734"/>
                    </a:lnTo>
                    <a:lnTo>
                      <a:pt x="2415040" y="10005121"/>
                    </a:lnTo>
                    <a:lnTo>
                      <a:pt x="2462741" y="9995565"/>
                    </a:lnTo>
                    <a:lnTo>
                      <a:pt x="2534850" y="9978516"/>
                    </a:lnTo>
                    <a:lnTo>
                      <a:pt x="2607064" y="9966165"/>
                    </a:lnTo>
                    <a:lnTo>
                      <a:pt x="2679278" y="9953813"/>
                    </a:lnTo>
                    <a:lnTo>
                      <a:pt x="2750945" y="9946638"/>
                    </a:lnTo>
                    <a:lnTo>
                      <a:pt x="2786610" y="9956642"/>
                    </a:lnTo>
                    <a:lnTo>
                      <a:pt x="2826905" y="9968506"/>
                    </a:lnTo>
                    <a:lnTo>
                      <a:pt x="2866006" y="9982864"/>
                    </a:lnTo>
                    <a:lnTo>
                      <a:pt x="2903584" y="9997450"/>
                    </a:lnTo>
                    <a:lnTo>
                      <a:pt x="2923527" y="10004428"/>
                    </a:lnTo>
                    <a:lnTo>
                      <a:pt x="2948514" y="10003921"/>
                    </a:lnTo>
                    <a:lnTo>
                      <a:pt x="2975680" y="10000174"/>
                    </a:lnTo>
                    <a:lnTo>
                      <a:pt x="3002844" y="9996422"/>
                    </a:lnTo>
                    <a:lnTo>
                      <a:pt x="3033154" y="9989062"/>
                    </a:lnTo>
                    <a:lnTo>
                      <a:pt x="3062732" y="9979771"/>
                    </a:lnTo>
                    <a:lnTo>
                      <a:pt x="3121876" y="9961186"/>
                    </a:lnTo>
                    <a:lnTo>
                      <a:pt x="3180643" y="9936395"/>
                    </a:lnTo>
                    <a:lnTo>
                      <a:pt x="3220515" y="9926721"/>
                    </a:lnTo>
                    <a:lnTo>
                      <a:pt x="3241376" y="9921663"/>
                    </a:lnTo>
                    <a:lnTo>
                      <a:pt x="3272952" y="9912569"/>
                    </a:lnTo>
                    <a:lnTo>
                      <a:pt x="3304845" y="9904957"/>
                    </a:lnTo>
                    <a:lnTo>
                      <a:pt x="3336737" y="9897354"/>
                    </a:lnTo>
                    <a:lnTo>
                      <a:pt x="3368255" y="9892143"/>
                    </a:lnTo>
                    <a:lnTo>
                      <a:pt x="3389173" y="9894075"/>
                    </a:lnTo>
                    <a:lnTo>
                      <a:pt x="3411768" y="9896160"/>
                    </a:lnTo>
                    <a:lnTo>
                      <a:pt x="3434620" y="9903428"/>
                    </a:lnTo>
                    <a:lnTo>
                      <a:pt x="3457187" y="9906316"/>
                    </a:lnTo>
                    <a:lnTo>
                      <a:pt x="3511469" y="9913266"/>
                    </a:lnTo>
                    <a:lnTo>
                      <a:pt x="3572103" y="9900538"/>
                    </a:lnTo>
                    <a:lnTo>
                      <a:pt x="3625851" y="9894075"/>
                    </a:lnTo>
                    <a:lnTo>
                      <a:pt x="3658259" y="9890185"/>
                    </a:lnTo>
                    <a:lnTo>
                      <a:pt x="3690184" y="9889855"/>
                    </a:lnTo>
                    <a:lnTo>
                      <a:pt x="3722427" y="9877754"/>
                    </a:lnTo>
                    <a:lnTo>
                      <a:pt x="3742060" y="9870380"/>
                    </a:lnTo>
                    <a:lnTo>
                      <a:pt x="3761885" y="9856070"/>
                    </a:lnTo>
                    <a:lnTo>
                      <a:pt x="3782276" y="9846467"/>
                    </a:lnTo>
                    <a:lnTo>
                      <a:pt x="3802667" y="9836871"/>
                    </a:lnTo>
                    <a:lnTo>
                      <a:pt x="3824154" y="9831873"/>
                    </a:lnTo>
                    <a:lnTo>
                      <a:pt x="3847565" y="9839668"/>
                    </a:lnTo>
                    <a:lnTo>
                      <a:pt x="3898622" y="9856682"/>
                    </a:lnTo>
                    <a:lnTo>
                      <a:pt x="3943336" y="9888378"/>
                    </a:lnTo>
                    <a:lnTo>
                      <a:pt x="3990384" y="9913122"/>
                    </a:lnTo>
                    <a:lnTo>
                      <a:pt x="4013908" y="9925493"/>
                    </a:lnTo>
                    <a:lnTo>
                      <a:pt x="4038217" y="9935228"/>
                    </a:lnTo>
                    <a:lnTo>
                      <a:pt x="4063839" y="9941685"/>
                    </a:lnTo>
                    <a:lnTo>
                      <a:pt x="4089453" y="9948140"/>
                    </a:lnTo>
                    <a:lnTo>
                      <a:pt x="4115668" y="9950462"/>
                    </a:lnTo>
                    <a:lnTo>
                      <a:pt x="4145451" y="9945760"/>
                    </a:lnTo>
                    <a:lnTo>
                      <a:pt x="4172232" y="9941533"/>
                    </a:lnTo>
                    <a:lnTo>
                      <a:pt x="4194708" y="9927901"/>
                    </a:lnTo>
                    <a:lnTo>
                      <a:pt x="4213457" y="9909032"/>
                    </a:lnTo>
                    <a:lnTo>
                      <a:pt x="4232207" y="9890165"/>
                    </a:lnTo>
                    <a:lnTo>
                      <a:pt x="4247389" y="9866226"/>
                    </a:lnTo>
                    <a:lnTo>
                      <a:pt x="4261065" y="9842385"/>
                    </a:lnTo>
                    <a:lnTo>
                      <a:pt x="4274744" y="9818545"/>
                    </a:lnTo>
                    <a:lnTo>
                      <a:pt x="4287577" y="9794881"/>
                    </a:lnTo>
                    <a:lnTo>
                      <a:pt x="4299151" y="9775737"/>
                    </a:lnTo>
                    <a:lnTo>
                      <a:pt x="4310718" y="9756586"/>
                    </a:lnTo>
                    <a:lnTo>
                      <a:pt x="4334514" y="9737651"/>
                    </a:lnTo>
                    <a:lnTo>
                      <a:pt x="4363214" y="9732620"/>
                    </a:lnTo>
                    <a:lnTo>
                      <a:pt x="4395589" y="9739967"/>
                    </a:lnTo>
                    <a:lnTo>
                      <a:pt x="4429731" y="9753974"/>
                    </a:lnTo>
                    <a:lnTo>
                      <a:pt x="4463707" y="9769630"/>
                    </a:lnTo>
                    <a:lnTo>
                      <a:pt x="4497572" y="9790001"/>
                    </a:lnTo>
                    <a:lnTo>
                      <a:pt x="4524941" y="9793418"/>
                    </a:lnTo>
                    <a:lnTo>
                      <a:pt x="4562459" y="9789295"/>
                    </a:lnTo>
                    <a:lnTo>
                      <a:pt x="4596245" y="9770342"/>
                    </a:lnTo>
                    <a:lnTo>
                      <a:pt x="4629682" y="9748532"/>
                    </a:lnTo>
                    <a:lnTo>
                      <a:pt x="4667219" y="9732448"/>
                    </a:lnTo>
                    <a:lnTo>
                      <a:pt x="4689531" y="9734928"/>
                    </a:lnTo>
                    <a:lnTo>
                      <a:pt x="4711841" y="9737421"/>
                    </a:lnTo>
                    <a:lnTo>
                      <a:pt x="4736188" y="9747940"/>
                    </a:lnTo>
                    <a:lnTo>
                      <a:pt x="4767059" y="9774379"/>
                    </a:lnTo>
                    <a:lnTo>
                      <a:pt x="4787002" y="9791452"/>
                    </a:lnTo>
                    <a:lnTo>
                      <a:pt x="4828438" y="9836179"/>
                    </a:lnTo>
                    <a:lnTo>
                      <a:pt x="4835066" y="9862790"/>
                    </a:lnTo>
                    <a:lnTo>
                      <a:pt x="4926201" y="9838310"/>
                    </a:lnTo>
                    <a:lnTo>
                      <a:pt x="4967453" y="9827124"/>
                    </a:lnTo>
                    <a:lnTo>
                      <a:pt x="5029959" y="9780584"/>
                    </a:lnTo>
                    <a:lnTo>
                      <a:pt x="5052698" y="9774379"/>
                    </a:lnTo>
                    <a:lnTo>
                      <a:pt x="5096904" y="9775196"/>
                    </a:lnTo>
                    <a:lnTo>
                      <a:pt x="5169461" y="9802175"/>
                    </a:lnTo>
                    <a:lnTo>
                      <a:pt x="5237685" y="9817905"/>
                    </a:lnTo>
                    <a:lnTo>
                      <a:pt x="5271800" y="9825766"/>
                    </a:lnTo>
                    <a:lnTo>
                      <a:pt x="5304202" y="9830515"/>
                    </a:lnTo>
                    <a:lnTo>
                      <a:pt x="5332902" y="9827428"/>
                    </a:lnTo>
                    <a:lnTo>
                      <a:pt x="5361603" y="9824335"/>
                    </a:lnTo>
                    <a:lnTo>
                      <a:pt x="5386592" y="9813176"/>
                    </a:lnTo>
                    <a:lnTo>
                      <a:pt x="5402275" y="9789336"/>
                    </a:lnTo>
                    <a:lnTo>
                      <a:pt x="5420319" y="9761900"/>
                    </a:lnTo>
                    <a:lnTo>
                      <a:pt x="5421847" y="9722859"/>
                    </a:lnTo>
                    <a:lnTo>
                      <a:pt x="5436277" y="9695484"/>
                    </a:lnTo>
                    <a:lnTo>
                      <a:pt x="5451176" y="9667264"/>
                    </a:lnTo>
                    <a:lnTo>
                      <a:pt x="5468646" y="9621904"/>
                    </a:lnTo>
                    <a:lnTo>
                      <a:pt x="5487962" y="9597549"/>
                    </a:lnTo>
                    <a:lnTo>
                      <a:pt x="5510972" y="9568551"/>
                    </a:lnTo>
                    <a:lnTo>
                      <a:pt x="5547757" y="9555051"/>
                    </a:lnTo>
                    <a:lnTo>
                      <a:pt x="5585896" y="9541782"/>
                    </a:lnTo>
                    <a:lnTo>
                      <a:pt x="5624041" y="9528513"/>
                    </a:lnTo>
                    <a:lnTo>
                      <a:pt x="5664152" y="9514928"/>
                    </a:lnTo>
                    <a:lnTo>
                      <a:pt x="5691995" y="9486016"/>
                    </a:lnTo>
                    <a:lnTo>
                      <a:pt x="5708476" y="9468896"/>
                    </a:lnTo>
                    <a:lnTo>
                      <a:pt x="5714911" y="9445010"/>
                    </a:lnTo>
                    <a:lnTo>
                      <a:pt x="5720558" y="9420727"/>
                    </a:lnTo>
                    <a:lnTo>
                      <a:pt x="5726202" y="9396443"/>
                    </a:lnTo>
                    <a:lnTo>
                      <a:pt x="5731340" y="9371409"/>
                    </a:lnTo>
                    <a:lnTo>
                      <a:pt x="5740963" y="9351355"/>
                    </a:lnTo>
                    <a:lnTo>
                      <a:pt x="6008154" y="9383254"/>
                    </a:lnTo>
                    <a:lnTo>
                      <a:pt x="6042922" y="9394881"/>
                    </a:lnTo>
                    <a:lnTo>
                      <a:pt x="6049491" y="9419092"/>
                    </a:lnTo>
                    <a:lnTo>
                      <a:pt x="6018719" y="9481703"/>
                    </a:lnTo>
                    <a:lnTo>
                      <a:pt x="6041907" y="9496468"/>
                    </a:lnTo>
                    <a:lnTo>
                      <a:pt x="6070496" y="9505029"/>
                    </a:lnTo>
                    <a:lnTo>
                      <a:pt x="6097332" y="9515937"/>
                    </a:lnTo>
                    <a:lnTo>
                      <a:pt x="6124172" y="9526845"/>
                    </a:lnTo>
                    <a:lnTo>
                      <a:pt x="6148784" y="9541228"/>
                    </a:lnTo>
                    <a:lnTo>
                      <a:pt x="6165344" y="9556747"/>
                    </a:lnTo>
                    <a:lnTo>
                      <a:pt x="6127937" y="9635852"/>
                    </a:lnTo>
                    <a:lnTo>
                      <a:pt x="6124534" y="9666922"/>
                    </a:lnTo>
                    <a:lnTo>
                      <a:pt x="6122029" y="9690002"/>
                    </a:lnTo>
                    <a:lnTo>
                      <a:pt x="6143877" y="9725899"/>
                    </a:lnTo>
                    <a:lnTo>
                      <a:pt x="6146298" y="9751250"/>
                    </a:lnTo>
                    <a:lnTo>
                      <a:pt x="6148573" y="9775374"/>
                    </a:lnTo>
                    <a:lnTo>
                      <a:pt x="6135317" y="9800540"/>
                    </a:lnTo>
                    <a:lnTo>
                      <a:pt x="6142222" y="9824704"/>
                    </a:lnTo>
                    <a:lnTo>
                      <a:pt x="6166096" y="9887303"/>
                    </a:lnTo>
                    <a:lnTo>
                      <a:pt x="6187114" y="9929437"/>
                    </a:lnTo>
                    <a:lnTo>
                      <a:pt x="6208125" y="9971579"/>
                    </a:lnTo>
                    <a:lnTo>
                      <a:pt x="6232137" y="10011637"/>
                    </a:lnTo>
                    <a:lnTo>
                      <a:pt x="6267427" y="10042632"/>
                    </a:lnTo>
                    <a:lnTo>
                      <a:pt x="6290436" y="10056515"/>
                    </a:lnTo>
                    <a:lnTo>
                      <a:pt x="6314969" y="10068181"/>
                    </a:lnTo>
                    <a:lnTo>
                      <a:pt x="6339503" y="10079848"/>
                    </a:lnTo>
                    <a:lnTo>
                      <a:pt x="6364892" y="10089423"/>
                    </a:lnTo>
                    <a:lnTo>
                      <a:pt x="6388424" y="10102185"/>
                    </a:lnTo>
                    <a:lnTo>
                      <a:pt x="6379500" y="10135265"/>
                    </a:lnTo>
                    <a:lnTo>
                      <a:pt x="6357137" y="10163392"/>
                    </a:lnTo>
                    <a:lnTo>
                      <a:pt x="6334774" y="10191519"/>
                    </a:lnTo>
                    <a:lnTo>
                      <a:pt x="6303362" y="10226255"/>
                    </a:lnTo>
                    <a:lnTo>
                      <a:pt x="6272801" y="10261326"/>
                    </a:lnTo>
                    <a:lnTo>
                      <a:pt x="6242247" y="10296404"/>
                    </a:lnTo>
                    <a:lnTo>
                      <a:pt x="6211726" y="10332591"/>
                    </a:lnTo>
                    <a:lnTo>
                      <a:pt x="6191189" y="10364701"/>
                    </a:lnTo>
                    <a:lnTo>
                      <a:pt x="6170660" y="10396812"/>
                    </a:lnTo>
                    <a:lnTo>
                      <a:pt x="6160365" y="10424353"/>
                    </a:lnTo>
                    <a:lnTo>
                      <a:pt x="6176114" y="10457571"/>
                    </a:lnTo>
                    <a:lnTo>
                      <a:pt x="6214318" y="10476241"/>
                    </a:lnTo>
                    <a:lnTo>
                      <a:pt x="6234452" y="10484583"/>
                    </a:lnTo>
                    <a:lnTo>
                      <a:pt x="6256478" y="10491403"/>
                    </a:lnTo>
                    <a:lnTo>
                      <a:pt x="6278243" y="10512961"/>
                    </a:lnTo>
                    <a:lnTo>
                      <a:pt x="6271099" y="10537726"/>
                    </a:lnTo>
                    <a:lnTo>
                      <a:pt x="6272327" y="10559422"/>
                    </a:lnTo>
                    <a:lnTo>
                      <a:pt x="6278243" y="10579616"/>
                    </a:lnTo>
                    <a:lnTo>
                      <a:pt x="6284157" y="10599803"/>
                    </a:lnTo>
                    <a:lnTo>
                      <a:pt x="6305446" y="10634024"/>
                    </a:lnTo>
                    <a:lnTo>
                      <a:pt x="6327539" y="10666524"/>
                    </a:lnTo>
                    <a:lnTo>
                      <a:pt x="6351235" y="10692395"/>
                    </a:lnTo>
                    <a:lnTo>
                      <a:pt x="6346256" y="10712912"/>
                    </a:lnTo>
                    <a:lnTo>
                      <a:pt x="6320569" y="10749401"/>
                    </a:lnTo>
                    <a:lnTo>
                      <a:pt x="6304088" y="10767320"/>
                    </a:lnTo>
                    <a:lnTo>
                      <a:pt x="6287607" y="10785246"/>
                    </a:lnTo>
                    <a:lnTo>
                      <a:pt x="6272868" y="10801891"/>
                    </a:lnTo>
                    <a:lnTo>
                      <a:pt x="6278928" y="10832069"/>
                    </a:lnTo>
                    <a:lnTo>
                      <a:pt x="6306812" y="10859813"/>
                    </a:lnTo>
                    <a:lnTo>
                      <a:pt x="6341428" y="10882316"/>
                    </a:lnTo>
                    <a:lnTo>
                      <a:pt x="6361213" y="10889741"/>
                    </a:lnTo>
                    <a:lnTo>
                      <a:pt x="6400795" y="10904587"/>
                    </a:lnTo>
                    <a:lnTo>
                      <a:pt x="6445496" y="10908114"/>
                    </a:lnTo>
                    <a:lnTo>
                      <a:pt x="6479552" y="10900623"/>
                    </a:lnTo>
                    <a:lnTo>
                      <a:pt x="6534553" y="10870847"/>
                    </a:lnTo>
                    <a:lnTo>
                      <a:pt x="6605924" y="10888700"/>
                    </a:lnTo>
                    <a:lnTo>
                      <a:pt x="6665818" y="10897603"/>
                    </a:lnTo>
                    <a:lnTo>
                      <a:pt x="6727112" y="10910146"/>
                    </a:lnTo>
                    <a:lnTo>
                      <a:pt x="6757460" y="10916365"/>
                    </a:lnTo>
                    <a:lnTo>
                      <a:pt x="6784685" y="10929482"/>
                    </a:lnTo>
                    <a:lnTo>
                      <a:pt x="6816881" y="10930544"/>
                    </a:lnTo>
                    <a:lnTo>
                      <a:pt x="6867128" y="10932179"/>
                    </a:lnTo>
                    <a:lnTo>
                      <a:pt x="6912290" y="10921198"/>
                    </a:lnTo>
                    <a:lnTo>
                      <a:pt x="6961065" y="10916946"/>
                    </a:lnTo>
                    <a:lnTo>
                      <a:pt x="7002679" y="10913312"/>
                    </a:lnTo>
                    <a:lnTo>
                      <a:pt x="7044543" y="10914802"/>
                    </a:lnTo>
                    <a:lnTo>
                      <a:pt x="7086203" y="10911505"/>
                    </a:lnTo>
                    <a:lnTo>
                      <a:pt x="7121632" y="10908722"/>
                    </a:lnTo>
                    <a:lnTo>
                      <a:pt x="7154785" y="10899160"/>
                    </a:lnTo>
                    <a:lnTo>
                      <a:pt x="7190938" y="10901981"/>
                    </a:lnTo>
                    <a:lnTo>
                      <a:pt x="7216268" y="10903959"/>
                    </a:lnTo>
                    <a:lnTo>
                      <a:pt x="7282811" y="10926871"/>
                    </a:lnTo>
                    <a:lnTo>
                      <a:pt x="7304937" y="10892161"/>
                    </a:lnTo>
                    <a:lnTo>
                      <a:pt x="7302608" y="10864073"/>
                    </a:lnTo>
                    <a:lnTo>
                      <a:pt x="7303828" y="10836692"/>
                    </a:lnTo>
                    <a:lnTo>
                      <a:pt x="7305048" y="10809309"/>
                    </a:lnTo>
                    <a:lnTo>
                      <a:pt x="7309982" y="10782923"/>
                    </a:lnTo>
                    <a:lnTo>
                      <a:pt x="7331033" y="10757804"/>
                    </a:lnTo>
                    <a:lnTo>
                      <a:pt x="7351965" y="10748927"/>
                    </a:lnTo>
                    <a:lnTo>
                      <a:pt x="7375159" y="10739219"/>
                    </a:lnTo>
                    <a:lnTo>
                      <a:pt x="7399046" y="10730593"/>
                    </a:lnTo>
                    <a:lnTo>
                      <a:pt x="7422927" y="10721973"/>
                    </a:lnTo>
                    <a:lnTo>
                      <a:pt x="7447063" y="10714878"/>
                    </a:lnTo>
                    <a:lnTo>
                      <a:pt x="7469770" y="10711554"/>
                    </a:lnTo>
                    <a:lnTo>
                      <a:pt x="7492654" y="10708210"/>
                    </a:lnTo>
                    <a:lnTo>
                      <a:pt x="7518487" y="10722567"/>
                    </a:lnTo>
                    <a:lnTo>
                      <a:pt x="7545947" y="10734675"/>
                    </a:lnTo>
                    <a:lnTo>
                      <a:pt x="7573468" y="10746243"/>
                    </a:lnTo>
                    <a:lnTo>
                      <a:pt x="7602756" y="10750319"/>
                    </a:lnTo>
                    <a:lnTo>
                      <a:pt x="7633001" y="10741475"/>
                    </a:lnTo>
                    <a:lnTo>
                      <a:pt x="7663416" y="10727196"/>
                    </a:lnTo>
                    <a:lnTo>
                      <a:pt x="7685529" y="10712069"/>
                    </a:lnTo>
                    <a:lnTo>
                      <a:pt x="7702365" y="10696590"/>
                    </a:lnTo>
                    <a:lnTo>
                      <a:pt x="7719201" y="10681119"/>
                    </a:lnTo>
                    <a:lnTo>
                      <a:pt x="7741809" y="10650347"/>
                    </a:lnTo>
                    <a:lnTo>
                      <a:pt x="7763104" y="10618756"/>
                    </a:lnTo>
                    <a:lnTo>
                      <a:pt x="7779835" y="10586811"/>
                    </a:lnTo>
                    <a:lnTo>
                      <a:pt x="7820704" y="10559211"/>
                    </a:lnTo>
                    <a:lnTo>
                      <a:pt x="7851786" y="10555551"/>
                    </a:lnTo>
                    <a:lnTo>
                      <a:pt x="7873753" y="10556494"/>
                    </a:lnTo>
                    <a:lnTo>
                      <a:pt x="7895340" y="10557675"/>
                    </a:lnTo>
                    <a:lnTo>
                      <a:pt x="7919997" y="10561929"/>
                    </a:lnTo>
                    <a:lnTo>
                      <a:pt x="7914821" y="10537019"/>
                    </a:lnTo>
                    <a:lnTo>
                      <a:pt x="7917129" y="10506459"/>
                    </a:lnTo>
                    <a:lnTo>
                      <a:pt x="7924087" y="10478957"/>
                    </a:lnTo>
                    <a:lnTo>
                      <a:pt x="7953987" y="10461258"/>
                    </a:lnTo>
                    <a:lnTo>
                      <a:pt x="7992120" y="10447691"/>
                    </a:lnTo>
                    <a:lnTo>
                      <a:pt x="8026102" y="10439507"/>
                    </a:lnTo>
                    <a:lnTo>
                      <a:pt x="8040611" y="10386768"/>
                    </a:lnTo>
                    <a:lnTo>
                      <a:pt x="8045143" y="10347020"/>
                    </a:lnTo>
                    <a:lnTo>
                      <a:pt x="8049673" y="10307267"/>
                    </a:lnTo>
                    <a:lnTo>
                      <a:pt x="8047978" y="10267552"/>
                    </a:lnTo>
                    <a:lnTo>
                      <a:pt x="7997065" y="10252614"/>
                    </a:lnTo>
                    <a:lnTo>
                      <a:pt x="7967824" y="10266107"/>
                    </a:lnTo>
                    <a:lnTo>
                      <a:pt x="7933602" y="10272207"/>
                    </a:lnTo>
                    <a:lnTo>
                      <a:pt x="7893889" y="10279284"/>
                    </a:lnTo>
                    <a:lnTo>
                      <a:pt x="7845468" y="10274416"/>
                    </a:lnTo>
                    <a:lnTo>
                      <a:pt x="7805747" y="10270849"/>
                    </a:lnTo>
                    <a:lnTo>
                      <a:pt x="7815586" y="10247345"/>
                    </a:lnTo>
                    <a:lnTo>
                      <a:pt x="7832278" y="10234530"/>
                    </a:lnTo>
                    <a:lnTo>
                      <a:pt x="7846557" y="10215083"/>
                    </a:lnTo>
                    <a:lnTo>
                      <a:pt x="7869929" y="10183230"/>
                    </a:lnTo>
                    <a:lnTo>
                      <a:pt x="7893704" y="10142065"/>
                    </a:lnTo>
                    <a:lnTo>
                      <a:pt x="7910481" y="10099461"/>
                    </a:lnTo>
                    <a:lnTo>
                      <a:pt x="7927259" y="10056857"/>
                    </a:lnTo>
                    <a:lnTo>
                      <a:pt x="7936880" y="10013114"/>
                    </a:lnTo>
                    <a:lnTo>
                      <a:pt x="7934968" y="9972963"/>
                    </a:lnTo>
                    <a:lnTo>
                      <a:pt x="7933464" y="9941460"/>
                    </a:lnTo>
                    <a:lnTo>
                      <a:pt x="7917926" y="9920481"/>
                    </a:lnTo>
                    <a:lnTo>
                      <a:pt x="7902324" y="9898151"/>
                    </a:lnTo>
                    <a:lnTo>
                      <a:pt x="7886720" y="9875828"/>
                    </a:lnTo>
                    <a:lnTo>
                      <a:pt x="7871755" y="9850985"/>
                    </a:lnTo>
                    <a:lnTo>
                      <a:pt x="7872395" y="9809741"/>
                    </a:lnTo>
                    <a:lnTo>
                      <a:pt x="7900662" y="9798351"/>
                    </a:lnTo>
                    <a:lnTo>
                      <a:pt x="7916369" y="9766663"/>
                    </a:lnTo>
                    <a:lnTo>
                      <a:pt x="7944490" y="9762131"/>
                    </a:lnTo>
                    <a:lnTo>
                      <a:pt x="7972203" y="9757646"/>
                    </a:lnTo>
                    <a:lnTo>
                      <a:pt x="8002361" y="9779898"/>
                    </a:lnTo>
                    <a:lnTo>
                      <a:pt x="8028820" y="9768937"/>
                    </a:lnTo>
                    <a:lnTo>
                      <a:pt x="8054665" y="9745810"/>
                    </a:lnTo>
                    <a:lnTo>
                      <a:pt x="8063118" y="9696822"/>
                    </a:lnTo>
                    <a:lnTo>
                      <a:pt x="8089328" y="9681028"/>
                    </a:lnTo>
                    <a:lnTo>
                      <a:pt x="8121313" y="9692766"/>
                    </a:lnTo>
                    <a:lnTo>
                      <a:pt x="8152778" y="9699361"/>
                    </a:lnTo>
                    <a:lnTo>
                      <a:pt x="8170281" y="9687325"/>
                    </a:lnTo>
                    <a:lnTo>
                      <a:pt x="8206558" y="9662351"/>
                    </a:lnTo>
                    <a:lnTo>
                      <a:pt x="8266895" y="9607685"/>
                    </a:lnTo>
                    <a:lnTo>
                      <a:pt x="8296779" y="9590749"/>
                    </a:lnTo>
                    <a:lnTo>
                      <a:pt x="8320889" y="9577091"/>
                    </a:lnTo>
                    <a:lnTo>
                      <a:pt x="8345954" y="9570107"/>
                    </a:lnTo>
                    <a:lnTo>
                      <a:pt x="8370232" y="9560823"/>
                    </a:lnTo>
                    <a:lnTo>
                      <a:pt x="8394500" y="9551543"/>
                    </a:lnTo>
                    <a:lnTo>
                      <a:pt x="8417701" y="9540687"/>
                    </a:lnTo>
                    <a:lnTo>
                      <a:pt x="8439604" y="9521379"/>
                    </a:lnTo>
                    <a:lnTo>
                      <a:pt x="8475816" y="9476770"/>
                    </a:lnTo>
                    <a:lnTo>
                      <a:pt x="8560660" y="9450648"/>
                    </a:lnTo>
                    <a:lnTo>
                      <a:pt x="8577701" y="9437602"/>
                    </a:lnTo>
                    <a:lnTo>
                      <a:pt x="8603566" y="9407102"/>
                    </a:lnTo>
                    <a:lnTo>
                      <a:pt x="8636829" y="9379917"/>
                    </a:lnTo>
                    <a:lnTo>
                      <a:pt x="8648515" y="9359129"/>
                    </a:lnTo>
                    <a:lnTo>
                      <a:pt x="8667965" y="9323471"/>
                    </a:lnTo>
                    <a:lnTo>
                      <a:pt x="8658316" y="9302322"/>
                    </a:lnTo>
                    <a:lnTo>
                      <a:pt x="8673549" y="9272460"/>
                    </a:lnTo>
                    <a:lnTo>
                      <a:pt x="8704890" y="9250229"/>
                    </a:lnTo>
                    <a:lnTo>
                      <a:pt x="8730681" y="9238456"/>
                    </a:lnTo>
                    <a:lnTo>
                      <a:pt x="8756475" y="9226685"/>
                    </a:lnTo>
                    <a:lnTo>
                      <a:pt x="8786653" y="9214036"/>
                    </a:lnTo>
                    <a:lnTo>
                      <a:pt x="8816378" y="9197654"/>
                    </a:lnTo>
                    <a:lnTo>
                      <a:pt x="8846094" y="9181272"/>
                    </a:lnTo>
                    <a:lnTo>
                      <a:pt x="8874827" y="9161876"/>
                    </a:lnTo>
                    <a:lnTo>
                      <a:pt x="8896630" y="9136441"/>
                    </a:lnTo>
                    <a:lnTo>
                      <a:pt x="8918428" y="9111010"/>
                    </a:lnTo>
                    <a:lnTo>
                      <a:pt x="8934042" y="9080147"/>
                    </a:lnTo>
                    <a:lnTo>
                      <a:pt x="8936073" y="9041230"/>
                    </a:lnTo>
                    <a:lnTo>
                      <a:pt x="8910986" y="8990231"/>
                    </a:lnTo>
                    <a:lnTo>
                      <a:pt x="8885741" y="8950095"/>
                    </a:lnTo>
                    <a:lnTo>
                      <a:pt x="8860502" y="8909958"/>
                    </a:lnTo>
                    <a:lnTo>
                      <a:pt x="8828545" y="8862336"/>
                    </a:lnTo>
                    <a:lnTo>
                      <a:pt x="8798695" y="8815433"/>
                    </a:lnTo>
                    <a:lnTo>
                      <a:pt x="8768840" y="8768537"/>
                    </a:lnTo>
                    <a:lnTo>
                      <a:pt x="8740897" y="8722919"/>
                    </a:lnTo>
                    <a:lnTo>
                      <a:pt x="8721159" y="8684854"/>
                    </a:lnTo>
                    <a:lnTo>
                      <a:pt x="8701421" y="8646795"/>
                    </a:lnTo>
                    <a:lnTo>
                      <a:pt x="8690209" y="8616874"/>
                    </a:lnTo>
                    <a:lnTo>
                      <a:pt x="8710006" y="8590876"/>
                    </a:lnTo>
                    <a:lnTo>
                      <a:pt x="8742624" y="8578399"/>
                    </a:lnTo>
                    <a:lnTo>
                      <a:pt x="8757504" y="8548069"/>
                    </a:lnTo>
                    <a:lnTo>
                      <a:pt x="8691573" y="8311840"/>
                    </a:lnTo>
                    <a:lnTo>
                      <a:pt x="8687155" y="8268636"/>
                    </a:lnTo>
                    <a:lnTo>
                      <a:pt x="8685012" y="8247783"/>
                    </a:lnTo>
                    <a:lnTo>
                      <a:pt x="8712257" y="8218159"/>
                    </a:lnTo>
                    <a:lnTo>
                      <a:pt x="8739809" y="8216978"/>
                    </a:lnTo>
                    <a:lnTo>
                      <a:pt x="8788125" y="8206407"/>
                    </a:lnTo>
                    <a:lnTo>
                      <a:pt x="8836780" y="8189742"/>
                    </a:lnTo>
                    <a:lnTo>
                      <a:pt x="8885431" y="8173076"/>
                    </a:lnTo>
                    <a:lnTo>
                      <a:pt x="8934427" y="8150298"/>
                    </a:lnTo>
                    <a:lnTo>
                      <a:pt x="8947951" y="8112469"/>
                    </a:lnTo>
                    <a:lnTo>
                      <a:pt x="8953622" y="8088326"/>
                    </a:lnTo>
                    <a:lnTo>
                      <a:pt x="8952398" y="8067327"/>
                    </a:lnTo>
                    <a:lnTo>
                      <a:pt x="8928762" y="8053643"/>
                    </a:lnTo>
                    <a:lnTo>
                      <a:pt x="8891440" y="8060996"/>
                    </a:lnTo>
                    <a:lnTo>
                      <a:pt x="8872142" y="8044205"/>
                    </a:lnTo>
                    <a:lnTo>
                      <a:pt x="8865727" y="8011435"/>
                    </a:lnTo>
                    <a:lnTo>
                      <a:pt x="8870409" y="7987199"/>
                    </a:lnTo>
                    <a:lnTo>
                      <a:pt x="8881673" y="7968035"/>
                    </a:lnTo>
                    <a:lnTo>
                      <a:pt x="8893787" y="7950017"/>
                    </a:lnTo>
                    <a:lnTo>
                      <a:pt x="8906152" y="7913626"/>
                    </a:lnTo>
                    <a:lnTo>
                      <a:pt x="8889831" y="7883699"/>
                    </a:lnTo>
                    <a:lnTo>
                      <a:pt x="8865299" y="7872778"/>
                    </a:lnTo>
                    <a:lnTo>
                      <a:pt x="8842209" y="7861012"/>
                    </a:lnTo>
                    <a:lnTo>
                      <a:pt x="8823184" y="7846971"/>
                    </a:lnTo>
                    <a:lnTo>
                      <a:pt x="8804155" y="7832937"/>
                    </a:lnTo>
                    <a:lnTo>
                      <a:pt x="8789028" y="7816114"/>
                    </a:lnTo>
                    <a:lnTo>
                      <a:pt x="8779655" y="7791205"/>
                    </a:lnTo>
                    <a:lnTo>
                      <a:pt x="8774300" y="7732523"/>
                    </a:lnTo>
                    <a:lnTo>
                      <a:pt x="8779655" y="7687553"/>
                    </a:lnTo>
                    <a:lnTo>
                      <a:pt x="8779655" y="7644304"/>
                    </a:lnTo>
                    <a:lnTo>
                      <a:pt x="8779655" y="7605644"/>
                    </a:lnTo>
                    <a:lnTo>
                      <a:pt x="8770840" y="7564775"/>
                    </a:lnTo>
                    <a:lnTo>
                      <a:pt x="8768775" y="7525965"/>
                    </a:lnTo>
                    <a:lnTo>
                      <a:pt x="8766539" y="7483757"/>
                    </a:lnTo>
                    <a:lnTo>
                      <a:pt x="8771162" y="7440805"/>
                    </a:lnTo>
                    <a:lnTo>
                      <a:pt x="8767417" y="7398110"/>
                    </a:lnTo>
                    <a:lnTo>
                      <a:pt x="8776511" y="7376300"/>
                    </a:lnTo>
                    <a:lnTo>
                      <a:pt x="8790882" y="7352967"/>
                    </a:lnTo>
                    <a:lnTo>
                      <a:pt x="8806859" y="7335537"/>
                    </a:lnTo>
                    <a:lnTo>
                      <a:pt x="8778297" y="7297451"/>
                    </a:lnTo>
                    <a:lnTo>
                      <a:pt x="8731837" y="7288509"/>
                    </a:lnTo>
                    <a:lnTo>
                      <a:pt x="8690593" y="7255659"/>
                    </a:lnTo>
                    <a:lnTo>
                      <a:pt x="8670446" y="7207622"/>
                    </a:lnTo>
                    <a:lnTo>
                      <a:pt x="8650441" y="7161431"/>
                    </a:lnTo>
                    <a:lnTo>
                      <a:pt x="8630426" y="7115247"/>
                    </a:lnTo>
                    <a:lnTo>
                      <a:pt x="8611758" y="7071174"/>
                    </a:lnTo>
                    <a:lnTo>
                      <a:pt x="8591951" y="7058056"/>
                    </a:lnTo>
                    <a:lnTo>
                      <a:pt x="8571388" y="7051376"/>
                    </a:lnTo>
                    <a:lnTo>
                      <a:pt x="8538606" y="7053987"/>
                    </a:lnTo>
                    <a:lnTo>
                      <a:pt x="8508973" y="7056698"/>
                    </a:lnTo>
                    <a:lnTo>
                      <a:pt x="8479344" y="7059402"/>
                    </a:lnTo>
                    <a:lnTo>
                      <a:pt x="8451585" y="7062297"/>
                    </a:lnTo>
                    <a:lnTo>
                      <a:pt x="8434169" y="7043099"/>
                    </a:lnTo>
                    <a:lnTo>
                      <a:pt x="8428622" y="6993281"/>
                    </a:lnTo>
                    <a:lnTo>
                      <a:pt x="8455609" y="6939190"/>
                    </a:lnTo>
                    <a:lnTo>
                      <a:pt x="8461373" y="6889398"/>
                    </a:lnTo>
                    <a:lnTo>
                      <a:pt x="8412359" y="6867015"/>
                    </a:lnTo>
                    <a:lnTo>
                      <a:pt x="8394726" y="6851313"/>
                    </a:lnTo>
                    <a:lnTo>
                      <a:pt x="8387728" y="6824794"/>
                    </a:lnTo>
                    <a:lnTo>
                      <a:pt x="8389099" y="6799483"/>
                    </a:lnTo>
                    <a:lnTo>
                      <a:pt x="8392007" y="6775141"/>
                    </a:lnTo>
                    <a:lnTo>
                      <a:pt x="8394903" y="6750793"/>
                    </a:lnTo>
                    <a:lnTo>
                      <a:pt x="8399123" y="6726788"/>
                    </a:lnTo>
                    <a:lnTo>
                      <a:pt x="8397442" y="6700329"/>
                    </a:lnTo>
                    <a:lnTo>
                      <a:pt x="8395926" y="6676468"/>
                    </a:lnTo>
                    <a:lnTo>
                      <a:pt x="8365897" y="6625253"/>
                    </a:lnTo>
                    <a:lnTo>
                      <a:pt x="8330795" y="6580632"/>
                    </a:lnTo>
                    <a:lnTo>
                      <a:pt x="8313240" y="6558321"/>
                    </a:lnTo>
                    <a:lnTo>
                      <a:pt x="8295042" y="6538582"/>
                    </a:lnTo>
                    <a:lnTo>
                      <a:pt x="8277744" y="6523499"/>
                    </a:lnTo>
                    <a:lnTo>
                      <a:pt x="8260446" y="6508424"/>
                    </a:lnTo>
                    <a:lnTo>
                      <a:pt x="8232860" y="6499020"/>
                    </a:lnTo>
                    <a:lnTo>
                      <a:pt x="8184274" y="6500892"/>
                    </a:lnTo>
                    <a:lnTo>
                      <a:pt x="8129809" y="6498268"/>
                    </a:lnTo>
                    <a:lnTo>
                      <a:pt x="8081877" y="6504460"/>
                    </a:lnTo>
                    <a:lnTo>
                      <a:pt x="8047873" y="6518059"/>
                    </a:lnTo>
                    <a:lnTo>
                      <a:pt x="8025773" y="6526817"/>
                    </a:lnTo>
                    <a:lnTo>
                      <a:pt x="8005646" y="6542632"/>
                    </a:lnTo>
                    <a:lnTo>
                      <a:pt x="7983948" y="6550704"/>
                    </a:lnTo>
                    <a:lnTo>
                      <a:pt x="7955274" y="6561394"/>
                    </a:lnTo>
                    <a:lnTo>
                      <a:pt x="7922312" y="6567983"/>
                    </a:lnTo>
                    <a:lnTo>
                      <a:pt x="7892813" y="6576549"/>
                    </a:lnTo>
                    <a:lnTo>
                      <a:pt x="7864250" y="6573826"/>
                    </a:lnTo>
                    <a:lnTo>
                      <a:pt x="7842982" y="6566492"/>
                    </a:lnTo>
                    <a:lnTo>
                      <a:pt x="7826666" y="6530629"/>
                    </a:lnTo>
                    <a:lnTo>
                      <a:pt x="7828367" y="6494601"/>
                    </a:lnTo>
                    <a:lnTo>
                      <a:pt x="7850645" y="6471809"/>
                    </a:lnTo>
                    <a:lnTo>
                      <a:pt x="7954020" y="6465009"/>
                    </a:lnTo>
                    <a:lnTo>
                      <a:pt x="7986236" y="6420382"/>
                    </a:lnTo>
                    <a:lnTo>
                      <a:pt x="7992106" y="6391563"/>
                    </a:lnTo>
                    <a:lnTo>
                      <a:pt x="7902330" y="6348036"/>
                    </a:lnTo>
                    <a:lnTo>
                      <a:pt x="7894501" y="6322190"/>
                    </a:lnTo>
                    <a:lnTo>
                      <a:pt x="7905054" y="6296345"/>
                    </a:lnTo>
                    <a:lnTo>
                      <a:pt x="7940270" y="6292032"/>
                    </a:lnTo>
                    <a:lnTo>
                      <a:pt x="8005131" y="6311560"/>
                    </a:lnTo>
                    <a:lnTo>
                      <a:pt x="8026110" y="6307227"/>
                    </a:lnTo>
                    <a:lnTo>
                      <a:pt x="8045234" y="6292948"/>
                    </a:lnTo>
                    <a:lnTo>
                      <a:pt x="8058753" y="6274582"/>
                    </a:lnTo>
                    <a:lnTo>
                      <a:pt x="8066721" y="6250590"/>
                    </a:lnTo>
                    <a:lnTo>
                      <a:pt x="8075077" y="6229697"/>
                    </a:lnTo>
                    <a:lnTo>
                      <a:pt x="8089356" y="6193992"/>
                    </a:lnTo>
                    <a:lnTo>
                      <a:pt x="8102226" y="6169835"/>
                    </a:lnTo>
                    <a:lnTo>
                      <a:pt x="8106362" y="6145361"/>
                    </a:lnTo>
                    <a:lnTo>
                      <a:pt x="8110499" y="6120894"/>
                    </a:lnTo>
                    <a:lnTo>
                      <a:pt x="8106034" y="6096809"/>
                    </a:lnTo>
                    <a:lnTo>
                      <a:pt x="8085957" y="6061032"/>
                    </a:lnTo>
                    <a:lnTo>
                      <a:pt x="8002987" y="6035187"/>
                    </a:lnTo>
                    <a:lnTo>
                      <a:pt x="7998437" y="5968156"/>
                    </a:lnTo>
                    <a:lnTo>
                      <a:pt x="8012973" y="5939508"/>
                    </a:lnTo>
                    <a:lnTo>
                      <a:pt x="8043797" y="5945417"/>
                    </a:lnTo>
                    <a:lnTo>
                      <a:pt x="8074609" y="5949968"/>
                    </a:lnTo>
                    <a:lnTo>
                      <a:pt x="8102921" y="5914823"/>
                    </a:lnTo>
                    <a:lnTo>
                      <a:pt x="8116036" y="5878426"/>
                    </a:lnTo>
                    <a:lnTo>
                      <a:pt x="8128125" y="5840683"/>
                    </a:lnTo>
                    <a:lnTo>
                      <a:pt x="8140208" y="5802940"/>
                    </a:lnTo>
                    <a:lnTo>
                      <a:pt x="8150515" y="5762996"/>
                    </a:lnTo>
                    <a:lnTo>
                      <a:pt x="8160771" y="5733226"/>
                    </a:lnTo>
                    <a:lnTo>
                      <a:pt x="8147417" y="5714569"/>
                    </a:lnTo>
                    <a:lnTo>
                      <a:pt x="8112238" y="5695121"/>
                    </a:lnTo>
                    <a:lnTo>
                      <a:pt x="8080516" y="5673377"/>
                    </a:lnTo>
                    <a:lnTo>
                      <a:pt x="8049588" y="5650638"/>
                    </a:lnTo>
                    <a:lnTo>
                      <a:pt x="8027118" y="5628110"/>
                    </a:lnTo>
                    <a:lnTo>
                      <a:pt x="8019310" y="5605370"/>
                    </a:lnTo>
                    <a:lnTo>
                      <a:pt x="8044344" y="5559206"/>
                    </a:lnTo>
                    <a:lnTo>
                      <a:pt x="8062666" y="5508900"/>
                    </a:lnTo>
                    <a:lnTo>
                      <a:pt x="8088683" y="5463910"/>
                    </a:lnTo>
                    <a:lnTo>
                      <a:pt x="8121710" y="5406758"/>
                    </a:lnTo>
                    <a:lnTo>
                      <a:pt x="8177180" y="5358365"/>
                    </a:lnTo>
                    <a:lnTo>
                      <a:pt x="8202939" y="5297963"/>
                    </a:lnTo>
                    <a:lnTo>
                      <a:pt x="8238788" y="5202178"/>
                    </a:lnTo>
                    <a:lnTo>
                      <a:pt x="8329276" y="5162226"/>
                    </a:lnTo>
                    <a:lnTo>
                      <a:pt x="8380712" y="5141102"/>
                    </a:lnTo>
                    <a:lnTo>
                      <a:pt x="8408332" y="5108893"/>
                    </a:lnTo>
                    <a:lnTo>
                      <a:pt x="8422132" y="5092795"/>
                    </a:lnTo>
                    <a:lnTo>
                      <a:pt x="8432811" y="5050410"/>
                    </a:lnTo>
                    <a:lnTo>
                      <a:pt x="8434612" y="5026226"/>
                    </a:lnTo>
                    <a:lnTo>
                      <a:pt x="8429822" y="4996938"/>
                    </a:lnTo>
                    <a:lnTo>
                      <a:pt x="8419205" y="4959275"/>
                    </a:lnTo>
                    <a:lnTo>
                      <a:pt x="8406034" y="4912516"/>
                    </a:lnTo>
                    <a:lnTo>
                      <a:pt x="8390689" y="4863701"/>
                    </a:lnTo>
                    <a:lnTo>
                      <a:pt x="8379760" y="4816456"/>
                    </a:lnTo>
                    <a:lnTo>
                      <a:pt x="8369646" y="4772652"/>
                    </a:lnTo>
                    <a:lnTo>
                      <a:pt x="8369360" y="4730168"/>
                    </a:lnTo>
                    <a:lnTo>
                      <a:pt x="8352558" y="4687235"/>
                    </a:lnTo>
                    <a:lnTo>
                      <a:pt x="8343588" y="4664311"/>
                    </a:lnTo>
                    <a:lnTo>
                      <a:pt x="8326448" y="4649808"/>
                    </a:lnTo>
                    <a:lnTo>
                      <a:pt x="8304949" y="4640985"/>
                    </a:lnTo>
                    <a:lnTo>
                      <a:pt x="8283455" y="4632168"/>
                    </a:lnTo>
                    <a:lnTo>
                      <a:pt x="8258251" y="4628619"/>
                    </a:lnTo>
                    <a:lnTo>
                      <a:pt x="8231502" y="4628745"/>
                    </a:lnTo>
                    <a:lnTo>
                      <a:pt x="8177995" y="4629008"/>
                    </a:lnTo>
                    <a:lnTo>
                      <a:pt x="8120910" y="4642502"/>
                    </a:lnTo>
                    <a:lnTo>
                      <a:pt x="8090041" y="4647791"/>
                    </a:lnTo>
                    <a:lnTo>
                      <a:pt x="8066920" y="4647791"/>
                    </a:lnTo>
                    <a:lnTo>
                      <a:pt x="8064790" y="4544673"/>
                    </a:lnTo>
                    <a:lnTo>
                      <a:pt x="8099287" y="4385656"/>
                    </a:lnTo>
                    <a:lnTo>
                      <a:pt x="8121326" y="4292781"/>
                    </a:lnTo>
                    <a:lnTo>
                      <a:pt x="8126259" y="4271993"/>
                    </a:lnTo>
                    <a:lnTo>
                      <a:pt x="8135182" y="4251120"/>
                    </a:lnTo>
                    <a:lnTo>
                      <a:pt x="8139008" y="4230208"/>
                    </a:lnTo>
                    <a:lnTo>
                      <a:pt x="8142959" y="4186490"/>
                    </a:lnTo>
                    <a:lnTo>
                      <a:pt x="8107107" y="4132722"/>
                    </a:lnTo>
                    <a:lnTo>
                      <a:pt x="8069273" y="4106560"/>
                    </a:lnTo>
                    <a:lnTo>
                      <a:pt x="8041073" y="4071066"/>
                    </a:lnTo>
                    <a:lnTo>
                      <a:pt x="7988980" y="4005434"/>
                    </a:lnTo>
                    <a:lnTo>
                      <a:pt x="7948705" y="3933813"/>
                    </a:lnTo>
                    <a:lnTo>
                      <a:pt x="7902330" y="3864316"/>
                    </a:lnTo>
                    <a:lnTo>
                      <a:pt x="7876510" y="3825591"/>
                    </a:lnTo>
                    <a:lnTo>
                      <a:pt x="7846840" y="3790038"/>
                    </a:lnTo>
                    <a:lnTo>
                      <a:pt x="7824800" y="3748701"/>
                    </a:lnTo>
                    <a:lnTo>
                      <a:pt x="7792267" y="3737225"/>
                    </a:lnTo>
                    <a:lnTo>
                      <a:pt x="7756681" y="3743847"/>
                    </a:lnTo>
                    <a:lnTo>
                      <a:pt x="7722783" y="3739178"/>
                    </a:lnTo>
                    <a:lnTo>
                      <a:pt x="7715259" y="3702754"/>
                    </a:lnTo>
                    <a:lnTo>
                      <a:pt x="7722256" y="3643519"/>
                    </a:lnTo>
                    <a:lnTo>
                      <a:pt x="7714625" y="3597717"/>
                    </a:lnTo>
                    <a:lnTo>
                      <a:pt x="7774942" y="3577062"/>
                    </a:lnTo>
                    <a:lnTo>
                      <a:pt x="7832773" y="3575776"/>
                    </a:lnTo>
                    <a:lnTo>
                      <a:pt x="7883291" y="3584118"/>
                    </a:lnTo>
                    <a:lnTo>
                      <a:pt x="7915599" y="3606535"/>
                    </a:lnTo>
                    <a:lnTo>
                      <a:pt x="7932257" y="3623563"/>
                    </a:lnTo>
                    <a:lnTo>
                      <a:pt x="7948910" y="3640597"/>
                    </a:lnTo>
                    <a:lnTo>
                      <a:pt x="7967513" y="3655937"/>
                    </a:lnTo>
                    <a:lnTo>
                      <a:pt x="7989382" y="3650766"/>
                    </a:lnTo>
                    <a:lnTo>
                      <a:pt x="7996214" y="3600461"/>
                    </a:lnTo>
                    <a:lnTo>
                      <a:pt x="7990742" y="3565079"/>
                    </a:lnTo>
                    <a:lnTo>
                      <a:pt x="7985267" y="3529691"/>
                    </a:lnTo>
                    <a:lnTo>
                      <a:pt x="7976654" y="3493815"/>
                    </a:lnTo>
                    <a:lnTo>
                      <a:pt x="7972216" y="3462436"/>
                    </a:lnTo>
                    <a:lnTo>
                      <a:pt x="7971437" y="3430503"/>
                    </a:lnTo>
                    <a:lnTo>
                      <a:pt x="7973060" y="3399131"/>
                    </a:lnTo>
                    <a:lnTo>
                      <a:pt x="7974682" y="3367760"/>
                    </a:lnTo>
                    <a:lnTo>
                      <a:pt x="7978883" y="3336658"/>
                    </a:lnTo>
                    <a:lnTo>
                      <a:pt x="7995845" y="3300452"/>
                    </a:lnTo>
                    <a:lnTo>
                      <a:pt x="8012432" y="3281993"/>
                    </a:lnTo>
                    <a:lnTo>
                      <a:pt x="8028832" y="3263112"/>
                    </a:lnTo>
                    <a:lnTo>
                      <a:pt x="8045228" y="3244231"/>
                    </a:lnTo>
                    <a:lnTo>
                      <a:pt x="8061478" y="3224973"/>
                    </a:lnTo>
                    <a:lnTo>
                      <a:pt x="8070994" y="3203263"/>
                    </a:lnTo>
                    <a:lnTo>
                      <a:pt x="8072352" y="3173342"/>
                    </a:lnTo>
                    <a:lnTo>
                      <a:pt x="8067624" y="3152535"/>
                    </a:lnTo>
                    <a:lnTo>
                      <a:pt x="8060092" y="3119396"/>
                    </a:lnTo>
                    <a:lnTo>
                      <a:pt x="8050313" y="3100514"/>
                    </a:lnTo>
                    <a:lnTo>
                      <a:pt x="8023670" y="3069340"/>
                    </a:lnTo>
                    <a:lnTo>
                      <a:pt x="7989382" y="3046838"/>
                    </a:lnTo>
                    <a:lnTo>
                      <a:pt x="7952457" y="3027442"/>
                    </a:lnTo>
                    <a:lnTo>
                      <a:pt x="7906840" y="3017168"/>
                    </a:lnTo>
                    <a:lnTo>
                      <a:pt x="7865610" y="3006036"/>
                    </a:lnTo>
                    <a:lnTo>
                      <a:pt x="7848628" y="2972560"/>
                    </a:lnTo>
                    <a:lnTo>
                      <a:pt x="7845158" y="2942401"/>
                    </a:lnTo>
                    <a:lnTo>
                      <a:pt x="7831599" y="2923065"/>
                    </a:lnTo>
                    <a:lnTo>
                      <a:pt x="7810811" y="2881392"/>
                    </a:lnTo>
                    <a:lnTo>
                      <a:pt x="7790797" y="2859134"/>
                    </a:lnTo>
                    <a:lnTo>
                      <a:pt x="7770781" y="2836876"/>
                    </a:lnTo>
                    <a:lnTo>
                      <a:pt x="7745377" y="2814473"/>
                    </a:lnTo>
                    <a:lnTo>
                      <a:pt x="7718701" y="2793845"/>
                    </a:lnTo>
                    <a:lnTo>
                      <a:pt x="7665361" y="2752580"/>
                    </a:lnTo>
                    <a:lnTo>
                      <a:pt x="7605573" y="2718195"/>
                    </a:lnTo>
                    <a:lnTo>
                      <a:pt x="7566358" y="2708150"/>
                    </a:lnTo>
                    <a:lnTo>
                      <a:pt x="7538158" y="2735697"/>
                    </a:lnTo>
                    <a:lnTo>
                      <a:pt x="7462772" y="2868592"/>
                    </a:lnTo>
                    <a:lnTo>
                      <a:pt x="7431044" y="2838993"/>
                    </a:lnTo>
                    <a:lnTo>
                      <a:pt x="7415705" y="2787065"/>
                    </a:lnTo>
                    <a:lnTo>
                      <a:pt x="7403136" y="2735355"/>
                    </a:lnTo>
                    <a:lnTo>
                      <a:pt x="7390572" y="2683644"/>
                    </a:lnTo>
                    <a:lnTo>
                      <a:pt x="7381464" y="2631696"/>
                    </a:lnTo>
                    <a:lnTo>
                      <a:pt x="7378655" y="2597976"/>
                    </a:lnTo>
                    <a:lnTo>
                      <a:pt x="7374849" y="2552300"/>
                    </a:lnTo>
                    <a:lnTo>
                      <a:pt x="7373531" y="2502953"/>
                    </a:lnTo>
                    <a:lnTo>
                      <a:pt x="7366414" y="2457875"/>
                    </a:lnTo>
                    <a:lnTo>
                      <a:pt x="7360591" y="2420936"/>
                    </a:lnTo>
                    <a:lnTo>
                      <a:pt x="7339125" y="2373861"/>
                    </a:lnTo>
                    <a:lnTo>
                      <a:pt x="7328329" y="2336817"/>
                    </a:lnTo>
                    <a:lnTo>
                      <a:pt x="7318700" y="2296500"/>
                    </a:lnTo>
                    <a:lnTo>
                      <a:pt x="7284848" y="2232677"/>
                    </a:lnTo>
                    <a:lnTo>
                      <a:pt x="7287526" y="2208958"/>
                    </a:lnTo>
                    <a:lnTo>
                      <a:pt x="7336270" y="2201900"/>
                    </a:lnTo>
                    <a:lnTo>
                      <a:pt x="7370398" y="2197876"/>
                    </a:lnTo>
                    <a:lnTo>
                      <a:pt x="7401770" y="2187192"/>
                    </a:lnTo>
                    <a:lnTo>
                      <a:pt x="7433141" y="2176507"/>
                    </a:lnTo>
                    <a:lnTo>
                      <a:pt x="7461909" y="2159286"/>
                    </a:lnTo>
                    <a:lnTo>
                      <a:pt x="7495621" y="2135506"/>
                    </a:lnTo>
                    <a:lnTo>
                      <a:pt x="7547913" y="2098628"/>
                    </a:lnTo>
                    <a:lnTo>
                      <a:pt x="7584211" y="2074174"/>
                    </a:lnTo>
                    <a:lnTo>
                      <a:pt x="7613961" y="2044372"/>
                    </a:lnTo>
                    <a:lnTo>
                      <a:pt x="7643710" y="2014570"/>
                    </a:lnTo>
                    <a:lnTo>
                      <a:pt x="7667650" y="1978661"/>
                    </a:lnTo>
                    <a:lnTo>
                      <a:pt x="7695572" y="1920594"/>
                    </a:lnTo>
                    <a:lnTo>
                      <a:pt x="7707377" y="1896050"/>
                    </a:lnTo>
                    <a:lnTo>
                      <a:pt x="7724965" y="1854391"/>
                    </a:lnTo>
                    <a:lnTo>
                      <a:pt x="7724135" y="1825380"/>
                    </a:lnTo>
                    <a:lnTo>
                      <a:pt x="7723054" y="1786806"/>
                    </a:lnTo>
                    <a:lnTo>
                      <a:pt x="7717296" y="1752737"/>
                    </a:lnTo>
                    <a:lnTo>
                      <a:pt x="7721412" y="1713843"/>
                    </a:lnTo>
                    <a:lnTo>
                      <a:pt x="7729102" y="1659970"/>
                    </a:lnTo>
                    <a:lnTo>
                      <a:pt x="7729576" y="1624070"/>
                    </a:lnTo>
                    <a:lnTo>
                      <a:pt x="7730038" y="1588172"/>
                    </a:lnTo>
                    <a:lnTo>
                      <a:pt x="7724550" y="1553744"/>
                    </a:lnTo>
                    <a:lnTo>
                      <a:pt x="7707813" y="1539738"/>
                    </a:lnTo>
                    <a:lnTo>
                      <a:pt x="7685266" y="1552681"/>
                    </a:lnTo>
                    <a:lnTo>
                      <a:pt x="7664392" y="1572980"/>
                    </a:lnTo>
                    <a:lnTo>
                      <a:pt x="7630283" y="1572383"/>
                    </a:lnTo>
                    <a:lnTo>
                      <a:pt x="7601047" y="1524060"/>
                    </a:lnTo>
                    <a:lnTo>
                      <a:pt x="7586751" y="1500293"/>
                    </a:lnTo>
                    <a:lnTo>
                      <a:pt x="7559836" y="1516632"/>
                    </a:lnTo>
                    <a:lnTo>
                      <a:pt x="7527818" y="1512110"/>
                    </a:lnTo>
                    <a:lnTo>
                      <a:pt x="7505145" y="1496212"/>
                    </a:lnTo>
                    <a:lnTo>
                      <a:pt x="7368017" y="1416492"/>
                    </a:lnTo>
                    <a:lnTo>
                      <a:pt x="7413964" y="1261492"/>
                    </a:lnTo>
                    <a:lnTo>
                      <a:pt x="7340556" y="1145281"/>
                    </a:lnTo>
                    <a:lnTo>
                      <a:pt x="7305748" y="1090129"/>
                    </a:lnTo>
                    <a:lnTo>
                      <a:pt x="7239608" y="1083477"/>
                    </a:lnTo>
                    <a:lnTo>
                      <a:pt x="7192296" y="1043266"/>
                    </a:lnTo>
                    <a:lnTo>
                      <a:pt x="7180056" y="1024223"/>
                    </a:lnTo>
                    <a:lnTo>
                      <a:pt x="7167176" y="989920"/>
                    </a:lnTo>
                    <a:lnTo>
                      <a:pt x="7218313" y="902209"/>
                    </a:lnTo>
                    <a:lnTo>
                      <a:pt x="7227658" y="846037"/>
                    </a:lnTo>
                    <a:lnTo>
                      <a:pt x="7234695" y="803105"/>
                    </a:lnTo>
                    <a:lnTo>
                      <a:pt x="7215931" y="672782"/>
                    </a:lnTo>
                    <a:lnTo>
                      <a:pt x="7200453" y="631126"/>
                    </a:lnTo>
                    <a:lnTo>
                      <a:pt x="7160693" y="572105"/>
                    </a:lnTo>
                    <a:lnTo>
                      <a:pt x="7123946" y="536103"/>
                    </a:lnTo>
                    <a:lnTo>
                      <a:pt x="7090240" y="518377"/>
                    </a:lnTo>
                    <a:lnTo>
                      <a:pt x="7071239" y="488305"/>
                    </a:lnTo>
                    <a:lnTo>
                      <a:pt x="7056467" y="464884"/>
                    </a:lnTo>
                    <a:lnTo>
                      <a:pt x="7048580" y="435809"/>
                    </a:lnTo>
                    <a:lnTo>
                      <a:pt x="7041313" y="409413"/>
                    </a:lnTo>
                    <a:lnTo>
                      <a:pt x="6992173" y="230866"/>
                    </a:lnTo>
                    <a:lnTo>
                      <a:pt x="7016871" y="193524"/>
                    </a:lnTo>
                    <a:lnTo>
                      <a:pt x="6815522" y="141454"/>
                    </a:lnTo>
                    <a:lnTo>
                      <a:pt x="6747450" y="123835"/>
                    </a:lnTo>
                    <a:lnTo>
                      <a:pt x="6676608" y="108320"/>
                    </a:lnTo>
                    <a:lnTo>
                      <a:pt x="6607407" y="130572"/>
                    </a:lnTo>
                    <a:lnTo>
                      <a:pt x="6544841" y="150678"/>
                    </a:lnTo>
                    <a:lnTo>
                      <a:pt x="6472053" y="188126"/>
                    </a:lnTo>
                    <a:lnTo>
                      <a:pt x="6456431" y="258431"/>
                    </a:lnTo>
                    <a:lnTo>
                      <a:pt x="6450969" y="282978"/>
                    </a:lnTo>
                    <a:lnTo>
                      <a:pt x="6464252" y="322552"/>
                    </a:lnTo>
                    <a:lnTo>
                      <a:pt x="6452355" y="344124"/>
                    </a:lnTo>
                    <a:lnTo>
                      <a:pt x="6432781" y="379595"/>
                    </a:lnTo>
                    <a:lnTo>
                      <a:pt x="6386168" y="420125"/>
                    </a:lnTo>
                    <a:lnTo>
                      <a:pt x="6353062" y="443418"/>
                    </a:lnTo>
                    <a:lnTo>
                      <a:pt x="6319836" y="461143"/>
                    </a:lnTo>
                    <a:lnTo>
                      <a:pt x="6263266" y="471684"/>
                    </a:lnTo>
                    <a:lnTo>
                      <a:pt x="6232342" y="452153"/>
                    </a:lnTo>
                    <a:lnTo>
                      <a:pt x="6195271" y="444778"/>
                    </a:lnTo>
                    <a:lnTo>
                      <a:pt x="6174702" y="440696"/>
                    </a:lnTo>
                    <a:lnTo>
                      <a:pt x="6145738" y="442885"/>
                    </a:lnTo>
                    <a:lnTo>
                      <a:pt x="6124541" y="443420"/>
                    </a:lnTo>
                    <a:lnTo>
                      <a:pt x="6063611" y="445014"/>
                    </a:lnTo>
                    <a:lnTo>
                      <a:pt x="5964107" y="486564"/>
                    </a:lnTo>
                    <a:lnTo>
                      <a:pt x="5910992" y="516871"/>
                    </a:lnTo>
                    <a:lnTo>
                      <a:pt x="5888760" y="529559"/>
                    </a:lnTo>
                    <a:lnTo>
                      <a:pt x="5843724" y="542736"/>
                    </a:lnTo>
                    <a:lnTo>
                      <a:pt x="5810340" y="561758"/>
                    </a:lnTo>
                    <a:lnTo>
                      <a:pt x="5695082" y="627472"/>
                    </a:lnTo>
                    <a:lnTo>
                      <a:pt x="5645540" y="735778"/>
                    </a:lnTo>
                    <a:lnTo>
                      <a:pt x="5577745" y="847399"/>
                    </a:lnTo>
                    <a:lnTo>
                      <a:pt x="5530611" y="911690"/>
                    </a:lnTo>
                    <a:lnTo>
                      <a:pt x="5510160" y="970072"/>
                    </a:lnTo>
                    <a:lnTo>
                      <a:pt x="5526061" y="1048709"/>
                    </a:lnTo>
                    <a:lnTo>
                      <a:pt x="5530775" y="1072130"/>
                    </a:lnTo>
                    <a:lnTo>
                      <a:pt x="5545100" y="1096338"/>
                    </a:lnTo>
                    <a:lnTo>
                      <a:pt x="5545100" y="1120799"/>
                    </a:lnTo>
                    <a:lnTo>
                      <a:pt x="5531436" y="1272206"/>
                    </a:lnTo>
                    <a:lnTo>
                      <a:pt x="5517744" y="1297901"/>
                    </a:lnTo>
                    <a:lnTo>
                      <a:pt x="5485251" y="1313948"/>
                    </a:lnTo>
                    <a:lnTo>
                      <a:pt x="5357819" y="1318517"/>
                    </a:lnTo>
                    <a:lnTo>
                      <a:pt x="5427230" y="1131065"/>
                    </a:lnTo>
                    <a:lnTo>
                      <a:pt x="5368271" y="1097676"/>
                    </a:lnTo>
                    <a:lnTo>
                      <a:pt x="5329809" y="1101054"/>
                    </a:lnTo>
                    <a:lnTo>
                      <a:pt x="5304834" y="1178310"/>
                    </a:lnTo>
                    <a:lnTo>
                      <a:pt x="5244498" y="1169767"/>
                    </a:lnTo>
                    <a:lnTo>
                      <a:pt x="5145607" y="1155782"/>
                    </a:lnTo>
                    <a:lnTo>
                      <a:pt x="5131685" y="991900"/>
                    </a:lnTo>
                    <a:lnTo>
                      <a:pt x="5116636" y="918130"/>
                    </a:lnTo>
                    <a:lnTo>
                      <a:pt x="5111920" y="895007"/>
                    </a:lnTo>
                    <a:lnTo>
                      <a:pt x="5102332" y="870969"/>
                    </a:lnTo>
                    <a:lnTo>
                      <a:pt x="5094873" y="846039"/>
                    </a:lnTo>
                    <a:lnTo>
                      <a:pt x="5090072" y="797752"/>
                    </a:lnTo>
                    <a:lnTo>
                      <a:pt x="5067991" y="737967"/>
                    </a:lnTo>
                    <a:lnTo>
                      <a:pt x="5064951" y="677375"/>
                    </a:lnTo>
                    <a:lnTo>
                      <a:pt x="5062762" y="634061"/>
                    </a:lnTo>
                    <a:lnTo>
                      <a:pt x="5078214" y="566965"/>
                    </a:lnTo>
                    <a:lnTo>
                      <a:pt x="5066311" y="527753"/>
                    </a:lnTo>
                    <a:lnTo>
                      <a:pt x="5057888" y="500060"/>
                    </a:lnTo>
                    <a:lnTo>
                      <a:pt x="5032834" y="485587"/>
                    </a:lnTo>
                    <a:lnTo>
                      <a:pt x="5005096" y="485587"/>
                    </a:lnTo>
                    <a:lnTo>
                      <a:pt x="4951374" y="485587"/>
                    </a:lnTo>
                    <a:lnTo>
                      <a:pt x="4892990" y="515043"/>
                    </a:lnTo>
                    <a:lnTo>
                      <a:pt x="4841879" y="511430"/>
                    </a:lnTo>
                    <a:lnTo>
                      <a:pt x="4792292" y="507922"/>
                    </a:lnTo>
                    <a:lnTo>
                      <a:pt x="4741155" y="460402"/>
                    </a:lnTo>
                    <a:lnTo>
                      <a:pt x="4694977" y="443420"/>
                    </a:lnTo>
                    <a:lnTo>
                      <a:pt x="4666580" y="432985"/>
                    </a:lnTo>
                    <a:lnTo>
                      <a:pt x="4634635" y="431008"/>
                    </a:lnTo>
                    <a:lnTo>
                      <a:pt x="4601119" y="423017"/>
                    </a:lnTo>
                    <a:lnTo>
                      <a:pt x="4395390" y="400702"/>
                    </a:lnTo>
                    <a:lnTo>
                      <a:pt x="4173340" y="690996"/>
                    </a:lnTo>
                    <a:lnTo>
                      <a:pt x="4107371" y="686896"/>
                    </a:lnTo>
                    <a:lnTo>
                      <a:pt x="4073275" y="603116"/>
                    </a:lnTo>
                    <a:lnTo>
                      <a:pt x="4063542" y="527943"/>
                    </a:lnTo>
                    <a:lnTo>
                      <a:pt x="4035276" y="458382"/>
                    </a:lnTo>
                    <a:lnTo>
                      <a:pt x="4026030" y="435642"/>
                    </a:lnTo>
                    <a:lnTo>
                      <a:pt x="4007135" y="421720"/>
                    </a:lnTo>
                    <a:lnTo>
                      <a:pt x="3990392" y="405335"/>
                    </a:lnTo>
                    <a:lnTo>
                      <a:pt x="3961572" y="377111"/>
                    </a:lnTo>
                    <a:lnTo>
                      <a:pt x="3934282" y="341172"/>
                    </a:lnTo>
                    <a:lnTo>
                      <a:pt x="3900614" y="318282"/>
                    </a:lnTo>
                    <a:lnTo>
                      <a:pt x="3868821" y="296689"/>
                    </a:lnTo>
                    <a:lnTo>
                      <a:pt x="3777673" y="259581"/>
                    </a:lnTo>
                    <a:lnTo>
                      <a:pt x="3761877" y="228509"/>
                    </a:lnTo>
                    <a:lnTo>
                      <a:pt x="3746446" y="198139"/>
                    </a:lnTo>
                    <a:lnTo>
                      <a:pt x="3781202" y="65285"/>
                    </a:lnTo>
                    <a:lnTo>
                      <a:pt x="3779558" y="24479"/>
                    </a:lnTo>
                    <a:lnTo>
                      <a:pt x="3764595" y="3182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60" name="Rivne¬0" descr="Rivne¬0">
                <a:extLst>
                  <a:ext uri="{FF2B5EF4-FFF2-40B4-BE49-F238E27FC236}">
                    <a16:creationId xmlns:a16="http://schemas.microsoft.com/office/drawing/2014/main" id="{6D861287-25F4-4C27-8D87-5F15720A9E86}"/>
                  </a:ext>
                </a:extLst>
              </p:cNvPr>
              <p:cNvSpPr/>
              <p:nvPr/>
            </p:nvSpPr>
            <p:spPr>
              <a:xfrm>
                <a:off x="10209931" y="2313952"/>
                <a:ext cx="9352530" cy="10126425"/>
              </a:xfrm>
              <a:custGeom>
                <a:avLst/>
                <a:gdLst/>
                <a:ahLst/>
                <a:cxnLst/>
                <a:rect l="0" t="0" r="0" b="0"/>
                <a:pathLst>
                  <a:path w="9352529" h="10126420">
                    <a:moveTo>
                      <a:pt x="2446795" y="7689"/>
                    </a:moveTo>
                    <a:lnTo>
                      <a:pt x="2374171" y="56316"/>
                    </a:lnTo>
                    <a:lnTo>
                      <a:pt x="2321868" y="73191"/>
                    </a:lnTo>
                    <a:lnTo>
                      <a:pt x="2229651" y="102967"/>
                    </a:lnTo>
                    <a:lnTo>
                      <a:pt x="2097984" y="83733"/>
                    </a:lnTo>
                    <a:lnTo>
                      <a:pt x="2002219" y="89514"/>
                    </a:lnTo>
                    <a:lnTo>
                      <a:pt x="1943564" y="93064"/>
                    </a:lnTo>
                    <a:lnTo>
                      <a:pt x="1887475" y="110385"/>
                    </a:lnTo>
                    <a:lnTo>
                      <a:pt x="1828114" y="108557"/>
                    </a:lnTo>
                    <a:lnTo>
                      <a:pt x="1782549" y="107143"/>
                    </a:lnTo>
                    <a:lnTo>
                      <a:pt x="1738885" y="98654"/>
                    </a:lnTo>
                    <a:lnTo>
                      <a:pt x="1694818" y="90874"/>
                    </a:lnTo>
                    <a:lnTo>
                      <a:pt x="1690148" y="116753"/>
                    </a:lnTo>
                    <a:lnTo>
                      <a:pt x="1685255" y="140784"/>
                    </a:lnTo>
                    <a:lnTo>
                      <a:pt x="1681654" y="178976"/>
                    </a:lnTo>
                    <a:lnTo>
                      <a:pt x="1680962" y="202240"/>
                    </a:lnTo>
                    <a:lnTo>
                      <a:pt x="1699678" y="226108"/>
                    </a:lnTo>
                    <a:lnTo>
                      <a:pt x="1799057" y="230093"/>
                    </a:lnTo>
                    <a:lnTo>
                      <a:pt x="1898844" y="233695"/>
                    </a:lnTo>
                    <a:lnTo>
                      <a:pt x="1998625" y="237298"/>
                    </a:lnTo>
                    <a:lnTo>
                      <a:pt x="2098822" y="241623"/>
                    </a:lnTo>
                    <a:lnTo>
                      <a:pt x="2116476" y="255459"/>
                    </a:lnTo>
                    <a:lnTo>
                      <a:pt x="2039454" y="296201"/>
                    </a:lnTo>
                    <a:lnTo>
                      <a:pt x="2003492" y="322475"/>
                    </a:lnTo>
                    <a:lnTo>
                      <a:pt x="1984532" y="354753"/>
                    </a:lnTo>
                    <a:lnTo>
                      <a:pt x="1977060" y="389451"/>
                    </a:lnTo>
                    <a:lnTo>
                      <a:pt x="1983153" y="444500"/>
                    </a:lnTo>
                    <a:lnTo>
                      <a:pt x="2000432" y="483749"/>
                    </a:lnTo>
                    <a:lnTo>
                      <a:pt x="2011742" y="520697"/>
                    </a:lnTo>
                    <a:lnTo>
                      <a:pt x="2018984" y="544416"/>
                    </a:lnTo>
                    <a:lnTo>
                      <a:pt x="2037429" y="562544"/>
                    </a:lnTo>
                    <a:lnTo>
                      <a:pt x="2033505" y="591428"/>
                    </a:lnTo>
                    <a:lnTo>
                      <a:pt x="2029753" y="618929"/>
                    </a:lnTo>
                    <a:lnTo>
                      <a:pt x="2009308" y="662408"/>
                    </a:lnTo>
                    <a:lnTo>
                      <a:pt x="1984532" y="702964"/>
                    </a:lnTo>
                    <a:lnTo>
                      <a:pt x="1959761" y="743520"/>
                    </a:lnTo>
                    <a:lnTo>
                      <a:pt x="1930117" y="781941"/>
                    </a:lnTo>
                    <a:lnTo>
                      <a:pt x="1908367" y="799538"/>
                    </a:lnTo>
                    <a:lnTo>
                      <a:pt x="1876487" y="825340"/>
                    </a:lnTo>
                    <a:lnTo>
                      <a:pt x="1840737" y="848314"/>
                    </a:lnTo>
                    <a:lnTo>
                      <a:pt x="1810433" y="875709"/>
                    </a:lnTo>
                    <a:lnTo>
                      <a:pt x="1761037" y="920362"/>
                    </a:lnTo>
                    <a:lnTo>
                      <a:pt x="1725537" y="975021"/>
                    </a:lnTo>
                    <a:lnTo>
                      <a:pt x="1686653" y="1028052"/>
                    </a:lnTo>
                    <a:lnTo>
                      <a:pt x="1636374" y="1096620"/>
                    </a:lnTo>
                    <a:lnTo>
                      <a:pt x="1606849" y="1132891"/>
                    </a:lnTo>
                    <a:lnTo>
                      <a:pt x="1588719" y="1170872"/>
                    </a:lnTo>
                    <a:lnTo>
                      <a:pt x="1570590" y="1208854"/>
                    </a:lnTo>
                    <a:lnTo>
                      <a:pt x="1563711" y="1249700"/>
                    </a:lnTo>
                    <a:lnTo>
                      <a:pt x="1556074" y="1330016"/>
                    </a:lnTo>
                    <a:lnTo>
                      <a:pt x="1547975" y="1415155"/>
                    </a:lnTo>
                    <a:lnTo>
                      <a:pt x="1544342" y="1477406"/>
                    </a:lnTo>
                    <a:lnTo>
                      <a:pt x="1553350" y="1570770"/>
                    </a:lnTo>
                    <a:lnTo>
                      <a:pt x="1554465" y="1620673"/>
                    </a:lnTo>
                    <a:lnTo>
                      <a:pt x="1552117" y="1657645"/>
                    </a:lnTo>
                    <a:lnTo>
                      <a:pt x="1564232" y="1683667"/>
                    </a:lnTo>
                    <a:lnTo>
                      <a:pt x="1580561" y="1705890"/>
                    </a:lnTo>
                    <a:lnTo>
                      <a:pt x="1610468" y="1721293"/>
                    </a:lnTo>
                    <a:lnTo>
                      <a:pt x="1658084" y="1729913"/>
                    </a:lnTo>
                    <a:lnTo>
                      <a:pt x="1681206" y="1732251"/>
                    </a:lnTo>
                    <a:lnTo>
                      <a:pt x="1716911" y="1726384"/>
                    </a:lnTo>
                    <a:lnTo>
                      <a:pt x="1736972" y="1712231"/>
                    </a:lnTo>
                    <a:lnTo>
                      <a:pt x="1748348" y="1738809"/>
                    </a:lnTo>
                    <a:lnTo>
                      <a:pt x="1750083" y="1775428"/>
                    </a:lnTo>
                    <a:lnTo>
                      <a:pt x="1761459" y="1803365"/>
                    </a:lnTo>
                    <a:lnTo>
                      <a:pt x="1787977" y="1814047"/>
                    </a:lnTo>
                    <a:lnTo>
                      <a:pt x="1827434" y="1819887"/>
                    </a:lnTo>
                    <a:lnTo>
                      <a:pt x="1850879" y="1825798"/>
                    </a:lnTo>
                    <a:lnTo>
                      <a:pt x="1875716" y="1846891"/>
                    </a:lnTo>
                    <a:lnTo>
                      <a:pt x="1887409" y="1867868"/>
                    </a:lnTo>
                    <a:lnTo>
                      <a:pt x="1896121" y="1902659"/>
                    </a:lnTo>
                    <a:lnTo>
                      <a:pt x="1897050" y="1934814"/>
                    </a:lnTo>
                    <a:lnTo>
                      <a:pt x="1882021" y="1977091"/>
                    </a:lnTo>
                    <a:lnTo>
                      <a:pt x="1859539" y="2001233"/>
                    </a:lnTo>
                    <a:lnTo>
                      <a:pt x="1833555" y="2023717"/>
                    </a:lnTo>
                    <a:lnTo>
                      <a:pt x="1807570" y="2046201"/>
                    </a:lnTo>
                    <a:lnTo>
                      <a:pt x="1777808" y="2068235"/>
                    </a:lnTo>
                    <a:lnTo>
                      <a:pt x="1753302" y="2093087"/>
                    </a:lnTo>
                    <a:lnTo>
                      <a:pt x="1728795" y="2117938"/>
                    </a:lnTo>
                    <a:lnTo>
                      <a:pt x="1709920" y="2144854"/>
                    </a:lnTo>
                    <a:lnTo>
                      <a:pt x="1704334" y="2180140"/>
                    </a:lnTo>
                    <a:lnTo>
                      <a:pt x="1699421" y="2211185"/>
                    </a:lnTo>
                    <a:lnTo>
                      <a:pt x="1699856" y="2241736"/>
                    </a:lnTo>
                    <a:lnTo>
                      <a:pt x="1704334" y="2271273"/>
                    </a:lnTo>
                    <a:lnTo>
                      <a:pt x="1708812" y="2300810"/>
                    </a:lnTo>
                    <a:lnTo>
                      <a:pt x="1716218" y="2329523"/>
                    </a:lnTo>
                    <a:lnTo>
                      <a:pt x="1724739" y="2358325"/>
                    </a:lnTo>
                    <a:lnTo>
                      <a:pt x="1741774" y="2415932"/>
                    </a:lnTo>
                    <a:lnTo>
                      <a:pt x="1761762" y="2473103"/>
                    </a:lnTo>
                    <a:lnTo>
                      <a:pt x="1762824" y="2532432"/>
                    </a:lnTo>
                    <a:lnTo>
                      <a:pt x="1763781" y="2585097"/>
                    </a:lnTo>
                    <a:lnTo>
                      <a:pt x="1742974" y="2639696"/>
                    </a:lnTo>
                    <a:lnTo>
                      <a:pt x="1739702" y="2692934"/>
                    </a:lnTo>
                    <a:lnTo>
                      <a:pt x="1735944" y="2754611"/>
                    </a:lnTo>
                    <a:lnTo>
                      <a:pt x="1745440" y="2786895"/>
                    </a:lnTo>
                    <a:lnTo>
                      <a:pt x="1747860" y="2839836"/>
                    </a:lnTo>
                    <a:lnTo>
                      <a:pt x="1750413" y="2895881"/>
                    </a:lnTo>
                    <a:lnTo>
                      <a:pt x="1728584" y="2963379"/>
                    </a:lnTo>
                    <a:lnTo>
                      <a:pt x="1717939" y="3018022"/>
                    </a:lnTo>
                    <a:lnTo>
                      <a:pt x="1711061" y="3053333"/>
                    </a:lnTo>
                    <a:lnTo>
                      <a:pt x="1717610" y="3095448"/>
                    </a:lnTo>
                    <a:lnTo>
                      <a:pt x="1735621" y="3129558"/>
                    </a:lnTo>
                    <a:lnTo>
                      <a:pt x="1756487" y="3161582"/>
                    </a:lnTo>
                    <a:lnTo>
                      <a:pt x="1785484" y="3184587"/>
                    </a:lnTo>
                    <a:lnTo>
                      <a:pt x="1822673" y="3194848"/>
                    </a:lnTo>
                    <a:lnTo>
                      <a:pt x="1844119" y="3182836"/>
                    </a:lnTo>
                    <a:lnTo>
                      <a:pt x="1858358" y="3160613"/>
                    </a:lnTo>
                    <a:lnTo>
                      <a:pt x="1867558" y="3132279"/>
                    </a:lnTo>
                    <a:lnTo>
                      <a:pt x="1877517" y="3103088"/>
                    </a:lnTo>
                    <a:lnTo>
                      <a:pt x="1886281" y="3070549"/>
                    </a:lnTo>
                    <a:lnTo>
                      <a:pt x="1905643" y="3049306"/>
                    </a:lnTo>
                    <a:lnTo>
                      <a:pt x="1937049" y="3029871"/>
                    </a:lnTo>
                    <a:lnTo>
                      <a:pt x="1979177" y="3013876"/>
                    </a:lnTo>
                    <a:lnTo>
                      <a:pt x="2021259" y="3005781"/>
                    </a:lnTo>
                    <a:lnTo>
                      <a:pt x="2063348" y="2997685"/>
                    </a:lnTo>
                    <a:lnTo>
                      <a:pt x="2106511" y="2997393"/>
                    </a:lnTo>
                    <a:lnTo>
                      <a:pt x="2142321" y="3011221"/>
                    </a:lnTo>
                    <a:lnTo>
                      <a:pt x="2168464" y="3021323"/>
                    </a:lnTo>
                    <a:lnTo>
                      <a:pt x="2195365" y="3037065"/>
                    </a:lnTo>
                    <a:lnTo>
                      <a:pt x="2224369" y="3041900"/>
                    </a:lnTo>
                    <a:lnTo>
                      <a:pt x="2253855" y="3031624"/>
                    </a:lnTo>
                    <a:lnTo>
                      <a:pt x="2302208" y="2985717"/>
                    </a:lnTo>
                    <a:lnTo>
                      <a:pt x="2318788" y="2942877"/>
                    </a:lnTo>
                    <a:lnTo>
                      <a:pt x="2330025" y="2921448"/>
                    </a:lnTo>
                    <a:lnTo>
                      <a:pt x="2341296" y="2901214"/>
                    </a:lnTo>
                    <a:lnTo>
                      <a:pt x="2359564" y="2889994"/>
                    </a:lnTo>
                    <a:lnTo>
                      <a:pt x="2385792" y="2892884"/>
                    </a:lnTo>
                    <a:lnTo>
                      <a:pt x="2399180" y="2925912"/>
                    </a:lnTo>
                    <a:lnTo>
                      <a:pt x="2412996" y="2955453"/>
                    </a:lnTo>
                    <a:lnTo>
                      <a:pt x="2435538" y="2977879"/>
                    </a:lnTo>
                    <a:lnTo>
                      <a:pt x="2482183" y="2996293"/>
                    </a:lnTo>
                    <a:lnTo>
                      <a:pt x="2521924" y="2996525"/>
                    </a:lnTo>
                    <a:lnTo>
                      <a:pt x="2554457" y="2992178"/>
                    </a:lnTo>
                    <a:lnTo>
                      <a:pt x="2591309" y="2973922"/>
                    </a:lnTo>
                    <a:lnTo>
                      <a:pt x="2645104" y="2914350"/>
                    </a:lnTo>
                    <a:lnTo>
                      <a:pt x="2668713" y="2907846"/>
                    </a:lnTo>
                    <a:lnTo>
                      <a:pt x="2677900" y="2950990"/>
                    </a:lnTo>
                    <a:lnTo>
                      <a:pt x="2660957" y="2984952"/>
                    </a:lnTo>
                    <a:lnTo>
                      <a:pt x="2649674" y="3015302"/>
                    </a:lnTo>
                    <a:lnTo>
                      <a:pt x="2637157" y="3048988"/>
                    </a:lnTo>
                    <a:lnTo>
                      <a:pt x="2620201" y="3079274"/>
                    </a:lnTo>
                    <a:lnTo>
                      <a:pt x="2610230" y="3110516"/>
                    </a:lnTo>
                    <a:lnTo>
                      <a:pt x="2600258" y="3141757"/>
                    </a:lnTo>
                    <a:lnTo>
                      <a:pt x="2597528" y="3173701"/>
                    </a:lnTo>
                    <a:lnTo>
                      <a:pt x="2612948" y="3211170"/>
                    </a:lnTo>
                    <a:lnTo>
                      <a:pt x="2621363" y="3231616"/>
                    </a:lnTo>
                    <a:lnTo>
                      <a:pt x="2630436" y="3257523"/>
                    </a:lnTo>
                    <a:lnTo>
                      <a:pt x="2649668" y="3271019"/>
                    </a:lnTo>
                    <a:lnTo>
                      <a:pt x="2693305" y="3290360"/>
                    </a:lnTo>
                    <a:lnTo>
                      <a:pt x="2723121" y="3303664"/>
                    </a:lnTo>
                    <a:lnTo>
                      <a:pt x="2752938" y="3316969"/>
                    </a:lnTo>
                    <a:lnTo>
                      <a:pt x="2780503" y="3332324"/>
                    </a:lnTo>
                    <a:lnTo>
                      <a:pt x="2785061" y="3387932"/>
                    </a:lnTo>
                    <a:lnTo>
                      <a:pt x="2782838" y="3409279"/>
                    </a:lnTo>
                    <a:lnTo>
                      <a:pt x="2793991" y="3442885"/>
                    </a:lnTo>
                    <a:lnTo>
                      <a:pt x="2837377" y="3479129"/>
                    </a:lnTo>
                    <a:lnTo>
                      <a:pt x="2895485" y="3523697"/>
                    </a:lnTo>
                    <a:lnTo>
                      <a:pt x="2947809" y="3564142"/>
                    </a:lnTo>
                    <a:lnTo>
                      <a:pt x="2992438" y="3623310"/>
                    </a:lnTo>
                    <a:lnTo>
                      <a:pt x="3012974" y="3674637"/>
                    </a:lnTo>
                    <a:lnTo>
                      <a:pt x="3199188" y="3749809"/>
                    </a:lnTo>
                    <a:lnTo>
                      <a:pt x="3223397" y="3767194"/>
                    </a:lnTo>
                    <a:lnTo>
                      <a:pt x="3256167" y="3784048"/>
                    </a:lnTo>
                    <a:lnTo>
                      <a:pt x="3279679" y="3789956"/>
                    </a:lnTo>
                    <a:lnTo>
                      <a:pt x="3301205" y="3802857"/>
                    </a:lnTo>
                    <a:lnTo>
                      <a:pt x="3325921" y="3817691"/>
                    </a:lnTo>
                    <a:lnTo>
                      <a:pt x="3340503" y="3847212"/>
                    </a:lnTo>
                    <a:lnTo>
                      <a:pt x="3361052" y="3866786"/>
                    </a:lnTo>
                    <a:lnTo>
                      <a:pt x="3399185" y="3903129"/>
                    </a:lnTo>
                    <a:lnTo>
                      <a:pt x="3441116" y="3936730"/>
                    </a:lnTo>
                    <a:lnTo>
                      <a:pt x="3480750" y="3971521"/>
                    </a:lnTo>
                    <a:lnTo>
                      <a:pt x="3498115" y="3986770"/>
                    </a:lnTo>
                    <a:lnTo>
                      <a:pt x="3503872" y="4027288"/>
                    </a:lnTo>
                    <a:lnTo>
                      <a:pt x="3498418" y="4069251"/>
                    </a:lnTo>
                    <a:lnTo>
                      <a:pt x="3495722" y="4108009"/>
                    </a:lnTo>
                    <a:lnTo>
                      <a:pt x="3500594" y="4132239"/>
                    </a:lnTo>
                    <a:lnTo>
                      <a:pt x="3492325" y="4176477"/>
                    </a:lnTo>
                    <a:lnTo>
                      <a:pt x="3483890" y="4197133"/>
                    </a:lnTo>
                    <a:lnTo>
                      <a:pt x="3464012" y="4230140"/>
                    </a:lnTo>
                    <a:lnTo>
                      <a:pt x="3437224" y="4253084"/>
                    </a:lnTo>
                    <a:lnTo>
                      <a:pt x="3408101" y="4273667"/>
                    </a:lnTo>
                    <a:lnTo>
                      <a:pt x="3370022" y="4284693"/>
                    </a:lnTo>
                    <a:lnTo>
                      <a:pt x="3325692" y="4296610"/>
                    </a:lnTo>
                    <a:lnTo>
                      <a:pt x="3256173" y="4315294"/>
                    </a:lnTo>
                    <a:lnTo>
                      <a:pt x="3178876" y="4327171"/>
                    </a:lnTo>
                    <a:lnTo>
                      <a:pt x="3106694" y="4322456"/>
                    </a:lnTo>
                    <a:lnTo>
                      <a:pt x="3105079" y="4365217"/>
                    </a:lnTo>
                    <a:lnTo>
                      <a:pt x="3111561" y="4423575"/>
                    </a:lnTo>
                    <a:lnTo>
                      <a:pt x="3098279" y="4509903"/>
                    </a:lnTo>
                    <a:lnTo>
                      <a:pt x="3086295" y="4555045"/>
                    </a:lnTo>
                    <a:lnTo>
                      <a:pt x="3128267" y="4565247"/>
                    </a:lnTo>
                    <a:lnTo>
                      <a:pt x="3173264" y="4585969"/>
                    </a:lnTo>
                    <a:lnTo>
                      <a:pt x="3210069" y="4608094"/>
                    </a:lnTo>
                    <a:lnTo>
                      <a:pt x="3236627" y="4608048"/>
                    </a:lnTo>
                    <a:lnTo>
                      <a:pt x="3265843" y="4580891"/>
                    </a:lnTo>
                    <a:lnTo>
                      <a:pt x="3286564" y="4566348"/>
                    </a:lnTo>
                    <a:lnTo>
                      <a:pt x="3318568" y="4554622"/>
                    </a:lnTo>
                    <a:lnTo>
                      <a:pt x="3339230" y="4549604"/>
                    </a:lnTo>
                    <a:lnTo>
                      <a:pt x="3367852" y="4548245"/>
                    </a:lnTo>
                    <a:lnTo>
                      <a:pt x="3392584" y="4561296"/>
                    </a:lnTo>
                    <a:lnTo>
                      <a:pt x="3417486" y="4578898"/>
                    </a:lnTo>
                    <a:lnTo>
                      <a:pt x="3439948" y="4599936"/>
                    </a:lnTo>
                    <a:lnTo>
                      <a:pt x="3462403" y="4620967"/>
                    </a:lnTo>
                    <a:lnTo>
                      <a:pt x="3482082" y="4645745"/>
                    </a:lnTo>
                    <a:lnTo>
                      <a:pt x="3499796" y="4672025"/>
                    </a:lnTo>
                    <a:lnTo>
                      <a:pt x="3517511" y="4698306"/>
                    </a:lnTo>
                    <a:lnTo>
                      <a:pt x="3532837" y="4726203"/>
                    </a:lnTo>
                    <a:lnTo>
                      <a:pt x="3543323" y="4754995"/>
                    </a:lnTo>
                    <a:lnTo>
                      <a:pt x="3553810" y="4783789"/>
                    </a:lnTo>
                    <a:lnTo>
                      <a:pt x="3560226" y="4813473"/>
                    </a:lnTo>
                    <a:lnTo>
                      <a:pt x="3561004" y="4842048"/>
                    </a:lnTo>
                    <a:lnTo>
                      <a:pt x="3587739" y="4866172"/>
                    </a:lnTo>
                    <a:lnTo>
                      <a:pt x="3610175" y="4894458"/>
                    </a:lnTo>
                    <a:lnTo>
                      <a:pt x="3606594" y="4956945"/>
                    </a:lnTo>
                    <a:lnTo>
                      <a:pt x="3609970" y="4979427"/>
                    </a:lnTo>
                    <a:lnTo>
                      <a:pt x="3621010" y="5023250"/>
                    </a:lnTo>
                    <a:lnTo>
                      <a:pt x="3622212" y="5047440"/>
                    </a:lnTo>
                    <a:lnTo>
                      <a:pt x="3622171" y="5071439"/>
                    </a:lnTo>
                    <a:lnTo>
                      <a:pt x="3614093" y="5091455"/>
                    </a:lnTo>
                    <a:lnTo>
                      <a:pt x="3595013" y="5104565"/>
                    </a:lnTo>
                    <a:lnTo>
                      <a:pt x="3530470" y="5105864"/>
                    </a:lnTo>
                    <a:lnTo>
                      <a:pt x="3454701" y="5131789"/>
                    </a:lnTo>
                    <a:lnTo>
                      <a:pt x="3389623" y="5137210"/>
                    </a:lnTo>
                    <a:lnTo>
                      <a:pt x="3360572" y="5139637"/>
                    </a:lnTo>
                    <a:lnTo>
                      <a:pt x="3331494" y="5140593"/>
                    </a:lnTo>
                    <a:lnTo>
                      <a:pt x="3302569" y="5144016"/>
                    </a:lnTo>
                    <a:lnTo>
                      <a:pt x="3260810" y="5150940"/>
                    </a:lnTo>
                    <a:lnTo>
                      <a:pt x="3216261" y="5159996"/>
                    </a:lnTo>
                    <a:lnTo>
                      <a:pt x="3195112" y="5191618"/>
                    </a:lnTo>
                    <a:lnTo>
                      <a:pt x="3179488" y="5212933"/>
                    </a:lnTo>
                    <a:lnTo>
                      <a:pt x="3184231" y="5244667"/>
                    </a:lnTo>
                    <a:lnTo>
                      <a:pt x="3204312" y="5272425"/>
                    </a:lnTo>
                    <a:lnTo>
                      <a:pt x="3237603" y="5295797"/>
                    </a:lnTo>
                    <a:lnTo>
                      <a:pt x="3257118" y="5306145"/>
                    </a:lnTo>
                    <a:lnTo>
                      <a:pt x="3288173" y="5330098"/>
                    </a:lnTo>
                    <a:lnTo>
                      <a:pt x="3302569" y="5358924"/>
                    </a:lnTo>
                    <a:lnTo>
                      <a:pt x="3328323" y="5374066"/>
                    </a:lnTo>
                    <a:lnTo>
                      <a:pt x="3336671" y="5395473"/>
                    </a:lnTo>
                    <a:lnTo>
                      <a:pt x="3335214" y="5425572"/>
                    </a:lnTo>
                    <a:lnTo>
                      <a:pt x="3329978" y="5484907"/>
                    </a:lnTo>
                    <a:lnTo>
                      <a:pt x="3310279" y="5518521"/>
                    </a:lnTo>
                    <a:lnTo>
                      <a:pt x="3280332" y="5529356"/>
                    </a:lnTo>
                    <a:lnTo>
                      <a:pt x="3246796" y="5549352"/>
                    </a:lnTo>
                    <a:lnTo>
                      <a:pt x="3212635" y="5571669"/>
                    </a:lnTo>
                    <a:lnTo>
                      <a:pt x="3195112" y="5588796"/>
                    </a:lnTo>
                    <a:lnTo>
                      <a:pt x="3177589" y="5605923"/>
                    </a:lnTo>
                    <a:lnTo>
                      <a:pt x="3160542" y="5628108"/>
                    </a:lnTo>
                    <a:lnTo>
                      <a:pt x="3144786" y="5658167"/>
                    </a:lnTo>
                    <a:lnTo>
                      <a:pt x="3144786" y="5679930"/>
                    </a:lnTo>
                    <a:lnTo>
                      <a:pt x="3165705" y="5706957"/>
                    </a:lnTo>
                    <a:lnTo>
                      <a:pt x="3197315" y="5726359"/>
                    </a:lnTo>
                    <a:lnTo>
                      <a:pt x="3233198" y="5741138"/>
                    </a:lnTo>
                    <a:lnTo>
                      <a:pt x="3268011" y="5756049"/>
                    </a:lnTo>
                    <a:lnTo>
                      <a:pt x="3293594" y="5772477"/>
                    </a:lnTo>
                    <a:lnTo>
                      <a:pt x="3303927" y="5794188"/>
                    </a:lnTo>
                    <a:lnTo>
                      <a:pt x="3290283" y="5819690"/>
                    </a:lnTo>
                    <a:lnTo>
                      <a:pt x="3264292" y="5862471"/>
                    </a:lnTo>
                    <a:lnTo>
                      <a:pt x="3239996" y="5879882"/>
                    </a:lnTo>
                    <a:lnTo>
                      <a:pt x="3216822" y="5879420"/>
                    </a:lnTo>
                    <a:lnTo>
                      <a:pt x="3180149" y="5859477"/>
                    </a:lnTo>
                    <a:lnTo>
                      <a:pt x="3160437" y="5850105"/>
                    </a:lnTo>
                    <a:lnTo>
                      <a:pt x="3138033" y="5842805"/>
                    </a:lnTo>
                    <a:lnTo>
                      <a:pt x="3099895" y="5848595"/>
                    </a:lnTo>
                    <a:lnTo>
                      <a:pt x="3072163" y="5852803"/>
                    </a:lnTo>
                    <a:lnTo>
                      <a:pt x="3049879" y="5867985"/>
                    </a:lnTo>
                    <a:lnTo>
                      <a:pt x="3030530" y="5886681"/>
                    </a:lnTo>
                    <a:lnTo>
                      <a:pt x="3011181" y="5905384"/>
                    </a:lnTo>
                    <a:lnTo>
                      <a:pt x="2994535" y="5927794"/>
                    </a:lnTo>
                    <a:lnTo>
                      <a:pt x="2974757" y="5945171"/>
                    </a:lnTo>
                    <a:lnTo>
                      <a:pt x="2939883" y="5975798"/>
                    </a:lnTo>
                    <a:lnTo>
                      <a:pt x="2853615" y="6000792"/>
                    </a:lnTo>
                    <a:lnTo>
                      <a:pt x="2834661" y="6025425"/>
                    </a:lnTo>
                    <a:lnTo>
                      <a:pt x="2820634" y="6056473"/>
                    </a:lnTo>
                    <a:lnTo>
                      <a:pt x="2816828" y="6095449"/>
                    </a:lnTo>
                    <a:lnTo>
                      <a:pt x="2824201" y="6172597"/>
                    </a:lnTo>
                    <a:lnTo>
                      <a:pt x="2800552" y="6279606"/>
                    </a:lnTo>
                    <a:lnTo>
                      <a:pt x="2808816" y="6331467"/>
                    </a:lnTo>
                    <a:lnTo>
                      <a:pt x="2825138" y="6429402"/>
                    </a:lnTo>
                    <a:lnTo>
                      <a:pt x="2831905" y="6471913"/>
                    </a:lnTo>
                    <a:lnTo>
                      <a:pt x="2832472" y="6500416"/>
                    </a:lnTo>
                    <a:lnTo>
                      <a:pt x="2829213" y="6521895"/>
                    </a:lnTo>
                    <a:lnTo>
                      <a:pt x="2825956" y="6543368"/>
                    </a:lnTo>
                    <a:lnTo>
                      <a:pt x="2808809" y="6569504"/>
                    </a:lnTo>
                    <a:lnTo>
                      <a:pt x="2787052" y="6593760"/>
                    </a:lnTo>
                    <a:lnTo>
                      <a:pt x="2762559" y="6624136"/>
                    </a:lnTo>
                    <a:lnTo>
                      <a:pt x="2750668" y="6642945"/>
                    </a:lnTo>
                    <a:lnTo>
                      <a:pt x="2739444" y="6672879"/>
                    </a:lnTo>
                    <a:lnTo>
                      <a:pt x="2719659" y="6725626"/>
                    </a:lnTo>
                    <a:lnTo>
                      <a:pt x="2719653" y="6798182"/>
                    </a:lnTo>
                    <a:lnTo>
                      <a:pt x="2712239" y="6853784"/>
                    </a:lnTo>
                    <a:lnTo>
                      <a:pt x="2692811" y="6882466"/>
                    </a:lnTo>
                    <a:lnTo>
                      <a:pt x="2664836" y="6891817"/>
                    </a:lnTo>
                    <a:lnTo>
                      <a:pt x="2627905" y="6885070"/>
                    </a:lnTo>
                    <a:lnTo>
                      <a:pt x="2593367" y="6867185"/>
                    </a:lnTo>
                    <a:lnTo>
                      <a:pt x="2546001" y="6826982"/>
                    </a:lnTo>
                    <a:lnTo>
                      <a:pt x="2518679" y="6791581"/>
                    </a:lnTo>
                    <a:lnTo>
                      <a:pt x="2494608" y="6769448"/>
                    </a:lnTo>
                    <a:lnTo>
                      <a:pt x="2452777" y="6739653"/>
                    </a:lnTo>
                    <a:lnTo>
                      <a:pt x="2415311" y="6721523"/>
                    </a:lnTo>
                    <a:lnTo>
                      <a:pt x="2325238" y="6717038"/>
                    </a:lnTo>
                    <a:lnTo>
                      <a:pt x="2286492" y="6712323"/>
                    </a:lnTo>
                    <a:lnTo>
                      <a:pt x="2261669" y="6698230"/>
                    </a:lnTo>
                    <a:lnTo>
                      <a:pt x="2274253" y="6655192"/>
                    </a:lnTo>
                    <a:lnTo>
                      <a:pt x="2241080" y="6599003"/>
                    </a:lnTo>
                    <a:lnTo>
                      <a:pt x="2207696" y="6561142"/>
                    </a:lnTo>
                    <a:lnTo>
                      <a:pt x="2173601" y="6527336"/>
                    </a:lnTo>
                    <a:lnTo>
                      <a:pt x="2143851" y="6497831"/>
                    </a:lnTo>
                    <a:lnTo>
                      <a:pt x="2125333" y="6485254"/>
                    </a:lnTo>
                    <a:lnTo>
                      <a:pt x="2102871" y="6479727"/>
                    </a:lnTo>
                    <a:lnTo>
                      <a:pt x="2080409" y="6474201"/>
                    </a:lnTo>
                    <a:lnTo>
                      <a:pt x="2054985" y="6475652"/>
                    </a:lnTo>
                    <a:lnTo>
                      <a:pt x="2011735" y="6475652"/>
                    </a:lnTo>
                    <a:lnTo>
                      <a:pt x="1959458" y="6475652"/>
                    </a:lnTo>
                    <a:lnTo>
                      <a:pt x="1902115" y="6471998"/>
                    </a:lnTo>
                    <a:lnTo>
                      <a:pt x="1851236" y="6487892"/>
                    </a:lnTo>
                    <a:lnTo>
                      <a:pt x="1825713" y="6512933"/>
                    </a:lnTo>
                    <a:lnTo>
                      <a:pt x="1816085" y="6550933"/>
                    </a:lnTo>
                    <a:lnTo>
                      <a:pt x="1788663" y="6576304"/>
                    </a:lnTo>
                    <a:lnTo>
                      <a:pt x="1751343" y="6590502"/>
                    </a:lnTo>
                    <a:lnTo>
                      <a:pt x="1710348" y="6593094"/>
                    </a:lnTo>
                    <a:lnTo>
                      <a:pt x="1674406" y="6606231"/>
                    </a:lnTo>
                    <a:lnTo>
                      <a:pt x="1652755" y="6614158"/>
                    </a:lnTo>
                    <a:lnTo>
                      <a:pt x="1631645" y="6629162"/>
                    </a:lnTo>
                    <a:lnTo>
                      <a:pt x="1610482" y="6638876"/>
                    </a:lnTo>
                    <a:lnTo>
                      <a:pt x="1577474" y="6654011"/>
                    </a:lnTo>
                    <a:lnTo>
                      <a:pt x="1536771" y="6668183"/>
                    </a:lnTo>
                    <a:lnTo>
                      <a:pt x="1501666" y="6678320"/>
                    </a:lnTo>
                    <a:lnTo>
                      <a:pt x="1475122" y="6685014"/>
                    </a:lnTo>
                    <a:lnTo>
                      <a:pt x="1443980" y="6713833"/>
                    </a:lnTo>
                    <a:lnTo>
                      <a:pt x="1431569" y="6741677"/>
                    </a:lnTo>
                    <a:lnTo>
                      <a:pt x="1422771" y="6772179"/>
                    </a:lnTo>
                    <a:lnTo>
                      <a:pt x="1330186" y="6755619"/>
                    </a:lnTo>
                    <a:lnTo>
                      <a:pt x="1269466" y="6748180"/>
                    </a:lnTo>
                    <a:lnTo>
                      <a:pt x="1213304" y="6730011"/>
                    </a:lnTo>
                    <a:lnTo>
                      <a:pt x="1185223" y="6720923"/>
                    </a:lnTo>
                    <a:lnTo>
                      <a:pt x="1157940" y="6709454"/>
                    </a:lnTo>
                    <a:lnTo>
                      <a:pt x="1131692" y="6691925"/>
                    </a:lnTo>
                    <a:lnTo>
                      <a:pt x="1105438" y="6674396"/>
                    </a:lnTo>
                    <a:lnTo>
                      <a:pt x="1080258" y="6650714"/>
                    </a:lnTo>
                    <a:lnTo>
                      <a:pt x="1054156" y="6618472"/>
                    </a:lnTo>
                    <a:lnTo>
                      <a:pt x="1031034" y="6614396"/>
                    </a:lnTo>
                    <a:lnTo>
                      <a:pt x="1023239" y="6650167"/>
                    </a:lnTo>
                    <a:lnTo>
                      <a:pt x="1037187" y="6675122"/>
                    </a:lnTo>
                    <a:lnTo>
                      <a:pt x="1047356" y="6700090"/>
                    </a:lnTo>
                    <a:lnTo>
                      <a:pt x="1057532" y="6725058"/>
                    </a:lnTo>
                    <a:lnTo>
                      <a:pt x="1064048" y="6749756"/>
                    </a:lnTo>
                    <a:lnTo>
                      <a:pt x="1056880" y="6770820"/>
                    </a:lnTo>
                    <a:lnTo>
                      <a:pt x="1041857" y="6790269"/>
                    </a:lnTo>
                    <a:lnTo>
                      <a:pt x="1022494" y="6802508"/>
                    </a:lnTo>
                    <a:lnTo>
                      <a:pt x="999748" y="6811630"/>
                    </a:lnTo>
                    <a:lnTo>
                      <a:pt x="989143" y="6839084"/>
                    </a:lnTo>
                    <a:lnTo>
                      <a:pt x="1007773" y="6879761"/>
                    </a:lnTo>
                    <a:lnTo>
                      <a:pt x="1054954" y="6902125"/>
                    </a:lnTo>
                    <a:lnTo>
                      <a:pt x="1090883" y="6924521"/>
                    </a:lnTo>
                    <a:lnTo>
                      <a:pt x="1108847" y="6935719"/>
                    </a:lnTo>
                    <a:lnTo>
                      <a:pt x="1130327" y="6958531"/>
                    </a:lnTo>
                    <a:lnTo>
                      <a:pt x="1136414" y="6984686"/>
                    </a:lnTo>
                    <a:lnTo>
                      <a:pt x="1104488" y="7004774"/>
                    </a:lnTo>
                    <a:lnTo>
                      <a:pt x="1010379" y="6974358"/>
                    </a:lnTo>
                    <a:lnTo>
                      <a:pt x="906786" y="6970560"/>
                    </a:lnTo>
                    <a:lnTo>
                      <a:pt x="809320" y="6954449"/>
                    </a:lnTo>
                    <a:lnTo>
                      <a:pt x="772771" y="6975592"/>
                    </a:lnTo>
                    <a:lnTo>
                      <a:pt x="767390" y="7027645"/>
                    </a:lnTo>
                    <a:lnTo>
                      <a:pt x="792997" y="7056465"/>
                    </a:lnTo>
                    <a:lnTo>
                      <a:pt x="816719" y="7098013"/>
                    </a:lnTo>
                    <a:lnTo>
                      <a:pt x="841635" y="7141348"/>
                    </a:lnTo>
                    <a:lnTo>
                      <a:pt x="848771" y="7189762"/>
                    </a:lnTo>
                    <a:lnTo>
                      <a:pt x="852820" y="7217249"/>
                    </a:lnTo>
                    <a:lnTo>
                      <a:pt x="851837" y="7255618"/>
                    </a:lnTo>
                    <a:lnTo>
                      <a:pt x="840606" y="7289054"/>
                    </a:lnTo>
                    <a:lnTo>
                      <a:pt x="827166" y="7321877"/>
                    </a:lnTo>
                    <a:lnTo>
                      <a:pt x="805086" y="7346008"/>
                    </a:lnTo>
                    <a:lnTo>
                      <a:pt x="772599" y="7358426"/>
                    </a:lnTo>
                    <a:lnTo>
                      <a:pt x="750230" y="7362667"/>
                    </a:lnTo>
                    <a:lnTo>
                      <a:pt x="719471" y="7362001"/>
                    </a:lnTo>
                    <a:lnTo>
                      <a:pt x="682823" y="7359785"/>
                    </a:lnTo>
                    <a:lnTo>
                      <a:pt x="646182" y="7357562"/>
                    </a:lnTo>
                    <a:lnTo>
                      <a:pt x="604423" y="7353573"/>
                    </a:lnTo>
                    <a:lnTo>
                      <a:pt x="563125" y="7347544"/>
                    </a:lnTo>
                    <a:lnTo>
                      <a:pt x="480537" y="7335489"/>
                    </a:lnTo>
                    <a:lnTo>
                      <a:pt x="398484" y="7318098"/>
                    </a:lnTo>
                    <a:lnTo>
                      <a:pt x="355017" y="7306735"/>
                    </a:lnTo>
                    <a:lnTo>
                      <a:pt x="325393" y="7295419"/>
                    </a:lnTo>
                    <a:lnTo>
                      <a:pt x="292147" y="7285414"/>
                    </a:lnTo>
                    <a:lnTo>
                      <a:pt x="259800" y="7289054"/>
                    </a:lnTo>
                    <a:lnTo>
                      <a:pt x="239889" y="7301294"/>
                    </a:lnTo>
                    <a:lnTo>
                      <a:pt x="197168" y="7368120"/>
                    </a:lnTo>
                    <a:lnTo>
                      <a:pt x="184993" y="7389712"/>
                    </a:lnTo>
                    <a:lnTo>
                      <a:pt x="197307" y="7426789"/>
                    </a:lnTo>
                    <a:lnTo>
                      <a:pt x="231191" y="7449838"/>
                    </a:lnTo>
                    <a:lnTo>
                      <a:pt x="267964" y="7474041"/>
                    </a:lnTo>
                    <a:lnTo>
                      <a:pt x="304737" y="7498251"/>
                    </a:lnTo>
                    <a:lnTo>
                      <a:pt x="344867" y="7523279"/>
                    </a:lnTo>
                    <a:lnTo>
                      <a:pt x="365899" y="7550212"/>
                    </a:lnTo>
                    <a:lnTo>
                      <a:pt x="355096" y="7611169"/>
                    </a:lnTo>
                    <a:lnTo>
                      <a:pt x="325814" y="7653317"/>
                    </a:lnTo>
                    <a:lnTo>
                      <a:pt x="299244" y="7686232"/>
                    </a:lnTo>
                    <a:lnTo>
                      <a:pt x="270978" y="7721238"/>
                    </a:lnTo>
                    <a:lnTo>
                      <a:pt x="250131" y="7740033"/>
                    </a:lnTo>
                    <a:lnTo>
                      <a:pt x="215053" y="7757570"/>
                    </a:lnTo>
                    <a:lnTo>
                      <a:pt x="189069" y="7751529"/>
                    </a:lnTo>
                    <a:lnTo>
                      <a:pt x="163620" y="7741353"/>
                    </a:lnTo>
                    <a:lnTo>
                      <a:pt x="135624" y="7734493"/>
                    </a:lnTo>
                    <a:lnTo>
                      <a:pt x="99293" y="7744722"/>
                    </a:lnTo>
                    <a:lnTo>
                      <a:pt x="92625" y="7776398"/>
                    </a:lnTo>
                    <a:lnTo>
                      <a:pt x="118339" y="7804571"/>
                    </a:lnTo>
                    <a:lnTo>
                      <a:pt x="152276" y="7833780"/>
                    </a:lnTo>
                    <a:lnTo>
                      <a:pt x="172747" y="7849462"/>
                    </a:lnTo>
                    <a:lnTo>
                      <a:pt x="193211" y="7865145"/>
                    </a:lnTo>
                    <a:lnTo>
                      <a:pt x="215185" y="7882002"/>
                    </a:lnTo>
                    <a:lnTo>
                      <a:pt x="233954" y="7898430"/>
                    </a:lnTo>
                    <a:lnTo>
                      <a:pt x="252716" y="7914851"/>
                    </a:lnTo>
                    <a:lnTo>
                      <a:pt x="267872" y="7930751"/>
                    </a:lnTo>
                    <a:lnTo>
                      <a:pt x="299244" y="7985483"/>
                    </a:lnTo>
                    <a:lnTo>
                      <a:pt x="321007" y="8023568"/>
                    </a:lnTo>
                    <a:lnTo>
                      <a:pt x="342770" y="8061654"/>
                    </a:lnTo>
                    <a:lnTo>
                      <a:pt x="365892" y="8099732"/>
                    </a:lnTo>
                    <a:lnTo>
                      <a:pt x="394764" y="8120223"/>
                    </a:lnTo>
                    <a:lnTo>
                      <a:pt x="417582" y="8124219"/>
                    </a:lnTo>
                    <a:lnTo>
                      <a:pt x="440401" y="8128216"/>
                    </a:lnTo>
                    <a:lnTo>
                      <a:pt x="464677" y="8130109"/>
                    </a:lnTo>
                    <a:lnTo>
                      <a:pt x="495113" y="8166381"/>
                    </a:lnTo>
                    <a:lnTo>
                      <a:pt x="484231" y="8260240"/>
                    </a:lnTo>
                    <a:lnTo>
                      <a:pt x="473943" y="8283764"/>
                    </a:lnTo>
                    <a:lnTo>
                      <a:pt x="450993" y="8291124"/>
                    </a:lnTo>
                    <a:lnTo>
                      <a:pt x="420300" y="8288802"/>
                    </a:lnTo>
                    <a:lnTo>
                      <a:pt x="387780" y="8283427"/>
                    </a:lnTo>
                    <a:lnTo>
                      <a:pt x="357609" y="8280572"/>
                    </a:lnTo>
                    <a:lnTo>
                      <a:pt x="334606" y="8286071"/>
                    </a:lnTo>
                    <a:lnTo>
                      <a:pt x="318224" y="8299650"/>
                    </a:lnTo>
                    <a:lnTo>
                      <a:pt x="304751" y="8316019"/>
                    </a:lnTo>
                    <a:lnTo>
                      <a:pt x="293803" y="8335039"/>
                    </a:lnTo>
                    <a:lnTo>
                      <a:pt x="280198" y="8363608"/>
                    </a:lnTo>
                    <a:lnTo>
                      <a:pt x="271236" y="8384355"/>
                    </a:lnTo>
                    <a:lnTo>
                      <a:pt x="258830" y="8408915"/>
                    </a:lnTo>
                    <a:lnTo>
                      <a:pt x="240813" y="8427981"/>
                    </a:lnTo>
                    <a:lnTo>
                      <a:pt x="218991" y="8449296"/>
                    </a:lnTo>
                    <a:lnTo>
                      <a:pt x="197174" y="8470617"/>
                    </a:lnTo>
                    <a:lnTo>
                      <a:pt x="171521" y="8493442"/>
                    </a:lnTo>
                    <a:lnTo>
                      <a:pt x="144178" y="8515950"/>
                    </a:lnTo>
                    <a:lnTo>
                      <a:pt x="116842" y="8538452"/>
                    </a:lnTo>
                    <a:lnTo>
                      <a:pt x="88266" y="8560927"/>
                    </a:lnTo>
                    <a:lnTo>
                      <a:pt x="63931" y="8579874"/>
                    </a:lnTo>
                    <a:lnTo>
                      <a:pt x="39589" y="8598828"/>
                    </a:lnTo>
                    <a:lnTo>
                      <a:pt x="19607" y="8614109"/>
                    </a:lnTo>
                    <a:lnTo>
                      <a:pt x="0" y="8643805"/>
                    </a:lnTo>
                    <a:lnTo>
                      <a:pt x="4056" y="8691692"/>
                    </a:lnTo>
                    <a:lnTo>
                      <a:pt x="28715" y="8716172"/>
                    </a:lnTo>
                    <a:lnTo>
                      <a:pt x="54791" y="8717681"/>
                    </a:lnTo>
                    <a:lnTo>
                      <a:pt x="115437" y="8729559"/>
                    </a:lnTo>
                    <a:lnTo>
                      <a:pt x="145589" y="8730305"/>
                    </a:lnTo>
                    <a:lnTo>
                      <a:pt x="170023" y="8726776"/>
                    </a:lnTo>
                    <a:lnTo>
                      <a:pt x="194457" y="8723248"/>
                    </a:lnTo>
                    <a:lnTo>
                      <a:pt x="229872" y="8706371"/>
                    </a:lnTo>
                    <a:lnTo>
                      <a:pt x="260578" y="8684648"/>
                    </a:lnTo>
                    <a:lnTo>
                      <a:pt x="278839" y="8673727"/>
                    </a:lnTo>
                    <a:lnTo>
                      <a:pt x="297101" y="8662812"/>
                    </a:lnTo>
                    <a:lnTo>
                      <a:pt x="318567" y="8651726"/>
                    </a:lnTo>
                    <a:lnTo>
                      <a:pt x="348211" y="8645164"/>
                    </a:lnTo>
                    <a:lnTo>
                      <a:pt x="370482" y="8640231"/>
                    </a:lnTo>
                    <a:lnTo>
                      <a:pt x="392397" y="8650011"/>
                    </a:lnTo>
                    <a:lnTo>
                      <a:pt x="413500" y="8656046"/>
                    </a:lnTo>
                    <a:lnTo>
                      <a:pt x="437150" y="8662806"/>
                    </a:lnTo>
                    <a:lnTo>
                      <a:pt x="456394" y="8674373"/>
                    </a:lnTo>
                    <a:lnTo>
                      <a:pt x="471991" y="8690049"/>
                    </a:lnTo>
                    <a:lnTo>
                      <a:pt x="487587" y="8705732"/>
                    </a:lnTo>
                    <a:lnTo>
                      <a:pt x="499663" y="8724666"/>
                    </a:lnTo>
                    <a:lnTo>
                      <a:pt x="507353" y="8745822"/>
                    </a:lnTo>
                    <a:lnTo>
                      <a:pt x="515042" y="8766972"/>
                    </a:lnTo>
                    <a:lnTo>
                      <a:pt x="518306" y="8790641"/>
                    </a:lnTo>
                    <a:lnTo>
                      <a:pt x="518234" y="8813829"/>
                    </a:lnTo>
                    <a:lnTo>
                      <a:pt x="518168" y="8837017"/>
                    </a:lnTo>
                    <a:lnTo>
                      <a:pt x="513670" y="8860066"/>
                    </a:lnTo>
                    <a:lnTo>
                      <a:pt x="505994" y="8881842"/>
                    </a:lnTo>
                    <a:lnTo>
                      <a:pt x="498707" y="8902484"/>
                    </a:lnTo>
                    <a:lnTo>
                      <a:pt x="484712" y="8921326"/>
                    </a:lnTo>
                    <a:lnTo>
                      <a:pt x="467909" y="8938967"/>
                    </a:lnTo>
                    <a:lnTo>
                      <a:pt x="451104" y="8956609"/>
                    </a:lnTo>
                    <a:lnTo>
                      <a:pt x="432111" y="8972852"/>
                    </a:lnTo>
                    <a:lnTo>
                      <a:pt x="413500" y="8989293"/>
                    </a:lnTo>
                    <a:lnTo>
                      <a:pt x="394890" y="9005734"/>
                    </a:lnTo>
                    <a:lnTo>
                      <a:pt x="377228" y="9022578"/>
                    </a:lnTo>
                    <a:lnTo>
                      <a:pt x="364534" y="9039625"/>
                    </a:lnTo>
                    <a:lnTo>
                      <a:pt x="351838" y="9056673"/>
                    </a:lnTo>
                    <a:lnTo>
                      <a:pt x="345488" y="9094033"/>
                    </a:lnTo>
                    <a:lnTo>
                      <a:pt x="385749" y="9134071"/>
                    </a:lnTo>
                    <a:lnTo>
                      <a:pt x="413500" y="9159323"/>
                    </a:lnTo>
                    <a:lnTo>
                      <a:pt x="441251" y="9184568"/>
                    </a:lnTo>
                    <a:lnTo>
                      <a:pt x="465119" y="9208851"/>
                    </a:lnTo>
                    <a:lnTo>
                      <a:pt x="433193" y="9323345"/>
                    </a:lnTo>
                    <a:lnTo>
                      <a:pt x="421863" y="9390336"/>
                    </a:lnTo>
                    <a:lnTo>
                      <a:pt x="423024" y="9457201"/>
                    </a:lnTo>
                    <a:lnTo>
                      <a:pt x="424184" y="9524073"/>
                    </a:lnTo>
                    <a:lnTo>
                      <a:pt x="438997" y="9591361"/>
                    </a:lnTo>
                    <a:lnTo>
                      <a:pt x="465185" y="9692520"/>
                    </a:lnTo>
                    <a:lnTo>
                      <a:pt x="485609" y="9720654"/>
                    </a:lnTo>
                    <a:lnTo>
                      <a:pt x="526399" y="9730606"/>
                    </a:lnTo>
                    <a:lnTo>
                      <a:pt x="563805" y="9757171"/>
                    </a:lnTo>
                    <a:lnTo>
                      <a:pt x="600954" y="9789901"/>
                    </a:lnTo>
                    <a:lnTo>
                      <a:pt x="636573" y="9819017"/>
                    </a:lnTo>
                    <a:lnTo>
                      <a:pt x="720183" y="9882711"/>
                    </a:lnTo>
                    <a:lnTo>
                      <a:pt x="775310" y="9952314"/>
                    </a:lnTo>
                    <a:lnTo>
                      <a:pt x="808021" y="9985321"/>
                    </a:lnTo>
                    <a:lnTo>
                      <a:pt x="857799" y="10007447"/>
                    </a:lnTo>
                    <a:lnTo>
                      <a:pt x="897731" y="10029850"/>
                    </a:lnTo>
                    <a:lnTo>
                      <a:pt x="945762" y="10056750"/>
                    </a:lnTo>
                    <a:lnTo>
                      <a:pt x="1001700" y="10080070"/>
                    </a:lnTo>
                    <a:lnTo>
                      <a:pt x="1051432" y="10106021"/>
                    </a:lnTo>
                    <a:lnTo>
                      <a:pt x="1066396" y="10126419"/>
                    </a:lnTo>
                    <a:lnTo>
                      <a:pt x="1067636" y="10084852"/>
                    </a:lnTo>
                    <a:lnTo>
                      <a:pt x="1070471" y="10063854"/>
                    </a:lnTo>
                    <a:lnTo>
                      <a:pt x="1073314" y="10042855"/>
                    </a:lnTo>
                    <a:lnTo>
                      <a:pt x="1081353" y="10002646"/>
                    </a:lnTo>
                    <a:lnTo>
                      <a:pt x="1111274" y="9992055"/>
                    </a:lnTo>
                    <a:lnTo>
                      <a:pt x="1168234" y="9999540"/>
                    </a:lnTo>
                    <a:lnTo>
                      <a:pt x="1189041" y="10022641"/>
                    </a:lnTo>
                    <a:lnTo>
                      <a:pt x="1201117" y="10042387"/>
                    </a:lnTo>
                    <a:lnTo>
                      <a:pt x="1220090" y="10066570"/>
                    </a:lnTo>
                    <a:lnTo>
                      <a:pt x="1228822" y="10024396"/>
                    </a:lnTo>
                    <a:lnTo>
                      <a:pt x="1232337" y="9998564"/>
                    </a:lnTo>
                    <a:lnTo>
                      <a:pt x="1235852" y="9972731"/>
                    </a:lnTo>
                    <a:lnTo>
                      <a:pt x="1237053" y="9947031"/>
                    </a:lnTo>
                    <a:lnTo>
                      <a:pt x="1233933" y="9921337"/>
                    </a:lnTo>
                    <a:lnTo>
                      <a:pt x="1229613" y="9900629"/>
                    </a:lnTo>
                    <a:lnTo>
                      <a:pt x="1225538" y="9872067"/>
                    </a:lnTo>
                    <a:lnTo>
                      <a:pt x="1233827" y="9834700"/>
                    </a:lnTo>
                    <a:lnTo>
                      <a:pt x="1258182" y="9805419"/>
                    </a:lnTo>
                    <a:lnTo>
                      <a:pt x="1296446" y="9800202"/>
                    </a:lnTo>
                    <a:lnTo>
                      <a:pt x="1319389" y="9797261"/>
                    </a:lnTo>
                    <a:lnTo>
                      <a:pt x="1342333" y="9794313"/>
                    </a:lnTo>
                    <a:lnTo>
                      <a:pt x="1365317" y="9788819"/>
                    </a:lnTo>
                    <a:lnTo>
                      <a:pt x="1375486" y="9750622"/>
                    </a:lnTo>
                    <a:lnTo>
                      <a:pt x="1376838" y="9727718"/>
                    </a:lnTo>
                    <a:lnTo>
                      <a:pt x="1383320" y="9706126"/>
                    </a:lnTo>
                    <a:lnTo>
                      <a:pt x="1389797" y="9684541"/>
                    </a:lnTo>
                    <a:lnTo>
                      <a:pt x="1401503" y="9665244"/>
                    </a:lnTo>
                    <a:lnTo>
                      <a:pt x="1420041" y="9644919"/>
                    </a:lnTo>
                    <a:lnTo>
                      <a:pt x="1420041" y="9621797"/>
                    </a:lnTo>
                    <a:lnTo>
                      <a:pt x="1404464" y="9601741"/>
                    </a:lnTo>
                    <a:lnTo>
                      <a:pt x="1384679" y="9586428"/>
                    </a:lnTo>
                    <a:lnTo>
                      <a:pt x="1365614" y="9573878"/>
                    </a:lnTo>
                    <a:lnTo>
                      <a:pt x="1341423" y="9553361"/>
                    </a:lnTo>
                    <a:lnTo>
                      <a:pt x="1328913" y="9521139"/>
                    </a:lnTo>
                    <a:lnTo>
                      <a:pt x="1324296" y="9484584"/>
                    </a:lnTo>
                    <a:lnTo>
                      <a:pt x="1329988" y="9426944"/>
                    </a:lnTo>
                    <a:lnTo>
                      <a:pt x="1342913" y="9387289"/>
                    </a:lnTo>
                    <a:lnTo>
                      <a:pt x="1354758" y="9360638"/>
                    </a:lnTo>
                    <a:lnTo>
                      <a:pt x="1368357" y="9333435"/>
                    </a:lnTo>
                    <a:lnTo>
                      <a:pt x="1383143" y="9318016"/>
                    </a:lnTo>
                    <a:lnTo>
                      <a:pt x="1419771" y="9319532"/>
                    </a:lnTo>
                    <a:lnTo>
                      <a:pt x="1539343" y="9320707"/>
                    </a:lnTo>
                    <a:lnTo>
                      <a:pt x="1565591" y="9344310"/>
                    </a:lnTo>
                    <a:lnTo>
                      <a:pt x="1565525" y="9373538"/>
                    </a:lnTo>
                    <a:lnTo>
                      <a:pt x="1581049" y="9395809"/>
                    </a:lnTo>
                    <a:lnTo>
                      <a:pt x="1603676" y="9402800"/>
                    </a:lnTo>
                    <a:lnTo>
                      <a:pt x="1627570" y="9400215"/>
                    </a:lnTo>
                    <a:lnTo>
                      <a:pt x="1661982" y="9387572"/>
                    </a:lnTo>
                    <a:lnTo>
                      <a:pt x="1682789" y="9374310"/>
                    </a:lnTo>
                    <a:lnTo>
                      <a:pt x="1709194" y="9388595"/>
                    </a:lnTo>
                    <a:lnTo>
                      <a:pt x="1716567" y="9421846"/>
                    </a:lnTo>
                    <a:lnTo>
                      <a:pt x="1722583" y="9453699"/>
                    </a:lnTo>
                    <a:lnTo>
                      <a:pt x="1757377" y="9466731"/>
                    </a:lnTo>
                    <a:lnTo>
                      <a:pt x="1786962" y="9455625"/>
                    </a:lnTo>
                    <a:lnTo>
                      <a:pt x="1812418" y="9432108"/>
                    </a:lnTo>
                    <a:lnTo>
                      <a:pt x="1837631" y="9406882"/>
                    </a:lnTo>
                    <a:lnTo>
                      <a:pt x="1862836" y="9381656"/>
                    </a:lnTo>
                    <a:lnTo>
                      <a:pt x="1888272" y="9354195"/>
                    </a:lnTo>
                    <a:lnTo>
                      <a:pt x="1916519" y="9334793"/>
                    </a:lnTo>
                    <a:lnTo>
                      <a:pt x="1946446" y="9344316"/>
                    </a:lnTo>
                    <a:lnTo>
                      <a:pt x="1961404" y="9396574"/>
                    </a:lnTo>
                    <a:lnTo>
                      <a:pt x="1987994" y="9416504"/>
                    </a:lnTo>
                    <a:lnTo>
                      <a:pt x="2018535" y="9416406"/>
                    </a:lnTo>
                    <a:lnTo>
                      <a:pt x="2044506" y="9391859"/>
                    </a:lnTo>
                    <a:lnTo>
                      <a:pt x="2056858" y="9374270"/>
                    </a:lnTo>
                    <a:lnTo>
                      <a:pt x="2070219" y="9357915"/>
                    </a:lnTo>
                    <a:lnTo>
                      <a:pt x="2083587" y="9341566"/>
                    </a:lnTo>
                    <a:lnTo>
                      <a:pt x="2097806" y="9325937"/>
                    </a:lnTo>
                    <a:lnTo>
                      <a:pt x="2140897" y="9294716"/>
                    </a:lnTo>
                    <a:lnTo>
                      <a:pt x="2199499" y="9284600"/>
                    </a:lnTo>
                    <a:lnTo>
                      <a:pt x="2260647" y="9279027"/>
                    </a:lnTo>
                    <a:lnTo>
                      <a:pt x="2321802" y="9273448"/>
                    </a:lnTo>
                    <a:lnTo>
                      <a:pt x="2385310" y="9272603"/>
                    </a:lnTo>
                    <a:lnTo>
                      <a:pt x="2421154" y="9272221"/>
                    </a:lnTo>
                    <a:lnTo>
                      <a:pt x="2454623" y="9276296"/>
                    </a:lnTo>
                    <a:lnTo>
                      <a:pt x="2515461" y="9276296"/>
                    </a:lnTo>
                    <a:lnTo>
                      <a:pt x="2561230" y="9270236"/>
                    </a:lnTo>
                    <a:lnTo>
                      <a:pt x="2603418" y="9255898"/>
                    </a:lnTo>
                    <a:lnTo>
                      <a:pt x="2645611" y="9241554"/>
                    </a:lnTo>
                    <a:lnTo>
                      <a:pt x="2683987" y="9218433"/>
                    </a:lnTo>
                    <a:lnTo>
                      <a:pt x="2713599" y="9183803"/>
                    </a:lnTo>
                    <a:lnTo>
                      <a:pt x="2778004" y="9108469"/>
                    </a:lnTo>
                    <a:lnTo>
                      <a:pt x="2843062" y="9053026"/>
                    </a:lnTo>
                    <a:lnTo>
                      <a:pt x="2909467" y="8982493"/>
                    </a:lnTo>
                    <a:lnTo>
                      <a:pt x="2930689" y="8959952"/>
                    </a:lnTo>
                    <a:lnTo>
                      <a:pt x="2975429" y="8904938"/>
                    </a:lnTo>
                    <a:lnTo>
                      <a:pt x="3025082" y="8858720"/>
                    </a:lnTo>
                    <a:lnTo>
                      <a:pt x="3049905" y="8835612"/>
                    </a:lnTo>
                    <a:lnTo>
                      <a:pt x="3075724" y="8814489"/>
                    </a:lnTo>
                    <a:lnTo>
                      <a:pt x="3101253" y="8801589"/>
                    </a:lnTo>
                    <a:lnTo>
                      <a:pt x="3126783" y="8788689"/>
                    </a:lnTo>
                    <a:lnTo>
                      <a:pt x="3151375" y="8784000"/>
                    </a:lnTo>
                    <a:lnTo>
                      <a:pt x="3173343" y="8792065"/>
                    </a:lnTo>
                    <a:lnTo>
                      <a:pt x="3191788" y="8817753"/>
                    </a:lnTo>
                    <a:lnTo>
                      <a:pt x="3209707" y="8836799"/>
                    </a:lnTo>
                    <a:lnTo>
                      <a:pt x="3226392" y="8850556"/>
                    </a:lnTo>
                    <a:lnTo>
                      <a:pt x="3243077" y="8864320"/>
                    </a:lnTo>
                    <a:lnTo>
                      <a:pt x="3274000" y="8876401"/>
                    </a:lnTo>
                    <a:lnTo>
                      <a:pt x="3304450" y="8885226"/>
                    </a:lnTo>
                    <a:lnTo>
                      <a:pt x="3331890" y="8878637"/>
                    </a:lnTo>
                    <a:lnTo>
                      <a:pt x="3358330" y="8865520"/>
                    </a:lnTo>
                    <a:lnTo>
                      <a:pt x="3384775" y="8852396"/>
                    </a:lnTo>
                    <a:lnTo>
                      <a:pt x="3409631" y="8833746"/>
                    </a:lnTo>
                    <a:lnTo>
                      <a:pt x="3434501" y="8819270"/>
                    </a:lnTo>
                    <a:lnTo>
                      <a:pt x="3459370" y="8804800"/>
                    </a:lnTo>
                    <a:lnTo>
                      <a:pt x="3484938" y="8794103"/>
                    </a:lnTo>
                    <a:lnTo>
                      <a:pt x="3510671" y="8798872"/>
                    </a:lnTo>
                    <a:lnTo>
                      <a:pt x="3557133" y="8808302"/>
                    </a:lnTo>
                    <a:lnTo>
                      <a:pt x="3597830" y="8824348"/>
                    </a:lnTo>
                    <a:lnTo>
                      <a:pt x="3653419" y="8855449"/>
                    </a:lnTo>
                    <a:lnTo>
                      <a:pt x="3709264" y="8883201"/>
                    </a:lnTo>
                    <a:lnTo>
                      <a:pt x="3765104" y="8910959"/>
                    </a:lnTo>
                    <a:lnTo>
                      <a:pt x="3820711" y="8935749"/>
                    </a:lnTo>
                    <a:lnTo>
                      <a:pt x="3846643" y="8929451"/>
                    </a:lnTo>
                    <a:lnTo>
                      <a:pt x="3926895" y="8898164"/>
                    </a:lnTo>
                    <a:lnTo>
                      <a:pt x="3955880" y="8886940"/>
                    </a:lnTo>
                    <a:lnTo>
                      <a:pt x="3975790" y="8876104"/>
                    </a:lnTo>
                    <a:lnTo>
                      <a:pt x="3992186" y="8862796"/>
                    </a:lnTo>
                    <a:lnTo>
                      <a:pt x="4008574" y="8849494"/>
                    </a:lnTo>
                    <a:lnTo>
                      <a:pt x="4022489" y="8832644"/>
                    </a:lnTo>
                    <a:lnTo>
                      <a:pt x="4041152" y="8807030"/>
                    </a:lnTo>
                    <a:lnTo>
                      <a:pt x="4064433" y="8813308"/>
                    </a:lnTo>
                    <a:lnTo>
                      <a:pt x="4096728" y="8871468"/>
                    </a:lnTo>
                    <a:lnTo>
                      <a:pt x="4107728" y="8889341"/>
                    </a:lnTo>
                    <a:lnTo>
                      <a:pt x="4096984" y="8917877"/>
                    </a:lnTo>
                    <a:lnTo>
                      <a:pt x="4074700" y="8929015"/>
                    </a:lnTo>
                    <a:lnTo>
                      <a:pt x="4041152" y="8970260"/>
                    </a:lnTo>
                    <a:lnTo>
                      <a:pt x="4021525" y="8994384"/>
                    </a:lnTo>
                    <a:lnTo>
                      <a:pt x="4004069" y="9031593"/>
                    </a:lnTo>
                    <a:lnTo>
                      <a:pt x="3993544" y="9070911"/>
                    </a:lnTo>
                    <a:lnTo>
                      <a:pt x="3983011" y="9110230"/>
                    </a:lnTo>
                    <a:lnTo>
                      <a:pt x="3980301" y="9150763"/>
                    </a:lnTo>
                    <a:lnTo>
                      <a:pt x="3989468" y="9181086"/>
                    </a:lnTo>
                    <a:lnTo>
                      <a:pt x="4083320" y="9196050"/>
                    </a:lnTo>
                    <a:lnTo>
                      <a:pt x="4095322" y="9224968"/>
                    </a:lnTo>
                    <a:lnTo>
                      <a:pt x="4100889" y="9263179"/>
                    </a:lnTo>
                    <a:lnTo>
                      <a:pt x="4103725" y="9302148"/>
                    </a:lnTo>
                    <a:lnTo>
                      <a:pt x="4106560" y="9341118"/>
                    </a:lnTo>
                    <a:lnTo>
                      <a:pt x="4106923" y="9380760"/>
                    </a:lnTo>
                    <a:lnTo>
                      <a:pt x="4132294" y="9386478"/>
                    </a:lnTo>
                    <a:lnTo>
                      <a:pt x="4155125" y="9373604"/>
                    </a:lnTo>
                    <a:lnTo>
                      <a:pt x="4188641" y="9351010"/>
                    </a:lnTo>
                    <a:lnTo>
                      <a:pt x="4210720" y="9335842"/>
                    </a:lnTo>
                    <a:lnTo>
                      <a:pt x="4240318" y="9320779"/>
                    </a:lnTo>
                    <a:lnTo>
                      <a:pt x="4271031" y="9313023"/>
                    </a:lnTo>
                    <a:lnTo>
                      <a:pt x="4302779" y="9306884"/>
                    </a:lnTo>
                    <a:lnTo>
                      <a:pt x="4340989" y="9289144"/>
                    </a:lnTo>
                    <a:lnTo>
                      <a:pt x="4363452" y="9267182"/>
                    </a:lnTo>
                    <a:lnTo>
                      <a:pt x="4382570" y="9242293"/>
                    </a:lnTo>
                    <a:lnTo>
                      <a:pt x="4401696" y="9217411"/>
                    </a:lnTo>
                    <a:lnTo>
                      <a:pt x="4418248" y="9190589"/>
                    </a:lnTo>
                    <a:lnTo>
                      <a:pt x="4431537" y="9167487"/>
                    </a:lnTo>
                    <a:lnTo>
                      <a:pt x="4448322" y="9138312"/>
                    </a:lnTo>
                    <a:lnTo>
                      <a:pt x="4464968" y="9108272"/>
                    </a:lnTo>
                    <a:lnTo>
                      <a:pt x="4483223" y="9079070"/>
                    </a:lnTo>
                    <a:lnTo>
                      <a:pt x="4501483" y="9049874"/>
                    </a:lnTo>
                    <a:lnTo>
                      <a:pt x="4520391" y="9021469"/>
                    </a:lnTo>
                    <a:lnTo>
                      <a:pt x="4541712" y="8994741"/>
                    </a:lnTo>
                    <a:lnTo>
                      <a:pt x="4563039" y="8968004"/>
                    </a:lnTo>
                    <a:lnTo>
                      <a:pt x="4586458" y="8943062"/>
                    </a:lnTo>
                    <a:lnTo>
                      <a:pt x="4612443" y="8921286"/>
                    </a:lnTo>
                    <a:lnTo>
                      <a:pt x="4638427" y="8899516"/>
                    </a:lnTo>
                    <a:lnTo>
                      <a:pt x="4667253" y="8879837"/>
                    </a:lnTo>
                    <a:lnTo>
                      <a:pt x="4699495" y="8865520"/>
                    </a:lnTo>
                    <a:lnTo>
                      <a:pt x="4734330" y="8863376"/>
                    </a:lnTo>
                    <a:lnTo>
                      <a:pt x="4768630" y="8889090"/>
                    </a:lnTo>
                    <a:lnTo>
                      <a:pt x="4801512" y="8896806"/>
                    </a:lnTo>
                    <a:lnTo>
                      <a:pt x="4824547" y="8902200"/>
                    </a:lnTo>
                    <a:lnTo>
                      <a:pt x="4861275" y="8896212"/>
                    </a:lnTo>
                    <a:lnTo>
                      <a:pt x="4883124" y="8892730"/>
                    </a:lnTo>
                    <a:lnTo>
                      <a:pt x="4949772" y="8881849"/>
                    </a:lnTo>
                    <a:lnTo>
                      <a:pt x="4999642" y="8837993"/>
                    </a:lnTo>
                    <a:lnTo>
                      <a:pt x="5030025" y="8797513"/>
                    </a:lnTo>
                    <a:lnTo>
                      <a:pt x="5060414" y="8757040"/>
                    </a:lnTo>
                    <a:lnTo>
                      <a:pt x="5089373" y="8714681"/>
                    </a:lnTo>
                    <a:lnTo>
                      <a:pt x="5107205" y="8689199"/>
                    </a:lnTo>
                    <a:lnTo>
                      <a:pt x="5131568" y="8680282"/>
                    </a:lnTo>
                    <a:lnTo>
                      <a:pt x="5157887" y="8671016"/>
                    </a:lnTo>
                    <a:lnTo>
                      <a:pt x="5184202" y="8661757"/>
                    </a:lnTo>
                    <a:lnTo>
                      <a:pt x="5212618" y="8652254"/>
                    </a:lnTo>
                    <a:lnTo>
                      <a:pt x="5253341" y="8623836"/>
                    </a:lnTo>
                    <a:lnTo>
                      <a:pt x="5270206" y="8584900"/>
                    </a:lnTo>
                    <a:lnTo>
                      <a:pt x="5288460" y="8544519"/>
                    </a:lnTo>
                    <a:lnTo>
                      <a:pt x="5306727" y="8504139"/>
                    </a:lnTo>
                    <a:lnTo>
                      <a:pt x="5325985" y="8462591"/>
                    </a:lnTo>
                    <a:lnTo>
                      <a:pt x="5353756" y="8438420"/>
                    </a:lnTo>
                    <a:lnTo>
                      <a:pt x="5376396" y="8418708"/>
                    </a:lnTo>
                    <a:lnTo>
                      <a:pt x="5416118" y="8397658"/>
                    </a:lnTo>
                    <a:lnTo>
                      <a:pt x="5453049" y="8375855"/>
                    </a:lnTo>
                    <a:lnTo>
                      <a:pt x="5489980" y="8354052"/>
                    </a:lnTo>
                    <a:lnTo>
                      <a:pt x="5524748" y="8330766"/>
                    </a:lnTo>
                    <a:lnTo>
                      <a:pt x="5537378" y="8309206"/>
                    </a:lnTo>
                    <a:lnTo>
                      <a:pt x="5557208" y="8275355"/>
                    </a:lnTo>
                    <a:lnTo>
                      <a:pt x="5556410" y="8251574"/>
                    </a:lnTo>
                    <a:lnTo>
                      <a:pt x="5553700" y="8230312"/>
                    </a:lnTo>
                    <a:lnTo>
                      <a:pt x="5550996" y="8209057"/>
                    </a:lnTo>
                    <a:lnTo>
                      <a:pt x="5557776" y="8170463"/>
                    </a:lnTo>
                    <a:lnTo>
                      <a:pt x="5588851" y="8149399"/>
                    </a:lnTo>
                    <a:lnTo>
                      <a:pt x="5609467" y="8143259"/>
                    </a:lnTo>
                    <a:lnTo>
                      <a:pt x="5630075" y="8137119"/>
                    </a:lnTo>
                    <a:lnTo>
                      <a:pt x="5652095" y="8132028"/>
                    </a:lnTo>
                    <a:lnTo>
                      <a:pt x="5673398" y="8126937"/>
                    </a:lnTo>
                    <a:lnTo>
                      <a:pt x="5694693" y="8121846"/>
                    </a:lnTo>
                    <a:lnTo>
                      <a:pt x="5715426" y="8116003"/>
                    </a:lnTo>
                    <a:lnTo>
                      <a:pt x="5745618" y="8094351"/>
                    </a:lnTo>
                    <a:lnTo>
                      <a:pt x="5757726" y="8056206"/>
                    </a:lnTo>
                    <a:lnTo>
                      <a:pt x="5767250" y="7943309"/>
                    </a:lnTo>
                    <a:lnTo>
                      <a:pt x="5786321" y="7926729"/>
                    </a:lnTo>
                    <a:lnTo>
                      <a:pt x="5818907" y="7916368"/>
                    </a:lnTo>
                    <a:lnTo>
                      <a:pt x="5844780" y="7901147"/>
                    </a:lnTo>
                    <a:lnTo>
                      <a:pt x="5856063" y="7880670"/>
                    </a:lnTo>
                    <a:lnTo>
                      <a:pt x="5855911" y="7838496"/>
                    </a:lnTo>
                    <a:lnTo>
                      <a:pt x="5858385" y="7800489"/>
                    </a:lnTo>
                    <a:lnTo>
                      <a:pt x="5861352" y="7763913"/>
                    </a:lnTo>
                    <a:lnTo>
                      <a:pt x="5871739" y="7736413"/>
                    </a:lnTo>
                    <a:lnTo>
                      <a:pt x="5892388" y="7724318"/>
                    </a:lnTo>
                    <a:lnTo>
                      <a:pt x="5927347" y="7729112"/>
                    </a:lnTo>
                    <a:lnTo>
                      <a:pt x="5952638" y="7744010"/>
                    </a:lnTo>
                    <a:lnTo>
                      <a:pt x="5974000" y="7762403"/>
                    </a:lnTo>
                    <a:lnTo>
                      <a:pt x="5998665" y="7780190"/>
                    </a:lnTo>
                    <a:lnTo>
                      <a:pt x="6030947" y="7788144"/>
                    </a:lnTo>
                    <a:lnTo>
                      <a:pt x="6077375" y="7780084"/>
                    </a:lnTo>
                    <a:lnTo>
                      <a:pt x="6091481" y="7739704"/>
                    </a:lnTo>
                    <a:lnTo>
                      <a:pt x="6086898" y="7702555"/>
                    </a:lnTo>
                    <a:lnTo>
                      <a:pt x="6079882" y="7671124"/>
                    </a:lnTo>
                    <a:lnTo>
                      <a:pt x="6074870" y="7644210"/>
                    </a:lnTo>
                    <a:lnTo>
                      <a:pt x="6078733" y="7615502"/>
                    </a:lnTo>
                    <a:lnTo>
                      <a:pt x="6094482" y="7581921"/>
                    </a:lnTo>
                    <a:lnTo>
                      <a:pt x="6114101" y="7558370"/>
                    </a:lnTo>
                    <a:lnTo>
                      <a:pt x="6132739" y="7537524"/>
                    </a:lnTo>
                    <a:lnTo>
                      <a:pt x="6169017" y="7539205"/>
                    </a:lnTo>
                    <a:lnTo>
                      <a:pt x="6233562" y="7547620"/>
                    </a:lnTo>
                    <a:lnTo>
                      <a:pt x="6254198" y="7533890"/>
                    </a:lnTo>
                    <a:lnTo>
                      <a:pt x="6289567" y="7510300"/>
                    </a:lnTo>
                    <a:lnTo>
                      <a:pt x="6322402" y="7489639"/>
                    </a:lnTo>
                    <a:lnTo>
                      <a:pt x="6353498" y="7461801"/>
                    </a:lnTo>
                    <a:lnTo>
                      <a:pt x="6382442" y="7432882"/>
                    </a:lnTo>
                    <a:lnTo>
                      <a:pt x="6399740" y="7418275"/>
                    </a:lnTo>
                    <a:lnTo>
                      <a:pt x="6417039" y="7403660"/>
                    </a:lnTo>
                    <a:lnTo>
                      <a:pt x="6435148" y="7391697"/>
                    </a:lnTo>
                    <a:lnTo>
                      <a:pt x="6494582" y="7395681"/>
                    </a:lnTo>
                    <a:lnTo>
                      <a:pt x="6537139" y="7427383"/>
                    </a:lnTo>
                    <a:lnTo>
                      <a:pt x="6580645" y="7452278"/>
                    </a:lnTo>
                    <a:lnTo>
                      <a:pt x="6602402" y="7464723"/>
                    </a:lnTo>
                    <a:lnTo>
                      <a:pt x="6623605" y="7476066"/>
                    </a:lnTo>
                    <a:lnTo>
                      <a:pt x="6645934" y="7480841"/>
                    </a:lnTo>
                    <a:lnTo>
                      <a:pt x="6668264" y="7485616"/>
                    </a:lnTo>
                    <a:lnTo>
                      <a:pt x="6690945" y="7483835"/>
                    </a:lnTo>
                    <a:lnTo>
                      <a:pt x="6713948" y="7472683"/>
                    </a:lnTo>
                    <a:lnTo>
                      <a:pt x="6742742" y="7450141"/>
                    </a:lnTo>
                    <a:lnTo>
                      <a:pt x="6761319" y="7419046"/>
                    </a:lnTo>
                    <a:lnTo>
                      <a:pt x="6781955" y="7391071"/>
                    </a:lnTo>
                    <a:lnTo>
                      <a:pt x="6804701" y="7372269"/>
                    </a:lnTo>
                    <a:lnTo>
                      <a:pt x="6827222" y="7352742"/>
                    </a:lnTo>
                    <a:lnTo>
                      <a:pt x="6849968" y="7335298"/>
                    </a:lnTo>
                    <a:lnTo>
                      <a:pt x="6872601" y="7320321"/>
                    </a:lnTo>
                    <a:lnTo>
                      <a:pt x="6919696" y="7307289"/>
                    </a:lnTo>
                    <a:lnTo>
                      <a:pt x="6962867" y="7293137"/>
                    </a:lnTo>
                    <a:lnTo>
                      <a:pt x="7006030" y="7278977"/>
                    </a:lnTo>
                    <a:lnTo>
                      <a:pt x="7044517" y="7264231"/>
                    </a:lnTo>
                    <a:lnTo>
                      <a:pt x="7055194" y="7226185"/>
                    </a:lnTo>
                    <a:lnTo>
                      <a:pt x="7060081" y="7201038"/>
                    </a:lnTo>
                    <a:lnTo>
                      <a:pt x="7067600" y="7177515"/>
                    </a:lnTo>
                    <a:lnTo>
                      <a:pt x="7075117" y="7153991"/>
                    </a:lnTo>
                    <a:lnTo>
                      <a:pt x="7085565" y="7131640"/>
                    </a:lnTo>
                    <a:lnTo>
                      <a:pt x="7101602" y="7114949"/>
                    </a:lnTo>
                    <a:lnTo>
                      <a:pt x="7145300" y="7106580"/>
                    </a:lnTo>
                    <a:lnTo>
                      <a:pt x="7176415" y="7108150"/>
                    </a:lnTo>
                    <a:lnTo>
                      <a:pt x="7207523" y="7109719"/>
                    </a:lnTo>
                    <a:lnTo>
                      <a:pt x="7237036" y="7115417"/>
                    </a:lnTo>
                    <a:lnTo>
                      <a:pt x="7255976" y="7143947"/>
                    </a:lnTo>
                    <a:lnTo>
                      <a:pt x="7253622" y="7178412"/>
                    </a:lnTo>
                    <a:lnTo>
                      <a:pt x="7249863" y="7212883"/>
                    </a:lnTo>
                    <a:lnTo>
                      <a:pt x="7246104" y="7247355"/>
                    </a:lnTo>
                    <a:lnTo>
                      <a:pt x="7242095" y="7282380"/>
                    </a:lnTo>
                    <a:lnTo>
                      <a:pt x="7251578" y="7307295"/>
                    </a:lnTo>
                    <a:lnTo>
                      <a:pt x="7298152" y="7323038"/>
                    </a:lnTo>
                    <a:lnTo>
                      <a:pt x="7347797" y="7335298"/>
                    </a:lnTo>
                    <a:lnTo>
                      <a:pt x="7397451" y="7347564"/>
                    </a:lnTo>
                    <a:lnTo>
                      <a:pt x="7450024" y="7356105"/>
                    </a:lnTo>
                    <a:lnTo>
                      <a:pt x="7478911" y="7337593"/>
                    </a:lnTo>
                    <a:lnTo>
                      <a:pt x="7493585" y="7321857"/>
                    </a:lnTo>
                    <a:lnTo>
                      <a:pt x="7508305" y="7305377"/>
                    </a:lnTo>
                    <a:lnTo>
                      <a:pt x="7523025" y="7288890"/>
                    </a:lnTo>
                    <a:lnTo>
                      <a:pt x="7537988" y="7270786"/>
                    </a:lnTo>
                    <a:lnTo>
                      <a:pt x="7553189" y="7255051"/>
                    </a:lnTo>
                    <a:lnTo>
                      <a:pt x="7579325" y="7227992"/>
                    </a:lnTo>
                    <a:lnTo>
                      <a:pt x="7599439" y="7212883"/>
                    </a:lnTo>
                    <a:lnTo>
                      <a:pt x="7609602" y="7194430"/>
                    </a:lnTo>
                    <a:lnTo>
                      <a:pt x="7615762" y="7159834"/>
                    </a:lnTo>
                    <a:lnTo>
                      <a:pt x="7619764" y="7135050"/>
                    </a:lnTo>
                    <a:lnTo>
                      <a:pt x="7593358" y="7092335"/>
                    </a:lnTo>
                    <a:lnTo>
                      <a:pt x="7556190" y="7075669"/>
                    </a:lnTo>
                    <a:lnTo>
                      <a:pt x="7521910" y="7059182"/>
                    </a:lnTo>
                    <a:lnTo>
                      <a:pt x="7488143" y="7042128"/>
                    </a:lnTo>
                    <a:lnTo>
                      <a:pt x="7460452" y="7021828"/>
                    </a:lnTo>
                    <a:lnTo>
                      <a:pt x="7443014" y="6993893"/>
                    </a:lnTo>
                    <a:lnTo>
                      <a:pt x="7444333" y="6958036"/>
                    </a:lnTo>
                    <a:lnTo>
                      <a:pt x="7472618" y="6914768"/>
                    </a:lnTo>
                    <a:lnTo>
                      <a:pt x="7499651" y="6879695"/>
                    </a:lnTo>
                    <a:lnTo>
                      <a:pt x="7513745" y="6837468"/>
                    </a:lnTo>
                    <a:lnTo>
                      <a:pt x="7522457" y="6811306"/>
                    </a:lnTo>
                    <a:lnTo>
                      <a:pt x="7516673" y="6784439"/>
                    </a:lnTo>
                    <a:lnTo>
                      <a:pt x="7525986" y="6758573"/>
                    </a:lnTo>
                    <a:lnTo>
                      <a:pt x="7555272" y="6723930"/>
                    </a:lnTo>
                    <a:lnTo>
                      <a:pt x="7590041" y="6694497"/>
                    </a:lnTo>
                    <a:lnTo>
                      <a:pt x="7610320" y="6660639"/>
                    </a:lnTo>
                    <a:lnTo>
                      <a:pt x="7631102" y="6625911"/>
                    </a:lnTo>
                    <a:lnTo>
                      <a:pt x="7654975" y="6590443"/>
                    </a:lnTo>
                    <a:lnTo>
                      <a:pt x="7675611" y="6554547"/>
                    </a:lnTo>
                    <a:lnTo>
                      <a:pt x="7696239" y="6518651"/>
                    </a:lnTo>
                    <a:lnTo>
                      <a:pt x="7714382" y="6482240"/>
                    </a:lnTo>
                    <a:lnTo>
                      <a:pt x="7725936" y="6443007"/>
                    </a:lnTo>
                    <a:lnTo>
                      <a:pt x="7732906" y="6419378"/>
                    </a:lnTo>
                    <a:lnTo>
                      <a:pt x="7743300" y="6378892"/>
                    </a:lnTo>
                    <a:lnTo>
                      <a:pt x="7744975" y="6354596"/>
                    </a:lnTo>
                    <a:lnTo>
                      <a:pt x="7746676" y="6330050"/>
                    </a:lnTo>
                    <a:lnTo>
                      <a:pt x="7719368" y="6237834"/>
                    </a:lnTo>
                    <a:lnTo>
                      <a:pt x="7702814" y="6215859"/>
                    </a:lnTo>
                    <a:lnTo>
                      <a:pt x="7678414" y="6190350"/>
                    </a:lnTo>
                    <a:lnTo>
                      <a:pt x="7651177" y="6150834"/>
                    </a:lnTo>
                    <a:lnTo>
                      <a:pt x="7625020" y="6111079"/>
                    </a:lnTo>
                    <a:lnTo>
                      <a:pt x="7603514" y="6068958"/>
                    </a:lnTo>
                    <a:lnTo>
                      <a:pt x="7582015" y="6026836"/>
                    </a:lnTo>
                    <a:lnTo>
                      <a:pt x="7564216" y="5982861"/>
                    </a:lnTo>
                    <a:lnTo>
                      <a:pt x="7562712" y="5950619"/>
                    </a:lnTo>
                    <a:lnTo>
                      <a:pt x="7561433" y="5923171"/>
                    </a:lnTo>
                    <a:lnTo>
                      <a:pt x="7564968" y="5897859"/>
                    </a:lnTo>
                    <a:lnTo>
                      <a:pt x="7569512" y="5873089"/>
                    </a:lnTo>
                    <a:lnTo>
                      <a:pt x="7574062" y="5848319"/>
                    </a:lnTo>
                    <a:lnTo>
                      <a:pt x="7580750" y="5823640"/>
                    </a:lnTo>
                    <a:lnTo>
                      <a:pt x="7587193" y="5796918"/>
                    </a:lnTo>
                    <a:lnTo>
                      <a:pt x="7597012" y="5756220"/>
                    </a:lnTo>
                    <a:lnTo>
                      <a:pt x="7606206" y="5716117"/>
                    </a:lnTo>
                    <a:lnTo>
                      <a:pt x="7614396" y="5675856"/>
                    </a:lnTo>
                    <a:lnTo>
                      <a:pt x="7622594" y="5635600"/>
                    </a:lnTo>
                    <a:lnTo>
                      <a:pt x="7629697" y="5595575"/>
                    </a:lnTo>
                    <a:lnTo>
                      <a:pt x="7634801" y="5553441"/>
                    </a:lnTo>
                    <a:lnTo>
                      <a:pt x="7638086" y="5526329"/>
                    </a:lnTo>
                    <a:lnTo>
                      <a:pt x="7622977" y="5498156"/>
                    </a:lnTo>
                    <a:lnTo>
                      <a:pt x="7603514" y="5471828"/>
                    </a:lnTo>
                    <a:lnTo>
                      <a:pt x="7584060" y="5445495"/>
                    </a:lnTo>
                    <a:lnTo>
                      <a:pt x="7560035" y="5420395"/>
                    </a:lnTo>
                    <a:lnTo>
                      <a:pt x="7545031" y="5402457"/>
                    </a:lnTo>
                    <a:lnTo>
                      <a:pt x="7532297" y="5381373"/>
                    </a:lnTo>
                    <a:lnTo>
                      <a:pt x="7542301" y="5357566"/>
                    </a:lnTo>
                    <a:lnTo>
                      <a:pt x="7584607" y="5355218"/>
                    </a:lnTo>
                    <a:lnTo>
                      <a:pt x="7610928" y="5340372"/>
                    </a:lnTo>
                    <a:lnTo>
                      <a:pt x="7627079" y="5316420"/>
                    </a:lnTo>
                    <a:lnTo>
                      <a:pt x="7626629" y="5293641"/>
                    </a:lnTo>
                    <a:lnTo>
                      <a:pt x="7607175" y="5266041"/>
                    </a:lnTo>
                    <a:lnTo>
                      <a:pt x="7578079" y="5239622"/>
                    </a:lnTo>
                    <a:lnTo>
                      <a:pt x="7551817" y="5220187"/>
                    </a:lnTo>
                    <a:lnTo>
                      <a:pt x="7544840" y="5185023"/>
                    </a:lnTo>
                    <a:lnTo>
                      <a:pt x="7550637" y="5146535"/>
                    </a:lnTo>
                    <a:lnTo>
                      <a:pt x="7549101" y="5114094"/>
                    </a:lnTo>
                    <a:lnTo>
                      <a:pt x="7528398" y="5065846"/>
                    </a:lnTo>
                    <a:lnTo>
                      <a:pt x="7484872" y="5026554"/>
                    </a:lnTo>
                    <a:lnTo>
                      <a:pt x="7470205" y="4976716"/>
                    </a:lnTo>
                    <a:lnTo>
                      <a:pt x="7493366" y="4958805"/>
                    </a:lnTo>
                    <a:lnTo>
                      <a:pt x="7507275" y="4940642"/>
                    </a:lnTo>
                    <a:lnTo>
                      <a:pt x="7525635" y="4906685"/>
                    </a:lnTo>
                    <a:lnTo>
                      <a:pt x="7532778" y="4874700"/>
                    </a:lnTo>
                    <a:lnTo>
                      <a:pt x="7536622" y="4844778"/>
                    </a:lnTo>
                    <a:lnTo>
                      <a:pt x="7545256" y="4817568"/>
                    </a:lnTo>
                    <a:lnTo>
                      <a:pt x="7566782" y="4794447"/>
                    </a:lnTo>
                    <a:lnTo>
                      <a:pt x="7587608" y="4777155"/>
                    </a:lnTo>
                    <a:lnTo>
                      <a:pt x="7618017" y="4769102"/>
                    </a:lnTo>
                    <a:lnTo>
                      <a:pt x="7649752" y="4764519"/>
                    </a:lnTo>
                    <a:lnTo>
                      <a:pt x="7681499" y="4759942"/>
                    </a:lnTo>
                    <a:lnTo>
                      <a:pt x="7713677" y="4759052"/>
                    </a:lnTo>
                    <a:lnTo>
                      <a:pt x="7738170" y="4752279"/>
                    </a:lnTo>
                    <a:lnTo>
                      <a:pt x="7779038" y="4740995"/>
                    </a:lnTo>
                    <a:lnTo>
                      <a:pt x="7826093" y="4701485"/>
                    </a:lnTo>
                    <a:lnTo>
                      <a:pt x="7864666" y="4682913"/>
                    </a:lnTo>
                    <a:lnTo>
                      <a:pt x="7881735" y="4668906"/>
                    </a:lnTo>
                    <a:lnTo>
                      <a:pt x="7878800" y="4594245"/>
                    </a:lnTo>
                    <a:lnTo>
                      <a:pt x="7893228" y="4561851"/>
                    </a:lnTo>
                    <a:lnTo>
                      <a:pt x="7992305" y="4458957"/>
                    </a:lnTo>
                    <a:lnTo>
                      <a:pt x="8007485" y="4442153"/>
                    </a:lnTo>
                    <a:lnTo>
                      <a:pt x="8023352" y="4424617"/>
                    </a:lnTo>
                    <a:lnTo>
                      <a:pt x="8022363" y="4380089"/>
                    </a:lnTo>
                    <a:lnTo>
                      <a:pt x="8022450" y="4330621"/>
                    </a:lnTo>
                    <a:lnTo>
                      <a:pt x="8022515" y="4281145"/>
                    </a:lnTo>
                    <a:lnTo>
                      <a:pt x="8023273" y="4226242"/>
                    </a:lnTo>
                    <a:lnTo>
                      <a:pt x="8040137" y="4190518"/>
                    </a:lnTo>
                    <a:lnTo>
                      <a:pt x="8053228" y="4162780"/>
                    </a:lnTo>
                    <a:lnTo>
                      <a:pt x="8072788" y="4143635"/>
                    </a:lnTo>
                    <a:lnTo>
                      <a:pt x="8093179" y="4123870"/>
                    </a:lnTo>
                    <a:lnTo>
                      <a:pt x="8113572" y="4104105"/>
                    </a:lnTo>
                    <a:lnTo>
                      <a:pt x="8134603" y="4084637"/>
                    </a:lnTo>
                    <a:lnTo>
                      <a:pt x="8148946" y="4058581"/>
                    </a:lnTo>
                    <a:lnTo>
                      <a:pt x="8158285" y="4017290"/>
                    </a:lnTo>
                    <a:lnTo>
                      <a:pt x="8161193" y="3990569"/>
                    </a:lnTo>
                    <a:lnTo>
                      <a:pt x="8164094" y="3963848"/>
                    </a:lnTo>
                    <a:lnTo>
                      <a:pt x="8170043" y="3934481"/>
                    </a:lnTo>
                    <a:lnTo>
                      <a:pt x="8188396" y="3911678"/>
                    </a:lnTo>
                    <a:lnTo>
                      <a:pt x="8203400" y="3893033"/>
                    </a:lnTo>
                    <a:lnTo>
                      <a:pt x="8237364" y="3872232"/>
                    </a:lnTo>
                    <a:lnTo>
                      <a:pt x="8271005" y="3853859"/>
                    </a:lnTo>
                    <a:lnTo>
                      <a:pt x="8304375" y="3836196"/>
                    </a:lnTo>
                    <a:lnTo>
                      <a:pt x="8333933" y="3811022"/>
                    </a:lnTo>
                    <a:lnTo>
                      <a:pt x="8347861" y="3795217"/>
                    </a:lnTo>
                    <a:lnTo>
                      <a:pt x="8360536" y="3773713"/>
                    </a:lnTo>
                    <a:lnTo>
                      <a:pt x="8369302" y="3743012"/>
                    </a:lnTo>
                    <a:lnTo>
                      <a:pt x="8381351" y="3700815"/>
                    </a:lnTo>
                    <a:lnTo>
                      <a:pt x="8380526" y="3662609"/>
                    </a:lnTo>
                    <a:lnTo>
                      <a:pt x="8372019" y="3626035"/>
                    </a:lnTo>
                    <a:lnTo>
                      <a:pt x="8363518" y="3589462"/>
                    </a:lnTo>
                    <a:lnTo>
                      <a:pt x="8347044" y="3554967"/>
                    </a:lnTo>
                    <a:lnTo>
                      <a:pt x="8327134" y="3518580"/>
                    </a:lnTo>
                    <a:lnTo>
                      <a:pt x="8297991" y="3465321"/>
                    </a:lnTo>
                    <a:lnTo>
                      <a:pt x="8253661" y="3404514"/>
                    </a:lnTo>
                    <a:lnTo>
                      <a:pt x="8237358" y="3345834"/>
                    </a:lnTo>
                    <a:lnTo>
                      <a:pt x="8310521" y="3302287"/>
                    </a:lnTo>
                    <a:lnTo>
                      <a:pt x="8358499" y="3304296"/>
                    </a:lnTo>
                    <a:lnTo>
                      <a:pt x="8401940" y="3298228"/>
                    </a:lnTo>
                    <a:lnTo>
                      <a:pt x="8423663" y="3295194"/>
                    </a:lnTo>
                    <a:lnTo>
                      <a:pt x="8444661" y="3290546"/>
                    </a:lnTo>
                    <a:lnTo>
                      <a:pt x="8465871" y="3279185"/>
                    </a:lnTo>
                    <a:lnTo>
                      <a:pt x="8487087" y="3267824"/>
                    </a:lnTo>
                    <a:lnTo>
                      <a:pt x="8508785" y="3249461"/>
                    </a:lnTo>
                    <a:lnTo>
                      <a:pt x="8532520" y="3220697"/>
                    </a:lnTo>
                    <a:lnTo>
                      <a:pt x="8549204" y="3200482"/>
                    </a:lnTo>
                    <a:lnTo>
                      <a:pt x="8569246" y="3163568"/>
                    </a:lnTo>
                    <a:lnTo>
                      <a:pt x="8578176" y="3138065"/>
                    </a:lnTo>
                    <a:lnTo>
                      <a:pt x="8588972" y="3110945"/>
                    </a:lnTo>
                    <a:lnTo>
                      <a:pt x="8580128" y="3083316"/>
                    </a:lnTo>
                    <a:lnTo>
                      <a:pt x="8569595" y="3058747"/>
                    </a:lnTo>
                    <a:lnTo>
                      <a:pt x="8546830" y="3042245"/>
                    </a:lnTo>
                    <a:lnTo>
                      <a:pt x="8524360" y="3026188"/>
                    </a:lnTo>
                    <a:lnTo>
                      <a:pt x="8501892" y="3010131"/>
                    </a:lnTo>
                    <a:lnTo>
                      <a:pt x="8479555" y="2994117"/>
                    </a:lnTo>
                    <a:lnTo>
                      <a:pt x="8469953" y="2969060"/>
                    </a:lnTo>
                    <a:lnTo>
                      <a:pt x="8474477" y="2925682"/>
                    </a:lnTo>
                    <a:lnTo>
                      <a:pt x="8495139" y="2887809"/>
                    </a:lnTo>
                    <a:lnTo>
                      <a:pt x="8503957" y="2845282"/>
                    </a:lnTo>
                    <a:lnTo>
                      <a:pt x="8509865" y="2816823"/>
                    </a:lnTo>
                    <a:lnTo>
                      <a:pt x="8519091" y="2785135"/>
                    </a:lnTo>
                    <a:lnTo>
                      <a:pt x="8523002" y="2756869"/>
                    </a:lnTo>
                    <a:lnTo>
                      <a:pt x="8527104" y="2727242"/>
                    </a:lnTo>
                    <a:lnTo>
                      <a:pt x="8524044" y="2696637"/>
                    </a:lnTo>
                    <a:lnTo>
                      <a:pt x="8528436" y="2667095"/>
                    </a:lnTo>
                    <a:lnTo>
                      <a:pt x="8540722" y="2629093"/>
                    </a:lnTo>
                    <a:lnTo>
                      <a:pt x="8561913" y="2607692"/>
                    </a:lnTo>
                    <a:lnTo>
                      <a:pt x="8594524" y="2608628"/>
                    </a:lnTo>
                    <a:lnTo>
                      <a:pt x="8617421" y="2624910"/>
                    </a:lnTo>
                    <a:lnTo>
                      <a:pt x="8637259" y="2649413"/>
                    </a:lnTo>
                    <a:lnTo>
                      <a:pt x="8656061" y="2675528"/>
                    </a:lnTo>
                    <a:lnTo>
                      <a:pt x="8668803" y="2708072"/>
                    </a:lnTo>
                    <a:lnTo>
                      <a:pt x="8682110" y="2749355"/>
                    </a:lnTo>
                    <a:lnTo>
                      <a:pt x="8724021" y="2787450"/>
                    </a:lnTo>
                    <a:lnTo>
                      <a:pt x="8767839" y="2822158"/>
                    </a:lnTo>
                    <a:lnTo>
                      <a:pt x="8811648" y="2856867"/>
                    </a:lnTo>
                    <a:lnTo>
                      <a:pt x="8858115" y="2887597"/>
                    </a:lnTo>
                    <a:lnTo>
                      <a:pt x="8883453" y="2895609"/>
                    </a:lnTo>
                    <a:lnTo>
                      <a:pt x="8905824" y="2856173"/>
                    </a:lnTo>
                    <a:lnTo>
                      <a:pt x="8904861" y="2831962"/>
                    </a:lnTo>
                    <a:lnTo>
                      <a:pt x="8894691" y="2793311"/>
                    </a:lnTo>
                    <a:lnTo>
                      <a:pt x="8872572" y="2765030"/>
                    </a:lnTo>
                    <a:lnTo>
                      <a:pt x="8847531" y="2738753"/>
                    </a:lnTo>
                    <a:lnTo>
                      <a:pt x="8811352" y="2718156"/>
                    </a:lnTo>
                    <a:lnTo>
                      <a:pt x="8778720" y="2673896"/>
                    </a:lnTo>
                    <a:lnTo>
                      <a:pt x="8785684" y="2609024"/>
                    </a:lnTo>
                    <a:lnTo>
                      <a:pt x="8799117" y="2561000"/>
                    </a:lnTo>
                    <a:lnTo>
                      <a:pt x="8812558" y="2512976"/>
                    </a:lnTo>
                    <a:lnTo>
                      <a:pt x="8829309" y="2466062"/>
                    </a:lnTo>
                    <a:lnTo>
                      <a:pt x="8867916" y="2431228"/>
                    </a:lnTo>
                    <a:lnTo>
                      <a:pt x="8892950" y="2433226"/>
                    </a:lnTo>
                    <a:lnTo>
                      <a:pt x="8922897" y="2420899"/>
                    </a:lnTo>
                    <a:lnTo>
                      <a:pt x="8977305" y="2393695"/>
                    </a:lnTo>
                    <a:lnTo>
                      <a:pt x="9003151" y="2378733"/>
                    </a:lnTo>
                    <a:lnTo>
                      <a:pt x="9025593" y="2371549"/>
                    </a:lnTo>
                    <a:lnTo>
                      <a:pt x="9063402" y="2372149"/>
                    </a:lnTo>
                    <a:lnTo>
                      <a:pt x="9087480" y="2369212"/>
                    </a:lnTo>
                    <a:lnTo>
                      <a:pt x="9110424" y="2366413"/>
                    </a:lnTo>
                    <a:lnTo>
                      <a:pt x="9131449" y="2357180"/>
                    </a:lnTo>
                    <a:lnTo>
                      <a:pt x="9148687" y="2344728"/>
                    </a:lnTo>
                    <a:lnTo>
                      <a:pt x="9165419" y="2326117"/>
                    </a:lnTo>
                    <a:lnTo>
                      <a:pt x="9209802" y="2224812"/>
                    </a:lnTo>
                    <a:lnTo>
                      <a:pt x="9241926" y="2134322"/>
                    </a:lnTo>
                    <a:lnTo>
                      <a:pt x="9273833" y="2044124"/>
                    </a:lnTo>
                    <a:lnTo>
                      <a:pt x="9287497" y="2005529"/>
                    </a:lnTo>
                    <a:lnTo>
                      <a:pt x="9352528" y="1972353"/>
                    </a:lnTo>
                    <a:lnTo>
                      <a:pt x="9341839" y="1886341"/>
                    </a:lnTo>
                    <a:lnTo>
                      <a:pt x="9324264" y="1744711"/>
                    </a:lnTo>
                    <a:lnTo>
                      <a:pt x="9095750" y="1789236"/>
                    </a:lnTo>
                    <a:lnTo>
                      <a:pt x="9004509" y="1761203"/>
                    </a:lnTo>
                    <a:lnTo>
                      <a:pt x="8940347" y="1741501"/>
                    </a:lnTo>
                    <a:lnTo>
                      <a:pt x="8886236" y="1696487"/>
                    </a:lnTo>
                    <a:lnTo>
                      <a:pt x="8822246" y="1678231"/>
                    </a:lnTo>
                    <a:lnTo>
                      <a:pt x="8754318" y="1658869"/>
                    </a:lnTo>
                    <a:lnTo>
                      <a:pt x="8655025" y="1681931"/>
                    </a:lnTo>
                    <a:lnTo>
                      <a:pt x="8600533" y="1630624"/>
                    </a:lnTo>
                    <a:lnTo>
                      <a:pt x="8576046" y="1626546"/>
                    </a:lnTo>
                    <a:lnTo>
                      <a:pt x="8541660" y="1623081"/>
                    </a:lnTo>
                    <a:lnTo>
                      <a:pt x="8465362" y="1610287"/>
                    </a:lnTo>
                    <a:lnTo>
                      <a:pt x="8440026" y="1630624"/>
                    </a:lnTo>
                    <a:lnTo>
                      <a:pt x="8432375" y="1671387"/>
                    </a:lnTo>
                    <a:lnTo>
                      <a:pt x="8440618" y="1733999"/>
                    </a:lnTo>
                    <a:lnTo>
                      <a:pt x="8401940" y="1761203"/>
                    </a:lnTo>
                    <a:lnTo>
                      <a:pt x="8364065" y="1787854"/>
                    </a:lnTo>
                    <a:lnTo>
                      <a:pt x="8177020" y="1807173"/>
                    </a:lnTo>
                    <a:lnTo>
                      <a:pt x="8132623" y="1795208"/>
                    </a:lnTo>
                    <a:lnTo>
                      <a:pt x="8095876" y="1785304"/>
                    </a:lnTo>
                    <a:lnTo>
                      <a:pt x="8069458" y="1763392"/>
                    </a:lnTo>
                    <a:lnTo>
                      <a:pt x="8029248" y="1761203"/>
                    </a:lnTo>
                    <a:lnTo>
                      <a:pt x="7937883" y="1756230"/>
                    </a:lnTo>
                    <a:lnTo>
                      <a:pt x="7808260" y="1856162"/>
                    </a:lnTo>
                    <a:lnTo>
                      <a:pt x="7743603" y="1770724"/>
                    </a:lnTo>
                    <a:lnTo>
                      <a:pt x="7720825" y="1707114"/>
                    </a:lnTo>
                    <a:lnTo>
                      <a:pt x="7869487" y="1608266"/>
                    </a:lnTo>
                    <a:lnTo>
                      <a:pt x="7833379" y="1498684"/>
                    </a:lnTo>
                    <a:lnTo>
                      <a:pt x="7796594" y="1387063"/>
                    </a:lnTo>
                    <a:lnTo>
                      <a:pt x="7548651" y="1522956"/>
                    </a:lnTo>
                    <a:lnTo>
                      <a:pt x="7487886" y="1415712"/>
                    </a:lnTo>
                    <a:lnTo>
                      <a:pt x="7467614" y="1379965"/>
                    </a:lnTo>
                    <a:lnTo>
                      <a:pt x="7505297" y="1193171"/>
                    </a:lnTo>
                    <a:lnTo>
                      <a:pt x="7508291" y="1145032"/>
                    </a:lnTo>
                    <a:lnTo>
                      <a:pt x="7510520" y="1109030"/>
                    </a:lnTo>
                    <a:lnTo>
                      <a:pt x="7511008" y="1069478"/>
                    </a:lnTo>
                    <a:lnTo>
                      <a:pt x="7511008" y="1033496"/>
                    </a:lnTo>
                    <a:lnTo>
                      <a:pt x="7496558" y="978281"/>
                    </a:lnTo>
                    <a:lnTo>
                      <a:pt x="7458196" y="918007"/>
                    </a:lnTo>
                    <a:lnTo>
                      <a:pt x="7249936" y="907699"/>
                    </a:lnTo>
                    <a:lnTo>
                      <a:pt x="7195442" y="901557"/>
                    </a:lnTo>
                    <a:lnTo>
                      <a:pt x="7153723" y="896882"/>
                    </a:lnTo>
                    <a:lnTo>
                      <a:pt x="7112109" y="887890"/>
                    </a:lnTo>
                    <a:lnTo>
                      <a:pt x="7070303" y="885235"/>
                    </a:lnTo>
                    <a:lnTo>
                      <a:pt x="7016087" y="881792"/>
                    </a:lnTo>
                    <a:lnTo>
                      <a:pt x="6900729" y="889061"/>
                    </a:lnTo>
                    <a:lnTo>
                      <a:pt x="6847230" y="898837"/>
                    </a:lnTo>
                    <a:lnTo>
                      <a:pt x="6756585" y="915393"/>
                    </a:lnTo>
                    <a:lnTo>
                      <a:pt x="6704392" y="1002212"/>
                    </a:lnTo>
                    <a:lnTo>
                      <a:pt x="6605119" y="1002212"/>
                    </a:lnTo>
                    <a:lnTo>
                      <a:pt x="6462999" y="1002212"/>
                    </a:lnTo>
                    <a:lnTo>
                      <a:pt x="6130491" y="866511"/>
                    </a:lnTo>
                    <a:lnTo>
                      <a:pt x="5988951" y="807703"/>
                    </a:lnTo>
                    <a:lnTo>
                      <a:pt x="5954855" y="793549"/>
                    </a:lnTo>
                    <a:lnTo>
                      <a:pt x="5918662" y="771956"/>
                    </a:lnTo>
                    <a:lnTo>
                      <a:pt x="5885568" y="754656"/>
                    </a:lnTo>
                    <a:lnTo>
                      <a:pt x="5825680" y="723350"/>
                    </a:lnTo>
                    <a:lnTo>
                      <a:pt x="5760430" y="699143"/>
                    </a:lnTo>
                    <a:lnTo>
                      <a:pt x="5693783" y="679845"/>
                    </a:lnTo>
                    <a:lnTo>
                      <a:pt x="5650044" y="663416"/>
                    </a:lnTo>
                    <a:lnTo>
                      <a:pt x="5604013" y="638890"/>
                    </a:lnTo>
                    <a:lnTo>
                      <a:pt x="5559121" y="626797"/>
                    </a:lnTo>
                    <a:lnTo>
                      <a:pt x="5430817" y="592218"/>
                    </a:lnTo>
                    <a:lnTo>
                      <a:pt x="5176188" y="670323"/>
                    </a:lnTo>
                    <a:lnTo>
                      <a:pt x="5030005" y="670323"/>
                    </a:lnTo>
                    <a:lnTo>
                      <a:pt x="4968435" y="670323"/>
                    </a:lnTo>
                    <a:lnTo>
                      <a:pt x="4899934" y="672957"/>
                    </a:lnTo>
                    <a:lnTo>
                      <a:pt x="4840943" y="655362"/>
                    </a:lnTo>
                    <a:lnTo>
                      <a:pt x="4801050" y="613535"/>
                    </a:lnTo>
                    <a:lnTo>
                      <a:pt x="4821086" y="500193"/>
                    </a:lnTo>
                    <a:lnTo>
                      <a:pt x="4828696" y="445891"/>
                    </a:lnTo>
                    <a:lnTo>
                      <a:pt x="4808634" y="418772"/>
                    </a:lnTo>
                    <a:lnTo>
                      <a:pt x="4516572" y="426062"/>
                    </a:lnTo>
                    <a:lnTo>
                      <a:pt x="4469603" y="430929"/>
                    </a:lnTo>
                    <a:lnTo>
                      <a:pt x="4414219" y="436667"/>
                    </a:lnTo>
                    <a:lnTo>
                      <a:pt x="4355010" y="456006"/>
                    </a:lnTo>
                    <a:lnTo>
                      <a:pt x="4299580" y="454052"/>
                    </a:lnTo>
                    <a:lnTo>
                      <a:pt x="4258560" y="452607"/>
                    </a:lnTo>
                    <a:lnTo>
                      <a:pt x="4210997" y="427953"/>
                    </a:lnTo>
                    <a:lnTo>
                      <a:pt x="4170360" y="420047"/>
                    </a:lnTo>
                    <a:lnTo>
                      <a:pt x="4072939" y="401174"/>
                    </a:lnTo>
                    <a:lnTo>
                      <a:pt x="3977618" y="452820"/>
                    </a:lnTo>
                    <a:lnTo>
                      <a:pt x="3877915" y="394204"/>
                    </a:lnTo>
                    <a:lnTo>
                      <a:pt x="3847421" y="376266"/>
                    </a:lnTo>
                    <a:lnTo>
                      <a:pt x="3790612" y="330423"/>
                    </a:lnTo>
                    <a:lnTo>
                      <a:pt x="3770465" y="301710"/>
                    </a:lnTo>
                    <a:lnTo>
                      <a:pt x="3754650" y="269766"/>
                    </a:lnTo>
                    <a:lnTo>
                      <a:pt x="3727532" y="231149"/>
                    </a:lnTo>
                    <a:lnTo>
                      <a:pt x="3701199" y="212850"/>
                    </a:lnTo>
                    <a:lnTo>
                      <a:pt x="3683412" y="188813"/>
                    </a:lnTo>
                    <a:lnTo>
                      <a:pt x="3671548" y="153852"/>
                    </a:lnTo>
                    <a:lnTo>
                      <a:pt x="3656498" y="136956"/>
                    </a:lnTo>
                    <a:lnTo>
                      <a:pt x="3633298" y="124246"/>
                    </a:lnTo>
                    <a:lnTo>
                      <a:pt x="3612167" y="116511"/>
                    </a:lnTo>
                    <a:lnTo>
                      <a:pt x="3581395" y="118082"/>
                    </a:lnTo>
                    <a:lnTo>
                      <a:pt x="3545519" y="131302"/>
                    </a:lnTo>
                    <a:lnTo>
                      <a:pt x="3480230" y="151811"/>
                    </a:lnTo>
                    <a:lnTo>
                      <a:pt x="3332477" y="156041"/>
                    </a:lnTo>
                    <a:lnTo>
                      <a:pt x="3278070" y="149367"/>
                    </a:lnTo>
                    <a:lnTo>
                      <a:pt x="3221452" y="145924"/>
                    </a:lnTo>
                    <a:lnTo>
                      <a:pt x="3166728" y="136828"/>
                    </a:lnTo>
                    <a:lnTo>
                      <a:pt x="3110764" y="130324"/>
                    </a:lnTo>
                    <a:lnTo>
                      <a:pt x="3089191" y="132025"/>
                    </a:lnTo>
                    <a:lnTo>
                      <a:pt x="3035469" y="122546"/>
                    </a:lnTo>
                    <a:lnTo>
                      <a:pt x="2989813" y="107137"/>
                    </a:lnTo>
                    <a:lnTo>
                      <a:pt x="2946182" y="99039"/>
                    </a:lnTo>
                    <a:lnTo>
                      <a:pt x="2913430" y="92961"/>
                    </a:lnTo>
                    <a:lnTo>
                      <a:pt x="2878339" y="96851"/>
                    </a:lnTo>
                    <a:lnTo>
                      <a:pt x="2845529" y="88158"/>
                    </a:lnTo>
                    <a:lnTo>
                      <a:pt x="2735435" y="59020"/>
                    </a:lnTo>
                    <a:lnTo>
                      <a:pt x="2698133" y="25695"/>
                    </a:lnTo>
                    <a:lnTo>
                      <a:pt x="2570766" y="10627"/>
                    </a:lnTo>
                    <a:lnTo>
                      <a:pt x="2547302" y="7843"/>
                    </a:lnTo>
                    <a:lnTo>
                      <a:pt x="2520994" y="0"/>
                    </a:lnTo>
                    <a:lnTo>
                      <a:pt x="2497319" y="2466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61" name="Volyn¬0" descr="Volyn¬0">
                <a:extLst>
                  <a:ext uri="{FF2B5EF4-FFF2-40B4-BE49-F238E27FC236}">
                    <a16:creationId xmlns:a16="http://schemas.microsoft.com/office/drawing/2014/main" id="{BBDBBF6E-5D26-4035-920F-C687F8F2B24A}"/>
                  </a:ext>
                </a:extLst>
              </p:cNvPr>
              <p:cNvSpPr/>
              <p:nvPr/>
            </p:nvSpPr>
            <p:spPr>
              <a:xfrm>
                <a:off x="5099676" y="2190574"/>
                <a:ext cx="8732467" cy="8767179"/>
              </a:xfrm>
              <a:custGeom>
                <a:avLst/>
                <a:gdLst/>
                <a:ahLst/>
                <a:cxnLst/>
                <a:rect l="0" t="0" r="0" b="0"/>
                <a:pathLst>
                  <a:path w="8732468" h="8767178">
                    <a:moveTo>
                      <a:pt x="5704370" y="14983"/>
                    </a:moveTo>
                    <a:lnTo>
                      <a:pt x="5671725" y="38276"/>
                    </a:lnTo>
                    <a:lnTo>
                      <a:pt x="5633449" y="54323"/>
                    </a:lnTo>
                    <a:lnTo>
                      <a:pt x="5609839" y="50199"/>
                    </a:lnTo>
                    <a:lnTo>
                      <a:pt x="5587693" y="52388"/>
                    </a:lnTo>
                    <a:lnTo>
                      <a:pt x="5514430" y="23782"/>
                    </a:lnTo>
                    <a:lnTo>
                      <a:pt x="5543633" y="0"/>
                    </a:lnTo>
                    <a:lnTo>
                      <a:pt x="5443508" y="33346"/>
                    </a:lnTo>
                    <a:lnTo>
                      <a:pt x="5406953" y="54705"/>
                    </a:lnTo>
                    <a:lnTo>
                      <a:pt x="5358626" y="72834"/>
                    </a:lnTo>
                    <a:lnTo>
                      <a:pt x="5321727" y="78105"/>
                    </a:lnTo>
                    <a:lnTo>
                      <a:pt x="5291167" y="86394"/>
                    </a:lnTo>
                    <a:lnTo>
                      <a:pt x="5246769" y="98423"/>
                    </a:lnTo>
                    <a:lnTo>
                      <a:pt x="5206772" y="115511"/>
                    </a:lnTo>
                    <a:lnTo>
                      <a:pt x="5164670" y="132640"/>
                    </a:lnTo>
                    <a:lnTo>
                      <a:pt x="5134471" y="144946"/>
                    </a:lnTo>
                    <a:lnTo>
                      <a:pt x="5101484" y="151407"/>
                    </a:lnTo>
                    <a:lnTo>
                      <a:pt x="5070817" y="162565"/>
                    </a:lnTo>
                    <a:lnTo>
                      <a:pt x="5004631" y="186666"/>
                    </a:lnTo>
                    <a:lnTo>
                      <a:pt x="4922281" y="249724"/>
                    </a:lnTo>
                    <a:lnTo>
                      <a:pt x="4859985" y="268660"/>
                    </a:lnTo>
                    <a:lnTo>
                      <a:pt x="4806428" y="284919"/>
                    </a:lnTo>
                    <a:lnTo>
                      <a:pt x="4749982" y="266599"/>
                    </a:lnTo>
                    <a:lnTo>
                      <a:pt x="4698120" y="275461"/>
                    </a:lnTo>
                    <a:lnTo>
                      <a:pt x="4668726" y="280478"/>
                    </a:lnTo>
                    <a:lnTo>
                      <a:pt x="4634235" y="295418"/>
                    </a:lnTo>
                    <a:lnTo>
                      <a:pt x="4606991" y="306746"/>
                    </a:lnTo>
                    <a:lnTo>
                      <a:pt x="4549411" y="330720"/>
                    </a:lnTo>
                    <a:lnTo>
                      <a:pt x="4436493" y="345384"/>
                    </a:lnTo>
                    <a:lnTo>
                      <a:pt x="4374395" y="343471"/>
                    </a:lnTo>
                    <a:lnTo>
                      <a:pt x="4341922" y="342451"/>
                    </a:lnTo>
                    <a:lnTo>
                      <a:pt x="4307444" y="340219"/>
                    </a:lnTo>
                    <a:lnTo>
                      <a:pt x="4275096" y="335310"/>
                    </a:lnTo>
                    <a:lnTo>
                      <a:pt x="4243625" y="330528"/>
                    </a:lnTo>
                    <a:lnTo>
                      <a:pt x="4218525" y="319413"/>
                    </a:lnTo>
                    <a:lnTo>
                      <a:pt x="4185326" y="321708"/>
                    </a:lnTo>
                    <a:lnTo>
                      <a:pt x="4098867" y="327659"/>
                    </a:lnTo>
                    <a:lnTo>
                      <a:pt x="4024187" y="383555"/>
                    </a:lnTo>
                    <a:lnTo>
                      <a:pt x="3937767" y="392438"/>
                    </a:lnTo>
                    <a:lnTo>
                      <a:pt x="3886887" y="397667"/>
                    </a:lnTo>
                    <a:lnTo>
                      <a:pt x="3827619" y="356754"/>
                    </a:lnTo>
                    <a:lnTo>
                      <a:pt x="3777267" y="344831"/>
                    </a:lnTo>
                    <a:lnTo>
                      <a:pt x="3744814" y="337138"/>
                    </a:lnTo>
                    <a:lnTo>
                      <a:pt x="3712637" y="333610"/>
                    </a:lnTo>
                    <a:lnTo>
                      <a:pt x="3679332" y="332589"/>
                    </a:lnTo>
                    <a:lnTo>
                      <a:pt x="3567687" y="329104"/>
                    </a:lnTo>
                    <a:lnTo>
                      <a:pt x="3456623" y="353397"/>
                    </a:lnTo>
                    <a:lnTo>
                      <a:pt x="3346085" y="363874"/>
                    </a:lnTo>
                    <a:lnTo>
                      <a:pt x="3311356" y="367168"/>
                    </a:lnTo>
                    <a:lnTo>
                      <a:pt x="3277373" y="381004"/>
                    </a:lnTo>
                    <a:lnTo>
                      <a:pt x="3242710" y="384277"/>
                    </a:lnTo>
                    <a:lnTo>
                      <a:pt x="3183772" y="389867"/>
                    </a:lnTo>
                    <a:lnTo>
                      <a:pt x="3120883" y="394564"/>
                    </a:lnTo>
                    <a:lnTo>
                      <a:pt x="3061799" y="396519"/>
                    </a:lnTo>
                    <a:lnTo>
                      <a:pt x="3008651" y="398262"/>
                    </a:lnTo>
                    <a:lnTo>
                      <a:pt x="2790294" y="388931"/>
                    </a:lnTo>
                    <a:lnTo>
                      <a:pt x="2755756" y="407400"/>
                    </a:lnTo>
                    <a:lnTo>
                      <a:pt x="2698650" y="437963"/>
                    </a:lnTo>
                    <a:lnTo>
                      <a:pt x="2684326" y="504867"/>
                    </a:lnTo>
                    <a:lnTo>
                      <a:pt x="2649663" y="554302"/>
                    </a:lnTo>
                    <a:lnTo>
                      <a:pt x="2636612" y="572877"/>
                    </a:lnTo>
                    <a:lnTo>
                      <a:pt x="2623713" y="595533"/>
                    </a:lnTo>
                    <a:lnTo>
                      <a:pt x="2607495" y="611430"/>
                    </a:lnTo>
                    <a:lnTo>
                      <a:pt x="2573980" y="644245"/>
                    </a:lnTo>
                    <a:lnTo>
                      <a:pt x="2500507" y="698738"/>
                    </a:lnTo>
                    <a:lnTo>
                      <a:pt x="2482357" y="739289"/>
                    </a:lnTo>
                    <a:lnTo>
                      <a:pt x="2459190" y="791189"/>
                    </a:lnTo>
                    <a:lnTo>
                      <a:pt x="2460786" y="833185"/>
                    </a:lnTo>
                    <a:lnTo>
                      <a:pt x="2452437" y="887550"/>
                    </a:lnTo>
                    <a:lnTo>
                      <a:pt x="2449132" y="908910"/>
                    </a:lnTo>
                    <a:lnTo>
                      <a:pt x="2441740" y="929420"/>
                    </a:lnTo>
                    <a:lnTo>
                      <a:pt x="2437473" y="950119"/>
                    </a:lnTo>
                    <a:lnTo>
                      <a:pt x="2423168" y="1019533"/>
                    </a:lnTo>
                    <a:lnTo>
                      <a:pt x="2431392" y="1040913"/>
                    </a:lnTo>
                    <a:lnTo>
                      <a:pt x="2402104" y="1121505"/>
                    </a:lnTo>
                    <a:lnTo>
                      <a:pt x="2373885" y="1201353"/>
                    </a:lnTo>
                    <a:lnTo>
                      <a:pt x="2270483" y="1253211"/>
                    </a:lnTo>
                    <a:lnTo>
                      <a:pt x="2203519" y="1298331"/>
                    </a:lnTo>
                    <a:lnTo>
                      <a:pt x="2170149" y="1320795"/>
                    </a:lnTo>
                    <a:lnTo>
                      <a:pt x="2139779" y="1351824"/>
                    </a:lnTo>
                    <a:lnTo>
                      <a:pt x="2108301" y="1377222"/>
                    </a:lnTo>
                    <a:lnTo>
                      <a:pt x="2081183" y="1399113"/>
                    </a:lnTo>
                    <a:lnTo>
                      <a:pt x="2048413" y="1417773"/>
                    </a:lnTo>
                    <a:lnTo>
                      <a:pt x="2019890" y="1438431"/>
                    </a:lnTo>
                    <a:lnTo>
                      <a:pt x="1995324" y="1456220"/>
                    </a:lnTo>
                    <a:lnTo>
                      <a:pt x="1963484" y="1466336"/>
                    </a:lnTo>
                    <a:lnTo>
                      <a:pt x="1938278" y="1483318"/>
                    </a:lnTo>
                    <a:lnTo>
                      <a:pt x="1901511" y="1508099"/>
                    </a:lnTo>
                    <a:lnTo>
                      <a:pt x="1857557" y="1537810"/>
                    </a:lnTo>
                    <a:lnTo>
                      <a:pt x="1825380" y="1569010"/>
                    </a:lnTo>
                    <a:lnTo>
                      <a:pt x="1779004" y="1614025"/>
                    </a:lnTo>
                    <a:lnTo>
                      <a:pt x="1743623" y="1673448"/>
                    </a:lnTo>
                    <a:lnTo>
                      <a:pt x="1697525" y="1718632"/>
                    </a:lnTo>
                    <a:lnTo>
                      <a:pt x="1651743" y="1763477"/>
                    </a:lnTo>
                    <a:lnTo>
                      <a:pt x="1589579" y="1820094"/>
                    </a:lnTo>
                    <a:lnTo>
                      <a:pt x="1535659" y="1854652"/>
                    </a:lnTo>
                    <a:lnTo>
                      <a:pt x="1503014" y="1875586"/>
                    </a:lnTo>
                    <a:lnTo>
                      <a:pt x="1468649" y="1892440"/>
                    </a:lnTo>
                    <a:lnTo>
                      <a:pt x="1435001" y="1911781"/>
                    </a:lnTo>
                    <a:lnTo>
                      <a:pt x="1351503" y="1959812"/>
                    </a:lnTo>
                    <a:lnTo>
                      <a:pt x="1326509" y="1979726"/>
                    </a:lnTo>
                    <a:lnTo>
                      <a:pt x="1222810" y="1986591"/>
                    </a:lnTo>
                    <a:lnTo>
                      <a:pt x="1184835" y="1971884"/>
                    </a:lnTo>
                    <a:lnTo>
                      <a:pt x="1168679" y="1946338"/>
                    </a:lnTo>
                    <a:lnTo>
                      <a:pt x="1165686" y="1919942"/>
                    </a:lnTo>
                    <a:lnTo>
                      <a:pt x="1153571" y="1876479"/>
                    </a:lnTo>
                    <a:lnTo>
                      <a:pt x="1104667" y="1776653"/>
                    </a:lnTo>
                    <a:lnTo>
                      <a:pt x="1071832" y="1747196"/>
                    </a:lnTo>
                    <a:lnTo>
                      <a:pt x="1020909" y="1701503"/>
                    </a:lnTo>
                    <a:lnTo>
                      <a:pt x="854518" y="1711916"/>
                    </a:lnTo>
                    <a:lnTo>
                      <a:pt x="782109" y="1707751"/>
                    </a:lnTo>
                    <a:lnTo>
                      <a:pt x="674717" y="1701566"/>
                    </a:lnTo>
                    <a:lnTo>
                      <a:pt x="624156" y="1628158"/>
                    </a:lnTo>
                    <a:lnTo>
                      <a:pt x="520951" y="1631579"/>
                    </a:lnTo>
                    <a:lnTo>
                      <a:pt x="480039" y="1632920"/>
                    </a:lnTo>
                    <a:lnTo>
                      <a:pt x="405143" y="1653831"/>
                    </a:lnTo>
                    <a:lnTo>
                      <a:pt x="375410" y="1683267"/>
                    </a:lnTo>
                    <a:lnTo>
                      <a:pt x="321937" y="1691725"/>
                    </a:lnTo>
                    <a:lnTo>
                      <a:pt x="270441" y="1684011"/>
                    </a:lnTo>
                    <a:lnTo>
                      <a:pt x="216266" y="1695509"/>
                    </a:lnTo>
                    <a:lnTo>
                      <a:pt x="134017" y="1712894"/>
                    </a:lnTo>
                    <a:lnTo>
                      <a:pt x="6456" y="1796163"/>
                    </a:lnTo>
                    <a:lnTo>
                      <a:pt x="10877" y="1891377"/>
                    </a:lnTo>
                    <a:lnTo>
                      <a:pt x="13046" y="1937475"/>
                    </a:lnTo>
                    <a:lnTo>
                      <a:pt x="49685" y="1944574"/>
                    </a:lnTo>
                    <a:lnTo>
                      <a:pt x="66644" y="1979790"/>
                    </a:lnTo>
                    <a:lnTo>
                      <a:pt x="95464" y="2039597"/>
                    </a:lnTo>
                    <a:lnTo>
                      <a:pt x="103880" y="2105099"/>
                    </a:lnTo>
                    <a:lnTo>
                      <a:pt x="123773" y="2167498"/>
                    </a:lnTo>
                    <a:lnTo>
                      <a:pt x="130275" y="2187837"/>
                    </a:lnTo>
                    <a:lnTo>
                      <a:pt x="144135" y="2211024"/>
                    </a:lnTo>
                    <a:lnTo>
                      <a:pt x="151890" y="2249343"/>
                    </a:lnTo>
                    <a:lnTo>
                      <a:pt x="146107" y="2303433"/>
                    </a:lnTo>
                    <a:lnTo>
                      <a:pt x="130579" y="2336162"/>
                    </a:lnTo>
                    <a:lnTo>
                      <a:pt x="84992" y="2343601"/>
                    </a:lnTo>
                    <a:lnTo>
                      <a:pt x="65756" y="2270935"/>
                    </a:lnTo>
                    <a:lnTo>
                      <a:pt x="0" y="2288555"/>
                    </a:lnTo>
                    <a:lnTo>
                      <a:pt x="11775" y="2333591"/>
                    </a:lnTo>
                    <a:lnTo>
                      <a:pt x="9351" y="2392186"/>
                    </a:lnTo>
                    <a:lnTo>
                      <a:pt x="28564" y="2434097"/>
                    </a:lnTo>
                    <a:lnTo>
                      <a:pt x="48754" y="2532988"/>
                    </a:lnTo>
                    <a:lnTo>
                      <a:pt x="118783" y="2484360"/>
                    </a:lnTo>
                    <a:lnTo>
                      <a:pt x="172745" y="2514348"/>
                    </a:lnTo>
                    <a:lnTo>
                      <a:pt x="237418" y="2603675"/>
                    </a:lnTo>
                    <a:lnTo>
                      <a:pt x="111282" y="2643716"/>
                    </a:lnTo>
                    <a:lnTo>
                      <a:pt x="121058" y="2703416"/>
                    </a:lnTo>
                    <a:lnTo>
                      <a:pt x="166858" y="2755167"/>
                    </a:lnTo>
                    <a:lnTo>
                      <a:pt x="171130" y="2732405"/>
                    </a:lnTo>
                    <a:lnTo>
                      <a:pt x="214911" y="2761905"/>
                    </a:lnTo>
                    <a:lnTo>
                      <a:pt x="244665" y="2781946"/>
                    </a:lnTo>
                    <a:lnTo>
                      <a:pt x="224348" y="2811191"/>
                    </a:lnTo>
                    <a:lnTo>
                      <a:pt x="238035" y="2833995"/>
                    </a:lnTo>
                    <a:lnTo>
                      <a:pt x="263666" y="2876714"/>
                    </a:lnTo>
                    <a:lnTo>
                      <a:pt x="341792" y="2904513"/>
                    </a:lnTo>
                    <a:lnTo>
                      <a:pt x="300604" y="2976816"/>
                    </a:lnTo>
                    <a:lnTo>
                      <a:pt x="252997" y="3004020"/>
                    </a:lnTo>
                    <a:lnTo>
                      <a:pt x="239881" y="3055325"/>
                    </a:lnTo>
                    <a:lnTo>
                      <a:pt x="270592" y="3081020"/>
                    </a:lnTo>
                    <a:lnTo>
                      <a:pt x="270680" y="3111476"/>
                    </a:lnTo>
                    <a:lnTo>
                      <a:pt x="248256" y="3134323"/>
                    </a:lnTo>
                    <a:lnTo>
                      <a:pt x="191573" y="3158912"/>
                    </a:lnTo>
                    <a:lnTo>
                      <a:pt x="147516" y="3194448"/>
                    </a:lnTo>
                    <a:lnTo>
                      <a:pt x="129153" y="3267644"/>
                    </a:lnTo>
                    <a:lnTo>
                      <a:pt x="112894" y="3304624"/>
                    </a:lnTo>
                    <a:lnTo>
                      <a:pt x="98846" y="3325218"/>
                    </a:lnTo>
                    <a:lnTo>
                      <a:pt x="88019" y="3397308"/>
                    </a:lnTo>
                    <a:lnTo>
                      <a:pt x="89452" y="3431717"/>
                    </a:lnTo>
                    <a:lnTo>
                      <a:pt x="110833" y="3491290"/>
                    </a:lnTo>
                    <a:lnTo>
                      <a:pt x="127857" y="3510014"/>
                    </a:lnTo>
                    <a:lnTo>
                      <a:pt x="168322" y="3554584"/>
                    </a:lnTo>
                    <a:lnTo>
                      <a:pt x="245663" y="3525231"/>
                    </a:lnTo>
                    <a:lnTo>
                      <a:pt x="293801" y="3553540"/>
                    </a:lnTo>
                    <a:lnTo>
                      <a:pt x="355031" y="3589544"/>
                    </a:lnTo>
                    <a:lnTo>
                      <a:pt x="366571" y="3683375"/>
                    </a:lnTo>
                    <a:lnTo>
                      <a:pt x="391735" y="3748049"/>
                    </a:lnTo>
                    <a:lnTo>
                      <a:pt x="413711" y="3852040"/>
                    </a:lnTo>
                    <a:lnTo>
                      <a:pt x="410587" y="3790003"/>
                    </a:lnTo>
                    <a:lnTo>
                      <a:pt x="458384" y="3850064"/>
                    </a:lnTo>
                    <a:lnTo>
                      <a:pt x="463423" y="3881306"/>
                    </a:lnTo>
                    <a:lnTo>
                      <a:pt x="447207" y="3903557"/>
                    </a:lnTo>
                    <a:lnTo>
                      <a:pt x="444783" y="3933036"/>
                    </a:lnTo>
                    <a:lnTo>
                      <a:pt x="480467" y="3946532"/>
                    </a:lnTo>
                    <a:lnTo>
                      <a:pt x="513473" y="3971292"/>
                    </a:lnTo>
                    <a:lnTo>
                      <a:pt x="516555" y="3997837"/>
                    </a:lnTo>
                    <a:lnTo>
                      <a:pt x="531835" y="4013288"/>
                    </a:lnTo>
                    <a:lnTo>
                      <a:pt x="546840" y="4028441"/>
                    </a:lnTo>
                    <a:lnTo>
                      <a:pt x="568816" y="4026125"/>
                    </a:lnTo>
                    <a:lnTo>
                      <a:pt x="629536" y="4057175"/>
                    </a:lnTo>
                    <a:lnTo>
                      <a:pt x="601099" y="4085846"/>
                    </a:lnTo>
                    <a:lnTo>
                      <a:pt x="689618" y="4109861"/>
                    </a:lnTo>
                    <a:lnTo>
                      <a:pt x="713167" y="4128819"/>
                    </a:lnTo>
                    <a:lnTo>
                      <a:pt x="707684" y="4171387"/>
                    </a:lnTo>
                    <a:lnTo>
                      <a:pt x="737226" y="4186034"/>
                    </a:lnTo>
                    <a:lnTo>
                      <a:pt x="757310" y="4195999"/>
                    </a:lnTo>
                    <a:lnTo>
                      <a:pt x="781921" y="4187821"/>
                    </a:lnTo>
                    <a:lnTo>
                      <a:pt x="803875" y="4194192"/>
                    </a:lnTo>
                    <a:lnTo>
                      <a:pt x="828359" y="4201315"/>
                    </a:lnTo>
                    <a:lnTo>
                      <a:pt x="842684" y="4221614"/>
                    </a:lnTo>
                    <a:lnTo>
                      <a:pt x="862364" y="4236360"/>
                    </a:lnTo>
                    <a:lnTo>
                      <a:pt x="933391" y="4289660"/>
                    </a:lnTo>
                    <a:lnTo>
                      <a:pt x="926292" y="4379179"/>
                    </a:lnTo>
                    <a:lnTo>
                      <a:pt x="895815" y="4398331"/>
                    </a:lnTo>
                    <a:lnTo>
                      <a:pt x="876241" y="4449019"/>
                    </a:lnTo>
                    <a:lnTo>
                      <a:pt x="888185" y="4505234"/>
                    </a:lnTo>
                    <a:lnTo>
                      <a:pt x="903170" y="4545126"/>
                    </a:lnTo>
                    <a:lnTo>
                      <a:pt x="912734" y="4570629"/>
                    </a:lnTo>
                    <a:lnTo>
                      <a:pt x="938407" y="4596046"/>
                    </a:lnTo>
                    <a:lnTo>
                      <a:pt x="950776" y="4621298"/>
                    </a:lnTo>
                    <a:lnTo>
                      <a:pt x="958194" y="4642230"/>
                    </a:lnTo>
                    <a:lnTo>
                      <a:pt x="994919" y="4670581"/>
                    </a:lnTo>
                    <a:lnTo>
                      <a:pt x="1050071" y="4696110"/>
                    </a:lnTo>
                    <a:lnTo>
                      <a:pt x="1053236" y="4783651"/>
                    </a:lnTo>
                    <a:lnTo>
                      <a:pt x="1064263" y="4814574"/>
                    </a:lnTo>
                    <a:lnTo>
                      <a:pt x="1085432" y="4843012"/>
                    </a:lnTo>
                    <a:lnTo>
                      <a:pt x="1093083" y="4862540"/>
                    </a:lnTo>
                    <a:lnTo>
                      <a:pt x="1084614" y="4905624"/>
                    </a:lnTo>
                    <a:lnTo>
                      <a:pt x="1063668" y="4915101"/>
                    </a:lnTo>
                    <a:lnTo>
                      <a:pt x="1062989" y="4949849"/>
                    </a:lnTo>
                    <a:lnTo>
                      <a:pt x="1085432" y="4979032"/>
                    </a:lnTo>
                    <a:lnTo>
                      <a:pt x="1083222" y="5007318"/>
                    </a:lnTo>
                    <a:lnTo>
                      <a:pt x="1063672" y="5022558"/>
                    </a:lnTo>
                    <a:lnTo>
                      <a:pt x="1085009" y="5050481"/>
                    </a:lnTo>
                    <a:lnTo>
                      <a:pt x="1133319" y="5086377"/>
                    </a:lnTo>
                    <a:lnTo>
                      <a:pt x="1173699" y="5105891"/>
                    </a:lnTo>
                    <a:lnTo>
                      <a:pt x="1205136" y="5134091"/>
                    </a:lnTo>
                    <a:lnTo>
                      <a:pt x="1221946" y="5149160"/>
                    </a:lnTo>
                    <a:lnTo>
                      <a:pt x="1232590" y="5169967"/>
                    </a:lnTo>
                    <a:lnTo>
                      <a:pt x="1250021" y="5185782"/>
                    </a:lnTo>
                    <a:lnTo>
                      <a:pt x="1258799" y="5227713"/>
                    </a:lnTo>
                    <a:lnTo>
                      <a:pt x="1248023" y="5275677"/>
                    </a:lnTo>
                    <a:lnTo>
                      <a:pt x="1258179" y="5314996"/>
                    </a:lnTo>
                    <a:lnTo>
                      <a:pt x="1264747" y="5340393"/>
                    </a:lnTo>
                    <a:lnTo>
                      <a:pt x="1311782" y="5368876"/>
                    </a:lnTo>
                    <a:lnTo>
                      <a:pt x="1328909" y="5391167"/>
                    </a:lnTo>
                    <a:lnTo>
                      <a:pt x="1337627" y="5413398"/>
                    </a:lnTo>
                    <a:lnTo>
                      <a:pt x="1351140" y="5435887"/>
                    </a:lnTo>
                    <a:lnTo>
                      <a:pt x="1371202" y="5452381"/>
                    </a:lnTo>
                    <a:lnTo>
                      <a:pt x="1457794" y="5513397"/>
                    </a:lnTo>
                    <a:lnTo>
                      <a:pt x="1456856" y="5555835"/>
                    </a:lnTo>
                    <a:lnTo>
                      <a:pt x="1509814" y="5603358"/>
                    </a:lnTo>
                    <a:lnTo>
                      <a:pt x="1566649" y="5654343"/>
                    </a:lnTo>
                    <a:lnTo>
                      <a:pt x="1634635" y="5650393"/>
                    </a:lnTo>
                    <a:lnTo>
                      <a:pt x="1697525" y="5680894"/>
                    </a:lnTo>
                    <a:lnTo>
                      <a:pt x="1725454" y="5694453"/>
                    </a:lnTo>
                    <a:lnTo>
                      <a:pt x="1729233" y="5724988"/>
                    </a:lnTo>
                    <a:lnTo>
                      <a:pt x="1754656" y="5740743"/>
                    </a:lnTo>
                    <a:lnTo>
                      <a:pt x="1796798" y="5766859"/>
                    </a:lnTo>
                    <a:lnTo>
                      <a:pt x="1838201" y="5772834"/>
                    </a:lnTo>
                    <a:lnTo>
                      <a:pt x="1882512" y="5792427"/>
                    </a:lnTo>
                    <a:lnTo>
                      <a:pt x="1893037" y="5817699"/>
                    </a:lnTo>
                    <a:lnTo>
                      <a:pt x="1889311" y="5865644"/>
                    </a:lnTo>
                    <a:lnTo>
                      <a:pt x="1870271" y="5883562"/>
                    </a:lnTo>
                    <a:lnTo>
                      <a:pt x="1863406" y="5908979"/>
                    </a:lnTo>
                    <a:lnTo>
                      <a:pt x="1829634" y="5950441"/>
                    </a:lnTo>
                    <a:lnTo>
                      <a:pt x="1694062" y="5958375"/>
                    </a:lnTo>
                    <a:lnTo>
                      <a:pt x="1653998" y="5958375"/>
                    </a:lnTo>
                    <a:lnTo>
                      <a:pt x="1625686" y="5958375"/>
                    </a:lnTo>
                    <a:lnTo>
                      <a:pt x="1595468" y="5941690"/>
                    </a:lnTo>
                    <a:lnTo>
                      <a:pt x="1568304" y="5947493"/>
                    </a:lnTo>
                    <a:lnTo>
                      <a:pt x="1549027" y="5963156"/>
                    </a:lnTo>
                    <a:lnTo>
                      <a:pt x="1488097" y="5938201"/>
                    </a:lnTo>
                    <a:lnTo>
                      <a:pt x="1420044" y="5952934"/>
                    </a:lnTo>
                    <a:lnTo>
                      <a:pt x="1353396" y="5957418"/>
                    </a:lnTo>
                    <a:lnTo>
                      <a:pt x="1275840" y="5936421"/>
                    </a:lnTo>
                    <a:lnTo>
                      <a:pt x="1240498" y="6015500"/>
                    </a:lnTo>
                    <a:lnTo>
                      <a:pt x="1234141" y="6051145"/>
                    </a:lnTo>
                    <a:lnTo>
                      <a:pt x="1215674" y="6110183"/>
                    </a:lnTo>
                    <a:lnTo>
                      <a:pt x="1213676" y="6159361"/>
                    </a:lnTo>
                    <a:lnTo>
                      <a:pt x="1236416" y="6199129"/>
                    </a:lnTo>
                    <a:lnTo>
                      <a:pt x="1257671" y="6225884"/>
                    </a:lnTo>
                    <a:lnTo>
                      <a:pt x="1278689" y="6241784"/>
                    </a:lnTo>
                    <a:lnTo>
                      <a:pt x="1301705" y="6253536"/>
                    </a:lnTo>
                    <a:lnTo>
                      <a:pt x="1320388" y="6282672"/>
                    </a:lnTo>
                    <a:lnTo>
                      <a:pt x="1382552" y="6315363"/>
                    </a:lnTo>
                    <a:lnTo>
                      <a:pt x="1399811" y="6268091"/>
                    </a:lnTo>
                    <a:lnTo>
                      <a:pt x="1455406" y="6298415"/>
                    </a:lnTo>
                    <a:lnTo>
                      <a:pt x="1468503" y="6325579"/>
                    </a:lnTo>
                    <a:lnTo>
                      <a:pt x="1454898" y="6357841"/>
                    </a:lnTo>
                    <a:lnTo>
                      <a:pt x="1437171" y="6382559"/>
                    </a:lnTo>
                    <a:lnTo>
                      <a:pt x="1435008" y="6407231"/>
                    </a:lnTo>
                    <a:lnTo>
                      <a:pt x="1429205" y="6473476"/>
                    </a:lnTo>
                    <a:lnTo>
                      <a:pt x="1487398" y="6564526"/>
                    </a:lnTo>
                    <a:lnTo>
                      <a:pt x="1551982" y="6582701"/>
                    </a:lnTo>
                    <a:lnTo>
                      <a:pt x="1586624" y="6592449"/>
                    </a:lnTo>
                    <a:lnTo>
                      <a:pt x="1619652" y="6576285"/>
                    </a:lnTo>
                    <a:lnTo>
                      <a:pt x="1655357" y="6596300"/>
                    </a:lnTo>
                    <a:lnTo>
                      <a:pt x="1664332" y="6632348"/>
                    </a:lnTo>
                    <a:lnTo>
                      <a:pt x="1637676" y="6660231"/>
                    </a:lnTo>
                    <a:lnTo>
                      <a:pt x="1614976" y="6806176"/>
                    </a:lnTo>
                    <a:lnTo>
                      <a:pt x="1668474" y="6772529"/>
                    </a:lnTo>
                    <a:lnTo>
                      <a:pt x="1694808" y="6816655"/>
                    </a:lnTo>
                    <a:lnTo>
                      <a:pt x="1705821" y="6835141"/>
                    </a:lnTo>
                    <a:lnTo>
                      <a:pt x="1700631" y="6856396"/>
                    </a:lnTo>
                    <a:lnTo>
                      <a:pt x="1718035" y="6920987"/>
                    </a:lnTo>
                    <a:lnTo>
                      <a:pt x="1759305" y="6955412"/>
                    </a:lnTo>
                    <a:lnTo>
                      <a:pt x="1764173" y="7007083"/>
                    </a:lnTo>
                    <a:lnTo>
                      <a:pt x="1760954" y="7028886"/>
                    </a:lnTo>
                    <a:lnTo>
                      <a:pt x="1787439" y="6989415"/>
                    </a:lnTo>
                    <a:lnTo>
                      <a:pt x="1807706" y="6975797"/>
                    </a:lnTo>
                    <a:lnTo>
                      <a:pt x="1829673" y="6961031"/>
                    </a:lnTo>
                    <a:lnTo>
                      <a:pt x="1855644" y="6954165"/>
                    </a:lnTo>
                    <a:lnTo>
                      <a:pt x="1879794" y="6954034"/>
                    </a:lnTo>
                    <a:lnTo>
                      <a:pt x="1903945" y="6953902"/>
                    </a:lnTo>
                    <a:lnTo>
                      <a:pt x="1926770" y="6961156"/>
                    </a:lnTo>
                    <a:lnTo>
                      <a:pt x="1945084" y="6971715"/>
                    </a:lnTo>
                    <a:lnTo>
                      <a:pt x="1963398" y="6982273"/>
                    </a:lnTo>
                    <a:lnTo>
                      <a:pt x="1981811" y="7013883"/>
                    </a:lnTo>
                    <a:lnTo>
                      <a:pt x="1977867" y="7042709"/>
                    </a:lnTo>
                    <a:lnTo>
                      <a:pt x="1987252" y="7076449"/>
                    </a:lnTo>
                    <a:lnTo>
                      <a:pt x="2006654" y="7098877"/>
                    </a:lnTo>
                    <a:lnTo>
                      <a:pt x="2033139" y="7111150"/>
                    </a:lnTo>
                    <a:lnTo>
                      <a:pt x="2062064" y="7119975"/>
                    </a:lnTo>
                    <a:lnTo>
                      <a:pt x="2088926" y="7132248"/>
                    </a:lnTo>
                    <a:lnTo>
                      <a:pt x="2117831" y="7164055"/>
                    </a:lnTo>
                    <a:lnTo>
                      <a:pt x="2132069" y="7224247"/>
                    </a:lnTo>
                    <a:lnTo>
                      <a:pt x="2179335" y="7239277"/>
                    </a:lnTo>
                    <a:lnTo>
                      <a:pt x="2209204" y="7254557"/>
                    </a:lnTo>
                    <a:lnTo>
                      <a:pt x="2234811" y="7268242"/>
                    </a:lnTo>
                    <a:lnTo>
                      <a:pt x="2260413" y="7281919"/>
                    </a:lnTo>
                    <a:lnTo>
                      <a:pt x="2282063" y="7294159"/>
                    </a:lnTo>
                    <a:lnTo>
                      <a:pt x="2307770" y="7272699"/>
                    </a:lnTo>
                    <a:lnTo>
                      <a:pt x="2329916" y="7255342"/>
                    </a:lnTo>
                    <a:lnTo>
                      <a:pt x="2370119" y="7232233"/>
                    </a:lnTo>
                    <a:lnTo>
                      <a:pt x="2403476" y="7220633"/>
                    </a:lnTo>
                    <a:lnTo>
                      <a:pt x="2432823" y="7214553"/>
                    </a:lnTo>
                    <a:lnTo>
                      <a:pt x="2458457" y="7213115"/>
                    </a:lnTo>
                    <a:lnTo>
                      <a:pt x="2483722" y="7211116"/>
                    </a:lnTo>
                    <a:lnTo>
                      <a:pt x="2511296" y="7205959"/>
                    </a:lnTo>
                    <a:lnTo>
                      <a:pt x="2545009" y="7192162"/>
                    </a:lnTo>
                    <a:lnTo>
                      <a:pt x="2563976" y="7160784"/>
                    </a:lnTo>
                    <a:lnTo>
                      <a:pt x="2580628" y="7126035"/>
                    </a:lnTo>
                    <a:lnTo>
                      <a:pt x="2606196" y="7107141"/>
                    </a:lnTo>
                    <a:lnTo>
                      <a:pt x="2649670" y="7114541"/>
                    </a:lnTo>
                    <a:lnTo>
                      <a:pt x="2672706" y="7120865"/>
                    </a:lnTo>
                    <a:lnTo>
                      <a:pt x="2698268" y="7132103"/>
                    </a:lnTo>
                    <a:lnTo>
                      <a:pt x="2723118" y="7145827"/>
                    </a:lnTo>
                    <a:lnTo>
                      <a:pt x="2772817" y="7173261"/>
                    </a:lnTo>
                    <a:lnTo>
                      <a:pt x="2817656" y="7209837"/>
                    </a:lnTo>
                    <a:lnTo>
                      <a:pt x="2820274" y="7246030"/>
                    </a:lnTo>
                    <a:lnTo>
                      <a:pt x="2804730" y="7273682"/>
                    </a:lnTo>
                    <a:lnTo>
                      <a:pt x="2789529" y="7303267"/>
                    </a:lnTo>
                    <a:lnTo>
                      <a:pt x="2798985" y="7339789"/>
                    </a:lnTo>
                    <a:lnTo>
                      <a:pt x="2834545" y="7373258"/>
                    </a:lnTo>
                    <a:lnTo>
                      <a:pt x="2872743" y="7404261"/>
                    </a:lnTo>
                    <a:lnTo>
                      <a:pt x="2910941" y="7435264"/>
                    </a:lnTo>
                    <a:lnTo>
                      <a:pt x="2952409" y="7463536"/>
                    </a:lnTo>
                    <a:lnTo>
                      <a:pt x="2991629" y="7466240"/>
                    </a:lnTo>
                    <a:lnTo>
                      <a:pt x="3018279" y="7436906"/>
                    </a:lnTo>
                    <a:lnTo>
                      <a:pt x="3045490" y="7421942"/>
                    </a:lnTo>
                    <a:lnTo>
                      <a:pt x="3072905" y="7420122"/>
                    </a:lnTo>
                    <a:lnTo>
                      <a:pt x="3093091" y="7426018"/>
                    </a:lnTo>
                    <a:lnTo>
                      <a:pt x="3134046" y="7437988"/>
                    </a:lnTo>
                    <a:lnTo>
                      <a:pt x="3158276" y="7460621"/>
                    </a:lnTo>
                    <a:lnTo>
                      <a:pt x="3185585" y="7492673"/>
                    </a:lnTo>
                    <a:lnTo>
                      <a:pt x="3211114" y="7522640"/>
                    </a:lnTo>
                    <a:lnTo>
                      <a:pt x="3247446" y="7556029"/>
                    </a:lnTo>
                    <a:lnTo>
                      <a:pt x="3263121" y="7593324"/>
                    </a:lnTo>
                    <a:lnTo>
                      <a:pt x="3273720" y="7628501"/>
                    </a:lnTo>
                    <a:lnTo>
                      <a:pt x="3271556" y="7661521"/>
                    </a:lnTo>
                    <a:lnTo>
                      <a:pt x="3257681" y="7695340"/>
                    </a:lnTo>
                    <a:lnTo>
                      <a:pt x="3244359" y="7719748"/>
                    </a:lnTo>
                    <a:lnTo>
                      <a:pt x="3226698" y="7736401"/>
                    </a:lnTo>
                    <a:lnTo>
                      <a:pt x="3207349" y="7748390"/>
                    </a:lnTo>
                    <a:lnTo>
                      <a:pt x="3188006" y="7760373"/>
                    </a:lnTo>
                    <a:lnTo>
                      <a:pt x="3166130" y="7767832"/>
                    </a:lnTo>
                    <a:lnTo>
                      <a:pt x="3143424" y="7772870"/>
                    </a:lnTo>
                    <a:lnTo>
                      <a:pt x="3098005" y="7782940"/>
                    </a:lnTo>
                    <a:lnTo>
                      <a:pt x="3048900" y="7784998"/>
                    </a:lnTo>
                    <a:lnTo>
                      <a:pt x="3006039" y="7800074"/>
                    </a:lnTo>
                    <a:lnTo>
                      <a:pt x="2968382" y="7826790"/>
                    </a:lnTo>
                    <a:lnTo>
                      <a:pt x="2957072" y="7849041"/>
                    </a:lnTo>
                    <a:lnTo>
                      <a:pt x="2964148" y="7877795"/>
                    </a:lnTo>
                    <a:lnTo>
                      <a:pt x="2993331" y="7904603"/>
                    </a:lnTo>
                    <a:lnTo>
                      <a:pt x="3026444" y="7927936"/>
                    </a:lnTo>
                    <a:lnTo>
                      <a:pt x="3059557" y="7951269"/>
                    </a:lnTo>
                    <a:lnTo>
                      <a:pt x="3095539" y="7971364"/>
                    </a:lnTo>
                    <a:lnTo>
                      <a:pt x="3117578" y="7985061"/>
                    </a:lnTo>
                    <a:lnTo>
                      <a:pt x="3135556" y="7996233"/>
                    </a:lnTo>
                    <a:lnTo>
                      <a:pt x="3151582" y="8024505"/>
                    </a:lnTo>
                    <a:lnTo>
                      <a:pt x="3158454" y="8054380"/>
                    </a:lnTo>
                    <a:lnTo>
                      <a:pt x="3154154" y="8099416"/>
                    </a:lnTo>
                    <a:lnTo>
                      <a:pt x="3142587" y="8127550"/>
                    </a:lnTo>
                    <a:lnTo>
                      <a:pt x="3143945" y="8154214"/>
                    </a:lnTo>
                    <a:lnTo>
                      <a:pt x="3161190" y="8183759"/>
                    </a:lnTo>
                    <a:lnTo>
                      <a:pt x="3181892" y="8203353"/>
                    </a:lnTo>
                    <a:lnTo>
                      <a:pt x="3222761" y="8202693"/>
                    </a:lnTo>
                    <a:lnTo>
                      <a:pt x="3264190" y="8184939"/>
                    </a:lnTo>
                    <a:lnTo>
                      <a:pt x="3287602" y="8160525"/>
                    </a:lnTo>
                    <a:lnTo>
                      <a:pt x="3298589" y="8133130"/>
                    </a:lnTo>
                    <a:lnTo>
                      <a:pt x="3298286" y="8088812"/>
                    </a:lnTo>
                    <a:lnTo>
                      <a:pt x="3288644" y="8056405"/>
                    </a:lnTo>
                    <a:lnTo>
                      <a:pt x="3303924" y="8021782"/>
                    </a:lnTo>
                    <a:lnTo>
                      <a:pt x="3329302" y="8005670"/>
                    </a:lnTo>
                    <a:lnTo>
                      <a:pt x="3355615" y="8010900"/>
                    </a:lnTo>
                    <a:lnTo>
                      <a:pt x="3379759" y="8022659"/>
                    </a:lnTo>
                    <a:lnTo>
                      <a:pt x="3387811" y="8045840"/>
                    </a:lnTo>
                    <a:lnTo>
                      <a:pt x="3395059" y="8072107"/>
                    </a:lnTo>
                    <a:lnTo>
                      <a:pt x="3403487" y="8096575"/>
                    </a:lnTo>
                    <a:lnTo>
                      <a:pt x="3416460" y="8120507"/>
                    </a:lnTo>
                    <a:lnTo>
                      <a:pt x="3445385" y="8133314"/>
                    </a:lnTo>
                    <a:lnTo>
                      <a:pt x="3481103" y="8136909"/>
                    </a:lnTo>
                    <a:lnTo>
                      <a:pt x="3521206" y="8135168"/>
                    </a:lnTo>
                    <a:lnTo>
                      <a:pt x="3561000" y="8131962"/>
                    </a:lnTo>
                    <a:lnTo>
                      <a:pt x="3596744" y="8132965"/>
                    </a:lnTo>
                    <a:lnTo>
                      <a:pt x="3618046" y="8150692"/>
                    </a:lnTo>
                    <a:lnTo>
                      <a:pt x="3623573" y="8172772"/>
                    </a:lnTo>
                    <a:lnTo>
                      <a:pt x="3622214" y="8201334"/>
                    </a:lnTo>
                    <a:lnTo>
                      <a:pt x="3620855" y="8225821"/>
                    </a:lnTo>
                    <a:lnTo>
                      <a:pt x="3629014" y="8247584"/>
                    </a:lnTo>
                    <a:lnTo>
                      <a:pt x="3652122" y="8259726"/>
                    </a:lnTo>
                    <a:lnTo>
                      <a:pt x="3690240" y="8265357"/>
                    </a:lnTo>
                    <a:lnTo>
                      <a:pt x="3713264" y="8267165"/>
                    </a:lnTo>
                    <a:lnTo>
                      <a:pt x="3736471" y="8270706"/>
                    </a:lnTo>
                    <a:lnTo>
                      <a:pt x="3759678" y="8274241"/>
                    </a:lnTo>
                    <a:lnTo>
                      <a:pt x="3783196" y="8279477"/>
                    </a:lnTo>
                    <a:lnTo>
                      <a:pt x="3803119" y="8289746"/>
                    </a:lnTo>
                    <a:lnTo>
                      <a:pt x="3823048" y="8300020"/>
                    </a:lnTo>
                    <a:lnTo>
                      <a:pt x="3838804" y="8315690"/>
                    </a:lnTo>
                    <a:lnTo>
                      <a:pt x="3848003" y="8338713"/>
                    </a:lnTo>
                    <a:lnTo>
                      <a:pt x="3850721" y="8367282"/>
                    </a:lnTo>
                    <a:lnTo>
                      <a:pt x="3849362" y="8393121"/>
                    </a:lnTo>
                    <a:lnTo>
                      <a:pt x="3844489" y="8425521"/>
                    </a:lnTo>
                    <a:lnTo>
                      <a:pt x="3841185" y="8460956"/>
                    </a:lnTo>
                    <a:lnTo>
                      <a:pt x="3853444" y="8482897"/>
                    </a:lnTo>
                    <a:lnTo>
                      <a:pt x="3872200" y="8498844"/>
                    </a:lnTo>
                    <a:lnTo>
                      <a:pt x="3909785" y="8516287"/>
                    </a:lnTo>
                    <a:lnTo>
                      <a:pt x="3940200" y="8522038"/>
                    </a:lnTo>
                    <a:lnTo>
                      <a:pt x="3996158" y="8542601"/>
                    </a:lnTo>
                    <a:lnTo>
                      <a:pt x="4032272" y="8560427"/>
                    </a:lnTo>
                    <a:lnTo>
                      <a:pt x="4068359" y="8575390"/>
                    </a:lnTo>
                    <a:lnTo>
                      <a:pt x="4118566" y="8562221"/>
                    </a:lnTo>
                    <a:lnTo>
                      <a:pt x="4152688" y="8538664"/>
                    </a:lnTo>
                    <a:lnTo>
                      <a:pt x="4186811" y="8515113"/>
                    </a:lnTo>
                    <a:lnTo>
                      <a:pt x="4221117" y="8487955"/>
                    </a:lnTo>
                    <a:lnTo>
                      <a:pt x="4260443" y="8471528"/>
                    </a:lnTo>
                    <a:lnTo>
                      <a:pt x="4293852" y="8463073"/>
                    </a:lnTo>
                    <a:lnTo>
                      <a:pt x="4315912" y="8458410"/>
                    </a:lnTo>
                    <a:lnTo>
                      <a:pt x="4347482" y="8451743"/>
                    </a:lnTo>
                    <a:lnTo>
                      <a:pt x="4374329" y="8449382"/>
                    </a:lnTo>
                    <a:lnTo>
                      <a:pt x="4400248" y="8454328"/>
                    </a:lnTo>
                    <a:lnTo>
                      <a:pt x="4426166" y="8459280"/>
                    </a:lnTo>
                    <a:lnTo>
                      <a:pt x="4450330" y="8471501"/>
                    </a:lnTo>
                    <a:lnTo>
                      <a:pt x="4475054" y="8492413"/>
                    </a:lnTo>
                    <a:lnTo>
                      <a:pt x="4510422" y="8522341"/>
                    </a:lnTo>
                    <a:lnTo>
                      <a:pt x="4599302" y="8540662"/>
                    </a:lnTo>
                    <a:lnTo>
                      <a:pt x="4620597" y="8540022"/>
                    </a:lnTo>
                    <a:lnTo>
                      <a:pt x="4650881" y="8507101"/>
                    </a:lnTo>
                    <a:lnTo>
                      <a:pt x="4647055" y="8476546"/>
                    </a:lnTo>
                    <a:lnTo>
                      <a:pt x="4642360" y="8446170"/>
                    </a:lnTo>
                    <a:lnTo>
                      <a:pt x="4637374" y="8416341"/>
                    </a:lnTo>
                    <a:lnTo>
                      <a:pt x="4636458" y="8388946"/>
                    </a:lnTo>
                    <a:lnTo>
                      <a:pt x="4643718" y="8365917"/>
                    </a:lnTo>
                    <a:lnTo>
                      <a:pt x="4671285" y="8360423"/>
                    </a:lnTo>
                    <a:lnTo>
                      <a:pt x="4693121" y="8367645"/>
                    </a:lnTo>
                    <a:lnTo>
                      <a:pt x="4713090" y="8380881"/>
                    </a:lnTo>
                    <a:lnTo>
                      <a:pt x="4733060" y="8394116"/>
                    </a:lnTo>
                    <a:lnTo>
                      <a:pt x="4750820" y="8412846"/>
                    </a:lnTo>
                    <a:lnTo>
                      <a:pt x="4767499" y="8432565"/>
                    </a:lnTo>
                    <a:lnTo>
                      <a:pt x="4784177" y="8452290"/>
                    </a:lnTo>
                    <a:lnTo>
                      <a:pt x="4800136" y="8473018"/>
                    </a:lnTo>
                    <a:lnTo>
                      <a:pt x="4817824" y="8486973"/>
                    </a:lnTo>
                    <a:lnTo>
                      <a:pt x="4836487" y="8498692"/>
                    </a:lnTo>
                    <a:lnTo>
                      <a:pt x="4866171" y="8506678"/>
                    </a:lnTo>
                    <a:lnTo>
                      <a:pt x="5019134" y="8480180"/>
                    </a:lnTo>
                    <a:lnTo>
                      <a:pt x="5049681" y="8485726"/>
                    </a:lnTo>
                    <a:lnTo>
                      <a:pt x="5086375" y="8509818"/>
                    </a:lnTo>
                    <a:lnTo>
                      <a:pt x="5101438" y="8529312"/>
                    </a:lnTo>
                    <a:lnTo>
                      <a:pt x="5110268" y="8550911"/>
                    </a:lnTo>
                    <a:lnTo>
                      <a:pt x="5119099" y="8572502"/>
                    </a:lnTo>
                    <a:lnTo>
                      <a:pt x="5122073" y="8596547"/>
                    </a:lnTo>
                    <a:lnTo>
                      <a:pt x="5122509" y="8621641"/>
                    </a:lnTo>
                    <a:lnTo>
                      <a:pt x="5122970" y="8646734"/>
                    </a:lnTo>
                    <a:lnTo>
                      <a:pt x="5119890" y="8672639"/>
                    </a:lnTo>
                    <a:lnTo>
                      <a:pt x="5117068" y="8697812"/>
                    </a:lnTo>
                    <a:lnTo>
                      <a:pt x="5114298" y="8722503"/>
                    </a:lnTo>
                    <a:lnTo>
                      <a:pt x="5111278" y="8745691"/>
                    </a:lnTo>
                    <a:lnTo>
                      <a:pt x="5110268" y="8767177"/>
                    </a:lnTo>
                    <a:lnTo>
                      <a:pt x="5129875" y="8737487"/>
                    </a:lnTo>
                    <a:lnTo>
                      <a:pt x="5149864" y="8722200"/>
                    </a:lnTo>
                    <a:lnTo>
                      <a:pt x="5174199" y="8703252"/>
                    </a:lnTo>
                    <a:lnTo>
                      <a:pt x="5198534" y="8684299"/>
                    </a:lnTo>
                    <a:lnTo>
                      <a:pt x="5227110" y="8661830"/>
                    </a:lnTo>
                    <a:lnTo>
                      <a:pt x="5254453" y="8639321"/>
                    </a:lnTo>
                    <a:lnTo>
                      <a:pt x="5281795" y="8616813"/>
                    </a:lnTo>
                    <a:lnTo>
                      <a:pt x="5307442" y="8593989"/>
                    </a:lnTo>
                    <a:lnTo>
                      <a:pt x="5329259" y="8572674"/>
                    </a:lnTo>
                    <a:lnTo>
                      <a:pt x="5351082" y="8551352"/>
                    </a:lnTo>
                    <a:lnTo>
                      <a:pt x="5369098" y="8532286"/>
                    </a:lnTo>
                    <a:lnTo>
                      <a:pt x="5381504" y="8507727"/>
                    </a:lnTo>
                    <a:lnTo>
                      <a:pt x="5390472" y="8486980"/>
                    </a:lnTo>
                    <a:lnTo>
                      <a:pt x="5404071" y="8458417"/>
                    </a:lnTo>
                    <a:lnTo>
                      <a:pt x="5415019" y="8439397"/>
                    </a:lnTo>
                    <a:lnTo>
                      <a:pt x="5428492" y="8423028"/>
                    </a:lnTo>
                    <a:lnTo>
                      <a:pt x="5444880" y="8409449"/>
                    </a:lnTo>
                    <a:lnTo>
                      <a:pt x="5467877" y="8403943"/>
                    </a:lnTo>
                    <a:lnTo>
                      <a:pt x="5498055" y="8406798"/>
                    </a:lnTo>
                    <a:lnTo>
                      <a:pt x="5530568" y="8412173"/>
                    </a:lnTo>
                    <a:lnTo>
                      <a:pt x="5561261" y="8414489"/>
                    </a:lnTo>
                    <a:lnTo>
                      <a:pt x="5584218" y="8407135"/>
                    </a:lnTo>
                    <a:lnTo>
                      <a:pt x="5594499" y="8383611"/>
                    </a:lnTo>
                    <a:lnTo>
                      <a:pt x="5605381" y="8289759"/>
                    </a:lnTo>
                    <a:lnTo>
                      <a:pt x="5590417" y="8258473"/>
                    </a:lnTo>
                    <a:lnTo>
                      <a:pt x="5550669" y="8251588"/>
                    </a:lnTo>
                    <a:lnTo>
                      <a:pt x="5527851" y="8247591"/>
                    </a:lnTo>
                    <a:lnTo>
                      <a:pt x="5505033" y="8243594"/>
                    </a:lnTo>
                    <a:lnTo>
                      <a:pt x="5484292" y="8237178"/>
                    </a:lnTo>
                    <a:lnTo>
                      <a:pt x="5453038" y="8185019"/>
                    </a:lnTo>
                    <a:lnTo>
                      <a:pt x="5431275" y="8146933"/>
                    </a:lnTo>
                    <a:lnTo>
                      <a:pt x="5409512" y="8108848"/>
                    </a:lnTo>
                    <a:lnTo>
                      <a:pt x="5387749" y="8070762"/>
                    </a:lnTo>
                    <a:lnTo>
                      <a:pt x="5362992" y="8038222"/>
                    </a:lnTo>
                    <a:lnTo>
                      <a:pt x="5344222" y="8021795"/>
                    </a:lnTo>
                    <a:lnTo>
                      <a:pt x="5325460" y="8005373"/>
                    </a:lnTo>
                    <a:lnTo>
                      <a:pt x="5303479" y="7988517"/>
                    </a:lnTo>
                    <a:lnTo>
                      <a:pt x="5283015" y="7972827"/>
                    </a:lnTo>
                    <a:lnTo>
                      <a:pt x="5262544" y="7957145"/>
                    </a:lnTo>
                    <a:lnTo>
                      <a:pt x="5243314" y="7942366"/>
                    </a:lnTo>
                    <a:lnTo>
                      <a:pt x="5213901" y="7913526"/>
                    </a:lnTo>
                    <a:lnTo>
                      <a:pt x="5201403" y="7887140"/>
                    </a:lnTo>
                    <a:lnTo>
                      <a:pt x="5230744" y="7857489"/>
                    </a:lnTo>
                    <a:lnTo>
                      <a:pt x="5259893" y="7861294"/>
                    </a:lnTo>
                    <a:lnTo>
                      <a:pt x="5286550" y="7870850"/>
                    </a:lnTo>
                    <a:lnTo>
                      <a:pt x="5312119" y="7878936"/>
                    </a:lnTo>
                    <a:lnTo>
                      <a:pt x="5342864" y="7872176"/>
                    </a:lnTo>
                    <a:lnTo>
                      <a:pt x="5381253" y="7844616"/>
                    </a:lnTo>
                    <a:lnTo>
                      <a:pt x="5409512" y="7809610"/>
                    </a:lnTo>
                    <a:lnTo>
                      <a:pt x="5436089" y="7776695"/>
                    </a:lnTo>
                    <a:lnTo>
                      <a:pt x="5465364" y="7734547"/>
                    </a:lnTo>
                    <a:lnTo>
                      <a:pt x="5478884" y="7693995"/>
                    </a:lnTo>
                    <a:lnTo>
                      <a:pt x="5455122" y="7646650"/>
                    </a:lnTo>
                    <a:lnTo>
                      <a:pt x="5414992" y="7621622"/>
                    </a:lnTo>
                    <a:lnTo>
                      <a:pt x="5378219" y="7597419"/>
                    </a:lnTo>
                    <a:lnTo>
                      <a:pt x="5341446" y="7573210"/>
                    </a:lnTo>
                    <a:lnTo>
                      <a:pt x="5307562" y="7550160"/>
                    </a:lnTo>
                    <a:lnTo>
                      <a:pt x="5296607" y="7529406"/>
                    </a:lnTo>
                    <a:lnTo>
                      <a:pt x="5307423" y="7491492"/>
                    </a:lnTo>
                    <a:lnTo>
                      <a:pt x="5350144" y="7424672"/>
                    </a:lnTo>
                    <a:lnTo>
                      <a:pt x="5370061" y="7412432"/>
                    </a:lnTo>
                    <a:lnTo>
                      <a:pt x="5402402" y="7408792"/>
                    </a:lnTo>
                    <a:lnTo>
                      <a:pt x="5435648" y="7418790"/>
                    </a:lnTo>
                    <a:lnTo>
                      <a:pt x="5465272" y="7430113"/>
                    </a:lnTo>
                    <a:lnTo>
                      <a:pt x="5508739" y="7441470"/>
                    </a:lnTo>
                    <a:lnTo>
                      <a:pt x="5590792" y="7458867"/>
                    </a:lnTo>
                    <a:lnTo>
                      <a:pt x="5673380" y="7470916"/>
                    </a:lnTo>
                    <a:lnTo>
                      <a:pt x="5714678" y="7476944"/>
                    </a:lnTo>
                    <a:lnTo>
                      <a:pt x="5756437" y="7480940"/>
                    </a:lnTo>
                    <a:lnTo>
                      <a:pt x="5793078" y="7483163"/>
                    </a:lnTo>
                    <a:lnTo>
                      <a:pt x="5829726" y="7485385"/>
                    </a:lnTo>
                    <a:lnTo>
                      <a:pt x="5860485" y="7486052"/>
                    </a:lnTo>
                    <a:lnTo>
                      <a:pt x="5882854" y="7481804"/>
                    </a:lnTo>
                    <a:lnTo>
                      <a:pt x="5915341" y="7469386"/>
                    </a:lnTo>
                    <a:lnTo>
                      <a:pt x="5937421" y="7445249"/>
                    </a:lnTo>
                    <a:lnTo>
                      <a:pt x="5950861" y="7412432"/>
                    </a:lnTo>
                    <a:lnTo>
                      <a:pt x="5962086" y="7378996"/>
                    </a:lnTo>
                    <a:lnTo>
                      <a:pt x="5963075" y="7340627"/>
                    </a:lnTo>
                    <a:lnTo>
                      <a:pt x="5959026" y="7313140"/>
                    </a:lnTo>
                    <a:lnTo>
                      <a:pt x="5951890" y="7264719"/>
                    </a:lnTo>
                    <a:lnTo>
                      <a:pt x="5926974" y="7221391"/>
                    </a:lnTo>
                    <a:lnTo>
                      <a:pt x="5903259" y="7179837"/>
                    </a:lnTo>
                    <a:lnTo>
                      <a:pt x="5887636" y="7152508"/>
                    </a:lnTo>
                    <a:lnTo>
                      <a:pt x="5878773" y="7111830"/>
                    </a:lnTo>
                    <a:lnTo>
                      <a:pt x="5904617" y="7075334"/>
                    </a:lnTo>
                    <a:lnTo>
                      <a:pt x="6017048" y="7093931"/>
                    </a:lnTo>
                    <a:lnTo>
                      <a:pt x="6120634" y="7097736"/>
                    </a:lnTo>
                    <a:lnTo>
                      <a:pt x="6214743" y="7128152"/>
                    </a:lnTo>
                    <a:lnTo>
                      <a:pt x="6246669" y="7108064"/>
                    </a:lnTo>
                    <a:lnTo>
                      <a:pt x="6240588" y="7081903"/>
                    </a:lnTo>
                    <a:lnTo>
                      <a:pt x="6219102" y="7059097"/>
                    </a:lnTo>
                    <a:lnTo>
                      <a:pt x="6201138" y="7047899"/>
                    </a:lnTo>
                    <a:lnTo>
                      <a:pt x="6165216" y="7025503"/>
                    </a:lnTo>
                    <a:lnTo>
                      <a:pt x="6118028" y="7003139"/>
                    </a:lnTo>
                    <a:lnTo>
                      <a:pt x="6101845" y="6973087"/>
                    </a:lnTo>
                    <a:lnTo>
                      <a:pt x="6102109" y="6943120"/>
                    </a:lnTo>
                    <a:lnTo>
                      <a:pt x="6132749" y="6925886"/>
                    </a:lnTo>
                    <a:lnTo>
                      <a:pt x="6152112" y="6913640"/>
                    </a:lnTo>
                    <a:lnTo>
                      <a:pt x="6167135" y="6894198"/>
                    </a:lnTo>
                    <a:lnTo>
                      <a:pt x="6174310" y="6873134"/>
                    </a:lnTo>
                    <a:lnTo>
                      <a:pt x="6167794" y="6848436"/>
                    </a:lnTo>
                    <a:lnTo>
                      <a:pt x="6157611" y="6823468"/>
                    </a:lnTo>
                    <a:lnTo>
                      <a:pt x="6147442" y="6798500"/>
                    </a:lnTo>
                    <a:lnTo>
                      <a:pt x="6133494" y="6773545"/>
                    </a:lnTo>
                    <a:lnTo>
                      <a:pt x="6129049" y="6751372"/>
                    </a:lnTo>
                    <a:lnTo>
                      <a:pt x="6164417" y="6741850"/>
                    </a:lnTo>
                    <a:lnTo>
                      <a:pt x="6190513" y="6774092"/>
                    </a:lnTo>
                    <a:lnTo>
                      <a:pt x="6215693" y="6797767"/>
                    </a:lnTo>
                    <a:lnTo>
                      <a:pt x="6241947" y="6815297"/>
                    </a:lnTo>
                    <a:lnTo>
                      <a:pt x="6268201" y="6832832"/>
                    </a:lnTo>
                    <a:lnTo>
                      <a:pt x="6295478" y="6844301"/>
                    </a:lnTo>
                    <a:lnTo>
                      <a:pt x="6323559" y="6853382"/>
                    </a:lnTo>
                    <a:lnTo>
                      <a:pt x="6379721" y="6871558"/>
                    </a:lnTo>
                    <a:lnTo>
                      <a:pt x="6440441" y="6878997"/>
                    </a:lnTo>
                    <a:lnTo>
                      <a:pt x="6513986" y="6900991"/>
                    </a:lnTo>
                    <a:lnTo>
                      <a:pt x="6541831" y="6865055"/>
                    </a:lnTo>
                    <a:lnTo>
                      <a:pt x="6554242" y="6837211"/>
                    </a:lnTo>
                    <a:lnTo>
                      <a:pt x="6577917" y="6815297"/>
                    </a:lnTo>
                    <a:lnTo>
                      <a:pt x="6604079" y="6803973"/>
                    </a:lnTo>
                    <a:lnTo>
                      <a:pt x="6647033" y="6791561"/>
                    </a:lnTo>
                    <a:lnTo>
                      <a:pt x="6687729" y="6777382"/>
                    </a:lnTo>
                    <a:lnTo>
                      <a:pt x="6720737" y="6762254"/>
                    </a:lnTo>
                    <a:lnTo>
                      <a:pt x="6741907" y="6752540"/>
                    </a:lnTo>
                    <a:lnTo>
                      <a:pt x="6763010" y="6737536"/>
                    </a:lnTo>
                    <a:lnTo>
                      <a:pt x="6784668" y="6729609"/>
                    </a:lnTo>
                    <a:lnTo>
                      <a:pt x="6820603" y="6716472"/>
                    </a:lnTo>
                    <a:lnTo>
                      <a:pt x="6861604" y="6713880"/>
                    </a:lnTo>
                    <a:lnTo>
                      <a:pt x="6898925" y="6699682"/>
                    </a:lnTo>
                    <a:lnTo>
                      <a:pt x="6926340" y="6674304"/>
                    </a:lnTo>
                    <a:lnTo>
                      <a:pt x="6935968" y="6636304"/>
                    </a:lnTo>
                    <a:lnTo>
                      <a:pt x="6961491" y="6611270"/>
                    </a:lnTo>
                    <a:lnTo>
                      <a:pt x="7012370" y="6595376"/>
                    </a:lnTo>
                    <a:lnTo>
                      <a:pt x="7069713" y="6599030"/>
                    </a:lnTo>
                    <a:lnTo>
                      <a:pt x="7121997" y="6599030"/>
                    </a:lnTo>
                    <a:lnTo>
                      <a:pt x="7165247" y="6599030"/>
                    </a:lnTo>
                    <a:lnTo>
                      <a:pt x="7190664" y="6597579"/>
                    </a:lnTo>
                    <a:lnTo>
                      <a:pt x="7213126" y="6603105"/>
                    </a:lnTo>
                    <a:lnTo>
                      <a:pt x="7235594" y="6608632"/>
                    </a:lnTo>
                    <a:lnTo>
                      <a:pt x="7254106" y="6621209"/>
                    </a:lnTo>
                    <a:lnTo>
                      <a:pt x="7283856" y="6650714"/>
                    </a:lnTo>
                    <a:lnTo>
                      <a:pt x="7317951" y="6684520"/>
                    </a:lnTo>
                    <a:lnTo>
                      <a:pt x="7351335" y="6722375"/>
                    </a:lnTo>
                    <a:lnTo>
                      <a:pt x="7381790" y="6759524"/>
                    </a:lnTo>
                    <a:lnTo>
                      <a:pt x="7368185" y="6813938"/>
                    </a:lnTo>
                    <a:lnTo>
                      <a:pt x="7388484" y="6834679"/>
                    </a:lnTo>
                    <a:lnTo>
                      <a:pt x="7435499" y="6840423"/>
                    </a:lnTo>
                    <a:lnTo>
                      <a:pt x="7525566" y="6844901"/>
                    </a:lnTo>
                    <a:lnTo>
                      <a:pt x="7559978" y="6861540"/>
                    </a:lnTo>
                    <a:lnTo>
                      <a:pt x="7602304" y="6890479"/>
                    </a:lnTo>
                    <a:lnTo>
                      <a:pt x="7628934" y="6914959"/>
                    </a:lnTo>
                    <a:lnTo>
                      <a:pt x="7656256" y="6950360"/>
                    </a:lnTo>
                    <a:lnTo>
                      <a:pt x="7687834" y="6977155"/>
                    </a:lnTo>
                    <a:lnTo>
                      <a:pt x="7720248" y="7002308"/>
                    </a:lnTo>
                    <a:lnTo>
                      <a:pt x="7756070" y="7014582"/>
                    </a:lnTo>
                    <a:lnTo>
                      <a:pt x="7795291" y="7008442"/>
                    </a:lnTo>
                    <a:lnTo>
                      <a:pt x="7821387" y="6985386"/>
                    </a:lnTo>
                    <a:lnTo>
                      <a:pt x="7829914" y="6921560"/>
                    </a:lnTo>
                    <a:lnTo>
                      <a:pt x="7829914" y="6849004"/>
                    </a:lnTo>
                    <a:lnTo>
                      <a:pt x="7849699" y="6796251"/>
                    </a:lnTo>
                    <a:lnTo>
                      <a:pt x="7860923" y="6766323"/>
                    </a:lnTo>
                    <a:lnTo>
                      <a:pt x="7872814" y="6747507"/>
                    </a:lnTo>
                    <a:lnTo>
                      <a:pt x="7897307" y="6717138"/>
                    </a:lnTo>
                    <a:lnTo>
                      <a:pt x="7919071" y="6692876"/>
                    </a:lnTo>
                    <a:lnTo>
                      <a:pt x="7936218" y="6666746"/>
                    </a:lnTo>
                    <a:lnTo>
                      <a:pt x="7939468" y="6645267"/>
                    </a:lnTo>
                    <a:lnTo>
                      <a:pt x="7942727" y="6623794"/>
                    </a:lnTo>
                    <a:lnTo>
                      <a:pt x="7942146" y="6595291"/>
                    </a:lnTo>
                    <a:lnTo>
                      <a:pt x="7935393" y="6552774"/>
                    </a:lnTo>
                    <a:lnTo>
                      <a:pt x="7919071" y="6454839"/>
                    </a:lnTo>
                    <a:lnTo>
                      <a:pt x="7910807" y="6402984"/>
                    </a:lnTo>
                    <a:lnTo>
                      <a:pt x="7934463" y="6295975"/>
                    </a:lnTo>
                    <a:lnTo>
                      <a:pt x="7928593" y="6234490"/>
                    </a:lnTo>
                    <a:lnTo>
                      <a:pt x="7925038" y="6198363"/>
                    </a:lnTo>
                    <a:lnTo>
                      <a:pt x="7943532" y="6150583"/>
                    </a:lnTo>
                    <a:lnTo>
                      <a:pt x="7963870" y="6124164"/>
                    </a:lnTo>
                    <a:lnTo>
                      <a:pt x="8050138" y="6099169"/>
                    </a:lnTo>
                    <a:lnTo>
                      <a:pt x="8085018" y="6068549"/>
                    </a:lnTo>
                    <a:lnTo>
                      <a:pt x="8104790" y="6051172"/>
                    </a:lnTo>
                    <a:lnTo>
                      <a:pt x="8121436" y="6028756"/>
                    </a:lnTo>
                    <a:lnTo>
                      <a:pt x="8140785" y="6010059"/>
                    </a:lnTo>
                    <a:lnTo>
                      <a:pt x="8160134" y="5991356"/>
                    </a:lnTo>
                    <a:lnTo>
                      <a:pt x="8182418" y="5976181"/>
                    </a:lnTo>
                    <a:lnTo>
                      <a:pt x="8210156" y="5971973"/>
                    </a:lnTo>
                    <a:lnTo>
                      <a:pt x="8248295" y="5966183"/>
                    </a:lnTo>
                    <a:lnTo>
                      <a:pt x="8270692" y="5973483"/>
                    </a:lnTo>
                    <a:lnTo>
                      <a:pt x="8290404" y="5982855"/>
                    </a:lnTo>
                    <a:lnTo>
                      <a:pt x="8310116" y="5992226"/>
                    </a:lnTo>
                    <a:lnTo>
                      <a:pt x="8350251" y="6003253"/>
                    </a:lnTo>
                    <a:lnTo>
                      <a:pt x="8374547" y="5985849"/>
                    </a:lnTo>
                    <a:lnTo>
                      <a:pt x="8400538" y="5943068"/>
                    </a:lnTo>
                    <a:lnTo>
                      <a:pt x="8414182" y="5917566"/>
                    </a:lnTo>
                    <a:lnTo>
                      <a:pt x="8403856" y="5895855"/>
                    </a:lnTo>
                    <a:lnTo>
                      <a:pt x="8378266" y="5879427"/>
                    </a:lnTo>
                    <a:lnTo>
                      <a:pt x="8343453" y="5864516"/>
                    </a:lnTo>
                    <a:lnTo>
                      <a:pt x="8307570" y="5849737"/>
                    </a:lnTo>
                    <a:lnTo>
                      <a:pt x="8275960" y="5830329"/>
                    </a:lnTo>
                    <a:lnTo>
                      <a:pt x="8255041" y="5803308"/>
                    </a:lnTo>
                    <a:lnTo>
                      <a:pt x="8255041" y="5781545"/>
                    </a:lnTo>
                    <a:lnTo>
                      <a:pt x="8270803" y="5751486"/>
                    </a:lnTo>
                    <a:lnTo>
                      <a:pt x="8287844" y="5729301"/>
                    </a:lnTo>
                    <a:lnTo>
                      <a:pt x="8305367" y="5712174"/>
                    </a:lnTo>
                    <a:lnTo>
                      <a:pt x="8322890" y="5695047"/>
                    </a:lnTo>
                    <a:lnTo>
                      <a:pt x="8340287" y="5682727"/>
                    </a:lnTo>
                    <a:lnTo>
                      <a:pt x="8390587" y="5652728"/>
                    </a:lnTo>
                    <a:lnTo>
                      <a:pt x="8420534" y="5641899"/>
                    </a:lnTo>
                    <a:lnTo>
                      <a:pt x="8435947" y="5615598"/>
                    </a:lnTo>
                    <a:lnTo>
                      <a:pt x="8444769" y="5555920"/>
                    </a:lnTo>
                    <a:lnTo>
                      <a:pt x="8447138" y="5532503"/>
                    </a:lnTo>
                    <a:lnTo>
                      <a:pt x="8442752" y="5508147"/>
                    </a:lnTo>
                    <a:lnTo>
                      <a:pt x="8429595" y="5489220"/>
                    </a:lnTo>
                    <a:lnTo>
                      <a:pt x="8409916" y="5466632"/>
                    </a:lnTo>
                    <a:lnTo>
                      <a:pt x="8382903" y="5441493"/>
                    </a:lnTo>
                    <a:lnTo>
                      <a:pt x="8347865" y="5419175"/>
                    </a:lnTo>
                    <a:lnTo>
                      <a:pt x="8314567" y="5395803"/>
                    </a:lnTo>
                    <a:lnTo>
                      <a:pt x="8294492" y="5368045"/>
                    </a:lnTo>
                    <a:lnTo>
                      <a:pt x="8289743" y="5336311"/>
                    </a:lnTo>
                    <a:lnTo>
                      <a:pt x="8305373" y="5314996"/>
                    </a:lnTo>
                    <a:lnTo>
                      <a:pt x="8319895" y="5295191"/>
                    </a:lnTo>
                    <a:lnTo>
                      <a:pt x="8351617" y="5278268"/>
                    </a:lnTo>
                    <a:lnTo>
                      <a:pt x="8393145" y="5269708"/>
                    </a:lnTo>
                    <a:lnTo>
                      <a:pt x="8441749" y="5263965"/>
                    </a:lnTo>
                    <a:lnTo>
                      <a:pt x="8470827" y="5263008"/>
                    </a:lnTo>
                    <a:lnTo>
                      <a:pt x="8499878" y="5260588"/>
                    </a:lnTo>
                    <a:lnTo>
                      <a:pt x="8564956" y="5255167"/>
                    </a:lnTo>
                    <a:lnTo>
                      <a:pt x="8640725" y="5229242"/>
                    </a:lnTo>
                    <a:lnTo>
                      <a:pt x="8705268" y="5227943"/>
                    </a:lnTo>
                    <a:lnTo>
                      <a:pt x="8724354" y="5214826"/>
                    </a:lnTo>
                    <a:lnTo>
                      <a:pt x="8732432" y="5194810"/>
                    </a:lnTo>
                    <a:lnTo>
                      <a:pt x="8732467" y="5170811"/>
                    </a:lnTo>
                    <a:lnTo>
                      <a:pt x="8731265" y="5146628"/>
                    </a:lnTo>
                    <a:lnTo>
                      <a:pt x="8722903" y="5120704"/>
                    </a:lnTo>
                    <a:lnTo>
                      <a:pt x="8716849" y="5080316"/>
                    </a:lnTo>
                    <a:lnTo>
                      <a:pt x="8720424" y="5017836"/>
                    </a:lnTo>
                    <a:lnTo>
                      <a:pt x="8697994" y="4989550"/>
                    </a:lnTo>
                    <a:lnTo>
                      <a:pt x="8671259" y="4965426"/>
                    </a:lnTo>
                    <a:lnTo>
                      <a:pt x="8670481" y="4936851"/>
                    </a:lnTo>
                    <a:lnTo>
                      <a:pt x="8664065" y="4907167"/>
                    </a:lnTo>
                    <a:lnTo>
                      <a:pt x="8653578" y="4878373"/>
                    </a:lnTo>
                    <a:lnTo>
                      <a:pt x="8643092" y="4849581"/>
                    </a:lnTo>
                    <a:lnTo>
                      <a:pt x="8627766" y="4821684"/>
                    </a:lnTo>
                    <a:lnTo>
                      <a:pt x="8610051" y="4795403"/>
                    </a:lnTo>
                    <a:lnTo>
                      <a:pt x="8592337" y="4769123"/>
                    </a:lnTo>
                    <a:lnTo>
                      <a:pt x="8572665" y="4744345"/>
                    </a:lnTo>
                    <a:lnTo>
                      <a:pt x="8550203" y="4723308"/>
                    </a:lnTo>
                    <a:lnTo>
                      <a:pt x="8527741" y="4702276"/>
                    </a:lnTo>
                    <a:lnTo>
                      <a:pt x="8502839" y="4684674"/>
                    </a:lnTo>
                    <a:lnTo>
                      <a:pt x="8478115" y="4671623"/>
                    </a:lnTo>
                    <a:lnTo>
                      <a:pt x="8449485" y="4672982"/>
                    </a:lnTo>
                    <a:lnTo>
                      <a:pt x="8428823" y="4678000"/>
                    </a:lnTo>
                    <a:lnTo>
                      <a:pt x="8396819" y="4689726"/>
                    </a:lnTo>
                    <a:lnTo>
                      <a:pt x="8376098" y="4704269"/>
                    </a:lnTo>
                    <a:lnTo>
                      <a:pt x="8357624" y="4718553"/>
                    </a:lnTo>
                    <a:lnTo>
                      <a:pt x="8320330" y="4731472"/>
                    </a:lnTo>
                    <a:lnTo>
                      <a:pt x="8283519" y="4709347"/>
                    </a:lnTo>
                    <a:lnTo>
                      <a:pt x="8238528" y="4688625"/>
                    </a:lnTo>
                    <a:lnTo>
                      <a:pt x="8196550" y="4678423"/>
                    </a:lnTo>
                    <a:lnTo>
                      <a:pt x="8208534" y="4633281"/>
                    </a:lnTo>
                    <a:lnTo>
                      <a:pt x="8221823" y="4546953"/>
                    </a:lnTo>
                    <a:lnTo>
                      <a:pt x="8216955" y="4502959"/>
                    </a:lnTo>
                    <a:lnTo>
                      <a:pt x="8209009" y="4459855"/>
                    </a:lnTo>
                    <a:lnTo>
                      <a:pt x="8289131" y="4450542"/>
                    </a:lnTo>
                    <a:lnTo>
                      <a:pt x="8366428" y="4438672"/>
                    </a:lnTo>
                    <a:lnTo>
                      <a:pt x="8435947" y="4419988"/>
                    </a:lnTo>
                    <a:lnTo>
                      <a:pt x="8480284" y="4408071"/>
                    </a:lnTo>
                    <a:lnTo>
                      <a:pt x="8518356" y="4397045"/>
                    </a:lnTo>
                    <a:lnTo>
                      <a:pt x="8547479" y="4376455"/>
                    </a:lnTo>
                    <a:lnTo>
                      <a:pt x="8574275" y="4353512"/>
                    </a:lnTo>
                    <a:lnTo>
                      <a:pt x="8594145" y="4320511"/>
                    </a:lnTo>
                    <a:lnTo>
                      <a:pt x="8602580" y="4299855"/>
                    </a:lnTo>
                    <a:lnTo>
                      <a:pt x="8607328" y="4274445"/>
                    </a:lnTo>
                    <a:lnTo>
                      <a:pt x="8605977" y="4231387"/>
                    </a:lnTo>
                    <a:lnTo>
                      <a:pt x="8608680" y="4192629"/>
                    </a:lnTo>
                    <a:lnTo>
                      <a:pt x="8614260" y="4171241"/>
                    </a:lnTo>
                    <a:lnTo>
                      <a:pt x="8614002" y="4130093"/>
                    </a:lnTo>
                    <a:lnTo>
                      <a:pt x="8591005" y="4094898"/>
                    </a:lnTo>
                    <a:lnTo>
                      <a:pt x="8551371" y="4060106"/>
                    </a:lnTo>
                    <a:lnTo>
                      <a:pt x="8509440" y="4026505"/>
                    </a:lnTo>
                    <a:lnTo>
                      <a:pt x="8471307" y="3990162"/>
                    </a:lnTo>
                    <a:lnTo>
                      <a:pt x="8450758" y="3970589"/>
                    </a:lnTo>
                    <a:lnTo>
                      <a:pt x="8436176" y="3941068"/>
                    </a:lnTo>
                    <a:lnTo>
                      <a:pt x="8411460" y="3926233"/>
                    </a:lnTo>
                    <a:lnTo>
                      <a:pt x="8389934" y="3913332"/>
                    </a:lnTo>
                    <a:lnTo>
                      <a:pt x="8366428" y="3907424"/>
                    </a:lnTo>
                    <a:lnTo>
                      <a:pt x="8344811" y="3896309"/>
                    </a:lnTo>
                    <a:lnTo>
                      <a:pt x="8319672" y="3877351"/>
                    </a:lnTo>
                    <a:lnTo>
                      <a:pt x="8140785" y="3805175"/>
                    </a:lnTo>
                    <a:lnTo>
                      <a:pt x="8112129" y="3759227"/>
                    </a:lnTo>
                    <a:lnTo>
                      <a:pt x="8058064" y="3687518"/>
                    </a:lnTo>
                    <a:lnTo>
                      <a:pt x="8005740" y="3647073"/>
                    </a:lnTo>
                    <a:lnTo>
                      <a:pt x="7947632" y="3602506"/>
                    </a:lnTo>
                    <a:lnTo>
                      <a:pt x="7916947" y="3578968"/>
                    </a:lnTo>
                    <a:lnTo>
                      <a:pt x="7898666" y="3549458"/>
                    </a:lnTo>
                    <a:lnTo>
                      <a:pt x="7895308" y="3511308"/>
                    </a:lnTo>
                    <a:lnTo>
                      <a:pt x="7891867" y="3469206"/>
                    </a:lnTo>
                    <a:lnTo>
                      <a:pt x="7863193" y="3440345"/>
                    </a:lnTo>
                    <a:lnTo>
                      <a:pt x="7833376" y="3427040"/>
                    </a:lnTo>
                    <a:lnTo>
                      <a:pt x="7803560" y="3413736"/>
                    </a:lnTo>
                    <a:lnTo>
                      <a:pt x="7770969" y="3402142"/>
                    </a:lnTo>
                    <a:lnTo>
                      <a:pt x="7740691" y="3380899"/>
                    </a:lnTo>
                    <a:lnTo>
                      <a:pt x="7731618" y="3354992"/>
                    </a:lnTo>
                    <a:lnTo>
                      <a:pt x="7723203" y="3334547"/>
                    </a:lnTo>
                    <a:lnTo>
                      <a:pt x="7707783" y="3297077"/>
                    </a:lnTo>
                    <a:lnTo>
                      <a:pt x="7710513" y="3265134"/>
                    </a:lnTo>
                    <a:lnTo>
                      <a:pt x="7720485" y="3233892"/>
                    </a:lnTo>
                    <a:lnTo>
                      <a:pt x="7730456" y="3202650"/>
                    </a:lnTo>
                    <a:lnTo>
                      <a:pt x="7747412" y="3172364"/>
                    </a:lnTo>
                    <a:lnTo>
                      <a:pt x="7759929" y="3138678"/>
                    </a:lnTo>
                    <a:lnTo>
                      <a:pt x="7771212" y="3108329"/>
                    </a:lnTo>
                    <a:lnTo>
                      <a:pt x="7788155" y="3074366"/>
                    </a:lnTo>
                    <a:lnTo>
                      <a:pt x="7792574" y="3042104"/>
                    </a:lnTo>
                    <a:lnTo>
                      <a:pt x="7755359" y="3037726"/>
                    </a:lnTo>
                    <a:lnTo>
                      <a:pt x="7701571" y="3097299"/>
                    </a:lnTo>
                    <a:lnTo>
                      <a:pt x="7664718" y="3115555"/>
                    </a:lnTo>
                    <a:lnTo>
                      <a:pt x="7632179" y="3119903"/>
                    </a:lnTo>
                    <a:lnTo>
                      <a:pt x="7592445" y="3119668"/>
                    </a:lnTo>
                    <a:lnTo>
                      <a:pt x="7561343" y="3107394"/>
                    </a:lnTo>
                    <a:lnTo>
                      <a:pt x="7532293" y="3092010"/>
                    </a:lnTo>
                    <a:lnTo>
                      <a:pt x="7514216" y="3065649"/>
                    </a:lnTo>
                    <a:lnTo>
                      <a:pt x="7511011" y="3027141"/>
                    </a:lnTo>
                    <a:lnTo>
                      <a:pt x="7481617" y="3011829"/>
                    </a:lnTo>
                    <a:lnTo>
                      <a:pt x="7460685" y="3018980"/>
                    </a:lnTo>
                    <a:lnTo>
                      <a:pt x="7445899" y="3034110"/>
                    </a:lnTo>
                    <a:lnTo>
                      <a:pt x="7429043" y="3066253"/>
                    </a:lnTo>
                    <a:lnTo>
                      <a:pt x="7422375" y="3093813"/>
                    </a:lnTo>
                    <a:lnTo>
                      <a:pt x="7369491" y="3149751"/>
                    </a:lnTo>
                    <a:lnTo>
                      <a:pt x="7334624" y="3165276"/>
                    </a:lnTo>
                    <a:lnTo>
                      <a:pt x="7305626" y="3160442"/>
                    </a:lnTo>
                    <a:lnTo>
                      <a:pt x="7278719" y="3144699"/>
                    </a:lnTo>
                    <a:lnTo>
                      <a:pt x="7252576" y="3134597"/>
                    </a:lnTo>
                    <a:lnTo>
                      <a:pt x="7216766" y="3120769"/>
                    </a:lnTo>
                    <a:lnTo>
                      <a:pt x="7173603" y="3121062"/>
                    </a:lnTo>
                    <a:lnTo>
                      <a:pt x="7131520" y="3129157"/>
                    </a:lnTo>
                    <a:lnTo>
                      <a:pt x="7089432" y="3137252"/>
                    </a:lnTo>
                    <a:lnTo>
                      <a:pt x="7047304" y="3153248"/>
                    </a:lnTo>
                    <a:lnTo>
                      <a:pt x="7015898" y="3172683"/>
                    </a:lnTo>
                    <a:lnTo>
                      <a:pt x="6996542" y="3193925"/>
                    </a:lnTo>
                    <a:lnTo>
                      <a:pt x="6987772" y="3226465"/>
                    </a:lnTo>
                    <a:lnTo>
                      <a:pt x="6977813" y="3255655"/>
                    </a:lnTo>
                    <a:lnTo>
                      <a:pt x="6968613" y="3283990"/>
                    </a:lnTo>
                    <a:lnTo>
                      <a:pt x="6954374" y="3306212"/>
                    </a:lnTo>
                    <a:lnTo>
                      <a:pt x="6932928" y="3318224"/>
                    </a:lnTo>
                    <a:lnTo>
                      <a:pt x="6895746" y="3307964"/>
                    </a:lnTo>
                    <a:lnTo>
                      <a:pt x="6866742" y="3284958"/>
                    </a:lnTo>
                    <a:lnTo>
                      <a:pt x="6845876" y="3252934"/>
                    </a:lnTo>
                    <a:lnTo>
                      <a:pt x="6827884" y="3218824"/>
                    </a:lnTo>
                    <a:lnTo>
                      <a:pt x="6821316" y="3176710"/>
                    </a:lnTo>
                    <a:lnTo>
                      <a:pt x="6828194" y="3141399"/>
                    </a:lnTo>
                    <a:lnTo>
                      <a:pt x="6838839" y="3086756"/>
                    </a:lnTo>
                    <a:lnTo>
                      <a:pt x="6860668" y="3019257"/>
                    </a:lnTo>
                    <a:lnTo>
                      <a:pt x="6858115" y="2963212"/>
                    </a:lnTo>
                    <a:lnTo>
                      <a:pt x="6855689" y="2910270"/>
                    </a:lnTo>
                    <a:lnTo>
                      <a:pt x="6846192" y="2877988"/>
                    </a:lnTo>
                    <a:lnTo>
                      <a:pt x="6849957" y="2816311"/>
                    </a:lnTo>
                    <a:lnTo>
                      <a:pt x="6853229" y="2763072"/>
                    </a:lnTo>
                    <a:lnTo>
                      <a:pt x="6874036" y="2708473"/>
                    </a:lnTo>
                    <a:lnTo>
                      <a:pt x="6873079" y="2655808"/>
                    </a:lnTo>
                    <a:lnTo>
                      <a:pt x="6872017" y="2596480"/>
                    </a:lnTo>
                    <a:lnTo>
                      <a:pt x="6852029" y="2539308"/>
                    </a:lnTo>
                    <a:lnTo>
                      <a:pt x="6834994" y="2481702"/>
                    </a:lnTo>
                    <a:lnTo>
                      <a:pt x="6826480" y="2452899"/>
                    </a:lnTo>
                    <a:lnTo>
                      <a:pt x="6819073" y="2424186"/>
                    </a:lnTo>
                    <a:lnTo>
                      <a:pt x="6814589" y="2394649"/>
                    </a:lnTo>
                    <a:lnTo>
                      <a:pt x="6810111" y="2365113"/>
                    </a:lnTo>
                    <a:lnTo>
                      <a:pt x="6809676" y="2334561"/>
                    </a:lnTo>
                    <a:lnTo>
                      <a:pt x="6814589" y="2303516"/>
                    </a:lnTo>
                    <a:lnTo>
                      <a:pt x="6820169" y="2268230"/>
                    </a:lnTo>
                    <a:lnTo>
                      <a:pt x="6839057" y="2241314"/>
                    </a:lnTo>
                    <a:lnTo>
                      <a:pt x="6863557" y="2216463"/>
                    </a:lnTo>
                    <a:lnTo>
                      <a:pt x="6888063" y="2191611"/>
                    </a:lnTo>
                    <a:lnTo>
                      <a:pt x="6917825" y="2169578"/>
                    </a:lnTo>
                    <a:lnTo>
                      <a:pt x="6943810" y="2147093"/>
                    </a:lnTo>
                    <a:lnTo>
                      <a:pt x="6969794" y="2124609"/>
                    </a:lnTo>
                    <a:lnTo>
                      <a:pt x="6992276" y="2100467"/>
                    </a:lnTo>
                    <a:lnTo>
                      <a:pt x="7002300" y="2072282"/>
                    </a:lnTo>
                    <a:lnTo>
                      <a:pt x="7008631" y="2043066"/>
                    </a:lnTo>
                    <a:lnTo>
                      <a:pt x="7004126" y="2009005"/>
                    </a:lnTo>
                    <a:lnTo>
                      <a:pt x="6985971" y="1970267"/>
                    </a:lnTo>
                    <a:lnTo>
                      <a:pt x="6961141" y="1949174"/>
                    </a:lnTo>
                    <a:lnTo>
                      <a:pt x="6937689" y="1943262"/>
                    </a:lnTo>
                    <a:lnTo>
                      <a:pt x="6898232" y="1937422"/>
                    </a:lnTo>
                    <a:lnTo>
                      <a:pt x="6871714" y="1926741"/>
                    </a:lnTo>
                    <a:lnTo>
                      <a:pt x="6860344" y="1898804"/>
                    </a:lnTo>
                    <a:lnTo>
                      <a:pt x="6858610" y="1862185"/>
                    </a:lnTo>
                    <a:lnTo>
                      <a:pt x="6847234" y="1835607"/>
                    </a:lnTo>
                    <a:lnTo>
                      <a:pt x="6827172" y="1849762"/>
                    </a:lnTo>
                    <a:lnTo>
                      <a:pt x="6791461" y="1855628"/>
                    </a:lnTo>
                    <a:lnTo>
                      <a:pt x="6768339" y="1853290"/>
                    </a:lnTo>
                    <a:lnTo>
                      <a:pt x="6740397" y="1850456"/>
                    </a:lnTo>
                    <a:lnTo>
                      <a:pt x="6705773" y="1836968"/>
                    </a:lnTo>
                    <a:lnTo>
                      <a:pt x="6680541" y="1820054"/>
                    </a:lnTo>
                    <a:lnTo>
                      <a:pt x="6662372" y="1781022"/>
                    </a:lnTo>
                    <a:lnTo>
                      <a:pt x="6664720" y="1744049"/>
                    </a:lnTo>
                    <a:lnTo>
                      <a:pt x="6663605" y="1694147"/>
                    </a:lnTo>
                    <a:lnTo>
                      <a:pt x="6654590" y="1600782"/>
                    </a:lnTo>
                    <a:lnTo>
                      <a:pt x="6658230" y="1538531"/>
                    </a:lnTo>
                    <a:lnTo>
                      <a:pt x="6666329" y="1453392"/>
                    </a:lnTo>
                    <a:lnTo>
                      <a:pt x="6673966" y="1373076"/>
                    </a:lnTo>
                    <a:lnTo>
                      <a:pt x="6680845" y="1332230"/>
                    </a:lnTo>
                    <a:lnTo>
                      <a:pt x="6698974" y="1294249"/>
                    </a:lnTo>
                    <a:lnTo>
                      <a:pt x="6717104" y="1256267"/>
                    </a:lnTo>
                    <a:lnTo>
                      <a:pt x="6746629" y="1219996"/>
                    </a:lnTo>
                    <a:lnTo>
                      <a:pt x="6796908" y="1151428"/>
                    </a:lnTo>
                    <a:lnTo>
                      <a:pt x="6835792" y="1098397"/>
                    </a:lnTo>
                    <a:lnTo>
                      <a:pt x="6871292" y="1043738"/>
                    </a:lnTo>
                    <a:lnTo>
                      <a:pt x="6920688" y="999085"/>
                    </a:lnTo>
                    <a:lnTo>
                      <a:pt x="6950992" y="971690"/>
                    </a:lnTo>
                    <a:lnTo>
                      <a:pt x="6986742" y="948715"/>
                    </a:lnTo>
                    <a:lnTo>
                      <a:pt x="7018622" y="922914"/>
                    </a:lnTo>
                    <a:lnTo>
                      <a:pt x="7040372" y="905317"/>
                    </a:lnTo>
                    <a:lnTo>
                      <a:pt x="7070016" y="866896"/>
                    </a:lnTo>
                    <a:lnTo>
                      <a:pt x="7094794" y="826340"/>
                    </a:lnTo>
                    <a:lnTo>
                      <a:pt x="7119570" y="785784"/>
                    </a:lnTo>
                    <a:lnTo>
                      <a:pt x="7140008" y="742305"/>
                    </a:lnTo>
                    <a:lnTo>
                      <a:pt x="7143760" y="714803"/>
                    </a:lnTo>
                    <a:lnTo>
                      <a:pt x="7147691" y="685921"/>
                    </a:lnTo>
                    <a:lnTo>
                      <a:pt x="7129245" y="667792"/>
                    </a:lnTo>
                    <a:lnTo>
                      <a:pt x="7121997" y="644073"/>
                    </a:lnTo>
                    <a:lnTo>
                      <a:pt x="7110687" y="607125"/>
                    </a:lnTo>
                    <a:lnTo>
                      <a:pt x="7093415" y="567876"/>
                    </a:lnTo>
                    <a:lnTo>
                      <a:pt x="7089353" y="531177"/>
                    </a:lnTo>
                    <a:lnTo>
                      <a:pt x="7088436" y="494820"/>
                    </a:lnTo>
                    <a:lnTo>
                      <a:pt x="7101151" y="461438"/>
                    </a:lnTo>
                    <a:lnTo>
                      <a:pt x="7132879" y="431882"/>
                    </a:lnTo>
                    <a:lnTo>
                      <a:pt x="7221778" y="391076"/>
                    </a:lnTo>
                    <a:lnTo>
                      <a:pt x="7209083" y="364999"/>
                    </a:lnTo>
                    <a:lnTo>
                      <a:pt x="7108887" y="360674"/>
                    </a:lnTo>
                    <a:lnTo>
                      <a:pt x="7009099" y="357072"/>
                    </a:lnTo>
                    <a:lnTo>
                      <a:pt x="6909312" y="353469"/>
                    </a:lnTo>
                    <a:lnTo>
                      <a:pt x="6809933" y="349484"/>
                    </a:lnTo>
                    <a:lnTo>
                      <a:pt x="6795550" y="333948"/>
                    </a:lnTo>
                    <a:lnTo>
                      <a:pt x="6791909" y="302353"/>
                    </a:lnTo>
                    <a:lnTo>
                      <a:pt x="6794191" y="278180"/>
                    </a:lnTo>
                    <a:lnTo>
                      <a:pt x="6800403" y="240129"/>
                    </a:lnTo>
                    <a:lnTo>
                      <a:pt x="6805073" y="214250"/>
                    </a:lnTo>
                    <a:lnTo>
                      <a:pt x="6772474" y="210557"/>
                    </a:lnTo>
                    <a:lnTo>
                      <a:pt x="6632965" y="184093"/>
                    </a:lnTo>
                    <a:lnTo>
                      <a:pt x="6542404" y="217715"/>
                    </a:lnTo>
                    <a:lnTo>
                      <a:pt x="6431016" y="214250"/>
                    </a:lnTo>
                    <a:lnTo>
                      <a:pt x="6376542" y="212550"/>
                    </a:lnTo>
                    <a:lnTo>
                      <a:pt x="6323348" y="189257"/>
                    </a:lnTo>
                    <a:lnTo>
                      <a:pt x="6269151" y="184326"/>
                    </a:lnTo>
                    <a:lnTo>
                      <a:pt x="6231429" y="180883"/>
                    </a:lnTo>
                    <a:lnTo>
                      <a:pt x="6191344" y="191956"/>
                    </a:lnTo>
                    <a:lnTo>
                      <a:pt x="6153536" y="189767"/>
                    </a:lnTo>
                    <a:lnTo>
                      <a:pt x="6115622" y="187556"/>
                    </a:lnTo>
                    <a:lnTo>
                      <a:pt x="6089671" y="167579"/>
                    </a:lnTo>
                    <a:lnTo>
                      <a:pt x="6058319" y="151681"/>
                    </a:lnTo>
                    <a:lnTo>
                      <a:pt x="6035434" y="140056"/>
                    </a:lnTo>
                    <a:lnTo>
                      <a:pt x="6006252" y="132448"/>
                    </a:lnTo>
                    <a:lnTo>
                      <a:pt x="5982148" y="123117"/>
                    </a:lnTo>
                    <a:lnTo>
                      <a:pt x="5922088" y="99823"/>
                    </a:lnTo>
                    <a:lnTo>
                      <a:pt x="5781649" y="12134"/>
                    </a:lnTo>
                    <a:lnTo>
                      <a:pt x="5722354" y="14301"/>
                    </a:lnTo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62" name="Kherson¬0" descr="Kherson¬0">
                <a:extLst>
                  <a:ext uri="{FF2B5EF4-FFF2-40B4-BE49-F238E27FC236}">
                    <a16:creationId xmlns:a16="http://schemas.microsoft.com/office/drawing/2014/main" id="{325EE65C-5996-4AF6-B98D-24E316A68EF1}"/>
                  </a:ext>
                </a:extLst>
              </p:cNvPr>
              <p:cNvSpPr/>
              <p:nvPr/>
            </p:nvSpPr>
            <p:spPr>
              <a:xfrm>
                <a:off x="36694558" y="33193181"/>
                <a:ext cx="1578679" cy="301478"/>
              </a:xfrm>
              <a:custGeom>
                <a:avLst/>
                <a:gdLst/>
                <a:ahLst/>
                <a:cxnLst/>
                <a:rect l="0" t="0" r="0" b="0"/>
                <a:pathLst>
                  <a:path w="1578683" h="301481">
                    <a:moveTo>
                      <a:pt x="1312934" y="144457"/>
                    </a:moveTo>
                    <a:lnTo>
                      <a:pt x="1328874" y="181651"/>
                    </a:lnTo>
                    <a:lnTo>
                      <a:pt x="1373712" y="177912"/>
                    </a:lnTo>
                    <a:lnTo>
                      <a:pt x="1422936" y="173791"/>
                    </a:lnTo>
                    <a:lnTo>
                      <a:pt x="1457626" y="129710"/>
                    </a:lnTo>
                    <a:lnTo>
                      <a:pt x="1513563" y="168648"/>
                    </a:lnTo>
                    <a:lnTo>
                      <a:pt x="1578682" y="214000"/>
                    </a:lnTo>
                    <a:lnTo>
                      <a:pt x="1498256" y="276526"/>
                    </a:lnTo>
                    <a:lnTo>
                      <a:pt x="1449803" y="282730"/>
                    </a:lnTo>
                    <a:lnTo>
                      <a:pt x="1303924" y="301480"/>
                    </a:lnTo>
                    <a:lnTo>
                      <a:pt x="1194767" y="250174"/>
                    </a:lnTo>
                    <a:lnTo>
                      <a:pt x="1053734" y="239034"/>
                    </a:lnTo>
                    <a:lnTo>
                      <a:pt x="986907" y="233766"/>
                    </a:lnTo>
                    <a:lnTo>
                      <a:pt x="904280" y="248004"/>
                    </a:lnTo>
                    <a:lnTo>
                      <a:pt x="845362" y="239567"/>
                    </a:lnTo>
                    <a:lnTo>
                      <a:pt x="779649" y="230169"/>
                    </a:lnTo>
                    <a:lnTo>
                      <a:pt x="722012" y="183288"/>
                    </a:lnTo>
                    <a:lnTo>
                      <a:pt x="652131" y="173295"/>
                    </a:lnTo>
                    <a:lnTo>
                      <a:pt x="612006" y="167559"/>
                    </a:lnTo>
                    <a:lnTo>
                      <a:pt x="471866" y="145499"/>
                    </a:lnTo>
                    <a:lnTo>
                      <a:pt x="441384" y="145499"/>
                    </a:lnTo>
                    <a:lnTo>
                      <a:pt x="397132" y="145499"/>
                    </a:lnTo>
                    <a:lnTo>
                      <a:pt x="349312" y="151790"/>
                    </a:lnTo>
                    <a:lnTo>
                      <a:pt x="305709" y="148605"/>
                    </a:lnTo>
                    <a:lnTo>
                      <a:pt x="269317" y="145967"/>
                    </a:lnTo>
                    <a:lnTo>
                      <a:pt x="110220" y="86079"/>
                    </a:lnTo>
                    <a:lnTo>
                      <a:pt x="66904" y="68945"/>
                    </a:lnTo>
                    <a:lnTo>
                      <a:pt x="0" y="44339"/>
                    </a:lnTo>
                    <a:lnTo>
                      <a:pt x="42887" y="0"/>
                    </a:lnTo>
                    <a:lnTo>
                      <a:pt x="289471" y="81995"/>
                    </a:lnTo>
                    <a:lnTo>
                      <a:pt x="349914" y="99256"/>
                    </a:lnTo>
                    <a:lnTo>
                      <a:pt x="593982" y="129518"/>
                    </a:lnTo>
                    <a:lnTo>
                      <a:pt x="756013" y="116381"/>
                    </a:lnTo>
                    <a:lnTo>
                      <a:pt x="736631" y="51052"/>
                    </a:lnTo>
                    <a:lnTo>
                      <a:pt x="799117" y="34519"/>
                    </a:lnTo>
                    <a:lnTo>
                      <a:pt x="835589" y="35753"/>
                    </a:lnTo>
                    <a:lnTo>
                      <a:pt x="935053" y="43613"/>
                    </a:lnTo>
                    <a:lnTo>
                      <a:pt x="980024" y="108521"/>
                    </a:lnTo>
                    <a:lnTo>
                      <a:pt x="1000302" y="127394"/>
                    </a:lnTo>
                    <a:lnTo>
                      <a:pt x="1066481" y="160502"/>
                    </a:lnTo>
                    <a:lnTo>
                      <a:pt x="1167048" y="39065"/>
                    </a:lnTo>
                    <a:lnTo>
                      <a:pt x="1249347" y="96702"/>
                    </a:lnTo>
                    <a:lnTo>
                      <a:pt x="1273739" y="114812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63" name="Kherson¬1" descr="Kherson¬1">
                <a:extLst>
                  <a:ext uri="{FF2B5EF4-FFF2-40B4-BE49-F238E27FC236}">
                    <a16:creationId xmlns:a16="http://schemas.microsoft.com/office/drawing/2014/main" id="{1B87E21C-E542-49C6-A634-279262C8567F}"/>
                  </a:ext>
                </a:extLst>
              </p:cNvPr>
              <p:cNvSpPr/>
              <p:nvPr/>
            </p:nvSpPr>
            <p:spPr>
              <a:xfrm>
                <a:off x="36454447" y="33194652"/>
                <a:ext cx="126454" cy="58787"/>
              </a:xfrm>
              <a:custGeom>
                <a:avLst/>
                <a:gdLst/>
                <a:ahLst/>
                <a:cxnLst/>
                <a:rect l="0" t="0" r="0" b="0"/>
                <a:pathLst>
                  <a:path w="126452" h="58788">
                    <a:moveTo>
                      <a:pt x="126451" y="31496"/>
                    </a:moveTo>
                    <a:lnTo>
                      <a:pt x="72984" y="58787"/>
                    </a:lnTo>
                    <a:lnTo>
                      <a:pt x="37703" y="30811"/>
                    </a:lnTo>
                    <a:lnTo>
                      <a:pt x="0" y="20653"/>
                    </a:lnTo>
                    <a:lnTo>
                      <a:pt x="9521" y="726"/>
                    </a:lnTo>
                    <a:lnTo>
                      <a:pt x="40506" y="0"/>
                    </a:lnTo>
                    <a:lnTo>
                      <a:pt x="65757" y="9897"/>
                    </a:lnTo>
                    <a:lnTo>
                      <a:pt x="86456" y="13168"/>
                    </a:lnTo>
                    <a:lnTo>
                      <a:pt x="123350" y="14495"/>
                    </a:lnTo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64" name="Kherson¬2" descr="Kherson¬2">
                <a:extLst>
                  <a:ext uri="{FF2B5EF4-FFF2-40B4-BE49-F238E27FC236}">
                    <a16:creationId xmlns:a16="http://schemas.microsoft.com/office/drawing/2014/main" id="{A78A1E09-9323-4209-82DE-22841CA99D01}"/>
                  </a:ext>
                </a:extLst>
              </p:cNvPr>
              <p:cNvSpPr/>
              <p:nvPr/>
            </p:nvSpPr>
            <p:spPr>
              <a:xfrm>
                <a:off x="35499076" y="30822293"/>
                <a:ext cx="75452" cy="60676"/>
              </a:xfrm>
              <a:custGeom>
                <a:avLst/>
                <a:gdLst/>
                <a:ahLst/>
                <a:cxnLst/>
                <a:rect l="0" t="0" r="0" b="0"/>
                <a:pathLst>
                  <a:path w="75454" h="60673">
                    <a:moveTo>
                      <a:pt x="34550" y="2378"/>
                    </a:moveTo>
                    <a:lnTo>
                      <a:pt x="67196" y="9264"/>
                    </a:lnTo>
                    <a:lnTo>
                      <a:pt x="75453" y="40081"/>
                    </a:lnTo>
                    <a:lnTo>
                      <a:pt x="58701" y="57122"/>
                    </a:lnTo>
                    <a:lnTo>
                      <a:pt x="36392" y="60672"/>
                    </a:lnTo>
                    <a:lnTo>
                      <a:pt x="7609" y="52446"/>
                    </a:lnTo>
                    <a:lnTo>
                      <a:pt x="0" y="24566"/>
                    </a:lnTo>
                    <a:lnTo>
                      <a:pt x="17897" y="0"/>
                    </a:lnTo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65" name="Kherson¬3" descr="Kherson¬3">
                <a:extLst>
                  <a:ext uri="{FF2B5EF4-FFF2-40B4-BE49-F238E27FC236}">
                    <a16:creationId xmlns:a16="http://schemas.microsoft.com/office/drawing/2014/main" id="{EA8FFF9E-F6F0-4F59-9A47-8FCBAB73AB65}"/>
                  </a:ext>
                </a:extLst>
              </p:cNvPr>
              <p:cNvSpPr/>
              <p:nvPr/>
            </p:nvSpPr>
            <p:spPr>
              <a:xfrm>
                <a:off x="35612560" y="30916318"/>
                <a:ext cx="193282" cy="94790"/>
              </a:xfrm>
              <a:custGeom>
                <a:avLst/>
                <a:gdLst/>
                <a:ahLst/>
                <a:cxnLst/>
                <a:rect l="0" t="0" r="0" b="0"/>
                <a:pathLst>
                  <a:path w="193279" h="94789">
                    <a:moveTo>
                      <a:pt x="193278" y="94788"/>
                    </a:moveTo>
                    <a:lnTo>
                      <a:pt x="39998" y="88965"/>
                    </a:lnTo>
                    <a:lnTo>
                      <a:pt x="0" y="52449"/>
                    </a:lnTo>
                    <a:lnTo>
                      <a:pt x="10241" y="24736"/>
                    </a:lnTo>
                    <a:lnTo>
                      <a:pt x="53597" y="31365"/>
                    </a:lnTo>
                    <a:lnTo>
                      <a:pt x="96999" y="21803"/>
                    </a:lnTo>
                    <a:lnTo>
                      <a:pt x="130073" y="0"/>
                    </a:lnTo>
                    <a:lnTo>
                      <a:pt x="158291" y="15472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66" name="Kherson¬4" descr="Kherson¬4">
                <a:extLst>
                  <a:ext uri="{FF2B5EF4-FFF2-40B4-BE49-F238E27FC236}">
                    <a16:creationId xmlns:a16="http://schemas.microsoft.com/office/drawing/2014/main" id="{DF667AC2-7117-4705-96D4-2E88E425F880}"/>
                  </a:ext>
                </a:extLst>
              </p:cNvPr>
              <p:cNvSpPr/>
              <p:nvPr/>
            </p:nvSpPr>
            <p:spPr>
              <a:xfrm>
                <a:off x="35724615" y="30749987"/>
                <a:ext cx="196334" cy="124838"/>
              </a:xfrm>
              <a:custGeom>
                <a:avLst/>
                <a:gdLst/>
                <a:ahLst/>
                <a:cxnLst/>
                <a:rect l="0" t="0" r="0" b="0"/>
                <a:pathLst>
                  <a:path w="196336" h="124843">
                    <a:moveTo>
                      <a:pt x="196335" y="49185"/>
                    </a:moveTo>
                    <a:lnTo>
                      <a:pt x="178867" y="82206"/>
                    </a:lnTo>
                    <a:lnTo>
                      <a:pt x="138736" y="110861"/>
                    </a:lnTo>
                    <a:lnTo>
                      <a:pt x="114427" y="102056"/>
                    </a:lnTo>
                    <a:lnTo>
                      <a:pt x="74851" y="93979"/>
                    </a:lnTo>
                    <a:lnTo>
                      <a:pt x="25549" y="124842"/>
                    </a:lnTo>
                    <a:lnTo>
                      <a:pt x="0" y="106226"/>
                    </a:lnTo>
                    <a:lnTo>
                      <a:pt x="16157" y="76259"/>
                    </a:lnTo>
                    <a:lnTo>
                      <a:pt x="48332" y="64610"/>
                    </a:lnTo>
                    <a:lnTo>
                      <a:pt x="87310" y="42425"/>
                    </a:lnTo>
                    <a:lnTo>
                      <a:pt x="114598" y="0"/>
                    </a:lnTo>
                    <a:lnTo>
                      <a:pt x="167181" y="15776"/>
                    </a:lnTo>
                    <a:lnTo>
                      <a:pt x="187710" y="22405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67" name="Kherson¬5" descr="Kherson¬5">
                <a:extLst>
                  <a:ext uri="{FF2B5EF4-FFF2-40B4-BE49-F238E27FC236}">
                    <a16:creationId xmlns:a16="http://schemas.microsoft.com/office/drawing/2014/main" id="{B8A5CBDB-707C-49DA-8DB4-B3E7D0A70ED2}"/>
                  </a:ext>
                </a:extLst>
              </p:cNvPr>
              <p:cNvSpPr/>
              <p:nvPr/>
            </p:nvSpPr>
            <p:spPr>
              <a:xfrm>
                <a:off x="35598151" y="30741624"/>
                <a:ext cx="135678" cy="120633"/>
              </a:xfrm>
              <a:custGeom>
                <a:avLst/>
                <a:gdLst/>
                <a:ahLst/>
                <a:cxnLst/>
                <a:rect l="0" t="0" r="0" b="0"/>
                <a:pathLst>
                  <a:path w="135682" h="120630">
                    <a:moveTo>
                      <a:pt x="67927" y="17767"/>
                    </a:moveTo>
                    <a:lnTo>
                      <a:pt x="115918" y="0"/>
                    </a:lnTo>
                    <a:lnTo>
                      <a:pt x="135681" y="14403"/>
                    </a:lnTo>
                    <a:lnTo>
                      <a:pt x="118712" y="68437"/>
                    </a:lnTo>
                    <a:lnTo>
                      <a:pt x="56108" y="120629"/>
                    </a:lnTo>
                    <a:lnTo>
                      <a:pt x="19552" y="80678"/>
                    </a:lnTo>
                    <a:lnTo>
                      <a:pt x="9521" y="61169"/>
                    </a:lnTo>
                    <a:lnTo>
                      <a:pt x="0" y="31366"/>
                    </a:lnTo>
                    <a:lnTo>
                      <a:pt x="29799" y="19041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68" name="Kherson¬6" descr="Kherson¬6">
                <a:extLst>
                  <a:ext uri="{FF2B5EF4-FFF2-40B4-BE49-F238E27FC236}">
                    <a16:creationId xmlns:a16="http://schemas.microsoft.com/office/drawing/2014/main" id="{36130F61-9BCC-4978-97AF-7B7287A3ACA6}"/>
                  </a:ext>
                </a:extLst>
              </p:cNvPr>
              <p:cNvSpPr/>
              <p:nvPr/>
            </p:nvSpPr>
            <p:spPr>
              <a:xfrm>
                <a:off x="35794484" y="30614133"/>
                <a:ext cx="133648" cy="75283"/>
              </a:xfrm>
              <a:custGeom>
                <a:avLst/>
                <a:gdLst/>
                <a:ahLst/>
                <a:cxnLst/>
                <a:rect l="0" t="0" r="0" b="0"/>
                <a:pathLst>
                  <a:path w="133645" h="75283">
                    <a:moveTo>
                      <a:pt x="46552" y="25676"/>
                    </a:moveTo>
                    <a:lnTo>
                      <a:pt x="76693" y="17180"/>
                    </a:lnTo>
                    <a:lnTo>
                      <a:pt x="98707" y="0"/>
                    </a:lnTo>
                    <a:lnTo>
                      <a:pt x="125152" y="2849"/>
                    </a:lnTo>
                    <a:lnTo>
                      <a:pt x="133644" y="27759"/>
                    </a:lnTo>
                    <a:lnTo>
                      <a:pt x="117620" y="73369"/>
                    </a:lnTo>
                    <a:lnTo>
                      <a:pt x="43789" y="75282"/>
                    </a:lnTo>
                    <a:lnTo>
                      <a:pt x="5150" y="64784"/>
                    </a:lnTo>
                    <a:lnTo>
                      <a:pt x="0" y="33926"/>
                    </a:lnTo>
                    <a:lnTo>
                      <a:pt x="18492" y="23124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69" name="Kherson¬7" descr="Kherson¬7">
                <a:extLst>
                  <a:ext uri="{FF2B5EF4-FFF2-40B4-BE49-F238E27FC236}">
                    <a16:creationId xmlns:a16="http://schemas.microsoft.com/office/drawing/2014/main" id="{AD3E2C9E-6A43-4D8F-A05A-12301F3EEAB1}"/>
                  </a:ext>
                </a:extLst>
              </p:cNvPr>
              <p:cNvSpPr/>
              <p:nvPr/>
            </p:nvSpPr>
            <p:spPr>
              <a:xfrm>
                <a:off x="35517995" y="30619114"/>
                <a:ext cx="139801" cy="76047"/>
              </a:xfrm>
              <a:custGeom>
                <a:avLst/>
                <a:gdLst/>
                <a:ahLst/>
                <a:cxnLst/>
                <a:rect l="0" t="0" r="0" b="0"/>
                <a:pathLst>
                  <a:path w="139800" h="76046">
                    <a:moveTo>
                      <a:pt x="67326" y="16325"/>
                    </a:moveTo>
                    <a:lnTo>
                      <a:pt x="123437" y="6887"/>
                    </a:lnTo>
                    <a:lnTo>
                      <a:pt x="139799" y="44379"/>
                    </a:lnTo>
                    <a:lnTo>
                      <a:pt x="88410" y="71707"/>
                    </a:lnTo>
                    <a:lnTo>
                      <a:pt x="12241" y="76045"/>
                    </a:lnTo>
                    <a:lnTo>
                      <a:pt x="0" y="19726"/>
                    </a:lnTo>
                    <a:lnTo>
                      <a:pt x="24479" y="0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70" name="Kherson¬8" descr="Kherson¬8">
                <a:extLst>
                  <a:ext uri="{FF2B5EF4-FFF2-40B4-BE49-F238E27FC236}">
                    <a16:creationId xmlns:a16="http://schemas.microsoft.com/office/drawing/2014/main" id="{CEE45AA1-841E-42E6-9FBB-489B908F7F2C}"/>
                  </a:ext>
                </a:extLst>
              </p:cNvPr>
              <p:cNvSpPr/>
              <p:nvPr/>
            </p:nvSpPr>
            <p:spPr>
              <a:xfrm>
                <a:off x="33556098" y="31320335"/>
                <a:ext cx="118759" cy="218956"/>
              </a:xfrm>
              <a:custGeom>
                <a:avLst/>
                <a:gdLst/>
                <a:ahLst/>
                <a:cxnLst/>
                <a:rect l="0" t="0" r="0" b="0"/>
                <a:pathLst>
                  <a:path w="118757" h="218952">
                    <a:moveTo>
                      <a:pt x="97210" y="218951"/>
                    </a:moveTo>
                    <a:lnTo>
                      <a:pt x="77782" y="205736"/>
                    </a:lnTo>
                    <a:lnTo>
                      <a:pt x="75211" y="159484"/>
                    </a:lnTo>
                    <a:lnTo>
                      <a:pt x="64328" y="138745"/>
                    </a:lnTo>
                    <a:lnTo>
                      <a:pt x="49709" y="110985"/>
                    </a:lnTo>
                    <a:lnTo>
                      <a:pt x="7225" y="68693"/>
                    </a:lnTo>
                    <a:lnTo>
                      <a:pt x="589" y="40090"/>
                    </a:lnTo>
                    <a:lnTo>
                      <a:pt x="0" y="13816"/>
                    </a:lnTo>
                    <a:lnTo>
                      <a:pt x="18058" y="0"/>
                    </a:lnTo>
                    <a:lnTo>
                      <a:pt x="51495" y="66907"/>
                    </a:lnTo>
                    <a:lnTo>
                      <a:pt x="118756" y="154130"/>
                    </a:lnTo>
                    <a:lnTo>
                      <a:pt x="110580" y="209732"/>
                    </a:lnTo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71" name="Kherson¬9" descr="Kherson¬9">
                <a:extLst>
                  <a:ext uri="{FF2B5EF4-FFF2-40B4-BE49-F238E27FC236}">
                    <a16:creationId xmlns:a16="http://schemas.microsoft.com/office/drawing/2014/main" id="{B0BC15CC-CA83-4BD5-AEF8-56CC9031284A}"/>
                  </a:ext>
                </a:extLst>
              </p:cNvPr>
              <p:cNvSpPr/>
              <p:nvPr/>
            </p:nvSpPr>
            <p:spPr>
              <a:xfrm>
                <a:off x="32759314" y="31579371"/>
                <a:ext cx="2345431" cy="1198348"/>
              </a:xfrm>
              <a:custGeom>
                <a:avLst/>
                <a:gdLst/>
                <a:ahLst/>
                <a:cxnLst/>
                <a:rect l="0" t="0" r="0" b="0"/>
                <a:pathLst>
                  <a:path w="2345427" h="1198349">
                    <a:moveTo>
                      <a:pt x="618868" y="705008"/>
                    </a:moveTo>
                    <a:lnTo>
                      <a:pt x="665069" y="726734"/>
                    </a:lnTo>
                    <a:lnTo>
                      <a:pt x="723348" y="741651"/>
                    </a:lnTo>
                    <a:lnTo>
                      <a:pt x="778139" y="755678"/>
                    </a:lnTo>
                    <a:lnTo>
                      <a:pt x="842665" y="765755"/>
                    </a:lnTo>
                    <a:lnTo>
                      <a:pt x="899136" y="767879"/>
                    </a:lnTo>
                    <a:lnTo>
                      <a:pt x="941812" y="764480"/>
                    </a:lnTo>
                    <a:lnTo>
                      <a:pt x="979785" y="771618"/>
                    </a:lnTo>
                    <a:lnTo>
                      <a:pt x="998193" y="783856"/>
                    </a:lnTo>
                    <a:lnTo>
                      <a:pt x="1019401" y="786411"/>
                    </a:lnTo>
                    <a:lnTo>
                      <a:pt x="1059895" y="785136"/>
                    </a:lnTo>
                    <a:lnTo>
                      <a:pt x="1130263" y="794909"/>
                    </a:lnTo>
                    <a:lnTo>
                      <a:pt x="1184880" y="801287"/>
                    </a:lnTo>
                    <a:lnTo>
                      <a:pt x="1234232" y="811067"/>
                    </a:lnTo>
                    <a:lnTo>
                      <a:pt x="1263479" y="816852"/>
                    </a:lnTo>
                    <a:lnTo>
                      <a:pt x="1296801" y="851402"/>
                    </a:lnTo>
                    <a:lnTo>
                      <a:pt x="1331906" y="861947"/>
                    </a:lnTo>
                    <a:lnTo>
                      <a:pt x="1366168" y="872235"/>
                    </a:lnTo>
                    <a:lnTo>
                      <a:pt x="1405527" y="862081"/>
                    </a:lnTo>
                    <a:lnTo>
                      <a:pt x="1437748" y="871175"/>
                    </a:lnTo>
                    <a:lnTo>
                      <a:pt x="1473836" y="891611"/>
                    </a:lnTo>
                    <a:lnTo>
                      <a:pt x="1535940" y="905216"/>
                    </a:lnTo>
                    <a:lnTo>
                      <a:pt x="1581333" y="903219"/>
                    </a:lnTo>
                    <a:lnTo>
                      <a:pt x="1624865" y="914356"/>
                    </a:lnTo>
                    <a:lnTo>
                      <a:pt x="1703707" y="934591"/>
                    </a:lnTo>
                    <a:lnTo>
                      <a:pt x="1772019" y="981475"/>
                    </a:lnTo>
                    <a:lnTo>
                      <a:pt x="1848954" y="1000729"/>
                    </a:lnTo>
                    <a:lnTo>
                      <a:pt x="1925975" y="1019987"/>
                    </a:lnTo>
                    <a:lnTo>
                      <a:pt x="1998151" y="995586"/>
                    </a:lnTo>
                    <a:lnTo>
                      <a:pt x="2093618" y="1037707"/>
                    </a:lnTo>
                    <a:lnTo>
                      <a:pt x="2113852" y="1046677"/>
                    </a:lnTo>
                    <a:lnTo>
                      <a:pt x="2191429" y="1087785"/>
                    </a:lnTo>
                    <a:lnTo>
                      <a:pt x="2232704" y="1115495"/>
                    </a:lnTo>
                    <a:lnTo>
                      <a:pt x="2250597" y="1138281"/>
                    </a:lnTo>
                    <a:lnTo>
                      <a:pt x="2276568" y="1153371"/>
                    </a:lnTo>
                    <a:lnTo>
                      <a:pt x="2298753" y="1166251"/>
                    </a:lnTo>
                    <a:lnTo>
                      <a:pt x="2323663" y="1173603"/>
                    </a:lnTo>
                    <a:lnTo>
                      <a:pt x="2345426" y="1187289"/>
                    </a:lnTo>
                    <a:lnTo>
                      <a:pt x="2309726" y="1198348"/>
                    </a:lnTo>
                    <a:lnTo>
                      <a:pt x="2273210" y="1175516"/>
                    </a:lnTo>
                    <a:lnTo>
                      <a:pt x="2238530" y="1161061"/>
                    </a:lnTo>
                    <a:lnTo>
                      <a:pt x="2196657" y="1143635"/>
                    </a:lnTo>
                    <a:lnTo>
                      <a:pt x="2154662" y="1124635"/>
                    </a:lnTo>
                    <a:lnTo>
                      <a:pt x="2112116" y="1108648"/>
                    </a:lnTo>
                    <a:lnTo>
                      <a:pt x="2054516" y="1087019"/>
                    </a:lnTo>
                    <a:lnTo>
                      <a:pt x="1989181" y="1076902"/>
                    </a:lnTo>
                    <a:lnTo>
                      <a:pt x="1932229" y="1053142"/>
                    </a:lnTo>
                    <a:lnTo>
                      <a:pt x="1903620" y="1041236"/>
                    </a:lnTo>
                    <a:lnTo>
                      <a:pt x="1868087" y="1023385"/>
                    </a:lnTo>
                    <a:lnTo>
                      <a:pt x="1837652" y="1017687"/>
                    </a:lnTo>
                    <a:lnTo>
                      <a:pt x="1808832" y="1017553"/>
                    </a:lnTo>
                    <a:lnTo>
                      <a:pt x="1735252" y="1001021"/>
                    </a:lnTo>
                    <a:lnTo>
                      <a:pt x="1678251" y="971224"/>
                    </a:lnTo>
                    <a:lnTo>
                      <a:pt x="1618661" y="956010"/>
                    </a:lnTo>
                    <a:lnTo>
                      <a:pt x="1571051" y="943809"/>
                    </a:lnTo>
                    <a:lnTo>
                      <a:pt x="1514770" y="948103"/>
                    </a:lnTo>
                    <a:lnTo>
                      <a:pt x="1466531" y="939009"/>
                    </a:lnTo>
                    <a:lnTo>
                      <a:pt x="1396479" y="925919"/>
                    </a:lnTo>
                    <a:lnTo>
                      <a:pt x="1333444" y="890550"/>
                    </a:lnTo>
                    <a:lnTo>
                      <a:pt x="1260965" y="880433"/>
                    </a:lnTo>
                    <a:lnTo>
                      <a:pt x="1174083" y="868319"/>
                    </a:lnTo>
                    <a:lnTo>
                      <a:pt x="1086867" y="859262"/>
                    </a:lnTo>
                    <a:lnTo>
                      <a:pt x="999874" y="846516"/>
                    </a:lnTo>
                    <a:lnTo>
                      <a:pt x="949040" y="839077"/>
                    </a:lnTo>
                    <a:lnTo>
                      <a:pt x="897006" y="839031"/>
                    </a:lnTo>
                    <a:lnTo>
                      <a:pt x="846708" y="826455"/>
                    </a:lnTo>
                    <a:lnTo>
                      <a:pt x="787214" y="811615"/>
                    </a:lnTo>
                    <a:lnTo>
                      <a:pt x="723674" y="794652"/>
                    </a:lnTo>
                    <a:lnTo>
                      <a:pt x="666818" y="770976"/>
                    </a:lnTo>
                    <a:lnTo>
                      <a:pt x="613345" y="748661"/>
                    </a:lnTo>
                    <a:lnTo>
                      <a:pt x="563739" y="718824"/>
                    </a:lnTo>
                    <a:lnTo>
                      <a:pt x="509550" y="698506"/>
                    </a:lnTo>
                    <a:lnTo>
                      <a:pt x="407485" y="660211"/>
                    </a:lnTo>
                    <a:lnTo>
                      <a:pt x="294035" y="636191"/>
                    </a:lnTo>
                    <a:lnTo>
                      <a:pt x="212468" y="559724"/>
                    </a:lnTo>
                    <a:lnTo>
                      <a:pt x="140590" y="492348"/>
                    </a:lnTo>
                    <a:lnTo>
                      <a:pt x="100019" y="360325"/>
                    </a:lnTo>
                    <a:lnTo>
                      <a:pt x="58979" y="272424"/>
                    </a:lnTo>
                    <a:lnTo>
                      <a:pt x="47498" y="247858"/>
                    </a:lnTo>
                    <a:lnTo>
                      <a:pt x="34643" y="224814"/>
                    </a:lnTo>
                    <a:lnTo>
                      <a:pt x="26420" y="198890"/>
                    </a:lnTo>
                    <a:lnTo>
                      <a:pt x="17490" y="170796"/>
                    </a:lnTo>
                    <a:lnTo>
                      <a:pt x="0" y="51987"/>
                    </a:lnTo>
                    <a:lnTo>
                      <a:pt x="8951" y="26228"/>
                    </a:lnTo>
                    <a:lnTo>
                      <a:pt x="26631" y="2341"/>
                    </a:lnTo>
                    <a:lnTo>
                      <a:pt x="63416" y="0"/>
                    </a:lnTo>
                    <a:lnTo>
                      <a:pt x="87858" y="52363"/>
                    </a:lnTo>
                    <a:lnTo>
                      <a:pt x="120548" y="163224"/>
                    </a:lnTo>
                    <a:lnTo>
                      <a:pt x="122014" y="220483"/>
                    </a:lnTo>
                    <a:lnTo>
                      <a:pt x="122693" y="247303"/>
                    </a:lnTo>
                    <a:lnTo>
                      <a:pt x="120827" y="273912"/>
                    </a:lnTo>
                    <a:lnTo>
                      <a:pt x="125093" y="300689"/>
                    </a:lnTo>
                    <a:lnTo>
                      <a:pt x="131232" y="339071"/>
                    </a:lnTo>
                    <a:lnTo>
                      <a:pt x="150068" y="360747"/>
                    </a:lnTo>
                    <a:lnTo>
                      <a:pt x="168263" y="393182"/>
                    </a:lnTo>
                    <a:lnTo>
                      <a:pt x="220542" y="486268"/>
                    </a:lnTo>
                    <a:lnTo>
                      <a:pt x="277924" y="544674"/>
                    </a:lnTo>
                    <a:lnTo>
                      <a:pt x="372842" y="595170"/>
                    </a:lnTo>
                    <a:lnTo>
                      <a:pt x="394903" y="606902"/>
                    </a:lnTo>
                    <a:lnTo>
                      <a:pt x="412651" y="622250"/>
                    </a:lnTo>
                    <a:lnTo>
                      <a:pt x="436556" y="632194"/>
                    </a:lnTo>
                    <a:lnTo>
                      <a:pt x="527757" y="670195"/>
                    </a:lnTo>
                    <a:lnTo>
                      <a:pt x="573512" y="629899"/>
                    </a:lnTo>
                    <a:lnTo>
                      <a:pt x="607200" y="641421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72" name="Kherson¬10" descr="Kherson¬10">
                <a:extLst>
                  <a:ext uri="{FF2B5EF4-FFF2-40B4-BE49-F238E27FC236}">
                    <a16:creationId xmlns:a16="http://schemas.microsoft.com/office/drawing/2014/main" id="{CD1091B3-DC13-4DFF-BE3E-029F84177C92}"/>
                  </a:ext>
                </a:extLst>
              </p:cNvPr>
              <p:cNvSpPr/>
              <p:nvPr/>
            </p:nvSpPr>
            <p:spPr>
              <a:xfrm>
                <a:off x="32802826" y="25213962"/>
                <a:ext cx="12613148" cy="9661477"/>
              </a:xfrm>
              <a:custGeom>
                <a:avLst/>
                <a:gdLst/>
                <a:ahLst/>
                <a:cxnLst/>
                <a:rect l="0" t="0" r="0" b="0"/>
                <a:pathLst>
                  <a:path w="12613150" h="9661476">
                    <a:moveTo>
                      <a:pt x="5518847" y="62948"/>
                    </a:moveTo>
                    <a:lnTo>
                      <a:pt x="5521312" y="121650"/>
                    </a:lnTo>
                    <a:lnTo>
                      <a:pt x="5527854" y="185026"/>
                    </a:lnTo>
                    <a:lnTo>
                      <a:pt x="5557611" y="225321"/>
                    </a:lnTo>
                    <a:lnTo>
                      <a:pt x="5609552" y="248489"/>
                    </a:lnTo>
                    <a:lnTo>
                      <a:pt x="5632589" y="292485"/>
                    </a:lnTo>
                    <a:lnTo>
                      <a:pt x="5642877" y="312164"/>
                    </a:lnTo>
                    <a:lnTo>
                      <a:pt x="5625790" y="349610"/>
                    </a:lnTo>
                    <a:lnTo>
                      <a:pt x="5615691" y="368378"/>
                    </a:lnTo>
                    <a:lnTo>
                      <a:pt x="5603096" y="386290"/>
                    </a:lnTo>
                    <a:lnTo>
                      <a:pt x="5605338" y="432626"/>
                    </a:lnTo>
                    <a:lnTo>
                      <a:pt x="5616299" y="456645"/>
                    </a:lnTo>
                    <a:lnTo>
                      <a:pt x="5628506" y="480188"/>
                    </a:lnTo>
                    <a:lnTo>
                      <a:pt x="5640719" y="503732"/>
                    </a:lnTo>
                    <a:lnTo>
                      <a:pt x="5653757" y="527565"/>
                    </a:lnTo>
                    <a:lnTo>
                      <a:pt x="5657074" y="553644"/>
                    </a:lnTo>
                    <a:lnTo>
                      <a:pt x="5664469" y="611619"/>
                    </a:lnTo>
                    <a:lnTo>
                      <a:pt x="5635141" y="665519"/>
                    </a:lnTo>
                    <a:lnTo>
                      <a:pt x="5638028" y="723664"/>
                    </a:lnTo>
                    <a:lnTo>
                      <a:pt x="5654786" y="768688"/>
                    </a:lnTo>
                    <a:lnTo>
                      <a:pt x="5666599" y="799837"/>
                    </a:lnTo>
                    <a:lnTo>
                      <a:pt x="5678152" y="831056"/>
                    </a:lnTo>
                    <a:lnTo>
                      <a:pt x="5679523" y="858385"/>
                    </a:lnTo>
                    <a:lnTo>
                      <a:pt x="5665232" y="877367"/>
                    </a:lnTo>
                    <a:lnTo>
                      <a:pt x="5643088" y="884383"/>
                    </a:lnTo>
                    <a:lnTo>
                      <a:pt x="5616562" y="889223"/>
                    </a:lnTo>
                    <a:lnTo>
                      <a:pt x="5589069" y="890972"/>
                    </a:lnTo>
                    <a:lnTo>
                      <a:pt x="5561561" y="892711"/>
                    </a:lnTo>
                    <a:lnTo>
                      <a:pt x="5534105" y="890774"/>
                    </a:lnTo>
                    <a:lnTo>
                      <a:pt x="5511533" y="884172"/>
                    </a:lnTo>
                    <a:lnTo>
                      <a:pt x="5494377" y="840699"/>
                    </a:lnTo>
                    <a:lnTo>
                      <a:pt x="5478887" y="794395"/>
                    </a:lnTo>
                    <a:lnTo>
                      <a:pt x="5463396" y="748100"/>
                    </a:lnTo>
                    <a:lnTo>
                      <a:pt x="5443946" y="696975"/>
                    </a:lnTo>
                    <a:lnTo>
                      <a:pt x="5425839" y="676058"/>
                    </a:lnTo>
                    <a:lnTo>
                      <a:pt x="5394597" y="691741"/>
                    </a:lnTo>
                    <a:lnTo>
                      <a:pt x="5395918" y="731822"/>
                    </a:lnTo>
                    <a:lnTo>
                      <a:pt x="5401338" y="774883"/>
                    </a:lnTo>
                    <a:lnTo>
                      <a:pt x="5384843" y="806425"/>
                    </a:lnTo>
                    <a:lnTo>
                      <a:pt x="5351031" y="817516"/>
                    </a:lnTo>
                    <a:lnTo>
                      <a:pt x="5317477" y="831289"/>
                    </a:lnTo>
                    <a:lnTo>
                      <a:pt x="5307505" y="850162"/>
                    </a:lnTo>
                    <a:lnTo>
                      <a:pt x="5304888" y="872182"/>
                    </a:lnTo>
                    <a:lnTo>
                      <a:pt x="5308237" y="913547"/>
                    </a:lnTo>
                    <a:lnTo>
                      <a:pt x="5319752" y="950813"/>
                    </a:lnTo>
                    <a:lnTo>
                      <a:pt x="5333845" y="986684"/>
                    </a:lnTo>
                    <a:lnTo>
                      <a:pt x="5354618" y="1012884"/>
                    </a:lnTo>
                    <a:lnTo>
                      <a:pt x="5382319" y="1022908"/>
                    </a:lnTo>
                    <a:lnTo>
                      <a:pt x="5410203" y="1025243"/>
                    </a:lnTo>
                    <a:lnTo>
                      <a:pt x="5440130" y="1030802"/>
                    </a:lnTo>
                    <a:lnTo>
                      <a:pt x="5468013" y="1031066"/>
                    </a:lnTo>
                    <a:lnTo>
                      <a:pt x="5505775" y="1025587"/>
                    </a:lnTo>
                    <a:lnTo>
                      <a:pt x="5541782" y="1025665"/>
                    </a:lnTo>
                    <a:lnTo>
                      <a:pt x="5567306" y="1052829"/>
                    </a:lnTo>
                    <a:lnTo>
                      <a:pt x="5599633" y="1125460"/>
                    </a:lnTo>
                    <a:lnTo>
                      <a:pt x="5628921" y="1180362"/>
                    </a:lnTo>
                    <a:lnTo>
                      <a:pt x="5643475" y="1236458"/>
                    </a:lnTo>
                    <a:lnTo>
                      <a:pt x="5650759" y="1264506"/>
                    </a:lnTo>
                    <a:lnTo>
                      <a:pt x="5654851" y="1292622"/>
                    </a:lnTo>
                    <a:lnTo>
                      <a:pt x="5653000" y="1323510"/>
                    </a:lnTo>
                    <a:lnTo>
                      <a:pt x="5651146" y="1354395"/>
                    </a:lnTo>
                    <a:lnTo>
                      <a:pt x="5643984" y="1388498"/>
                    </a:lnTo>
                    <a:lnTo>
                      <a:pt x="5629870" y="1426887"/>
                    </a:lnTo>
                    <a:lnTo>
                      <a:pt x="5620084" y="1453530"/>
                    </a:lnTo>
                    <a:lnTo>
                      <a:pt x="5607474" y="1476831"/>
                    </a:lnTo>
                    <a:lnTo>
                      <a:pt x="5599949" y="1504417"/>
                    </a:lnTo>
                    <a:lnTo>
                      <a:pt x="5588006" y="1548067"/>
                    </a:lnTo>
                    <a:lnTo>
                      <a:pt x="5580481" y="1586880"/>
                    </a:lnTo>
                    <a:lnTo>
                      <a:pt x="5584986" y="1632273"/>
                    </a:lnTo>
                    <a:lnTo>
                      <a:pt x="5588905" y="1671569"/>
                    </a:lnTo>
                    <a:lnTo>
                      <a:pt x="5611505" y="1713251"/>
                    </a:lnTo>
                    <a:lnTo>
                      <a:pt x="5636676" y="1754693"/>
                    </a:lnTo>
                    <a:lnTo>
                      <a:pt x="5661849" y="1796135"/>
                    </a:lnTo>
                    <a:lnTo>
                      <a:pt x="5689727" y="1837345"/>
                    </a:lnTo>
                    <a:lnTo>
                      <a:pt x="5701968" y="1877107"/>
                    </a:lnTo>
                    <a:lnTo>
                      <a:pt x="5680118" y="1903124"/>
                    </a:lnTo>
                    <a:lnTo>
                      <a:pt x="5673917" y="1935497"/>
                    </a:lnTo>
                    <a:lnTo>
                      <a:pt x="5667958" y="1962801"/>
                    </a:lnTo>
                    <a:lnTo>
                      <a:pt x="5662007" y="1990105"/>
                    </a:lnTo>
                    <a:lnTo>
                      <a:pt x="5656634" y="2011787"/>
                    </a:lnTo>
                    <a:lnTo>
                      <a:pt x="5616274" y="2014491"/>
                    </a:lnTo>
                    <a:lnTo>
                      <a:pt x="5581563" y="1982744"/>
                    </a:lnTo>
                    <a:lnTo>
                      <a:pt x="5556172" y="1965679"/>
                    </a:lnTo>
                    <a:lnTo>
                      <a:pt x="5515871" y="1954492"/>
                    </a:lnTo>
                    <a:lnTo>
                      <a:pt x="5487051" y="1973690"/>
                    </a:lnTo>
                    <a:lnTo>
                      <a:pt x="5459797" y="1999087"/>
                    </a:lnTo>
                    <a:lnTo>
                      <a:pt x="5437088" y="2052883"/>
                    </a:lnTo>
                    <a:lnTo>
                      <a:pt x="5387758" y="2104269"/>
                    </a:lnTo>
                    <a:lnTo>
                      <a:pt x="5364419" y="2132065"/>
                    </a:lnTo>
                    <a:lnTo>
                      <a:pt x="5322977" y="2147029"/>
                    </a:lnTo>
                    <a:lnTo>
                      <a:pt x="5294548" y="2144055"/>
                    </a:lnTo>
                    <a:lnTo>
                      <a:pt x="5268063" y="2140989"/>
                    </a:lnTo>
                    <a:lnTo>
                      <a:pt x="5241577" y="2137922"/>
                    </a:lnTo>
                    <a:lnTo>
                      <a:pt x="5217247" y="2134803"/>
                    </a:lnTo>
                    <a:lnTo>
                      <a:pt x="5183054" y="2116370"/>
                    </a:lnTo>
                    <a:lnTo>
                      <a:pt x="5176248" y="2084068"/>
                    </a:lnTo>
                    <a:lnTo>
                      <a:pt x="5153806" y="2067536"/>
                    </a:lnTo>
                    <a:lnTo>
                      <a:pt x="5106789" y="2100734"/>
                    </a:lnTo>
                    <a:lnTo>
                      <a:pt x="5103775" y="2157906"/>
                    </a:lnTo>
                    <a:lnTo>
                      <a:pt x="5085791" y="2200839"/>
                    </a:lnTo>
                    <a:lnTo>
                      <a:pt x="5073256" y="2230807"/>
                    </a:lnTo>
                    <a:lnTo>
                      <a:pt x="5057446" y="2259791"/>
                    </a:lnTo>
                    <a:lnTo>
                      <a:pt x="5043630" y="2289249"/>
                    </a:lnTo>
                    <a:lnTo>
                      <a:pt x="5032452" y="2312966"/>
                    </a:lnTo>
                    <a:lnTo>
                      <a:pt x="5026496" y="2340130"/>
                    </a:lnTo>
                    <a:lnTo>
                      <a:pt x="5013703" y="2364060"/>
                    </a:lnTo>
                    <a:lnTo>
                      <a:pt x="5001719" y="2386437"/>
                    </a:lnTo>
                    <a:lnTo>
                      <a:pt x="4979693" y="2413611"/>
                    </a:lnTo>
                    <a:lnTo>
                      <a:pt x="4959294" y="2441591"/>
                    </a:lnTo>
                    <a:lnTo>
                      <a:pt x="4938898" y="2469567"/>
                    </a:lnTo>
                    <a:lnTo>
                      <a:pt x="4919535" y="2498610"/>
                    </a:lnTo>
                    <a:lnTo>
                      <a:pt x="4915768" y="2520485"/>
                    </a:lnTo>
                    <a:lnTo>
                      <a:pt x="4918236" y="2544412"/>
                    </a:lnTo>
                    <a:lnTo>
                      <a:pt x="4928905" y="2564302"/>
                    </a:lnTo>
                    <a:lnTo>
                      <a:pt x="4933450" y="2587135"/>
                    </a:lnTo>
                    <a:lnTo>
                      <a:pt x="4934142" y="2618045"/>
                    </a:lnTo>
                    <a:lnTo>
                      <a:pt x="4935487" y="2648710"/>
                    </a:lnTo>
                    <a:lnTo>
                      <a:pt x="4952494" y="2671465"/>
                    </a:lnTo>
                    <a:lnTo>
                      <a:pt x="4982930" y="2679964"/>
                    </a:lnTo>
                    <a:lnTo>
                      <a:pt x="5015231" y="2657264"/>
                    </a:lnTo>
                    <a:lnTo>
                      <a:pt x="5046346" y="2661940"/>
                    </a:lnTo>
                    <a:lnTo>
                      <a:pt x="5242725" y="2780069"/>
                    </a:lnTo>
                    <a:lnTo>
                      <a:pt x="5265337" y="2793885"/>
                    </a:lnTo>
                    <a:lnTo>
                      <a:pt x="5294672" y="2811739"/>
                    </a:lnTo>
                    <a:lnTo>
                      <a:pt x="5427923" y="2942230"/>
                    </a:lnTo>
                    <a:lnTo>
                      <a:pt x="5436725" y="2963909"/>
                    </a:lnTo>
                    <a:lnTo>
                      <a:pt x="5437584" y="2993005"/>
                    </a:lnTo>
                    <a:lnTo>
                      <a:pt x="5427203" y="3011515"/>
                    </a:lnTo>
                    <a:lnTo>
                      <a:pt x="5416822" y="3030023"/>
                    </a:lnTo>
                    <a:lnTo>
                      <a:pt x="5400495" y="3050822"/>
                    </a:lnTo>
                    <a:lnTo>
                      <a:pt x="5383677" y="3071366"/>
                    </a:lnTo>
                    <a:lnTo>
                      <a:pt x="5350036" y="3112446"/>
                    </a:lnTo>
                    <a:lnTo>
                      <a:pt x="5311945" y="3153761"/>
                    </a:lnTo>
                    <a:lnTo>
                      <a:pt x="5306147" y="3180181"/>
                    </a:lnTo>
                    <a:lnTo>
                      <a:pt x="5315663" y="3235948"/>
                    </a:lnTo>
                    <a:lnTo>
                      <a:pt x="5269718" y="3198964"/>
                    </a:lnTo>
                    <a:lnTo>
                      <a:pt x="5231888" y="3175840"/>
                    </a:lnTo>
                    <a:lnTo>
                      <a:pt x="5200048" y="3150254"/>
                    </a:lnTo>
                    <a:lnTo>
                      <a:pt x="5168044" y="3124541"/>
                    </a:lnTo>
                    <a:lnTo>
                      <a:pt x="5159496" y="3081226"/>
                    </a:lnTo>
                    <a:lnTo>
                      <a:pt x="5127959" y="3059125"/>
                    </a:lnTo>
                    <a:lnTo>
                      <a:pt x="5096513" y="3061283"/>
                    </a:lnTo>
                    <a:lnTo>
                      <a:pt x="5064193" y="3081443"/>
                    </a:lnTo>
                    <a:lnTo>
                      <a:pt x="5042265" y="3104009"/>
                    </a:lnTo>
                    <a:lnTo>
                      <a:pt x="5035156" y="3168120"/>
                    </a:lnTo>
                    <a:lnTo>
                      <a:pt x="5040907" y="3215543"/>
                    </a:lnTo>
                    <a:lnTo>
                      <a:pt x="5046656" y="3262973"/>
                    </a:lnTo>
                    <a:lnTo>
                      <a:pt x="5059483" y="3309969"/>
                    </a:lnTo>
                    <a:lnTo>
                      <a:pt x="5077634" y="3321642"/>
                    </a:lnTo>
                    <a:lnTo>
                      <a:pt x="5128176" y="3330392"/>
                    </a:lnTo>
                    <a:lnTo>
                      <a:pt x="5185261" y="3316160"/>
                    </a:lnTo>
                    <a:lnTo>
                      <a:pt x="5238133" y="3321642"/>
                    </a:lnTo>
                    <a:lnTo>
                      <a:pt x="5265728" y="3344835"/>
                    </a:lnTo>
                    <a:lnTo>
                      <a:pt x="5275830" y="3382777"/>
                    </a:lnTo>
                    <a:lnTo>
                      <a:pt x="5274226" y="3404078"/>
                    </a:lnTo>
                    <a:lnTo>
                      <a:pt x="5243112" y="3421825"/>
                    </a:lnTo>
                    <a:lnTo>
                      <a:pt x="5199961" y="3417822"/>
                    </a:lnTo>
                    <a:lnTo>
                      <a:pt x="5160565" y="3426823"/>
                    </a:lnTo>
                    <a:lnTo>
                      <a:pt x="5130663" y="3431065"/>
                    </a:lnTo>
                    <a:lnTo>
                      <a:pt x="5102113" y="3438615"/>
                    </a:lnTo>
                    <a:lnTo>
                      <a:pt x="5073572" y="3446168"/>
                    </a:lnTo>
                    <a:lnTo>
                      <a:pt x="5047217" y="3457187"/>
                    </a:lnTo>
                    <a:lnTo>
                      <a:pt x="5028666" y="3478061"/>
                    </a:lnTo>
                    <a:lnTo>
                      <a:pt x="5000274" y="3517209"/>
                    </a:lnTo>
                    <a:lnTo>
                      <a:pt x="4981057" y="3543350"/>
                    </a:lnTo>
                    <a:lnTo>
                      <a:pt x="4961839" y="3569491"/>
                    </a:lnTo>
                    <a:lnTo>
                      <a:pt x="4942129" y="3593852"/>
                    </a:lnTo>
                    <a:lnTo>
                      <a:pt x="4865079" y="3599737"/>
                    </a:lnTo>
                    <a:lnTo>
                      <a:pt x="4804801" y="3611990"/>
                    </a:lnTo>
                    <a:lnTo>
                      <a:pt x="4744380" y="3623602"/>
                    </a:lnTo>
                    <a:lnTo>
                      <a:pt x="4683959" y="3635217"/>
                    </a:lnTo>
                    <a:lnTo>
                      <a:pt x="4622539" y="3645405"/>
                    </a:lnTo>
                    <a:lnTo>
                      <a:pt x="4560757" y="3645365"/>
                    </a:lnTo>
                    <a:lnTo>
                      <a:pt x="4543077" y="3664406"/>
                    </a:lnTo>
                    <a:lnTo>
                      <a:pt x="4529472" y="3687527"/>
                    </a:lnTo>
                    <a:lnTo>
                      <a:pt x="4537716" y="3716564"/>
                    </a:lnTo>
                    <a:lnTo>
                      <a:pt x="4556596" y="3737384"/>
                    </a:lnTo>
                    <a:lnTo>
                      <a:pt x="4583881" y="3751458"/>
                    </a:lnTo>
                    <a:lnTo>
                      <a:pt x="4612661" y="3763330"/>
                    </a:lnTo>
                    <a:lnTo>
                      <a:pt x="4650007" y="3766164"/>
                    </a:lnTo>
                    <a:lnTo>
                      <a:pt x="4688619" y="3765063"/>
                    </a:lnTo>
                    <a:lnTo>
                      <a:pt x="4765839" y="3762853"/>
                    </a:lnTo>
                    <a:lnTo>
                      <a:pt x="4848904" y="3741579"/>
                    </a:lnTo>
                    <a:lnTo>
                      <a:pt x="4885847" y="3726979"/>
                    </a:lnTo>
                    <a:lnTo>
                      <a:pt x="4912075" y="3751802"/>
                    </a:lnTo>
                    <a:lnTo>
                      <a:pt x="4935236" y="3779177"/>
                    </a:lnTo>
                    <a:lnTo>
                      <a:pt x="4964735" y="3775946"/>
                    </a:lnTo>
                    <a:lnTo>
                      <a:pt x="4991624" y="3766421"/>
                    </a:lnTo>
                    <a:lnTo>
                      <a:pt x="5015061" y="3784104"/>
                    </a:lnTo>
                    <a:lnTo>
                      <a:pt x="5005545" y="3828994"/>
                    </a:lnTo>
                    <a:lnTo>
                      <a:pt x="4971752" y="3850909"/>
                    </a:lnTo>
                    <a:lnTo>
                      <a:pt x="4948414" y="3856199"/>
                    </a:lnTo>
                    <a:lnTo>
                      <a:pt x="4925066" y="3861488"/>
                    </a:lnTo>
                    <a:lnTo>
                      <a:pt x="4898141" y="3864434"/>
                    </a:lnTo>
                    <a:lnTo>
                      <a:pt x="4869526" y="3867079"/>
                    </a:lnTo>
                    <a:lnTo>
                      <a:pt x="4840904" y="3869724"/>
                    </a:lnTo>
                    <a:lnTo>
                      <a:pt x="4810763" y="3871261"/>
                    </a:lnTo>
                    <a:lnTo>
                      <a:pt x="4781106" y="3876604"/>
                    </a:lnTo>
                    <a:lnTo>
                      <a:pt x="4751449" y="3881946"/>
                    </a:lnTo>
                    <a:lnTo>
                      <a:pt x="4721873" y="3890414"/>
                    </a:lnTo>
                    <a:lnTo>
                      <a:pt x="4695418" y="3903808"/>
                    </a:lnTo>
                    <a:lnTo>
                      <a:pt x="4660124" y="3931617"/>
                    </a:lnTo>
                    <a:lnTo>
                      <a:pt x="4641006" y="3948692"/>
                    </a:lnTo>
                    <a:lnTo>
                      <a:pt x="4621894" y="3965767"/>
                    </a:lnTo>
                    <a:lnTo>
                      <a:pt x="4601607" y="3980876"/>
                    </a:lnTo>
                    <a:lnTo>
                      <a:pt x="4534696" y="3977478"/>
                    </a:lnTo>
                    <a:lnTo>
                      <a:pt x="4482628" y="3954686"/>
                    </a:lnTo>
                    <a:lnTo>
                      <a:pt x="4432895" y="3962292"/>
                    </a:lnTo>
                    <a:lnTo>
                      <a:pt x="4231586" y="3993576"/>
                    </a:lnTo>
                    <a:lnTo>
                      <a:pt x="4209631" y="3996934"/>
                    </a:lnTo>
                    <a:lnTo>
                      <a:pt x="4179903" y="3985419"/>
                    </a:lnTo>
                    <a:lnTo>
                      <a:pt x="4157209" y="3966400"/>
                    </a:lnTo>
                    <a:lnTo>
                      <a:pt x="4131422" y="3925525"/>
                    </a:lnTo>
                    <a:lnTo>
                      <a:pt x="4119171" y="3890234"/>
                    </a:lnTo>
                    <a:lnTo>
                      <a:pt x="4095567" y="3868440"/>
                    </a:lnTo>
                    <a:lnTo>
                      <a:pt x="4078210" y="3852413"/>
                    </a:lnTo>
                    <a:lnTo>
                      <a:pt x="4047173" y="3849446"/>
                    </a:lnTo>
                    <a:lnTo>
                      <a:pt x="4019395" y="3842593"/>
                    </a:lnTo>
                    <a:lnTo>
                      <a:pt x="3993102" y="3834197"/>
                    </a:lnTo>
                    <a:lnTo>
                      <a:pt x="3972241" y="3821075"/>
                    </a:lnTo>
                    <a:lnTo>
                      <a:pt x="3960905" y="3799067"/>
                    </a:lnTo>
                    <a:lnTo>
                      <a:pt x="3935245" y="3786265"/>
                    </a:lnTo>
                    <a:lnTo>
                      <a:pt x="3896797" y="3792823"/>
                    </a:lnTo>
                    <a:lnTo>
                      <a:pt x="3874672" y="3800841"/>
                    </a:lnTo>
                    <a:lnTo>
                      <a:pt x="3852090" y="3808589"/>
                    </a:lnTo>
                    <a:lnTo>
                      <a:pt x="3829515" y="3816338"/>
                    </a:lnTo>
                    <a:lnTo>
                      <a:pt x="3806480" y="3823664"/>
                    </a:lnTo>
                    <a:lnTo>
                      <a:pt x="3767122" y="3828876"/>
                    </a:lnTo>
                    <a:lnTo>
                      <a:pt x="3740556" y="3815389"/>
                    </a:lnTo>
                    <a:lnTo>
                      <a:pt x="3736131" y="3772675"/>
                    </a:lnTo>
                    <a:lnTo>
                      <a:pt x="3713689" y="3766000"/>
                    </a:lnTo>
                    <a:lnTo>
                      <a:pt x="3689678" y="3771652"/>
                    </a:lnTo>
                    <a:lnTo>
                      <a:pt x="3661668" y="3762341"/>
                    </a:lnTo>
                    <a:lnTo>
                      <a:pt x="3653504" y="3726979"/>
                    </a:lnTo>
                    <a:lnTo>
                      <a:pt x="3610065" y="3719413"/>
                    </a:lnTo>
                    <a:lnTo>
                      <a:pt x="3585833" y="3737518"/>
                    </a:lnTo>
                    <a:lnTo>
                      <a:pt x="3593610" y="3759451"/>
                    </a:lnTo>
                    <a:lnTo>
                      <a:pt x="3597671" y="3810608"/>
                    </a:lnTo>
                    <a:lnTo>
                      <a:pt x="3597349" y="3837093"/>
                    </a:lnTo>
                    <a:lnTo>
                      <a:pt x="3595014" y="3858915"/>
                    </a:lnTo>
                    <a:lnTo>
                      <a:pt x="3592680" y="3880737"/>
                    </a:lnTo>
                    <a:lnTo>
                      <a:pt x="3578690" y="3911966"/>
                    </a:lnTo>
                    <a:lnTo>
                      <a:pt x="3554390" y="3935450"/>
                    </a:lnTo>
                    <a:lnTo>
                      <a:pt x="3535164" y="3944609"/>
                    </a:lnTo>
                    <a:lnTo>
                      <a:pt x="3515934" y="3953771"/>
                    </a:lnTo>
                    <a:lnTo>
                      <a:pt x="3491486" y="3961116"/>
                    </a:lnTo>
                    <a:lnTo>
                      <a:pt x="3460353" y="3969097"/>
                    </a:lnTo>
                    <a:lnTo>
                      <a:pt x="3421949" y="3978929"/>
                    </a:lnTo>
                    <a:lnTo>
                      <a:pt x="3396633" y="3982101"/>
                    </a:lnTo>
                    <a:lnTo>
                      <a:pt x="3360855" y="3975125"/>
                    </a:lnTo>
                    <a:lnTo>
                      <a:pt x="3343377" y="3954134"/>
                    </a:lnTo>
                    <a:lnTo>
                      <a:pt x="3330261" y="3931202"/>
                    </a:lnTo>
                    <a:lnTo>
                      <a:pt x="3330940" y="3898088"/>
                    </a:lnTo>
                    <a:lnTo>
                      <a:pt x="3308009" y="3875236"/>
                    </a:lnTo>
                    <a:lnTo>
                      <a:pt x="3280165" y="3864707"/>
                    </a:lnTo>
                    <a:lnTo>
                      <a:pt x="3257683" y="3865721"/>
                    </a:lnTo>
                    <a:lnTo>
                      <a:pt x="3235204" y="3866731"/>
                    </a:lnTo>
                    <a:lnTo>
                      <a:pt x="3207965" y="3871116"/>
                    </a:lnTo>
                    <a:lnTo>
                      <a:pt x="3181514" y="3876604"/>
                    </a:lnTo>
                    <a:lnTo>
                      <a:pt x="3128596" y="3887571"/>
                    </a:lnTo>
                    <a:lnTo>
                      <a:pt x="3076007" y="3903194"/>
                    </a:lnTo>
                    <a:lnTo>
                      <a:pt x="3045882" y="3910924"/>
                    </a:lnTo>
                    <a:lnTo>
                      <a:pt x="3027805" y="3933729"/>
                    </a:lnTo>
                    <a:lnTo>
                      <a:pt x="3011940" y="3965048"/>
                    </a:lnTo>
                    <a:lnTo>
                      <a:pt x="2994263" y="4017997"/>
                    </a:lnTo>
                    <a:lnTo>
                      <a:pt x="2986989" y="4055722"/>
                    </a:lnTo>
                    <a:lnTo>
                      <a:pt x="2970246" y="4111579"/>
                    </a:lnTo>
                    <a:lnTo>
                      <a:pt x="2963493" y="4133831"/>
                    </a:lnTo>
                    <a:lnTo>
                      <a:pt x="2937067" y="4155284"/>
                    </a:lnTo>
                    <a:lnTo>
                      <a:pt x="2882270" y="4145918"/>
                    </a:lnTo>
                    <a:lnTo>
                      <a:pt x="2861270" y="4141164"/>
                    </a:lnTo>
                    <a:lnTo>
                      <a:pt x="2839079" y="4140563"/>
                    </a:lnTo>
                    <a:lnTo>
                      <a:pt x="2818339" y="4135038"/>
                    </a:lnTo>
                    <a:lnTo>
                      <a:pt x="2793172" y="4128362"/>
                    </a:lnTo>
                    <a:lnTo>
                      <a:pt x="2763679" y="4117522"/>
                    </a:lnTo>
                    <a:lnTo>
                      <a:pt x="2739445" y="4107833"/>
                    </a:lnTo>
                    <a:lnTo>
                      <a:pt x="2703404" y="4093378"/>
                    </a:lnTo>
                    <a:lnTo>
                      <a:pt x="2667446" y="4076198"/>
                    </a:lnTo>
                    <a:lnTo>
                      <a:pt x="2631994" y="4060224"/>
                    </a:lnTo>
                    <a:lnTo>
                      <a:pt x="2582378" y="4054897"/>
                    </a:lnTo>
                    <a:lnTo>
                      <a:pt x="2550380" y="4061585"/>
                    </a:lnTo>
                    <a:lnTo>
                      <a:pt x="2518382" y="4068270"/>
                    </a:lnTo>
                    <a:lnTo>
                      <a:pt x="2486325" y="4078672"/>
                    </a:lnTo>
                    <a:lnTo>
                      <a:pt x="2459964" y="4105176"/>
                    </a:lnTo>
                    <a:lnTo>
                      <a:pt x="2452064" y="4125844"/>
                    </a:lnTo>
                    <a:lnTo>
                      <a:pt x="2445649" y="4145918"/>
                    </a:lnTo>
                    <a:lnTo>
                      <a:pt x="2439224" y="4165994"/>
                    </a:lnTo>
                    <a:lnTo>
                      <a:pt x="2433987" y="4186492"/>
                    </a:lnTo>
                    <a:lnTo>
                      <a:pt x="2406420" y="4274632"/>
                    </a:lnTo>
                    <a:lnTo>
                      <a:pt x="2385488" y="4323460"/>
                    </a:lnTo>
                    <a:lnTo>
                      <a:pt x="2351788" y="4360828"/>
                    </a:lnTo>
                    <a:lnTo>
                      <a:pt x="2334939" y="4379509"/>
                    </a:lnTo>
                    <a:lnTo>
                      <a:pt x="2315148" y="4394941"/>
                    </a:lnTo>
                    <a:lnTo>
                      <a:pt x="2290582" y="4408435"/>
                    </a:lnTo>
                    <a:lnTo>
                      <a:pt x="2266023" y="4421929"/>
                    </a:lnTo>
                    <a:lnTo>
                      <a:pt x="2236207" y="4433714"/>
                    </a:lnTo>
                    <a:lnTo>
                      <a:pt x="2200811" y="4443797"/>
                    </a:lnTo>
                    <a:lnTo>
                      <a:pt x="2160953" y="4456782"/>
                    </a:lnTo>
                    <a:lnTo>
                      <a:pt x="2134158" y="4462844"/>
                    </a:lnTo>
                    <a:lnTo>
                      <a:pt x="2107369" y="4468906"/>
                    </a:lnTo>
                    <a:lnTo>
                      <a:pt x="2080645" y="4471609"/>
                    </a:lnTo>
                    <a:lnTo>
                      <a:pt x="2060544" y="4456044"/>
                    </a:lnTo>
                    <a:lnTo>
                      <a:pt x="2037587" y="4428834"/>
                    </a:lnTo>
                    <a:lnTo>
                      <a:pt x="2015238" y="4403536"/>
                    </a:lnTo>
                    <a:lnTo>
                      <a:pt x="1991649" y="4393378"/>
                    </a:lnTo>
                    <a:lnTo>
                      <a:pt x="1966587" y="4390873"/>
                    </a:lnTo>
                    <a:lnTo>
                      <a:pt x="1942371" y="4393471"/>
                    </a:lnTo>
                    <a:lnTo>
                      <a:pt x="1918146" y="4396070"/>
                    </a:lnTo>
                    <a:lnTo>
                      <a:pt x="1893481" y="4404097"/>
                    </a:lnTo>
                    <a:lnTo>
                      <a:pt x="1869107" y="4426369"/>
                    </a:lnTo>
                    <a:lnTo>
                      <a:pt x="1854652" y="4447285"/>
                    </a:lnTo>
                    <a:lnTo>
                      <a:pt x="1840352" y="4466927"/>
                    </a:lnTo>
                    <a:lnTo>
                      <a:pt x="1826056" y="4486560"/>
                    </a:lnTo>
                    <a:lnTo>
                      <a:pt x="1812267" y="4505421"/>
                    </a:lnTo>
                    <a:lnTo>
                      <a:pt x="1766893" y="4522087"/>
                    </a:lnTo>
                    <a:lnTo>
                      <a:pt x="1732328" y="4518974"/>
                    </a:lnTo>
                    <a:lnTo>
                      <a:pt x="1697533" y="4513163"/>
                    </a:lnTo>
                    <a:lnTo>
                      <a:pt x="1666341" y="4507961"/>
                    </a:lnTo>
                    <a:lnTo>
                      <a:pt x="1625293" y="4500811"/>
                    </a:lnTo>
                    <a:lnTo>
                      <a:pt x="1591444" y="4499564"/>
                    </a:lnTo>
                    <a:lnTo>
                      <a:pt x="1606401" y="4518605"/>
                    </a:lnTo>
                    <a:lnTo>
                      <a:pt x="1617374" y="4565783"/>
                    </a:lnTo>
                    <a:lnTo>
                      <a:pt x="1603387" y="4615349"/>
                    </a:lnTo>
                    <a:lnTo>
                      <a:pt x="1610481" y="4664146"/>
                    </a:lnTo>
                    <a:lnTo>
                      <a:pt x="1674025" y="4853722"/>
                    </a:lnTo>
                    <a:lnTo>
                      <a:pt x="1699744" y="4906048"/>
                    </a:lnTo>
                    <a:lnTo>
                      <a:pt x="1736721" y="4959651"/>
                    </a:lnTo>
                    <a:lnTo>
                      <a:pt x="1770983" y="4998759"/>
                    </a:lnTo>
                    <a:lnTo>
                      <a:pt x="1894544" y="5139962"/>
                    </a:lnTo>
                    <a:lnTo>
                      <a:pt x="1972549" y="5015675"/>
                    </a:lnTo>
                    <a:lnTo>
                      <a:pt x="2101512" y="5119815"/>
                    </a:lnTo>
                    <a:lnTo>
                      <a:pt x="2193450" y="5194027"/>
                    </a:lnTo>
                    <a:lnTo>
                      <a:pt x="2140449" y="5349860"/>
                    </a:lnTo>
                    <a:lnTo>
                      <a:pt x="2200805" y="5379616"/>
                    </a:lnTo>
                    <a:lnTo>
                      <a:pt x="2259124" y="5352917"/>
                    </a:lnTo>
                    <a:lnTo>
                      <a:pt x="2275572" y="5307822"/>
                    </a:lnTo>
                    <a:lnTo>
                      <a:pt x="2317777" y="5284397"/>
                    </a:lnTo>
                    <a:lnTo>
                      <a:pt x="2362965" y="5259322"/>
                    </a:lnTo>
                    <a:lnTo>
                      <a:pt x="2441215" y="5259450"/>
                    </a:lnTo>
                    <a:lnTo>
                      <a:pt x="2466038" y="5240871"/>
                    </a:lnTo>
                    <a:lnTo>
                      <a:pt x="2494864" y="5219238"/>
                    </a:lnTo>
                    <a:lnTo>
                      <a:pt x="2498005" y="5175495"/>
                    </a:lnTo>
                    <a:lnTo>
                      <a:pt x="2525895" y="5153819"/>
                    </a:lnTo>
                    <a:lnTo>
                      <a:pt x="2567548" y="5149525"/>
                    </a:lnTo>
                    <a:lnTo>
                      <a:pt x="2586502" y="5160532"/>
                    </a:lnTo>
                    <a:lnTo>
                      <a:pt x="2686605" y="5262423"/>
                    </a:lnTo>
                    <a:lnTo>
                      <a:pt x="2701357" y="5280317"/>
                    </a:lnTo>
                    <a:lnTo>
                      <a:pt x="2728053" y="5312702"/>
                    </a:lnTo>
                    <a:lnTo>
                      <a:pt x="2770175" y="5372426"/>
                    </a:lnTo>
                    <a:lnTo>
                      <a:pt x="2811533" y="5386406"/>
                    </a:lnTo>
                    <a:lnTo>
                      <a:pt x="2856715" y="5401627"/>
                    </a:lnTo>
                    <a:lnTo>
                      <a:pt x="2906579" y="5393807"/>
                    </a:lnTo>
                    <a:lnTo>
                      <a:pt x="2952995" y="5391848"/>
                    </a:lnTo>
                    <a:lnTo>
                      <a:pt x="3174965" y="5382583"/>
                    </a:lnTo>
                    <a:lnTo>
                      <a:pt x="3196980" y="5309642"/>
                    </a:lnTo>
                    <a:lnTo>
                      <a:pt x="3370575" y="5210944"/>
                    </a:lnTo>
                    <a:lnTo>
                      <a:pt x="3402580" y="5192669"/>
                    </a:lnTo>
                    <a:lnTo>
                      <a:pt x="3451510" y="5175449"/>
                    </a:lnTo>
                    <a:lnTo>
                      <a:pt x="3476674" y="5160618"/>
                    </a:lnTo>
                    <a:lnTo>
                      <a:pt x="3495160" y="5149695"/>
                    </a:lnTo>
                    <a:lnTo>
                      <a:pt x="3512247" y="5131243"/>
                    </a:lnTo>
                    <a:lnTo>
                      <a:pt x="3531083" y="5121173"/>
                    </a:lnTo>
                    <a:lnTo>
                      <a:pt x="3558834" y="5110504"/>
                    </a:lnTo>
                    <a:lnTo>
                      <a:pt x="3619410" y="5078028"/>
                    </a:lnTo>
                    <a:lnTo>
                      <a:pt x="3646611" y="5099701"/>
                    </a:lnTo>
                    <a:lnTo>
                      <a:pt x="3686140" y="5087162"/>
                    </a:lnTo>
                    <a:lnTo>
                      <a:pt x="3745610" y="5068209"/>
                    </a:lnTo>
                    <a:lnTo>
                      <a:pt x="3905727" y="4928062"/>
                    </a:lnTo>
                    <a:lnTo>
                      <a:pt x="3937778" y="4923938"/>
                    </a:lnTo>
                    <a:lnTo>
                      <a:pt x="3975270" y="4931463"/>
                    </a:lnTo>
                    <a:lnTo>
                      <a:pt x="3973655" y="4973297"/>
                    </a:lnTo>
                    <a:lnTo>
                      <a:pt x="3952186" y="4985662"/>
                    </a:lnTo>
                    <a:lnTo>
                      <a:pt x="3937778" y="5004194"/>
                    </a:lnTo>
                    <a:lnTo>
                      <a:pt x="3910403" y="5039345"/>
                    </a:lnTo>
                    <a:lnTo>
                      <a:pt x="3861482" y="5111056"/>
                    </a:lnTo>
                    <a:lnTo>
                      <a:pt x="3824879" y="5133414"/>
                    </a:lnTo>
                    <a:lnTo>
                      <a:pt x="3781142" y="5160110"/>
                    </a:lnTo>
                    <a:lnTo>
                      <a:pt x="3738379" y="5157471"/>
                    </a:lnTo>
                    <a:lnTo>
                      <a:pt x="3691582" y="5172856"/>
                    </a:lnTo>
                    <a:lnTo>
                      <a:pt x="3647330" y="5187355"/>
                    </a:lnTo>
                    <a:lnTo>
                      <a:pt x="3615918" y="5220723"/>
                    </a:lnTo>
                    <a:lnTo>
                      <a:pt x="3575967" y="5238149"/>
                    </a:lnTo>
                    <a:lnTo>
                      <a:pt x="3530482" y="5257912"/>
                    </a:lnTo>
                    <a:lnTo>
                      <a:pt x="3477012" y="5268075"/>
                    </a:lnTo>
                    <a:lnTo>
                      <a:pt x="3433142" y="5293919"/>
                    </a:lnTo>
                    <a:lnTo>
                      <a:pt x="3381201" y="5324568"/>
                    </a:lnTo>
                    <a:lnTo>
                      <a:pt x="3363729" y="5386921"/>
                    </a:lnTo>
                    <a:lnTo>
                      <a:pt x="3317527" y="5417694"/>
                    </a:lnTo>
                    <a:lnTo>
                      <a:pt x="3241994" y="5468066"/>
                    </a:lnTo>
                    <a:lnTo>
                      <a:pt x="3170584" y="5481836"/>
                    </a:lnTo>
                    <a:lnTo>
                      <a:pt x="3147504" y="5582276"/>
                    </a:lnTo>
                    <a:lnTo>
                      <a:pt x="3142530" y="5603959"/>
                    </a:lnTo>
                    <a:lnTo>
                      <a:pt x="3133560" y="5623210"/>
                    </a:lnTo>
                    <a:lnTo>
                      <a:pt x="3136621" y="5646207"/>
                    </a:lnTo>
                    <a:lnTo>
                      <a:pt x="3142571" y="5690840"/>
                    </a:lnTo>
                    <a:lnTo>
                      <a:pt x="3190561" y="5683824"/>
                    </a:lnTo>
                    <a:lnTo>
                      <a:pt x="3201913" y="5722379"/>
                    </a:lnTo>
                    <a:lnTo>
                      <a:pt x="3183334" y="5757701"/>
                    </a:lnTo>
                    <a:lnTo>
                      <a:pt x="3145420" y="5785076"/>
                    </a:lnTo>
                    <a:lnTo>
                      <a:pt x="3109543" y="5794598"/>
                    </a:lnTo>
                    <a:lnTo>
                      <a:pt x="3080857" y="5809432"/>
                    </a:lnTo>
                    <a:lnTo>
                      <a:pt x="3039240" y="5830943"/>
                    </a:lnTo>
                    <a:lnTo>
                      <a:pt x="2999541" y="5876382"/>
                    </a:lnTo>
                    <a:lnTo>
                      <a:pt x="2963874" y="5907364"/>
                    </a:lnTo>
                    <a:lnTo>
                      <a:pt x="2913338" y="5909317"/>
                    </a:lnTo>
                    <a:lnTo>
                      <a:pt x="2666888" y="5857804"/>
                    </a:lnTo>
                    <a:lnTo>
                      <a:pt x="2630627" y="5832559"/>
                    </a:lnTo>
                    <a:lnTo>
                      <a:pt x="2555946" y="5780531"/>
                    </a:lnTo>
                    <a:lnTo>
                      <a:pt x="2587913" y="5745671"/>
                    </a:lnTo>
                    <a:lnTo>
                      <a:pt x="2475569" y="5716938"/>
                    </a:lnTo>
                    <a:lnTo>
                      <a:pt x="2399438" y="5697429"/>
                    </a:lnTo>
                    <a:lnTo>
                      <a:pt x="2361015" y="5746694"/>
                    </a:lnTo>
                    <a:lnTo>
                      <a:pt x="2310978" y="5737343"/>
                    </a:lnTo>
                    <a:lnTo>
                      <a:pt x="2232341" y="5722550"/>
                    </a:lnTo>
                    <a:lnTo>
                      <a:pt x="2123696" y="5635287"/>
                    </a:lnTo>
                    <a:lnTo>
                      <a:pt x="2055263" y="5638050"/>
                    </a:lnTo>
                    <a:lnTo>
                      <a:pt x="2030440" y="5639026"/>
                    </a:lnTo>
                    <a:lnTo>
                      <a:pt x="2014500" y="5655137"/>
                    </a:lnTo>
                    <a:lnTo>
                      <a:pt x="1992697" y="5662529"/>
                    </a:lnTo>
                    <a:lnTo>
                      <a:pt x="1960857" y="5673325"/>
                    </a:lnTo>
                    <a:lnTo>
                      <a:pt x="1841540" y="5692707"/>
                    </a:lnTo>
                    <a:lnTo>
                      <a:pt x="1810426" y="5688375"/>
                    </a:lnTo>
                    <a:lnTo>
                      <a:pt x="1731788" y="5677409"/>
                    </a:lnTo>
                    <a:lnTo>
                      <a:pt x="1665141" y="5632779"/>
                    </a:lnTo>
                    <a:lnTo>
                      <a:pt x="1585996" y="5621725"/>
                    </a:lnTo>
                    <a:lnTo>
                      <a:pt x="1531078" y="5614076"/>
                    </a:lnTo>
                    <a:lnTo>
                      <a:pt x="1471184" y="5620237"/>
                    </a:lnTo>
                    <a:lnTo>
                      <a:pt x="1417330" y="5608120"/>
                    </a:lnTo>
                    <a:lnTo>
                      <a:pt x="1395607" y="5603274"/>
                    </a:lnTo>
                    <a:lnTo>
                      <a:pt x="1373634" y="5594772"/>
                    </a:lnTo>
                    <a:lnTo>
                      <a:pt x="1350683" y="5593163"/>
                    </a:lnTo>
                    <a:lnTo>
                      <a:pt x="1306853" y="5590019"/>
                    </a:lnTo>
                    <a:lnTo>
                      <a:pt x="1285307" y="5617136"/>
                    </a:lnTo>
                    <a:lnTo>
                      <a:pt x="1237785" y="5604039"/>
                    </a:lnTo>
                    <a:lnTo>
                      <a:pt x="1169435" y="5585126"/>
                    </a:lnTo>
                    <a:lnTo>
                      <a:pt x="1237983" y="5548700"/>
                    </a:lnTo>
                    <a:lnTo>
                      <a:pt x="1101765" y="5529232"/>
                    </a:lnTo>
                    <a:lnTo>
                      <a:pt x="996410" y="5514184"/>
                    </a:lnTo>
                    <a:lnTo>
                      <a:pt x="948763" y="5405453"/>
                    </a:lnTo>
                    <a:lnTo>
                      <a:pt x="833800" y="5405453"/>
                    </a:lnTo>
                    <a:lnTo>
                      <a:pt x="807600" y="5405453"/>
                    </a:lnTo>
                    <a:lnTo>
                      <a:pt x="786600" y="5413440"/>
                    </a:lnTo>
                    <a:lnTo>
                      <a:pt x="761711" y="5417694"/>
                    </a:lnTo>
                    <a:lnTo>
                      <a:pt x="734764" y="5422330"/>
                    </a:lnTo>
                    <a:lnTo>
                      <a:pt x="704738" y="5420370"/>
                    </a:lnTo>
                    <a:lnTo>
                      <a:pt x="677382" y="5420410"/>
                    </a:lnTo>
                    <a:lnTo>
                      <a:pt x="652896" y="5423126"/>
                    </a:lnTo>
                    <a:lnTo>
                      <a:pt x="629775" y="5428568"/>
                    </a:lnTo>
                    <a:lnTo>
                      <a:pt x="598410" y="5438856"/>
                    </a:lnTo>
                    <a:lnTo>
                      <a:pt x="565844" y="5456920"/>
                    </a:lnTo>
                    <a:lnTo>
                      <a:pt x="533198" y="5465294"/>
                    </a:lnTo>
                    <a:lnTo>
                      <a:pt x="503231" y="5472993"/>
                    </a:lnTo>
                    <a:lnTo>
                      <a:pt x="466892" y="5466950"/>
                    </a:lnTo>
                    <a:lnTo>
                      <a:pt x="436627" y="5469372"/>
                    </a:lnTo>
                    <a:lnTo>
                      <a:pt x="362582" y="5475405"/>
                    </a:lnTo>
                    <a:lnTo>
                      <a:pt x="291402" y="5488409"/>
                    </a:lnTo>
                    <a:lnTo>
                      <a:pt x="217633" y="5458489"/>
                    </a:lnTo>
                    <a:lnTo>
                      <a:pt x="94307" y="5408461"/>
                    </a:lnTo>
                    <a:lnTo>
                      <a:pt x="84822" y="5296669"/>
                    </a:lnTo>
                    <a:lnTo>
                      <a:pt x="0" y="5262621"/>
                    </a:lnTo>
                    <a:lnTo>
                      <a:pt x="26333" y="5310017"/>
                    </a:lnTo>
                    <a:lnTo>
                      <a:pt x="39703" y="5375052"/>
                    </a:lnTo>
                    <a:lnTo>
                      <a:pt x="74814" y="5417688"/>
                    </a:lnTo>
                    <a:lnTo>
                      <a:pt x="116743" y="5468646"/>
                    </a:lnTo>
                    <a:lnTo>
                      <a:pt x="192025" y="5483569"/>
                    </a:lnTo>
                    <a:lnTo>
                      <a:pt x="231238" y="5530577"/>
                    </a:lnTo>
                    <a:lnTo>
                      <a:pt x="302924" y="5616609"/>
                    </a:lnTo>
                    <a:lnTo>
                      <a:pt x="320011" y="5697032"/>
                    </a:lnTo>
                    <a:lnTo>
                      <a:pt x="420306" y="5767257"/>
                    </a:lnTo>
                    <a:lnTo>
                      <a:pt x="466808" y="5799770"/>
                    </a:lnTo>
                    <a:lnTo>
                      <a:pt x="507228" y="5815499"/>
                    </a:lnTo>
                    <a:lnTo>
                      <a:pt x="535920" y="5869273"/>
                    </a:lnTo>
                    <a:lnTo>
                      <a:pt x="557004" y="5908802"/>
                    </a:lnTo>
                    <a:lnTo>
                      <a:pt x="584677" y="6052769"/>
                    </a:lnTo>
                    <a:lnTo>
                      <a:pt x="605293" y="6066501"/>
                    </a:lnTo>
                    <a:lnTo>
                      <a:pt x="640885" y="6004480"/>
                    </a:lnTo>
                    <a:lnTo>
                      <a:pt x="606059" y="5865363"/>
                    </a:lnTo>
                    <a:lnTo>
                      <a:pt x="642019" y="5786295"/>
                    </a:lnTo>
                    <a:lnTo>
                      <a:pt x="655981" y="5755608"/>
                    </a:lnTo>
                    <a:lnTo>
                      <a:pt x="681081" y="5751271"/>
                    </a:lnTo>
                    <a:lnTo>
                      <a:pt x="700503" y="5730528"/>
                    </a:lnTo>
                    <a:lnTo>
                      <a:pt x="742481" y="5723474"/>
                    </a:lnTo>
                    <a:lnTo>
                      <a:pt x="785558" y="5739836"/>
                    </a:lnTo>
                    <a:lnTo>
                      <a:pt x="827006" y="5740053"/>
                    </a:lnTo>
                    <a:lnTo>
                      <a:pt x="857885" y="5723006"/>
                    </a:lnTo>
                    <a:lnTo>
                      <a:pt x="902558" y="5716674"/>
                    </a:lnTo>
                    <a:lnTo>
                      <a:pt x="937183" y="5725089"/>
                    </a:lnTo>
                    <a:lnTo>
                      <a:pt x="966548" y="5732230"/>
                    </a:lnTo>
                    <a:lnTo>
                      <a:pt x="994730" y="5756756"/>
                    </a:lnTo>
                    <a:lnTo>
                      <a:pt x="1024235" y="5765896"/>
                    </a:lnTo>
                    <a:lnTo>
                      <a:pt x="1093282" y="5787107"/>
                    </a:lnTo>
                    <a:lnTo>
                      <a:pt x="1159489" y="5815583"/>
                    </a:lnTo>
                    <a:lnTo>
                      <a:pt x="1221463" y="5851584"/>
                    </a:lnTo>
                    <a:lnTo>
                      <a:pt x="1262012" y="5875136"/>
                    </a:lnTo>
                    <a:lnTo>
                      <a:pt x="1310810" y="5881895"/>
                    </a:lnTo>
                    <a:lnTo>
                      <a:pt x="1352041" y="5901919"/>
                    </a:lnTo>
                    <a:lnTo>
                      <a:pt x="1394764" y="5922612"/>
                    </a:lnTo>
                    <a:lnTo>
                      <a:pt x="1438752" y="5957553"/>
                    </a:lnTo>
                    <a:lnTo>
                      <a:pt x="1482619" y="5974008"/>
                    </a:lnTo>
                    <a:lnTo>
                      <a:pt x="1543617" y="5996831"/>
                    </a:lnTo>
                    <a:lnTo>
                      <a:pt x="1563889" y="5942893"/>
                    </a:lnTo>
                    <a:lnTo>
                      <a:pt x="1596876" y="5938639"/>
                    </a:lnTo>
                    <a:lnTo>
                      <a:pt x="1622084" y="5935405"/>
                    </a:lnTo>
                    <a:lnTo>
                      <a:pt x="1689369" y="5944078"/>
                    </a:lnTo>
                    <a:lnTo>
                      <a:pt x="1716019" y="5943188"/>
                    </a:lnTo>
                    <a:lnTo>
                      <a:pt x="1762224" y="5982928"/>
                    </a:lnTo>
                    <a:lnTo>
                      <a:pt x="1765752" y="6006263"/>
                    </a:lnTo>
                    <a:lnTo>
                      <a:pt x="1790021" y="6044729"/>
                    </a:lnTo>
                    <a:lnTo>
                      <a:pt x="1839035" y="6122346"/>
                    </a:lnTo>
                    <a:lnTo>
                      <a:pt x="1913207" y="6177728"/>
                    </a:lnTo>
                    <a:lnTo>
                      <a:pt x="1928766" y="6274603"/>
                    </a:lnTo>
                    <a:lnTo>
                      <a:pt x="1918602" y="6300276"/>
                    </a:lnTo>
                    <a:lnTo>
                      <a:pt x="1882220" y="6304741"/>
                    </a:lnTo>
                    <a:lnTo>
                      <a:pt x="1852938" y="6297982"/>
                    </a:lnTo>
                    <a:lnTo>
                      <a:pt x="1825389" y="6299088"/>
                    </a:lnTo>
                    <a:lnTo>
                      <a:pt x="1724859" y="6303166"/>
                    </a:lnTo>
                    <a:lnTo>
                      <a:pt x="1767672" y="6374833"/>
                    </a:lnTo>
                    <a:lnTo>
                      <a:pt x="1727457" y="6418787"/>
                    </a:lnTo>
                    <a:lnTo>
                      <a:pt x="1705396" y="6442844"/>
                    </a:lnTo>
                    <a:lnTo>
                      <a:pt x="1614986" y="6486792"/>
                    </a:lnTo>
                    <a:lnTo>
                      <a:pt x="1581912" y="6497675"/>
                    </a:lnTo>
                    <a:lnTo>
                      <a:pt x="1499372" y="6524752"/>
                    </a:lnTo>
                    <a:lnTo>
                      <a:pt x="1388854" y="6539843"/>
                    </a:lnTo>
                    <a:lnTo>
                      <a:pt x="1303074" y="6527602"/>
                    </a:lnTo>
                    <a:lnTo>
                      <a:pt x="1234303" y="6517736"/>
                    </a:lnTo>
                    <a:lnTo>
                      <a:pt x="1168412" y="6505029"/>
                    </a:lnTo>
                    <a:lnTo>
                      <a:pt x="1099046" y="6520796"/>
                    </a:lnTo>
                    <a:lnTo>
                      <a:pt x="1075918" y="6528960"/>
                    </a:lnTo>
                    <a:lnTo>
                      <a:pt x="1051948" y="6542395"/>
                    </a:lnTo>
                    <a:lnTo>
                      <a:pt x="1032222" y="6560288"/>
                    </a:lnTo>
                    <a:lnTo>
                      <a:pt x="1009271" y="6573847"/>
                    </a:lnTo>
                    <a:lnTo>
                      <a:pt x="981493" y="6590215"/>
                    </a:lnTo>
                    <a:lnTo>
                      <a:pt x="945464" y="6599396"/>
                    </a:lnTo>
                    <a:lnTo>
                      <a:pt x="919494" y="6617373"/>
                    </a:lnTo>
                    <a:lnTo>
                      <a:pt x="897328" y="6641133"/>
                    </a:lnTo>
                    <a:lnTo>
                      <a:pt x="876120" y="6659414"/>
                    </a:lnTo>
                    <a:lnTo>
                      <a:pt x="870526" y="6684020"/>
                    </a:lnTo>
                    <a:lnTo>
                      <a:pt x="885173" y="6716796"/>
                    </a:lnTo>
                    <a:lnTo>
                      <a:pt x="917686" y="6734820"/>
                    </a:lnTo>
                    <a:lnTo>
                      <a:pt x="939899" y="6760192"/>
                    </a:lnTo>
                    <a:lnTo>
                      <a:pt x="957482" y="6780299"/>
                    </a:lnTo>
                    <a:lnTo>
                      <a:pt x="965975" y="6818852"/>
                    </a:lnTo>
                    <a:lnTo>
                      <a:pt x="984783" y="6830929"/>
                    </a:lnTo>
                    <a:lnTo>
                      <a:pt x="1033078" y="6861956"/>
                    </a:lnTo>
                    <a:lnTo>
                      <a:pt x="1121950" y="6867736"/>
                    </a:lnTo>
                    <a:lnTo>
                      <a:pt x="1177934" y="6858133"/>
                    </a:lnTo>
                    <a:lnTo>
                      <a:pt x="1213296" y="6849966"/>
                    </a:lnTo>
                    <a:lnTo>
                      <a:pt x="1280163" y="6849966"/>
                    </a:lnTo>
                    <a:lnTo>
                      <a:pt x="1330278" y="6849966"/>
                    </a:lnTo>
                    <a:lnTo>
                      <a:pt x="1343198" y="6826886"/>
                    </a:lnTo>
                    <a:lnTo>
                      <a:pt x="1328787" y="6768309"/>
                    </a:lnTo>
                    <a:lnTo>
                      <a:pt x="1268133" y="6729763"/>
                    </a:lnTo>
                    <a:lnTo>
                      <a:pt x="1286752" y="6675862"/>
                    </a:lnTo>
                    <a:lnTo>
                      <a:pt x="1345539" y="6662428"/>
                    </a:lnTo>
                    <a:lnTo>
                      <a:pt x="1414146" y="6716585"/>
                    </a:lnTo>
                    <a:lnTo>
                      <a:pt x="1448615" y="6739793"/>
                    </a:lnTo>
                    <a:lnTo>
                      <a:pt x="1474542" y="6757219"/>
                    </a:lnTo>
                    <a:lnTo>
                      <a:pt x="1502426" y="6766021"/>
                    </a:lnTo>
                    <a:lnTo>
                      <a:pt x="1523429" y="6791477"/>
                    </a:lnTo>
                    <a:lnTo>
                      <a:pt x="1549908" y="6823661"/>
                    </a:lnTo>
                    <a:lnTo>
                      <a:pt x="1559002" y="6886907"/>
                    </a:lnTo>
                    <a:lnTo>
                      <a:pt x="1598234" y="6901659"/>
                    </a:lnTo>
                    <a:lnTo>
                      <a:pt x="1624502" y="6911519"/>
                    </a:lnTo>
                    <a:lnTo>
                      <a:pt x="1658168" y="6907138"/>
                    </a:lnTo>
                    <a:lnTo>
                      <a:pt x="1682564" y="6919339"/>
                    </a:lnTo>
                    <a:lnTo>
                      <a:pt x="1723888" y="6939995"/>
                    </a:lnTo>
                    <a:lnTo>
                      <a:pt x="1777398" y="6972384"/>
                    </a:lnTo>
                    <a:lnTo>
                      <a:pt x="1825389" y="6972384"/>
                    </a:lnTo>
                    <a:lnTo>
                      <a:pt x="1868493" y="6972384"/>
                    </a:lnTo>
                    <a:lnTo>
                      <a:pt x="1904919" y="6942203"/>
                    </a:lnTo>
                    <a:lnTo>
                      <a:pt x="1946445" y="6976458"/>
                    </a:lnTo>
                    <a:lnTo>
                      <a:pt x="1979770" y="7003966"/>
                    </a:lnTo>
                    <a:lnTo>
                      <a:pt x="2046972" y="7091651"/>
                    </a:lnTo>
                    <a:lnTo>
                      <a:pt x="2067508" y="7130166"/>
                    </a:lnTo>
                    <a:lnTo>
                      <a:pt x="2077752" y="7149331"/>
                    </a:lnTo>
                    <a:lnTo>
                      <a:pt x="2083910" y="7173137"/>
                    </a:lnTo>
                    <a:lnTo>
                      <a:pt x="2096070" y="7191372"/>
                    </a:lnTo>
                    <a:lnTo>
                      <a:pt x="2135048" y="7225978"/>
                    </a:lnTo>
                    <a:lnTo>
                      <a:pt x="2157155" y="7237707"/>
                    </a:lnTo>
                    <a:lnTo>
                      <a:pt x="2368150" y="7323950"/>
                    </a:lnTo>
                    <a:lnTo>
                      <a:pt x="2444492" y="7344479"/>
                    </a:lnTo>
                    <a:lnTo>
                      <a:pt x="2434760" y="7293133"/>
                    </a:lnTo>
                    <a:lnTo>
                      <a:pt x="2523170" y="7338275"/>
                    </a:lnTo>
                    <a:lnTo>
                      <a:pt x="2557220" y="7336783"/>
                    </a:lnTo>
                    <a:lnTo>
                      <a:pt x="2617880" y="7279618"/>
                    </a:lnTo>
                    <a:lnTo>
                      <a:pt x="2644232" y="7283866"/>
                    </a:lnTo>
                    <a:lnTo>
                      <a:pt x="2647246" y="7331429"/>
                    </a:lnTo>
                    <a:lnTo>
                      <a:pt x="2595221" y="7366456"/>
                    </a:lnTo>
                    <a:lnTo>
                      <a:pt x="2572137" y="7388600"/>
                    </a:lnTo>
                    <a:lnTo>
                      <a:pt x="2566696" y="7409005"/>
                    </a:lnTo>
                    <a:lnTo>
                      <a:pt x="2575625" y="7448113"/>
                    </a:lnTo>
                    <a:lnTo>
                      <a:pt x="2607375" y="7480499"/>
                    </a:lnTo>
                    <a:lnTo>
                      <a:pt x="2612947" y="7520536"/>
                    </a:lnTo>
                    <a:lnTo>
                      <a:pt x="2618730" y="7562236"/>
                    </a:lnTo>
                    <a:lnTo>
                      <a:pt x="2608349" y="7608143"/>
                    </a:lnTo>
                    <a:lnTo>
                      <a:pt x="2633346" y="7645682"/>
                    </a:lnTo>
                    <a:lnTo>
                      <a:pt x="2661868" y="7676877"/>
                    </a:lnTo>
                    <a:lnTo>
                      <a:pt x="2701397" y="7669399"/>
                    </a:lnTo>
                    <a:lnTo>
                      <a:pt x="2732645" y="7682402"/>
                    </a:lnTo>
                    <a:lnTo>
                      <a:pt x="2786747" y="7704931"/>
                    </a:lnTo>
                    <a:lnTo>
                      <a:pt x="2842350" y="7732306"/>
                    </a:lnTo>
                    <a:lnTo>
                      <a:pt x="2897227" y="7751775"/>
                    </a:lnTo>
                    <a:lnTo>
                      <a:pt x="2926258" y="7756364"/>
                    </a:lnTo>
                    <a:lnTo>
                      <a:pt x="2990062" y="7780297"/>
                    </a:lnTo>
                    <a:lnTo>
                      <a:pt x="3042512" y="7795341"/>
                    </a:lnTo>
                    <a:lnTo>
                      <a:pt x="3093095" y="7814348"/>
                    </a:lnTo>
                    <a:lnTo>
                      <a:pt x="3131346" y="7832325"/>
                    </a:lnTo>
                    <a:lnTo>
                      <a:pt x="3207094" y="7851707"/>
                    </a:lnTo>
                    <a:lnTo>
                      <a:pt x="3264523" y="7862627"/>
                    </a:lnTo>
                    <a:lnTo>
                      <a:pt x="3320250" y="7876912"/>
                    </a:lnTo>
                    <a:lnTo>
                      <a:pt x="3396078" y="7896334"/>
                    </a:lnTo>
                    <a:lnTo>
                      <a:pt x="3480875" y="7935060"/>
                    </a:lnTo>
                    <a:lnTo>
                      <a:pt x="3561004" y="7928598"/>
                    </a:lnTo>
                    <a:lnTo>
                      <a:pt x="3648651" y="7921461"/>
                    </a:lnTo>
                    <a:lnTo>
                      <a:pt x="3607122" y="7844603"/>
                    </a:lnTo>
                    <a:lnTo>
                      <a:pt x="3722864" y="7821147"/>
                    </a:lnTo>
                    <a:lnTo>
                      <a:pt x="3745266" y="7831600"/>
                    </a:lnTo>
                    <a:lnTo>
                      <a:pt x="3802397" y="7789525"/>
                    </a:lnTo>
                    <a:lnTo>
                      <a:pt x="3824879" y="7784421"/>
                    </a:lnTo>
                    <a:lnTo>
                      <a:pt x="3849833" y="7782976"/>
                    </a:lnTo>
                    <a:lnTo>
                      <a:pt x="3904540" y="7764444"/>
                    </a:lnTo>
                    <a:lnTo>
                      <a:pt x="3943303" y="7734641"/>
                    </a:lnTo>
                    <a:lnTo>
                      <a:pt x="3992184" y="7738176"/>
                    </a:lnTo>
                    <a:lnTo>
                      <a:pt x="4027084" y="7740768"/>
                    </a:lnTo>
                    <a:lnTo>
                      <a:pt x="4060111" y="7766357"/>
                    </a:lnTo>
                    <a:lnTo>
                      <a:pt x="4095560" y="7759933"/>
                    </a:lnTo>
                    <a:lnTo>
                      <a:pt x="4123317" y="7740681"/>
                    </a:lnTo>
                    <a:lnTo>
                      <a:pt x="4163318" y="7731581"/>
                    </a:lnTo>
                    <a:lnTo>
                      <a:pt x="4189716" y="7735023"/>
                    </a:lnTo>
                    <a:lnTo>
                      <a:pt x="4212539" y="7727287"/>
                    </a:lnTo>
                    <a:lnTo>
                      <a:pt x="4255129" y="7712838"/>
                    </a:lnTo>
                    <a:lnTo>
                      <a:pt x="4284628" y="7673777"/>
                    </a:lnTo>
                    <a:lnTo>
                      <a:pt x="4324074" y="7656559"/>
                    </a:lnTo>
                    <a:lnTo>
                      <a:pt x="4364415" y="7639000"/>
                    </a:lnTo>
                    <a:lnTo>
                      <a:pt x="4529128" y="7629057"/>
                    </a:lnTo>
                    <a:lnTo>
                      <a:pt x="4568908" y="7641602"/>
                    </a:lnTo>
                    <a:lnTo>
                      <a:pt x="4605381" y="7653161"/>
                    </a:lnTo>
                    <a:lnTo>
                      <a:pt x="4642575" y="7677516"/>
                    </a:lnTo>
                    <a:lnTo>
                      <a:pt x="4679085" y="7687844"/>
                    </a:lnTo>
                    <a:lnTo>
                      <a:pt x="4710838" y="7696860"/>
                    </a:lnTo>
                    <a:lnTo>
                      <a:pt x="4738979" y="7668251"/>
                    </a:lnTo>
                    <a:lnTo>
                      <a:pt x="4772942" y="7682402"/>
                    </a:lnTo>
                    <a:lnTo>
                      <a:pt x="4804909" y="7703189"/>
                    </a:lnTo>
                    <a:lnTo>
                      <a:pt x="4828710" y="7725928"/>
                    </a:lnTo>
                    <a:lnTo>
                      <a:pt x="4898885" y="7767207"/>
                    </a:lnTo>
                    <a:lnTo>
                      <a:pt x="4944916" y="7692098"/>
                    </a:lnTo>
                    <a:lnTo>
                      <a:pt x="5009613" y="7683761"/>
                    </a:lnTo>
                    <a:lnTo>
                      <a:pt x="5076049" y="7675222"/>
                    </a:lnTo>
                    <a:lnTo>
                      <a:pt x="5303462" y="7724992"/>
                    </a:lnTo>
                    <a:lnTo>
                      <a:pt x="5322456" y="7626635"/>
                    </a:lnTo>
                    <a:lnTo>
                      <a:pt x="5349667" y="7503068"/>
                    </a:lnTo>
                    <a:lnTo>
                      <a:pt x="5320208" y="7550848"/>
                    </a:lnTo>
                    <a:lnTo>
                      <a:pt x="5297977" y="7478378"/>
                    </a:lnTo>
                    <a:lnTo>
                      <a:pt x="5318382" y="7456615"/>
                    </a:lnTo>
                    <a:lnTo>
                      <a:pt x="5352978" y="7474124"/>
                    </a:lnTo>
                    <a:lnTo>
                      <a:pt x="5398079" y="7486917"/>
                    </a:lnTo>
                    <a:lnTo>
                      <a:pt x="5433231" y="7488151"/>
                    </a:lnTo>
                    <a:lnTo>
                      <a:pt x="5454402" y="7502857"/>
                    </a:lnTo>
                    <a:lnTo>
                      <a:pt x="5509229" y="7541028"/>
                    </a:lnTo>
                    <a:lnTo>
                      <a:pt x="5539243" y="7629268"/>
                    </a:lnTo>
                    <a:lnTo>
                      <a:pt x="5612184" y="7637518"/>
                    </a:lnTo>
                    <a:lnTo>
                      <a:pt x="5676115" y="7644699"/>
                    </a:lnTo>
                    <a:lnTo>
                      <a:pt x="5777024" y="7531339"/>
                    </a:lnTo>
                    <a:lnTo>
                      <a:pt x="5835256" y="7500141"/>
                    </a:lnTo>
                    <a:lnTo>
                      <a:pt x="5879548" y="7483984"/>
                    </a:lnTo>
                    <a:lnTo>
                      <a:pt x="5914870" y="7438551"/>
                    </a:lnTo>
                    <a:lnTo>
                      <a:pt x="5890601" y="7371045"/>
                    </a:lnTo>
                    <a:lnTo>
                      <a:pt x="5908709" y="7330117"/>
                    </a:lnTo>
                    <a:lnTo>
                      <a:pt x="5929030" y="7315833"/>
                    </a:lnTo>
                    <a:lnTo>
                      <a:pt x="5990744" y="7284631"/>
                    </a:lnTo>
                    <a:lnTo>
                      <a:pt x="5978714" y="7199365"/>
                    </a:lnTo>
                    <a:lnTo>
                      <a:pt x="6020243" y="7168251"/>
                    </a:lnTo>
                    <a:lnTo>
                      <a:pt x="6038729" y="7232520"/>
                    </a:lnTo>
                    <a:lnTo>
                      <a:pt x="5996310" y="7270518"/>
                    </a:lnTo>
                    <a:lnTo>
                      <a:pt x="5999838" y="7336917"/>
                    </a:lnTo>
                    <a:lnTo>
                      <a:pt x="6002774" y="7391323"/>
                    </a:lnTo>
                    <a:lnTo>
                      <a:pt x="6035293" y="7468980"/>
                    </a:lnTo>
                    <a:lnTo>
                      <a:pt x="6028407" y="7520536"/>
                    </a:lnTo>
                    <a:lnTo>
                      <a:pt x="6021939" y="7568999"/>
                    </a:lnTo>
                    <a:lnTo>
                      <a:pt x="5972252" y="7599049"/>
                    </a:lnTo>
                    <a:lnTo>
                      <a:pt x="5967195" y="7629361"/>
                    </a:lnTo>
                    <a:lnTo>
                      <a:pt x="5975781" y="7654565"/>
                    </a:lnTo>
                    <a:lnTo>
                      <a:pt x="6035715" y="7654051"/>
                    </a:lnTo>
                    <a:lnTo>
                      <a:pt x="6084298" y="7561520"/>
                    </a:lnTo>
                    <a:lnTo>
                      <a:pt x="6160346" y="7573587"/>
                    </a:lnTo>
                    <a:lnTo>
                      <a:pt x="6207401" y="7605381"/>
                    </a:lnTo>
                    <a:lnTo>
                      <a:pt x="6251389" y="7635729"/>
                    </a:lnTo>
                    <a:lnTo>
                      <a:pt x="6304523" y="7657923"/>
                    </a:lnTo>
                    <a:lnTo>
                      <a:pt x="6328497" y="7664425"/>
                    </a:lnTo>
                    <a:lnTo>
                      <a:pt x="6354895" y="7694135"/>
                    </a:lnTo>
                    <a:lnTo>
                      <a:pt x="6349032" y="7729200"/>
                    </a:lnTo>
                    <a:lnTo>
                      <a:pt x="6338527" y="7751775"/>
                    </a:lnTo>
                    <a:lnTo>
                      <a:pt x="6318504" y="7795003"/>
                    </a:lnTo>
                    <a:lnTo>
                      <a:pt x="6254706" y="7797301"/>
                    </a:lnTo>
                    <a:lnTo>
                      <a:pt x="6244676" y="7841552"/>
                    </a:lnTo>
                    <a:lnTo>
                      <a:pt x="6279185" y="7858249"/>
                    </a:lnTo>
                    <a:lnTo>
                      <a:pt x="6345919" y="7846523"/>
                    </a:lnTo>
                    <a:lnTo>
                      <a:pt x="6335256" y="7772561"/>
                    </a:lnTo>
                    <a:lnTo>
                      <a:pt x="6387495" y="7761297"/>
                    </a:lnTo>
                    <a:lnTo>
                      <a:pt x="6427787" y="7783826"/>
                    </a:lnTo>
                    <a:lnTo>
                      <a:pt x="6466560" y="7786207"/>
                    </a:lnTo>
                    <a:lnTo>
                      <a:pt x="6508548" y="7800743"/>
                    </a:lnTo>
                    <a:lnTo>
                      <a:pt x="6529806" y="7812429"/>
                    </a:lnTo>
                    <a:lnTo>
                      <a:pt x="6596670" y="7879714"/>
                    </a:lnTo>
                    <a:lnTo>
                      <a:pt x="6560539" y="7893915"/>
                    </a:lnTo>
                    <a:lnTo>
                      <a:pt x="6580646" y="7934046"/>
                    </a:lnTo>
                    <a:lnTo>
                      <a:pt x="6590121" y="7953000"/>
                    </a:lnTo>
                    <a:lnTo>
                      <a:pt x="6617583" y="7962943"/>
                    </a:lnTo>
                    <a:lnTo>
                      <a:pt x="6673264" y="8013058"/>
                    </a:lnTo>
                    <a:lnTo>
                      <a:pt x="6670120" y="8082180"/>
                    </a:lnTo>
                    <a:lnTo>
                      <a:pt x="6743870" y="8085023"/>
                    </a:lnTo>
                    <a:lnTo>
                      <a:pt x="6789263" y="8086762"/>
                    </a:lnTo>
                    <a:lnTo>
                      <a:pt x="6810939" y="8022410"/>
                    </a:lnTo>
                    <a:lnTo>
                      <a:pt x="6867642" y="8033336"/>
                    </a:lnTo>
                    <a:lnTo>
                      <a:pt x="6897991" y="8036741"/>
                    </a:lnTo>
                    <a:lnTo>
                      <a:pt x="6964812" y="8121873"/>
                    </a:lnTo>
                    <a:lnTo>
                      <a:pt x="7006384" y="8102709"/>
                    </a:lnTo>
                    <a:lnTo>
                      <a:pt x="6994481" y="8015142"/>
                    </a:lnTo>
                    <a:lnTo>
                      <a:pt x="6919419" y="7995041"/>
                    </a:lnTo>
                    <a:lnTo>
                      <a:pt x="6976464" y="7909558"/>
                    </a:lnTo>
                    <a:lnTo>
                      <a:pt x="7005575" y="7873727"/>
                    </a:lnTo>
                    <a:lnTo>
                      <a:pt x="7057392" y="7867008"/>
                    </a:lnTo>
                    <a:lnTo>
                      <a:pt x="7137260" y="7903992"/>
                    </a:lnTo>
                    <a:lnTo>
                      <a:pt x="7165528" y="7879631"/>
                    </a:lnTo>
                    <a:lnTo>
                      <a:pt x="7153960" y="7812388"/>
                    </a:lnTo>
                    <a:lnTo>
                      <a:pt x="7080724" y="7817151"/>
                    </a:lnTo>
                    <a:lnTo>
                      <a:pt x="7056710" y="7778980"/>
                    </a:lnTo>
                    <a:lnTo>
                      <a:pt x="7048673" y="7745952"/>
                    </a:lnTo>
                    <a:lnTo>
                      <a:pt x="7080426" y="7650780"/>
                    </a:lnTo>
                    <a:lnTo>
                      <a:pt x="7104828" y="7681131"/>
                    </a:lnTo>
                    <a:lnTo>
                      <a:pt x="7146481" y="7651118"/>
                    </a:lnTo>
                    <a:lnTo>
                      <a:pt x="7184823" y="7623532"/>
                    </a:lnTo>
                    <a:lnTo>
                      <a:pt x="7151163" y="7579199"/>
                    </a:lnTo>
                    <a:lnTo>
                      <a:pt x="7225376" y="7561346"/>
                    </a:lnTo>
                    <a:lnTo>
                      <a:pt x="7250028" y="7543878"/>
                    </a:lnTo>
                    <a:lnTo>
                      <a:pt x="7240590" y="7492107"/>
                    </a:lnTo>
                    <a:lnTo>
                      <a:pt x="7275701" y="7485177"/>
                    </a:lnTo>
                    <a:lnTo>
                      <a:pt x="7299207" y="7485704"/>
                    </a:lnTo>
                    <a:lnTo>
                      <a:pt x="7326284" y="7500990"/>
                    </a:lnTo>
                    <a:lnTo>
                      <a:pt x="7342358" y="7517820"/>
                    </a:lnTo>
                    <a:lnTo>
                      <a:pt x="7377165" y="7554119"/>
                    </a:lnTo>
                    <a:lnTo>
                      <a:pt x="7379038" y="7616692"/>
                    </a:lnTo>
                    <a:lnTo>
                      <a:pt x="7398115" y="7660639"/>
                    </a:lnTo>
                    <a:lnTo>
                      <a:pt x="7423782" y="7662915"/>
                    </a:lnTo>
                    <a:lnTo>
                      <a:pt x="7456599" y="7640234"/>
                    </a:lnTo>
                    <a:lnTo>
                      <a:pt x="7483937" y="7612562"/>
                    </a:lnTo>
                    <a:lnTo>
                      <a:pt x="7497409" y="7574945"/>
                    </a:lnTo>
                    <a:lnTo>
                      <a:pt x="7493986" y="7533140"/>
                    </a:lnTo>
                    <a:lnTo>
                      <a:pt x="7490603" y="7500135"/>
                    </a:lnTo>
                    <a:lnTo>
                      <a:pt x="7491843" y="7458097"/>
                    </a:lnTo>
                    <a:lnTo>
                      <a:pt x="7483341" y="7419628"/>
                    </a:lnTo>
                    <a:lnTo>
                      <a:pt x="7469900" y="7398076"/>
                    </a:lnTo>
                    <a:lnTo>
                      <a:pt x="7463398" y="7377717"/>
                    </a:lnTo>
                    <a:lnTo>
                      <a:pt x="7454431" y="7349663"/>
                    </a:lnTo>
                    <a:lnTo>
                      <a:pt x="7448013" y="7320462"/>
                    </a:lnTo>
                    <a:lnTo>
                      <a:pt x="7440277" y="7292023"/>
                    </a:lnTo>
                    <a:lnTo>
                      <a:pt x="7430095" y="7254360"/>
                    </a:lnTo>
                    <a:lnTo>
                      <a:pt x="7424049" y="7215088"/>
                    </a:lnTo>
                    <a:lnTo>
                      <a:pt x="7429397" y="7179125"/>
                    </a:lnTo>
                    <a:lnTo>
                      <a:pt x="7437239" y="7142860"/>
                    </a:lnTo>
                    <a:lnTo>
                      <a:pt x="7456915" y="7112016"/>
                    </a:lnTo>
                    <a:lnTo>
                      <a:pt x="7490603" y="7087992"/>
                    </a:lnTo>
                    <a:lnTo>
                      <a:pt x="7530048" y="7089350"/>
                    </a:lnTo>
                    <a:lnTo>
                      <a:pt x="7553610" y="7104822"/>
                    </a:lnTo>
                    <a:lnTo>
                      <a:pt x="7576067" y="7143573"/>
                    </a:lnTo>
                    <a:lnTo>
                      <a:pt x="7598060" y="7154639"/>
                    </a:lnTo>
                    <a:lnTo>
                      <a:pt x="7621671" y="7152686"/>
                    </a:lnTo>
                    <a:lnTo>
                      <a:pt x="7729320" y="7205604"/>
                    </a:lnTo>
                    <a:lnTo>
                      <a:pt x="7750804" y="7187013"/>
                    </a:lnTo>
                    <a:lnTo>
                      <a:pt x="7761833" y="7158760"/>
                    </a:lnTo>
                    <a:lnTo>
                      <a:pt x="7773525" y="7131524"/>
                    </a:lnTo>
                    <a:lnTo>
                      <a:pt x="7785217" y="7104280"/>
                    </a:lnTo>
                    <a:lnTo>
                      <a:pt x="7797753" y="7078684"/>
                    </a:lnTo>
                    <a:lnTo>
                      <a:pt x="7846990" y="7065891"/>
                    </a:lnTo>
                    <a:lnTo>
                      <a:pt x="7872818" y="7056710"/>
                    </a:lnTo>
                    <a:lnTo>
                      <a:pt x="7891540" y="7038727"/>
                    </a:lnTo>
                    <a:lnTo>
                      <a:pt x="7914986" y="7014542"/>
                    </a:lnTo>
                    <a:lnTo>
                      <a:pt x="7945679" y="7013733"/>
                    </a:lnTo>
                    <a:lnTo>
                      <a:pt x="7968350" y="7019364"/>
                    </a:lnTo>
                    <a:lnTo>
                      <a:pt x="7990792" y="7050289"/>
                    </a:lnTo>
                    <a:lnTo>
                      <a:pt x="8018360" y="7082551"/>
                    </a:lnTo>
                    <a:lnTo>
                      <a:pt x="8032145" y="7098680"/>
                    </a:lnTo>
                    <a:lnTo>
                      <a:pt x="8047412" y="7114642"/>
                    </a:lnTo>
                    <a:lnTo>
                      <a:pt x="8064605" y="7128799"/>
                    </a:lnTo>
                    <a:lnTo>
                      <a:pt x="8081804" y="7142959"/>
                    </a:lnTo>
                    <a:lnTo>
                      <a:pt x="8100215" y="7155142"/>
                    </a:lnTo>
                    <a:lnTo>
                      <a:pt x="8121736" y="7161445"/>
                    </a:lnTo>
                    <a:lnTo>
                      <a:pt x="8149791" y="7169655"/>
                    </a:lnTo>
                    <a:lnTo>
                      <a:pt x="8172378" y="7169386"/>
                    </a:lnTo>
                    <a:lnTo>
                      <a:pt x="8209836" y="7161662"/>
                    </a:lnTo>
                    <a:lnTo>
                      <a:pt x="8237351" y="7143756"/>
                    </a:lnTo>
                    <a:lnTo>
                      <a:pt x="8262457" y="7124685"/>
                    </a:lnTo>
                    <a:lnTo>
                      <a:pt x="8277922" y="7100891"/>
                    </a:lnTo>
                    <a:lnTo>
                      <a:pt x="8318962" y="7104314"/>
                    </a:lnTo>
                    <a:lnTo>
                      <a:pt x="8333075" y="7120973"/>
                    </a:lnTo>
                    <a:lnTo>
                      <a:pt x="8343450" y="7144054"/>
                    </a:lnTo>
                    <a:lnTo>
                      <a:pt x="8359771" y="7157355"/>
                    </a:lnTo>
                    <a:lnTo>
                      <a:pt x="8377454" y="7171727"/>
                    </a:lnTo>
                    <a:lnTo>
                      <a:pt x="8398749" y="7177782"/>
                    </a:lnTo>
                    <a:lnTo>
                      <a:pt x="8422338" y="7180486"/>
                    </a:lnTo>
                    <a:lnTo>
                      <a:pt x="8445993" y="7183183"/>
                    </a:lnTo>
                    <a:lnTo>
                      <a:pt x="8471892" y="7182706"/>
                    </a:lnTo>
                    <a:lnTo>
                      <a:pt x="8497155" y="7183202"/>
                    </a:lnTo>
                    <a:lnTo>
                      <a:pt x="8522416" y="7183729"/>
                    </a:lnTo>
                    <a:lnTo>
                      <a:pt x="8546777" y="7186321"/>
                    </a:lnTo>
                    <a:lnTo>
                      <a:pt x="8569238" y="7194082"/>
                    </a:lnTo>
                    <a:lnTo>
                      <a:pt x="8591760" y="7201846"/>
                    </a:lnTo>
                    <a:lnTo>
                      <a:pt x="8612317" y="7214474"/>
                    </a:lnTo>
                    <a:lnTo>
                      <a:pt x="8627730" y="7238969"/>
                    </a:lnTo>
                    <a:lnTo>
                      <a:pt x="8658423" y="7287763"/>
                    </a:lnTo>
                    <a:lnTo>
                      <a:pt x="8658990" y="7353734"/>
                    </a:lnTo>
                    <a:lnTo>
                      <a:pt x="8683494" y="7406274"/>
                    </a:lnTo>
                    <a:lnTo>
                      <a:pt x="8697866" y="7437072"/>
                    </a:lnTo>
                    <a:lnTo>
                      <a:pt x="8722695" y="7462093"/>
                    </a:lnTo>
                    <a:lnTo>
                      <a:pt x="8747425" y="7486529"/>
                    </a:lnTo>
                    <a:lnTo>
                      <a:pt x="8772159" y="7510956"/>
                    </a:lnTo>
                    <a:lnTo>
                      <a:pt x="8796210" y="7535087"/>
                    </a:lnTo>
                    <a:lnTo>
                      <a:pt x="8811366" y="7565417"/>
                    </a:lnTo>
                    <a:lnTo>
                      <a:pt x="8826190" y="7607833"/>
                    </a:lnTo>
                    <a:lnTo>
                      <a:pt x="8848086" y="7625265"/>
                    </a:lnTo>
                    <a:lnTo>
                      <a:pt x="8882608" y="7618419"/>
                    </a:lnTo>
                    <a:lnTo>
                      <a:pt x="8888381" y="7596240"/>
                    </a:lnTo>
                    <a:lnTo>
                      <a:pt x="8894328" y="7573575"/>
                    </a:lnTo>
                    <a:lnTo>
                      <a:pt x="8900278" y="7550907"/>
                    </a:lnTo>
                    <a:lnTo>
                      <a:pt x="8906299" y="7528564"/>
                    </a:lnTo>
                    <a:lnTo>
                      <a:pt x="8926974" y="7517808"/>
                    </a:lnTo>
                    <a:lnTo>
                      <a:pt x="8959750" y="7519383"/>
                    </a:lnTo>
                    <a:lnTo>
                      <a:pt x="8978478" y="7546160"/>
                    </a:lnTo>
                    <a:lnTo>
                      <a:pt x="8989547" y="7585813"/>
                    </a:lnTo>
                    <a:lnTo>
                      <a:pt x="8995237" y="7605982"/>
                    </a:lnTo>
                    <a:lnTo>
                      <a:pt x="9001118" y="7626387"/>
                    </a:lnTo>
                    <a:lnTo>
                      <a:pt x="9018826" y="7656782"/>
                    </a:lnTo>
                    <a:lnTo>
                      <a:pt x="9050759" y="7664707"/>
                    </a:lnTo>
                    <a:lnTo>
                      <a:pt x="9070953" y="7656503"/>
                    </a:lnTo>
                    <a:lnTo>
                      <a:pt x="9101078" y="7653821"/>
                    </a:lnTo>
                    <a:lnTo>
                      <a:pt x="9124333" y="7680852"/>
                    </a:lnTo>
                    <a:lnTo>
                      <a:pt x="9143076" y="7706060"/>
                    </a:lnTo>
                    <a:lnTo>
                      <a:pt x="9164752" y="7711545"/>
                    </a:lnTo>
                    <a:lnTo>
                      <a:pt x="9190248" y="7698839"/>
                    </a:lnTo>
                    <a:lnTo>
                      <a:pt x="9203103" y="7676949"/>
                    </a:lnTo>
                    <a:lnTo>
                      <a:pt x="9202061" y="7649468"/>
                    </a:lnTo>
                    <a:lnTo>
                      <a:pt x="9187888" y="7622812"/>
                    </a:lnTo>
                    <a:lnTo>
                      <a:pt x="9174531" y="7595338"/>
                    </a:lnTo>
                    <a:lnTo>
                      <a:pt x="9170351" y="7556909"/>
                    </a:lnTo>
                    <a:lnTo>
                      <a:pt x="9173313" y="7519501"/>
                    </a:lnTo>
                    <a:lnTo>
                      <a:pt x="9165037" y="7481075"/>
                    </a:lnTo>
                    <a:lnTo>
                      <a:pt x="9152309" y="7453830"/>
                    </a:lnTo>
                    <a:lnTo>
                      <a:pt x="9113344" y="7441630"/>
                    </a:lnTo>
                    <a:lnTo>
                      <a:pt x="9092849" y="7436492"/>
                    </a:lnTo>
                    <a:lnTo>
                      <a:pt x="9069917" y="7433912"/>
                    </a:lnTo>
                    <a:lnTo>
                      <a:pt x="9050780" y="7418508"/>
                    </a:lnTo>
                    <a:lnTo>
                      <a:pt x="9021833" y="7395254"/>
                    </a:lnTo>
                    <a:lnTo>
                      <a:pt x="8997729" y="7351858"/>
                    </a:lnTo>
                    <a:lnTo>
                      <a:pt x="9023086" y="7334008"/>
                    </a:lnTo>
                    <a:lnTo>
                      <a:pt x="9053497" y="7350494"/>
                    </a:lnTo>
                    <a:lnTo>
                      <a:pt x="9083241" y="7366288"/>
                    </a:lnTo>
                    <a:lnTo>
                      <a:pt x="9119955" y="7347586"/>
                    </a:lnTo>
                    <a:lnTo>
                      <a:pt x="9128618" y="7325020"/>
                    </a:lnTo>
                    <a:lnTo>
                      <a:pt x="9136474" y="7301526"/>
                    </a:lnTo>
                    <a:lnTo>
                      <a:pt x="9144322" y="7278043"/>
                    </a:lnTo>
                    <a:lnTo>
                      <a:pt x="9150480" y="7253753"/>
                    </a:lnTo>
                    <a:lnTo>
                      <a:pt x="9169111" y="7234879"/>
                    </a:lnTo>
                    <a:lnTo>
                      <a:pt x="9206259" y="7245254"/>
                    </a:lnTo>
                    <a:lnTo>
                      <a:pt x="9223527" y="7271606"/>
                    </a:lnTo>
                    <a:lnTo>
                      <a:pt x="9245835" y="7297452"/>
                    </a:lnTo>
                    <a:lnTo>
                      <a:pt x="9263220" y="7334706"/>
                    </a:lnTo>
                    <a:lnTo>
                      <a:pt x="9266625" y="7355591"/>
                    </a:lnTo>
                    <a:lnTo>
                      <a:pt x="9264817" y="7397087"/>
                    </a:lnTo>
                    <a:lnTo>
                      <a:pt x="9260135" y="7417994"/>
                    </a:lnTo>
                    <a:lnTo>
                      <a:pt x="9244207" y="7476663"/>
                    </a:lnTo>
                    <a:lnTo>
                      <a:pt x="9230134" y="7512599"/>
                    </a:lnTo>
                    <a:lnTo>
                      <a:pt x="9239848" y="7540929"/>
                    </a:lnTo>
                    <a:lnTo>
                      <a:pt x="9269769" y="7550445"/>
                    </a:lnTo>
                    <a:lnTo>
                      <a:pt x="9295609" y="7515098"/>
                    </a:lnTo>
                    <a:lnTo>
                      <a:pt x="9322035" y="7503378"/>
                    </a:lnTo>
                    <a:lnTo>
                      <a:pt x="9345941" y="7485156"/>
                    </a:lnTo>
                    <a:lnTo>
                      <a:pt x="9369400" y="7464961"/>
                    </a:lnTo>
                    <a:lnTo>
                      <a:pt x="9390543" y="7434619"/>
                    </a:lnTo>
                    <a:lnTo>
                      <a:pt x="9399848" y="7415349"/>
                    </a:lnTo>
                    <a:lnTo>
                      <a:pt x="9408514" y="7387220"/>
                    </a:lnTo>
                    <a:lnTo>
                      <a:pt x="9418609" y="7353384"/>
                    </a:lnTo>
                    <a:lnTo>
                      <a:pt x="9405435" y="7324716"/>
                    </a:lnTo>
                    <a:lnTo>
                      <a:pt x="9377241" y="7317851"/>
                    </a:lnTo>
                    <a:lnTo>
                      <a:pt x="9347609" y="7307945"/>
                    </a:lnTo>
                    <a:lnTo>
                      <a:pt x="9337789" y="7289288"/>
                    </a:lnTo>
                    <a:lnTo>
                      <a:pt x="9309906" y="7236237"/>
                    </a:lnTo>
                    <a:lnTo>
                      <a:pt x="9274882" y="7214732"/>
                    </a:lnTo>
                    <a:lnTo>
                      <a:pt x="9248021" y="7166865"/>
                    </a:lnTo>
                    <a:lnTo>
                      <a:pt x="9234670" y="7129066"/>
                    </a:lnTo>
                    <a:lnTo>
                      <a:pt x="9233048" y="7101576"/>
                    </a:lnTo>
                    <a:lnTo>
                      <a:pt x="9231480" y="7074089"/>
                    </a:lnTo>
                    <a:lnTo>
                      <a:pt x="9233048" y="7042454"/>
                    </a:lnTo>
                    <a:lnTo>
                      <a:pt x="9235799" y="7010450"/>
                    </a:lnTo>
                    <a:lnTo>
                      <a:pt x="9240912" y="6946426"/>
                    </a:lnTo>
                    <a:lnTo>
                      <a:pt x="9251903" y="6880206"/>
                    </a:lnTo>
                    <a:lnTo>
                      <a:pt x="9257555" y="6844500"/>
                    </a:lnTo>
                    <a:lnTo>
                      <a:pt x="9278903" y="6833242"/>
                    </a:lnTo>
                    <a:lnTo>
                      <a:pt x="9310138" y="6842556"/>
                    </a:lnTo>
                    <a:lnTo>
                      <a:pt x="9361286" y="6869640"/>
                    </a:lnTo>
                    <a:lnTo>
                      <a:pt x="9390840" y="6895650"/>
                    </a:lnTo>
                    <a:lnTo>
                      <a:pt x="9416705" y="6926114"/>
                    </a:lnTo>
                    <a:lnTo>
                      <a:pt x="9442555" y="6956574"/>
                    </a:lnTo>
                    <a:lnTo>
                      <a:pt x="9464873" y="6990807"/>
                    </a:lnTo>
                    <a:lnTo>
                      <a:pt x="9488788" y="7026771"/>
                    </a:lnTo>
                    <a:lnTo>
                      <a:pt x="9504477" y="7059197"/>
                    </a:lnTo>
                    <a:lnTo>
                      <a:pt x="9544943" y="7103325"/>
                    </a:lnTo>
                    <a:lnTo>
                      <a:pt x="9564963" y="7122496"/>
                    </a:lnTo>
                    <a:lnTo>
                      <a:pt x="9585368" y="7164149"/>
                    </a:lnTo>
                    <a:lnTo>
                      <a:pt x="9610356" y="7214943"/>
                    </a:lnTo>
                    <a:lnTo>
                      <a:pt x="9637495" y="7372642"/>
                    </a:lnTo>
                    <a:lnTo>
                      <a:pt x="9657450" y="7398104"/>
                    </a:lnTo>
                    <a:lnTo>
                      <a:pt x="9673313" y="7418375"/>
                    </a:lnTo>
                    <a:lnTo>
                      <a:pt x="9726032" y="7441037"/>
                    </a:lnTo>
                    <a:lnTo>
                      <a:pt x="9749950" y="7455229"/>
                    </a:lnTo>
                    <a:lnTo>
                      <a:pt x="9762315" y="7482709"/>
                    </a:lnTo>
                    <a:lnTo>
                      <a:pt x="9761723" y="7566313"/>
                    </a:lnTo>
                    <a:lnTo>
                      <a:pt x="9763556" y="7645664"/>
                    </a:lnTo>
                    <a:lnTo>
                      <a:pt x="9764421" y="7685333"/>
                    </a:lnTo>
                    <a:lnTo>
                      <a:pt x="9765252" y="7724037"/>
                    </a:lnTo>
                    <a:lnTo>
                      <a:pt x="9768991" y="7754472"/>
                    </a:lnTo>
                    <a:lnTo>
                      <a:pt x="9772643" y="7784914"/>
                    </a:lnTo>
                    <a:lnTo>
                      <a:pt x="9779207" y="7806559"/>
                    </a:lnTo>
                    <a:lnTo>
                      <a:pt x="9809463" y="7813622"/>
                    </a:lnTo>
                    <a:lnTo>
                      <a:pt x="9832916" y="7781683"/>
                    </a:lnTo>
                    <a:lnTo>
                      <a:pt x="9842214" y="7761929"/>
                    </a:lnTo>
                    <a:lnTo>
                      <a:pt x="9846546" y="7734278"/>
                    </a:lnTo>
                    <a:lnTo>
                      <a:pt x="9849237" y="7705511"/>
                    </a:lnTo>
                    <a:lnTo>
                      <a:pt x="9854632" y="7647970"/>
                    </a:lnTo>
                    <a:lnTo>
                      <a:pt x="9850589" y="7584114"/>
                    </a:lnTo>
                    <a:lnTo>
                      <a:pt x="9854679" y="7558602"/>
                    </a:lnTo>
                    <a:lnTo>
                      <a:pt x="9858858" y="7532765"/>
                    </a:lnTo>
                    <a:lnTo>
                      <a:pt x="9884646" y="7444098"/>
                    </a:lnTo>
                    <a:lnTo>
                      <a:pt x="9857553" y="7402376"/>
                    </a:lnTo>
                    <a:lnTo>
                      <a:pt x="9836404" y="7394184"/>
                    </a:lnTo>
                    <a:lnTo>
                      <a:pt x="9815233" y="7388582"/>
                    </a:lnTo>
                    <a:lnTo>
                      <a:pt x="9794118" y="7382982"/>
                    </a:lnTo>
                    <a:lnTo>
                      <a:pt x="9773428" y="7379078"/>
                    </a:lnTo>
                    <a:lnTo>
                      <a:pt x="9756744" y="7362735"/>
                    </a:lnTo>
                    <a:lnTo>
                      <a:pt x="9745244" y="7338433"/>
                    </a:lnTo>
                    <a:lnTo>
                      <a:pt x="9751938" y="7302708"/>
                    </a:lnTo>
                    <a:lnTo>
                      <a:pt x="9760706" y="7282852"/>
                    </a:lnTo>
                    <a:lnTo>
                      <a:pt x="9771707" y="7263442"/>
                    </a:lnTo>
                    <a:lnTo>
                      <a:pt x="9793814" y="7224626"/>
                    </a:lnTo>
                    <a:lnTo>
                      <a:pt x="9826373" y="7189440"/>
                    </a:lnTo>
                    <a:lnTo>
                      <a:pt x="9849237" y="7187270"/>
                    </a:lnTo>
                    <a:lnTo>
                      <a:pt x="9884330" y="7215206"/>
                    </a:lnTo>
                    <a:lnTo>
                      <a:pt x="9900927" y="7238963"/>
                    </a:lnTo>
                    <a:lnTo>
                      <a:pt x="9917521" y="7262716"/>
                    </a:lnTo>
                    <a:lnTo>
                      <a:pt x="9933018" y="7288352"/>
                    </a:lnTo>
                    <a:lnTo>
                      <a:pt x="9948543" y="7302885"/>
                    </a:lnTo>
                    <a:lnTo>
                      <a:pt x="9974436" y="7327221"/>
                    </a:lnTo>
                    <a:lnTo>
                      <a:pt x="9995703" y="7328964"/>
                    </a:lnTo>
                    <a:lnTo>
                      <a:pt x="10034658" y="7325782"/>
                    </a:lnTo>
                    <a:lnTo>
                      <a:pt x="10070945" y="7334173"/>
                    </a:lnTo>
                    <a:lnTo>
                      <a:pt x="10091542" y="7348516"/>
                    </a:lnTo>
                    <a:lnTo>
                      <a:pt x="10100431" y="7368071"/>
                    </a:lnTo>
                    <a:lnTo>
                      <a:pt x="10109029" y="7388582"/>
                    </a:lnTo>
                    <a:lnTo>
                      <a:pt x="10117695" y="7409089"/>
                    </a:lnTo>
                    <a:lnTo>
                      <a:pt x="10126994" y="7429751"/>
                    </a:lnTo>
                    <a:lnTo>
                      <a:pt x="10145765" y="7444352"/>
                    </a:lnTo>
                    <a:lnTo>
                      <a:pt x="10176120" y="7467981"/>
                    </a:lnTo>
                    <a:lnTo>
                      <a:pt x="10227428" y="7467513"/>
                    </a:lnTo>
                    <a:lnTo>
                      <a:pt x="10261373" y="7487872"/>
                    </a:lnTo>
                    <a:lnTo>
                      <a:pt x="10291874" y="7506174"/>
                    </a:lnTo>
                    <a:lnTo>
                      <a:pt x="10315813" y="7542352"/>
                    </a:lnTo>
                    <a:lnTo>
                      <a:pt x="10347073" y="7565408"/>
                    </a:lnTo>
                    <a:lnTo>
                      <a:pt x="10380938" y="7584858"/>
                    </a:lnTo>
                    <a:lnTo>
                      <a:pt x="10422024" y="7586765"/>
                    </a:lnTo>
                    <a:lnTo>
                      <a:pt x="10445015" y="7581522"/>
                    </a:lnTo>
                    <a:lnTo>
                      <a:pt x="10473571" y="7564044"/>
                    </a:lnTo>
                    <a:lnTo>
                      <a:pt x="10492261" y="7552621"/>
                    </a:lnTo>
                    <a:lnTo>
                      <a:pt x="10506816" y="7536445"/>
                    </a:lnTo>
                    <a:lnTo>
                      <a:pt x="10517091" y="7517802"/>
                    </a:lnTo>
                    <a:lnTo>
                      <a:pt x="10527425" y="7499158"/>
                    </a:lnTo>
                    <a:lnTo>
                      <a:pt x="10533775" y="7476834"/>
                    </a:lnTo>
                    <a:lnTo>
                      <a:pt x="10540218" y="7455229"/>
                    </a:lnTo>
                    <a:lnTo>
                      <a:pt x="10553110" y="7412025"/>
                    </a:lnTo>
                    <a:lnTo>
                      <a:pt x="10562298" y="7367733"/>
                    </a:lnTo>
                    <a:lnTo>
                      <a:pt x="10586470" y="7338256"/>
                    </a:lnTo>
                    <a:lnTo>
                      <a:pt x="10613547" y="7331410"/>
                    </a:lnTo>
                    <a:lnTo>
                      <a:pt x="10645626" y="7348035"/>
                    </a:lnTo>
                    <a:lnTo>
                      <a:pt x="10734470" y="7496129"/>
                    </a:lnTo>
                    <a:lnTo>
                      <a:pt x="10737453" y="7521888"/>
                    </a:lnTo>
                    <a:lnTo>
                      <a:pt x="10740280" y="7547220"/>
                    </a:lnTo>
                    <a:lnTo>
                      <a:pt x="10722489" y="7579013"/>
                    </a:lnTo>
                    <a:lnTo>
                      <a:pt x="10710797" y="7622859"/>
                    </a:lnTo>
                    <a:lnTo>
                      <a:pt x="10716651" y="7653905"/>
                    </a:lnTo>
                    <a:lnTo>
                      <a:pt x="10717048" y="7687832"/>
                    </a:lnTo>
                    <a:lnTo>
                      <a:pt x="10716521" y="7721597"/>
                    </a:lnTo>
                    <a:lnTo>
                      <a:pt x="10711600" y="7742238"/>
                    </a:lnTo>
                    <a:lnTo>
                      <a:pt x="10706673" y="7762887"/>
                    </a:lnTo>
                    <a:lnTo>
                      <a:pt x="10697182" y="7787255"/>
                    </a:lnTo>
                    <a:lnTo>
                      <a:pt x="10681679" y="7815687"/>
                    </a:lnTo>
                    <a:lnTo>
                      <a:pt x="10659209" y="7849524"/>
                    </a:lnTo>
                    <a:lnTo>
                      <a:pt x="10635785" y="7864066"/>
                    </a:lnTo>
                    <a:lnTo>
                      <a:pt x="10610651" y="7862906"/>
                    </a:lnTo>
                    <a:lnTo>
                      <a:pt x="10594627" y="7845614"/>
                    </a:lnTo>
                    <a:lnTo>
                      <a:pt x="10581410" y="7810481"/>
                    </a:lnTo>
                    <a:lnTo>
                      <a:pt x="10580560" y="7769213"/>
                    </a:lnTo>
                    <a:lnTo>
                      <a:pt x="10582814" y="7748166"/>
                    </a:lnTo>
                    <a:lnTo>
                      <a:pt x="10581918" y="7714394"/>
                    </a:lnTo>
                    <a:lnTo>
                      <a:pt x="10575580" y="7693996"/>
                    </a:lnTo>
                    <a:lnTo>
                      <a:pt x="10555175" y="7670149"/>
                    </a:lnTo>
                    <a:lnTo>
                      <a:pt x="10514735" y="7702445"/>
                    </a:lnTo>
                    <a:lnTo>
                      <a:pt x="10498050" y="7736799"/>
                    </a:lnTo>
                    <a:lnTo>
                      <a:pt x="10481307" y="7771151"/>
                    </a:lnTo>
                    <a:lnTo>
                      <a:pt x="10468412" y="7808420"/>
                    </a:lnTo>
                    <a:lnTo>
                      <a:pt x="10443641" y="7833373"/>
                    </a:lnTo>
                    <a:lnTo>
                      <a:pt x="10421004" y="7814565"/>
                    </a:lnTo>
                    <a:lnTo>
                      <a:pt x="10421878" y="7792563"/>
                    </a:lnTo>
                    <a:lnTo>
                      <a:pt x="10430749" y="7769039"/>
                    </a:lnTo>
                    <a:lnTo>
                      <a:pt x="10442925" y="7745357"/>
                    </a:lnTo>
                    <a:lnTo>
                      <a:pt x="10453160" y="7720475"/>
                    </a:lnTo>
                    <a:lnTo>
                      <a:pt x="10456642" y="7692368"/>
                    </a:lnTo>
                    <a:lnTo>
                      <a:pt x="10438209" y="7666069"/>
                    </a:lnTo>
                    <a:lnTo>
                      <a:pt x="10415299" y="7666726"/>
                    </a:lnTo>
                    <a:lnTo>
                      <a:pt x="10390804" y="7683202"/>
                    </a:lnTo>
                    <a:lnTo>
                      <a:pt x="10373875" y="7709337"/>
                    </a:lnTo>
                    <a:lnTo>
                      <a:pt x="10366672" y="7731079"/>
                    </a:lnTo>
                    <a:lnTo>
                      <a:pt x="10335400" y="7761746"/>
                    </a:lnTo>
                    <a:lnTo>
                      <a:pt x="10304524" y="7770168"/>
                    </a:lnTo>
                    <a:lnTo>
                      <a:pt x="10287226" y="7791205"/>
                    </a:lnTo>
                    <a:lnTo>
                      <a:pt x="10267770" y="7823882"/>
                    </a:lnTo>
                    <a:lnTo>
                      <a:pt x="10262744" y="7844256"/>
                    </a:lnTo>
                    <a:lnTo>
                      <a:pt x="10257718" y="7864621"/>
                    </a:lnTo>
                    <a:lnTo>
                      <a:pt x="10255352" y="7886964"/>
                    </a:lnTo>
                    <a:lnTo>
                      <a:pt x="10255938" y="7909545"/>
                    </a:lnTo>
                    <a:lnTo>
                      <a:pt x="10257243" y="7954699"/>
                    </a:lnTo>
                    <a:lnTo>
                      <a:pt x="10269057" y="8000547"/>
                    </a:lnTo>
                    <a:lnTo>
                      <a:pt x="10287226" y="8030601"/>
                    </a:lnTo>
                    <a:lnTo>
                      <a:pt x="10308440" y="8038759"/>
                    </a:lnTo>
                    <a:lnTo>
                      <a:pt x="10356558" y="8098061"/>
                    </a:lnTo>
                    <a:lnTo>
                      <a:pt x="10363395" y="8120370"/>
                    </a:lnTo>
                    <a:lnTo>
                      <a:pt x="10351157" y="8148938"/>
                    </a:lnTo>
                    <a:lnTo>
                      <a:pt x="10325224" y="8156972"/>
                    </a:lnTo>
                    <a:lnTo>
                      <a:pt x="10291188" y="8131001"/>
                    </a:lnTo>
                    <a:lnTo>
                      <a:pt x="10271627" y="8098014"/>
                    </a:lnTo>
                    <a:lnTo>
                      <a:pt x="10238258" y="8086368"/>
                    </a:lnTo>
                    <a:lnTo>
                      <a:pt x="10204598" y="8101158"/>
                    </a:lnTo>
                    <a:lnTo>
                      <a:pt x="10193381" y="8135333"/>
                    </a:lnTo>
                    <a:lnTo>
                      <a:pt x="10179267" y="8161266"/>
                    </a:lnTo>
                    <a:lnTo>
                      <a:pt x="10152642" y="8176822"/>
                    </a:lnTo>
                    <a:lnTo>
                      <a:pt x="10138971" y="8204705"/>
                    </a:lnTo>
                    <a:lnTo>
                      <a:pt x="10129304" y="8224338"/>
                    </a:lnTo>
                    <a:lnTo>
                      <a:pt x="10126678" y="8249934"/>
                    </a:lnTo>
                    <a:lnTo>
                      <a:pt x="10132166" y="8271356"/>
                    </a:lnTo>
                    <a:lnTo>
                      <a:pt x="10137660" y="8292775"/>
                    </a:lnTo>
                    <a:lnTo>
                      <a:pt x="10150974" y="8310541"/>
                    </a:lnTo>
                    <a:lnTo>
                      <a:pt x="10175692" y="8316240"/>
                    </a:lnTo>
                    <a:lnTo>
                      <a:pt x="10207736" y="8323638"/>
                    </a:lnTo>
                    <a:lnTo>
                      <a:pt x="10238810" y="8315778"/>
                    </a:lnTo>
                    <a:lnTo>
                      <a:pt x="10269549" y="8309440"/>
                    </a:lnTo>
                    <a:lnTo>
                      <a:pt x="10300230" y="8303134"/>
                    </a:lnTo>
                    <a:lnTo>
                      <a:pt x="10331332" y="8297602"/>
                    </a:lnTo>
                    <a:lnTo>
                      <a:pt x="10363395" y="8310798"/>
                    </a:lnTo>
                    <a:lnTo>
                      <a:pt x="10378346" y="8327867"/>
                    </a:lnTo>
                    <a:lnTo>
                      <a:pt x="10381078" y="8366565"/>
                    </a:lnTo>
                    <a:lnTo>
                      <a:pt x="10371956" y="8406470"/>
                    </a:lnTo>
                    <a:lnTo>
                      <a:pt x="10364753" y="8426413"/>
                    </a:lnTo>
                    <a:lnTo>
                      <a:pt x="10357612" y="8446356"/>
                    </a:lnTo>
                    <a:lnTo>
                      <a:pt x="10350906" y="8466761"/>
                    </a:lnTo>
                    <a:lnTo>
                      <a:pt x="10346044" y="8503047"/>
                    </a:lnTo>
                    <a:lnTo>
                      <a:pt x="10360679" y="8533870"/>
                    </a:lnTo>
                    <a:lnTo>
                      <a:pt x="10381078" y="8540669"/>
                    </a:lnTo>
                    <a:lnTo>
                      <a:pt x="10404958" y="8535284"/>
                    </a:lnTo>
                    <a:lnTo>
                      <a:pt x="10430051" y="8509391"/>
                    </a:lnTo>
                    <a:lnTo>
                      <a:pt x="10444215" y="8476686"/>
                    </a:lnTo>
                    <a:lnTo>
                      <a:pt x="10453910" y="8441429"/>
                    </a:lnTo>
                    <a:lnTo>
                      <a:pt x="10468130" y="8410091"/>
                    </a:lnTo>
                    <a:lnTo>
                      <a:pt x="10490600" y="8383870"/>
                    </a:lnTo>
                    <a:lnTo>
                      <a:pt x="10513020" y="8378806"/>
                    </a:lnTo>
                    <a:lnTo>
                      <a:pt x="10559061" y="8392409"/>
                    </a:lnTo>
                    <a:lnTo>
                      <a:pt x="10588373" y="8402328"/>
                    </a:lnTo>
                    <a:lnTo>
                      <a:pt x="10617761" y="8404650"/>
                    </a:lnTo>
                    <a:lnTo>
                      <a:pt x="10647089" y="8406978"/>
                    </a:lnTo>
                    <a:lnTo>
                      <a:pt x="10676765" y="8402011"/>
                    </a:lnTo>
                    <a:lnTo>
                      <a:pt x="10723854" y="8388328"/>
                    </a:lnTo>
                    <a:lnTo>
                      <a:pt x="10744720" y="8365570"/>
                    </a:lnTo>
                    <a:lnTo>
                      <a:pt x="10759247" y="8340015"/>
                    </a:lnTo>
                    <a:lnTo>
                      <a:pt x="10770105" y="8313514"/>
                    </a:lnTo>
                    <a:lnTo>
                      <a:pt x="10780914" y="8287023"/>
                    </a:lnTo>
                    <a:lnTo>
                      <a:pt x="10788036" y="8260110"/>
                    </a:lnTo>
                    <a:lnTo>
                      <a:pt x="10794584" y="8231910"/>
                    </a:lnTo>
                    <a:lnTo>
                      <a:pt x="10807799" y="8175504"/>
                    </a:lnTo>
                    <a:lnTo>
                      <a:pt x="10818248" y="8117052"/>
                    </a:lnTo>
                    <a:lnTo>
                      <a:pt x="10848993" y="8065964"/>
                    </a:lnTo>
                    <a:lnTo>
                      <a:pt x="10866443" y="8037057"/>
                    </a:lnTo>
                    <a:lnTo>
                      <a:pt x="10889887" y="8009558"/>
                    </a:lnTo>
                    <a:lnTo>
                      <a:pt x="10908841" y="7980270"/>
                    </a:lnTo>
                    <a:lnTo>
                      <a:pt x="10927854" y="7950988"/>
                    </a:lnTo>
                    <a:lnTo>
                      <a:pt x="10942442" y="7919569"/>
                    </a:lnTo>
                    <a:lnTo>
                      <a:pt x="10941487" y="7883699"/>
                    </a:lnTo>
                    <a:lnTo>
                      <a:pt x="10940891" y="7860999"/>
                    </a:lnTo>
                    <a:lnTo>
                      <a:pt x="10933242" y="7793797"/>
                    </a:lnTo>
                    <a:lnTo>
                      <a:pt x="10923804" y="7774884"/>
                    </a:lnTo>
                    <a:lnTo>
                      <a:pt x="10907560" y="7745977"/>
                    </a:lnTo>
                    <a:lnTo>
                      <a:pt x="10896721" y="7700901"/>
                    </a:lnTo>
                    <a:lnTo>
                      <a:pt x="10891257" y="7649211"/>
                    </a:lnTo>
                    <a:lnTo>
                      <a:pt x="10889800" y="7598054"/>
                    </a:lnTo>
                    <a:lnTo>
                      <a:pt x="10888278" y="7546898"/>
                    </a:lnTo>
                    <a:lnTo>
                      <a:pt x="10890395" y="7495512"/>
                    </a:lnTo>
                    <a:lnTo>
                      <a:pt x="10897958" y="7468834"/>
                    </a:lnTo>
                    <a:lnTo>
                      <a:pt x="10919625" y="7444684"/>
                    </a:lnTo>
                    <a:lnTo>
                      <a:pt x="10937245" y="7429726"/>
                    </a:lnTo>
                    <a:lnTo>
                      <a:pt x="10957808" y="7417150"/>
                    </a:lnTo>
                    <a:lnTo>
                      <a:pt x="10978424" y="7404571"/>
                    </a:lnTo>
                    <a:lnTo>
                      <a:pt x="11001750" y="7394119"/>
                    </a:lnTo>
                    <a:lnTo>
                      <a:pt x="11025820" y="7387220"/>
                    </a:lnTo>
                    <a:lnTo>
                      <a:pt x="11049834" y="7380325"/>
                    </a:lnTo>
                    <a:lnTo>
                      <a:pt x="11075389" y="7376663"/>
                    </a:lnTo>
                    <a:lnTo>
                      <a:pt x="11099269" y="7376341"/>
                    </a:lnTo>
                    <a:lnTo>
                      <a:pt x="11123194" y="7376012"/>
                    </a:lnTo>
                    <a:lnTo>
                      <a:pt x="11145722" y="7378700"/>
                    </a:lnTo>
                    <a:lnTo>
                      <a:pt x="11165923" y="7385862"/>
                    </a:lnTo>
                    <a:lnTo>
                      <a:pt x="11197031" y="7406605"/>
                    </a:lnTo>
                    <a:lnTo>
                      <a:pt x="11222704" y="7424542"/>
                    </a:lnTo>
                    <a:lnTo>
                      <a:pt x="11246169" y="7433472"/>
                    </a:lnTo>
                    <a:lnTo>
                      <a:pt x="11293351" y="7461737"/>
                    </a:lnTo>
                    <a:lnTo>
                      <a:pt x="11328263" y="7496209"/>
                    </a:lnTo>
                    <a:lnTo>
                      <a:pt x="11365867" y="7535487"/>
                    </a:lnTo>
                    <a:lnTo>
                      <a:pt x="11393664" y="7564472"/>
                    </a:lnTo>
                    <a:lnTo>
                      <a:pt x="11427714" y="7582371"/>
                    </a:lnTo>
                    <a:lnTo>
                      <a:pt x="11446120" y="7619817"/>
                    </a:lnTo>
                    <a:lnTo>
                      <a:pt x="11460615" y="7649316"/>
                    </a:lnTo>
                    <a:lnTo>
                      <a:pt x="11486759" y="7819637"/>
                    </a:lnTo>
                    <a:lnTo>
                      <a:pt x="11486929" y="7856494"/>
                    </a:lnTo>
                    <a:lnTo>
                      <a:pt x="11467033" y="7878257"/>
                    </a:lnTo>
                    <a:lnTo>
                      <a:pt x="11432765" y="7878245"/>
                    </a:lnTo>
                    <a:lnTo>
                      <a:pt x="11401235" y="7859213"/>
                    </a:lnTo>
                    <a:lnTo>
                      <a:pt x="11374930" y="7832477"/>
                    </a:lnTo>
                    <a:lnTo>
                      <a:pt x="11354088" y="7801620"/>
                    </a:lnTo>
                    <a:lnTo>
                      <a:pt x="11334588" y="7773519"/>
                    </a:lnTo>
                    <a:lnTo>
                      <a:pt x="11314828" y="7752671"/>
                    </a:lnTo>
                    <a:lnTo>
                      <a:pt x="11284638" y="7747357"/>
                    </a:lnTo>
                    <a:lnTo>
                      <a:pt x="11251248" y="7761133"/>
                    </a:lnTo>
                    <a:lnTo>
                      <a:pt x="11217606" y="7777600"/>
                    </a:lnTo>
                    <a:lnTo>
                      <a:pt x="11183968" y="7794067"/>
                    </a:lnTo>
                    <a:lnTo>
                      <a:pt x="11150321" y="7812205"/>
                    </a:lnTo>
                    <a:lnTo>
                      <a:pt x="11114785" y="7818450"/>
                    </a:lnTo>
                    <a:lnTo>
                      <a:pt x="11089667" y="7819082"/>
                    </a:lnTo>
                    <a:lnTo>
                      <a:pt x="11055697" y="7825250"/>
                    </a:lnTo>
                    <a:lnTo>
                      <a:pt x="11045784" y="7844585"/>
                    </a:lnTo>
                    <a:lnTo>
                      <a:pt x="11045673" y="7872599"/>
                    </a:lnTo>
                    <a:lnTo>
                      <a:pt x="11057101" y="7893214"/>
                    </a:lnTo>
                    <a:lnTo>
                      <a:pt x="11080821" y="7903927"/>
                    </a:lnTo>
                    <a:lnTo>
                      <a:pt x="11107644" y="7913402"/>
                    </a:lnTo>
                    <a:lnTo>
                      <a:pt x="11130554" y="7924502"/>
                    </a:lnTo>
                    <a:lnTo>
                      <a:pt x="11155616" y="7942966"/>
                    </a:lnTo>
                    <a:lnTo>
                      <a:pt x="11168012" y="7968602"/>
                    </a:lnTo>
                    <a:lnTo>
                      <a:pt x="11171358" y="7997949"/>
                    </a:lnTo>
                    <a:lnTo>
                      <a:pt x="11173711" y="8027572"/>
                    </a:lnTo>
                    <a:lnTo>
                      <a:pt x="11169755" y="8057865"/>
                    </a:lnTo>
                    <a:lnTo>
                      <a:pt x="11180592" y="8085001"/>
                    </a:lnTo>
                    <a:lnTo>
                      <a:pt x="11238659" y="8162959"/>
                    </a:lnTo>
                    <a:lnTo>
                      <a:pt x="11264531" y="8184722"/>
                    </a:lnTo>
                    <a:lnTo>
                      <a:pt x="11289438" y="8192415"/>
                    </a:lnTo>
                    <a:lnTo>
                      <a:pt x="11308742" y="8207425"/>
                    </a:lnTo>
                    <a:lnTo>
                      <a:pt x="11331816" y="8258383"/>
                    </a:lnTo>
                    <a:lnTo>
                      <a:pt x="11359061" y="8271346"/>
                    </a:lnTo>
                    <a:lnTo>
                      <a:pt x="11387922" y="8252268"/>
                    </a:lnTo>
                    <a:lnTo>
                      <a:pt x="11400938" y="8225138"/>
                    </a:lnTo>
                    <a:lnTo>
                      <a:pt x="11405313" y="8193819"/>
                    </a:lnTo>
                    <a:lnTo>
                      <a:pt x="11407139" y="8163396"/>
                    </a:lnTo>
                    <a:lnTo>
                      <a:pt x="11414366" y="8137187"/>
                    </a:lnTo>
                    <a:lnTo>
                      <a:pt x="11432514" y="8120370"/>
                    </a:lnTo>
                    <a:lnTo>
                      <a:pt x="11463458" y="8129333"/>
                    </a:lnTo>
                    <a:lnTo>
                      <a:pt x="11480117" y="8161173"/>
                    </a:lnTo>
                    <a:lnTo>
                      <a:pt x="11493723" y="8196554"/>
                    </a:lnTo>
                    <a:lnTo>
                      <a:pt x="11529730" y="8268525"/>
                    </a:lnTo>
                    <a:lnTo>
                      <a:pt x="11544517" y="8315737"/>
                    </a:lnTo>
                    <a:lnTo>
                      <a:pt x="11552212" y="8365201"/>
                    </a:lnTo>
                    <a:lnTo>
                      <a:pt x="11559908" y="8414668"/>
                    </a:lnTo>
                    <a:lnTo>
                      <a:pt x="11561458" y="8465322"/>
                    </a:lnTo>
                    <a:lnTo>
                      <a:pt x="11563095" y="8529783"/>
                    </a:lnTo>
                    <a:lnTo>
                      <a:pt x="11564354" y="8577219"/>
                    </a:lnTo>
                    <a:lnTo>
                      <a:pt x="11558255" y="8633969"/>
                    </a:lnTo>
                    <a:lnTo>
                      <a:pt x="11572611" y="8679408"/>
                    </a:lnTo>
                    <a:lnTo>
                      <a:pt x="11589633" y="8713192"/>
                    </a:lnTo>
                    <a:lnTo>
                      <a:pt x="11615399" y="8738115"/>
                    </a:lnTo>
                    <a:lnTo>
                      <a:pt x="11643342" y="8759661"/>
                    </a:lnTo>
                    <a:lnTo>
                      <a:pt x="11668311" y="8780171"/>
                    </a:lnTo>
                    <a:lnTo>
                      <a:pt x="11680946" y="8807159"/>
                    </a:lnTo>
                    <a:lnTo>
                      <a:pt x="11674627" y="8845355"/>
                    </a:lnTo>
                    <a:lnTo>
                      <a:pt x="11646969" y="8855202"/>
                    </a:lnTo>
                    <a:lnTo>
                      <a:pt x="11626127" y="8876305"/>
                    </a:lnTo>
                    <a:lnTo>
                      <a:pt x="11614779" y="8903838"/>
                    </a:lnTo>
                    <a:lnTo>
                      <a:pt x="11617477" y="8945187"/>
                    </a:lnTo>
                    <a:lnTo>
                      <a:pt x="11625668" y="8970485"/>
                    </a:lnTo>
                    <a:lnTo>
                      <a:pt x="11633826" y="8995792"/>
                    </a:lnTo>
                    <a:lnTo>
                      <a:pt x="11643236" y="9022225"/>
                    </a:lnTo>
                    <a:lnTo>
                      <a:pt x="11639264" y="9048021"/>
                    </a:lnTo>
                    <a:lnTo>
                      <a:pt x="11634914" y="9076203"/>
                    </a:lnTo>
                    <a:lnTo>
                      <a:pt x="11604485" y="9130742"/>
                    </a:lnTo>
                    <a:lnTo>
                      <a:pt x="11583491" y="9184044"/>
                    </a:lnTo>
                    <a:lnTo>
                      <a:pt x="11573061" y="9210694"/>
                    </a:lnTo>
                    <a:lnTo>
                      <a:pt x="11564736" y="9237520"/>
                    </a:lnTo>
                    <a:lnTo>
                      <a:pt x="11563095" y="9260213"/>
                    </a:lnTo>
                    <a:lnTo>
                      <a:pt x="11561440" y="9282900"/>
                    </a:lnTo>
                    <a:lnTo>
                      <a:pt x="11582133" y="9313258"/>
                    </a:lnTo>
                    <a:lnTo>
                      <a:pt x="11609706" y="9325391"/>
                    </a:lnTo>
                    <a:lnTo>
                      <a:pt x="11638843" y="9317450"/>
                    </a:lnTo>
                    <a:lnTo>
                      <a:pt x="11667836" y="9295575"/>
                    </a:lnTo>
                    <a:lnTo>
                      <a:pt x="11694728" y="9271354"/>
                    </a:lnTo>
                    <a:lnTo>
                      <a:pt x="11716658" y="9237111"/>
                    </a:lnTo>
                    <a:lnTo>
                      <a:pt x="11724958" y="9215329"/>
                    </a:lnTo>
                    <a:lnTo>
                      <a:pt x="11734781" y="9189867"/>
                    </a:lnTo>
                    <a:lnTo>
                      <a:pt x="11738790" y="9154545"/>
                    </a:lnTo>
                    <a:lnTo>
                      <a:pt x="11752163" y="9130993"/>
                    </a:lnTo>
                    <a:lnTo>
                      <a:pt x="11771765" y="9114796"/>
                    </a:lnTo>
                    <a:lnTo>
                      <a:pt x="11805115" y="9107404"/>
                    </a:lnTo>
                    <a:lnTo>
                      <a:pt x="11833776" y="9133715"/>
                    </a:lnTo>
                    <a:lnTo>
                      <a:pt x="11867706" y="9155534"/>
                    </a:lnTo>
                    <a:lnTo>
                      <a:pt x="11890737" y="9182044"/>
                    </a:lnTo>
                    <a:lnTo>
                      <a:pt x="11907229" y="9212607"/>
                    </a:lnTo>
                    <a:lnTo>
                      <a:pt x="11923666" y="9243166"/>
                    </a:lnTo>
                    <a:lnTo>
                      <a:pt x="11933727" y="9276755"/>
                    </a:lnTo>
                    <a:lnTo>
                      <a:pt x="11941227" y="9311897"/>
                    </a:lnTo>
                    <a:lnTo>
                      <a:pt x="11956237" y="9382193"/>
                    </a:lnTo>
                    <a:lnTo>
                      <a:pt x="11961880" y="9457677"/>
                    </a:lnTo>
                    <a:lnTo>
                      <a:pt x="11991553" y="9521372"/>
                    </a:lnTo>
                    <a:lnTo>
                      <a:pt x="12014832" y="9571248"/>
                    </a:lnTo>
                    <a:lnTo>
                      <a:pt x="12045174" y="9615990"/>
                    </a:lnTo>
                    <a:lnTo>
                      <a:pt x="12074528" y="9661475"/>
                    </a:lnTo>
                    <a:lnTo>
                      <a:pt x="12158857" y="9624746"/>
                    </a:lnTo>
                    <a:lnTo>
                      <a:pt x="12148681" y="9594205"/>
                    </a:lnTo>
                    <a:lnTo>
                      <a:pt x="12138257" y="9563764"/>
                    </a:lnTo>
                    <a:lnTo>
                      <a:pt x="12124863" y="9534972"/>
                    </a:lnTo>
                    <a:lnTo>
                      <a:pt x="12103304" y="9488813"/>
                    </a:lnTo>
                    <a:lnTo>
                      <a:pt x="12075129" y="9447833"/>
                    </a:lnTo>
                    <a:lnTo>
                      <a:pt x="12055484" y="9400316"/>
                    </a:lnTo>
                    <a:lnTo>
                      <a:pt x="12035218" y="9351091"/>
                    </a:lnTo>
                    <a:lnTo>
                      <a:pt x="12025049" y="9300251"/>
                    </a:lnTo>
                    <a:lnTo>
                      <a:pt x="12007874" y="9250691"/>
                    </a:lnTo>
                    <a:lnTo>
                      <a:pt x="11926270" y="8982391"/>
                    </a:lnTo>
                    <a:lnTo>
                      <a:pt x="11909939" y="8951447"/>
                    </a:lnTo>
                    <a:lnTo>
                      <a:pt x="11897035" y="8926748"/>
                    </a:lnTo>
                    <a:lnTo>
                      <a:pt x="11879380" y="8905243"/>
                    </a:lnTo>
                    <a:lnTo>
                      <a:pt x="11862339" y="8884800"/>
                    </a:lnTo>
                    <a:lnTo>
                      <a:pt x="11841209" y="8859422"/>
                    </a:lnTo>
                    <a:lnTo>
                      <a:pt x="11791444" y="8749116"/>
                    </a:lnTo>
                    <a:lnTo>
                      <a:pt x="11783445" y="8716135"/>
                    </a:lnTo>
                    <a:lnTo>
                      <a:pt x="11756839" y="8606210"/>
                    </a:lnTo>
                    <a:lnTo>
                      <a:pt x="11753735" y="8491274"/>
                    </a:lnTo>
                    <a:lnTo>
                      <a:pt x="11731758" y="8378806"/>
                    </a:lnTo>
                    <a:lnTo>
                      <a:pt x="11717554" y="8337699"/>
                    </a:lnTo>
                    <a:lnTo>
                      <a:pt x="11711362" y="8314875"/>
                    </a:lnTo>
                    <a:lnTo>
                      <a:pt x="11653921" y="8154374"/>
                    </a:lnTo>
                    <a:lnTo>
                      <a:pt x="11615551" y="8016990"/>
                    </a:lnTo>
                    <a:lnTo>
                      <a:pt x="11618180" y="7844544"/>
                    </a:lnTo>
                    <a:lnTo>
                      <a:pt x="11614779" y="7717746"/>
                    </a:lnTo>
                    <a:lnTo>
                      <a:pt x="11619086" y="7688715"/>
                    </a:lnTo>
                    <a:lnTo>
                      <a:pt x="11608507" y="7589931"/>
                    </a:lnTo>
                    <a:lnTo>
                      <a:pt x="11565291" y="7513718"/>
                    </a:lnTo>
                    <a:lnTo>
                      <a:pt x="11563074" y="7429382"/>
                    </a:lnTo>
                    <a:lnTo>
                      <a:pt x="11561933" y="7383264"/>
                    </a:lnTo>
                    <a:lnTo>
                      <a:pt x="11572986" y="7353554"/>
                    </a:lnTo>
                    <a:lnTo>
                      <a:pt x="11594355" y="7313768"/>
                    </a:lnTo>
                    <a:lnTo>
                      <a:pt x="11649614" y="7211454"/>
                    </a:lnTo>
                    <a:lnTo>
                      <a:pt x="11772543" y="7230883"/>
                    </a:lnTo>
                    <a:lnTo>
                      <a:pt x="11818791" y="7141022"/>
                    </a:lnTo>
                    <a:lnTo>
                      <a:pt x="11837324" y="7105058"/>
                    </a:lnTo>
                    <a:lnTo>
                      <a:pt x="11832729" y="6976188"/>
                    </a:lnTo>
                    <a:lnTo>
                      <a:pt x="11878633" y="6972356"/>
                    </a:lnTo>
                    <a:lnTo>
                      <a:pt x="11944933" y="7023320"/>
                    </a:lnTo>
                    <a:lnTo>
                      <a:pt x="11914854" y="7099405"/>
                    </a:lnTo>
                    <a:lnTo>
                      <a:pt x="11950731" y="7121981"/>
                    </a:lnTo>
                    <a:lnTo>
                      <a:pt x="12022001" y="7144634"/>
                    </a:lnTo>
                    <a:lnTo>
                      <a:pt x="12065334" y="7082365"/>
                    </a:lnTo>
                    <a:lnTo>
                      <a:pt x="12127551" y="7064849"/>
                    </a:lnTo>
                    <a:lnTo>
                      <a:pt x="12265704" y="7025999"/>
                    </a:lnTo>
                    <a:lnTo>
                      <a:pt x="12318488" y="7018099"/>
                    </a:lnTo>
                    <a:lnTo>
                      <a:pt x="12362873" y="6994119"/>
                    </a:lnTo>
                    <a:lnTo>
                      <a:pt x="12406867" y="6970278"/>
                    </a:lnTo>
                    <a:lnTo>
                      <a:pt x="12441383" y="6931084"/>
                    </a:lnTo>
                    <a:lnTo>
                      <a:pt x="12543783" y="6830895"/>
                    </a:lnTo>
                    <a:lnTo>
                      <a:pt x="12567062" y="6808102"/>
                    </a:lnTo>
                    <a:lnTo>
                      <a:pt x="12590645" y="6791319"/>
                    </a:lnTo>
                    <a:lnTo>
                      <a:pt x="12613149" y="6772411"/>
                    </a:lnTo>
                    <a:lnTo>
                      <a:pt x="12574429" y="6770064"/>
                    </a:lnTo>
                    <a:lnTo>
                      <a:pt x="12537340" y="6767677"/>
                    </a:lnTo>
                    <a:lnTo>
                      <a:pt x="12490719" y="6765693"/>
                    </a:lnTo>
                    <a:lnTo>
                      <a:pt x="12462578" y="6764055"/>
                    </a:lnTo>
                    <a:lnTo>
                      <a:pt x="12442294" y="6753299"/>
                    </a:lnTo>
                    <a:lnTo>
                      <a:pt x="12436320" y="6726163"/>
                    </a:lnTo>
                    <a:lnTo>
                      <a:pt x="12434189" y="6696999"/>
                    </a:lnTo>
                    <a:lnTo>
                      <a:pt x="12438760" y="6644872"/>
                    </a:lnTo>
                    <a:lnTo>
                      <a:pt x="12431926" y="6605039"/>
                    </a:lnTo>
                    <a:lnTo>
                      <a:pt x="12424085" y="6567019"/>
                    </a:lnTo>
                    <a:lnTo>
                      <a:pt x="12416225" y="6529000"/>
                    </a:lnTo>
                    <a:lnTo>
                      <a:pt x="12407382" y="6492103"/>
                    </a:lnTo>
                    <a:lnTo>
                      <a:pt x="12407763" y="6452763"/>
                    </a:lnTo>
                    <a:lnTo>
                      <a:pt x="12408231" y="6408176"/>
                    </a:lnTo>
                    <a:lnTo>
                      <a:pt x="12438971" y="6369878"/>
                    </a:lnTo>
                    <a:lnTo>
                      <a:pt x="12443125" y="6326268"/>
                    </a:lnTo>
                    <a:lnTo>
                      <a:pt x="12447221" y="6283505"/>
                    </a:lnTo>
                    <a:lnTo>
                      <a:pt x="12410479" y="6190841"/>
                    </a:lnTo>
                    <a:lnTo>
                      <a:pt x="12398241" y="6145355"/>
                    </a:lnTo>
                    <a:lnTo>
                      <a:pt x="12394679" y="6107699"/>
                    </a:lnTo>
                    <a:lnTo>
                      <a:pt x="12385836" y="6058281"/>
                    </a:lnTo>
                    <a:lnTo>
                      <a:pt x="12380745" y="6016141"/>
                    </a:lnTo>
                    <a:lnTo>
                      <a:pt x="12373759" y="5973973"/>
                    </a:lnTo>
                    <a:lnTo>
                      <a:pt x="12366777" y="5931805"/>
                    </a:lnTo>
                    <a:lnTo>
                      <a:pt x="12356600" y="5889024"/>
                    </a:lnTo>
                    <a:lnTo>
                      <a:pt x="12342480" y="5858359"/>
                    </a:lnTo>
                    <a:lnTo>
                      <a:pt x="12212442" y="5851857"/>
                    </a:lnTo>
                    <a:lnTo>
                      <a:pt x="12190139" y="5851553"/>
                    </a:lnTo>
                    <a:lnTo>
                      <a:pt x="12162380" y="5840698"/>
                    </a:lnTo>
                    <a:lnTo>
                      <a:pt x="12141705" y="5816163"/>
                    </a:lnTo>
                    <a:lnTo>
                      <a:pt x="12119402" y="5797144"/>
                    </a:lnTo>
                    <a:lnTo>
                      <a:pt x="12085491" y="5791181"/>
                    </a:lnTo>
                    <a:lnTo>
                      <a:pt x="12055378" y="5786791"/>
                    </a:lnTo>
                    <a:lnTo>
                      <a:pt x="12022825" y="5768581"/>
                    </a:lnTo>
                    <a:lnTo>
                      <a:pt x="11997791" y="5748862"/>
                    </a:lnTo>
                    <a:lnTo>
                      <a:pt x="11981259" y="5700858"/>
                    </a:lnTo>
                    <a:lnTo>
                      <a:pt x="11958894" y="5689693"/>
                    </a:lnTo>
                    <a:lnTo>
                      <a:pt x="11936570" y="5678540"/>
                    </a:lnTo>
                    <a:lnTo>
                      <a:pt x="11891779" y="5686515"/>
                    </a:lnTo>
                    <a:lnTo>
                      <a:pt x="11844638" y="5695135"/>
                    </a:lnTo>
                    <a:lnTo>
                      <a:pt x="11797509" y="5703742"/>
                    </a:lnTo>
                    <a:lnTo>
                      <a:pt x="11748293" y="5713493"/>
                    </a:lnTo>
                    <a:lnTo>
                      <a:pt x="11716788" y="5701934"/>
                    </a:lnTo>
                    <a:lnTo>
                      <a:pt x="11709269" y="5667958"/>
                    </a:lnTo>
                    <a:lnTo>
                      <a:pt x="11708618" y="5643445"/>
                    </a:lnTo>
                    <a:lnTo>
                      <a:pt x="11707958" y="5618938"/>
                    </a:lnTo>
                    <a:lnTo>
                      <a:pt x="11709080" y="5594524"/>
                    </a:lnTo>
                    <a:lnTo>
                      <a:pt x="11729498" y="5579024"/>
                    </a:lnTo>
                    <a:lnTo>
                      <a:pt x="11754873" y="5550951"/>
                    </a:lnTo>
                    <a:lnTo>
                      <a:pt x="11772580" y="5516987"/>
                    </a:lnTo>
                    <a:lnTo>
                      <a:pt x="11765756" y="5484301"/>
                    </a:lnTo>
                    <a:lnTo>
                      <a:pt x="11697320" y="5464457"/>
                    </a:lnTo>
                    <a:lnTo>
                      <a:pt x="11639258" y="5459816"/>
                    </a:lnTo>
                    <a:lnTo>
                      <a:pt x="11581190" y="5455171"/>
                    </a:lnTo>
                    <a:lnTo>
                      <a:pt x="11522068" y="5454058"/>
                    </a:lnTo>
                    <a:lnTo>
                      <a:pt x="11488526" y="5457059"/>
                    </a:lnTo>
                    <a:lnTo>
                      <a:pt x="11448833" y="5466621"/>
                    </a:lnTo>
                    <a:lnTo>
                      <a:pt x="11409210" y="5469998"/>
                    </a:lnTo>
                    <a:lnTo>
                      <a:pt x="11377851" y="5426029"/>
                    </a:lnTo>
                    <a:lnTo>
                      <a:pt x="11376266" y="5391941"/>
                    </a:lnTo>
                    <a:lnTo>
                      <a:pt x="11360413" y="5360529"/>
                    </a:lnTo>
                    <a:lnTo>
                      <a:pt x="11349880" y="5339615"/>
                    </a:lnTo>
                    <a:lnTo>
                      <a:pt x="11329134" y="5300681"/>
                    </a:lnTo>
                    <a:lnTo>
                      <a:pt x="11309474" y="5275284"/>
                    </a:lnTo>
                    <a:lnTo>
                      <a:pt x="11295124" y="5258513"/>
                    </a:lnTo>
                    <a:lnTo>
                      <a:pt x="11280787" y="5241742"/>
                    </a:lnTo>
                    <a:lnTo>
                      <a:pt x="11265374" y="5217471"/>
                    </a:lnTo>
                    <a:lnTo>
                      <a:pt x="11250240" y="5172819"/>
                    </a:lnTo>
                    <a:lnTo>
                      <a:pt x="11245623" y="5143621"/>
                    </a:lnTo>
                    <a:lnTo>
                      <a:pt x="11254857" y="5117685"/>
                    </a:lnTo>
                    <a:lnTo>
                      <a:pt x="11273361" y="5093931"/>
                    </a:lnTo>
                    <a:lnTo>
                      <a:pt x="11292386" y="5070770"/>
                    </a:lnTo>
                    <a:lnTo>
                      <a:pt x="11316472" y="5050727"/>
                    </a:lnTo>
                    <a:lnTo>
                      <a:pt x="11326415" y="5030000"/>
                    </a:lnTo>
                    <a:lnTo>
                      <a:pt x="11335708" y="5010624"/>
                    </a:lnTo>
                    <a:lnTo>
                      <a:pt x="11332037" y="4972934"/>
                    </a:lnTo>
                    <a:lnTo>
                      <a:pt x="11325057" y="4936145"/>
                    </a:lnTo>
                    <a:lnTo>
                      <a:pt x="11318205" y="4899354"/>
                    </a:lnTo>
                    <a:lnTo>
                      <a:pt x="11307781" y="4863464"/>
                    </a:lnTo>
                    <a:lnTo>
                      <a:pt x="11300572" y="4843652"/>
                    </a:lnTo>
                    <a:lnTo>
                      <a:pt x="11290693" y="4820341"/>
                    </a:lnTo>
                    <a:lnTo>
                      <a:pt x="11264847" y="4803208"/>
                    </a:lnTo>
                    <a:lnTo>
                      <a:pt x="11235478" y="4799744"/>
                    </a:lnTo>
                    <a:lnTo>
                      <a:pt x="11200665" y="4798966"/>
                    </a:lnTo>
                    <a:lnTo>
                      <a:pt x="11167275" y="4794687"/>
                    </a:lnTo>
                    <a:lnTo>
                      <a:pt x="11133878" y="4790405"/>
                    </a:lnTo>
                    <a:lnTo>
                      <a:pt x="11101003" y="4783336"/>
                    </a:lnTo>
                    <a:lnTo>
                      <a:pt x="11085320" y="4759279"/>
                    </a:lnTo>
                    <a:lnTo>
                      <a:pt x="11069209" y="4720000"/>
                    </a:lnTo>
                    <a:lnTo>
                      <a:pt x="11036703" y="4710358"/>
                    </a:lnTo>
                    <a:lnTo>
                      <a:pt x="11006438" y="4735584"/>
                    </a:lnTo>
                    <a:lnTo>
                      <a:pt x="10974458" y="4744972"/>
                    </a:lnTo>
                    <a:lnTo>
                      <a:pt x="10938761" y="4730762"/>
                    </a:lnTo>
                    <a:lnTo>
                      <a:pt x="10926074" y="4690309"/>
                    </a:lnTo>
                    <a:lnTo>
                      <a:pt x="10922440" y="4658668"/>
                    </a:lnTo>
                    <a:lnTo>
                      <a:pt x="10918784" y="4627029"/>
                    </a:lnTo>
                    <a:lnTo>
                      <a:pt x="10917736" y="4594504"/>
                    </a:lnTo>
                    <a:lnTo>
                      <a:pt x="10931249" y="4560757"/>
                    </a:lnTo>
                    <a:lnTo>
                      <a:pt x="10960524" y="4541692"/>
                    </a:lnTo>
                    <a:lnTo>
                      <a:pt x="10992358" y="4533264"/>
                    </a:lnTo>
                    <a:lnTo>
                      <a:pt x="11043732" y="4534055"/>
                    </a:lnTo>
                    <a:lnTo>
                      <a:pt x="11080626" y="4542265"/>
                    </a:lnTo>
                    <a:lnTo>
                      <a:pt x="11118301" y="4528086"/>
                    </a:lnTo>
                    <a:lnTo>
                      <a:pt x="11148184" y="4467222"/>
                    </a:lnTo>
                    <a:lnTo>
                      <a:pt x="11165910" y="4447840"/>
                    </a:lnTo>
                    <a:lnTo>
                      <a:pt x="11187540" y="4424204"/>
                    </a:lnTo>
                    <a:lnTo>
                      <a:pt x="11227969" y="4421098"/>
                    </a:lnTo>
                    <a:lnTo>
                      <a:pt x="11268264" y="4371240"/>
                    </a:lnTo>
                    <a:lnTo>
                      <a:pt x="11260447" y="4324865"/>
                    </a:lnTo>
                    <a:lnTo>
                      <a:pt x="11284247" y="4290051"/>
                    </a:lnTo>
                    <a:lnTo>
                      <a:pt x="11299502" y="4267693"/>
                    </a:lnTo>
                    <a:lnTo>
                      <a:pt x="11329175" y="4240020"/>
                    </a:lnTo>
                    <a:lnTo>
                      <a:pt x="11331851" y="4211163"/>
                    </a:lnTo>
                    <a:lnTo>
                      <a:pt x="11336613" y="4159182"/>
                    </a:lnTo>
                    <a:lnTo>
                      <a:pt x="11321141" y="4101495"/>
                    </a:lnTo>
                    <a:lnTo>
                      <a:pt x="11337292" y="4050661"/>
                    </a:lnTo>
                    <a:lnTo>
                      <a:pt x="11355217" y="4033707"/>
                    </a:lnTo>
                    <a:lnTo>
                      <a:pt x="11376505" y="4029525"/>
                    </a:lnTo>
                    <a:lnTo>
                      <a:pt x="11399865" y="4024818"/>
                    </a:lnTo>
                    <a:lnTo>
                      <a:pt x="11433082" y="4009845"/>
                    </a:lnTo>
                    <a:lnTo>
                      <a:pt x="11461071" y="3996255"/>
                    </a:lnTo>
                    <a:lnTo>
                      <a:pt x="11489053" y="3982656"/>
                    </a:lnTo>
                    <a:lnTo>
                      <a:pt x="11516884" y="3968623"/>
                    </a:lnTo>
                    <a:lnTo>
                      <a:pt x="11527200" y="3948159"/>
                    </a:lnTo>
                    <a:lnTo>
                      <a:pt x="11522279" y="3906478"/>
                    </a:lnTo>
                    <a:lnTo>
                      <a:pt x="11519055" y="3885623"/>
                    </a:lnTo>
                    <a:lnTo>
                      <a:pt x="11510038" y="3849353"/>
                    </a:lnTo>
                    <a:lnTo>
                      <a:pt x="11500733" y="3806782"/>
                    </a:lnTo>
                    <a:lnTo>
                      <a:pt x="11488585" y="3779552"/>
                    </a:lnTo>
                    <a:lnTo>
                      <a:pt x="11474664" y="3762294"/>
                    </a:lnTo>
                    <a:lnTo>
                      <a:pt x="11460754" y="3745043"/>
                    </a:lnTo>
                    <a:lnTo>
                      <a:pt x="11429779" y="3735096"/>
                    </a:lnTo>
                    <a:lnTo>
                      <a:pt x="11398637" y="3729233"/>
                    </a:lnTo>
                    <a:lnTo>
                      <a:pt x="11366757" y="3740063"/>
                    </a:lnTo>
                    <a:lnTo>
                      <a:pt x="11346808" y="3725574"/>
                    </a:lnTo>
                    <a:lnTo>
                      <a:pt x="11327063" y="3709975"/>
                    </a:lnTo>
                    <a:lnTo>
                      <a:pt x="11311473" y="3657315"/>
                    </a:lnTo>
                    <a:lnTo>
                      <a:pt x="11299204" y="3603151"/>
                    </a:lnTo>
                    <a:lnTo>
                      <a:pt x="11286932" y="3548987"/>
                    </a:lnTo>
                    <a:lnTo>
                      <a:pt x="11277990" y="3493018"/>
                    </a:lnTo>
                    <a:lnTo>
                      <a:pt x="11274719" y="3471215"/>
                    </a:lnTo>
                    <a:lnTo>
                      <a:pt x="11252916" y="3441588"/>
                    </a:lnTo>
                    <a:lnTo>
                      <a:pt x="11217014" y="3425189"/>
                    </a:lnTo>
                    <a:lnTo>
                      <a:pt x="11178142" y="3412725"/>
                    </a:lnTo>
                    <a:lnTo>
                      <a:pt x="11139267" y="3400267"/>
                    </a:lnTo>
                    <a:lnTo>
                      <a:pt x="11097192" y="3392373"/>
                    </a:lnTo>
                    <a:lnTo>
                      <a:pt x="11065247" y="3382804"/>
                    </a:lnTo>
                    <a:lnTo>
                      <a:pt x="11026750" y="3371267"/>
                    </a:lnTo>
                    <a:lnTo>
                      <a:pt x="11020142" y="3351089"/>
                    </a:lnTo>
                    <a:lnTo>
                      <a:pt x="10999955" y="3332479"/>
                    </a:lnTo>
                    <a:lnTo>
                      <a:pt x="10977289" y="3313748"/>
                    </a:lnTo>
                    <a:lnTo>
                      <a:pt x="10955077" y="3306632"/>
                    </a:lnTo>
                    <a:lnTo>
                      <a:pt x="10932845" y="3299510"/>
                    </a:lnTo>
                    <a:lnTo>
                      <a:pt x="10901269" y="3293963"/>
                    </a:lnTo>
                    <a:lnTo>
                      <a:pt x="10855777" y="3291669"/>
                    </a:lnTo>
                    <a:lnTo>
                      <a:pt x="10838045" y="3266436"/>
                    </a:lnTo>
                    <a:lnTo>
                      <a:pt x="10832675" y="3227124"/>
                    </a:lnTo>
                    <a:lnTo>
                      <a:pt x="10832417" y="3203876"/>
                    </a:lnTo>
                    <a:lnTo>
                      <a:pt x="10831292" y="3180135"/>
                    </a:lnTo>
                    <a:lnTo>
                      <a:pt x="10830157" y="3156387"/>
                    </a:lnTo>
                    <a:lnTo>
                      <a:pt x="10829029" y="3132184"/>
                    </a:lnTo>
                    <a:lnTo>
                      <a:pt x="10821767" y="3110762"/>
                    </a:lnTo>
                    <a:lnTo>
                      <a:pt x="10814499" y="3089343"/>
                    </a:lnTo>
                    <a:lnTo>
                      <a:pt x="10802029" y="3071754"/>
                    </a:lnTo>
                    <a:lnTo>
                      <a:pt x="10780960" y="3059072"/>
                    </a:lnTo>
                    <a:lnTo>
                      <a:pt x="10753780" y="3054350"/>
                    </a:lnTo>
                    <a:lnTo>
                      <a:pt x="10726532" y="3055655"/>
                    </a:lnTo>
                    <a:lnTo>
                      <a:pt x="10700705" y="3050921"/>
                    </a:lnTo>
                    <a:lnTo>
                      <a:pt x="10680052" y="3023189"/>
                    </a:lnTo>
                    <a:lnTo>
                      <a:pt x="10674477" y="2973927"/>
                    </a:lnTo>
                    <a:lnTo>
                      <a:pt x="10673500" y="2923065"/>
                    </a:lnTo>
                    <a:lnTo>
                      <a:pt x="10672545" y="2872206"/>
                    </a:lnTo>
                    <a:lnTo>
                      <a:pt x="10676033" y="2820091"/>
                    </a:lnTo>
                    <a:lnTo>
                      <a:pt x="10673500" y="2787045"/>
                    </a:lnTo>
                    <a:lnTo>
                      <a:pt x="10671633" y="2764135"/>
                    </a:lnTo>
                    <a:lnTo>
                      <a:pt x="10664235" y="2737697"/>
                    </a:lnTo>
                    <a:lnTo>
                      <a:pt x="10659904" y="2714951"/>
                    </a:lnTo>
                    <a:lnTo>
                      <a:pt x="10653526" y="2681374"/>
                    </a:lnTo>
                    <a:lnTo>
                      <a:pt x="10638305" y="2646732"/>
                    </a:lnTo>
                    <a:lnTo>
                      <a:pt x="10631332" y="2612941"/>
                    </a:lnTo>
                    <a:lnTo>
                      <a:pt x="10625261" y="2583480"/>
                    </a:lnTo>
                    <a:lnTo>
                      <a:pt x="10622192" y="2552961"/>
                    </a:lnTo>
                    <a:lnTo>
                      <a:pt x="10617742" y="2523164"/>
                    </a:lnTo>
                    <a:lnTo>
                      <a:pt x="10500760" y="2482360"/>
                    </a:lnTo>
                    <a:lnTo>
                      <a:pt x="10486780" y="2442747"/>
                    </a:lnTo>
                    <a:lnTo>
                      <a:pt x="10490776" y="2415496"/>
                    </a:lnTo>
                    <a:lnTo>
                      <a:pt x="10485797" y="2389867"/>
                    </a:lnTo>
                    <a:lnTo>
                      <a:pt x="10478740" y="2354030"/>
                    </a:lnTo>
                    <a:lnTo>
                      <a:pt x="10468195" y="2320621"/>
                    </a:lnTo>
                    <a:lnTo>
                      <a:pt x="10465398" y="2283768"/>
                    </a:lnTo>
                    <a:lnTo>
                      <a:pt x="10460006" y="2213000"/>
                    </a:lnTo>
                    <a:lnTo>
                      <a:pt x="10482216" y="2144353"/>
                    </a:lnTo>
                    <a:lnTo>
                      <a:pt x="10476275" y="2074301"/>
                    </a:lnTo>
                    <a:lnTo>
                      <a:pt x="10468920" y="2053131"/>
                    </a:lnTo>
                    <a:lnTo>
                      <a:pt x="10443635" y="1915154"/>
                    </a:lnTo>
                    <a:lnTo>
                      <a:pt x="10442457" y="1884586"/>
                    </a:lnTo>
                    <a:lnTo>
                      <a:pt x="10452962" y="1864116"/>
                    </a:lnTo>
                    <a:lnTo>
                      <a:pt x="10469488" y="1848504"/>
                    </a:lnTo>
                    <a:lnTo>
                      <a:pt x="10487229" y="1833705"/>
                    </a:lnTo>
                    <a:lnTo>
                      <a:pt x="10500707" y="1814345"/>
                    </a:lnTo>
                    <a:lnTo>
                      <a:pt x="10504850" y="1785941"/>
                    </a:lnTo>
                    <a:lnTo>
                      <a:pt x="10504152" y="1756163"/>
                    </a:lnTo>
                    <a:lnTo>
                      <a:pt x="10477645" y="1727448"/>
                    </a:lnTo>
                    <a:lnTo>
                      <a:pt x="10443142" y="1709769"/>
                    </a:lnTo>
                    <a:lnTo>
                      <a:pt x="10408775" y="1687999"/>
                    </a:lnTo>
                    <a:lnTo>
                      <a:pt x="10392816" y="1672065"/>
                    </a:lnTo>
                    <a:lnTo>
                      <a:pt x="10386510" y="1644480"/>
                    </a:lnTo>
                    <a:lnTo>
                      <a:pt x="10380219" y="1616884"/>
                    </a:lnTo>
                    <a:lnTo>
                      <a:pt x="10382811" y="1576986"/>
                    </a:lnTo>
                    <a:lnTo>
                      <a:pt x="10400115" y="1515260"/>
                    </a:lnTo>
                    <a:lnTo>
                      <a:pt x="10429304" y="1489590"/>
                    </a:lnTo>
                    <a:lnTo>
                      <a:pt x="10454524" y="1479897"/>
                    </a:lnTo>
                    <a:lnTo>
                      <a:pt x="10479735" y="1470196"/>
                    </a:lnTo>
                    <a:lnTo>
                      <a:pt x="10505213" y="1459427"/>
                    </a:lnTo>
                    <a:lnTo>
                      <a:pt x="10511649" y="1421405"/>
                    </a:lnTo>
                    <a:lnTo>
                      <a:pt x="10475007" y="1391906"/>
                    </a:lnTo>
                    <a:lnTo>
                      <a:pt x="10258654" y="1410525"/>
                    </a:lnTo>
                    <a:lnTo>
                      <a:pt x="10231747" y="1412779"/>
                    </a:lnTo>
                    <a:lnTo>
                      <a:pt x="10199861" y="1425231"/>
                    </a:lnTo>
                    <a:lnTo>
                      <a:pt x="10177044" y="1439087"/>
                    </a:lnTo>
                    <a:lnTo>
                      <a:pt x="10167481" y="1513387"/>
                    </a:lnTo>
                    <a:lnTo>
                      <a:pt x="10145185" y="1544718"/>
                    </a:lnTo>
                    <a:lnTo>
                      <a:pt x="10129434" y="1558786"/>
                    </a:lnTo>
                    <a:lnTo>
                      <a:pt x="10117484" y="1579553"/>
                    </a:lnTo>
                    <a:lnTo>
                      <a:pt x="10114471" y="1610469"/>
                    </a:lnTo>
                    <a:lnTo>
                      <a:pt x="10091350" y="1625433"/>
                    </a:lnTo>
                    <a:lnTo>
                      <a:pt x="10065677" y="1633339"/>
                    </a:lnTo>
                    <a:lnTo>
                      <a:pt x="10026060" y="1621358"/>
                    </a:lnTo>
                    <a:lnTo>
                      <a:pt x="10006598" y="1612640"/>
                    </a:lnTo>
                    <a:lnTo>
                      <a:pt x="9988336" y="1597766"/>
                    </a:lnTo>
                    <a:lnTo>
                      <a:pt x="9967571" y="1581913"/>
                    </a:lnTo>
                    <a:lnTo>
                      <a:pt x="9924941" y="1592966"/>
                    </a:lnTo>
                    <a:lnTo>
                      <a:pt x="9896267" y="1606736"/>
                    </a:lnTo>
                    <a:lnTo>
                      <a:pt x="9872107" y="1625150"/>
                    </a:lnTo>
                    <a:lnTo>
                      <a:pt x="9846515" y="1637680"/>
                    </a:lnTo>
                    <a:lnTo>
                      <a:pt x="9820920" y="1650216"/>
                    </a:lnTo>
                    <a:lnTo>
                      <a:pt x="9793160" y="1657090"/>
                    </a:lnTo>
                    <a:lnTo>
                      <a:pt x="9768985" y="1647202"/>
                    </a:lnTo>
                    <a:lnTo>
                      <a:pt x="9752741" y="1626626"/>
                    </a:lnTo>
                    <a:lnTo>
                      <a:pt x="9752201" y="1585401"/>
                    </a:lnTo>
                    <a:lnTo>
                      <a:pt x="9753255" y="1551143"/>
                    </a:lnTo>
                    <a:lnTo>
                      <a:pt x="9751308" y="1517982"/>
                    </a:lnTo>
                    <a:lnTo>
                      <a:pt x="9748698" y="1472543"/>
                    </a:lnTo>
                    <a:lnTo>
                      <a:pt x="9718408" y="1430759"/>
                    </a:lnTo>
                    <a:lnTo>
                      <a:pt x="9703708" y="1388768"/>
                    </a:lnTo>
                    <a:lnTo>
                      <a:pt x="9688360" y="1344814"/>
                    </a:lnTo>
                    <a:lnTo>
                      <a:pt x="9680528" y="1296656"/>
                    </a:lnTo>
                    <a:lnTo>
                      <a:pt x="9665624" y="1252748"/>
                    </a:lnTo>
                    <a:lnTo>
                      <a:pt x="9654607" y="1220335"/>
                    </a:lnTo>
                    <a:lnTo>
                      <a:pt x="9642884" y="1187044"/>
                    </a:lnTo>
                    <a:lnTo>
                      <a:pt x="9631613" y="1153449"/>
                    </a:lnTo>
                    <a:lnTo>
                      <a:pt x="9620343" y="1119854"/>
                    </a:lnTo>
                    <a:lnTo>
                      <a:pt x="9609770" y="1086036"/>
                    </a:lnTo>
                    <a:lnTo>
                      <a:pt x="9601693" y="1052798"/>
                    </a:lnTo>
                    <a:lnTo>
                      <a:pt x="9596130" y="1029912"/>
                    </a:lnTo>
                    <a:lnTo>
                      <a:pt x="9585427" y="991115"/>
                    </a:lnTo>
                    <a:lnTo>
                      <a:pt x="9573121" y="945341"/>
                    </a:lnTo>
                    <a:lnTo>
                      <a:pt x="9560808" y="899564"/>
                    </a:lnTo>
                    <a:lnTo>
                      <a:pt x="9546874" y="847037"/>
                    </a:lnTo>
                    <a:lnTo>
                      <a:pt x="9530953" y="794358"/>
                    </a:lnTo>
                    <a:lnTo>
                      <a:pt x="9515047" y="741682"/>
                    </a:lnTo>
                    <a:lnTo>
                      <a:pt x="9497011" y="689682"/>
                    </a:lnTo>
                    <a:lnTo>
                      <a:pt x="9480636" y="646097"/>
                    </a:lnTo>
                    <a:lnTo>
                      <a:pt x="9470091" y="618049"/>
                    </a:lnTo>
                    <a:lnTo>
                      <a:pt x="9452672" y="583186"/>
                    </a:lnTo>
                    <a:lnTo>
                      <a:pt x="9435743" y="548162"/>
                    </a:lnTo>
                    <a:lnTo>
                      <a:pt x="9292316" y="577537"/>
                    </a:lnTo>
                    <a:lnTo>
                      <a:pt x="9257562" y="578083"/>
                    </a:lnTo>
                    <a:lnTo>
                      <a:pt x="9203618" y="578941"/>
                    </a:lnTo>
                    <a:lnTo>
                      <a:pt x="9145720" y="570517"/>
                    </a:lnTo>
                    <a:lnTo>
                      <a:pt x="9091615" y="567203"/>
                    </a:lnTo>
                    <a:lnTo>
                      <a:pt x="9071210" y="560403"/>
                    </a:lnTo>
                    <a:lnTo>
                      <a:pt x="8943652" y="544804"/>
                    </a:lnTo>
                    <a:lnTo>
                      <a:pt x="8823737" y="517852"/>
                    </a:lnTo>
                    <a:lnTo>
                      <a:pt x="8701236" y="477431"/>
                    </a:lnTo>
                    <a:lnTo>
                      <a:pt x="8545707" y="419410"/>
                    </a:lnTo>
                    <a:lnTo>
                      <a:pt x="8511139" y="402005"/>
                    </a:lnTo>
                    <a:lnTo>
                      <a:pt x="8495450" y="387984"/>
                    </a:lnTo>
                    <a:lnTo>
                      <a:pt x="8460879" y="365562"/>
                    </a:lnTo>
                    <a:lnTo>
                      <a:pt x="8416949" y="357735"/>
                    </a:lnTo>
                    <a:lnTo>
                      <a:pt x="8378660" y="359178"/>
                    </a:lnTo>
                    <a:lnTo>
                      <a:pt x="8337974" y="357932"/>
                    </a:lnTo>
                    <a:lnTo>
                      <a:pt x="8299977" y="361809"/>
                    </a:lnTo>
                    <a:lnTo>
                      <a:pt x="8250454" y="366821"/>
                    </a:lnTo>
                    <a:lnTo>
                      <a:pt x="8149604" y="393624"/>
                    </a:lnTo>
                    <a:lnTo>
                      <a:pt x="8049700" y="423018"/>
                    </a:lnTo>
                    <a:lnTo>
                      <a:pt x="7949793" y="452417"/>
                    </a:lnTo>
                    <a:lnTo>
                      <a:pt x="7850196" y="484521"/>
                    </a:lnTo>
                    <a:lnTo>
                      <a:pt x="7804863" y="499188"/>
                    </a:lnTo>
                    <a:lnTo>
                      <a:pt x="7758931" y="514052"/>
                    </a:lnTo>
                    <a:lnTo>
                      <a:pt x="7706370" y="518657"/>
                    </a:lnTo>
                    <a:lnTo>
                      <a:pt x="7652522" y="519593"/>
                    </a:lnTo>
                    <a:lnTo>
                      <a:pt x="7598674" y="520530"/>
                    </a:lnTo>
                    <a:lnTo>
                      <a:pt x="7543322" y="517838"/>
                    </a:lnTo>
                    <a:lnTo>
                      <a:pt x="7496097" y="518234"/>
                    </a:lnTo>
                    <a:lnTo>
                      <a:pt x="7471618" y="499194"/>
                    </a:lnTo>
                    <a:lnTo>
                      <a:pt x="7457200" y="472439"/>
                    </a:lnTo>
                    <a:lnTo>
                      <a:pt x="7439242" y="422120"/>
                    </a:lnTo>
                    <a:lnTo>
                      <a:pt x="7429410" y="383659"/>
                    </a:lnTo>
                    <a:lnTo>
                      <a:pt x="7403604" y="361809"/>
                    </a:lnTo>
                    <a:lnTo>
                      <a:pt x="7382650" y="367336"/>
                    </a:lnTo>
                    <a:lnTo>
                      <a:pt x="7295982" y="393604"/>
                    </a:lnTo>
                    <a:lnTo>
                      <a:pt x="7270861" y="378817"/>
                    </a:lnTo>
                    <a:lnTo>
                      <a:pt x="7262657" y="347571"/>
                    </a:lnTo>
                    <a:lnTo>
                      <a:pt x="7256617" y="315606"/>
                    </a:lnTo>
                    <a:lnTo>
                      <a:pt x="7247179" y="287004"/>
                    </a:lnTo>
                    <a:lnTo>
                      <a:pt x="7234346" y="268762"/>
                    </a:lnTo>
                    <a:lnTo>
                      <a:pt x="7225738" y="243002"/>
                    </a:lnTo>
                    <a:lnTo>
                      <a:pt x="7235955" y="217982"/>
                    </a:lnTo>
                    <a:lnTo>
                      <a:pt x="7248543" y="194511"/>
                    </a:lnTo>
                    <a:lnTo>
                      <a:pt x="7261125" y="171033"/>
                    </a:lnTo>
                    <a:lnTo>
                      <a:pt x="7276554" y="149236"/>
                    </a:lnTo>
                    <a:lnTo>
                      <a:pt x="7291477" y="125178"/>
                    </a:lnTo>
                    <a:lnTo>
                      <a:pt x="7264465" y="68633"/>
                    </a:lnTo>
                    <a:lnTo>
                      <a:pt x="7254639" y="43552"/>
                    </a:lnTo>
                    <a:lnTo>
                      <a:pt x="7232420" y="37770"/>
                    </a:lnTo>
                    <a:lnTo>
                      <a:pt x="7202295" y="38086"/>
                    </a:lnTo>
                    <a:lnTo>
                      <a:pt x="7172176" y="38415"/>
                    </a:lnTo>
                    <a:lnTo>
                      <a:pt x="7134485" y="43994"/>
                    </a:lnTo>
                    <a:lnTo>
                      <a:pt x="7096202" y="51684"/>
                    </a:lnTo>
                    <a:lnTo>
                      <a:pt x="7019627" y="67070"/>
                    </a:lnTo>
                    <a:lnTo>
                      <a:pt x="6943411" y="92025"/>
                    </a:lnTo>
                    <a:lnTo>
                      <a:pt x="6935939" y="124968"/>
                    </a:lnTo>
                    <a:lnTo>
                      <a:pt x="6943858" y="163224"/>
                    </a:lnTo>
                    <a:lnTo>
                      <a:pt x="6952230" y="200966"/>
                    </a:lnTo>
                    <a:lnTo>
                      <a:pt x="6949154" y="238835"/>
                    </a:lnTo>
                    <a:lnTo>
                      <a:pt x="6933697" y="253864"/>
                    </a:lnTo>
                    <a:lnTo>
                      <a:pt x="6911215" y="266599"/>
                    </a:lnTo>
                    <a:lnTo>
                      <a:pt x="6888726" y="279333"/>
                    </a:lnTo>
                    <a:lnTo>
                      <a:pt x="6859234" y="289826"/>
                    </a:lnTo>
                    <a:lnTo>
                      <a:pt x="6828243" y="297878"/>
                    </a:lnTo>
                    <a:lnTo>
                      <a:pt x="6766244" y="313996"/>
                    </a:lnTo>
                    <a:lnTo>
                      <a:pt x="6699848" y="321304"/>
                    </a:lnTo>
                    <a:lnTo>
                      <a:pt x="6678618" y="325083"/>
                    </a:lnTo>
                    <a:lnTo>
                      <a:pt x="6497715" y="357727"/>
                    </a:lnTo>
                    <a:lnTo>
                      <a:pt x="6468129" y="386594"/>
                    </a:lnTo>
                    <a:lnTo>
                      <a:pt x="6461205" y="434921"/>
                    </a:lnTo>
                    <a:lnTo>
                      <a:pt x="6460988" y="459744"/>
                    </a:lnTo>
                    <a:lnTo>
                      <a:pt x="6430447" y="473370"/>
                    </a:lnTo>
                    <a:lnTo>
                      <a:pt x="6398421" y="463826"/>
                    </a:lnTo>
                    <a:lnTo>
                      <a:pt x="6367816" y="447274"/>
                    </a:lnTo>
                    <a:lnTo>
                      <a:pt x="6337464" y="425444"/>
                    </a:lnTo>
                    <a:lnTo>
                      <a:pt x="6290813" y="384121"/>
                    </a:lnTo>
                    <a:lnTo>
                      <a:pt x="6281439" y="364533"/>
                    </a:lnTo>
                    <a:lnTo>
                      <a:pt x="6264671" y="329475"/>
                    </a:lnTo>
                    <a:lnTo>
                      <a:pt x="6257481" y="278529"/>
                    </a:lnTo>
                    <a:lnTo>
                      <a:pt x="6239275" y="236671"/>
                    </a:lnTo>
                    <a:lnTo>
                      <a:pt x="6230171" y="215745"/>
                    </a:lnTo>
                    <a:lnTo>
                      <a:pt x="6217543" y="196673"/>
                    </a:lnTo>
                    <a:lnTo>
                      <a:pt x="6184838" y="170577"/>
                    </a:lnTo>
                    <a:lnTo>
                      <a:pt x="6164104" y="163368"/>
                    </a:lnTo>
                    <a:lnTo>
                      <a:pt x="6135898" y="164582"/>
                    </a:lnTo>
                    <a:lnTo>
                      <a:pt x="6097838" y="166218"/>
                    </a:lnTo>
                    <a:lnTo>
                      <a:pt x="6046068" y="172509"/>
                    </a:lnTo>
                    <a:lnTo>
                      <a:pt x="5995801" y="171382"/>
                    </a:lnTo>
                    <a:lnTo>
                      <a:pt x="5970662" y="170788"/>
                    </a:lnTo>
                    <a:lnTo>
                      <a:pt x="5946263" y="169225"/>
                    </a:lnTo>
                    <a:lnTo>
                      <a:pt x="5923706" y="163224"/>
                    </a:lnTo>
                    <a:lnTo>
                      <a:pt x="5901159" y="157223"/>
                    </a:lnTo>
                    <a:lnTo>
                      <a:pt x="5880075" y="147910"/>
                    </a:lnTo>
                    <a:lnTo>
                      <a:pt x="5863859" y="133296"/>
                    </a:lnTo>
                    <a:lnTo>
                      <a:pt x="5844279" y="111474"/>
                    </a:lnTo>
                    <a:lnTo>
                      <a:pt x="5823598" y="89836"/>
                    </a:lnTo>
                    <a:lnTo>
                      <a:pt x="5798570" y="74813"/>
                    </a:lnTo>
                    <a:lnTo>
                      <a:pt x="5755127" y="58108"/>
                    </a:lnTo>
                    <a:lnTo>
                      <a:pt x="5711220" y="43566"/>
                    </a:lnTo>
                    <a:lnTo>
                      <a:pt x="5666630" y="31287"/>
                    </a:lnTo>
                    <a:lnTo>
                      <a:pt x="5622044" y="19000"/>
                    </a:lnTo>
                    <a:lnTo>
                      <a:pt x="5576385" y="9055"/>
                    </a:lnTo>
                    <a:lnTo>
                      <a:pt x="5530611" y="0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73" name="Zaporizhia¬0" descr="Zaporizhia¬0">
                <a:extLst>
                  <a:ext uri="{FF2B5EF4-FFF2-40B4-BE49-F238E27FC236}">
                    <a16:creationId xmlns:a16="http://schemas.microsoft.com/office/drawing/2014/main" id="{F42A3CA1-7653-4806-8856-0FE951A4D0B3}"/>
                  </a:ext>
                </a:extLst>
              </p:cNvPr>
              <p:cNvSpPr/>
              <p:nvPr/>
            </p:nvSpPr>
            <p:spPr>
              <a:xfrm>
                <a:off x="48944550" y="30467668"/>
                <a:ext cx="471507" cy="456387"/>
              </a:xfrm>
              <a:custGeom>
                <a:avLst/>
                <a:gdLst/>
                <a:ahLst/>
                <a:cxnLst/>
                <a:rect l="0" t="0" r="0" b="0"/>
                <a:pathLst>
                  <a:path w="471510" h="456389">
                    <a:moveTo>
                      <a:pt x="447722" y="51982"/>
                    </a:moveTo>
                    <a:lnTo>
                      <a:pt x="435654" y="71069"/>
                    </a:lnTo>
                    <a:lnTo>
                      <a:pt x="316424" y="182817"/>
                    </a:lnTo>
                    <a:lnTo>
                      <a:pt x="351833" y="285000"/>
                    </a:lnTo>
                    <a:lnTo>
                      <a:pt x="300484" y="354630"/>
                    </a:lnTo>
                    <a:lnTo>
                      <a:pt x="238513" y="438746"/>
                    </a:lnTo>
                    <a:lnTo>
                      <a:pt x="177468" y="398367"/>
                    </a:lnTo>
                    <a:lnTo>
                      <a:pt x="119571" y="408608"/>
                    </a:lnTo>
                    <a:lnTo>
                      <a:pt x="92875" y="425571"/>
                    </a:lnTo>
                    <a:lnTo>
                      <a:pt x="67553" y="445334"/>
                    </a:lnTo>
                    <a:lnTo>
                      <a:pt x="42807" y="447371"/>
                    </a:lnTo>
                    <a:lnTo>
                      <a:pt x="13692" y="456388"/>
                    </a:lnTo>
                    <a:lnTo>
                      <a:pt x="0" y="415491"/>
                    </a:lnTo>
                    <a:lnTo>
                      <a:pt x="79707" y="381490"/>
                    </a:lnTo>
                    <a:lnTo>
                      <a:pt x="97982" y="299114"/>
                    </a:lnTo>
                    <a:lnTo>
                      <a:pt x="106403" y="256778"/>
                    </a:lnTo>
                    <a:lnTo>
                      <a:pt x="142193" y="251340"/>
                    </a:lnTo>
                    <a:lnTo>
                      <a:pt x="154729" y="272976"/>
                    </a:lnTo>
                    <a:lnTo>
                      <a:pt x="145232" y="308384"/>
                    </a:lnTo>
                    <a:lnTo>
                      <a:pt x="154967" y="335713"/>
                    </a:lnTo>
                    <a:lnTo>
                      <a:pt x="181025" y="352847"/>
                    </a:lnTo>
                    <a:lnTo>
                      <a:pt x="237642" y="330064"/>
                    </a:lnTo>
                    <a:lnTo>
                      <a:pt x="258685" y="227155"/>
                    </a:lnTo>
                    <a:lnTo>
                      <a:pt x="286101" y="188094"/>
                    </a:lnTo>
                    <a:lnTo>
                      <a:pt x="298255" y="170749"/>
                    </a:lnTo>
                    <a:lnTo>
                      <a:pt x="321125" y="156887"/>
                    </a:lnTo>
                    <a:lnTo>
                      <a:pt x="335409" y="140314"/>
                    </a:lnTo>
                    <a:lnTo>
                      <a:pt x="367283" y="103414"/>
                    </a:lnTo>
                    <a:lnTo>
                      <a:pt x="408561" y="3653"/>
                    </a:lnTo>
                    <a:lnTo>
                      <a:pt x="459823" y="0"/>
                    </a:lnTo>
                    <a:lnTo>
                      <a:pt x="471509" y="20101"/>
                    </a:lnTo>
                    <a:lnTo>
                      <a:pt x="459823" y="47821"/>
                    </a:lnTo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  <p:sp>
            <p:nvSpPr>
              <p:cNvPr id="674" name="Zaporizhia¬1" descr="Zaporizhia¬1">
                <a:extLst>
                  <a:ext uri="{FF2B5EF4-FFF2-40B4-BE49-F238E27FC236}">
                    <a16:creationId xmlns:a16="http://schemas.microsoft.com/office/drawing/2014/main" id="{09D5B3BD-7E6F-4064-89BC-3A8DC7835BC9}"/>
                  </a:ext>
                </a:extLst>
              </p:cNvPr>
              <p:cNvSpPr/>
              <p:nvPr/>
            </p:nvSpPr>
            <p:spPr>
              <a:xfrm>
                <a:off x="42238553" y="22332834"/>
                <a:ext cx="10583728" cy="10819270"/>
              </a:xfrm>
              <a:custGeom>
                <a:avLst/>
                <a:gdLst/>
                <a:ahLst/>
                <a:cxnLst/>
                <a:rect l="0" t="0" r="0" b="0"/>
                <a:pathLst>
                  <a:path w="10583731" h="10819271">
                    <a:moveTo>
                      <a:pt x="16914" y="3464348"/>
                    </a:moveTo>
                    <a:lnTo>
                      <a:pt x="34327" y="3499208"/>
                    </a:lnTo>
                    <a:lnTo>
                      <a:pt x="44872" y="3527256"/>
                    </a:lnTo>
                    <a:lnTo>
                      <a:pt x="61259" y="3570844"/>
                    </a:lnTo>
                    <a:lnTo>
                      <a:pt x="79282" y="3622844"/>
                    </a:lnTo>
                    <a:lnTo>
                      <a:pt x="95204" y="3675517"/>
                    </a:lnTo>
                    <a:lnTo>
                      <a:pt x="111116" y="3728199"/>
                    </a:lnTo>
                    <a:lnTo>
                      <a:pt x="125059" y="3780726"/>
                    </a:lnTo>
                    <a:lnTo>
                      <a:pt x="137372" y="3826500"/>
                    </a:lnTo>
                    <a:lnTo>
                      <a:pt x="149672" y="3872271"/>
                    </a:lnTo>
                    <a:lnTo>
                      <a:pt x="160369" y="3911075"/>
                    </a:lnTo>
                    <a:lnTo>
                      <a:pt x="165934" y="3933951"/>
                    </a:lnTo>
                    <a:lnTo>
                      <a:pt x="174012" y="3967189"/>
                    </a:lnTo>
                    <a:lnTo>
                      <a:pt x="184578" y="4001016"/>
                    </a:lnTo>
                    <a:lnTo>
                      <a:pt x="195855" y="4034611"/>
                    </a:lnTo>
                    <a:lnTo>
                      <a:pt x="207132" y="4068206"/>
                    </a:lnTo>
                    <a:lnTo>
                      <a:pt x="218852" y="4101497"/>
                    </a:lnTo>
                    <a:lnTo>
                      <a:pt x="229859" y="4133905"/>
                    </a:lnTo>
                    <a:lnTo>
                      <a:pt x="244776" y="4177812"/>
                    </a:lnTo>
                    <a:lnTo>
                      <a:pt x="252605" y="4225973"/>
                    </a:lnTo>
                    <a:lnTo>
                      <a:pt x="267944" y="4269924"/>
                    </a:lnTo>
                    <a:lnTo>
                      <a:pt x="282650" y="4311918"/>
                    </a:lnTo>
                    <a:lnTo>
                      <a:pt x="312943" y="4353705"/>
                    </a:lnTo>
                    <a:lnTo>
                      <a:pt x="315553" y="4399144"/>
                    </a:lnTo>
                    <a:lnTo>
                      <a:pt x="317466" y="4432296"/>
                    </a:lnTo>
                    <a:lnTo>
                      <a:pt x="316468" y="4466557"/>
                    </a:lnTo>
                    <a:lnTo>
                      <a:pt x="316905" y="4499802"/>
                    </a:lnTo>
                    <a:lnTo>
                      <a:pt x="326508" y="4524157"/>
                    </a:lnTo>
                    <a:lnTo>
                      <a:pt x="357411" y="4538243"/>
                    </a:lnTo>
                    <a:lnTo>
                      <a:pt x="385161" y="4531378"/>
                    </a:lnTo>
                    <a:lnTo>
                      <a:pt x="410757" y="4518842"/>
                    </a:lnTo>
                    <a:lnTo>
                      <a:pt x="436352" y="4506310"/>
                    </a:lnTo>
                    <a:lnTo>
                      <a:pt x="460515" y="4487898"/>
                    </a:lnTo>
                    <a:lnTo>
                      <a:pt x="476046" y="4471233"/>
                    </a:lnTo>
                    <a:lnTo>
                      <a:pt x="519277" y="4466424"/>
                    </a:lnTo>
                    <a:lnTo>
                      <a:pt x="552581" y="4478928"/>
                    </a:lnTo>
                    <a:lnTo>
                      <a:pt x="570840" y="4493793"/>
                    </a:lnTo>
                    <a:lnTo>
                      <a:pt x="590302" y="4502518"/>
                    </a:lnTo>
                    <a:lnTo>
                      <a:pt x="609765" y="4511243"/>
                    </a:lnTo>
                    <a:lnTo>
                      <a:pt x="655591" y="4506595"/>
                    </a:lnTo>
                    <a:lnTo>
                      <a:pt x="678716" y="4491632"/>
                    </a:lnTo>
                    <a:lnTo>
                      <a:pt x="681714" y="4460706"/>
                    </a:lnTo>
                    <a:lnTo>
                      <a:pt x="693679" y="4439945"/>
                    </a:lnTo>
                    <a:lnTo>
                      <a:pt x="709427" y="4425880"/>
                    </a:lnTo>
                    <a:lnTo>
                      <a:pt x="723600" y="4405938"/>
                    </a:lnTo>
                    <a:lnTo>
                      <a:pt x="734402" y="4338782"/>
                    </a:lnTo>
                    <a:lnTo>
                      <a:pt x="764106" y="4306393"/>
                    </a:lnTo>
                    <a:lnTo>
                      <a:pt x="795992" y="4293935"/>
                    </a:lnTo>
                    <a:lnTo>
                      <a:pt x="822899" y="4291687"/>
                    </a:lnTo>
                    <a:lnTo>
                      <a:pt x="1028285" y="4273998"/>
                    </a:lnTo>
                    <a:lnTo>
                      <a:pt x="1069265" y="4295253"/>
                    </a:lnTo>
                    <a:lnTo>
                      <a:pt x="1075891" y="4322966"/>
                    </a:lnTo>
                    <a:lnTo>
                      <a:pt x="1043986" y="4351358"/>
                    </a:lnTo>
                    <a:lnTo>
                      <a:pt x="1018766" y="4361050"/>
                    </a:lnTo>
                    <a:lnTo>
                      <a:pt x="993549" y="4370752"/>
                    </a:lnTo>
                    <a:lnTo>
                      <a:pt x="969014" y="4379840"/>
                    </a:lnTo>
                    <a:lnTo>
                      <a:pt x="947034" y="4458148"/>
                    </a:lnTo>
                    <a:lnTo>
                      <a:pt x="944464" y="4498047"/>
                    </a:lnTo>
                    <a:lnTo>
                      <a:pt x="950755" y="4525642"/>
                    </a:lnTo>
                    <a:lnTo>
                      <a:pt x="957058" y="4553228"/>
                    </a:lnTo>
                    <a:lnTo>
                      <a:pt x="973011" y="4569162"/>
                    </a:lnTo>
                    <a:lnTo>
                      <a:pt x="1007384" y="4590931"/>
                    </a:lnTo>
                    <a:lnTo>
                      <a:pt x="1041890" y="4608610"/>
                    </a:lnTo>
                    <a:lnTo>
                      <a:pt x="1068376" y="4637325"/>
                    </a:lnTo>
                    <a:lnTo>
                      <a:pt x="1069092" y="4667100"/>
                    </a:lnTo>
                    <a:lnTo>
                      <a:pt x="1064959" y="4695504"/>
                    </a:lnTo>
                    <a:lnTo>
                      <a:pt x="1051471" y="4714861"/>
                    </a:lnTo>
                    <a:lnTo>
                      <a:pt x="1033723" y="4729667"/>
                    </a:lnTo>
                    <a:lnTo>
                      <a:pt x="1017197" y="4745278"/>
                    </a:lnTo>
                    <a:lnTo>
                      <a:pt x="1006733" y="4765748"/>
                    </a:lnTo>
                    <a:lnTo>
                      <a:pt x="1007880" y="4796314"/>
                    </a:lnTo>
                    <a:lnTo>
                      <a:pt x="1031001" y="4922818"/>
                    </a:lnTo>
                    <a:lnTo>
                      <a:pt x="1039428" y="4942497"/>
                    </a:lnTo>
                    <a:lnTo>
                      <a:pt x="1046461" y="5025509"/>
                    </a:lnTo>
                    <a:lnTo>
                      <a:pt x="1024242" y="5094162"/>
                    </a:lnTo>
                    <a:lnTo>
                      <a:pt x="1029637" y="5164930"/>
                    </a:lnTo>
                    <a:lnTo>
                      <a:pt x="1032424" y="5201784"/>
                    </a:lnTo>
                    <a:lnTo>
                      <a:pt x="1042985" y="5235192"/>
                    </a:lnTo>
                    <a:lnTo>
                      <a:pt x="1050042" y="5271029"/>
                    </a:lnTo>
                    <a:lnTo>
                      <a:pt x="1055117" y="5296658"/>
                    </a:lnTo>
                    <a:lnTo>
                      <a:pt x="1051043" y="5323906"/>
                    </a:lnTo>
                    <a:lnTo>
                      <a:pt x="1055480" y="5348559"/>
                    </a:lnTo>
                    <a:lnTo>
                      <a:pt x="1172456" y="5389363"/>
                    </a:lnTo>
                    <a:lnTo>
                      <a:pt x="1186437" y="5434123"/>
                    </a:lnTo>
                    <a:lnTo>
                      <a:pt x="1189503" y="5464642"/>
                    </a:lnTo>
                    <a:lnTo>
                      <a:pt x="1195577" y="5494094"/>
                    </a:lnTo>
                    <a:lnTo>
                      <a:pt x="1202547" y="5527888"/>
                    </a:lnTo>
                    <a:lnTo>
                      <a:pt x="1217768" y="5562537"/>
                    </a:lnTo>
                    <a:lnTo>
                      <a:pt x="1224146" y="5596113"/>
                    </a:lnTo>
                    <a:lnTo>
                      <a:pt x="1228499" y="5618859"/>
                    </a:lnTo>
                    <a:lnTo>
                      <a:pt x="1235878" y="5645298"/>
                    </a:lnTo>
                    <a:lnTo>
                      <a:pt x="1237745" y="5668208"/>
                    </a:lnTo>
                    <a:lnTo>
                      <a:pt x="1240269" y="5701254"/>
                    </a:lnTo>
                    <a:lnTo>
                      <a:pt x="1236787" y="5753368"/>
                    </a:lnTo>
                    <a:lnTo>
                      <a:pt x="1237745" y="5804227"/>
                    </a:lnTo>
                    <a:lnTo>
                      <a:pt x="1238700" y="5855080"/>
                    </a:lnTo>
                    <a:lnTo>
                      <a:pt x="1244293" y="5904351"/>
                    </a:lnTo>
                    <a:lnTo>
                      <a:pt x="1264950" y="5932083"/>
                    </a:lnTo>
                    <a:lnTo>
                      <a:pt x="1290768" y="5936805"/>
                    </a:lnTo>
                    <a:lnTo>
                      <a:pt x="1318025" y="5935500"/>
                    </a:lnTo>
                    <a:lnTo>
                      <a:pt x="1345208" y="5940235"/>
                    </a:lnTo>
                    <a:lnTo>
                      <a:pt x="1366274" y="5952910"/>
                    </a:lnTo>
                    <a:lnTo>
                      <a:pt x="1378744" y="5970506"/>
                    </a:lnTo>
                    <a:lnTo>
                      <a:pt x="1386006" y="5991924"/>
                    </a:lnTo>
                    <a:lnTo>
                      <a:pt x="1393274" y="6013346"/>
                    </a:lnTo>
                    <a:lnTo>
                      <a:pt x="1394399" y="6037550"/>
                    </a:lnTo>
                    <a:lnTo>
                      <a:pt x="1395528" y="6061291"/>
                    </a:lnTo>
                    <a:lnTo>
                      <a:pt x="1396662" y="6085038"/>
                    </a:lnTo>
                    <a:lnTo>
                      <a:pt x="1396920" y="6108286"/>
                    </a:lnTo>
                    <a:lnTo>
                      <a:pt x="1402275" y="6147599"/>
                    </a:lnTo>
                    <a:lnTo>
                      <a:pt x="1420022" y="6172828"/>
                    </a:lnTo>
                    <a:lnTo>
                      <a:pt x="1465505" y="6175126"/>
                    </a:lnTo>
                    <a:lnTo>
                      <a:pt x="1497097" y="6180670"/>
                    </a:lnTo>
                    <a:lnTo>
                      <a:pt x="1519312" y="6187795"/>
                    </a:lnTo>
                    <a:lnTo>
                      <a:pt x="1541531" y="6194910"/>
                    </a:lnTo>
                    <a:lnTo>
                      <a:pt x="1564200" y="6213632"/>
                    </a:lnTo>
                    <a:lnTo>
                      <a:pt x="1584384" y="6232251"/>
                    </a:lnTo>
                    <a:lnTo>
                      <a:pt x="1590995" y="6252429"/>
                    </a:lnTo>
                    <a:lnTo>
                      <a:pt x="1629489" y="6263964"/>
                    </a:lnTo>
                    <a:lnTo>
                      <a:pt x="1661434" y="6273526"/>
                    </a:lnTo>
                    <a:lnTo>
                      <a:pt x="1703509" y="6281420"/>
                    </a:lnTo>
                    <a:lnTo>
                      <a:pt x="1742387" y="6293884"/>
                    </a:lnTo>
                    <a:lnTo>
                      <a:pt x="1781262" y="6306349"/>
                    </a:lnTo>
                    <a:lnTo>
                      <a:pt x="1817152" y="6322751"/>
                    </a:lnTo>
                    <a:lnTo>
                      <a:pt x="1838961" y="6352377"/>
                    </a:lnTo>
                    <a:lnTo>
                      <a:pt x="1842226" y="6374177"/>
                    </a:lnTo>
                    <a:lnTo>
                      <a:pt x="1851177" y="6430149"/>
                    </a:lnTo>
                    <a:lnTo>
                      <a:pt x="1863443" y="6484313"/>
                    </a:lnTo>
                    <a:lnTo>
                      <a:pt x="1875709" y="6538477"/>
                    </a:lnTo>
                    <a:lnTo>
                      <a:pt x="1891305" y="6591131"/>
                    </a:lnTo>
                    <a:lnTo>
                      <a:pt x="1911050" y="6606733"/>
                    </a:lnTo>
                    <a:lnTo>
                      <a:pt x="1931008" y="6621222"/>
                    </a:lnTo>
                    <a:lnTo>
                      <a:pt x="1962879" y="6610389"/>
                    </a:lnTo>
                    <a:lnTo>
                      <a:pt x="1994021" y="6616258"/>
                    </a:lnTo>
                    <a:lnTo>
                      <a:pt x="2024990" y="6626196"/>
                    </a:lnTo>
                    <a:lnTo>
                      <a:pt x="2038905" y="6643454"/>
                    </a:lnTo>
                    <a:lnTo>
                      <a:pt x="2052827" y="6660715"/>
                    </a:lnTo>
                    <a:lnTo>
                      <a:pt x="2064975" y="6687944"/>
                    </a:lnTo>
                    <a:lnTo>
                      <a:pt x="2074274" y="6730509"/>
                    </a:lnTo>
                    <a:lnTo>
                      <a:pt x="2083297" y="6766786"/>
                    </a:lnTo>
                    <a:lnTo>
                      <a:pt x="2086515" y="6787640"/>
                    </a:lnTo>
                    <a:lnTo>
                      <a:pt x="2089733" y="6808492"/>
                    </a:lnTo>
                    <a:lnTo>
                      <a:pt x="2085163" y="6846123"/>
                    </a:lnTo>
                    <a:lnTo>
                      <a:pt x="2053305" y="6863819"/>
                    </a:lnTo>
                    <a:lnTo>
                      <a:pt x="2025316" y="6877408"/>
                    </a:lnTo>
                    <a:lnTo>
                      <a:pt x="1997327" y="6891008"/>
                    </a:lnTo>
                    <a:lnTo>
                      <a:pt x="1968863" y="6904120"/>
                    </a:lnTo>
                    <a:lnTo>
                      <a:pt x="1940747" y="6910693"/>
                    </a:lnTo>
                    <a:lnTo>
                      <a:pt x="1919452" y="6914870"/>
                    </a:lnTo>
                    <a:lnTo>
                      <a:pt x="1901534" y="6931824"/>
                    </a:lnTo>
                    <a:lnTo>
                      <a:pt x="1885383" y="6982658"/>
                    </a:lnTo>
                    <a:lnTo>
                      <a:pt x="1900836" y="7040335"/>
                    </a:lnTo>
                    <a:lnTo>
                      <a:pt x="1896092" y="7092325"/>
                    </a:lnTo>
                    <a:lnTo>
                      <a:pt x="1893395" y="7121183"/>
                    </a:lnTo>
                    <a:lnTo>
                      <a:pt x="1863738" y="7148855"/>
                    </a:lnTo>
                    <a:lnTo>
                      <a:pt x="1848486" y="7171214"/>
                    </a:lnTo>
                    <a:lnTo>
                      <a:pt x="1824683" y="7206027"/>
                    </a:lnTo>
                    <a:lnTo>
                      <a:pt x="1832506" y="7252403"/>
                    </a:lnTo>
                    <a:lnTo>
                      <a:pt x="1803599" y="7288193"/>
                    </a:lnTo>
                    <a:lnTo>
                      <a:pt x="1751791" y="7305367"/>
                    </a:lnTo>
                    <a:lnTo>
                      <a:pt x="1730146" y="7328996"/>
                    </a:lnTo>
                    <a:lnTo>
                      <a:pt x="1712426" y="7348378"/>
                    </a:lnTo>
                    <a:lnTo>
                      <a:pt x="1698272" y="7400623"/>
                    </a:lnTo>
                    <a:lnTo>
                      <a:pt x="1644867" y="7423428"/>
                    </a:lnTo>
                    <a:lnTo>
                      <a:pt x="1607983" y="7415224"/>
                    </a:lnTo>
                    <a:lnTo>
                      <a:pt x="1573728" y="7414690"/>
                    </a:lnTo>
                    <a:lnTo>
                      <a:pt x="1540086" y="7415785"/>
                    </a:lnTo>
                    <a:lnTo>
                      <a:pt x="1509434" y="7429917"/>
                    </a:lnTo>
                    <a:lnTo>
                      <a:pt x="1482592" y="7463658"/>
                    </a:lnTo>
                    <a:lnTo>
                      <a:pt x="1483054" y="7508185"/>
                    </a:lnTo>
                    <a:lnTo>
                      <a:pt x="1486682" y="7539827"/>
                    </a:lnTo>
                    <a:lnTo>
                      <a:pt x="1490297" y="7571471"/>
                    </a:lnTo>
                    <a:lnTo>
                      <a:pt x="1495525" y="7603079"/>
                    </a:lnTo>
                    <a:lnTo>
                      <a:pt x="1521700" y="7624910"/>
                    </a:lnTo>
                    <a:lnTo>
                      <a:pt x="1554690" y="7621440"/>
                    </a:lnTo>
                    <a:lnTo>
                      <a:pt x="1586279" y="7606120"/>
                    </a:lnTo>
                    <a:lnTo>
                      <a:pt x="1621337" y="7594236"/>
                    </a:lnTo>
                    <a:lnTo>
                      <a:pt x="1649562" y="7640441"/>
                    </a:lnTo>
                    <a:lnTo>
                      <a:pt x="1665245" y="7664498"/>
                    </a:lnTo>
                    <a:lnTo>
                      <a:pt x="1698120" y="7671561"/>
                    </a:lnTo>
                    <a:lnTo>
                      <a:pt x="1731516" y="7675846"/>
                    </a:lnTo>
                    <a:lnTo>
                      <a:pt x="1764907" y="7680135"/>
                    </a:lnTo>
                    <a:lnTo>
                      <a:pt x="1799717" y="7680907"/>
                    </a:lnTo>
                    <a:lnTo>
                      <a:pt x="1829089" y="7684367"/>
                    </a:lnTo>
                    <a:lnTo>
                      <a:pt x="1854935" y="7701501"/>
                    </a:lnTo>
                    <a:lnTo>
                      <a:pt x="1864814" y="7724808"/>
                    </a:lnTo>
                    <a:lnTo>
                      <a:pt x="1872016" y="7744621"/>
                    </a:lnTo>
                    <a:lnTo>
                      <a:pt x="1882450" y="7780516"/>
                    </a:lnTo>
                    <a:lnTo>
                      <a:pt x="1889302" y="7817308"/>
                    </a:lnTo>
                    <a:lnTo>
                      <a:pt x="1896291" y="7854096"/>
                    </a:lnTo>
                    <a:lnTo>
                      <a:pt x="1899959" y="7891777"/>
                    </a:lnTo>
                    <a:lnTo>
                      <a:pt x="1890654" y="7911159"/>
                    </a:lnTo>
                    <a:lnTo>
                      <a:pt x="1880714" y="7931880"/>
                    </a:lnTo>
                    <a:lnTo>
                      <a:pt x="1856631" y="7951929"/>
                    </a:lnTo>
                    <a:lnTo>
                      <a:pt x="1837603" y="7975090"/>
                    </a:lnTo>
                    <a:lnTo>
                      <a:pt x="1819099" y="7998847"/>
                    </a:lnTo>
                    <a:lnTo>
                      <a:pt x="1809865" y="8024783"/>
                    </a:lnTo>
                    <a:lnTo>
                      <a:pt x="1814482" y="8053978"/>
                    </a:lnTo>
                    <a:lnTo>
                      <a:pt x="1829616" y="8098633"/>
                    </a:lnTo>
                    <a:lnTo>
                      <a:pt x="1845023" y="8122895"/>
                    </a:lnTo>
                    <a:lnTo>
                      <a:pt x="1859366" y="8139672"/>
                    </a:lnTo>
                    <a:lnTo>
                      <a:pt x="1873709" y="8156443"/>
                    </a:lnTo>
                    <a:lnTo>
                      <a:pt x="1893376" y="8181840"/>
                    </a:lnTo>
                    <a:lnTo>
                      <a:pt x="1902973" y="8203777"/>
                    </a:lnTo>
                    <a:lnTo>
                      <a:pt x="1924655" y="8241691"/>
                    </a:lnTo>
                    <a:lnTo>
                      <a:pt x="1940511" y="8273103"/>
                    </a:lnTo>
                    <a:lnTo>
                      <a:pt x="1942087" y="8307191"/>
                    </a:lnTo>
                    <a:lnTo>
                      <a:pt x="1960023" y="8339626"/>
                    </a:lnTo>
                    <a:lnTo>
                      <a:pt x="1993349" y="8351073"/>
                    </a:lnTo>
                    <a:lnTo>
                      <a:pt x="2032794" y="8344491"/>
                    </a:lnTo>
                    <a:lnTo>
                      <a:pt x="2067484" y="8336901"/>
                    </a:lnTo>
                    <a:lnTo>
                      <a:pt x="2145435" y="8336308"/>
                    </a:lnTo>
                    <a:lnTo>
                      <a:pt x="2203503" y="8340978"/>
                    </a:lnTo>
                    <a:lnTo>
                      <a:pt x="2261565" y="8345620"/>
                    </a:lnTo>
                    <a:lnTo>
                      <a:pt x="2318265" y="8354555"/>
                    </a:lnTo>
                    <a:lnTo>
                      <a:pt x="2338155" y="8379062"/>
                    </a:lnTo>
                    <a:lnTo>
                      <a:pt x="2329908" y="8416772"/>
                    </a:lnTo>
                    <a:lnTo>
                      <a:pt x="2308328" y="8447452"/>
                    </a:lnTo>
                    <a:lnTo>
                      <a:pt x="2276950" y="8468831"/>
                    </a:lnTo>
                    <a:lnTo>
                      <a:pt x="2272221" y="8500091"/>
                    </a:lnTo>
                    <a:lnTo>
                      <a:pt x="2272860" y="8524604"/>
                    </a:lnTo>
                    <a:lnTo>
                      <a:pt x="2273521" y="8549111"/>
                    </a:lnTo>
                    <a:lnTo>
                      <a:pt x="2275992" y="8574145"/>
                    </a:lnTo>
                    <a:lnTo>
                      <a:pt x="2312541" y="8594655"/>
                    </a:lnTo>
                    <a:lnTo>
                      <a:pt x="2361748" y="8584901"/>
                    </a:lnTo>
                    <a:lnTo>
                      <a:pt x="2408880" y="8576291"/>
                    </a:lnTo>
                    <a:lnTo>
                      <a:pt x="2456021" y="8567683"/>
                    </a:lnTo>
                    <a:lnTo>
                      <a:pt x="2500812" y="8559703"/>
                    </a:lnTo>
                    <a:lnTo>
                      <a:pt x="2523136" y="8570855"/>
                    </a:lnTo>
                    <a:lnTo>
                      <a:pt x="2545501" y="8582021"/>
                    </a:lnTo>
                    <a:lnTo>
                      <a:pt x="2562033" y="8630018"/>
                    </a:lnTo>
                    <a:lnTo>
                      <a:pt x="2587067" y="8649744"/>
                    </a:lnTo>
                    <a:lnTo>
                      <a:pt x="2604961" y="8663857"/>
                    </a:lnTo>
                    <a:lnTo>
                      <a:pt x="2634677" y="8670149"/>
                    </a:lnTo>
                    <a:lnTo>
                      <a:pt x="2665410" y="8671969"/>
                    </a:lnTo>
                    <a:lnTo>
                      <a:pt x="2697185" y="8683000"/>
                    </a:lnTo>
                    <a:lnTo>
                      <a:pt x="2716297" y="8709591"/>
                    </a:lnTo>
                    <a:lnTo>
                      <a:pt x="2738202" y="8732542"/>
                    </a:lnTo>
                    <a:lnTo>
                      <a:pt x="2776684" y="8733044"/>
                    </a:lnTo>
                    <a:lnTo>
                      <a:pt x="2894007" y="8728843"/>
                    </a:lnTo>
                    <a:lnTo>
                      <a:pt x="2920842" y="8770186"/>
                    </a:lnTo>
                    <a:lnTo>
                      <a:pt x="2931012" y="8812968"/>
                    </a:lnTo>
                    <a:lnTo>
                      <a:pt x="2938004" y="8855136"/>
                    </a:lnTo>
                    <a:lnTo>
                      <a:pt x="2944987" y="8897297"/>
                    </a:lnTo>
                    <a:lnTo>
                      <a:pt x="2950078" y="8939444"/>
                    </a:lnTo>
                    <a:lnTo>
                      <a:pt x="2955690" y="8970750"/>
                    </a:lnTo>
                    <a:lnTo>
                      <a:pt x="2957386" y="9007647"/>
                    </a:lnTo>
                    <a:lnTo>
                      <a:pt x="2974724" y="9072003"/>
                    </a:lnTo>
                    <a:lnTo>
                      <a:pt x="3011463" y="9164661"/>
                    </a:lnTo>
                    <a:lnTo>
                      <a:pt x="3007367" y="9207421"/>
                    </a:lnTo>
                    <a:lnTo>
                      <a:pt x="3003188" y="9251034"/>
                    </a:lnTo>
                    <a:lnTo>
                      <a:pt x="2972442" y="9289336"/>
                    </a:lnTo>
                    <a:lnTo>
                      <a:pt x="2972011" y="9333925"/>
                    </a:lnTo>
                    <a:lnTo>
                      <a:pt x="2971543" y="9373262"/>
                    </a:lnTo>
                    <a:lnTo>
                      <a:pt x="2980467" y="9410156"/>
                    </a:lnTo>
                    <a:lnTo>
                      <a:pt x="2988336" y="9448182"/>
                    </a:lnTo>
                    <a:lnTo>
                      <a:pt x="2996190" y="9486201"/>
                    </a:lnTo>
                    <a:lnTo>
                      <a:pt x="3002989" y="9526028"/>
                    </a:lnTo>
                    <a:lnTo>
                      <a:pt x="2999210" y="9569238"/>
                    </a:lnTo>
                    <a:lnTo>
                      <a:pt x="2998748" y="9593308"/>
                    </a:lnTo>
                    <a:lnTo>
                      <a:pt x="3002394" y="9621331"/>
                    </a:lnTo>
                    <a:lnTo>
                      <a:pt x="3015531" y="9639968"/>
                    </a:lnTo>
                    <a:lnTo>
                      <a:pt x="3054964" y="9646861"/>
                    </a:lnTo>
                    <a:lnTo>
                      <a:pt x="3084897" y="9648126"/>
                    </a:lnTo>
                    <a:lnTo>
                      <a:pt x="3138674" y="9651220"/>
                    </a:lnTo>
                    <a:lnTo>
                      <a:pt x="3177391" y="9653568"/>
                    </a:lnTo>
                    <a:lnTo>
                      <a:pt x="3200844" y="9633860"/>
                    </a:lnTo>
                    <a:lnTo>
                      <a:pt x="3223100" y="9611914"/>
                    </a:lnTo>
                    <a:lnTo>
                      <a:pt x="3241316" y="9581479"/>
                    </a:lnTo>
                    <a:lnTo>
                      <a:pt x="3283016" y="9511979"/>
                    </a:lnTo>
                    <a:lnTo>
                      <a:pt x="3297985" y="9436021"/>
                    </a:lnTo>
                    <a:lnTo>
                      <a:pt x="3344689" y="9369287"/>
                    </a:lnTo>
                    <a:lnTo>
                      <a:pt x="3364800" y="9340554"/>
                    </a:lnTo>
                    <a:lnTo>
                      <a:pt x="3393031" y="9321895"/>
                    </a:lnTo>
                    <a:lnTo>
                      <a:pt x="3415420" y="9295841"/>
                    </a:lnTo>
                    <a:lnTo>
                      <a:pt x="3465966" y="9237264"/>
                    </a:lnTo>
                    <a:lnTo>
                      <a:pt x="3514384" y="9171637"/>
                    </a:lnTo>
                    <a:lnTo>
                      <a:pt x="3540560" y="9098612"/>
                    </a:lnTo>
                    <a:lnTo>
                      <a:pt x="3567426" y="9023755"/>
                    </a:lnTo>
                    <a:lnTo>
                      <a:pt x="3518117" y="8987627"/>
                    </a:lnTo>
                    <a:lnTo>
                      <a:pt x="3499756" y="8923141"/>
                    </a:lnTo>
                    <a:lnTo>
                      <a:pt x="3491176" y="8893220"/>
                    </a:lnTo>
                    <a:lnTo>
                      <a:pt x="3487040" y="8868437"/>
                    </a:lnTo>
                    <a:lnTo>
                      <a:pt x="3467113" y="8842895"/>
                    </a:lnTo>
                    <a:lnTo>
                      <a:pt x="3451256" y="8822700"/>
                    </a:lnTo>
                    <a:lnTo>
                      <a:pt x="3415420" y="8796646"/>
                    </a:lnTo>
                    <a:lnTo>
                      <a:pt x="3367444" y="8755071"/>
                    </a:lnTo>
                    <a:lnTo>
                      <a:pt x="3371730" y="8663811"/>
                    </a:lnTo>
                    <a:lnTo>
                      <a:pt x="3390941" y="8610298"/>
                    </a:lnTo>
                    <a:lnTo>
                      <a:pt x="3401309" y="8581261"/>
                    </a:lnTo>
                    <a:lnTo>
                      <a:pt x="3418666" y="8534206"/>
                    </a:lnTo>
                    <a:lnTo>
                      <a:pt x="3458946" y="8543645"/>
                    </a:lnTo>
                    <a:lnTo>
                      <a:pt x="3457991" y="8581605"/>
                    </a:lnTo>
                    <a:lnTo>
                      <a:pt x="3457510" y="8679922"/>
                    </a:lnTo>
                    <a:lnTo>
                      <a:pt x="3483434" y="8708233"/>
                    </a:lnTo>
                    <a:lnTo>
                      <a:pt x="3498351" y="8724511"/>
                    </a:lnTo>
                    <a:lnTo>
                      <a:pt x="3523134" y="8735351"/>
                    </a:lnTo>
                    <a:lnTo>
                      <a:pt x="3539201" y="8750401"/>
                    </a:lnTo>
                    <a:lnTo>
                      <a:pt x="3552556" y="8767739"/>
                    </a:lnTo>
                    <a:lnTo>
                      <a:pt x="3564670" y="8790439"/>
                    </a:lnTo>
                    <a:lnTo>
                      <a:pt x="3582734" y="8815684"/>
                    </a:lnTo>
                    <a:lnTo>
                      <a:pt x="3593186" y="8835239"/>
                    </a:lnTo>
                    <a:lnTo>
                      <a:pt x="3605387" y="8864143"/>
                    </a:lnTo>
                    <a:lnTo>
                      <a:pt x="3626253" y="8875534"/>
                    </a:lnTo>
                    <a:lnTo>
                      <a:pt x="3657244" y="8892448"/>
                    </a:lnTo>
                    <a:lnTo>
                      <a:pt x="3736904" y="8904227"/>
                    </a:lnTo>
                    <a:lnTo>
                      <a:pt x="3773156" y="8905461"/>
                    </a:lnTo>
                    <a:lnTo>
                      <a:pt x="3788138" y="8936740"/>
                    </a:lnTo>
                    <a:lnTo>
                      <a:pt x="3767656" y="8969095"/>
                    </a:lnTo>
                    <a:lnTo>
                      <a:pt x="3725692" y="9003012"/>
                    </a:lnTo>
                    <a:lnTo>
                      <a:pt x="3714685" y="9037397"/>
                    </a:lnTo>
                    <a:lnTo>
                      <a:pt x="3710109" y="9065709"/>
                    </a:lnTo>
                    <a:lnTo>
                      <a:pt x="3722288" y="9139032"/>
                    </a:lnTo>
                    <a:lnTo>
                      <a:pt x="3726957" y="9196079"/>
                    </a:lnTo>
                    <a:lnTo>
                      <a:pt x="3724213" y="9250953"/>
                    </a:lnTo>
                    <a:lnTo>
                      <a:pt x="3722821" y="9277730"/>
                    </a:lnTo>
                    <a:lnTo>
                      <a:pt x="3716676" y="9307353"/>
                    </a:lnTo>
                    <a:lnTo>
                      <a:pt x="3717414" y="9333925"/>
                    </a:lnTo>
                    <a:lnTo>
                      <a:pt x="3725342" y="9379318"/>
                    </a:lnTo>
                    <a:lnTo>
                      <a:pt x="3746866" y="9406482"/>
                    </a:lnTo>
                    <a:lnTo>
                      <a:pt x="3781841" y="9421104"/>
                    </a:lnTo>
                    <a:lnTo>
                      <a:pt x="3811734" y="9419994"/>
                    </a:lnTo>
                    <a:lnTo>
                      <a:pt x="3837112" y="9435934"/>
                    </a:lnTo>
                    <a:lnTo>
                      <a:pt x="3855393" y="9453530"/>
                    </a:lnTo>
                    <a:lnTo>
                      <a:pt x="3882973" y="9456339"/>
                    </a:lnTo>
                    <a:lnTo>
                      <a:pt x="3912003" y="9445800"/>
                    </a:lnTo>
                    <a:lnTo>
                      <a:pt x="3956178" y="9362230"/>
                    </a:lnTo>
                    <a:lnTo>
                      <a:pt x="3989456" y="9337999"/>
                    </a:lnTo>
                    <a:lnTo>
                      <a:pt x="4020775" y="9357474"/>
                    </a:lnTo>
                    <a:lnTo>
                      <a:pt x="4008779" y="9390501"/>
                    </a:lnTo>
                    <a:lnTo>
                      <a:pt x="4000336" y="9414178"/>
                    </a:lnTo>
                    <a:lnTo>
                      <a:pt x="3962041" y="9520745"/>
                    </a:lnTo>
                    <a:lnTo>
                      <a:pt x="3926539" y="9577144"/>
                    </a:lnTo>
                    <a:lnTo>
                      <a:pt x="3820790" y="9626369"/>
                    </a:lnTo>
                    <a:lnTo>
                      <a:pt x="3785171" y="9682183"/>
                    </a:lnTo>
                    <a:lnTo>
                      <a:pt x="3814360" y="9713000"/>
                    </a:lnTo>
                    <a:lnTo>
                      <a:pt x="3793586" y="9765105"/>
                    </a:lnTo>
                    <a:lnTo>
                      <a:pt x="3721789" y="9824704"/>
                    </a:lnTo>
                    <a:lnTo>
                      <a:pt x="3711076" y="9854461"/>
                    </a:lnTo>
                    <a:lnTo>
                      <a:pt x="3701765" y="9879876"/>
                    </a:lnTo>
                    <a:lnTo>
                      <a:pt x="3668152" y="9973691"/>
                    </a:lnTo>
                    <a:lnTo>
                      <a:pt x="3614580" y="10021080"/>
                    </a:lnTo>
                    <a:lnTo>
                      <a:pt x="3575953" y="10088837"/>
                    </a:lnTo>
                    <a:lnTo>
                      <a:pt x="3536721" y="10157444"/>
                    </a:lnTo>
                    <a:lnTo>
                      <a:pt x="3527112" y="10228509"/>
                    </a:lnTo>
                    <a:lnTo>
                      <a:pt x="3460338" y="10280624"/>
                    </a:lnTo>
                    <a:lnTo>
                      <a:pt x="3397765" y="10329427"/>
                    </a:lnTo>
                    <a:lnTo>
                      <a:pt x="3354782" y="10325220"/>
                    </a:lnTo>
                    <a:lnTo>
                      <a:pt x="3287592" y="10347277"/>
                    </a:lnTo>
                    <a:lnTo>
                      <a:pt x="3208019" y="10373375"/>
                    </a:lnTo>
                    <a:lnTo>
                      <a:pt x="2994298" y="10428460"/>
                    </a:lnTo>
                    <a:lnTo>
                      <a:pt x="2943458" y="10481933"/>
                    </a:lnTo>
                    <a:lnTo>
                      <a:pt x="2953414" y="10513900"/>
                    </a:lnTo>
                    <a:lnTo>
                      <a:pt x="2974749" y="10541780"/>
                    </a:lnTo>
                    <a:lnTo>
                      <a:pt x="2923369" y="10588500"/>
                    </a:lnTo>
                    <a:lnTo>
                      <a:pt x="2890084" y="10572389"/>
                    </a:lnTo>
                    <a:lnTo>
                      <a:pt x="2840094" y="10607078"/>
                    </a:lnTo>
                    <a:lnTo>
                      <a:pt x="2827729" y="10654040"/>
                    </a:lnTo>
                    <a:lnTo>
                      <a:pt x="2814151" y="10670659"/>
                    </a:lnTo>
                    <a:lnTo>
                      <a:pt x="2793852" y="10677803"/>
                    </a:lnTo>
                    <a:lnTo>
                      <a:pt x="2763844" y="10689790"/>
                    </a:lnTo>
                    <a:lnTo>
                      <a:pt x="2747430" y="10712272"/>
                    </a:lnTo>
                    <a:lnTo>
                      <a:pt x="2723121" y="10730851"/>
                    </a:lnTo>
                    <a:lnTo>
                      <a:pt x="2717779" y="10760309"/>
                    </a:lnTo>
                    <a:lnTo>
                      <a:pt x="2737095" y="10811190"/>
                    </a:lnTo>
                    <a:lnTo>
                      <a:pt x="2758350" y="10814759"/>
                    </a:lnTo>
                    <a:lnTo>
                      <a:pt x="2796562" y="10819270"/>
                    </a:lnTo>
                    <a:lnTo>
                      <a:pt x="2838426" y="10801925"/>
                    </a:lnTo>
                    <a:lnTo>
                      <a:pt x="2870867" y="10771958"/>
                    </a:lnTo>
                    <a:lnTo>
                      <a:pt x="2910818" y="10753972"/>
                    </a:lnTo>
                    <a:lnTo>
                      <a:pt x="2930631" y="10745048"/>
                    </a:lnTo>
                    <a:lnTo>
                      <a:pt x="2953243" y="10740928"/>
                    </a:lnTo>
                    <a:lnTo>
                      <a:pt x="2973391" y="10729493"/>
                    </a:lnTo>
                    <a:lnTo>
                      <a:pt x="3000425" y="10710743"/>
                    </a:lnTo>
                    <a:lnTo>
                      <a:pt x="3082504" y="10668284"/>
                    </a:lnTo>
                    <a:lnTo>
                      <a:pt x="3159144" y="10645795"/>
                    </a:lnTo>
                    <a:lnTo>
                      <a:pt x="3226383" y="10609795"/>
                    </a:lnTo>
                    <a:lnTo>
                      <a:pt x="3349867" y="10543656"/>
                    </a:lnTo>
                    <a:lnTo>
                      <a:pt x="3450150" y="10448273"/>
                    </a:lnTo>
                    <a:lnTo>
                      <a:pt x="3518831" y="10325514"/>
                    </a:lnTo>
                    <a:lnTo>
                      <a:pt x="3782712" y="9853524"/>
                    </a:lnTo>
                    <a:lnTo>
                      <a:pt x="3794218" y="9832868"/>
                    </a:lnTo>
                    <a:lnTo>
                      <a:pt x="3812844" y="9815477"/>
                    </a:lnTo>
                    <a:lnTo>
                      <a:pt x="3826238" y="9796393"/>
                    </a:lnTo>
                    <a:lnTo>
                      <a:pt x="3853895" y="9756910"/>
                    </a:lnTo>
                    <a:lnTo>
                      <a:pt x="3877460" y="9709939"/>
                    </a:lnTo>
                    <a:lnTo>
                      <a:pt x="3902407" y="9668537"/>
                    </a:lnTo>
                    <a:lnTo>
                      <a:pt x="3967011" y="9561378"/>
                    </a:lnTo>
                    <a:lnTo>
                      <a:pt x="4077739" y="9342300"/>
                    </a:lnTo>
                    <a:lnTo>
                      <a:pt x="4154045" y="9257753"/>
                    </a:lnTo>
                    <a:lnTo>
                      <a:pt x="4214652" y="9190597"/>
                    </a:lnTo>
                    <a:lnTo>
                      <a:pt x="4293084" y="9142988"/>
                    </a:lnTo>
                    <a:lnTo>
                      <a:pt x="4353995" y="9075491"/>
                    </a:lnTo>
                    <a:lnTo>
                      <a:pt x="4417148" y="9005399"/>
                    </a:lnTo>
                    <a:lnTo>
                      <a:pt x="4448268" y="8899558"/>
                    </a:lnTo>
                    <a:lnTo>
                      <a:pt x="4522658" y="8841537"/>
                    </a:lnTo>
                    <a:lnTo>
                      <a:pt x="4568342" y="8805830"/>
                    </a:lnTo>
                    <a:lnTo>
                      <a:pt x="4627988" y="8804512"/>
                    </a:lnTo>
                    <a:lnTo>
                      <a:pt x="4681801" y="8789847"/>
                    </a:lnTo>
                    <a:lnTo>
                      <a:pt x="4722097" y="8778877"/>
                    </a:lnTo>
                    <a:lnTo>
                      <a:pt x="4769492" y="8757334"/>
                    </a:lnTo>
                    <a:lnTo>
                      <a:pt x="4805580" y="8736796"/>
                    </a:lnTo>
                    <a:lnTo>
                      <a:pt x="4831625" y="8721966"/>
                    </a:lnTo>
                    <a:lnTo>
                      <a:pt x="4977259" y="8631171"/>
                    </a:lnTo>
                    <a:lnTo>
                      <a:pt x="4996635" y="8615957"/>
                    </a:lnTo>
                    <a:lnTo>
                      <a:pt x="5017772" y="8599418"/>
                    </a:lnTo>
                    <a:lnTo>
                      <a:pt x="5069105" y="8566391"/>
                    </a:lnTo>
                    <a:lnTo>
                      <a:pt x="5098151" y="8529202"/>
                    </a:lnTo>
                    <a:lnTo>
                      <a:pt x="5132028" y="8478362"/>
                    </a:lnTo>
                    <a:lnTo>
                      <a:pt x="5152632" y="8447418"/>
                    </a:lnTo>
                    <a:lnTo>
                      <a:pt x="5169855" y="8414561"/>
                    </a:lnTo>
                    <a:lnTo>
                      <a:pt x="5194589" y="8385868"/>
                    </a:lnTo>
                    <a:lnTo>
                      <a:pt x="5210067" y="8367891"/>
                    </a:lnTo>
                    <a:lnTo>
                      <a:pt x="5229672" y="8351653"/>
                    </a:lnTo>
                    <a:lnTo>
                      <a:pt x="5243563" y="8332817"/>
                    </a:lnTo>
                    <a:lnTo>
                      <a:pt x="5306805" y="8247467"/>
                    </a:lnTo>
                    <a:lnTo>
                      <a:pt x="5335548" y="8192255"/>
                    </a:lnTo>
                    <a:lnTo>
                      <a:pt x="5416309" y="8116545"/>
                    </a:lnTo>
                    <a:lnTo>
                      <a:pt x="5434419" y="8099545"/>
                    </a:lnTo>
                    <a:lnTo>
                      <a:pt x="5460976" y="8075400"/>
                    </a:lnTo>
                    <a:lnTo>
                      <a:pt x="5481598" y="8062145"/>
                    </a:lnTo>
                    <a:lnTo>
                      <a:pt x="5499996" y="8050279"/>
                    </a:lnTo>
                    <a:lnTo>
                      <a:pt x="5523812" y="8050577"/>
                    </a:lnTo>
                    <a:lnTo>
                      <a:pt x="5542806" y="8036299"/>
                    </a:lnTo>
                    <a:lnTo>
                      <a:pt x="5569198" y="8016486"/>
                    </a:lnTo>
                    <a:lnTo>
                      <a:pt x="5586794" y="7982569"/>
                    </a:lnTo>
                    <a:lnTo>
                      <a:pt x="5614895" y="7961485"/>
                    </a:lnTo>
                    <a:lnTo>
                      <a:pt x="5657742" y="7929350"/>
                    </a:lnTo>
                    <a:lnTo>
                      <a:pt x="5703727" y="7919574"/>
                    </a:lnTo>
                    <a:lnTo>
                      <a:pt x="5750915" y="7897554"/>
                    </a:lnTo>
                    <a:lnTo>
                      <a:pt x="5775527" y="7886165"/>
                    </a:lnTo>
                    <a:lnTo>
                      <a:pt x="5799842" y="7871289"/>
                    </a:lnTo>
                    <a:lnTo>
                      <a:pt x="5824367" y="7859469"/>
                    </a:lnTo>
                    <a:lnTo>
                      <a:pt x="5873422" y="7835840"/>
                    </a:lnTo>
                    <a:lnTo>
                      <a:pt x="5917456" y="7797544"/>
                    </a:lnTo>
                    <a:lnTo>
                      <a:pt x="5969912" y="7779223"/>
                    </a:lnTo>
                    <a:lnTo>
                      <a:pt x="6002502" y="7767788"/>
                    </a:lnTo>
                    <a:lnTo>
                      <a:pt x="6050335" y="7776507"/>
                    </a:lnTo>
                    <a:lnTo>
                      <a:pt x="6084169" y="7776507"/>
                    </a:lnTo>
                    <a:lnTo>
                      <a:pt x="6130615" y="7776507"/>
                    </a:lnTo>
                    <a:lnTo>
                      <a:pt x="6184820" y="7763407"/>
                    </a:lnTo>
                    <a:lnTo>
                      <a:pt x="6231068" y="7757460"/>
                    </a:lnTo>
                    <a:lnTo>
                      <a:pt x="6268889" y="7752574"/>
                    </a:lnTo>
                    <a:lnTo>
                      <a:pt x="6306133" y="7756570"/>
                    </a:lnTo>
                    <a:lnTo>
                      <a:pt x="6343960" y="7753383"/>
                    </a:lnTo>
                    <a:lnTo>
                      <a:pt x="6411544" y="7747771"/>
                    </a:lnTo>
                    <a:lnTo>
                      <a:pt x="6467866" y="7682652"/>
                    </a:lnTo>
                    <a:lnTo>
                      <a:pt x="6531664" y="7677214"/>
                    </a:lnTo>
                    <a:lnTo>
                      <a:pt x="6568821" y="7673980"/>
                    </a:lnTo>
                    <a:lnTo>
                      <a:pt x="6642953" y="7750660"/>
                    </a:lnTo>
                    <a:lnTo>
                      <a:pt x="6746578" y="7750660"/>
                    </a:lnTo>
                    <a:lnTo>
                      <a:pt x="6845366" y="7750660"/>
                    </a:lnTo>
                    <a:lnTo>
                      <a:pt x="6943729" y="7634199"/>
                    </a:lnTo>
                    <a:lnTo>
                      <a:pt x="7041747" y="7726181"/>
                    </a:lnTo>
                    <a:lnTo>
                      <a:pt x="7055347" y="7745225"/>
                    </a:lnTo>
                    <a:lnTo>
                      <a:pt x="7070645" y="7768176"/>
                    </a:lnTo>
                    <a:lnTo>
                      <a:pt x="7075026" y="7793170"/>
                    </a:lnTo>
                    <a:lnTo>
                      <a:pt x="7089351" y="7815956"/>
                    </a:lnTo>
                    <a:lnTo>
                      <a:pt x="7101973" y="7835933"/>
                    </a:lnTo>
                    <a:lnTo>
                      <a:pt x="7121274" y="7848087"/>
                    </a:lnTo>
                    <a:lnTo>
                      <a:pt x="7132877" y="7867639"/>
                    </a:lnTo>
                    <a:lnTo>
                      <a:pt x="7142364" y="7887874"/>
                    </a:lnTo>
                    <a:lnTo>
                      <a:pt x="7148643" y="7944366"/>
                    </a:lnTo>
                    <a:lnTo>
                      <a:pt x="7123668" y="7978882"/>
                    </a:lnTo>
                    <a:lnTo>
                      <a:pt x="7139667" y="8022700"/>
                    </a:lnTo>
                    <a:lnTo>
                      <a:pt x="7180347" y="8013395"/>
                    </a:lnTo>
                    <a:lnTo>
                      <a:pt x="7171969" y="7951296"/>
                    </a:lnTo>
                    <a:lnTo>
                      <a:pt x="7209039" y="7919332"/>
                    </a:lnTo>
                    <a:lnTo>
                      <a:pt x="7244402" y="7924771"/>
                    </a:lnTo>
                    <a:lnTo>
                      <a:pt x="7259024" y="7967150"/>
                    </a:lnTo>
                    <a:lnTo>
                      <a:pt x="7238197" y="7988110"/>
                    </a:lnTo>
                    <a:lnTo>
                      <a:pt x="7233522" y="8026789"/>
                    </a:lnTo>
                    <a:lnTo>
                      <a:pt x="7281168" y="7974160"/>
                    </a:lnTo>
                    <a:lnTo>
                      <a:pt x="7266720" y="7911761"/>
                    </a:lnTo>
                    <a:lnTo>
                      <a:pt x="7301527" y="7854034"/>
                    </a:lnTo>
                    <a:lnTo>
                      <a:pt x="7325460" y="7814381"/>
                    </a:lnTo>
                    <a:lnTo>
                      <a:pt x="7352835" y="7769456"/>
                    </a:lnTo>
                    <a:lnTo>
                      <a:pt x="7383147" y="7734339"/>
                    </a:lnTo>
                    <a:lnTo>
                      <a:pt x="7408398" y="7705057"/>
                    </a:lnTo>
                    <a:lnTo>
                      <a:pt x="7456938" y="7660765"/>
                    </a:lnTo>
                    <a:lnTo>
                      <a:pt x="7475634" y="7629604"/>
                    </a:lnTo>
                    <a:lnTo>
                      <a:pt x="7494963" y="7601891"/>
                    </a:lnTo>
                    <a:lnTo>
                      <a:pt x="7511554" y="7577021"/>
                    </a:lnTo>
                    <a:lnTo>
                      <a:pt x="7532936" y="7545402"/>
                    </a:lnTo>
                    <a:lnTo>
                      <a:pt x="7551809" y="7528953"/>
                    </a:lnTo>
                    <a:lnTo>
                      <a:pt x="7619690" y="7469487"/>
                    </a:lnTo>
                    <a:lnTo>
                      <a:pt x="7686083" y="7421409"/>
                    </a:lnTo>
                    <a:lnTo>
                      <a:pt x="7770801" y="7387492"/>
                    </a:lnTo>
                    <a:lnTo>
                      <a:pt x="7820060" y="7367766"/>
                    </a:lnTo>
                    <a:lnTo>
                      <a:pt x="7896111" y="7354802"/>
                    </a:lnTo>
                    <a:lnTo>
                      <a:pt x="7934025" y="7337166"/>
                    </a:lnTo>
                    <a:lnTo>
                      <a:pt x="7986294" y="7312805"/>
                    </a:lnTo>
                    <a:lnTo>
                      <a:pt x="8078124" y="7240589"/>
                    </a:lnTo>
                    <a:lnTo>
                      <a:pt x="8124453" y="7232425"/>
                    </a:lnTo>
                    <a:lnTo>
                      <a:pt x="8184161" y="7221887"/>
                    </a:lnTo>
                    <a:lnTo>
                      <a:pt x="8285175" y="7260911"/>
                    </a:lnTo>
                    <a:lnTo>
                      <a:pt x="8339361" y="7239231"/>
                    </a:lnTo>
                    <a:lnTo>
                      <a:pt x="8376720" y="7224268"/>
                    </a:lnTo>
                    <a:lnTo>
                      <a:pt x="8379489" y="7179976"/>
                    </a:lnTo>
                    <a:lnTo>
                      <a:pt x="8403292" y="7153537"/>
                    </a:lnTo>
                    <a:lnTo>
                      <a:pt x="8431253" y="7134196"/>
                    </a:lnTo>
                    <a:lnTo>
                      <a:pt x="8465608" y="7129480"/>
                    </a:lnTo>
                    <a:lnTo>
                      <a:pt x="8487079" y="7126454"/>
                    </a:lnTo>
                    <a:lnTo>
                      <a:pt x="8508024" y="7134490"/>
                    </a:lnTo>
                    <a:lnTo>
                      <a:pt x="8546328" y="7154638"/>
                    </a:lnTo>
                    <a:lnTo>
                      <a:pt x="8609528" y="7169267"/>
                    </a:lnTo>
                    <a:lnTo>
                      <a:pt x="8710402" y="7119279"/>
                    </a:lnTo>
                    <a:lnTo>
                      <a:pt x="8812709" y="7152179"/>
                    </a:lnTo>
                    <a:lnTo>
                      <a:pt x="8929136" y="7189585"/>
                    </a:lnTo>
                    <a:lnTo>
                      <a:pt x="8942865" y="7209983"/>
                    </a:lnTo>
                    <a:lnTo>
                      <a:pt x="9011302" y="7307239"/>
                    </a:lnTo>
                    <a:lnTo>
                      <a:pt x="9027781" y="7330742"/>
                    </a:lnTo>
                    <a:lnTo>
                      <a:pt x="9057472" y="7342391"/>
                    </a:lnTo>
                    <a:lnTo>
                      <a:pt x="9073868" y="7367087"/>
                    </a:lnTo>
                    <a:lnTo>
                      <a:pt x="9140475" y="7466935"/>
                    </a:lnTo>
                    <a:lnTo>
                      <a:pt x="9120185" y="7563931"/>
                    </a:lnTo>
                    <a:lnTo>
                      <a:pt x="9072516" y="7669056"/>
                    </a:lnTo>
                    <a:lnTo>
                      <a:pt x="9062610" y="7690984"/>
                    </a:lnTo>
                    <a:lnTo>
                      <a:pt x="9044416" y="7712027"/>
                    </a:lnTo>
                    <a:lnTo>
                      <a:pt x="9033071" y="7732978"/>
                    </a:lnTo>
                    <a:lnTo>
                      <a:pt x="9012120" y="7771363"/>
                    </a:lnTo>
                    <a:lnTo>
                      <a:pt x="9023167" y="7814551"/>
                    </a:lnTo>
                    <a:lnTo>
                      <a:pt x="8997702" y="7849960"/>
                    </a:lnTo>
                    <a:lnTo>
                      <a:pt x="8961754" y="7876439"/>
                    </a:lnTo>
                    <a:lnTo>
                      <a:pt x="8922553" y="7817658"/>
                    </a:lnTo>
                    <a:lnTo>
                      <a:pt x="8910399" y="7840438"/>
                    </a:lnTo>
                    <a:lnTo>
                      <a:pt x="8934624" y="7877586"/>
                    </a:lnTo>
                    <a:lnTo>
                      <a:pt x="8958260" y="7888044"/>
                    </a:lnTo>
                    <a:lnTo>
                      <a:pt x="9006502" y="7896593"/>
                    </a:lnTo>
                    <a:lnTo>
                      <a:pt x="9050964" y="7853107"/>
                    </a:lnTo>
                    <a:lnTo>
                      <a:pt x="9155283" y="7543315"/>
                    </a:lnTo>
                    <a:lnTo>
                      <a:pt x="9184048" y="7475902"/>
                    </a:lnTo>
                    <a:lnTo>
                      <a:pt x="9201650" y="7434674"/>
                    </a:lnTo>
                    <a:lnTo>
                      <a:pt x="9202291" y="7386345"/>
                    </a:lnTo>
                    <a:lnTo>
                      <a:pt x="9218058" y="7345324"/>
                    </a:lnTo>
                    <a:lnTo>
                      <a:pt x="9246444" y="7271449"/>
                    </a:lnTo>
                    <a:lnTo>
                      <a:pt x="9315618" y="7178829"/>
                    </a:lnTo>
                    <a:lnTo>
                      <a:pt x="9324151" y="7105928"/>
                    </a:lnTo>
                    <a:lnTo>
                      <a:pt x="9313829" y="7075244"/>
                    </a:lnTo>
                    <a:lnTo>
                      <a:pt x="9289390" y="7060616"/>
                    </a:lnTo>
                    <a:lnTo>
                      <a:pt x="9294230" y="7025675"/>
                    </a:lnTo>
                    <a:lnTo>
                      <a:pt x="9332910" y="6996561"/>
                    </a:lnTo>
                    <a:lnTo>
                      <a:pt x="9365342" y="7019307"/>
                    </a:lnTo>
                    <a:lnTo>
                      <a:pt x="9397604" y="7005277"/>
                    </a:lnTo>
                    <a:lnTo>
                      <a:pt x="9440109" y="6986738"/>
                    </a:lnTo>
                    <a:lnTo>
                      <a:pt x="9468381" y="6887619"/>
                    </a:lnTo>
                    <a:lnTo>
                      <a:pt x="9520018" y="6848852"/>
                    </a:lnTo>
                    <a:lnTo>
                      <a:pt x="9572982" y="6809152"/>
                    </a:lnTo>
                    <a:lnTo>
                      <a:pt x="9623912" y="6813025"/>
                    </a:lnTo>
                    <a:lnTo>
                      <a:pt x="9658763" y="6791721"/>
                    </a:lnTo>
                    <a:lnTo>
                      <a:pt x="9702965" y="6764690"/>
                    </a:lnTo>
                    <a:lnTo>
                      <a:pt x="9724427" y="6718782"/>
                    </a:lnTo>
                    <a:lnTo>
                      <a:pt x="9774377" y="6693789"/>
                    </a:lnTo>
                    <a:lnTo>
                      <a:pt x="9804509" y="6678745"/>
                    </a:lnTo>
                    <a:lnTo>
                      <a:pt x="9836185" y="6668885"/>
                    </a:lnTo>
                    <a:lnTo>
                      <a:pt x="9865516" y="6651627"/>
                    </a:lnTo>
                    <a:lnTo>
                      <a:pt x="9891115" y="6636490"/>
                    </a:lnTo>
                    <a:lnTo>
                      <a:pt x="9914543" y="6618429"/>
                    </a:lnTo>
                    <a:lnTo>
                      <a:pt x="9940327" y="6604017"/>
                    </a:lnTo>
                    <a:lnTo>
                      <a:pt x="9885918" y="6504724"/>
                    </a:lnTo>
                    <a:lnTo>
                      <a:pt x="9836953" y="6408150"/>
                    </a:lnTo>
                    <a:lnTo>
                      <a:pt x="9816620" y="6355778"/>
                    </a:lnTo>
                    <a:lnTo>
                      <a:pt x="9826027" y="6319269"/>
                    </a:lnTo>
                    <a:lnTo>
                      <a:pt x="9912571" y="6233147"/>
                    </a:lnTo>
                    <a:lnTo>
                      <a:pt x="9931695" y="6214174"/>
                    </a:lnTo>
                    <a:lnTo>
                      <a:pt x="9952568" y="6200039"/>
                    </a:lnTo>
                    <a:lnTo>
                      <a:pt x="9970124" y="6184437"/>
                    </a:lnTo>
                    <a:lnTo>
                      <a:pt x="9984014" y="6165607"/>
                    </a:lnTo>
                    <a:lnTo>
                      <a:pt x="10004974" y="6154001"/>
                    </a:lnTo>
                    <a:lnTo>
                      <a:pt x="10032352" y="6139419"/>
                    </a:lnTo>
                    <a:lnTo>
                      <a:pt x="10086675" y="6174664"/>
                    </a:lnTo>
                    <a:lnTo>
                      <a:pt x="10119863" y="6185075"/>
                    </a:lnTo>
                    <a:lnTo>
                      <a:pt x="10144191" y="6168965"/>
                    </a:lnTo>
                    <a:lnTo>
                      <a:pt x="10208112" y="6126884"/>
                    </a:lnTo>
                    <a:lnTo>
                      <a:pt x="10223243" y="6099381"/>
                    </a:lnTo>
                    <a:lnTo>
                      <a:pt x="10216726" y="6066097"/>
                    </a:lnTo>
                    <a:lnTo>
                      <a:pt x="10196274" y="6040594"/>
                    </a:lnTo>
                    <a:lnTo>
                      <a:pt x="10175637" y="6016413"/>
                    </a:lnTo>
                    <a:lnTo>
                      <a:pt x="10154981" y="5992222"/>
                    </a:lnTo>
                    <a:lnTo>
                      <a:pt x="10134455" y="5969225"/>
                    </a:lnTo>
                    <a:lnTo>
                      <a:pt x="10125314" y="5941599"/>
                    </a:lnTo>
                    <a:lnTo>
                      <a:pt x="10133090" y="5914844"/>
                    </a:lnTo>
                    <a:lnTo>
                      <a:pt x="10161002" y="5892507"/>
                    </a:lnTo>
                    <a:lnTo>
                      <a:pt x="10186520" y="5870868"/>
                    </a:lnTo>
                    <a:lnTo>
                      <a:pt x="10211151" y="5849146"/>
                    </a:lnTo>
                    <a:lnTo>
                      <a:pt x="10227156" y="5827302"/>
                    </a:lnTo>
                    <a:lnTo>
                      <a:pt x="10228688" y="5804221"/>
                    </a:lnTo>
                    <a:lnTo>
                      <a:pt x="10215634" y="5781522"/>
                    </a:lnTo>
                    <a:lnTo>
                      <a:pt x="10197378" y="5766552"/>
                    </a:lnTo>
                    <a:lnTo>
                      <a:pt x="10176995" y="5753889"/>
                    </a:lnTo>
                    <a:lnTo>
                      <a:pt x="10156618" y="5741239"/>
                    </a:lnTo>
                    <a:lnTo>
                      <a:pt x="10134089" y="5730306"/>
                    </a:lnTo>
                    <a:lnTo>
                      <a:pt x="10115789" y="5714444"/>
                    </a:lnTo>
                    <a:lnTo>
                      <a:pt x="10092070" y="5693961"/>
                    </a:lnTo>
                    <a:lnTo>
                      <a:pt x="10068815" y="5660800"/>
                    </a:lnTo>
                    <a:lnTo>
                      <a:pt x="10047775" y="5636914"/>
                    </a:lnTo>
                    <a:lnTo>
                      <a:pt x="10012546" y="5651964"/>
                    </a:lnTo>
                    <a:lnTo>
                      <a:pt x="9989887" y="5685841"/>
                    </a:lnTo>
                    <a:lnTo>
                      <a:pt x="9983847" y="5714444"/>
                    </a:lnTo>
                    <a:lnTo>
                      <a:pt x="9932966" y="5665774"/>
                    </a:lnTo>
                    <a:lnTo>
                      <a:pt x="9872145" y="5624502"/>
                    </a:lnTo>
                    <a:lnTo>
                      <a:pt x="9820626" y="5590665"/>
                    </a:lnTo>
                    <a:lnTo>
                      <a:pt x="9789899" y="5458602"/>
                    </a:lnTo>
                    <a:lnTo>
                      <a:pt x="9782544" y="5435605"/>
                    </a:lnTo>
                    <a:lnTo>
                      <a:pt x="9770657" y="5398627"/>
                    </a:lnTo>
                    <a:lnTo>
                      <a:pt x="9758292" y="5360720"/>
                    </a:lnTo>
                    <a:lnTo>
                      <a:pt x="9741734" y="5324064"/>
                    </a:lnTo>
                    <a:lnTo>
                      <a:pt x="9725171" y="5287419"/>
                    </a:lnTo>
                    <a:lnTo>
                      <a:pt x="9704565" y="5253077"/>
                    </a:lnTo>
                    <a:lnTo>
                      <a:pt x="9680529" y="5222055"/>
                    </a:lnTo>
                    <a:lnTo>
                      <a:pt x="9659947" y="5195486"/>
                    </a:lnTo>
                    <a:lnTo>
                      <a:pt x="9553517" y="5136699"/>
                    </a:lnTo>
                    <a:lnTo>
                      <a:pt x="9518660" y="5122756"/>
                    </a:lnTo>
                    <a:lnTo>
                      <a:pt x="9485936" y="5109625"/>
                    </a:lnTo>
                    <a:lnTo>
                      <a:pt x="9451374" y="5104645"/>
                    </a:lnTo>
                    <a:lnTo>
                      <a:pt x="9422086" y="5083313"/>
                    </a:lnTo>
                    <a:lnTo>
                      <a:pt x="9401957" y="5068567"/>
                    </a:lnTo>
                    <a:lnTo>
                      <a:pt x="9389393" y="5049098"/>
                    </a:lnTo>
                    <a:lnTo>
                      <a:pt x="9373118" y="5032988"/>
                    </a:lnTo>
                    <a:lnTo>
                      <a:pt x="9338916" y="4999148"/>
                    </a:lnTo>
                    <a:lnTo>
                      <a:pt x="9307228" y="4975137"/>
                    </a:lnTo>
                    <a:lnTo>
                      <a:pt x="9286066" y="4929611"/>
                    </a:lnTo>
                    <a:lnTo>
                      <a:pt x="9292872" y="4909206"/>
                    </a:lnTo>
                    <a:lnTo>
                      <a:pt x="9326268" y="4892423"/>
                    </a:lnTo>
                    <a:lnTo>
                      <a:pt x="9351355" y="4890168"/>
                    </a:lnTo>
                    <a:lnTo>
                      <a:pt x="9376461" y="4887905"/>
                    </a:lnTo>
                    <a:lnTo>
                      <a:pt x="9406059" y="4889186"/>
                    </a:lnTo>
                    <a:lnTo>
                      <a:pt x="9435691" y="4888807"/>
                    </a:lnTo>
                    <a:lnTo>
                      <a:pt x="9465302" y="4888407"/>
                    </a:lnTo>
                    <a:lnTo>
                      <a:pt x="9494940" y="4887409"/>
                    </a:lnTo>
                    <a:lnTo>
                      <a:pt x="9521376" y="4882001"/>
                    </a:lnTo>
                    <a:lnTo>
                      <a:pt x="9547824" y="4876594"/>
                    </a:lnTo>
                    <a:lnTo>
                      <a:pt x="9571115" y="4866716"/>
                    </a:lnTo>
                    <a:lnTo>
                      <a:pt x="9586674" y="4849359"/>
                    </a:lnTo>
                    <a:lnTo>
                      <a:pt x="9596850" y="4821521"/>
                    </a:lnTo>
                    <a:lnTo>
                      <a:pt x="9593216" y="4758006"/>
                    </a:lnTo>
                    <a:lnTo>
                      <a:pt x="9583970" y="4694298"/>
                    </a:lnTo>
                    <a:lnTo>
                      <a:pt x="9574706" y="4630590"/>
                    </a:lnTo>
                    <a:lnTo>
                      <a:pt x="9558918" y="4566139"/>
                    </a:lnTo>
                    <a:lnTo>
                      <a:pt x="9545889" y="4539232"/>
                    </a:lnTo>
                    <a:lnTo>
                      <a:pt x="9530095" y="4506567"/>
                    </a:lnTo>
                    <a:lnTo>
                      <a:pt x="9504242" y="4488512"/>
                    </a:lnTo>
                    <a:lnTo>
                      <a:pt x="9488758" y="4467143"/>
                    </a:lnTo>
                    <a:lnTo>
                      <a:pt x="9476554" y="4444273"/>
                    </a:lnTo>
                    <a:lnTo>
                      <a:pt x="9476492" y="4416566"/>
                    </a:lnTo>
                    <a:lnTo>
                      <a:pt x="9494202" y="4380091"/>
                    </a:lnTo>
                    <a:lnTo>
                      <a:pt x="9506784" y="4359388"/>
                    </a:lnTo>
                    <a:lnTo>
                      <a:pt x="9551923" y="4337883"/>
                    </a:lnTo>
                    <a:lnTo>
                      <a:pt x="9577174" y="4335207"/>
                    </a:lnTo>
                    <a:lnTo>
                      <a:pt x="9608459" y="4374650"/>
                    </a:lnTo>
                    <a:lnTo>
                      <a:pt x="9632941" y="4382854"/>
                    </a:lnTo>
                    <a:lnTo>
                      <a:pt x="9662707" y="4364238"/>
                    </a:lnTo>
                    <a:lnTo>
                      <a:pt x="9683264" y="4376008"/>
                    </a:lnTo>
                    <a:lnTo>
                      <a:pt x="9699430" y="4396202"/>
                    </a:lnTo>
                    <a:lnTo>
                      <a:pt x="9710921" y="4420690"/>
                    </a:lnTo>
                    <a:lnTo>
                      <a:pt x="9753901" y="4428637"/>
                    </a:lnTo>
                    <a:lnTo>
                      <a:pt x="9797520" y="4433139"/>
                    </a:lnTo>
                    <a:lnTo>
                      <a:pt x="9841164" y="4437632"/>
                    </a:lnTo>
                    <a:lnTo>
                      <a:pt x="9885906" y="4438047"/>
                    </a:lnTo>
                    <a:lnTo>
                      <a:pt x="9926567" y="4428380"/>
                    </a:lnTo>
                    <a:lnTo>
                      <a:pt x="10038026" y="4391138"/>
                    </a:lnTo>
                    <a:lnTo>
                      <a:pt x="10055960" y="4369202"/>
                    </a:lnTo>
                    <a:lnTo>
                      <a:pt x="10068022" y="4346847"/>
                    </a:lnTo>
                    <a:lnTo>
                      <a:pt x="10056748" y="4295116"/>
                    </a:lnTo>
                    <a:lnTo>
                      <a:pt x="10055960" y="4269909"/>
                    </a:lnTo>
                    <a:lnTo>
                      <a:pt x="10055229" y="4246195"/>
                    </a:lnTo>
                    <a:lnTo>
                      <a:pt x="10065082" y="4223744"/>
                    </a:lnTo>
                    <a:lnTo>
                      <a:pt x="10077733" y="4203262"/>
                    </a:lnTo>
                    <a:lnTo>
                      <a:pt x="10090358" y="4182779"/>
                    </a:lnTo>
                    <a:lnTo>
                      <a:pt x="10105917" y="4163289"/>
                    </a:lnTo>
                    <a:lnTo>
                      <a:pt x="10114450" y="4143414"/>
                    </a:lnTo>
                    <a:lnTo>
                      <a:pt x="10129475" y="4108433"/>
                    </a:lnTo>
                    <a:lnTo>
                      <a:pt x="10133314" y="4075862"/>
                    </a:lnTo>
                    <a:lnTo>
                      <a:pt x="10144370" y="4048195"/>
                    </a:lnTo>
                    <a:lnTo>
                      <a:pt x="10157784" y="4022206"/>
                    </a:lnTo>
                    <a:lnTo>
                      <a:pt x="10179934" y="4000747"/>
                    </a:lnTo>
                    <a:lnTo>
                      <a:pt x="10215101" y="3984270"/>
                    </a:lnTo>
                    <a:lnTo>
                      <a:pt x="10236328" y="3983743"/>
                    </a:lnTo>
                    <a:lnTo>
                      <a:pt x="10272232" y="3997869"/>
                    </a:lnTo>
                    <a:lnTo>
                      <a:pt x="10302041" y="4017462"/>
                    </a:lnTo>
                    <a:lnTo>
                      <a:pt x="10339124" y="4060712"/>
                    </a:lnTo>
                    <a:lnTo>
                      <a:pt x="10356413" y="4099141"/>
                    </a:lnTo>
                    <a:lnTo>
                      <a:pt x="10368809" y="4135256"/>
                    </a:lnTo>
                    <a:lnTo>
                      <a:pt x="10393713" y="4123056"/>
                    </a:lnTo>
                    <a:lnTo>
                      <a:pt x="10433798" y="4100229"/>
                    </a:lnTo>
                    <a:lnTo>
                      <a:pt x="10451781" y="4078125"/>
                    </a:lnTo>
                    <a:lnTo>
                      <a:pt x="10456370" y="4054573"/>
                    </a:lnTo>
                    <a:lnTo>
                      <a:pt x="10441617" y="4031325"/>
                    </a:lnTo>
                    <a:lnTo>
                      <a:pt x="10438176" y="4008752"/>
                    </a:lnTo>
                    <a:lnTo>
                      <a:pt x="10433376" y="3977254"/>
                    </a:lnTo>
                    <a:lnTo>
                      <a:pt x="10436005" y="3935033"/>
                    </a:lnTo>
                    <a:lnTo>
                      <a:pt x="10446343" y="3895860"/>
                    </a:lnTo>
                    <a:lnTo>
                      <a:pt x="10456686" y="3856681"/>
                    </a:lnTo>
                    <a:lnTo>
                      <a:pt x="10474248" y="3819939"/>
                    </a:lnTo>
                    <a:lnTo>
                      <a:pt x="10498029" y="3797919"/>
                    </a:lnTo>
                    <a:lnTo>
                      <a:pt x="10506779" y="3773229"/>
                    </a:lnTo>
                    <a:lnTo>
                      <a:pt x="10491096" y="3737820"/>
                    </a:lnTo>
                    <a:lnTo>
                      <a:pt x="10496678" y="3709509"/>
                    </a:lnTo>
                    <a:lnTo>
                      <a:pt x="10502730" y="3678630"/>
                    </a:lnTo>
                    <a:lnTo>
                      <a:pt x="10523138" y="3649773"/>
                    </a:lnTo>
                    <a:lnTo>
                      <a:pt x="10542913" y="3621096"/>
                    </a:lnTo>
                    <a:lnTo>
                      <a:pt x="10562714" y="3592421"/>
                    </a:lnTo>
                    <a:lnTo>
                      <a:pt x="10582359" y="3563927"/>
                    </a:lnTo>
                    <a:lnTo>
                      <a:pt x="10583730" y="3531327"/>
                    </a:lnTo>
                    <a:lnTo>
                      <a:pt x="10539050" y="3514147"/>
                    </a:lnTo>
                    <a:lnTo>
                      <a:pt x="10508218" y="3535612"/>
                    </a:lnTo>
                    <a:lnTo>
                      <a:pt x="10480356" y="3534043"/>
                    </a:lnTo>
                    <a:lnTo>
                      <a:pt x="10431472" y="3531281"/>
                    </a:lnTo>
                    <a:lnTo>
                      <a:pt x="10379568" y="3502080"/>
                    </a:lnTo>
                    <a:lnTo>
                      <a:pt x="10310326" y="3504117"/>
                    </a:lnTo>
                    <a:lnTo>
                      <a:pt x="10295381" y="3557165"/>
                    </a:lnTo>
                    <a:lnTo>
                      <a:pt x="10267377" y="3584456"/>
                    </a:lnTo>
                    <a:lnTo>
                      <a:pt x="10234176" y="3578928"/>
                    </a:lnTo>
                    <a:lnTo>
                      <a:pt x="10226226" y="3557211"/>
                    </a:lnTo>
                    <a:lnTo>
                      <a:pt x="10207548" y="3525582"/>
                    </a:lnTo>
                    <a:lnTo>
                      <a:pt x="10193657" y="3498576"/>
                    </a:lnTo>
                    <a:lnTo>
                      <a:pt x="10178402" y="3472838"/>
                    </a:lnTo>
                    <a:lnTo>
                      <a:pt x="10163160" y="3447091"/>
                    </a:lnTo>
                    <a:lnTo>
                      <a:pt x="10145710" y="3422742"/>
                    </a:lnTo>
                    <a:lnTo>
                      <a:pt x="10125358" y="3406188"/>
                    </a:lnTo>
                    <a:lnTo>
                      <a:pt x="10092076" y="3379196"/>
                    </a:lnTo>
                    <a:lnTo>
                      <a:pt x="10052891" y="3359346"/>
                    </a:lnTo>
                    <a:lnTo>
                      <a:pt x="10019262" y="3332735"/>
                    </a:lnTo>
                    <a:lnTo>
                      <a:pt x="9991970" y="3311057"/>
                    </a:lnTo>
                    <a:lnTo>
                      <a:pt x="9975227" y="3278240"/>
                    </a:lnTo>
                    <a:lnTo>
                      <a:pt x="9951253" y="3256563"/>
                    </a:lnTo>
                    <a:lnTo>
                      <a:pt x="9928470" y="3235908"/>
                    </a:lnTo>
                    <a:lnTo>
                      <a:pt x="9900460" y="3220179"/>
                    </a:lnTo>
                    <a:lnTo>
                      <a:pt x="9877801" y="3199439"/>
                    </a:lnTo>
                    <a:lnTo>
                      <a:pt x="9834492" y="3159691"/>
                    </a:lnTo>
                    <a:lnTo>
                      <a:pt x="9812434" y="3081521"/>
                    </a:lnTo>
                    <a:lnTo>
                      <a:pt x="9771705" y="3045731"/>
                    </a:lnTo>
                    <a:lnTo>
                      <a:pt x="9737406" y="3015599"/>
                    </a:lnTo>
                    <a:lnTo>
                      <a:pt x="9715411" y="3014933"/>
                    </a:lnTo>
                    <a:lnTo>
                      <a:pt x="9694171" y="3006287"/>
                    </a:lnTo>
                    <a:lnTo>
                      <a:pt x="9673825" y="2995920"/>
                    </a:lnTo>
                    <a:lnTo>
                      <a:pt x="9649244" y="2970403"/>
                    </a:lnTo>
                    <a:lnTo>
                      <a:pt x="9635273" y="2950995"/>
                    </a:lnTo>
                    <a:lnTo>
                      <a:pt x="9618002" y="2920593"/>
                    </a:lnTo>
                    <a:lnTo>
                      <a:pt x="9571593" y="2929950"/>
                    </a:lnTo>
                    <a:lnTo>
                      <a:pt x="9493973" y="2983000"/>
                    </a:lnTo>
                    <a:lnTo>
                      <a:pt x="9475180" y="3002211"/>
                    </a:lnTo>
                    <a:lnTo>
                      <a:pt x="9452236" y="3028005"/>
                    </a:lnTo>
                    <a:lnTo>
                      <a:pt x="9424690" y="3052589"/>
                    </a:lnTo>
                    <a:lnTo>
                      <a:pt x="9392212" y="3056618"/>
                    </a:lnTo>
                    <a:lnTo>
                      <a:pt x="9373295" y="3014920"/>
                    </a:lnTo>
                    <a:lnTo>
                      <a:pt x="9342776" y="2976220"/>
                    </a:lnTo>
                    <a:lnTo>
                      <a:pt x="9310598" y="2938280"/>
                    </a:lnTo>
                    <a:lnTo>
                      <a:pt x="9278408" y="2900346"/>
                    </a:lnTo>
                    <a:lnTo>
                      <a:pt x="9245473" y="2862709"/>
                    </a:lnTo>
                    <a:lnTo>
                      <a:pt x="9220821" y="2824023"/>
                    </a:lnTo>
                    <a:lnTo>
                      <a:pt x="9205963" y="2800691"/>
                    </a:lnTo>
                    <a:lnTo>
                      <a:pt x="9192766" y="2774806"/>
                    </a:lnTo>
                    <a:lnTo>
                      <a:pt x="9177295" y="2751935"/>
                    </a:lnTo>
                    <a:lnTo>
                      <a:pt x="9151240" y="2721546"/>
                    </a:lnTo>
                    <a:lnTo>
                      <a:pt x="9120197" y="2716104"/>
                    </a:lnTo>
                    <a:lnTo>
                      <a:pt x="9079691" y="2739028"/>
                    </a:lnTo>
                    <a:lnTo>
                      <a:pt x="9037201" y="2760092"/>
                    </a:lnTo>
                    <a:lnTo>
                      <a:pt x="9015952" y="2770631"/>
                    </a:lnTo>
                    <a:lnTo>
                      <a:pt x="8993879" y="2779679"/>
                    </a:lnTo>
                    <a:lnTo>
                      <a:pt x="8955376" y="2792196"/>
                    </a:lnTo>
                    <a:lnTo>
                      <a:pt x="8927018" y="2790013"/>
                    </a:lnTo>
                    <a:lnTo>
                      <a:pt x="8906899" y="2746381"/>
                    </a:lnTo>
                    <a:lnTo>
                      <a:pt x="8917075" y="2708052"/>
                    </a:lnTo>
                    <a:lnTo>
                      <a:pt x="8925660" y="2674398"/>
                    </a:lnTo>
                    <a:lnTo>
                      <a:pt x="8934255" y="2640744"/>
                    </a:lnTo>
                    <a:lnTo>
                      <a:pt x="8941858" y="2610830"/>
                    </a:lnTo>
                    <a:lnTo>
                      <a:pt x="8931102" y="2592786"/>
                    </a:lnTo>
                    <a:lnTo>
                      <a:pt x="8874854" y="2588532"/>
                    </a:lnTo>
                    <a:lnTo>
                      <a:pt x="8841430" y="2585163"/>
                    </a:lnTo>
                    <a:lnTo>
                      <a:pt x="8826717" y="2563196"/>
                    </a:lnTo>
                    <a:lnTo>
                      <a:pt x="8815487" y="2538379"/>
                    </a:lnTo>
                    <a:lnTo>
                      <a:pt x="8804241" y="2513568"/>
                    </a:lnTo>
                    <a:lnTo>
                      <a:pt x="8795997" y="2485862"/>
                    </a:lnTo>
                    <a:lnTo>
                      <a:pt x="8801379" y="2460678"/>
                    </a:lnTo>
                    <a:lnTo>
                      <a:pt x="8888636" y="2448992"/>
                    </a:lnTo>
                    <a:lnTo>
                      <a:pt x="8920219" y="2425486"/>
                    </a:lnTo>
                    <a:lnTo>
                      <a:pt x="8926925" y="2402193"/>
                    </a:lnTo>
                    <a:lnTo>
                      <a:pt x="8883294" y="2380846"/>
                    </a:lnTo>
                    <a:lnTo>
                      <a:pt x="8848130" y="2375154"/>
                    </a:lnTo>
                    <a:lnTo>
                      <a:pt x="8812954" y="2369470"/>
                    </a:lnTo>
                    <a:lnTo>
                      <a:pt x="8776274" y="2361918"/>
                    </a:lnTo>
                    <a:lnTo>
                      <a:pt x="8741879" y="2319711"/>
                    </a:lnTo>
                    <a:lnTo>
                      <a:pt x="8733638" y="2277622"/>
                    </a:lnTo>
                    <a:lnTo>
                      <a:pt x="8724352" y="2235059"/>
                    </a:lnTo>
                    <a:lnTo>
                      <a:pt x="8715072" y="2192496"/>
                    </a:lnTo>
                    <a:lnTo>
                      <a:pt x="8705503" y="2149959"/>
                    </a:lnTo>
                    <a:lnTo>
                      <a:pt x="8680826" y="2120803"/>
                    </a:lnTo>
                    <a:lnTo>
                      <a:pt x="8662464" y="2099078"/>
                    </a:lnTo>
                    <a:lnTo>
                      <a:pt x="8639371" y="2078760"/>
                    </a:lnTo>
                    <a:lnTo>
                      <a:pt x="8619617" y="2058230"/>
                    </a:lnTo>
                    <a:lnTo>
                      <a:pt x="8606244" y="1984307"/>
                    </a:lnTo>
                    <a:lnTo>
                      <a:pt x="8601937" y="1922210"/>
                    </a:lnTo>
                    <a:lnTo>
                      <a:pt x="8597631" y="1860113"/>
                    </a:lnTo>
                    <a:lnTo>
                      <a:pt x="8591907" y="1798410"/>
                    </a:lnTo>
                    <a:lnTo>
                      <a:pt x="8558166" y="1781640"/>
                    </a:lnTo>
                    <a:lnTo>
                      <a:pt x="8500598" y="1805955"/>
                    </a:lnTo>
                    <a:lnTo>
                      <a:pt x="8475433" y="1809312"/>
                    </a:lnTo>
                    <a:lnTo>
                      <a:pt x="8443891" y="1813553"/>
                    </a:lnTo>
                    <a:lnTo>
                      <a:pt x="8406920" y="1812451"/>
                    </a:lnTo>
                    <a:lnTo>
                      <a:pt x="8374782" y="1802512"/>
                    </a:lnTo>
                    <a:lnTo>
                      <a:pt x="8344148" y="1790682"/>
                    </a:lnTo>
                    <a:lnTo>
                      <a:pt x="8318348" y="1770818"/>
                    </a:lnTo>
                    <a:lnTo>
                      <a:pt x="8299968" y="1742664"/>
                    </a:lnTo>
                    <a:lnTo>
                      <a:pt x="8291786" y="1721666"/>
                    </a:lnTo>
                    <a:lnTo>
                      <a:pt x="8303946" y="1683073"/>
                    </a:lnTo>
                    <a:lnTo>
                      <a:pt x="8318705" y="1647269"/>
                    </a:lnTo>
                    <a:lnTo>
                      <a:pt x="8325815" y="1610727"/>
                    </a:lnTo>
                    <a:lnTo>
                      <a:pt x="8331380" y="1573841"/>
                    </a:lnTo>
                    <a:lnTo>
                      <a:pt x="8328425" y="1538796"/>
                    </a:lnTo>
                    <a:lnTo>
                      <a:pt x="8313580" y="1507352"/>
                    </a:lnTo>
                    <a:lnTo>
                      <a:pt x="8288446" y="1514585"/>
                    </a:lnTo>
                    <a:lnTo>
                      <a:pt x="8258092" y="1522743"/>
                    </a:lnTo>
                    <a:lnTo>
                      <a:pt x="8213840" y="1531105"/>
                    </a:lnTo>
                    <a:lnTo>
                      <a:pt x="8188905" y="1534542"/>
                    </a:lnTo>
                    <a:lnTo>
                      <a:pt x="8163961" y="1537272"/>
                    </a:lnTo>
                    <a:lnTo>
                      <a:pt x="8114085" y="1542746"/>
                    </a:lnTo>
                    <a:lnTo>
                      <a:pt x="8064221" y="1545397"/>
                    </a:lnTo>
                    <a:lnTo>
                      <a:pt x="8012978" y="1553594"/>
                    </a:lnTo>
                    <a:lnTo>
                      <a:pt x="7981671" y="1558600"/>
                    </a:lnTo>
                    <a:lnTo>
                      <a:pt x="7950200" y="1567260"/>
                    </a:lnTo>
                    <a:lnTo>
                      <a:pt x="7919126" y="1575365"/>
                    </a:lnTo>
                    <a:lnTo>
                      <a:pt x="7888046" y="1583463"/>
                    </a:lnTo>
                    <a:lnTo>
                      <a:pt x="7856553" y="1590881"/>
                    </a:lnTo>
                    <a:lnTo>
                      <a:pt x="7825275" y="1595762"/>
                    </a:lnTo>
                    <a:lnTo>
                      <a:pt x="7797624" y="1600068"/>
                    </a:lnTo>
                    <a:lnTo>
                      <a:pt x="7771052" y="1600610"/>
                    </a:lnTo>
                    <a:lnTo>
                      <a:pt x="7743664" y="1601203"/>
                    </a:lnTo>
                    <a:lnTo>
                      <a:pt x="7716261" y="1601797"/>
                    </a:lnTo>
                    <a:lnTo>
                      <a:pt x="7688911" y="1602839"/>
                    </a:lnTo>
                    <a:lnTo>
                      <a:pt x="7660686" y="1610727"/>
                    </a:lnTo>
                    <a:lnTo>
                      <a:pt x="7632716" y="1590024"/>
                    </a:lnTo>
                    <a:lnTo>
                      <a:pt x="7630304" y="1569080"/>
                    </a:lnTo>
                    <a:lnTo>
                      <a:pt x="7616717" y="1545859"/>
                    </a:lnTo>
                    <a:lnTo>
                      <a:pt x="7598120" y="1535914"/>
                    </a:lnTo>
                    <a:lnTo>
                      <a:pt x="7568404" y="1529081"/>
                    </a:lnTo>
                    <a:lnTo>
                      <a:pt x="7540988" y="1530473"/>
                    </a:lnTo>
                    <a:lnTo>
                      <a:pt x="7512215" y="1534548"/>
                    </a:lnTo>
                    <a:lnTo>
                      <a:pt x="7485426" y="1545450"/>
                    </a:lnTo>
                    <a:lnTo>
                      <a:pt x="7462100" y="1564483"/>
                    </a:lnTo>
                    <a:lnTo>
                      <a:pt x="7454978" y="1597497"/>
                    </a:lnTo>
                    <a:lnTo>
                      <a:pt x="7442017" y="1634837"/>
                    </a:lnTo>
                    <a:lnTo>
                      <a:pt x="7425374" y="1663776"/>
                    </a:lnTo>
                    <a:lnTo>
                      <a:pt x="7391298" y="1672039"/>
                    </a:lnTo>
                    <a:lnTo>
                      <a:pt x="7356072" y="1679992"/>
                    </a:lnTo>
                    <a:lnTo>
                      <a:pt x="7323355" y="1685539"/>
                    </a:lnTo>
                    <a:lnTo>
                      <a:pt x="7296336" y="1685736"/>
                    </a:lnTo>
                    <a:lnTo>
                      <a:pt x="7259433" y="1673292"/>
                    </a:lnTo>
                    <a:lnTo>
                      <a:pt x="7229286" y="1655236"/>
                    </a:lnTo>
                    <a:lnTo>
                      <a:pt x="7197301" y="1623718"/>
                    </a:lnTo>
                    <a:lnTo>
                      <a:pt x="7184743" y="1600841"/>
                    </a:lnTo>
                    <a:lnTo>
                      <a:pt x="7161498" y="1598486"/>
                    </a:lnTo>
                    <a:lnTo>
                      <a:pt x="7122390" y="1594529"/>
                    </a:lnTo>
                    <a:lnTo>
                      <a:pt x="7078433" y="1603076"/>
                    </a:lnTo>
                    <a:lnTo>
                      <a:pt x="7041800" y="1584880"/>
                    </a:lnTo>
                    <a:lnTo>
                      <a:pt x="7039670" y="1546583"/>
                    </a:lnTo>
                    <a:lnTo>
                      <a:pt x="7033878" y="1491325"/>
                    </a:lnTo>
                    <a:lnTo>
                      <a:pt x="7027931" y="1453879"/>
                    </a:lnTo>
                    <a:lnTo>
                      <a:pt x="7022747" y="1417574"/>
                    </a:lnTo>
                    <a:lnTo>
                      <a:pt x="6981556" y="1404161"/>
                    </a:lnTo>
                    <a:lnTo>
                      <a:pt x="6927181" y="1404153"/>
                    </a:lnTo>
                    <a:lnTo>
                      <a:pt x="6900280" y="1417588"/>
                    </a:lnTo>
                    <a:lnTo>
                      <a:pt x="6891812" y="1454975"/>
                    </a:lnTo>
                    <a:lnTo>
                      <a:pt x="6883959" y="1478795"/>
                    </a:lnTo>
                    <a:lnTo>
                      <a:pt x="6876089" y="1502616"/>
                    </a:lnTo>
                    <a:lnTo>
                      <a:pt x="6865888" y="1525315"/>
                    </a:lnTo>
                    <a:lnTo>
                      <a:pt x="6836098" y="1545081"/>
                    </a:lnTo>
                    <a:lnTo>
                      <a:pt x="6791806" y="1552599"/>
                    </a:lnTo>
                    <a:lnTo>
                      <a:pt x="6746578" y="1556325"/>
                    </a:lnTo>
                    <a:lnTo>
                      <a:pt x="6701343" y="1560051"/>
                    </a:lnTo>
                    <a:lnTo>
                      <a:pt x="6655920" y="1559814"/>
                    </a:lnTo>
                    <a:lnTo>
                      <a:pt x="6633682" y="1557683"/>
                    </a:lnTo>
                    <a:lnTo>
                      <a:pt x="6624157" y="1523679"/>
                    </a:lnTo>
                    <a:lnTo>
                      <a:pt x="6578290" y="1507780"/>
                    </a:lnTo>
                    <a:lnTo>
                      <a:pt x="6555510" y="1496562"/>
                    </a:lnTo>
                    <a:lnTo>
                      <a:pt x="6559687" y="1462215"/>
                    </a:lnTo>
                    <a:lnTo>
                      <a:pt x="6552081" y="1436627"/>
                    </a:lnTo>
                    <a:lnTo>
                      <a:pt x="6508555" y="1424388"/>
                    </a:lnTo>
                    <a:lnTo>
                      <a:pt x="6504469" y="1348216"/>
                    </a:lnTo>
                    <a:lnTo>
                      <a:pt x="6519925" y="1325899"/>
                    </a:lnTo>
                    <a:lnTo>
                      <a:pt x="6542553" y="1337334"/>
                    </a:lnTo>
                    <a:lnTo>
                      <a:pt x="6562211" y="1355866"/>
                    </a:lnTo>
                    <a:lnTo>
                      <a:pt x="6580024" y="1378639"/>
                    </a:lnTo>
                    <a:lnTo>
                      <a:pt x="6598320" y="1395825"/>
                    </a:lnTo>
                    <a:lnTo>
                      <a:pt x="6619562" y="1400791"/>
                    </a:lnTo>
                    <a:lnTo>
                      <a:pt x="6642550" y="1375716"/>
                    </a:lnTo>
                    <a:lnTo>
                      <a:pt x="6659783" y="1294362"/>
                    </a:lnTo>
                    <a:lnTo>
                      <a:pt x="6677934" y="1237660"/>
                    </a:lnTo>
                    <a:lnTo>
                      <a:pt x="6709858" y="1164588"/>
                    </a:lnTo>
                    <a:lnTo>
                      <a:pt x="6704156" y="1136863"/>
                    </a:lnTo>
                    <a:lnTo>
                      <a:pt x="6696252" y="1116979"/>
                    </a:lnTo>
                    <a:lnTo>
                      <a:pt x="6689546" y="1094378"/>
                    </a:lnTo>
                    <a:lnTo>
                      <a:pt x="6692066" y="1063414"/>
                    </a:lnTo>
                    <a:lnTo>
                      <a:pt x="6709858" y="1020403"/>
                    </a:lnTo>
                    <a:lnTo>
                      <a:pt x="6657470" y="1001127"/>
                    </a:lnTo>
                    <a:lnTo>
                      <a:pt x="6632303" y="1019045"/>
                    </a:lnTo>
                    <a:lnTo>
                      <a:pt x="6619488" y="1042529"/>
                    </a:lnTo>
                    <a:lnTo>
                      <a:pt x="6596940" y="1050331"/>
                    </a:lnTo>
                    <a:lnTo>
                      <a:pt x="6580743" y="1015517"/>
                    </a:lnTo>
                    <a:lnTo>
                      <a:pt x="6572455" y="991840"/>
                    </a:lnTo>
                    <a:lnTo>
                      <a:pt x="6561401" y="969543"/>
                    </a:lnTo>
                    <a:lnTo>
                      <a:pt x="6537270" y="954295"/>
                    </a:lnTo>
                    <a:lnTo>
                      <a:pt x="6493567" y="952396"/>
                    </a:lnTo>
                    <a:lnTo>
                      <a:pt x="6498677" y="925832"/>
                    </a:lnTo>
                    <a:lnTo>
                      <a:pt x="6503024" y="889468"/>
                    </a:lnTo>
                    <a:lnTo>
                      <a:pt x="6502106" y="847491"/>
                    </a:lnTo>
                    <a:lnTo>
                      <a:pt x="6497669" y="806853"/>
                    </a:lnTo>
                    <a:lnTo>
                      <a:pt x="6493204" y="766222"/>
                    </a:lnTo>
                    <a:lnTo>
                      <a:pt x="6486008" y="727148"/>
                    </a:lnTo>
                    <a:lnTo>
                      <a:pt x="6468570" y="695704"/>
                    </a:lnTo>
                    <a:lnTo>
                      <a:pt x="6444348" y="692524"/>
                    </a:lnTo>
                    <a:lnTo>
                      <a:pt x="6420133" y="689879"/>
                    </a:lnTo>
                    <a:lnTo>
                      <a:pt x="6395914" y="687236"/>
                    </a:lnTo>
                    <a:lnTo>
                      <a:pt x="6371394" y="685013"/>
                    </a:lnTo>
                    <a:lnTo>
                      <a:pt x="6360732" y="652157"/>
                    </a:lnTo>
                    <a:lnTo>
                      <a:pt x="6375245" y="621866"/>
                    </a:lnTo>
                    <a:lnTo>
                      <a:pt x="6396444" y="594181"/>
                    </a:lnTo>
                    <a:lnTo>
                      <a:pt x="6422058" y="567947"/>
                    </a:lnTo>
                    <a:lnTo>
                      <a:pt x="6445976" y="540254"/>
                    </a:lnTo>
                    <a:lnTo>
                      <a:pt x="6464614" y="509958"/>
                    </a:lnTo>
                    <a:lnTo>
                      <a:pt x="6463290" y="479515"/>
                    </a:lnTo>
                    <a:lnTo>
                      <a:pt x="6452611" y="452523"/>
                    </a:lnTo>
                    <a:lnTo>
                      <a:pt x="6413212" y="445440"/>
                    </a:lnTo>
                    <a:lnTo>
                      <a:pt x="6388482" y="468879"/>
                    </a:lnTo>
                    <a:lnTo>
                      <a:pt x="6353194" y="503982"/>
                    </a:lnTo>
                    <a:lnTo>
                      <a:pt x="6314040" y="530738"/>
                    </a:lnTo>
                    <a:lnTo>
                      <a:pt x="6294460" y="544113"/>
                    </a:lnTo>
                    <a:lnTo>
                      <a:pt x="6273534" y="555021"/>
                    </a:lnTo>
                    <a:lnTo>
                      <a:pt x="6234848" y="566297"/>
                    </a:lnTo>
                    <a:lnTo>
                      <a:pt x="6201135" y="557941"/>
                    </a:lnTo>
                    <a:lnTo>
                      <a:pt x="6195272" y="526630"/>
                    </a:lnTo>
                    <a:lnTo>
                      <a:pt x="6196156" y="491321"/>
                    </a:lnTo>
                    <a:lnTo>
                      <a:pt x="6199783" y="460008"/>
                    </a:lnTo>
                    <a:lnTo>
                      <a:pt x="6176365" y="424705"/>
                    </a:lnTo>
                    <a:lnTo>
                      <a:pt x="6171425" y="395206"/>
                    </a:lnTo>
                    <a:lnTo>
                      <a:pt x="6173937" y="364797"/>
                    </a:lnTo>
                    <a:lnTo>
                      <a:pt x="6176470" y="334381"/>
                    </a:lnTo>
                    <a:lnTo>
                      <a:pt x="6187220" y="302931"/>
                    </a:lnTo>
                    <a:lnTo>
                      <a:pt x="6195700" y="262781"/>
                    </a:lnTo>
                    <a:lnTo>
                      <a:pt x="6188696" y="234350"/>
                    </a:lnTo>
                    <a:lnTo>
                      <a:pt x="6161900" y="215034"/>
                    </a:lnTo>
                    <a:lnTo>
                      <a:pt x="6133142" y="208372"/>
                    </a:lnTo>
                    <a:lnTo>
                      <a:pt x="6098044" y="205906"/>
                    </a:lnTo>
                    <a:lnTo>
                      <a:pt x="6062043" y="207549"/>
                    </a:lnTo>
                    <a:lnTo>
                      <a:pt x="6027043" y="213814"/>
                    </a:lnTo>
                    <a:lnTo>
                      <a:pt x="5992044" y="220058"/>
                    </a:lnTo>
                    <a:lnTo>
                      <a:pt x="5957764" y="229971"/>
                    </a:lnTo>
                    <a:lnTo>
                      <a:pt x="5923661" y="242376"/>
                    </a:lnTo>
                    <a:lnTo>
                      <a:pt x="5889579" y="254782"/>
                    </a:lnTo>
                    <a:lnTo>
                      <a:pt x="5855376" y="269889"/>
                    </a:lnTo>
                    <a:lnTo>
                      <a:pt x="5823016" y="285902"/>
                    </a:lnTo>
                    <a:lnTo>
                      <a:pt x="5790642" y="301915"/>
                    </a:lnTo>
                    <a:lnTo>
                      <a:pt x="5760337" y="319167"/>
                    </a:lnTo>
                    <a:lnTo>
                      <a:pt x="5730522" y="336228"/>
                    </a:lnTo>
                    <a:lnTo>
                      <a:pt x="5709484" y="348264"/>
                    </a:lnTo>
                    <a:lnTo>
                      <a:pt x="5670674" y="368872"/>
                    </a:lnTo>
                    <a:lnTo>
                      <a:pt x="5638835" y="356817"/>
                    </a:lnTo>
                    <a:lnTo>
                      <a:pt x="5615447" y="329250"/>
                    </a:lnTo>
                    <a:lnTo>
                      <a:pt x="5597212" y="294068"/>
                    </a:lnTo>
                    <a:lnTo>
                      <a:pt x="5579164" y="257913"/>
                    </a:lnTo>
                    <a:lnTo>
                      <a:pt x="5558145" y="229561"/>
                    </a:lnTo>
                    <a:lnTo>
                      <a:pt x="5529207" y="216531"/>
                    </a:lnTo>
                    <a:lnTo>
                      <a:pt x="5473849" y="208708"/>
                    </a:lnTo>
                    <a:lnTo>
                      <a:pt x="5431278" y="201566"/>
                    </a:lnTo>
                    <a:lnTo>
                      <a:pt x="5388695" y="194432"/>
                    </a:lnTo>
                    <a:lnTo>
                      <a:pt x="5347538" y="186096"/>
                    </a:lnTo>
                    <a:lnTo>
                      <a:pt x="5307590" y="150535"/>
                    </a:lnTo>
                    <a:lnTo>
                      <a:pt x="5287436" y="124658"/>
                    </a:lnTo>
                    <a:lnTo>
                      <a:pt x="5272131" y="102275"/>
                    </a:lnTo>
                    <a:lnTo>
                      <a:pt x="5256818" y="79891"/>
                    </a:lnTo>
                    <a:lnTo>
                      <a:pt x="5245454" y="61023"/>
                    </a:lnTo>
                    <a:lnTo>
                      <a:pt x="5217189" y="31992"/>
                    </a:lnTo>
                    <a:lnTo>
                      <a:pt x="5174196" y="19303"/>
                    </a:lnTo>
                    <a:lnTo>
                      <a:pt x="5147888" y="16368"/>
                    </a:lnTo>
                    <a:lnTo>
                      <a:pt x="5111775" y="20557"/>
                    </a:lnTo>
                    <a:lnTo>
                      <a:pt x="5059940" y="32908"/>
                    </a:lnTo>
                    <a:lnTo>
                      <a:pt x="5005189" y="45946"/>
                    </a:lnTo>
                    <a:lnTo>
                      <a:pt x="4960522" y="57032"/>
                    </a:lnTo>
                    <a:lnTo>
                      <a:pt x="4918478" y="73712"/>
                    </a:lnTo>
                    <a:lnTo>
                      <a:pt x="4876438" y="90390"/>
                    </a:lnTo>
                    <a:lnTo>
                      <a:pt x="4838087" y="112852"/>
                    </a:lnTo>
                    <a:lnTo>
                      <a:pt x="4793339" y="148525"/>
                    </a:lnTo>
                    <a:lnTo>
                      <a:pt x="4766975" y="182646"/>
                    </a:lnTo>
                    <a:lnTo>
                      <a:pt x="4756619" y="202932"/>
                    </a:lnTo>
                    <a:lnTo>
                      <a:pt x="4746253" y="223218"/>
                    </a:lnTo>
                    <a:lnTo>
                      <a:pt x="4734849" y="242548"/>
                    </a:lnTo>
                    <a:lnTo>
                      <a:pt x="4680369" y="261515"/>
                    </a:lnTo>
                    <a:lnTo>
                      <a:pt x="4656522" y="272106"/>
                    </a:lnTo>
                    <a:lnTo>
                      <a:pt x="4632834" y="275021"/>
                    </a:lnTo>
                    <a:lnTo>
                      <a:pt x="4609152" y="277935"/>
                    </a:lnTo>
                    <a:lnTo>
                      <a:pt x="4585879" y="272812"/>
                    </a:lnTo>
                    <a:lnTo>
                      <a:pt x="4552588" y="253258"/>
                    </a:lnTo>
                    <a:lnTo>
                      <a:pt x="4532902" y="237060"/>
                    </a:lnTo>
                    <a:lnTo>
                      <a:pt x="4448023" y="221720"/>
                    </a:lnTo>
                    <a:lnTo>
                      <a:pt x="4379364" y="204588"/>
                    </a:lnTo>
                    <a:lnTo>
                      <a:pt x="4310475" y="192051"/>
                    </a:lnTo>
                    <a:lnTo>
                      <a:pt x="4250284" y="181123"/>
                    </a:lnTo>
                    <a:lnTo>
                      <a:pt x="4021045" y="163059"/>
                    </a:lnTo>
                    <a:lnTo>
                      <a:pt x="3979944" y="144441"/>
                    </a:lnTo>
                    <a:lnTo>
                      <a:pt x="3903768" y="109930"/>
                    </a:lnTo>
                    <a:lnTo>
                      <a:pt x="3828406" y="64914"/>
                    </a:lnTo>
                    <a:lnTo>
                      <a:pt x="3754150" y="26103"/>
                    </a:lnTo>
                    <a:lnTo>
                      <a:pt x="3734039" y="15610"/>
                    </a:lnTo>
                    <a:lnTo>
                      <a:pt x="3702677" y="7321"/>
                    </a:lnTo>
                    <a:lnTo>
                      <a:pt x="3680694" y="5698"/>
                    </a:lnTo>
                    <a:lnTo>
                      <a:pt x="3654757" y="0"/>
                    </a:lnTo>
                    <a:lnTo>
                      <a:pt x="3456270" y="36984"/>
                    </a:lnTo>
                    <a:lnTo>
                      <a:pt x="3437434" y="47233"/>
                    </a:lnTo>
                    <a:lnTo>
                      <a:pt x="3372356" y="57561"/>
                    </a:lnTo>
                    <a:lnTo>
                      <a:pt x="3321773" y="56795"/>
                    </a:lnTo>
                    <a:lnTo>
                      <a:pt x="3268551" y="56031"/>
                    </a:lnTo>
                    <a:lnTo>
                      <a:pt x="3236851" y="51988"/>
                    </a:lnTo>
                    <a:lnTo>
                      <a:pt x="3184956" y="45828"/>
                    </a:lnTo>
                    <a:lnTo>
                      <a:pt x="3140314" y="36305"/>
                    </a:lnTo>
                    <a:lnTo>
                      <a:pt x="3099889" y="42426"/>
                    </a:lnTo>
                    <a:lnTo>
                      <a:pt x="3049126" y="50141"/>
                    </a:lnTo>
                    <a:lnTo>
                      <a:pt x="3010849" y="61096"/>
                    </a:lnTo>
                    <a:lnTo>
                      <a:pt x="2973397" y="65547"/>
                    </a:lnTo>
                    <a:lnTo>
                      <a:pt x="2935939" y="70011"/>
                    </a:lnTo>
                    <a:lnTo>
                      <a:pt x="2898202" y="67498"/>
                    </a:lnTo>
                    <a:lnTo>
                      <a:pt x="2849619" y="47873"/>
                    </a:lnTo>
                    <a:lnTo>
                      <a:pt x="2791219" y="104391"/>
                    </a:lnTo>
                    <a:lnTo>
                      <a:pt x="2759497" y="146342"/>
                    </a:lnTo>
                    <a:lnTo>
                      <a:pt x="2738084" y="177087"/>
                    </a:lnTo>
                    <a:lnTo>
                      <a:pt x="2716659" y="207833"/>
                    </a:lnTo>
                    <a:lnTo>
                      <a:pt x="2705817" y="228144"/>
                    </a:lnTo>
                    <a:lnTo>
                      <a:pt x="2689111" y="241018"/>
                    </a:lnTo>
                    <a:lnTo>
                      <a:pt x="2672405" y="253890"/>
                    </a:lnTo>
                    <a:lnTo>
                      <a:pt x="2650394" y="259873"/>
                    </a:lnTo>
                    <a:lnTo>
                      <a:pt x="2606142" y="262781"/>
                    </a:lnTo>
                    <a:lnTo>
                      <a:pt x="2561887" y="265682"/>
                    </a:lnTo>
                    <a:lnTo>
                      <a:pt x="2495293" y="264660"/>
                    </a:lnTo>
                    <a:lnTo>
                      <a:pt x="2391225" y="265497"/>
                    </a:lnTo>
                    <a:lnTo>
                      <a:pt x="2360495" y="257676"/>
                    </a:lnTo>
                    <a:lnTo>
                      <a:pt x="2345715" y="220587"/>
                    </a:lnTo>
                    <a:lnTo>
                      <a:pt x="2338512" y="186953"/>
                    </a:lnTo>
                    <a:lnTo>
                      <a:pt x="2335467" y="153964"/>
                    </a:lnTo>
                    <a:lnTo>
                      <a:pt x="2332419" y="120971"/>
                    </a:lnTo>
                    <a:lnTo>
                      <a:pt x="2333508" y="88207"/>
                    </a:lnTo>
                    <a:lnTo>
                      <a:pt x="2339554" y="57389"/>
                    </a:lnTo>
                    <a:lnTo>
                      <a:pt x="2315155" y="41700"/>
                    </a:lnTo>
                    <a:lnTo>
                      <a:pt x="2288062" y="40810"/>
                    </a:lnTo>
                    <a:lnTo>
                      <a:pt x="2262017" y="42426"/>
                    </a:lnTo>
                    <a:lnTo>
                      <a:pt x="2235988" y="44041"/>
                    </a:lnTo>
                    <a:lnTo>
                      <a:pt x="2210433" y="48545"/>
                    </a:lnTo>
                    <a:lnTo>
                      <a:pt x="2191953" y="97149"/>
                    </a:lnTo>
                    <a:lnTo>
                      <a:pt x="2201568" y="134022"/>
                    </a:lnTo>
                    <a:lnTo>
                      <a:pt x="2214411" y="170288"/>
                    </a:lnTo>
                    <a:lnTo>
                      <a:pt x="2227263" y="206546"/>
                    </a:lnTo>
                    <a:lnTo>
                      <a:pt x="2244620" y="242204"/>
                    </a:lnTo>
                    <a:lnTo>
                      <a:pt x="2253866" y="277738"/>
                    </a:lnTo>
                    <a:lnTo>
                      <a:pt x="2240775" y="310046"/>
                    </a:lnTo>
                    <a:lnTo>
                      <a:pt x="2239120" y="338293"/>
                    </a:lnTo>
                    <a:lnTo>
                      <a:pt x="2238949" y="382386"/>
                    </a:lnTo>
                    <a:lnTo>
                      <a:pt x="2236168" y="424646"/>
                    </a:lnTo>
                    <a:lnTo>
                      <a:pt x="2233424" y="466899"/>
                    </a:lnTo>
                    <a:lnTo>
                      <a:pt x="2226742" y="507062"/>
                    </a:lnTo>
                    <a:lnTo>
                      <a:pt x="2142307" y="537538"/>
                    </a:lnTo>
                    <a:lnTo>
                      <a:pt x="2129123" y="573500"/>
                    </a:lnTo>
                    <a:lnTo>
                      <a:pt x="2132131" y="622381"/>
                    </a:lnTo>
                    <a:lnTo>
                      <a:pt x="2147748" y="639553"/>
                    </a:lnTo>
                    <a:lnTo>
                      <a:pt x="2228010" y="639553"/>
                    </a:lnTo>
                    <a:lnTo>
                      <a:pt x="2247386" y="686523"/>
                    </a:lnTo>
                    <a:lnTo>
                      <a:pt x="2244667" y="749550"/>
                    </a:lnTo>
                    <a:lnTo>
                      <a:pt x="2263369" y="778291"/>
                    </a:lnTo>
                    <a:lnTo>
                      <a:pt x="2279988" y="803854"/>
                    </a:lnTo>
                    <a:lnTo>
                      <a:pt x="2303981" y="817557"/>
                    </a:lnTo>
                    <a:lnTo>
                      <a:pt x="2331384" y="825900"/>
                    </a:lnTo>
                    <a:lnTo>
                      <a:pt x="2358780" y="834242"/>
                    </a:lnTo>
                    <a:lnTo>
                      <a:pt x="2388661" y="837797"/>
                    </a:lnTo>
                    <a:lnTo>
                      <a:pt x="2415713" y="843581"/>
                    </a:lnTo>
                    <a:lnTo>
                      <a:pt x="2442766" y="849372"/>
                    </a:lnTo>
                    <a:lnTo>
                      <a:pt x="2466796" y="856956"/>
                    </a:lnTo>
                    <a:lnTo>
                      <a:pt x="2482367" y="874866"/>
                    </a:lnTo>
                    <a:lnTo>
                      <a:pt x="2495860" y="895496"/>
                    </a:lnTo>
                    <a:lnTo>
                      <a:pt x="2501513" y="924969"/>
                    </a:lnTo>
                    <a:lnTo>
                      <a:pt x="2498691" y="966002"/>
                    </a:lnTo>
                    <a:lnTo>
                      <a:pt x="2493706" y="992844"/>
                    </a:lnTo>
                    <a:lnTo>
                      <a:pt x="2484624" y="1028930"/>
                    </a:lnTo>
                    <a:lnTo>
                      <a:pt x="2472845" y="1051696"/>
                    </a:lnTo>
                    <a:lnTo>
                      <a:pt x="2435582" y="1053648"/>
                    </a:lnTo>
                    <a:lnTo>
                      <a:pt x="2398335" y="1057486"/>
                    </a:lnTo>
                    <a:lnTo>
                      <a:pt x="2362669" y="1063937"/>
                    </a:lnTo>
                    <a:lnTo>
                      <a:pt x="2326999" y="1070386"/>
                    </a:lnTo>
                    <a:lnTo>
                      <a:pt x="2291749" y="1079500"/>
                    </a:lnTo>
                    <a:lnTo>
                      <a:pt x="2256570" y="1091140"/>
                    </a:lnTo>
                    <a:lnTo>
                      <a:pt x="2236310" y="1109632"/>
                    </a:lnTo>
                    <a:lnTo>
                      <a:pt x="2219691" y="1140661"/>
                    </a:lnTo>
                    <a:lnTo>
                      <a:pt x="2204886" y="1165952"/>
                    </a:lnTo>
                    <a:lnTo>
                      <a:pt x="2166801" y="1170028"/>
                    </a:lnTo>
                    <a:lnTo>
                      <a:pt x="2143792" y="1184564"/>
                    </a:lnTo>
                    <a:lnTo>
                      <a:pt x="2127350" y="1212190"/>
                    </a:lnTo>
                    <a:lnTo>
                      <a:pt x="2120913" y="1246028"/>
                    </a:lnTo>
                    <a:lnTo>
                      <a:pt x="2117834" y="1272039"/>
                    </a:lnTo>
                    <a:lnTo>
                      <a:pt x="2114743" y="1298180"/>
                    </a:lnTo>
                    <a:lnTo>
                      <a:pt x="2117834" y="1334610"/>
                    </a:lnTo>
                    <a:lnTo>
                      <a:pt x="2126571" y="1363278"/>
                    </a:lnTo>
                    <a:lnTo>
                      <a:pt x="2153255" y="1395607"/>
                    </a:lnTo>
                    <a:lnTo>
                      <a:pt x="2182630" y="1410920"/>
                    </a:lnTo>
                    <a:lnTo>
                      <a:pt x="2223927" y="1439345"/>
                    </a:lnTo>
                    <a:lnTo>
                      <a:pt x="2278407" y="1476843"/>
                    </a:lnTo>
                    <a:lnTo>
                      <a:pt x="2338013" y="1503955"/>
                    </a:lnTo>
                    <a:lnTo>
                      <a:pt x="2396673" y="1534555"/>
                    </a:lnTo>
                    <a:lnTo>
                      <a:pt x="2418476" y="1545904"/>
                    </a:lnTo>
                    <a:lnTo>
                      <a:pt x="2441175" y="1570438"/>
                    </a:lnTo>
                    <a:lnTo>
                      <a:pt x="2455162" y="1590328"/>
                    </a:lnTo>
                    <a:lnTo>
                      <a:pt x="2457813" y="1614511"/>
                    </a:lnTo>
                    <a:lnTo>
                      <a:pt x="2449308" y="1640647"/>
                    </a:lnTo>
                    <a:lnTo>
                      <a:pt x="2436112" y="1665140"/>
                    </a:lnTo>
                    <a:lnTo>
                      <a:pt x="2422935" y="1689634"/>
                    </a:lnTo>
                    <a:lnTo>
                      <a:pt x="2405761" y="1712361"/>
                    </a:lnTo>
                    <a:lnTo>
                      <a:pt x="2392592" y="1730430"/>
                    </a:lnTo>
                    <a:lnTo>
                      <a:pt x="2385408" y="1776205"/>
                    </a:lnTo>
                    <a:lnTo>
                      <a:pt x="2402155" y="1799630"/>
                    </a:lnTo>
                    <a:lnTo>
                      <a:pt x="2410272" y="1840604"/>
                    </a:lnTo>
                    <a:lnTo>
                      <a:pt x="2400031" y="1899563"/>
                    </a:lnTo>
                    <a:lnTo>
                      <a:pt x="2394940" y="1922427"/>
                    </a:lnTo>
                    <a:lnTo>
                      <a:pt x="2384435" y="1952137"/>
                    </a:lnTo>
                    <a:lnTo>
                      <a:pt x="2422129" y="1975180"/>
                    </a:lnTo>
                    <a:lnTo>
                      <a:pt x="2452393" y="1985679"/>
                    </a:lnTo>
                    <a:lnTo>
                      <a:pt x="2481002" y="1991589"/>
                    </a:lnTo>
                    <a:lnTo>
                      <a:pt x="2522141" y="1995170"/>
                    </a:lnTo>
                    <a:lnTo>
                      <a:pt x="2543569" y="1997029"/>
                    </a:lnTo>
                    <a:lnTo>
                      <a:pt x="2565000" y="1998889"/>
                    </a:lnTo>
                    <a:lnTo>
                      <a:pt x="2586125" y="2003875"/>
                    </a:lnTo>
                    <a:lnTo>
                      <a:pt x="2602065" y="2018786"/>
                    </a:lnTo>
                    <a:lnTo>
                      <a:pt x="2602657" y="2104566"/>
                    </a:lnTo>
                    <a:lnTo>
                      <a:pt x="2583526" y="2224903"/>
                    </a:lnTo>
                    <a:lnTo>
                      <a:pt x="2559891" y="2307148"/>
                    </a:lnTo>
                    <a:lnTo>
                      <a:pt x="2552499" y="2332743"/>
                    </a:lnTo>
                    <a:lnTo>
                      <a:pt x="2535455" y="2361134"/>
                    </a:lnTo>
                    <a:lnTo>
                      <a:pt x="2529970" y="2386042"/>
                    </a:lnTo>
                    <a:lnTo>
                      <a:pt x="2512077" y="2466381"/>
                    </a:lnTo>
                    <a:lnTo>
                      <a:pt x="2512632" y="2553816"/>
                    </a:lnTo>
                    <a:lnTo>
                      <a:pt x="2483725" y="2632236"/>
                    </a:lnTo>
                    <a:lnTo>
                      <a:pt x="2462728" y="2689197"/>
                    </a:lnTo>
                    <a:lnTo>
                      <a:pt x="2428975" y="2747602"/>
                    </a:lnTo>
                    <a:lnTo>
                      <a:pt x="2418436" y="2807708"/>
                    </a:lnTo>
                    <a:lnTo>
                      <a:pt x="2438900" y="2834337"/>
                    </a:lnTo>
                    <a:lnTo>
                      <a:pt x="2464712" y="2851722"/>
                    </a:lnTo>
                    <a:lnTo>
                      <a:pt x="2487808" y="2870273"/>
                    </a:lnTo>
                    <a:lnTo>
                      <a:pt x="2510889" y="2888825"/>
                    </a:lnTo>
                    <a:lnTo>
                      <a:pt x="2532423" y="2908379"/>
                    </a:lnTo>
                    <a:lnTo>
                      <a:pt x="2548363" y="2941788"/>
                    </a:lnTo>
                    <a:lnTo>
                      <a:pt x="2544115" y="2989714"/>
                    </a:lnTo>
                    <a:lnTo>
                      <a:pt x="2535412" y="3037579"/>
                    </a:lnTo>
                    <a:lnTo>
                      <a:pt x="2526724" y="3085446"/>
                    </a:lnTo>
                    <a:lnTo>
                      <a:pt x="2512498" y="3132837"/>
                    </a:lnTo>
                    <a:lnTo>
                      <a:pt x="2501811" y="3152212"/>
                    </a:lnTo>
                    <a:lnTo>
                      <a:pt x="2471065" y="3187923"/>
                    </a:lnTo>
                    <a:lnTo>
                      <a:pt x="2421279" y="3200844"/>
                    </a:lnTo>
                    <a:lnTo>
                      <a:pt x="2335036" y="3199952"/>
                    </a:lnTo>
                    <a:lnTo>
                      <a:pt x="2230329" y="3188965"/>
                    </a:lnTo>
                    <a:lnTo>
                      <a:pt x="2125985" y="3172241"/>
                    </a:lnTo>
                    <a:lnTo>
                      <a:pt x="2021654" y="3155510"/>
                    </a:lnTo>
                    <a:lnTo>
                      <a:pt x="1918773" y="3133686"/>
                    </a:lnTo>
                    <a:lnTo>
                      <a:pt x="1843063" y="3112392"/>
                    </a:lnTo>
                    <a:lnTo>
                      <a:pt x="1773542" y="3092793"/>
                    </a:lnTo>
                    <a:lnTo>
                      <a:pt x="1709806" y="3047565"/>
                    </a:lnTo>
                    <a:lnTo>
                      <a:pt x="1644486" y="3018534"/>
                    </a:lnTo>
                    <a:lnTo>
                      <a:pt x="1596731" y="2997318"/>
                    </a:lnTo>
                    <a:lnTo>
                      <a:pt x="1544843" y="2980336"/>
                    </a:lnTo>
                    <a:lnTo>
                      <a:pt x="1490778" y="2969566"/>
                    </a:lnTo>
                    <a:lnTo>
                      <a:pt x="1436719" y="2958804"/>
                    </a:lnTo>
                    <a:lnTo>
                      <a:pt x="1381277" y="2954609"/>
                    </a:lnTo>
                    <a:lnTo>
                      <a:pt x="1328912" y="2954609"/>
                    </a:lnTo>
                    <a:lnTo>
                      <a:pt x="1302442" y="2954609"/>
                    </a:lnTo>
                    <a:lnTo>
                      <a:pt x="1263616" y="2973510"/>
                    </a:lnTo>
                    <a:lnTo>
                      <a:pt x="1226902" y="2995411"/>
                    </a:lnTo>
                    <a:lnTo>
                      <a:pt x="1190188" y="3017314"/>
                    </a:lnTo>
                    <a:lnTo>
                      <a:pt x="1155322" y="3042184"/>
                    </a:lnTo>
                    <a:lnTo>
                      <a:pt x="1133051" y="3053902"/>
                    </a:lnTo>
                    <a:lnTo>
                      <a:pt x="1068196" y="3088004"/>
                    </a:lnTo>
                    <a:lnTo>
                      <a:pt x="995533" y="3107420"/>
                    </a:lnTo>
                    <a:lnTo>
                      <a:pt x="931742" y="3145038"/>
                    </a:lnTo>
                    <a:lnTo>
                      <a:pt x="880269" y="3175427"/>
                    </a:lnTo>
                    <a:lnTo>
                      <a:pt x="813402" y="3211685"/>
                    </a:lnTo>
                    <a:lnTo>
                      <a:pt x="767132" y="3228430"/>
                    </a:lnTo>
                    <a:lnTo>
                      <a:pt x="719656" y="3236119"/>
                    </a:lnTo>
                    <a:lnTo>
                      <a:pt x="671935" y="3242965"/>
                    </a:lnTo>
                    <a:lnTo>
                      <a:pt x="624220" y="3249817"/>
                    </a:lnTo>
                    <a:lnTo>
                      <a:pt x="577147" y="3255020"/>
                    </a:lnTo>
                    <a:lnTo>
                      <a:pt x="529115" y="3263370"/>
                    </a:lnTo>
                    <a:lnTo>
                      <a:pt x="494603" y="3269363"/>
                    </a:lnTo>
                    <a:lnTo>
                      <a:pt x="458518" y="3279692"/>
                    </a:lnTo>
                    <a:lnTo>
                      <a:pt x="424381" y="3287857"/>
                    </a:lnTo>
                    <a:lnTo>
                      <a:pt x="401861" y="3293212"/>
                    </a:lnTo>
                    <a:lnTo>
                      <a:pt x="374734" y="3292657"/>
                    </a:lnTo>
                    <a:lnTo>
                      <a:pt x="350928" y="3298738"/>
                    </a:lnTo>
                    <a:lnTo>
                      <a:pt x="250019" y="3324411"/>
                    </a:lnTo>
                    <a:lnTo>
                      <a:pt x="128882" y="3380138"/>
                    </a:lnTo>
                    <a:lnTo>
                      <a:pt x="27205" y="3415713"/>
                    </a:lnTo>
                    <a:lnTo>
                      <a:pt x="0" y="3429318"/>
                    </a:lnTo>
                    <a:close/>
                  </a:path>
                </a:pathLst>
              </a:custGeom>
              <a:grpFill/>
              <a:ln w="127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rtl="0"/>
                <a:endParaRPr lang="en" sz="800"/>
              </a:p>
            </p:txBody>
          </p:sp>
        </p:grpSp>
        <p:sp>
          <p:nvSpPr>
            <p:cNvPr id="500" name="Kiev¬0" descr="Kiev¬0">
              <a:extLst>
                <a:ext uri="{FF2B5EF4-FFF2-40B4-BE49-F238E27FC236}">
                  <a16:creationId xmlns:a16="http://schemas.microsoft.com/office/drawing/2014/main" id="{7224B4D5-694C-4D48-B32B-1FD6B9B09FE5}"/>
                </a:ext>
              </a:extLst>
            </p:cNvPr>
            <p:cNvSpPr/>
            <p:nvPr/>
          </p:nvSpPr>
          <p:spPr>
            <a:xfrm>
              <a:off x="3321239" y="1578428"/>
              <a:ext cx="980911" cy="1059502"/>
            </a:xfrm>
            <a:custGeom>
              <a:avLst/>
              <a:gdLst/>
              <a:ahLst/>
              <a:cxnLst/>
              <a:rect l="0" t="0" r="0" b="0"/>
              <a:pathLst>
                <a:path w="10009659" h="12272988">
                  <a:moveTo>
                    <a:pt x="9957981" y="6141983"/>
                  </a:moveTo>
                  <a:lnTo>
                    <a:pt x="9907655" y="6065811"/>
                  </a:lnTo>
                  <a:lnTo>
                    <a:pt x="9805637" y="5913470"/>
                  </a:lnTo>
                  <a:lnTo>
                    <a:pt x="9832711" y="5864291"/>
                  </a:lnTo>
                  <a:lnTo>
                    <a:pt x="9866073" y="5830367"/>
                  </a:lnTo>
                  <a:lnTo>
                    <a:pt x="9899485" y="5811453"/>
                  </a:lnTo>
                  <a:lnTo>
                    <a:pt x="9906117" y="5779870"/>
                  </a:lnTo>
                  <a:lnTo>
                    <a:pt x="9888286" y="5756656"/>
                  </a:lnTo>
                  <a:lnTo>
                    <a:pt x="9860040" y="5747522"/>
                  </a:lnTo>
                  <a:lnTo>
                    <a:pt x="9831260" y="5747192"/>
                  </a:lnTo>
                  <a:lnTo>
                    <a:pt x="9787015" y="5756405"/>
                  </a:lnTo>
                  <a:lnTo>
                    <a:pt x="9757389" y="5767603"/>
                  </a:lnTo>
                  <a:lnTo>
                    <a:pt x="9732184" y="5763851"/>
                  </a:lnTo>
                  <a:lnTo>
                    <a:pt x="9698729" y="5758865"/>
                  </a:lnTo>
                  <a:lnTo>
                    <a:pt x="9678925" y="5745577"/>
                  </a:lnTo>
                  <a:lnTo>
                    <a:pt x="9662811" y="5727124"/>
                  </a:lnTo>
                  <a:lnTo>
                    <a:pt x="9646695" y="5708671"/>
                  </a:lnTo>
                  <a:lnTo>
                    <a:pt x="9634481" y="5685121"/>
                  </a:lnTo>
                  <a:lnTo>
                    <a:pt x="9616563" y="5663193"/>
                  </a:lnTo>
                  <a:lnTo>
                    <a:pt x="9608991" y="5628510"/>
                  </a:lnTo>
                  <a:lnTo>
                    <a:pt x="9630637" y="5560497"/>
                  </a:lnTo>
                  <a:lnTo>
                    <a:pt x="9617921" y="5540778"/>
                  </a:lnTo>
                  <a:lnTo>
                    <a:pt x="9603767" y="5518758"/>
                  </a:lnTo>
                  <a:lnTo>
                    <a:pt x="9571118" y="5499870"/>
                  </a:lnTo>
                  <a:lnTo>
                    <a:pt x="9540391" y="5482288"/>
                  </a:lnTo>
                  <a:lnTo>
                    <a:pt x="9509664" y="5464706"/>
                  </a:lnTo>
                  <a:lnTo>
                    <a:pt x="9480351" y="5449089"/>
                  </a:lnTo>
                  <a:lnTo>
                    <a:pt x="9472838" y="5410041"/>
                  </a:lnTo>
                  <a:lnTo>
                    <a:pt x="9489972" y="5370841"/>
                  </a:lnTo>
                  <a:lnTo>
                    <a:pt x="9510464" y="5336745"/>
                  </a:lnTo>
                  <a:lnTo>
                    <a:pt x="9530962" y="5302656"/>
                  </a:lnTo>
                  <a:lnTo>
                    <a:pt x="9555184" y="5272669"/>
                  </a:lnTo>
                  <a:lnTo>
                    <a:pt x="9589551" y="5266318"/>
                  </a:lnTo>
                  <a:lnTo>
                    <a:pt x="9613152" y="5275491"/>
                  </a:lnTo>
                  <a:lnTo>
                    <a:pt x="9635610" y="5279620"/>
                  </a:lnTo>
                  <a:lnTo>
                    <a:pt x="9657357" y="5283082"/>
                  </a:lnTo>
                  <a:lnTo>
                    <a:pt x="9685663" y="5273197"/>
                  </a:lnTo>
                  <a:lnTo>
                    <a:pt x="9698518" y="5250912"/>
                  </a:lnTo>
                  <a:lnTo>
                    <a:pt x="9698174" y="5222488"/>
                  </a:lnTo>
                  <a:lnTo>
                    <a:pt x="9700087" y="5193860"/>
                  </a:lnTo>
                  <a:lnTo>
                    <a:pt x="9732178" y="5183044"/>
                  </a:lnTo>
                  <a:lnTo>
                    <a:pt x="9750880" y="5150505"/>
                  </a:lnTo>
                  <a:lnTo>
                    <a:pt x="9743104" y="5126776"/>
                  </a:lnTo>
                  <a:lnTo>
                    <a:pt x="9732178" y="5104149"/>
                  </a:lnTo>
                  <a:lnTo>
                    <a:pt x="9721251" y="5081523"/>
                  </a:lnTo>
                  <a:lnTo>
                    <a:pt x="9707850" y="5059555"/>
                  </a:lnTo>
                  <a:lnTo>
                    <a:pt x="9698174" y="5040225"/>
                  </a:lnTo>
                  <a:lnTo>
                    <a:pt x="9639941" y="5026745"/>
                  </a:lnTo>
                  <a:lnTo>
                    <a:pt x="9586642" y="5027979"/>
                  </a:lnTo>
                  <a:lnTo>
                    <a:pt x="9533334" y="5029212"/>
                  </a:lnTo>
                  <a:lnTo>
                    <a:pt x="9474488" y="5031737"/>
                  </a:lnTo>
                  <a:lnTo>
                    <a:pt x="9445175" y="5021179"/>
                  </a:lnTo>
                  <a:lnTo>
                    <a:pt x="9409112" y="5008187"/>
                  </a:lnTo>
                  <a:lnTo>
                    <a:pt x="9387554" y="4986153"/>
                  </a:lnTo>
                  <a:lnTo>
                    <a:pt x="9370361" y="4959972"/>
                  </a:lnTo>
                  <a:lnTo>
                    <a:pt x="9353174" y="4933790"/>
                  </a:lnTo>
                  <a:lnTo>
                    <a:pt x="9340195" y="4903875"/>
                  </a:lnTo>
                  <a:lnTo>
                    <a:pt x="9321393" y="4875636"/>
                  </a:lnTo>
                  <a:lnTo>
                    <a:pt x="9302619" y="4847430"/>
                  </a:lnTo>
                  <a:lnTo>
                    <a:pt x="9282636" y="4818933"/>
                  </a:lnTo>
                  <a:lnTo>
                    <a:pt x="9262910" y="4791307"/>
                  </a:lnTo>
                  <a:lnTo>
                    <a:pt x="9231545" y="4779944"/>
                  </a:lnTo>
                  <a:lnTo>
                    <a:pt x="9205035" y="4770969"/>
                  </a:lnTo>
                  <a:lnTo>
                    <a:pt x="9182658" y="4757304"/>
                  </a:lnTo>
                  <a:lnTo>
                    <a:pt x="9160287" y="4743632"/>
                  </a:lnTo>
                  <a:lnTo>
                    <a:pt x="9141538" y="4726334"/>
                  </a:lnTo>
                  <a:lnTo>
                    <a:pt x="9124168" y="4697455"/>
                  </a:lnTo>
                  <a:lnTo>
                    <a:pt x="9111757" y="4676813"/>
                  </a:lnTo>
                  <a:lnTo>
                    <a:pt x="9105893" y="4656283"/>
                  </a:lnTo>
                  <a:lnTo>
                    <a:pt x="9088806" y="4637606"/>
                  </a:lnTo>
                  <a:lnTo>
                    <a:pt x="9068296" y="4628400"/>
                  </a:lnTo>
                  <a:lnTo>
                    <a:pt x="9018668" y="4631176"/>
                  </a:lnTo>
                  <a:lnTo>
                    <a:pt x="8970466" y="4640323"/>
                  </a:lnTo>
                  <a:lnTo>
                    <a:pt x="8922271" y="4649471"/>
                  </a:lnTo>
                  <a:lnTo>
                    <a:pt x="8875520" y="4664870"/>
                  </a:lnTo>
                  <a:lnTo>
                    <a:pt x="8846734" y="4709965"/>
                  </a:lnTo>
                  <a:lnTo>
                    <a:pt x="8867620" y="4756064"/>
                  </a:lnTo>
                  <a:lnTo>
                    <a:pt x="8850768" y="4776344"/>
                  </a:lnTo>
                  <a:lnTo>
                    <a:pt x="8823563" y="4795383"/>
                  </a:lnTo>
                  <a:lnTo>
                    <a:pt x="8811325" y="4816743"/>
                  </a:lnTo>
                  <a:lnTo>
                    <a:pt x="8818382" y="4845669"/>
                  </a:lnTo>
                  <a:lnTo>
                    <a:pt x="8829005" y="4866113"/>
                  </a:lnTo>
                  <a:lnTo>
                    <a:pt x="8806371" y="4896846"/>
                  </a:lnTo>
                  <a:lnTo>
                    <a:pt x="8782202" y="4905603"/>
                  </a:lnTo>
                  <a:lnTo>
                    <a:pt x="8761000" y="4910998"/>
                  </a:lnTo>
                  <a:lnTo>
                    <a:pt x="8754681" y="4935993"/>
                  </a:lnTo>
                  <a:lnTo>
                    <a:pt x="8720103" y="4989636"/>
                  </a:lnTo>
                  <a:lnTo>
                    <a:pt x="8699785" y="5006216"/>
                  </a:lnTo>
                  <a:lnTo>
                    <a:pt x="8674493" y="5017763"/>
                  </a:lnTo>
                  <a:lnTo>
                    <a:pt x="8637720" y="5013225"/>
                  </a:lnTo>
                  <a:lnTo>
                    <a:pt x="8597776" y="5007574"/>
                  </a:lnTo>
                  <a:lnTo>
                    <a:pt x="8557825" y="5001922"/>
                  </a:lnTo>
                  <a:lnTo>
                    <a:pt x="8514317" y="4995360"/>
                  </a:lnTo>
                  <a:lnTo>
                    <a:pt x="8479429" y="5003498"/>
                  </a:lnTo>
                  <a:lnTo>
                    <a:pt x="8457648" y="5008576"/>
                  </a:lnTo>
                  <a:lnTo>
                    <a:pt x="8444337" y="5025076"/>
                  </a:lnTo>
                  <a:lnTo>
                    <a:pt x="8431829" y="5042942"/>
                  </a:lnTo>
                  <a:lnTo>
                    <a:pt x="8419318" y="5060808"/>
                  </a:lnTo>
                  <a:lnTo>
                    <a:pt x="8408153" y="5079511"/>
                  </a:lnTo>
                  <a:lnTo>
                    <a:pt x="8370041" y="5106194"/>
                  </a:lnTo>
                  <a:lnTo>
                    <a:pt x="8338635" y="5092338"/>
                  </a:lnTo>
                  <a:lnTo>
                    <a:pt x="8313489" y="5102791"/>
                  </a:lnTo>
                  <a:lnTo>
                    <a:pt x="8286688" y="5124257"/>
                  </a:lnTo>
                  <a:lnTo>
                    <a:pt x="8263105" y="5157687"/>
                  </a:lnTo>
                  <a:lnTo>
                    <a:pt x="8244117" y="5185761"/>
                  </a:lnTo>
                  <a:lnTo>
                    <a:pt x="8226384" y="5196953"/>
                  </a:lnTo>
                  <a:lnTo>
                    <a:pt x="8189717" y="5191202"/>
                  </a:lnTo>
                  <a:lnTo>
                    <a:pt x="8153583" y="5182207"/>
                  </a:lnTo>
                  <a:lnTo>
                    <a:pt x="8115067" y="5193399"/>
                  </a:lnTo>
                  <a:lnTo>
                    <a:pt x="8098364" y="5228529"/>
                  </a:lnTo>
                  <a:lnTo>
                    <a:pt x="8065935" y="5238818"/>
                  </a:lnTo>
                  <a:lnTo>
                    <a:pt x="8035072" y="5233588"/>
                  </a:lnTo>
                  <a:lnTo>
                    <a:pt x="8001068" y="5229769"/>
                  </a:lnTo>
                  <a:lnTo>
                    <a:pt x="7970719" y="5222495"/>
                  </a:lnTo>
                  <a:lnTo>
                    <a:pt x="7916639" y="5204762"/>
                  </a:lnTo>
                  <a:lnTo>
                    <a:pt x="7875506" y="5195291"/>
                  </a:lnTo>
                  <a:lnTo>
                    <a:pt x="7854937" y="5190556"/>
                  </a:lnTo>
                  <a:lnTo>
                    <a:pt x="7833828" y="5187707"/>
                  </a:lnTo>
                  <a:lnTo>
                    <a:pt x="7800209" y="5186533"/>
                  </a:lnTo>
                  <a:lnTo>
                    <a:pt x="7781655" y="5196650"/>
                  </a:lnTo>
                  <a:lnTo>
                    <a:pt x="7759371" y="5224388"/>
                  </a:lnTo>
                  <a:lnTo>
                    <a:pt x="7737168" y="5253412"/>
                  </a:lnTo>
                  <a:lnTo>
                    <a:pt x="7710924" y="5272821"/>
                  </a:lnTo>
                  <a:lnTo>
                    <a:pt x="7683372" y="5290179"/>
                  </a:lnTo>
                  <a:lnTo>
                    <a:pt x="7651412" y="5296272"/>
                  </a:lnTo>
                  <a:lnTo>
                    <a:pt x="7614344" y="5287784"/>
                  </a:lnTo>
                  <a:lnTo>
                    <a:pt x="7576390" y="5268785"/>
                  </a:lnTo>
                  <a:lnTo>
                    <a:pt x="7522325" y="5249462"/>
                  </a:lnTo>
                  <a:lnTo>
                    <a:pt x="7484898" y="5241218"/>
                  </a:lnTo>
                  <a:lnTo>
                    <a:pt x="7449762" y="5229294"/>
                  </a:lnTo>
                  <a:lnTo>
                    <a:pt x="7409380" y="5215583"/>
                  </a:lnTo>
                  <a:lnTo>
                    <a:pt x="7371618" y="5197415"/>
                  </a:lnTo>
                  <a:lnTo>
                    <a:pt x="7330064" y="5185768"/>
                  </a:lnTo>
                  <a:lnTo>
                    <a:pt x="7305709" y="5214904"/>
                  </a:lnTo>
                  <a:lnTo>
                    <a:pt x="7265525" y="5243988"/>
                  </a:lnTo>
                  <a:lnTo>
                    <a:pt x="7245511" y="5250708"/>
                  </a:lnTo>
                  <a:lnTo>
                    <a:pt x="7213314" y="5248690"/>
                  </a:lnTo>
                  <a:lnTo>
                    <a:pt x="7191325" y="5229294"/>
                  </a:lnTo>
                  <a:lnTo>
                    <a:pt x="7172498" y="5205058"/>
                  </a:lnTo>
                  <a:lnTo>
                    <a:pt x="7153023" y="5185524"/>
                  </a:lnTo>
                  <a:lnTo>
                    <a:pt x="7127394" y="5181686"/>
                  </a:lnTo>
                  <a:lnTo>
                    <a:pt x="7085676" y="5200943"/>
                  </a:lnTo>
                  <a:lnTo>
                    <a:pt x="7055352" y="5187944"/>
                  </a:lnTo>
                  <a:lnTo>
                    <a:pt x="7037170" y="5173535"/>
                  </a:lnTo>
                  <a:lnTo>
                    <a:pt x="7021304" y="5157206"/>
                  </a:lnTo>
                  <a:lnTo>
                    <a:pt x="7005429" y="5140870"/>
                  </a:lnTo>
                  <a:lnTo>
                    <a:pt x="6992608" y="5121890"/>
                  </a:lnTo>
                  <a:lnTo>
                    <a:pt x="6991653" y="5085644"/>
                  </a:lnTo>
                  <a:lnTo>
                    <a:pt x="7010719" y="4994233"/>
                  </a:lnTo>
                  <a:lnTo>
                    <a:pt x="6998180" y="4976300"/>
                  </a:lnTo>
                  <a:lnTo>
                    <a:pt x="6958862" y="4957571"/>
                  </a:lnTo>
                  <a:lnTo>
                    <a:pt x="6912759" y="4967562"/>
                  </a:lnTo>
                  <a:lnTo>
                    <a:pt x="6890723" y="4984459"/>
                  </a:lnTo>
                  <a:lnTo>
                    <a:pt x="6858186" y="4982289"/>
                  </a:lnTo>
                  <a:lnTo>
                    <a:pt x="6802946" y="4923463"/>
                  </a:lnTo>
                  <a:lnTo>
                    <a:pt x="6754235" y="4872583"/>
                  </a:lnTo>
                  <a:lnTo>
                    <a:pt x="6701656" y="4825317"/>
                  </a:lnTo>
                  <a:lnTo>
                    <a:pt x="6712195" y="4733569"/>
                  </a:lnTo>
                  <a:lnTo>
                    <a:pt x="6737018" y="4715143"/>
                  </a:lnTo>
                  <a:lnTo>
                    <a:pt x="6781697" y="4728577"/>
                  </a:lnTo>
                  <a:lnTo>
                    <a:pt x="6807686" y="4709023"/>
                  </a:lnTo>
                  <a:lnTo>
                    <a:pt x="6818101" y="4689983"/>
                  </a:lnTo>
                  <a:lnTo>
                    <a:pt x="6847606" y="4627009"/>
                  </a:lnTo>
                  <a:lnTo>
                    <a:pt x="6853141" y="4595359"/>
                  </a:lnTo>
                  <a:lnTo>
                    <a:pt x="6849913" y="4562800"/>
                  </a:lnTo>
                  <a:lnTo>
                    <a:pt x="6846698" y="4530248"/>
                  </a:lnTo>
                  <a:lnTo>
                    <a:pt x="6835551" y="4496910"/>
                  </a:lnTo>
                  <a:lnTo>
                    <a:pt x="6822712" y="4447185"/>
                  </a:lnTo>
                  <a:lnTo>
                    <a:pt x="6812567" y="4407913"/>
                  </a:lnTo>
                  <a:lnTo>
                    <a:pt x="6782606" y="4357198"/>
                  </a:lnTo>
                  <a:lnTo>
                    <a:pt x="6751981" y="4330211"/>
                  </a:lnTo>
                  <a:lnTo>
                    <a:pt x="6728773" y="4309721"/>
                  </a:lnTo>
                  <a:lnTo>
                    <a:pt x="6643020" y="4248448"/>
                  </a:lnTo>
                  <a:lnTo>
                    <a:pt x="6628200" y="4225471"/>
                  </a:lnTo>
                  <a:lnTo>
                    <a:pt x="6649160" y="4152934"/>
                  </a:lnTo>
                  <a:lnTo>
                    <a:pt x="6623834" y="4130524"/>
                  </a:lnTo>
                  <a:lnTo>
                    <a:pt x="6602381" y="4128796"/>
                  </a:lnTo>
                  <a:lnTo>
                    <a:pt x="6580599" y="4130261"/>
                  </a:lnTo>
                  <a:lnTo>
                    <a:pt x="6558809" y="4131725"/>
                  </a:lnTo>
                  <a:lnTo>
                    <a:pt x="6536531" y="4135279"/>
                  </a:lnTo>
                  <a:lnTo>
                    <a:pt x="6496803" y="4136163"/>
                  </a:lnTo>
                  <a:lnTo>
                    <a:pt x="6470423" y="4120737"/>
                  </a:lnTo>
                  <a:lnTo>
                    <a:pt x="6458315" y="4086959"/>
                  </a:lnTo>
                  <a:lnTo>
                    <a:pt x="6467707" y="4050007"/>
                  </a:lnTo>
                  <a:lnTo>
                    <a:pt x="6473254" y="4028132"/>
                  </a:lnTo>
                  <a:lnTo>
                    <a:pt x="6500794" y="4001297"/>
                  </a:lnTo>
                  <a:lnTo>
                    <a:pt x="6433697" y="3961596"/>
                  </a:lnTo>
                  <a:lnTo>
                    <a:pt x="6421307" y="3939536"/>
                  </a:lnTo>
                  <a:lnTo>
                    <a:pt x="6424516" y="3917898"/>
                  </a:lnTo>
                  <a:lnTo>
                    <a:pt x="6426897" y="3890865"/>
                  </a:lnTo>
                  <a:lnTo>
                    <a:pt x="6363540" y="3865171"/>
                  </a:lnTo>
                  <a:lnTo>
                    <a:pt x="6319059" y="3880089"/>
                  </a:lnTo>
                  <a:lnTo>
                    <a:pt x="6301060" y="3907775"/>
                  </a:lnTo>
                  <a:lnTo>
                    <a:pt x="6277278" y="3920786"/>
                  </a:lnTo>
                  <a:lnTo>
                    <a:pt x="6254796" y="3933086"/>
                  </a:lnTo>
                  <a:lnTo>
                    <a:pt x="6227396" y="3937366"/>
                  </a:lnTo>
                  <a:lnTo>
                    <a:pt x="6198384" y="3938474"/>
                  </a:lnTo>
                  <a:lnTo>
                    <a:pt x="6169375" y="3939582"/>
                  </a:lnTo>
                  <a:lnTo>
                    <a:pt x="6139426" y="3937069"/>
                  </a:lnTo>
                  <a:lnTo>
                    <a:pt x="6108616" y="3933027"/>
                  </a:lnTo>
                  <a:lnTo>
                    <a:pt x="6046979" y="3924961"/>
                  </a:lnTo>
                  <a:lnTo>
                    <a:pt x="5985823" y="3913110"/>
                  </a:lnTo>
                  <a:lnTo>
                    <a:pt x="5945392" y="3920786"/>
                  </a:lnTo>
                  <a:lnTo>
                    <a:pt x="5918386" y="3925917"/>
                  </a:lnTo>
                  <a:lnTo>
                    <a:pt x="5896682" y="3944482"/>
                  </a:lnTo>
                  <a:lnTo>
                    <a:pt x="5874655" y="3965671"/>
                  </a:lnTo>
                  <a:lnTo>
                    <a:pt x="5852635" y="3986868"/>
                  </a:lnTo>
                  <a:lnTo>
                    <a:pt x="5830568" y="4010550"/>
                  </a:lnTo>
                  <a:lnTo>
                    <a:pt x="5802566" y="4021445"/>
                  </a:lnTo>
                  <a:lnTo>
                    <a:pt x="5784871" y="4007259"/>
                  </a:lnTo>
                  <a:lnTo>
                    <a:pt x="5743454" y="3978209"/>
                  </a:lnTo>
                  <a:lnTo>
                    <a:pt x="5700554" y="3958872"/>
                  </a:lnTo>
                  <a:lnTo>
                    <a:pt x="5679101" y="3949204"/>
                  </a:lnTo>
                  <a:lnTo>
                    <a:pt x="5657074" y="3941910"/>
                  </a:lnTo>
                  <a:lnTo>
                    <a:pt x="5618891" y="3937755"/>
                  </a:lnTo>
                  <a:lnTo>
                    <a:pt x="5591733" y="3952073"/>
                  </a:lnTo>
                  <a:lnTo>
                    <a:pt x="5577067" y="3992698"/>
                  </a:lnTo>
                  <a:lnTo>
                    <a:pt x="5563170" y="4013280"/>
                  </a:lnTo>
                  <a:lnTo>
                    <a:pt x="5549273" y="4033863"/>
                  </a:lnTo>
                  <a:lnTo>
                    <a:pt x="5532208" y="4050423"/>
                  </a:lnTo>
                  <a:lnTo>
                    <a:pt x="5496259" y="4048398"/>
                  </a:lnTo>
                  <a:lnTo>
                    <a:pt x="5473399" y="4029602"/>
                  </a:lnTo>
                  <a:lnTo>
                    <a:pt x="5455930" y="4004548"/>
                  </a:lnTo>
                  <a:lnTo>
                    <a:pt x="5439178" y="3975768"/>
                  </a:lnTo>
                  <a:lnTo>
                    <a:pt x="5418993" y="3947990"/>
                  </a:lnTo>
                  <a:lnTo>
                    <a:pt x="5393128" y="3922699"/>
                  </a:lnTo>
                  <a:lnTo>
                    <a:pt x="5353220" y="3907273"/>
                  </a:lnTo>
                  <a:lnTo>
                    <a:pt x="5316974" y="3911270"/>
                  </a:lnTo>
                  <a:lnTo>
                    <a:pt x="5282530" y="3923787"/>
                  </a:lnTo>
                  <a:lnTo>
                    <a:pt x="5250761" y="3939562"/>
                  </a:lnTo>
                  <a:lnTo>
                    <a:pt x="5220400" y="3950721"/>
                  </a:lnTo>
                  <a:lnTo>
                    <a:pt x="5187385" y="3954164"/>
                  </a:lnTo>
                  <a:lnTo>
                    <a:pt x="5166097" y="3942095"/>
                  </a:lnTo>
                  <a:lnTo>
                    <a:pt x="5153942" y="3921492"/>
                  </a:lnTo>
                  <a:lnTo>
                    <a:pt x="5149980" y="3898179"/>
                  </a:lnTo>
                  <a:lnTo>
                    <a:pt x="5162627" y="3871925"/>
                  </a:lnTo>
                  <a:lnTo>
                    <a:pt x="5178232" y="3845980"/>
                  </a:lnTo>
                  <a:lnTo>
                    <a:pt x="5193841" y="3820043"/>
                  </a:lnTo>
                  <a:lnTo>
                    <a:pt x="5212268" y="3795628"/>
                  </a:lnTo>
                  <a:lnTo>
                    <a:pt x="5232626" y="3758235"/>
                  </a:lnTo>
                  <a:lnTo>
                    <a:pt x="5243059" y="3730873"/>
                  </a:lnTo>
                  <a:lnTo>
                    <a:pt x="5253043" y="3707244"/>
                  </a:lnTo>
                  <a:lnTo>
                    <a:pt x="5276654" y="3651305"/>
                  </a:lnTo>
                  <a:lnTo>
                    <a:pt x="5287754" y="3596792"/>
                  </a:lnTo>
                  <a:lnTo>
                    <a:pt x="5296572" y="3537214"/>
                  </a:lnTo>
                  <a:lnTo>
                    <a:pt x="5310448" y="3480260"/>
                  </a:lnTo>
                  <a:lnTo>
                    <a:pt x="5299078" y="3438218"/>
                  </a:lnTo>
                  <a:lnTo>
                    <a:pt x="5255769" y="3412076"/>
                  </a:lnTo>
                  <a:lnTo>
                    <a:pt x="5218047" y="3385854"/>
                  </a:lnTo>
                  <a:lnTo>
                    <a:pt x="5177063" y="3352293"/>
                  </a:lnTo>
                  <a:lnTo>
                    <a:pt x="5134706" y="3333187"/>
                  </a:lnTo>
                  <a:lnTo>
                    <a:pt x="5102200" y="3318520"/>
                  </a:lnTo>
                  <a:lnTo>
                    <a:pt x="5042786" y="3305040"/>
                  </a:lnTo>
                  <a:lnTo>
                    <a:pt x="4987804" y="3288303"/>
                  </a:lnTo>
                  <a:lnTo>
                    <a:pt x="4960317" y="3279926"/>
                  </a:lnTo>
                  <a:lnTo>
                    <a:pt x="4934808" y="3270331"/>
                  </a:lnTo>
                  <a:lnTo>
                    <a:pt x="4912999" y="3259740"/>
                  </a:lnTo>
                  <a:lnTo>
                    <a:pt x="4891189" y="3249141"/>
                  </a:lnTo>
                  <a:lnTo>
                    <a:pt x="4865389" y="3224372"/>
                  </a:lnTo>
                  <a:lnTo>
                    <a:pt x="4851744" y="3202258"/>
                  </a:lnTo>
                  <a:lnTo>
                    <a:pt x="4849549" y="3172093"/>
                  </a:lnTo>
                  <a:lnTo>
                    <a:pt x="4853148" y="3138677"/>
                  </a:lnTo>
                  <a:lnTo>
                    <a:pt x="4856751" y="3105261"/>
                  </a:lnTo>
                  <a:lnTo>
                    <a:pt x="4865746" y="3068363"/>
                  </a:lnTo>
                  <a:lnTo>
                    <a:pt x="4874911" y="3028503"/>
                  </a:lnTo>
                  <a:lnTo>
                    <a:pt x="4884074" y="2988643"/>
                  </a:lnTo>
                  <a:lnTo>
                    <a:pt x="4893630" y="2946165"/>
                  </a:lnTo>
                  <a:lnTo>
                    <a:pt x="4896674" y="2904723"/>
                  </a:lnTo>
                  <a:lnTo>
                    <a:pt x="4899722" y="2863287"/>
                  </a:lnTo>
                  <a:lnTo>
                    <a:pt x="4896479" y="2823190"/>
                  </a:lnTo>
                  <a:lnTo>
                    <a:pt x="4881711" y="2785026"/>
                  </a:lnTo>
                  <a:lnTo>
                    <a:pt x="4871253" y="2757973"/>
                  </a:lnTo>
                  <a:lnTo>
                    <a:pt x="4857588" y="2739270"/>
                  </a:lnTo>
                  <a:lnTo>
                    <a:pt x="4842268" y="2723818"/>
                  </a:lnTo>
                  <a:lnTo>
                    <a:pt x="4826948" y="2708366"/>
                  </a:lnTo>
                  <a:lnTo>
                    <a:pt x="4809346" y="2695420"/>
                  </a:lnTo>
                  <a:lnTo>
                    <a:pt x="4790579" y="2676210"/>
                  </a:lnTo>
                  <a:lnTo>
                    <a:pt x="4771228" y="2650852"/>
                  </a:lnTo>
                  <a:lnTo>
                    <a:pt x="4747359" y="2628120"/>
                  </a:lnTo>
                  <a:lnTo>
                    <a:pt x="4715764" y="2623160"/>
                  </a:lnTo>
                  <a:lnTo>
                    <a:pt x="4684160" y="2628812"/>
                  </a:lnTo>
                  <a:lnTo>
                    <a:pt x="4651985" y="2649071"/>
                  </a:lnTo>
                  <a:lnTo>
                    <a:pt x="4619197" y="2642206"/>
                  </a:lnTo>
                  <a:lnTo>
                    <a:pt x="4589372" y="2625864"/>
                  </a:lnTo>
                  <a:lnTo>
                    <a:pt x="4567398" y="2595976"/>
                  </a:lnTo>
                  <a:lnTo>
                    <a:pt x="4544383" y="2568759"/>
                  </a:lnTo>
                  <a:lnTo>
                    <a:pt x="4500857" y="2560469"/>
                  </a:lnTo>
                  <a:lnTo>
                    <a:pt x="4445090" y="2635407"/>
                  </a:lnTo>
                  <a:lnTo>
                    <a:pt x="4396162" y="2627097"/>
                  </a:lnTo>
                  <a:lnTo>
                    <a:pt x="4366629" y="2589717"/>
                  </a:lnTo>
                  <a:lnTo>
                    <a:pt x="4358425" y="2529928"/>
                  </a:lnTo>
                  <a:lnTo>
                    <a:pt x="4353954" y="2468107"/>
                  </a:lnTo>
                  <a:lnTo>
                    <a:pt x="4349483" y="2406280"/>
                  </a:lnTo>
                  <a:lnTo>
                    <a:pt x="4349399" y="2342198"/>
                  </a:lnTo>
                  <a:lnTo>
                    <a:pt x="4351238" y="2304884"/>
                  </a:lnTo>
                  <a:lnTo>
                    <a:pt x="4353539" y="2258290"/>
                  </a:lnTo>
                  <a:lnTo>
                    <a:pt x="4353356" y="2209528"/>
                  </a:lnTo>
                  <a:lnTo>
                    <a:pt x="4355312" y="2160699"/>
                  </a:lnTo>
                  <a:lnTo>
                    <a:pt x="4357278" y="2111871"/>
                  </a:lnTo>
                  <a:lnTo>
                    <a:pt x="4361327" y="2063583"/>
                  </a:lnTo>
                  <a:lnTo>
                    <a:pt x="4371637" y="2017880"/>
                  </a:lnTo>
                  <a:lnTo>
                    <a:pt x="4392125" y="1927022"/>
                  </a:lnTo>
                  <a:lnTo>
                    <a:pt x="4414983" y="1866079"/>
                  </a:lnTo>
                  <a:lnTo>
                    <a:pt x="4426043" y="1805689"/>
                  </a:lnTo>
                  <a:lnTo>
                    <a:pt x="4431571" y="1775491"/>
                  </a:lnTo>
                  <a:lnTo>
                    <a:pt x="4433642" y="1745312"/>
                  </a:lnTo>
                  <a:lnTo>
                    <a:pt x="4431484" y="1711834"/>
                  </a:lnTo>
                  <a:lnTo>
                    <a:pt x="4429329" y="1678353"/>
                  </a:lnTo>
                  <a:lnTo>
                    <a:pt x="4423116" y="1641609"/>
                  </a:lnTo>
                  <a:lnTo>
                    <a:pt x="4409721" y="1597577"/>
                  </a:lnTo>
                  <a:lnTo>
                    <a:pt x="4399843" y="1560400"/>
                  </a:lnTo>
                  <a:lnTo>
                    <a:pt x="4393400" y="1540448"/>
                  </a:lnTo>
                  <a:lnTo>
                    <a:pt x="4386957" y="1520498"/>
                  </a:lnTo>
                  <a:lnTo>
                    <a:pt x="4367553" y="1488761"/>
                  </a:lnTo>
                  <a:lnTo>
                    <a:pt x="4372877" y="1468337"/>
                  </a:lnTo>
                  <a:lnTo>
                    <a:pt x="4394758" y="1457476"/>
                  </a:lnTo>
                  <a:lnTo>
                    <a:pt x="4421355" y="1456922"/>
                  </a:lnTo>
                  <a:lnTo>
                    <a:pt x="4452497" y="1463474"/>
                  </a:lnTo>
                  <a:lnTo>
                    <a:pt x="4484535" y="1465638"/>
                  </a:lnTo>
                  <a:lnTo>
                    <a:pt x="4514977" y="1457306"/>
                  </a:lnTo>
                  <a:lnTo>
                    <a:pt x="4526703" y="1439794"/>
                  </a:lnTo>
                  <a:lnTo>
                    <a:pt x="4528061" y="1418031"/>
                  </a:lnTo>
                  <a:lnTo>
                    <a:pt x="4515814" y="1397628"/>
                  </a:lnTo>
                  <a:lnTo>
                    <a:pt x="4506292" y="1371784"/>
                  </a:lnTo>
                  <a:lnTo>
                    <a:pt x="4499492" y="1345940"/>
                  </a:lnTo>
                  <a:lnTo>
                    <a:pt x="4498131" y="1324177"/>
                  </a:lnTo>
                  <a:lnTo>
                    <a:pt x="4468679" y="1304917"/>
                  </a:lnTo>
                  <a:lnTo>
                    <a:pt x="4454825" y="1270034"/>
                  </a:lnTo>
                  <a:lnTo>
                    <a:pt x="4428762" y="1260247"/>
                  </a:lnTo>
                  <a:lnTo>
                    <a:pt x="4375546" y="1240313"/>
                  </a:lnTo>
                  <a:lnTo>
                    <a:pt x="4297331" y="1273127"/>
                  </a:lnTo>
                  <a:lnTo>
                    <a:pt x="4253297" y="1235764"/>
                  </a:lnTo>
                  <a:lnTo>
                    <a:pt x="4216490" y="1204501"/>
                  </a:lnTo>
                  <a:lnTo>
                    <a:pt x="4255145" y="1128053"/>
                  </a:lnTo>
                  <a:lnTo>
                    <a:pt x="4183924" y="1092943"/>
                  </a:lnTo>
                  <a:lnTo>
                    <a:pt x="4126247" y="1064507"/>
                  </a:lnTo>
                  <a:lnTo>
                    <a:pt x="4063463" y="1099701"/>
                  </a:lnTo>
                  <a:lnTo>
                    <a:pt x="4005743" y="1084782"/>
                  </a:lnTo>
                  <a:lnTo>
                    <a:pt x="3979602" y="1078023"/>
                  </a:lnTo>
                  <a:lnTo>
                    <a:pt x="3953374" y="1066228"/>
                  </a:lnTo>
                  <a:lnTo>
                    <a:pt x="3930932" y="1050777"/>
                  </a:lnTo>
                  <a:lnTo>
                    <a:pt x="3757590" y="858011"/>
                  </a:lnTo>
                  <a:lnTo>
                    <a:pt x="3746958" y="816610"/>
                  </a:lnTo>
                  <a:lnTo>
                    <a:pt x="3775484" y="805261"/>
                  </a:lnTo>
                  <a:lnTo>
                    <a:pt x="3792187" y="792339"/>
                  </a:lnTo>
                  <a:lnTo>
                    <a:pt x="3796521" y="552370"/>
                  </a:lnTo>
                  <a:lnTo>
                    <a:pt x="3790829" y="524379"/>
                  </a:lnTo>
                  <a:lnTo>
                    <a:pt x="3752388" y="486592"/>
                  </a:lnTo>
                  <a:lnTo>
                    <a:pt x="3666225" y="457114"/>
                  </a:lnTo>
                  <a:lnTo>
                    <a:pt x="3616731" y="433247"/>
                  </a:lnTo>
                  <a:lnTo>
                    <a:pt x="3569946" y="410697"/>
                  </a:lnTo>
                  <a:lnTo>
                    <a:pt x="3497923" y="348404"/>
                  </a:lnTo>
                  <a:lnTo>
                    <a:pt x="3463022" y="306749"/>
                  </a:lnTo>
                  <a:lnTo>
                    <a:pt x="3438267" y="281946"/>
                  </a:lnTo>
                  <a:lnTo>
                    <a:pt x="3404920" y="229132"/>
                  </a:lnTo>
                  <a:lnTo>
                    <a:pt x="3380389" y="182779"/>
                  </a:lnTo>
                  <a:lnTo>
                    <a:pt x="3348766" y="150325"/>
                  </a:lnTo>
                  <a:lnTo>
                    <a:pt x="3273657" y="73241"/>
                  </a:lnTo>
                  <a:lnTo>
                    <a:pt x="3154216" y="52795"/>
                  </a:lnTo>
                  <a:lnTo>
                    <a:pt x="3050880" y="63273"/>
                  </a:lnTo>
                  <a:lnTo>
                    <a:pt x="2995668" y="68862"/>
                  </a:lnTo>
                  <a:lnTo>
                    <a:pt x="2940264" y="82252"/>
                  </a:lnTo>
                  <a:lnTo>
                    <a:pt x="2884940" y="83676"/>
                  </a:lnTo>
                  <a:lnTo>
                    <a:pt x="2782503" y="86331"/>
                  </a:lnTo>
                  <a:lnTo>
                    <a:pt x="2675684" y="67013"/>
                  </a:lnTo>
                  <a:lnTo>
                    <a:pt x="2572097" y="90476"/>
                  </a:lnTo>
                  <a:lnTo>
                    <a:pt x="2450631" y="98064"/>
                  </a:lnTo>
                  <a:lnTo>
                    <a:pt x="2413589" y="171557"/>
                  </a:lnTo>
                  <a:lnTo>
                    <a:pt x="2339503" y="250980"/>
                  </a:lnTo>
                  <a:lnTo>
                    <a:pt x="2280121" y="235359"/>
                  </a:lnTo>
                  <a:lnTo>
                    <a:pt x="2302135" y="196083"/>
                  </a:lnTo>
                  <a:lnTo>
                    <a:pt x="2261967" y="169368"/>
                  </a:lnTo>
                  <a:lnTo>
                    <a:pt x="2154984" y="168689"/>
                  </a:lnTo>
                  <a:lnTo>
                    <a:pt x="2145013" y="318437"/>
                  </a:lnTo>
                  <a:lnTo>
                    <a:pt x="2086502" y="348914"/>
                  </a:lnTo>
                  <a:lnTo>
                    <a:pt x="2025907" y="380454"/>
                  </a:lnTo>
                  <a:lnTo>
                    <a:pt x="2014968" y="329192"/>
                  </a:lnTo>
                  <a:lnTo>
                    <a:pt x="1943683" y="323070"/>
                  </a:lnTo>
                  <a:lnTo>
                    <a:pt x="1921814" y="321198"/>
                  </a:lnTo>
                  <a:lnTo>
                    <a:pt x="1896120" y="318204"/>
                  </a:lnTo>
                  <a:lnTo>
                    <a:pt x="1874310" y="320350"/>
                  </a:lnTo>
                  <a:lnTo>
                    <a:pt x="1789810" y="328703"/>
                  </a:lnTo>
                  <a:lnTo>
                    <a:pt x="1692746" y="372463"/>
                  </a:lnTo>
                  <a:lnTo>
                    <a:pt x="1651238" y="261862"/>
                  </a:lnTo>
                  <a:lnTo>
                    <a:pt x="1640020" y="231980"/>
                  </a:lnTo>
                  <a:lnTo>
                    <a:pt x="1642994" y="198102"/>
                  </a:lnTo>
                  <a:lnTo>
                    <a:pt x="1632198" y="169368"/>
                  </a:lnTo>
                  <a:lnTo>
                    <a:pt x="1583673" y="61572"/>
                  </a:lnTo>
                  <a:lnTo>
                    <a:pt x="1528117" y="0"/>
                  </a:lnTo>
                  <a:lnTo>
                    <a:pt x="1407061" y="37577"/>
                  </a:lnTo>
                  <a:lnTo>
                    <a:pt x="1341112" y="53754"/>
                  </a:lnTo>
                  <a:lnTo>
                    <a:pt x="1320716" y="58748"/>
                  </a:lnTo>
                  <a:lnTo>
                    <a:pt x="1260630" y="67887"/>
                  </a:lnTo>
                  <a:lnTo>
                    <a:pt x="1232278" y="87823"/>
                  </a:lnTo>
                  <a:lnTo>
                    <a:pt x="1208831" y="120339"/>
                  </a:lnTo>
                  <a:lnTo>
                    <a:pt x="1180613" y="174535"/>
                  </a:lnTo>
                  <a:lnTo>
                    <a:pt x="1187260" y="247220"/>
                  </a:lnTo>
                  <a:lnTo>
                    <a:pt x="1150686" y="272745"/>
                  </a:lnTo>
                  <a:lnTo>
                    <a:pt x="1071730" y="327812"/>
                  </a:lnTo>
                  <a:lnTo>
                    <a:pt x="961386" y="220548"/>
                  </a:lnTo>
                  <a:lnTo>
                    <a:pt x="903132" y="270025"/>
                  </a:lnTo>
                  <a:lnTo>
                    <a:pt x="885828" y="289387"/>
                  </a:lnTo>
                  <a:lnTo>
                    <a:pt x="869512" y="328152"/>
                  </a:lnTo>
                  <a:lnTo>
                    <a:pt x="870337" y="359564"/>
                  </a:lnTo>
                  <a:lnTo>
                    <a:pt x="862322" y="388362"/>
                  </a:lnTo>
                  <a:lnTo>
                    <a:pt x="850723" y="429912"/>
                  </a:lnTo>
                  <a:lnTo>
                    <a:pt x="798565" y="589034"/>
                  </a:lnTo>
                  <a:lnTo>
                    <a:pt x="760313" y="603274"/>
                  </a:lnTo>
                  <a:lnTo>
                    <a:pt x="708747" y="622465"/>
                  </a:lnTo>
                  <a:lnTo>
                    <a:pt x="633981" y="529484"/>
                  </a:lnTo>
                  <a:lnTo>
                    <a:pt x="546757" y="532543"/>
                  </a:lnTo>
                  <a:lnTo>
                    <a:pt x="383058" y="538288"/>
                  </a:lnTo>
                  <a:lnTo>
                    <a:pt x="357621" y="644544"/>
                  </a:lnTo>
                  <a:lnTo>
                    <a:pt x="301921" y="679445"/>
                  </a:lnTo>
                  <a:lnTo>
                    <a:pt x="316213" y="703213"/>
                  </a:lnTo>
                  <a:lnTo>
                    <a:pt x="339314" y="746707"/>
                  </a:lnTo>
                  <a:lnTo>
                    <a:pt x="365852" y="754256"/>
                  </a:lnTo>
                  <a:lnTo>
                    <a:pt x="400429" y="731833"/>
                  </a:lnTo>
                  <a:lnTo>
                    <a:pt x="422977" y="718890"/>
                  </a:lnTo>
                  <a:lnTo>
                    <a:pt x="439715" y="732896"/>
                  </a:lnTo>
                  <a:lnTo>
                    <a:pt x="445214" y="767324"/>
                  </a:lnTo>
                  <a:lnTo>
                    <a:pt x="444746" y="803223"/>
                  </a:lnTo>
                  <a:lnTo>
                    <a:pt x="444278" y="839123"/>
                  </a:lnTo>
                  <a:lnTo>
                    <a:pt x="438449" y="875409"/>
                  </a:lnTo>
                  <a:lnTo>
                    <a:pt x="432460" y="931889"/>
                  </a:lnTo>
                  <a:lnTo>
                    <a:pt x="438218" y="965958"/>
                  </a:lnTo>
                  <a:lnTo>
                    <a:pt x="439300" y="1004533"/>
                  </a:lnTo>
                  <a:lnTo>
                    <a:pt x="440123" y="1033543"/>
                  </a:lnTo>
                  <a:lnTo>
                    <a:pt x="422535" y="1075202"/>
                  </a:lnTo>
                  <a:lnTo>
                    <a:pt x="410737" y="1099746"/>
                  </a:lnTo>
                  <a:lnTo>
                    <a:pt x="382813" y="1157813"/>
                  </a:lnTo>
                  <a:lnTo>
                    <a:pt x="358874" y="1193722"/>
                  </a:lnTo>
                  <a:lnTo>
                    <a:pt x="329125" y="1223524"/>
                  </a:lnTo>
                  <a:lnTo>
                    <a:pt x="299369" y="1253327"/>
                  </a:lnTo>
                  <a:lnTo>
                    <a:pt x="263077" y="1277780"/>
                  </a:lnTo>
                  <a:lnTo>
                    <a:pt x="210787" y="1314658"/>
                  </a:lnTo>
                  <a:lnTo>
                    <a:pt x="177066" y="1338438"/>
                  </a:lnTo>
                  <a:lnTo>
                    <a:pt x="148305" y="1355660"/>
                  </a:lnTo>
                  <a:lnTo>
                    <a:pt x="116934" y="1366346"/>
                  </a:lnTo>
                  <a:lnTo>
                    <a:pt x="85562" y="1377030"/>
                  </a:lnTo>
                  <a:lnTo>
                    <a:pt x="51434" y="1381052"/>
                  </a:lnTo>
                  <a:lnTo>
                    <a:pt x="9477" y="1375867"/>
                  </a:lnTo>
                  <a:lnTo>
                    <a:pt x="0" y="1411821"/>
                  </a:lnTo>
                  <a:lnTo>
                    <a:pt x="33858" y="1475643"/>
                  </a:lnTo>
                  <a:lnTo>
                    <a:pt x="40763" y="1509160"/>
                  </a:lnTo>
                  <a:lnTo>
                    <a:pt x="54289" y="1553005"/>
                  </a:lnTo>
                  <a:lnTo>
                    <a:pt x="75748" y="1600081"/>
                  </a:lnTo>
                  <a:lnTo>
                    <a:pt x="81571" y="1637019"/>
                  </a:lnTo>
                  <a:lnTo>
                    <a:pt x="88695" y="1682097"/>
                  </a:lnTo>
                  <a:lnTo>
                    <a:pt x="90007" y="1731443"/>
                  </a:lnTo>
                  <a:lnTo>
                    <a:pt x="93819" y="1777120"/>
                  </a:lnTo>
                  <a:lnTo>
                    <a:pt x="96628" y="1810839"/>
                  </a:lnTo>
                  <a:lnTo>
                    <a:pt x="105730" y="1862787"/>
                  </a:lnTo>
                  <a:lnTo>
                    <a:pt x="118299" y="1914498"/>
                  </a:lnTo>
                  <a:lnTo>
                    <a:pt x="130869" y="1966209"/>
                  </a:lnTo>
                  <a:lnTo>
                    <a:pt x="146209" y="2018137"/>
                  </a:lnTo>
                  <a:lnTo>
                    <a:pt x="163183" y="2049160"/>
                  </a:lnTo>
                  <a:lnTo>
                    <a:pt x="253324" y="1914841"/>
                  </a:lnTo>
                  <a:lnTo>
                    <a:pt x="265200" y="1895459"/>
                  </a:lnTo>
                  <a:lnTo>
                    <a:pt x="320737" y="1897338"/>
                  </a:lnTo>
                  <a:lnTo>
                    <a:pt x="380525" y="1931724"/>
                  </a:lnTo>
                  <a:lnTo>
                    <a:pt x="433865" y="1972988"/>
                  </a:lnTo>
                  <a:lnTo>
                    <a:pt x="460534" y="1993617"/>
                  </a:lnTo>
                  <a:lnTo>
                    <a:pt x="485939" y="2016020"/>
                  </a:lnTo>
                  <a:lnTo>
                    <a:pt x="505955" y="2038278"/>
                  </a:lnTo>
                  <a:lnTo>
                    <a:pt x="525977" y="2060536"/>
                  </a:lnTo>
                  <a:lnTo>
                    <a:pt x="540188" y="2082444"/>
                  </a:lnTo>
                  <a:lnTo>
                    <a:pt x="560322" y="2121545"/>
                  </a:lnTo>
                  <a:lnTo>
                    <a:pt x="563785" y="2151704"/>
                  </a:lnTo>
                  <a:lnTo>
                    <a:pt x="567162" y="2174298"/>
                  </a:lnTo>
                  <a:lnTo>
                    <a:pt x="622005" y="2196312"/>
                  </a:lnTo>
                  <a:lnTo>
                    <a:pt x="667615" y="2206586"/>
                  </a:lnTo>
                  <a:lnTo>
                    <a:pt x="704546" y="2225982"/>
                  </a:lnTo>
                  <a:lnTo>
                    <a:pt x="738834" y="2248484"/>
                  </a:lnTo>
                  <a:lnTo>
                    <a:pt x="765477" y="2279658"/>
                  </a:lnTo>
                  <a:lnTo>
                    <a:pt x="775258" y="2298539"/>
                  </a:lnTo>
                  <a:lnTo>
                    <a:pt x="780718" y="2322558"/>
                  </a:lnTo>
                  <a:lnTo>
                    <a:pt x="787517" y="2352485"/>
                  </a:lnTo>
                  <a:lnTo>
                    <a:pt x="786159" y="2382407"/>
                  </a:lnTo>
                  <a:lnTo>
                    <a:pt x="776634" y="2404117"/>
                  </a:lnTo>
                  <a:lnTo>
                    <a:pt x="760392" y="2423374"/>
                  </a:lnTo>
                  <a:lnTo>
                    <a:pt x="743998" y="2442255"/>
                  </a:lnTo>
                  <a:lnTo>
                    <a:pt x="727596" y="2461137"/>
                  </a:lnTo>
                  <a:lnTo>
                    <a:pt x="711009" y="2479595"/>
                  </a:lnTo>
                  <a:lnTo>
                    <a:pt x="700464" y="2502104"/>
                  </a:lnTo>
                  <a:lnTo>
                    <a:pt x="689846" y="2546910"/>
                  </a:lnTo>
                  <a:lnTo>
                    <a:pt x="688224" y="2578275"/>
                  </a:lnTo>
                  <a:lnTo>
                    <a:pt x="686601" y="2609647"/>
                  </a:lnTo>
                  <a:lnTo>
                    <a:pt x="687379" y="2641579"/>
                  </a:lnTo>
                  <a:lnTo>
                    <a:pt x="691818" y="2672958"/>
                  </a:lnTo>
                  <a:lnTo>
                    <a:pt x="700431" y="2708834"/>
                  </a:lnTo>
                  <a:lnTo>
                    <a:pt x="705905" y="2744223"/>
                  </a:lnTo>
                  <a:lnTo>
                    <a:pt x="711379" y="2779604"/>
                  </a:lnTo>
                  <a:lnTo>
                    <a:pt x="714075" y="2814973"/>
                  </a:lnTo>
                  <a:lnTo>
                    <a:pt x="682677" y="2835074"/>
                  </a:lnTo>
                  <a:lnTo>
                    <a:pt x="664074" y="2819741"/>
                  </a:lnTo>
                  <a:lnTo>
                    <a:pt x="647422" y="2802707"/>
                  </a:lnTo>
                  <a:lnTo>
                    <a:pt x="630763" y="2785678"/>
                  </a:lnTo>
                  <a:lnTo>
                    <a:pt x="615086" y="2766012"/>
                  </a:lnTo>
                  <a:lnTo>
                    <a:pt x="547937" y="2754927"/>
                  </a:lnTo>
                  <a:lnTo>
                    <a:pt x="490106" y="2756206"/>
                  </a:lnTo>
                  <a:lnTo>
                    <a:pt x="439306" y="2760539"/>
                  </a:lnTo>
                  <a:lnTo>
                    <a:pt x="437440" y="2822663"/>
                  </a:lnTo>
                  <a:lnTo>
                    <a:pt x="430449" y="2881898"/>
                  </a:lnTo>
                  <a:lnTo>
                    <a:pt x="437948" y="2918321"/>
                  </a:lnTo>
                  <a:lnTo>
                    <a:pt x="471845" y="2922991"/>
                  </a:lnTo>
                  <a:lnTo>
                    <a:pt x="507431" y="2916370"/>
                  </a:lnTo>
                  <a:lnTo>
                    <a:pt x="539964" y="2927845"/>
                  </a:lnTo>
                  <a:lnTo>
                    <a:pt x="562004" y="2969182"/>
                  </a:lnTo>
                  <a:lnTo>
                    <a:pt x="591675" y="3004735"/>
                  </a:lnTo>
                  <a:lnTo>
                    <a:pt x="617494" y="3043460"/>
                  </a:lnTo>
                  <a:lnTo>
                    <a:pt x="663869" y="3112957"/>
                  </a:lnTo>
                  <a:lnTo>
                    <a:pt x="704144" y="3184578"/>
                  </a:lnTo>
                  <a:lnTo>
                    <a:pt x="756237" y="3250210"/>
                  </a:lnTo>
                  <a:lnTo>
                    <a:pt x="784439" y="3285704"/>
                  </a:lnTo>
                  <a:lnTo>
                    <a:pt x="822266" y="3311866"/>
                  </a:lnTo>
                  <a:lnTo>
                    <a:pt x="847365" y="3349503"/>
                  </a:lnTo>
                  <a:lnTo>
                    <a:pt x="857510" y="3390992"/>
                  </a:lnTo>
                  <a:lnTo>
                    <a:pt x="850348" y="3430265"/>
                  </a:lnTo>
                  <a:lnTo>
                    <a:pt x="841418" y="3451137"/>
                  </a:lnTo>
                  <a:lnTo>
                    <a:pt x="836485" y="3471924"/>
                  </a:lnTo>
                  <a:lnTo>
                    <a:pt x="814449" y="3564800"/>
                  </a:lnTo>
                  <a:lnTo>
                    <a:pt x="779952" y="3723816"/>
                  </a:lnTo>
                  <a:lnTo>
                    <a:pt x="773918" y="3810612"/>
                  </a:lnTo>
                  <a:lnTo>
                    <a:pt x="788987" y="3826934"/>
                  </a:lnTo>
                  <a:lnTo>
                    <a:pt x="836076" y="3821645"/>
                  </a:lnTo>
                  <a:lnTo>
                    <a:pt x="893161" y="3808152"/>
                  </a:lnTo>
                  <a:lnTo>
                    <a:pt x="946664" y="3807888"/>
                  </a:lnTo>
                  <a:lnTo>
                    <a:pt x="973413" y="3807756"/>
                  </a:lnTo>
                  <a:lnTo>
                    <a:pt x="998621" y="3811311"/>
                  </a:lnTo>
                  <a:lnTo>
                    <a:pt x="1020114" y="3820135"/>
                  </a:lnTo>
                  <a:lnTo>
                    <a:pt x="1041610" y="3828953"/>
                  </a:lnTo>
                  <a:lnTo>
                    <a:pt x="1058744" y="3843455"/>
                  </a:lnTo>
                  <a:lnTo>
                    <a:pt x="1067720" y="3866378"/>
                  </a:lnTo>
                  <a:lnTo>
                    <a:pt x="1084526" y="3909311"/>
                  </a:lnTo>
                  <a:lnTo>
                    <a:pt x="1084808" y="3951795"/>
                  </a:lnTo>
                  <a:lnTo>
                    <a:pt x="1094925" y="3995599"/>
                  </a:lnTo>
                  <a:lnTo>
                    <a:pt x="1105845" y="4042845"/>
                  </a:lnTo>
                  <a:lnTo>
                    <a:pt x="1121199" y="4091661"/>
                  </a:lnTo>
                  <a:lnTo>
                    <a:pt x="1134371" y="4138418"/>
                  </a:lnTo>
                  <a:lnTo>
                    <a:pt x="1144981" y="4176082"/>
                  </a:lnTo>
                  <a:lnTo>
                    <a:pt x="1149768" y="4205376"/>
                  </a:lnTo>
                  <a:lnTo>
                    <a:pt x="1147976" y="4229553"/>
                  </a:lnTo>
                  <a:lnTo>
                    <a:pt x="1146168" y="4253731"/>
                  </a:lnTo>
                  <a:lnTo>
                    <a:pt x="1123488" y="4288043"/>
                  </a:lnTo>
                  <a:lnTo>
                    <a:pt x="1095868" y="4320247"/>
                  </a:lnTo>
                  <a:lnTo>
                    <a:pt x="1044441" y="4341370"/>
                  </a:lnTo>
                  <a:lnTo>
                    <a:pt x="971147" y="4373731"/>
                  </a:lnTo>
                  <a:lnTo>
                    <a:pt x="923562" y="4464339"/>
                  </a:lnTo>
                  <a:lnTo>
                    <a:pt x="892342" y="4537509"/>
                  </a:lnTo>
                  <a:lnTo>
                    <a:pt x="836866" y="4585902"/>
                  </a:lnTo>
                  <a:lnTo>
                    <a:pt x="803845" y="4643054"/>
                  </a:lnTo>
                  <a:lnTo>
                    <a:pt x="777828" y="4688044"/>
                  </a:lnTo>
                  <a:lnTo>
                    <a:pt x="759508" y="4738350"/>
                  </a:lnTo>
                  <a:lnTo>
                    <a:pt x="734474" y="4784514"/>
                  </a:lnTo>
                  <a:lnTo>
                    <a:pt x="742283" y="4807253"/>
                  </a:lnTo>
                  <a:lnTo>
                    <a:pt x="764745" y="4829781"/>
                  </a:lnTo>
                  <a:lnTo>
                    <a:pt x="795681" y="4852521"/>
                  </a:lnTo>
                  <a:lnTo>
                    <a:pt x="827403" y="4874271"/>
                  </a:lnTo>
                  <a:lnTo>
                    <a:pt x="862573" y="4893712"/>
                  </a:lnTo>
                  <a:lnTo>
                    <a:pt x="875934" y="4912369"/>
                  </a:lnTo>
                  <a:lnTo>
                    <a:pt x="865680" y="4942139"/>
                  </a:lnTo>
                  <a:lnTo>
                    <a:pt x="855371" y="4982091"/>
                  </a:lnTo>
                  <a:lnTo>
                    <a:pt x="843291" y="5019827"/>
                  </a:lnTo>
                  <a:lnTo>
                    <a:pt x="831202" y="5057570"/>
                  </a:lnTo>
                  <a:lnTo>
                    <a:pt x="818083" y="5093967"/>
                  </a:lnTo>
                  <a:lnTo>
                    <a:pt x="799765" y="5119120"/>
                  </a:lnTo>
                  <a:lnTo>
                    <a:pt x="774157" y="5126994"/>
                  </a:lnTo>
                  <a:lnTo>
                    <a:pt x="743753" y="5122127"/>
                  </a:lnTo>
                  <a:lnTo>
                    <a:pt x="718145" y="5128636"/>
                  </a:lnTo>
                  <a:lnTo>
                    <a:pt x="709671" y="5197949"/>
                  </a:lnTo>
                  <a:lnTo>
                    <a:pt x="801123" y="5240176"/>
                  </a:lnTo>
                  <a:lnTo>
                    <a:pt x="821218" y="5275953"/>
                  </a:lnTo>
                  <a:lnTo>
                    <a:pt x="825661" y="5300038"/>
                  </a:lnTo>
                  <a:lnTo>
                    <a:pt x="821528" y="5324505"/>
                  </a:lnTo>
                  <a:lnTo>
                    <a:pt x="817392" y="5348978"/>
                  </a:lnTo>
                  <a:lnTo>
                    <a:pt x="804518" y="5373136"/>
                  </a:lnTo>
                  <a:lnTo>
                    <a:pt x="790240" y="5408841"/>
                  </a:lnTo>
                  <a:lnTo>
                    <a:pt x="781884" y="5429733"/>
                  </a:lnTo>
                  <a:lnTo>
                    <a:pt x="773918" y="5453725"/>
                  </a:lnTo>
                  <a:lnTo>
                    <a:pt x="760398" y="5472086"/>
                  </a:lnTo>
                  <a:lnTo>
                    <a:pt x="741274" y="5486370"/>
                  </a:lnTo>
                  <a:lnTo>
                    <a:pt x="720295" y="5490703"/>
                  </a:lnTo>
                  <a:lnTo>
                    <a:pt x="655434" y="5471176"/>
                  </a:lnTo>
                  <a:lnTo>
                    <a:pt x="635175" y="5464607"/>
                  </a:lnTo>
                  <a:lnTo>
                    <a:pt x="614328" y="5486179"/>
                  </a:lnTo>
                  <a:lnTo>
                    <a:pt x="609336" y="5513575"/>
                  </a:lnTo>
                  <a:lnTo>
                    <a:pt x="707270" y="5570706"/>
                  </a:lnTo>
                  <a:lnTo>
                    <a:pt x="701400" y="5599526"/>
                  </a:lnTo>
                  <a:lnTo>
                    <a:pt x="682718" y="5638818"/>
                  </a:lnTo>
                  <a:lnTo>
                    <a:pt x="565802" y="5650953"/>
                  </a:lnTo>
                  <a:lnTo>
                    <a:pt x="543539" y="5673745"/>
                  </a:lnTo>
                  <a:lnTo>
                    <a:pt x="541836" y="5709780"/>
                  </a:lnTo>
                  <a:lnTo>
                    <a:pt x="552205" y="5742088"/>
                  </a:lnTo>
                  <a:lnTo>
                    <a:pt x="579408" y="5752969"/>
                  </a:lnTo>
                  <a:lnTo>
                    <a:pt x="600769" y="5757784"/>
                  </a:lnTo>
                  <a:lnTo>
                    <a:pt x="637469" y="5747120"/>
                  </a:lnTo>
                  <a:lnTo>
                    <a:pt x="670438" y="5740531"/>
                  </a:lnTo>
                  <a:lnTo>
                    <a:pt x="699106" y="5729841"/>
                  </a:lnTo>
                  <a:lnTo>
                    <a:pt x="720802" y="5721769"/>
                  </a:lnTo>
                  <a:lnTo>
                    <a:pt x="740931" y="5705954"/>
                  </a:lnTo>
                  <a:lnTo>
                    <a:pt x="763037" y="5697196"/>
                  </a:lnTo>
                  <a:lnTo>
                    <a:pt x="797039" y="5683598"/>
                  </a:lnTo>
                  <a:lnTo>
                    <a:pt x="844965" y="5677405"/>
                  </a:lnTo>
                  <a:lnTo>
                    <a:pt x="899439" y="5680030"/>
                  </a:lnTo>
                  <a:lnTo>
                    <a:pt x="948022" y="5678157"/>
                  </a:lnTo>
                  <a:lnTo>
                    <a:pt x="975611" y="5687561"/>
                  </a:lnTo>
                  <a:lnTo>
                    <a:pt x="992910" y="5702637"/>
                  </a:lnTo>
                  <a:lnTo>
                    <a:pt x="1010208" y="5717719"/>
                  </a:lnTo>
                  <a:lnTo>
                    <a:pt x="1028402" y="5737458"/>
                  </a:lnTo>
                  <a:lnTo>
                    <a:pt x="1045957" y="5759769"/>
                  </a:lnTo>
                  <a:lnTo>
                    <a:pt x="1081062" y="5804390"/>
                  </a:lnTo>
                  <a:lnTo>
                    <a:pt x="1111088" y="5855606"/>
                  </a:lnTo>
                  <a:lnTo>
                    <a:pt x="1112605" y="5879466"/>
                  </a:lnTo>
                  <a:lnTo>
                    <a:pt x="1114288" y="5905925"/>
                  </a:lnTo>
                  <a:lnTo>
                    <a:pt x="1110068" y="5929931"/>
                  </a:lnTo>
                  <a:lnTo>
                    <a:pt x="1107166" y="5954279"/>
                  </a:lnTo>
                  <a:lnTo>
                    <a:pt x="1104264" y="5978627"/>
                  </a:lnTo>
                  <a:lnTo>
                    <a:pt x="1102900" y="6003931"/>
                  </a:lnTo>
                  <a:lnTo>
                    <a:pt x="1109888" y="6030450"/>
                  </a:lnTo>
                  <a:lnTo>
                    <a:pt x="1127531" y="6046152"/>
                  </a:lnTo>
                  <a:lnTo>
                    <a:pt x="1166105" y="6053401"/>
                  </a:lnTo>
                  <a:lnTo>
                    <a:pt x="1170781" y="6118327"/>
                  </a:lnTo>
                  <a:lnTo>
                    <a:pt x="1143787" y="6172418"/>
                  </a:lnTo>
                  <a:lnTo>
                    <a:pt x="1149340" y="6222236"/>
                  </a:lnTo>
                  <a:lnTo>
                    <a:pt x="1166750" y="6241434"/>
                  </a:lnTo>
                  <a:lnTo>
                    <a:pt x="1194516" y="6238546"/>
                  </a:lnTo>
                  <a:lnTo>
                    <a:pt x="1224145" y="6235835"/>
                  </a:lnTo>
                  <a:lnTo>
                    <a:pt x="1253777" y="6233124"/>
                  </a:lnTo>
                  <a:lnTo>
                    <a:pt x="1286554" y="6230513"/>
                  </a:lnTo>
                  <a:lnTo>
                    <a:pt x="1307117" y="6237193"/>
                  </a:lnTo>
                  <a:lnTo>
                    <a:pt x="1326926" y="6250311"/>
                  </a:lnTo>
                  <a:lnTo>
                    <a:pt x="1345598" y="6294384"/>
                  </a:lnTo>
                  <a:lnTo>
                    <a:pt x="1365606" y="6340568"/>
                  </a:lnTo>
                  <a:lnTo>
                    <a:pt x="1385614" y="6386759"/>
                  </a:lnTo>
                  <a:lnTo>
                    <a:pt x="1405762" y="6434797"/>
                  </a:lnTo>
                  <a:lnTo>
                    <a:pt x="1429537" y="6458908"/>
                  </a:lnTo>
                  <a:lnTo>
                    <a:pt x="1473448" y="6477399"/>
                  </a:lnTo>
                  <a:lnTo>
                    <a:pt x="1522031" y="6498352"/>
                  </a:lnTo>
                  <a:lnTo>
                    <a:pt x="1506050" y="6532105"/>
                  </a:lnTo>
                  <a:lnTo>
                    <a:pt x="1491682" y="6555437"/>
                  </a:lnTo>
                  <a:lnTo>
                    <a:pt x="1482588" y="6577247"/>
                  </a:lnTo>
                  <a:lnTo>
                    <a:pt x="1486327" y="6619942"/>
                  </a:lnTo>
                  <a:lnTo>
                    <a:pt x="1481717" y="6662894"/>
                  </a:lnTo>
                  <a:lnTo>
                    <a:pt x="1483946" y="6705102"/>
                  </a:lnTo>
                  <a:lnTo>
                    <a:pt x="1486008" y="6743913"/>
                  </a:lnTo>
                  <a:lnTo>
                    <a:pt x="1494826" y="6784781"/>
                  </a:lnTo>
                  <a:lnTo>
                    <a:pt x="1494826" y="6823441"/>
                  </a:lnTo>
                  <a:lnTo>
                    <a:pt x="1494826" y="6866690"/>
                  </a:lnTo>
                  <a:lnTo>
                    <a:pt x="1489471" y="6911661"/>
                  </a:lnTo>
                  <a:lnTo>
                    <a:pt x="1488020" y="6955379"/>
                  </a:lnTo>
                  <a:lnTo>
                    <a:pt x="1504199" y="6995252"/>
                  </a:lnTo>
                  <a:lnTo>
                    <a:pt x="1519327" y="7012075"/>
                  </a:lnTo>
                  <a:lnTo>
                    <a:pt x="1538352" y="7026109"/>
                  </a:lnTo>
                  <a:lnTo>
                    <a:pt x="1557374" y="7040150"/>
                  </a:lnTo>
                  <a:lnTo>
                    <a:pt x="1580461" y="7051915"/>
                  </a:lnTo>
                  <a:lnTo>
                    <a:pt x="1605002" y="7062836"/>
                  </a:lnTo>
                  <a:lnTo>
                    <a:pt x="1621324" y="7092763"/>
                  </a:lnTo>
                  <a:lnTo>
                    <a:pt x="1624021" y="7114751"/>
                  </a:lnTo>
                  <a:lnTo>
                    <a:pt x="1596835" y="7147172"/>
                  </a:lnTo>
                  <a:lnTo>
                    <a:pt x="1585574" y="7166336"/>
                  </a:lnTo>
                  <a:lnTo>
                    <a:pt x="1580905" y="7190572"/>
                  </a:lnTo>
                  <a:lnTo>
                    <a:pt x="1587314" y="7223342"/>
                  </a:lnTo>
                  <a:lnTo>
                    <a:pt x="1606612" y="7240134"/>
                  </a:lnTo>
                  <a:lnTo>
                    <a:pt x="1643930" y="7232780"/>
                  </a:lnTo>
                  <a:lnTo>
                    <a:pt x="1667566" y="7246464"/>
                  </a:lnTo>
                  <a:lnTo>
                    <a:pt x="1668800" y="7267463"/>
                  </a:lnTo>
                  <a:lnTo>
                    <a:pt x="1663123" y="7291606"/>
                  </a:lnTo>
                  <a:lnTo>
                    <a:pt x="1649595" y="7329435"/>
                  </a:lnTo>
                  <a:lnTo>
                    <a:pt x="1600603" y="7352220"/>
                  </a:lnTo>
                  <a:lnTo>
                    <a:pt x="1551945" y="7368879"/>
                  </a:lnTo>
                  <a:lnTo>
                    <a:pt x="1503294" y="7385544"/>
                  </a:lnTo>
                  <a:lnTo>
                    <a:pt x="1454981" y="7396116"/>
                  </a:lnTo>
                  <a:lnTo>
                    <a:pt x="1427426" y="7397296"/>
                  </a:lnTo>
                  <a:lnTo>
                    <a:pt x="1400178" y="7426921"/>
                  </a:lnTo>
                  <a:lnTo>
                    <a:pt x="1402326" y="7447774"/>
                  </a:lnTo>
                  <a:lnTo>
                    <a:pt x="1406745" y="7490983"/>
                  </a:lnTo>
                  <a:lnTo>
                    <a:pt x="1472676" y="7727206"/>
                  </a:lnTo>
                  <a:lnTo>
                    <a:pt x="1457796" y="7757536"/>
                  </a:lnTo>
                  <a:lnTo>
                    <a:pt x="1425172" y="7770014"/>
                  </a:lnTo>
                  <a:lnTo>
                    <a:pt x="1405380" y="7796011"/>
                  </a:lnTo>
                  <a:lnTo>
                    <a:pt x="1416592" y="7825932"/>
                  </a:lnTo>
                  <a:lnTo>
                    <a:pt x="1436331" y="7863992"/>
                  </a:lnTo>
                  <a:lnTo>
                    <a:pt x="1456069" y="7902057"/>
                  </a:lnTo>
                  <a:lnTo>
                    <a:pt x="1484011" y="7947674"/>
                  </a:lnTo>
                  <a:lnTo>
                    <a:pt x="1513861" y="7994570"/>
                  </a:lnTo>
                  <a:lnTo>
                    <a:pt x="1543716" y="8041473"/>
                  </a:lnTo>
                  <a:lnTo>
                    <a:pt x="1575674" y="8089095"/>
                  </a:lnTo>
                  <a:lnTo>
                    <a:pt x="1600913" y="8129232"/>
                  </a:lnTo>
                  <a:lnTo>
                    <a:pt x="1626158" y="8169369"/>
                  </a:lnTo>
                  <a:lnTo>
                    <a:pt x="1645341" y="8202587"/>
                  </a:lnTo>
                  <a:lnTo>
                    <a:pt x="1649214" y="8259283"/>
                  </a:lnTo>
                  <a:lnTo>
                    <a:pt x="1633596" y="8290148"/>
                  </a:lnTo>
                  <a:lnTo>
                    <a:pt x="1611793" y="8315577"/>
                  </a:lnTo>
                  <a:lnTo>
                    <a:pt x="1589999" y="8341014"/>
                  </a:lnTo>
                  <a:lnTo>
                    <a:pt x="1561262" y="8360410"/>
                  </a:lnTo>
                  <a:lnTo>
                    <a:pt x="1531546" y="8376790"/>
                  </a:lnTo>
                  <a:lnTo>
                    <a:pt x="1501824" y="8393172"/>
                  </a:lnTo>
                  <a:lnTo>
                    <a:pt x="1471646" y="8405821"/>
                  </a:lnTo>
                  <a:lnTo>
                    <a:pt x="1445852" y="8417594"/>
                  </a:lnTo>
                  <a:lnTo>
                    <a:pt x="1420062" y="8429366"/>
                  </a:lnTo>
                  <a:lnTo>
                    <a:pt x="1398733" y="8439997"/>
                  </a:lnTo>
                  <a:lnTo>
                    <a:pt x="1373482" y="8481459"/>
                  </a:lnTo>
                  <a:lnTo>
                    <a:pt x="1383128" y="8502609"/>
                  </a:lnTo>
                  <a:lnTo>
                    <a:pt x="1375122" y="8530493"/>
                  </a:lnTo>
                  <a:lnTo>
                    <a:pt x="1360608" y="8550764"/>
                  </a:lnTo>
                  <a:lnTo>
                    <a:pt x="1333996" y="8576380"/>
                  </a:lnTo>
                  <a:lnTo>
                    <a:pt x="1301669" y="8606663"/>
                  </a:lnTo>
                  <a:lnTo>
                    <a:pt x="1285348" y="8622985"/>
                  </a:lnTo>
                  <a:lnTo>
                    <a:pt x="1205098" y="8651547"/>
                  </a:lnTo>
                  <a:lnTo>
                    <a:pt x="1166288" y="8690359"/>
                  </a:lnTo>
                  <a:lnTo>
                    <a:pt x="1132873" y="8719825"/>
                  </a:lnTo>
                  <a:lnTo>
                    <a:pt x="1109671" y="8730681"/>
                  </a:lnTo>
                  <a:lnTo>
                    <a:pt x="1085403" y="8739959"/>
                  </a:lnTo>
                  <a:lnTo>
                    <a:pt x="1061126" y="8749245"/>
                  </a:lnTo>
                  <a:lnTo>
                    <a:pt x="1036060" y="8756229"/>
                  </a:lnTo>
                  <a:lnTo>
                    <a:pt x="1011947" y="8769887"/>
                  </a:lnTo>
                  <a:lnTo>
                    <a:pt x="982067" y="8786823"/>
                  </a:lnTo>
                  <a:lnTo>
                    <a:pt x="921729" y="8841488"/>
                  </a:lnTo>
                  <a:lnTo>
                    <a:pt x="885453" y="8866463"/>
                  </a:lnTo>
                  <a:lnTo>
                    <a:pt x="867950" y="8878498"/>
                  </a:lnTo>
                  <a:lnTo>
                    <a:pt x="836485" y="8871903"/>
                  </a:lnTo>
                  <a:lnTo>
                    <a:pt x="804499" y="8860172"/>
                  </a:lnTo>
                  <a:lnTo>
                    <a:pt x="778290" y="8875960"/>
                  </a:lnTo>
                  <a:lnTo>
                    <a:pt x="771559" y="8910879"/>
                  </a:lnTo>
                  <a:lnTo>
                    <a:pt x="743990" y="8948075"/>
                  </a:lnTo>
                  <a:lnTo>
                    <a:pt x="717533" y="8959036"/>
                  </a:lnTo>
                  <a:lnTo>
                    <a:pt x="687373" y="8936784"/>
                  </a:lnTo>
                  <a:lnTo>
                    <a:pt x="659655" y="8941269"/>
                  </a:lnTo>
                  <a:lnTo>
                    <a:pt x="631541" y="8945793"/>
                  </a:lnTo>
                  <a:lnTo>
                    <a:pt x="615832" y="8977489"/>
                  </a:lnTo>
                  <a:lnTo>
                    <a:pt x="587565" y="8988877"/>
                  </a:lnTo>
                  <a:lnTo>
                    <a:pt x="586906" y="9030121"/>
                  </a:lnTo>
                  <a:lnTo>
                    <a:pt x="601890" y="9054965"/>
                  </a:lnTo>
                  <a:lnTo>
                    <a:pt x="617494" y="9077289"/>
                  </a:lnTo>
                  <a:lnTo>
                    <a:pt x="633091" y="9099619"/>
                  </a:lnTo>
                  <a:lnTo>
                    <a:pt x="648634" y="9120598"/>
                  </a:lnTo>
                  <a:lnTo>
                    <a:pt x="650138" y="9152101"/>
                  </a:lnTo>
                  <a:lnTo>
                    <a:pt x="652051" y="9192251"/>
                  </a:lnTo>
                  <a:lnTo>
                    <a:pt x="642429" y="9236002"/>
                  </a:lnTo>
                  <a:lnTo>
                    <a:pt x="625651" y="9278597"/>
                  </a:lnTo>
                  <a:lnTo>
                    <a:pt x="608874" y="9321201"/>
                  </a:lnTo>
                  <a:lnTo>
                    <a:pt x="585100" y="9362366"/>
                  </a:lnTo>
                  <a:lnTo>
                    <a:pt x="561720" y="9394220"/>
                  </a:lnTo>
                  <a:lnTo>
                    <a:pt x="547450" y="9413668"/>
                  </a:lnTo>
                  <a:lnTo>
                    <a:pt x="530758" y="9426481"/>
                  </a:lnTo>
                  <a:lnTo>
                    <a:pt x="520918" y="9449987"/>
                  </a:lnTo>
                  <a:lnTo>
                    <a:pt x="560640" y="9453554"/>
                  </a:lnTo>
                  <a:lnTo>
                    <a:pt x="609052" y="9458421"/>
                  </a:lnTo>
                  <a:lnTo>
                    <a:pt x="648774" y="9451345"/>
                  </a:lnTo>
                  <a:lnTo>
                    <a:pt x="682994" y="9445245"/>
                  </a:lnTo>
                  <a:lnTo>
                    <a:pt x="712237" y="9431751"/>
                  </a:lnTo>
                  <a:lnTo>
                    <a:pt x="748073" y="9435022"/>
                  </a:lnTo>
                  <a:lnTo>
                    <a:pt x="764844" y="9486403"/>
                  </a:lnTo>
                  <a:lnTo>
                    <a:pt x="760313" y="9526158"/>
                  </a:lnTo>
                  <a:lnTo>
                    <a:pt x="755783" y="9565912"/>
                  </a:lnTo>
                  <a:lnTo>
                    <a:pt x="746022" y="9605388"/>
                  </a:lnTo>
                  <a:lnTo>
                    <a:pt x="727596" y="9621811"/>
                  </a:lnTo>
                  <a:lnTo>
                    <a:pt x="688224" y="9633608"/>
                  </a:lnTo>
                  <a:lnTo>
                    <a:pt x="650541" y="9648955"/>
                  </a:lnTo>
                  <a:lnTo>
                    <a:pt x="634897" y="9669538"/>
                  </a:lnTo>
                  <a:lnTo>
                    <a:pt x="631093" y="9701621"/>
                  </a:lnTo>
                  <a:lnTo>
                    <a:pt x="631059" y="9733429"/>
                  </a:lnTo>
                  <a:lnTo>
                    <a:pt x="673279" y="9756029"/>
                  </a:lnTo>
                  <a:lnTo>
                    <a:pt x="723678" y="9754565"/>
                  </a:lnTo>
                  <a:lnTo>
                    <a:pt x="769830" y="9761470"/>
                  </a:lnTo>
                  <a:lnTo>
                    <a:pt x="792906" y="9764920"/>
                  </a:lnTo>
                  <a:lnTo>
                    <a:pt x="815103" y="9770155"/>
                  </a:lnTo>
                  <a:lnTo>
                    <a:pt x="833760" y="9780509"/>
                  </a:lnTo>
                  <a:lnTo>
                    <a:pt x="852419" y="9790870"/>
                  </a:lnTo>
                  <a:lnTo>
                    <a:pt x="867336" y="9806948"/>
                  </a:lnTo>
                  <a:lnTo>
                    <a:pt x="877286" y="9829477"/>
                  </a:lnTo>
                  <a:lnTo>
                    <a:pt x="877022" y="9854505"/>
                  </a:lnTo>
                  <a:lnTo>
                    <a:pt x="865041" y="9894766"/>
                  </a:lnTo>
                  <a:lnTo>
                    <a:pt x="857553" y="9915072"/>
                  </a:lnTo>
                  <a:lnTo>
                    <a:pt x="846732" y="9935088"/>
                  </a:lnTo>
                  <a:lnTo>
                    <a:pt x="835118" y="9957339"/>
                  </a:lnTo>
                  <a:lnTo>
                    <a:pt x="821810" y="9977507"/>
                  </a:lnTo>
                  <a:lnTo>
                    <a:pt x="805746" y="10017030"/>
                  </a:lnTo>
                  <a:lnTo>
                    <a:pt x="800152" y="10053756"/>
                  </a:lnTo>
                  <a:lnTo>
                    <a:pt x="799749" y="10090635"/>
                  </a:lnTo>
                  <a:lnTo>
                    <a:pt x="799355" y="10127521"/>
                  </a:lnTo>
                  <a:lnTo>
                    <a:pt x="803746" y="10164188"/>
                  </a:lnTo>
                  <a:lnTo>
                    <a:pt x="814716" y="10192652"/>
                  </a:lnTo>
                  <a:lnTo>
                    <a:pt x="827019" y="10224597"/>
                  </a:lnTo>
                  <a:lnTo>
                    <a:pt x="848711" y="10248774"/>
                  </a:lnTo>
                  <a:lnTo>
                    <a:pt x="873205" y="10267464"/>
                  </a:lnTo>
                  <a:lnTo>
                    <a:pt x="897697" y="10286155"/>
                  </a:lnTo>
                  <a:lnTo>
                    <a:pt x="925205" y="10299541"/>
                  </a:lnTo>
                  <a:lnTo>
                    <a:pt x="952093" y="10310990"/>
                  </a:lnTo>
                  <a:lnTo>
                    <a:pt x="978988" y="10322439"/>
                  </a:lnTo>
                  <a:lnTo>
                    <a:pt x="1004695" y="10332068"/>
                  </a:lnTo>
                  <a:lnTo>
                    <a:pt x="1024188" y="10342277"/>
                  </a:lnTo>
                  <a:lnTo>
                    <a:pt x="1043675" y="10352485"/>
                  </a:lnTo>
                  <a:lnTo>
                    <a:pt x="1059550" y="10377639"/>
                  </a:lnTo>
                  <a:lnTo>
                    <a:pt x="1061541" y="10411734"/>
                  </a:lnTo>
                  <a:lnTo>
                    <a:pt x="1057532" y="10446925"/>
                  </a:lnTo>
                  <a:lnTo>
                    <a:pt x="1051393" y="10481014"/>
                  </a:lnTo>
                  <a:lnTo>
                    <a:pt x="1053517" y="10506589"/>
                  </a:lnTo>
                  <a:lnTo>
                    <a:pt x="1030222" y="10526354"/>
                  </a:lnTo>
                  <a:lnTo>
                    <a:pt x="1006499" y="10535422"/>
                  </a:lnTo>
                  <a:lnTo>
                    <a:pt x="983127" y="10545624"/>
                  </a:lnTo>
                  <a:lnTo>
                    <a:pt x="964583" y="10560587"/>
                  </a:lnTo>
                  <a:lnTo>
                    <a:pt x="956174" y="10584389"/>
                  </a:lnTo>
                  <a:lnTo>
                    <a:pt x="960719" y="10625185"/>
                  </a:lnTo>
                  <a:lnTo>
                    <a:pt x="971131" y="10649678"/>
                  </a:lnTo>
                  <a:lnTo>
                    <a:pt x="981552" y="10674179"/>
                  </a:lnTo>
                  <a:lnTo>
                    <a:pt x="995895" y="10700796"/>
                  </a:lnTo>
                  <a:lnTo>
                    <a:pt x="1010583" y="10725850"/>
                  </a:lnTo>
                  <a:lnTo>
                    <a:pt x="1039949" y="10775965"/>
                  </a:lnTo>
                  <a:lnTo>
                    <a:pt x="1070102" y="10821891"/>
                  </a:lnTo>
                  <a:lnTo>
                    <a:pt x="1066356" y="10895872"/>
                  </a:lnTo>
                  <a:lnTo>
                    <a:pt x="1063640" y="10951652"/>
                  </a:lnTo>
                  <a:lnTo>
                    <a:pt x="1053253" y="10980024"/>
                  </a:lnTo>
                  <a:lnTo>
                    <a:pt x="1025066" y="11007617"/>
                  </a:lnTo>
                  <a:lnTo>
                    <a:pt x="1006006" y="11020846"/>
                  </a:lnTo>
                  <a:lnTo>
                    <a:pt x="986110" y="11033264"/>
                  </a:lnTo>
                  <a:lnTo>
                    <a:pt x="946323" y="11058093"/>
                  </a:lnTo>
                  <a:lnTo>
                    <a:pt x="902986" y="11078545"/>
                  </a:lnTo>
                  <a:lnTo>
                    <a:pt x="868753" y="11099023"/>
                  </a:lnTo>
                  <a:lnTo>
                    <a:pt x="843291" y="11127117"/>
                  </a:lnTo>
                  <a:lnTo>
                    <a:pt x="823869" y="11161430"/>
                  </a:lnTo>
                  <a:lnTo>
                    <a:pt x="814133" y="11210707"/>
                  </a:lnTo>
                  <a:lnTo>
                    <a:pt x="815426" y="11232450"/>
                  </a:lnTo>
                  <a:lnTo>
                    <a:pt x="824910" y="11266625"/>
                  </a:lnTo>
                  <a:lnTo>
                    <a:pt x="843291" y="11288982"/>
                  </a:lnTo>
                  <a:lnTo>
                    <a:pt x="863996" y="11310659"/>
                  </a:lnTo>
                  <a:lnTo>
                    <a:pt x="882429" y="11335317"/>
                  </a:lnTo>
                  <a:lnTo>
                    <a:pt x="892258" y="11370594"/>
                  </a:lnTo>
                  <a:lnTo>
                    <a:pt x="895991" y="11397521"/>
                  </a:lnTo>
                  <a:lnTo>
                    <a:pt x="894646" y="11424322"/>
                  </a:lnTo>
                  <a:lnTo>
                    <a:pt x="896332" y="11449482"/>
                  </a:lnTo>
                  <a:lnTo>
                    <a:pt x="898022" y="11474648"/>
                  </a:lnTo>
                  <a:lnTo>
                    <a:pt x="902698" y="11498792"/>
                  </a:lnTo>
                  <a:lnTo>
                    <a:pt x="919454" y="11521577"/>
                  </a:lnTo>
                  <a:lnTo>
                    <a:pt x="938020" y="11534517"/>
                  </a:lnTo>
                  <a:lnTo>
                    <a:pt x="977720" y="11540089"/>
                  </a:lnTo>
                  <a:lnTo>
                    <a:pt x="1017389" y="11543340"/>
                  </a:lnTo>
                  <a:lnTo>
                    <a:pt x="1057058" y="11546592"/>
                  </a:lnTo>
                  <a:lnTo>
                    <a:pt x="1097114" y="11546968"/>
                  </a:lnTo>
                  <a:lnTo>
                    <a:pt x="1119404" y="11548781"/>
                  </a:lnTo>
                  <a:lnTo>
                    <a:pt x="1148283" y="11560257"/>
                  </a:lnTo>
                  <a:lnTo>
                    <a:pt x="1169420" y="11588990"/>
                  </a:lnTo>
                  <a:lnTo>
                    <a:pt x="1184696" y="11627670"/>
                  </a:lnTo>
                  <a:lnTo>
                    <a:pt x="1199415" y="11667444"/>
                  </a:lnTo>
                  <a:lnTo>
                    <a:pt x="1209644" y="11710508"/>
                  </a:lnTo>
                  <a:lnTo>
                    <a:pt x="1224139" y="11726969"/>
                  </a:lnTo>
                  <a:lnTo>
                    <a:pt x="1251712" y="11750487"/>
                  </a:lnTo>
                  <a:lnTo>
                    <a:pt x="1275460" y="11771458"/>
                  </a:lnTo>
                  <a:lnTo>
                    <a:pt x="1292153" y="11804499"/>
                  </a:lnTo>
                  <a:lnTo>
                    <a:pt x="1298990" y="11834894"/>
                  </a:lnTo>
                  <a:lnTo>
                    <a:pt x="1304345" y="11866590"/>
                  </a:lnTo>
                  <a:lnTo>
                    <a:pt x="1315274" y="11896993"/>
                  </a:lnTo>
                  <a:lnTo>
                    <a:pt x="1339140" y="11910432"/>
                  </a:lnTo>
                  <a:lnTo>
                    <a:pt x="1376480" y="11907874"/>
                  </a:lnTo>
                  <a:lnTo>
                    <a:pt x="1413743" y="11892739"/>
                  </a:lnTo>
                  <a:lnTo>
                    <a:pt x="1436331" y="11879312"/>
                  </a:lnTo>
                  <a:lnTo>
                    <a:pt x="1459452" y="11882028"/>
                  </a:lnTo>
                  <a:lnTo>
                    <a:pt x="1481221" y="11886103"/>
                  </a:lnTo>
                  <a:lnTo>
                    <a:pt x="1500255" y="11909042"/>
                  </a:lnTo>
                  <a:lnTo>
                    <a:pt x="1507436" y="11938046"/>
                  </a:lnTo>
                  <a:lnTo>
                    <a:pt x="1511141" y="11971791"/>
                  </a:lnTo>
                  <a:lnTo>
                    <a:pt x="1530498" y="11987046"/>
                  </a:lnTo>
                  <a:lnTo>
                    <a:pt x="1558751" y="11998996"/>
                  </a:lnTo>
                  <a:lnTo>
                    <a:pt x="1583094" y="12001430"/>
                  </a:lnTo>
                  <a:lnTo>
                    <a:pt x="1612084" y="11994128"/>
                  </a:lnTo>
                  <a:lnTo>
                    <a:pt x="1645803" y="11989478"/>
                  </a:lnTo>
                  <a:lnTo>
                    <a:pt x="1664416" y="12003335"/>
                  </a:lnTo>
                  <a:lnTo>
                    <a:pt x="1678883" y="12024583"/>
                  </a:lnTo>
                  <a:lnTo>
                    <a:pt x="1685249" y="12046604"/>
                  </a:lnTo>
                  <a:lnTo>
                    <a:pt x="1665027" y="12065920"/>
                  </a:lnTo>
                  <a:lnTo>
                    <a:pt x="1641729" y="12073808"/>
                  </a:lnTo>
                  <a:lnTo>
                    <a:pt x="1620282" y="12084657"/>
                  </a:lnTo>
                  <a:lnTo>
                    <a:pt x="1605976" y="12109592"/>
                  </a:lnTo>
                  <a:lnTo>
                    <a:pt x="1608543" y="12140937"/>
                  </a:lnTo>
                  <a:lnTo>
                    <a:pt x="1642005" y="12176300"/>
                  </a:lnTo>
                  <a:lnTo>
                    <a:pt x="1670614" y="12209578"/>
                  </a:lnTo>
                  <a:lnTo>
                    <a:pt x="1702934" y="12234315"/>
                  </a:lnTo>
                  <a:lnTo>
                    <a:pt x="1735832" y="12257509"/>
                  </a:lnTo>
                  <a:lnTo>
                    <a:pt x="1773417" y="12270962"/>
                  </a:lnTo>
                  <a:lnTo>
                    <a:pt x="1794823" y="12272987"/>
                  </a:lnTo>
                  <a:lnTo>
                    <a:pt x="1817191" y="12271035"/>
                  </a:lnTo>
                  <a:lnTo>
                    <a:pt x="1849329" y="12269578"/>
                  </a:lnTo>
                  <a:lnTo>
                    <a:pt x="1882989" y="12267065"/>
                  </a:lnTo>
                  <a:lnTo>
                    <a:pt x="1916484" y="12262884"/>
                  </a:lnTo>
                  <a:lnTo>
                    <a:pt x="1947140" y="12255960"/>
                  </a:lnTo>
                  <a:lnTo>
                    <a:pt x="1978325" y="12248032"/>
                  </a:lnTo>
                  <a:lnTo>
                    <a:pt x="2011703" y="12245196"/>
                  </a:lnTo>
                  <a:lnTo>
                    <a:pt x="2046966" y="12251969"/>
                  </a:lnTo>
                  <a:lnTo>
                    <a:pt x="2079808" y="12262910"/>
                  </a:lnTo>
                  <a:lnTo>
                    <a:pt x="2117796" y="12265601"/>
                  </a:lnTo>
                  <a:lnTo>
                    <a:pt x="2131156" y="12244643"/>
                  </a:lnTo>
                  <a:lnTo>
                    <a:pt x="2126019" y="12219187"/>
                  </a:lnTo>
                  <a:lnTo>
                    <a:pt x="2120518" y="12194871"/>
                  </a:lnTo>
                  <a:lnTo>
                    <a:pt x="2115012" y="12170556"/>
                  </a:lnTo>
                  <a:lnTo>
                    <a:pt x="2108159" y="12147157"/>
                  </a:lnTo>
                  <a:lnTo>
                    <a:pt x="2125523" y="12115488"/>
                  </a:lnTo>
                  <a:lnTo>
                    <a:pt x="2146365" y="12096937"/>
                  </a:lnTo>
                  <a:lnTo>
                    <a:pt x="2168264" y="12079169"/>
                  </a:lnTo>
                  <a:lnTo>
                    <a:pt x="2209186" y="12038031"/>
                  </a:lnTo>
                  <a:lnTo>
                    <a:pt x="2227619" y="12011486"/>
                  </a:lnTo>
                  <a:lnTo>
                    <a:pt x="2241574" y="11982680"/>
                  </a:lnTo>
                  <a:lnTo>
                    <a:pt x="2255530" y="11953873"/>
                  </a:lnTo>
                  <a:lnTo>
                    <a:pt x="2265970" y="11923214"/>
                  </a:lnTo>
                  <a:lnTo>
                    <a:pt x="2278301" y="11883387"/>
                  </a:lnTo>
                  <a:lnTo>
                    <a:pt x="2303183" y="11866154"/>
                  </a:lnTo>
                  <a:lnTo>
                    <a:pt x="2328626" y="11852101"/>
                  </a:lnTo>
                  <a:lnTo>
                    <a:pt x="2354070" y="11838047"/>
                  </a:lnTo>
                  <a:lnTo>
                    <a:pt x="2382632" y="11817523"/>
                  </a:lnTo>
                  <a:lnTo>
                    <a:pt x="2396635" y="11784088"/>
                  </a:lnTo>
                  <a:lnTo>
                    <a:pt x="2422388" y="11774623"/>
                  </a:lnTo>
                  <a:lnTo>
                    <a:pt x="2455633" y="11779781"/>
                  </a:lnTo>
                  <a:lnTo>
                    <a:pt x="2487770" y="11785446"/>
                  </a:lnTo>
                  <a:lnTo>
                    <a:pt x="2519905" y="11791117"/>
                  </a:lnTo>
                  <a:lnTo>
                    <a:pt x="2551187" y="11796599"/>
                  </a:lnTo>
                  <a:lnTo>
                    <a:pt x="2572103" y="11790888"/>
                  </a:lnTo>
                  <a:lnTo>
                    <a:pt x="2603385" y="11781859"/>
                  </a:lnTo>
                  <a:lnTo>
                    <a:pt x="2628952" y="11761316"/>
                  </a:lnTo>
                  <a:lnTo>
                    <a:pt x="2637479" y="11730755"/>
                  </a:lnTo>
                  <a:lnTo>
                    <a:pt x="2649633" y="11705200"/>
                  </a:lnTo>
                  <a:lnTo>
                    <a:pt x="2663003" y="11681015"/>
                  </a:lnTo>
                  <a:lnTo>
                    <a:pt x="2682509" y="11664086"/>
                  </a:lnTo>
                  <a:lnTo>
                    <a:pt x="2712200" y="11658950"/>
                  </a:lnTo>
                  <a:lnTo>
                    <a:pt x="2735941" y="11676696"/>
                  </a:lnTo>
                  <a:lnTo>
                    <a:pt x="2748055" y="11700800"/>
                  </a:lnTo>
                  <a:lnTo>
                    <a:pt x="2774773" y="11714715"/>
                  </a:lnTo>
                  <a:lnTo>
                    <a:pt x="2801977" y="11688877"/>
                  </a:lnTo>
                  <a:lnTo>
                    <a:pt x="2826112" y="11677659"/>
                  </a:lnTo>
                  <a:lnTo>
                    <a:pt x="2851286" y="11678325"/>
                  </a:lnTo>
                  <a:lnTo>
                    <a:pt x="2875424" y="11688877"/>
                  </a:lnTo>
                  <a:lnTo>
                    <a:pt x="2899978" y="11700206"/>
                  </a:lnTo>
                  <a:lnTo>
                    <a:pt x="2923601" y="11718132"/>
                  </a:lnTo>
                  <a:lnTo>
                    <a:pt x="2939355" y="11733762"/>
                  </a:lnTo>
                  <a:lnTo>
                    <a:pt x="2966473" y="11737033"/>
                  </a:lnTo>
                  <a:lnTo>
                    <a:pt x="2986965" y="11717439"/>
                  </a:lnTo>
                  <a:lnTo>
                    <a:pt x="2979160" y="11678708"/>
                  </a:lnTo>
                  <a:lnTo>
                    <a:pt x="2967918" y="11657590"/>
                  </a:lnTo>
                  <a:lnTo>
                    <a:pt x="2956678" y="11636474"/>
                  </a:lnTo>
                  <a:lnTo>
                    <a:pt x="2942604" y="11616373"/>
                  </a:lnTo>
                  <a:lnTo>
                    <a:pt x="2932106" y="11578234"/>
                  </a:lnTo>
                  <a:lnTo>
                    <a:pt x="2951088" y="11536515"/>
                  </a:lnTo>
                  <a:lnTo>
                    <a:pt x="2971998" y="11521571"/>
                  </a:lnTo>
                  <a:lnTo>
                    <a:pt x="3050896" y="11510689"/>
                  </a:lnTo>
                  <a:lnTo>
                    <a:pt x="3062917" y="11484165"/>
                  </a:lnTo>
                  <a:lnTo>
                    <a:pt x="3050037" y="11456004"/>
                  </a:lnTo>
                  <a:lnTo>
                    <a:pt x="3065859" y="11427719"/>
                  </a:lnTo>
                  <a:lnTo>
                    <a:pt x="3110672" y="11430627"/>
                  </a:lnTo>
                  <a:lnTo>
                    <a:pt x="3143389" y="11442682"/>
                  </a:lnTo>
                  <a:lnTo>
                    <a:pt x="3176097" y="11454731"/>
                  </a:lnTo>
                  <a:lnTo>
                    <a:pt x="3208520" y="11469247"/>
                  </a:lnTo>
                  <a:lnTo>
                    <a:pt x="3219955" y="11505525"/>
                  </a:lnTo>
                  <a:lnTo>
                    <a:pt x="3194729" y="11535855"/>
                  </a:lnTo>
                  <a:lnTo>
                    <a:pt x="3173310" y="11566456"/>
                  </a:lnTo>
                  <a:lnTo>
                    <a:pt x="3152877" y="11596549"/>
                  </a:lnTo>
                  <a:lnTo>
                    <a:pt x="3142056" y="11628863"/>
                  </a:lnTo>
                  <a:lnTo>
                    <a:pt x="3147463" y="11664390"/>
                  </a:lnTo>
                  <a:lnTo>
                    <a:pt x="3193101" y="11690354"/>
                  </a:lnTo>
                  <a:lnTo>
                    <a:pt x="3250846" y="11703840"/>
                  </a:lnTo>
                  <a:lnTo>
                    <a:pt x="3308582" y="11717328"/>
                  </a:lnTo>
                  <a:lnTo>
                    <a:pt x="3385123" y="11730913"/>
                  </a:lnTo>
                  <a:lnTo>
                    <a:pt x="3463035" y="11744644"/>
                  </a:lnTo>
                  <a:lnTo>
                    <a:pt x="3618848" y="11772112"/>
                  </a:lnTo>
                  <a:lnTo>
                    <a:pt x="3783338" y="11799065"/>
                  </a:lnTo>
                  <a:lnTo>
                    <a:pt x="3828929" y="11822172"/>
                  </a:lnTo>
                  <a:lnTo>
                    <a:pt x="3827437" y="11860582"/>
                  </a:lnTo>
                  <a:lnTo>
                    <a:pt x="3831902" y="11908995"/>
                  </a:lnTo>
                  <a:lnTo>
                    <a:pt x="3820765" y="11945952"/>
                  </a:lnTo>
                  <a:lnTo>
                    <a:pt x="3852242" y="11957018"/>
                  </a:lnTo>
                  <a:lnTo>
                    <a:pt x="3889945" y="11956637"/>
                  </a:lnTo>
                  <a:lnTo>
                    <a:pt x="3922780" y="11950034"/>
                  </a:lnTo>
                  <a:lnTo>
                    <a:pt x="3957594" y="11830654"/>
                  </a:lnTo>
                  <a:lnTo>
                    <a:pt x="3979524" y="11728005"/>
                  </a:lnTo>
                  <a:lnTo>
                    <a:pt x="4003033" y="11624946"/>
                  </a:lnTo>
                  <a:lnTo>
                    <a:pt x="4009135" y="11598211"/>
                  </a:lnTo>
                  <a:lnTo>
                    <a:pt x="4027388" y="11574898"/>
                  </a:lnTo>
                  <a:lnTo>
                    <a:pt x="4031595" y="11548775"/>
                  </a:lnTo>
                  <a:lnTo>
                    <a:pt x="4035614" y="11523753"/>
                  </a:lnTo>
                  <a:lnTo>
                    <a:pt x="4033905" y="11499775"/>
                  </a:lnTo>
                  <a:lnTo>
                    <a:pt x="4032953" y="11475327"/>
                  </a:lnTo>
                  <a:lnTo>
                    <a:pt x="4032005" y="11450874"/>
                  </a:lnTo>
                  <a:lnTo>
                    <a:pt x="4031629" y="11426624"/>
                  </a:lnTo>
                  <a:lnTo>
                    <a:pt x="4041111" y="11400514"/>
                  </a:lnTo>
                  <a:lnTo>
                    <a:pt x="4064775" y="11344340"/>
                  </a:lnTo>
                  <a:lnTo>
                    <a:pt x="4092283" y="11324364"/>
                  </a:lnTo>
                  <a:lnTo>
                    <a:pt x="4122725" y="11320262"/>
                  </a:lnTo>
                  <a:lnTo>
                    <a:pt x="4155892" y="11324904"/>
                  </a:lnTo>
                  <a:lnTo>
                    <a:pt x="4203300" y="11343626"/>
                  </a:lnTo>
                  <a:lnTo>
                    <a:pt x="4231499" y="11365383"/>
                  </a:lnTo>
                  <a:lnTo>
                    <a:pt x="4249229" y="11385551"/>
                  </a:lnTo>
                  <a:lnTo>
                    <a:pt x="4269165" y="11408204"/>
                  </a:lnTo>
                  <a:lnTo>
                    <a:pt x="4277494" y="11447121"/>
                  </a:lnTo>
                  <a:lnTo>
                    <a:pt x="4291397" y="11473963"/>
                  </a:lnTo>
                  <a:lnTo>
                    <a:pt x="4438547" y="11424191"/>
                  </a:lnTo>
                  <a:lnTo>
                    <a:pt x="4461420" y="11419554"/>
                  </a:lnTo>
                  <a:lnTo>
                    <a:pt x="4483757" y="11376457"/>
                  </a:lnTo>
                  <a:lnTo>
                    <a:pt x="4503585" y="11359712"/>
                  </a:lnTo>
                  <a:lnTo>
                    <a:pt x="4519640" y="11375778"/>
                  </a:lnTo>
                  <a:lnTo>
                    <a:pt x="4547747" y="11385946"/>
                  </a:lnTo>
                  <a:lnTo>
                    <a:pt x="4572951" y="11397798"/>
                  </a:lnTo>
                  <a:lnTo>
                    <a:pt x="4598165" y="11409649"/>
                  </a:lnTo>
                  <a:lnTo>
                    <a:pt x="4619479" y="11422938"/>
                  </a:lnTo>
                  <a:lnTo>
                    <a:pt x="4638241" y="11448124"/>
                  </a:lnTo>
                  <a:lnTo>
                    <a:pt x="4675444" y="11406516"/>
                  </a:lnTo>
                  <a:lnTo>
                    <a:pt x="4694008" y="11366518"/>
                  </a:lnTo>
                  <a:lnTo>
                    <a:pt x="4712580" y="11326513"/>
                  </a:lnTo>
                  <a:lnTo>
                    <a:pt x="4730241" y="11283858"/>
                  </a:lnTo>
                  <a:lnTo>
                    <a:pt x="4756581" y="11272659"/>
                  </a:lnTo>
                  <a:lnTo>
                    <a:pt x="4817786" y="11333867"/>
                  </a:lnTo>
                  <a:lnTo>
                    <a:pt x="4842104" y="11346780"/>
                  </a:lnTo>
                  <a:lnTo>
                    <a:pt x="4866927" y="11340000"/>
                  </a:lnTo>
                  <a:lnTo>
                    <a:pt x="4892600" y="11322986"/>
                  </a:lnTo>
                  <a:lnTo>
                    <a:pt x="4918530" y="11305826"/>
                  </a:lnTo>
                  <a:lnTo>
                    <a:pt x="4945558" y="11296612"/>
                  </a:lnTo>
                  <a:lnTo>
                    <a:pt x="4972853" y="11305297"/>
                  </a:lnTo>
                  <a:lnTo>
                    <a:pt x="4998687" y="11322260"/>
                  </a:lnTo>
                  <a:lnTo>
                    <a:pt x="5019960" y="11364348"/>
                  </a:lnTo>
                  <a:lnTo>
                    <a:pt x="5039503" y="11404590"/>
                  </a:lnTo>
                  <a:lnTo>
                    <a:pt x="5059049" y="11444833"/>
                  </a:lnTo>
                  <a:lnTo>
                    <a:pt x="5077014" y="11482858"/>
                  </a:lnTo>
                  <a:lnTo>
                    <a:pt x="5131962" y="11482291"/>
                  </a:lnTo>
                  <a:lnTo>
                    <a:pt x="5149406" y="11463345"/>
                  </a:lnTo>
                  <a:lnTo>
                    <a:pt x="5163281" y="11445400"/>
                  </a:lnTo>
                  <a:lnTo>
                    <a:pt x="5177150" y="11427448"/>
                  </a:lnTo>
                  <a:lnTo>
                    <a:pt x="5208165" y="11407314"/>
                  </a:lnTo>
                  <a:lnTo>
                    <a:pt x="5247010" y="11421012"/>
                  </a:lnTo>
                  <a:lnTo>
                    <a:pt x="5273938" y="11420577"/>
                  </a:lnTo>
                  <a:lnTo>
                    <a:pt x="5295221" y="11412756"/>
                  </a:lnTo>
                  <a:lnTo>
                    <a:pt x="5316500" y="11404927"/>
                  </a:lnTo>
                  <a:lnTo>
                    <a:pt x="5331941" y="11389165"/>
                  </a:lnTo>
                  <a:lnTo>
                    <a:pt x="5344185" y="11371946"/>
                  </a:lnTo>
                  <a:lnTo>
                    <a:pt x="5356432" y="11354733"/>
                  </a:lnTo>
                  <a:lnTo>
                    <a:pt x="5366463" y="11336095"/>
                  </a:lnTo>
                  <a:lnTo>
                    <a:pt x="5389922" y="11307143"/>
                  </a:lnTo>
                  <a:lnTo>
                    <a:pt x="5423083" y="11297133"/>
                  </a:lnTo>
                  <a:lnTo>
                    <a:pt x="5455614" y="11339960"/>
                  </a:lnTo>
                  <a:lnTo>
                    <a:pt x="5477675" y="11359218"/>
                  </a:lnTo>
                  <a:lnTo>
                    <a:pt x="5523777" y="11350097"/>
                  </a:lnTo>
                  <a:lnTo>
                    <a:pt x="5559155" y="11325860"/>
                  </a:lnTo>
                  <a:lnTo>
                    <a:pt x="5567260" y="11293057"/>
                  </a:lnTo>
                  <a:lnTo>
                    <a:pt x="5584471" y="11265340"/>
                  </a:lnTo>
                  <a:lnTo>
                    <a:pt x="5623024" y="11256331"/>
                  </a:lnTo>
                  <a:lnTo>
                    <a:pt x="5644790" y="11263129"/>
                  </a:lnTo>
                  <a:lnTo>
                    <a:pt x="5665979" y="11298011"/>
                  </a:lnTo>
                  <a:lnTo>
                    <a:pt x="5673353" y="11318896"/>
                  </a:lnTo>
                  <a:lnTo>
                    <a:pt x="5680732" y="11339782"/>
                  </a:lnTo>
                  <a:lnTo>
                    <a:pt x="5687615" y="11359864"/>
                  </a:lnTo>
                  <a:lnTo>
                    <a:pt x="5748163" y="11380109"/>
                  </a:lnTo>
                  <a:lnTo>
                    <a:pt x="5772652" y="11371946"/>
                  </a:lnTo>
                  <a:lnTo>
                    <a:pt x="5794731" y="11327179"/>
                  </a:lnTo>
                  <a:lnTo>
                    <a:pt x="5795171" y="11298649"/>
                  </a:lnTo>
                  <a:lnTo>
                    <a:pt x="5793048" y="11271294"/>
                  </a:lnTo>
                  <a:lnTo>
                    <a:pt x="5790933" y="11243932"/>
                  </a:lnTo>
                  <a:lnTo>
                    <a:pt x="5785860" y="11217084"/>
                  </a:lnTo>
                  <a:lnTo>
                    <a:pt x="5794406" y="11174719"/>
                  </a:lnTo>
                  <a:lnTo>
                    <a:pt x="5799835" y="11147745"/>
                  </a:lnTo>
                  <a:lnTo>
                    <a:pt x="5847286" y="11095679"/>
                  </a:lnTo>
                  <a:lnTo>
                    <a:pt x="5862420" y="11063178"/>
                  </a:lnTo>
                  <a:lnTo>
                    <a:pt x="5911388" y="10955728"/>
                  </a:lnTo>
                  <a:lnTo>
                    <a:pt x="5932531" y="10938602"/>
                  </a:lnTo>
                  <a:lnTo>
                    <a:pt x="5963691" y="10932039"/>
                  </a:lnTo>
                  <a:lnTo>
                    <a:pt x="5990282" y="10917643"/>
                  </a:lnTo>
                  <a:lnTo>
                    <a:pt x="6026066" y="10878957"/>
                  </a:lnTo>
                  <a:lnTo>
                    <a:pt x="6045516" y="10817051"/>
                  </a:lnTo>
                  <a:lnTo>
                    <a:pt x="6085492" y="10784340"/>
                  </a:lnTo>
                  <a:lnTo>
                    <a:pt x="6119074" y="10774857"/>
                  </a:lnTo>
                  <a:lnTo>
                    <a:pt x="6141687" y="10758454"/>
                  </a:lnTo>
                  <a:lnTo>
                    <a:pt x="6157580" y="10736732"/>
                  </a:lnTo>
                  <a:lnTo>
                    <a:pt x="6172795" y="10714387"/>
                  </a:lnTo>
                  <a:lnTo>
                    <a:pt x="6183969" y="10688370"/>
                  </a:lnTo>
                  <a:lnTo>
                    <a:pt x="6207909" y="10666001"/>
                  </a:lnTo>
                  <a:lnTo>
                    <a:pt x="6230779" y="10644633"/>
                  </a:lnTo>
                  <a:lnTo>
                    <a:pt x="6256579" y="10638282"/>
                  </a:lnTo>
                  <a:lnTo>
                    <a:pt x="6282720" y="10629281"/>
                  </a:lnTo>
                  <a:lnTo>
                    <a:pt x="6308870" y="10620272"/>
                  </a:lnTo>
                  <a:lnTo>
                    <a:pt x="6335492" y="10608045"/>
                  </a:lnTo>
                  <a:lnTo>
                    <a:pt x="6358892" y="10574872"/>
                  </a:lnTo>
                  <a:lnTo>
                    <a:pt x="6375214" y="10551745"/>
                  </a:lnTo>
                  <a:lnTo>
                    <a:pt x="6382546" y="10530324"/>
                  </a:lnTo>
                  <a:lnTo>
                    <a:pt x="6392893" y="10505501"/>
                  </a:lnTo>
                  <a:lnTo>
                    <a:pt x="6402992" y="10481271"/>
                  </a:lnTo>
                  <a:lnTo>
                    <a:pt x="6416808" y="10457636"/>
                  </a:lnTo>
                  <a:lnTo>
                    <a:pt x="6426903" y="10433412"/>
                  </a:lnTo>
                  <a:lnTo>
                    <a:pt x="6454077" y="10368182"/>
                  </a:lnTo>
                  <a:lnTo>
                    <a:pt x="6462445" y="10336638"/>
                  </a:lnTo>
                  <a:lnTo>
                    <a:pt x="6482671" y="10316432"/>
                  </a:lnTo>
                  <a:lnTo>
                    <a:pt x="6502899" y="10296225"/>
                  </a:lnTo>
                  <a:lnTo>
                    <a:pt x="6534091" y="10287855"/>
                  </a:lnTo>
                  <a:lnTo>
                    <a:pt x="6605091" y="10267464"/>
                  </a:lnTo>
                  <a:lnTo>
                    <a:pt x="6624132" y="10237544"/>
                  </a:lnTo>
                  <a:lnTo>
                    <a:pt x="6631372" y="10203329"/>
                  </a:lnTo>
                  <a:lnTo>
                    <a:pt x="6634128" y="10142748"/>
                  </a:lnTo>
                  <a:lnTo>
                    <a:pt x="6630048" y="10100758"/>
                  </a:lnTo>
                  <a:lnTo>
                    <a:pt x="6618058" y="10068357"/>
                  </a:lnTo>
                  <a:lnTo>
                    <a:pt x="6586053" y="10062072"/>
                  </a:lnTo>
                  <a:lnTo>
                    <a:pt x="6551225" y="10062139"/>
                  </a:lnTo>
                  <a:lnTo>
                    <a:pt x="6527834" y="10044022"/>
                  </a:lnTo>
                  <a:lnTo>
                    <a:pt x="6522175" y="10015077"/>
                  </a:lnTo>
                  <a:lnTo>
                    <a:pt x="6520764" y="9985902"/>
                  </a:lnTo>
                  <a:lnTo>
                    <a:pt x="6519344" y="9956725"/>
                  </a:lnTo>
                  <a:lnTo>
                    <a:pt x="6522774" y="9926983"/>
                  </a:lnTo>
                  <a:lnTo>
                    <a:pt x="6543358" y="9891983"/>
                  </a:lnTo>
                  <a:lnTo>
                    <a:pt x="6569130" y="9871031"/>
                  </a:lnTo>
                  <a:lnTo>
                    <a:pt x="6595575" y="9860763"/>
                  </a:lnTo>
                  <a:lnTo>
                    <a:pt x="6616845" y="9781255"/>
                  </a:lnTo>
                  <a:lnTo>
                    <a:pt x="6652465" y="9710551"/>
                  </a:lnTo>
                  <a:lnTo>
                    <a:pt x="6689427" y="9637690"/>
                  </a:lnTo>
                  <a:lnTo>
                    <a:pt x="6700592" y="9615644"/>
                  </a:lnTo>
                  <a:lnTo>
                    <a:pt x="6683989" y="9579207"/>
                  </a:lnTo>
                  <a:lnTo>
                    <a:pt x="6662374" y="9546780"/>
                  </a:lnTo>
                  <a:lnTo>
                    <a:pt x="6670448" y="9489899"/>
                  </a:lnTo>
                  <a:lnTo>
                    <a:pt x="6704601" y="9450350"/>
                  </a:lnTo>
                  <a:lnTo>
                    <a:pt x="6727515" y="9415983"/>
                  </a:lnTo>
                  <a:lnTo>
                    <a:pt x="6766253" y="9221750"/>
                  </a:lnTo>
                  <a:lnTo>
                    <a:pt x="6771041" y="9183388"/>
                  </a:lnTo>
                  <a:lnTo>
                    <a:pt x="6720027" y="9131617"/>
                  </a:lnTo>
                  <a:lnTo>
                    <a:pt x="6707351" y="9086205"/>
                  </a:lnTo>
                  <a:lnTo>
                    <a:pt x="6723003" y="9056456"/>
                  </a:lnTo>
                  <a:lnTo>
                    <a:pt x="6739753" y="9026963"/>
                  </a:lnTo>
                  <a:lnTo>
                    <a:pt x="6756505" y="8997477"/>
                  </a:lnTo>
                  <a:lnTo>
                    <a:pt x="6774020" y="8968782"/>
                  </a:lnTo>
                  <a:lnTo>
                    <a:pt x="6779198" y="8935828"/>
                  </a:lnTo>
                  <a:lnTo>
                    <a:pt x="6754632" y="8922269"/>
                  </a:lnTo>
                  <a:lnTo>
                    <a:pt x="6710216" y="8892711"/>
                  </a:lnTo>
                  <a:lnTo>
                    <a:pt x="6694868" y="8867821"/>
                  </a:lnTo>
                  <a:lnTo>
                    <a:pt x="6699532" y="8846751"/>
                  </a:lnTo>
                  <a:lnTo>
                    <a:pt x="6723431" y="8821571"/>
                  </a:lnTo>
                  <a:lnTo>
                    <a:pt x="6751454" y="8798740"/>
                  </a:lnTo>
                  <a:lnTo>
                    <a:pt x="6763751" y="8778447"/>
                  </a:lnTo>
                  <a:lnTo>
                    <a:pt x="6785747" y="8711568"/>
                  </a:lnTo>
                  <a:lnTo>
                    <a:pt x="6796450" y="8681654"/>
                  </a:lnTo>
                  <a:lnTo>
                    <a:pt x="6829530" y="8661071"/>
                  </a:lnTo>
                  <a:lnTo>
                    <a:pt x="6867794" y="8650856"/>
                  </a:lnTo>
                  <a:lnTo>
                    <a:pt x="6889371" y="8650189"/>
                  </a:lnTo>
                  <a:lnTo>
                    <a:pt x="6932541" y="8648851"/>
                  </a:lnTo>
                  <a:lnTo>
                    <a:pt x="6977822" y="8655043"/>
                  </a:lnTo>
                  <a:lnTo>
                    <a:pt x="7000912" y="8639308"/>
                  </a:lnTo>
                  <a:lnTo>
                    <a:pt x="7018660" y="8627212"/>
                  </a:lnTo>
                  <a:lnTo>
                    <a:pt x="7034659" y="8604580"/>
                  </a:lnTo>
                  <a:lnTo>
                    <a:pt x="7051237" y="8590340"/>
                  </a:lnTo>
                  <a:lnTo>
                    <a:pt x="7086519" y="8560010"/>
                  </a:lnTo>
                  <a:lnTo>
                    <a:pt x="7130045" y="8522941"/>
                  </a:lnTo>
                  <a:lnTo>
                    <a:pt x="7177735" y="8492407"/>
                  </a:lnTo>
                  <a:lnTo>
                    <a:pt x="7201588" y="8477139"/>
                  </a:lnTo>
                  <a:lnTo>
                    <a:pt x="7227605" y="8464312"/>
                  </a:lnTo>
                  <a:lnTo>
                    <a:pt x="7252546" y="8454321"/>
                  </a:lnTo>
                  <a:lnTo>
                    <a:pt x="7277496" y="8444329"/>
                  </a:lnTo>
                  <a:lnTo>
                    <a:pt x="7302655" y="8437795"/>
                  </a:lnTo>
                  <a:lnTo>
                    <a:pt x="7327360" y="8436640"/>
                  </a:lnTo>
                  <a:lnTo>
                    <a:pt x="7376049" y="8434345"/>
                  </a:lnTo>
                  <a:lnTo>
                    <a:pt x="7428182" y="8447837"/>
                  </a:lnTo>
                  <a:lnTo>
                    <a:pt x="7476985" y="8437999"/>
                  </a:lnTo>
                  <a:lnTo>
                    <a:pt x="7497923" y="8433765"/>
                  </a:lnTo>
                  <a:lnTo>
                    <a:pt x="7524356" y="8421135"/>
                  </a:lnTo>
                  <a:lnTo>
                    <a:pt x="7550432" y="8412153"/>
                  </a:lnTo>
                  <a:lnTo>
                    <a:pt x="7576508" y="8403170"/>
                  </a:lnTo>
                  <a:lnTo>
                    <a:pt x="7602131" y="8397084"/>
                  </a:lnTo>
                  <a:lnTo>
                    <a:pt x="7623878" y="8408077"/>
                  </a:lnTo>
                  <a:lnTo>
                    <a:pt x="7643335" y="8429787"/>
                  </a:lnTo>
                  <a:lnTo>
                    <a:pt x="7650680" y="8457097"/>
                  </a:lnTo>
                  <a:lnTo>
                    <a:pt x="7653808" y="8486965"/>
                  </a:lnTo>
                  <a:lnTo>
                    <a:pt x="7660627" y="8517942"/>
                  </a:lnTo>
                  <a:lnTo>
                    <a:pt x="7679633" y="8545772"/>
                  </a:lnTo>
                  <a:lnTo>
                    <a:pt x="7719097" y="8567219"/>
                  </a:lnTo>
                  <a:lnTo>
                    <a:pt x="7727999" y="8596124"/>
                  </a:lnTo>
                  <a:lnTo>
                    <a:pt x="7722815" y="8640712"/>
                  </a:lnTo>
                  <a:lnTo>
                    <a:pt x="7732703" y="8662437"/>
                  </a:lnTo>
                  <a:lnTo>
                    <a:pt x="7742429" y="8683837"/>
                  </a:lnTo>
                  <a:lnTo>
                    <a:pt x="7767938" y="8693630"/>
                  </a:lnTo>
                  <a:lnTo>
                    <a:pt x="7778945" y="8714120"/>
                  </a:lnTo>
                  <a:lnTo>
                    <a:pt x="7789933" y="8750465"/>
                  </a:lnTo>
                  <a:lnTo>
                    <a:pt x="7823829" y="8759006"/>
                  </a:lnTo>
                  <a:lnTo>
                    <a:pt x="7840073" y="8740257"/>
                  </a:lnTo>
                  <a:lnTo>
                    <a:pt x="7845673" y="8709748"/>
                  </a:lnTo>
                  <a:lnTo>
                    <a:pt x="7846953" y="8674676"/>
                  </a:lnTo>
                  <a:lnTo>
                    <a:pt x="7852029" y="8640007"/>
                  </a:lnTo>
                  <a:lnTo>
                    <a:pt x="7866354" y="8614128"/>
                  </a:lnTo>
                  <a:lnTo>
                    <a:pt x="7897279" y="8603946"/>
                  </a:lnTo>
                  <a:lnTo>
                    <a:pt x="7931202" y="8612975"/>
                  </a:lnTo>
                  <a:lnTo>
                    <a:pt x="7944206" y="8652867"/>
                  </a:lnTo>
                  <a:lnTo>
                    <a:pt x="7966648" y="8661071"/>
                  </a:lnTo>
                  <a:lnTo>
                    <a:pt x="7990746" y="8669895"/>
                  </a:lnTo>
                  <a:lnTo>
                    <a:pt x="8027435" y="8665523"/>
                  </a:lnTo>
                  <a:lnTo>
                    <a:pt x="8048262" y="8652913"/>
                  </a:lnTo>
                  <a:lnTo>
                    <a:pt x="8072446" y="8638260"/>
                  </a:lnTo>
                  <a:lnTo>
                    <a:pt x="8086942" y="8620881"/>
                  </a:lnTo>
                  <a:lnTo>
                    <a:pt x="8104792" y="8584286"/>
                  </a:lnTo>
                  <a:lnTo>
                    <a:pt x="8109467" y="8546814"/>
                  </a:lnTo>
                  <a:lnTo>
                    <a:pt x="8110509" y="8507944"/>
                  </a:lnTo>
                  <a:lnTo>
                    <a:pt x="8113873" y="8474146"/>
                  </a:lnTo>
                  <a:lnTo>
                    <a:pt x="8127156" y="8447521"/>
                  </a:lnTo>
                  <a:lnTo>
                    <a:pt x="8160060" y="8439384"/>
                  </a:lnTo>
                  <a:lnTo>
                    <a:pt x="8189729" y="8458403"/>
                  </a:lnTo>
                  <a:lnTo>
                    <a:pt x="8202727" y="8491760"/>
                  </a:lnTo>
                  <a:lnTo>
                    <a:pt x="8201970" y="8515528"/>
                  </a:lnTo>
                  <a:lnTo>
                    <a:pt x="8201204" y="8539303"/>
                  </a:lnTo>
                  <a:lnTo>
                    <a:pt x="8196628" y="8566315"/>
                  </a:lnTo>
                  <a:lnTo>
                    <a:pt x="8195161" y="8590340"/>
                  </a:lnTo>
                  <a:lnTo>
                    <a:pt x="8193704" y="8614367"/>
                  </a:lnTo>
                  <a:lnTo>
                    <a:pt x="8203328" y="8648831"/>
                  </a:lnTo>
                  <a:lnTo>
                    <a:pt x="8230586" y="8662060"/>
                  </a:lnTo>
                  <a:lnTo>
                    <a:pt x="8253654" y="8666512"/>
                  </a:lnTo>
                  <a:lnTo>
                    <a:pt x="8276729" y="8670969"/>
                  </a:lnTo>
                  <a:lnTo>
                    <a:pt x="8300696" y="8674103"/>
                  </a:lnTo>
                  <a:lnTo>
                    <a:pt x="8326521" y="8678462"/>
                  </a:lnTo>
                  <a:lnTo>
                    <a:pt x="8387621" y="8690213"/>
                  </a:lnTo>
                  <a:lnTo>
                    <a:pt x="8446799" y="8701881"/>
                  </a:lnTo>
                  <a:lnTo>
                    <a:pt x="8505980" y="8713540"/>
                  </a:lnTo>
                  <a:lnTo>
                    <a:pt x="8564128" y="8724513"/>
                  </a:lnTo>
                  <a:lnTo>
                    <a:pt x="8590198" y="8711634"/>
                  </a:lnTo>
                  <a:lnTo>
                    <a:pt x="8606600" y="8678033"/>
                  </a:lnTo>
                  <a:lnTo>
                    <a:pt x="8623628" y="8642032"/>
                  </a:lnTo>
                  <a:lnTo>
                    <a:pt x="8640657" y="8606023"/>
                  </a:lnTo>
                  <a:lnTo>
                    <a:pt x="8658507" y="8567424"/>
                  </a:lnTo>
                  <a:lnTo>
                    <a:pt x="8675318" y="8546814"/>
                  </a:lnTo>
                  <a:lnTo>
                    <a:pt x="8695974" y="8521484"/>
                  </a:lnTo>
                  <a:lnTo>
                    <a:pt x="8726323" y="8497636"/>
                  </a:lnTo>
                  <a:lnTo>
                    <a:pt x="8750129" y="8474726"/>
                  </a:lnTo>
                  <a:lnTo>
                    <a:pt x="8758947" y="8442318"/>
                  </a:lnTo>
                  <a:lnTo>
                    <a:pt x="8755564" y="8418958"/>
                  </a:lnTo>
                  <a:lnTo>
                    <a:pt x="8752175" y="8395594"/>
                  </a:lnTo>
                  <a:lnTo>
                    <a:pt x="8747599" y="8371278"/>
                  </a:lnTo>
                  <a:lnTo>
                    <a:pt x="8761341" y="8335903"/>
                  </a:lnTo>
                  <a:lnTo>
                    <a:pt x="8796210" y="8306279"/>
                  </a:lnTo>
                  <a:lnTo>
                    <a:pt x="8809973" y="8288380"/>
                  </a:lnTo>
                  <a:lnTo>
                    <a:pt x="8829963" y="8262370"/>
                  </a:lnTo>
                  <a:lnTo>
                    <a:pt x="8847267" y="8235264"/>
                  </a:lnTo>
                  <a:lnTo>
                    <a:pt x="8863015" y="8208126"/>
                  </a:lnTo>
                  <a:lnTo>
                    <a:pt x="8878769" y="8180988"/>
                  </a:lnTo>
                  <a:lnTo>
                    <a:pt x="8892065" y="8153376"/>
                  </a:lnTo>
                  <a:lnTo>
                    <a:pt x="8903825" y="8122432"/>
                  </a:lnTo>
                  <a:lnTo>
                    <a:pt x="8918717" y="8083265"/>
                  </a:lnTo>
                  <a:lnTo>
                    <a:pt x="8914609" y="8031970"/>
                  </a:lnTo>
                  <a:lnTo>
                    <a:pt x="8907899" y="7986413"/>
                  </a:lnTo>
                  <a:lnTo>
                    <a:pt x="8901199" y="7940855"/>
                  </a:lnTo>
                  <a:lnTo>
                    <a:pt x="8891928" y="7901206"/>
                  </a:lnTo>
                  <a:lnTo>
                    <a:pt x="8939569" y="7855325"/>
                  </a:lnTo>
                  <a:lnTo>
                    <a:pt x="9000532" y="7849575"/>
                  </a:lnTo>
                  <a:lnTo>
                    <a:pt x="9050718" y="7836794"/>
                  </a:lnTo>
                  <a:lnTo>
                    <a:pt x="9075815" y="7830404"/>
                  </a:lnTo>
                  <a:lnTo>
                    <a:pt x="9098480" y="7822021"/>
                  </a:lnTo>
                  <a:lnTo>
                    <a:pt x="9114649" y="7808224"/>
                  </a:lnTo>
                  <a:lnTo>
                    <a:pt x="9130822" y="7794435"/>
                  </a:lnTo>
                  <a:lnTo>
                    <a:pt x="9140471" y="7775409"/>
                  </a:lnTo>
                  <a:lnTo>
                    <a:pt x="9140490" y="7747017"/>
                  </a:lnTo>
                  <a:lnTo>
                    <a:pt x="9104284" y="7659199"/>
                  </a:lnTo>
                  <a:lnTo>
                    <a:pt x="9097993" y="7624853"/>
                  </a:lnTo>
                  <a:lnTo>
                    <a:pt x="9091404" y="7598652"/>
                  </a:lnTo>
                  <a:lnTo>
                    <a:pt x="9088806" y="7574270"/>
                  </a:lnTo>
                  <a:lnTo>
                    <a:pt x="9093097" y="7529596"/>
                  </a:lnTo>
                  <a:lnTo>
                    <a:pt x="9081194" y="7480017"/>
                  </a:lnTo>
                  <a:lnTo>
                    <a:pt x="9062538" y="7443250"/>
                  </a:lnTo>
                  <a:lnTo>
                    <a:pt x="9050718" y="7412412"/>
                  </a:lnTo>
                  <a:lnTo>
                    <a:pt x="9059595" y="7362093"/>
                  </a:lnTo>
                  <a:lnTo>
                    <a:pt x="9077052" y="7345197"/>
                  </a:lnTo>
                  <a:lnTo>
                    <a:pt x="9096970" y="7333517"/>
                  </a:lnTo>
                  <a:lnTo>
                    <a:pt x="9116885" y="7321844"/>
                  </a:lnTo>
                  <a:lnTo>
                    <a:pt x="9139467" y="7315546"/>
                  </a:lnTo>
                  <a:lnTo>
                    <a:pt x="9162259" y="7304954"/>
                  </a:lnTo>
                  <a:lnTo>
                    <a:pt x="9185051" y="7294363"/>
                  </a:lnTo>
                  <a:lnTo>
                    <a:pt x="9207329" y="7279920"/>
                  </a:lnTo>
                  <a:lnTo>
                    <a:pt x="9226190" y="7253264"/>
                  </a:lnTo>
                  <a:lnTo>
                    <a:pt x="9245045" y="7226613"/>
                  </a:lnTo>
                  <a:lnTo>
                    <a:pt x="9260247" y="7188000"/>
                  </a:lnTo>
                  <a:lnTo>
                    <a:pt x="9268352" y="7128126"/>
                  </a:lnTo>
                  <a:lnTo>
                    <a:pt x="9297652" y="7134760"/>
                  </a:lnTo>
                  <a:lnTo>
                    <a:pt x="9313837" y="7148900"/>
                  </a:lnTo>
                  <a:lnTo>
                    <a:pt x="9342564" y="7164483"/>
                  </a:lnTo>
                  <a:lnTo>
                    <a:pt x="9369009" y="7163494"/>
                  </a:lnTo>
                  <a:lnTo>
                    <a:pt x="9395897" y="7159194"/>
                  </a:lnTo>
                  <a:lnTo>
                    <a:pt x="9422224" y="7138163"/>
                  </a:lnTo>
                  <a:lnTo>
                    <a:pt x="9456061" y="7109086"/>
                  </a:lnTo>
                  <a:lnTo>
                    <a:pt x="9480193" y="7088345"/>
                  </a:lnTo>
                  <a:lnTo>
                    <a:pt x="9518687" y="7052911"/>
                  </a:lnTo>
                  <a:lnTo>
                    <a:pt x="9543116" y="7013869"/>
                  </a:lnTo>
                  <a:lnTo>
                    <a:pt x="9555330" y="6994355"/>
                  </a:lnTo>
                  <a:lnTo>
                    <a:pt x="9563791" y="6973897"/>
                  </a:lnTo>
                  <a:lnTo>
                    <a:pt x="9568690" y="6934150"/>
                  </a:lnTo>
                  <a:lnTo>
                    <a:pt x="9551280" y="6896895"/>
                  </a:lnTo>
                  <a:lnTo>
                    <a:pt x="9523790" y="6866815"/>
                  </a:lnTo>
                  <a:lnTo>
                    <a:pt x="9499872" y="6834474"/>
                  </a:lnTo>
                  <a:lnTo>
                    <a:pt x="9485982" y="6796237"/>
                  </a:lnTo>
                  <a:lnTo>
                    <a:pt x="9480695" y="6773689"/>
                  </a:lnTo>
                  <a:lnTo>
                    <a:pt x="9481520" y="6750118"/>
                  </a:lnTo>
                  <a:lnTo>
                    <a:pt x="9488701" y="6726872"/>
                  </a:lnTo>
                  <a:lnTo>
                    <a:pt x="9495894" y="6703618"/>
                  </a:lnTo>
                  <a:lnTo>
                    <a:pt x="9509580" y="6680312"/>
                  </a:lnTo>
                  <a:lnTo>
                    <a:pt x="9525427" y="6660217"/>
                  </a:lnTo>
                  <a:lnTo>
                    <a:pt x="9541281" y="6640122"/>
                  </a:lnTo>
                  <a:lnTo>
                    <a:pt x="9560514" y="6622969"/>
                  </a:lnTo>
                  <a:lnTo>
                    <a:pt x="9581195" y="6609891"/>
                  </a:lnTo>
                  <a:lnTo>
                    <a:pt x="9601882" y="6596814"/>
                  </a:lnTo>
                  <a:lnTo>
                    <a:pt x="9623428" y="6588965"/>
                  </a:lnTo>
                  <a:lnTo>
                    <a:pt x="9645126" y="6586770"/>
                  </a:lnTo>
                  <a:lnTo>
                    <a:pt x="9684258" y="6588828"/>
                  </a:lnTo>
                  <a:lnTo>
                    <a:pt x="9720253" y="6603751"/>
                  </a:lnTo>
                  <a:lnTo>
                    <a:pt x="9752583" y="6624855"/>
                  </a:lnTo>
                  <a:lnTo>
                    <a:pt x="9782999" y="6645385"/>
                  </a:lnTo>
                  <a:lnTo>
                    <a:pt x="9807122" y="6664662"/>
                  </a:lnTo>
                  <a:lnTo>
                    <a:pt x="9826029" y="6646619"/>
                  </a:lnTo>
                  <a:lnTo>
                    <a:pt x="9849014" y="6629241"/>
                  </a:lnTo>
                  <a:lnTo>
                    <a:pt x="9865611" y="6604147"/>
                  </a:lnTo>
                  <a:lnTo>
                    <a:pt x="9880438" y="6578605"/>
                  </a:lnTo>
                  <a:lnTo>
                    <a:pt x="9896930" y="6554844"/>
                  </a:lnTo>
                  <a:lnTo>
                    <a:pt x="9921881" y="6525931"/>
                  </a:lnTo>
                  <a:lnTo>
                    <a:pt x="9932128" y="6498359"/>
                  </a:lnTo>
                  <a:lnTo>
                    <a:pt x="9938894" y="6471379"/>
                  </a:lnTo>
                  <a:lnTo>
                    <a:pt x="9928079" y="6446443"/>
                  </a:lnTo>
                  <a:lnTo>
                    <a:pt x="9894038" y="6426263"/>
                  </a:lnTo>
                  <a:lnTo>
                    <a:pt x="9894233" y="6403985"/>
                  </a:lnTo>
                  <a:lnTo>
                    <a:pt x="9910089" y="6389872"/>
                  </a:lnTo>
                  <a:lnTo>
                    <a:pt x="9928039" y="6377295"/>
                  </a:lnTo>
                  <a:lnTo>
                    <a:pt x="9945997" y="6364726"/>
                  </a:lnTo>
                  <a:lnTo>
                    <a:pt x="9966678" y="6352961"/>
                  </a:lnTo>
                  <a:lnTo>
                    <a:pt x="9987157" y="6324088"/>
                  </a:lnTo>
                  <a:lnTo>
                    <a:pt x="9997954" y="6248352"/>
                  </a:lnTo>
                  <a:lnTo>
                    <a:pt x="10009658" y="6219513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01" name="Kiev City¬0" descr="Kiev City¬0">
              <a:extLst>
                <a:ext uri="{FF2B5EF4-FFF2-40B4-BE49-F238E27FC236}">
                  <a16:creationId xmlns:a16="http://schemas.microsoft.com/office/drawing/2014/main" id="{B6499E60-C308-4691-A0E1-E36548B2D37E}"/>
                </a:ext>
              </a:extLst>
            </p:cNvPr>
            <p:cNvSpPr/>
            <p:nvPr/>
          </p:nvSpPr>
          <p:spPr>
            <a:xfrm>
              <a:off x="3654206" y="1998561"/>
              <a:ext cx="203141" cy="174909"/>
            </a:xfrm>
            <a:custGeom>
              <a:avLst/>
              <a:gdLst/>
              <a:ahLst/>
              <a:cxnLst/>
              <a:rect l="0" t="0" r="0" b="0"/>
              <a:pathLst>
                <a:path w="2072938" h="2026101">
                  <a:moveTo>
                    <a:pt x="1742749" y="0"/>
                  </a:moveTo>
                  <a:lnTo>
                    <a:pt x="1762813" y="13006"/>
                  </a:lnTo>
                  <a:lnTo>
                    <a:pt x="1800898" y="51091"/>
                  </a:lnTo>
                  <a:lnTo>
                    <a:pt x="1877070" y="105499"/>
                  </a:lnTo>
                  <a:lnTo>
                    <a:pt x="1947800" y="100058"/>
                  </a:lnTo>
                  <a:lnTo>
                    <a:pt x="2062057" y="203434"/>
                  </a:lnTo>
                  <a:lnTo>
                    <a:pt x="2067495" y="274163"/>
                  </a:lnTo>
                  <a:lnTo>
                    <a:pt x="1926034" y="366657"/>
                  </a:lnTo>
                  <a:lnTo>
                    <a:pt x="1893391" y="334012"/>
                  </a:lnTo>
                  <a:lnTo>
                    <a:pt x="1844424" y="361216"/>
                  </a:lnTo>
                  <a:lnTo>
                    <a:pt x="1844424" y="421065"/>
                  </a:lnTo>
                  <a:lnTo>
                    <a:pt x="1784576" y="470032"/>
                  </a:lnTo>
                  <a:lnTo>
                    <a:pt x="1779135" y="546203"/>
                  </a:lnTo>
                  <a:lnTo>
                    <a:pt x="1833544" y="567966"/>
                  </a:lnTo>
                  <a:lnTo>
                    <a:pt x="1844424" y="758394"/>
                  </a:lnTo>
                  <a:lnTo>
                    <a:pt x="1958680" y="791039"/>
                  </a:lnTo>
                  <a:lnTo>
                    <a:pt x="2040294" y="883532"/>
                  </a:lnTo>
                  <a:lnTo>
                    <a:pt x="2023969" y="921618"/>
                  </a:lnTo>
                  <a:lnTo>
                    <a:pt x="2072937" y="992348"/>
                  </a:lnTo>
                  <a:lnTo>
                    <a:pt x="2034852" y="1019553"/>
                  </a:lnTo>
                  <a:lnTo>
                    <a:pt x="1969563" y="1014112"/>
                  </a:lnTo>
                  <a:lnTo>
                    <a:pt x="1958680" y="1068520"/>
                  </a:lnTo>
                  <a:lnTo>
                    <a:pt x="1887950" y="1155572"/>
                  </a:lnTo>
                  <a:lnTo>
                    <a:pt x="1893391" y="1186859"/>
                  </a:lnTo>
                  <a:lnTo>
                    <a:pt x="1893391" y="1220862"/>
                  </a:lnTo>
                  <a:lnTo>
                    <a:pt x="1871628" y="1231744"/>
                  </a:lnTo>
                  <a:lnTo>
                    <a:pt x="1851223" y="1237184"/>
                  </a:lnTo>
                  <a:lnTo>
                    <a:pt x="1828102" y="1220862"/>
                  </a:lnTo>
                  <a:lnTo>
                    <a:pt x="1806339" y="1166454"/>
                  </a:lnTo>
                  <a:lnTo>
                    <a:pt x="1757372" y="1166454"/>
                  </a:lnTo>
                  <a:lnTo>
                    <a:pt x="1762813" y="1280710"/>
                  </a:lnTo>
                  <a:lnTo>
                    <a:pt x="1626790" y="1324237"/>
                  </a:lnTo>
                  <a:lnTo>
                    <a:pt x="1566943" y="1280710"/>
                  </a:lnTo>
                  <a:lnTo>
                    <a:pt x="1523417" y="1286151"/>
                  </a:lnTo>
                  <a:lnTo>
                    <a:pt x="1490771" y="1248066"/>
                  </a:lnTo>
                  <a:lnTo>
                    <a:pt x="1338430" y="1275270"/>
                  </a:lnTo>
                  <a:lnTo>
                    <a:pt x="1360872" y="1303193"/>
                  </a:lnTo>
                  <a:lnTo>
                    <a:pt x="1383314" y="1331036"/>
                  </a:lnTo>
                  <a:lnTo>
                    <a:pt x="1412010" y="1363319"/>
                  </a:lnTo>
                  <a:lnTo>
                    <a:pt x="1426849" y="1400408"/>
                  </a:lnTo>
                  <a:lnTo>
                    <a:pt x="1460850" y="1427612"/>
                  </a:lnTo>
                  <a:lnTo>
                    <a:pt x="1460850" y="1454816"/>
                  </a:lnTo>
                  <a:lnTo>
                    <a:pt x="1460850" y="1482020"/>
                  </a:lnTo>
                  <a:lnTo>
                    <a:pt x="1458134" y="1569073"/>
                  </a:lnTo>
                  <a:lnTo>
                    <a:pt x="1463575" y="1732297"/>
                  </a:lnTo>
                  <a:lnTo>
                    <a:pt x="1398286" y="1759501"/>
                  </a:lnTo>
                  <a:lnTo>
                    <a:pt x="1436371" y="1835672"/>
                  </a:lnTo>
                  <a:lnTo>
                    <a:pt x="1403725" y="1884639"/>
                  </a:lnTo>
                  <a:lnTo>
                    <a:pt x="1441812" y="1928166"/>
                  </a:lnTo>
                  <a:lnTo>
                    <a:pt x="1463575" y="1971692"/>
                  </a:lnTo>
                  <a:lnTo>
                    <a:pt x="1251384" y="2026100"/>
                  </a:lnTo>
                  <a:lnTo>
                    <a:pt x="1093601" y="1726856"/>
                  </a:lnTo>
                  <a:lnTo>
                    <a:pt x="1094280" y="1703727"/>
                  </a:lnTo>
                  <a:lnTo>
                    <a:pt x="1092243" y="1680606"/>
                  </a:lnTo>
                  <a:lnTo>
                    <a:pt x="1090197" y="1657484"/>
                  </a:lnTo>
                  <a:lnTo>
                    <a:pt x="1085444" y="1634363"/>
                  </a:lnTo>
                  <a:lnTo>
                    <a:pt x="1058239" y="1634363"/>
                  </a:lnTo>
                  <a:lnTo>
                    <a:pt x="1025593" y="1619398"/>
                  </a:lnTo>
                  <a:lnTo>
                    <a:pt x="1003824" y="1596276"/>
                  </a:lnTo>
                  <a:lnTo>
                    <a:pt x="1028312" y="1547310"/>
                  </a:lnTo>
                  <a:lnTo>
                    <a:pt x="1028312" y="1520106"/>
                  </a:lnTo>
                  <a:lnTo>
                    <a:pt x="1017429" y="1492901"/>
                  </a:lnTo>
                  <a:lnTo>
                    <a:pt x="997703" y="1461616"/>
                  </a:lnTo>
                  <a:lnTo>
                    <a:pt x="980703" y="1448010"/>
                  </a:lnTo>
                  <a:lnTo>
                    <a:pt x="963702" y="1434411"/>
                  </a:lnTo>
                  <a:lnTo>
                    <a:pt x="943976" y="1424888"/>
                  </a:lnTo>
                  <a:lnTo>
                    <a:pt x="905898" y="1430329"/>
                  </a:lnTo>
                  <a:lnTo>
                    <a:pt x="888209" y="1416731"/>
                  </a:lnTo>
                  <a:lnTo>
                    <a:pt x="873252" y="1397685"/>
                  </a:lnTo>
                  <a:lnTo>
                    <a:pt x="846047" y="1381362"/>
                  </a:lnTo>
                  <a:lnTo>
                    <a:pt x="843325" y="1350076"/>
                  </a:lnTo>
                  <a:lnTo>
                    <a:pt x="848763" y="1324237"/>
                  </a:lnTo>
                  <a:lnTo>
                    <a:pt x="837883" y="1291592"/>
                  </a:lnTo>
                  <a:lnTo>
                    <a:pt x="696422" y="1318797"/>
                  </a:lnTo>
                  <a:lnTo>
                    <a:pt x="680101" y="1248066"/>
                  </a:lnTo>
                  <a:lnTo>
                    <a:pt x="723627" y="1166454"/>
                  </a:lnTo>
                  <a:lnTo>
                    <a:pt x="565844" y="997789"/>
                  </a:lnTo>
                  <a:lnTo>
                    <a:pt x="533198" y="1019553"/>
                  </a:lnTo>
                  <a:lnTo>
                    <a:pt x="489672" y="981467"/>
                  </a:lnTo>
                  <a:lnTo>
                    <a:pt x="505994" y="943381"/>
                  </a:lnTo>
                  <a:lnTo>
                    <a:pt x="429825" y="812803"/>
                  </a:lnTo>
                  <a:lnTo>
                    <a:pt x="380857" y="807362"/>
                  </a:lnTo>
                  <a:lnTo>
                    <a:pt x="342769" y="769276"/>
                  </a:lnTo>
                  <a:lnTo>
                    <a:pt x="130581" y="801921"/>
                  </a:lnTo>
                  <a:lnTo>
                    <a:pt x="92493" y="845447"/>
                  </a:lnTo>
                  <a:lnTo>
                    <a:pt x="102018" y="867210"/>
                  </a:lnTo>
                  <a:lnTo>
                    <a:pt x="103376" y="891691"/>
                  </a:lnTo>
                  <a:lnTo>
                    <a:pt x="54409" y="899855"/>
                  </a:lnTo>
                  <a:lnTo>
                    <a:pt x="0" y="883532"/>
                  </a:lnTo>
                  <a:lnTo>
                    <a:pt x="43526" y="709427"/>
                  </a:lnTo>
                  <a:lnTo>
                    <a:pt x="54409" y="627815"/>
                  </a:lnTo>
                  <a:lnTo>
                    <a:pt x="103376" y="546203"/>
                  </a:lnTo>
                  <a:lnTo>
                    <a:pt x="119019" y="529881"/>
                  </a:lnTo>
                  <a:lnTo>
                    <a:pt x="114256" y="502677"/>
                  </a:lnTo>
                  <a:lnTo>
                    <a:pt x="96577" y="465270"/>
                  </a:lnTo>
                  <a:lnTo>
                    <a:pt x="91135" y="428544"/>
                  </a:lnTo>
                  <a:lnTo>
                    <a:pt x="114256" y="404743"/>
                  </a:lnTo>
                  <a:lnTo>
                    <a:pt x="155745" y="375494"/>
                  </a:lnTo>
                  <a:lnTo>
                    <a:pt x="175465" y="354417"/>
                  </a:lnTo>
                  <a:lnTo>
                    <a:pt x="195191" y="333333"/>
                  </a:lnTo>
                  <a:lnTo>
                    <a:pt x="212191" y="312249"/>
                  </a:lnTo>
                  <a:lnTo>
                    <a:pt x="223074" y="290486"/>
                  </a:lnTo>
                  <a:lnTo>
                    <a:pt x="233954" y="265999"/>
                  </a:lnTo>
                  <a:lnTo>
                    <a:pt x="250276" y="246960"/>
                  </a:lnTo>
                  <a:lnTo>
                    <a:pt x="282922" y="246960"/>
                  </a:lnTo>
                  <a:lnTo>
                    <a:pt x="301969" y="260558"/>
                  </a:lnTo>
                  <a:lnTo>
                    <a:pt x="331890" y="287763"/>
                  </a:lnTo>
                  <a:lnTo>
                    <a:pt x="369974" y="285045"/>
                  </a:lnTo>
                  <a:lnTo>
                    <a:pt x="353653" y="225197"/>
                  </a:lnTo>
                  <a:lnTo>
                    <a:pt x="380857" y="187111"/>
                  </a:lnTo>
                  <a:lnTo>
                    <a:pt x="261159" y="29328"/>
                  </a:lnTo>
                  <a:lnTo>
                    <a:pt x="451588" y="89176"/>
                  </a:lnTo>
                  <a:lnTo>
                    <a:pt x="500555" y="40209"/>
                  </a:lnTo>
                  <a:lnTo>
                    <a:pt x="772594" y="51091"/>
                  </a:lnTo>
                  <a:lnTo>
                    <a:pt x="788916" y="116381"/>
                  </a:lnTo>
                  <a:lnTo>
                    <a:pt x="865088" y="154466"/>
                  </a:lnTo>
                  <a:lnTo>
                    <a:pt x="984786" y="241519"/>
                  </a:lnTo>
                  <a:lnTo>
                    <a:pt x="1158890" y="372098"/>
                  </a:lnTo>
                  <a:lnTo>
                    <a:pt x="1180653" y="306809"/>
                  </a:lnTo>
                  <a:lnTo>
                    <a:pt x="1485338" y="290486"/>
                  </a:lnTo>
                  <a:lnTo>
                    <a:pt x="1507102" y="214315"/>
                  </a:lnTo>
                  <a:lnTo>
                    <a:pt x="1577832" y="149025"/>
                  </a:lnTo>
                  <a:lnTo>
                    <a:pt x="1615917" y="170788"/>
                  </a:lnTo>
                  <a:lnTo>
                    <a:pt x="1659443" y="143585"/>
                  </a:lnTo>
                  <a:lnTo>
                    <a:pt x="1645843" y="117739"/>
                  </a:lnTo>
                  <a:lnTo>
                    <a:pt x="1640396" y="83735"/>
                  </a:lnTo>
                  <a:lnTo>
                    <a:pt x="1654001" y="67413"/>
                  </a:lnTo>
                  <a:lnTo>
                    <a:pt x="1667600" y="51091"/>
                  </a:lnTo>
                  <a:lnTo>
                    <a:pt x="1685289" y="27283"/>
                  </a:lnTo>
                  <a:lnTo>
                    <a:pt x="1704327" y="13006"/>
                  </a:lnTo>
                  <a:lnTo>
                    <a:pt x="1723033" y="1530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02" name="Chernihiv¬0" descr="Chernihiv¬0">
              <a:extLst>
                <a:ext uri="{FF2B5EF4-FFF2-40B4-BE49-F238E27FC236}">
                  <a16:creationId xmlns:a16="http://schemas.microsoft.com/office/drawing/2014/main" id="{FA6463D6-BF13-4EB8-BB28-9540CC758B77}"/>
                </a:ext>
              </a:extLst>
            </p:cNvPr>
            <p:cNvSpPr/>
            <p:nvPr/>
          </p:nvSpPr>
          <p:spPr>
            <a:xfrm>
              <a:off x="3747464" y="1181479"/>
              <a:ext cx="1023467" cy="933866"/>
            </a:xfrm>
            <a:custGeom>
              <a:avLst/>
              <a:gdLst/>
              <a:ahLst/>
              <a:cxnLst/>
              <a:rect l="0" t="0" r="0" b="0"/>
              <a:pathLst>
                <a:path w="10443919" h="10817651">
                  <a:moveTo>
                    <a:pt x="9383300" y="21610"/>
                  </a:moveTo>
                  <a:lnTo>
                    <a:pt x="9376374" y="106282"/>
                  </a:lnTo>
                  <a:lnTo>
                    <a:pt x="9343684" y="157779"/>
                  </a:lnTo>
                  <a:lnTo>
                    <a:pt x="9322734" y="190828"/>
                  </a:lnTo>
                  <a:lnTo>
                    <a:pt x="9286472" y="202155"/>
                  </a:lnTo>
                  <a:lnTo>
                    <a:pt x="9256632" y="224429"/>
                  </a:lnTo>
                  <a:lnTo>
                    <a:pt x="9222371" y="223217"/>
                  </a:lnTo>
                  <a:lnTo>
                    <a:pt x="9187898" y="229062"/>
                  </a:lnTo>
                  <a:lnTo>
                    <a:pt x="9154623" y="236670"/>
                  </a:lnTo>
                  <a:lnTo>
                    <a:pt x="9116873" y="264533"/>
                  </a:lnTo>
                  <a:lnTo>
                    <a:pt x="9094899" y="363169"/>
                  </a:lnTo>
                  <a:lnTo>
                    <a:pt x="9055323" y="375411"/>
                  </a:lnTo>
                  <a:lnTo>
                    <a:pt x="9019025" y="375837"/>
                  </a:lnTo>
                  <a:lnTo>
                    <a:pt x="9020085" y="337155"/>
                  </a:lnTo>
                  <a:lnTo>
                    <a:pt x="8981874" y="330524"/>
                  </a:lnTo>
                  <a:lnTo>
                    <a:pt x="8910802" y="338261"/>
                  </a:lnTo>
                  <a:lnTo>
                    <a:pt x="8850741" y="408629"/>
                  </a:lnTo>
                  <a:lnTo>
                    <a:pt x="8805044" y="455663"/>
                  </a:lnTo>
                  <a:lnTo>
                    <a:pt x="8785452" y="475853"/>
                  </a:lnTo>
                  <a:lnTo>
                    <a:pt x="8754765" y="492154"/>
                  </a:lnTo>
                  <a:lnTo>
                    <a:pt x="8730239" y="505990"/>
                  </a:lnTo>
                  <a:lnTo>
                    <a:pt x="8699336" y="523460"/>
                  </a:lnTo>
                  <a:lnTo>
                    <a:pt x="8664693" y="541929"/>
                  </a:lnTo>
                  <a:lnTo>
                    <a:pt x="8636388" y="563118"/>
                  </a:lnTo>
                  <a:lnTo>
                    <a:pt x="8592775" y="595826"/>
                  </a:lnTo>
                  <a:lnTo>
                    <a:pt x="8518727" y="686598"/>
                  </a:lnTo>
                  <a:lnTo>
                    <a:pt x="8466358" y="696418"/>
                  </a:lnTo>
                  <a:lnTo>
                    <a:pt x="8361881" y="715992"/>
                  </a:lnTo>
                  <a:lnTo>
                    <a:pt x="8349385" y="582161"/>
                  </a:lnTo>
                  <a:lnTo>
                    <a:pt x="8244644" y="575360"/>
                  </a:lnTo>
                  <a:lnTo>
                    <a:pt x="8218804" y="573680"/>
                  </a:lnTo>
                  <a:lnTo>
                    <a:pt x="8189643" y="583755"/>
                  </a:lnTo>
                  <a:lnTo>
                    <a:pt x="8165756" y="591683"/>
                  </a:lnTo>
                  <a:lnTo>
                    <a:pt x="8139231" y="594976"/>
                  </a:lnTo>
                  <a:lnTo>
                    <a:pt x="8103360" y="604689"/>
                  </a:lnTo>
                  <a:lnTo>
                    <a:pt x="8080146" y="620502"/>
                  </a:lnTo>
                  <a:lnTo>
                    <a:pt x="8056938" y="627048"/>
                  </a:lnTo>
                  <a:lnTo>
                    <a:pt x="7983913" y="647578"/>
                  </a:lnTo>
                  <a:lnTo>
                    <a:pt x="7915440" y="645368"/>
                  </a:lnTo>
                  <a:lnTo>
                    <a:pt x="7840666" y="632488"/>
                  </a:lnTo>
                  <a:lnTo>
                    <a:pt x="7790381" y="618844"/>
                  </a:lnTo>
                  <a:lnTo>
                    <a:pt x="7732108" y="610661"/>
                  </a:lnTo>
                  <a:lnTo>
                    <a:pt x="7685606" y="586241"/>
                  </a:lnTo>
                  <a:lnTo>
                    <a:pt x="7644799" y="564818"/>
                  </a:lnTo>
                  <a:lnTo>
                    <a:pt x="7605775" y="537211"/>
                  </a:lnTo>
                  <a:lnTo>
                    <a:pt x="7564543" y="516871"/>
                  </a:lnTo>
                  <a:lnTo>
                    <a:pt x="7521315" y="495555"/>
                  </a:lnTo>
                  <a:lnTo>
                    <a:pt x="7476983" y="477596"/>
                  </a:lnTo>
                  <a:lnTo>
                    <a:pt x="7433971" y="455663"/>
                  </a:lnTo>
                  <a:lnTo>
                    <a:pt x="7370846" y="423443"/>
                  </a:lnTo>
                  <a:lnTo>
                    <a:pt x="7075894" y="238009"/>
                  </a:lnTo>
                  <a:lnTo>
                    <a:pt x="7020465" y="297879"/>
                  </a:lnTo>
                  <a:lnTo>
                    <a:pt x="7013752" y="329738"/>
                  </a:lnTo>
                  <a:lnTo>
                    <a:pt x="6985447" y="349121"/>
                  </a:lnTo>
                  <a:lnTo>
                    <a:pt x="6949734" y="330524"/>
                  </a:lnTo>
                  <a:lnTo>
                    <a:pt x="6927760" y="322852"/>
                  </a:lnTo>
                  <a:lnTo>
                    <a:pt x="6903703" y="318963"/>
                  </a:lnTo>
                  <a:lnTo>
                    <a:pt x="6881729" y="311481"/>
                  </a:lnTo>
                  <a:lnTo>
                    <a:pt x="6776018" y="275394"/>
                  </a:lnTo>
                  <a:lnTo>
                    <a:pt x="6696444" y="197161"/>
                  </a:lnTo>
                  <a:lnTo>
                    <a:pt x="6574318" y="248912"/>
                  </a:lnTo>
                  <a:lnTo>
                    <a:pt x="6542190" y="265362"/>
                  </a:lnTo>
                  <a:lnTo>
                    <a:pt x="6519748" y="286509"/>
                  </a:lnTo>
                  <a:lnTo>
                    <a:pt x="6511966" y="307486"/>
                  </a:lnTo>
                  <a:lnTo>
                    <a:pt x="6428268" y="469350"/>
                  </a:lnTo>
                  <a:lnTo>
                    <a:pt x="6585208" y="621118"/>
                  </a:lnTo>
                  <a:lnTo>
                    <a:pt x="6585208" y="658332"/>
                  </a:lnTo>
                  <a:lnTo>
                    <a:pt x="6585208" y="759475"/>
                  </a:lnTo>
                  <a:lnTo>
                    <a:pt x="6432398" y="775819"/>
                  </a:lnTo>
                  <a:lnTo>
                    <a:pt x="6416542" y="852840"/>
                  </a:lnTo>
                  <a:lnTo>
                    <a:pt x="6409268" y="887972"/>
                  </a:lnTo>
                  <a:lnTo>
                    <a:pt x="6437198" y="912944"/>
                  </a:lnTo>
                  <a:lnTo>
                    <a:pt x="6430141" y="948054"/>
                  </a:lnTo>
                  <a:lnTo>
                    <a:pt x="6421813" y="989647"/>
                  </a:lnTo>
                  <a:lnTo>
                    <a:pt x="6384063" y="1013917"/>
                  </a:lnTo>
                  <a:lnTo>
                    <a:pt x="6379815" y="1062311"/>
                  </a:lnTo>
                  <a:lnTo>
                    <a:pt x="6376585" y="1099292"/>
                  </a:lnTo>
                  <a:lnTo>
                    <a:pt x="6411103" y="1121225"/>
                  </a:lnTo>
                  <a:lnTo>
                    <a:pt x="6411103" y="1146643"/>
                  </a:lnTo>
                  <a:lnTo>
                    <a:pt x="6411103" y="1190340"/>
                  </a:lnTo>
                  <a:lnTo>
                    <a:pt x="6368849" y="1211487"/>
                  </a:lnTo>
                  <a:lnTo>
                    <a:pt x="6351247" y="1245938"/>
                  </a:lnTo>
                  <a:lnTo>
                    <a:pt x="6325453" y="1296520"/>
                  </a:lnTo>
                  <a:lnTo>
                    <a:pt x="6326470" y="1357580"/>
                  </a:lnTo>
                  <a:lnTo>
                    <a:pt x="6292763" y="1406441"/>
                  </a:lnTo>
                  <a:lnTo>
                    <a:pt x="6250471" y="1449500"/>
                  </a:lnTo>
                  <a:lnTo>
                    <a:pt x="6204899" y="1474069"/>
                  </a:lnTo>
                  <a:lnTo>
                    <a:pt x="6170005" y="1486120"/>
                  </a:lnTo>
                  <a:lnTo>
                    <a:pt x="6137697" y="1503016"/>
                  </a:lnTo>
                  <a:lnTo>
                    <a:pt x="6070027" y="1538423"/>
                  </a:lnTo>
                  <a:lnTo>
                    <a:pt x="6009289" y="1591279"/>
                  </a:lnTo>
                  <a:lnTo>
                    <a:pt x="5939111" y="1621353"/>
                  </a:lnTo>
                  <a:lnTo>
                    <a:pt x="5898006" y="1638972"/>
                  </a:lnTo>
                  <a:lnTo>
                    <a:pt x="5844323" y="1627771"/>
                  </a:lnTo>
                  <a:lnTo>
                    <a:pt x="5803091" y="1648557"/>
                  </a:lnTo>
                  <a:lnTo>
                    <a:pt x="5762117" y="1669215"/>
                  </a:lnTo>
                  <a:lnTo>
                    <a:pt x="5705330" y="1756990"/>
                  </a:lnTo>
                  <a:lnTo>
                    <a:pt x="5667071" y="1765534"/>
                  </a:lnTo>
                  <a:lnTo>
                    <a:pt x="5589411" y="1782834"/>
                  </a:lnTo>
                  <a:lnTo>
                    <a:pt x="5506737" y="1722284"/>
                  </a:lnTo>
                  <a:lnTo>
                    <a:pt x="5434475" y="1702965"/>
                  </a:lnTo>
                  <a:lnTo>
                    <a:pt x="5405912" y="1695336"/>
                  </a:lnTo>
                  <a:lnTo>
                    <a:pt x="5370249" y="1696163"/>
                  </a:lnTo>
                  <a:lnTo>
                    <a:pt x="5340623" y="1696163"/>
                  </a:lnTo>
                  <a:lnTo>
                    <a:pt x="5272829" y="1696163"/>
                  </a:lnTo>
                  <a:lnTo>
                    <a:pt x="5169837" y="1712508"/>
                  </a:lnTo>
                  <a:lnTo>
                    <a:pt x="5109388" y="1745131"/>
                  </a:lnTo>
                  <a:lnTo>
                    <a:pt x="5085758" y="1757883"/>
                  </a:lnTo>
                  <a:lnTo>
                    <a:pt x="5017744" y="1803449"/>
                  </a:lnTo>
                  <a:lnTo>
                    <a:pt x="4996489" y="1804979"/>
                  </a:lnTo>
                  <a:lnTo>
                    <a:pt x="4971796" y="1806765"/>
                  </a:lnTo>
                  <a:lnTo>
                    <a:pt x="4945187" y="1792738"/>
                  </a:lnTo>
                  <a:lnTo>
                    <a:pt x="4928481" y="1775056"/>
                  </a:lnTo>
                  <a:lnTo>
                    <a:pt x="4924611" y="1738627"/>
                  </a:lnTo>
                  <a:lnTo>
                    <a:pt x="4890356" y="1721008"/>
                  </a:lnTo>
                  <a:lnTo>
                    <a:pt x="4890396" y="1694803"/>
                  </a:lnTo>
                  <a:lnTo>
                    <a:pt x="4902557" y="1669619"/>
                  </a:lnTo>
                  <a:lnTo>
                    <a:pt x="4914500" y="1632404"/>
                  </a:lnTo>
                  <a:lnTo>
                    <a:pt x="4915390" y="1554405"/>
                  </a:lnTo>
                  <a:lnTo>
                    <a:pt x="4906718" y="1530219"/>
                  </a:lnTo>
                  <a:lnTo>
                    <a:pt x="4884744" y="1469010"/>
                  </a:lnTo>
                  <a:lnTo>
                    <a:pt x="4699462" y="1414453"/>
                  </a:lnTo>
                  <a:lnTo>
                    <a:pt x="4640120" y="1410522"/>
                  </a:lnTo>
                  <a:lnTo>
                    <a:pt x="4584480" y="1406844"/>
                  </a:lnTo>
                  <a:lnTo>
                    <a:pt x="4528586" y="1424186"/>
                  </a:lnTo>
                  <a:lnTo>
                    <a:pt x="4472812" y="1428205"/>
                  </a:lnTo>
                  <a:lnTo>
                    <a:pt x="4344129" y="1419578"/>
                  </a:lnTo>
                  <a:lnTo>
                    <a:pt x="4240349" y="1469138"/>
                  </a:lnTo>
                  <a:lnTo>
                    <a:pt x="4134126" y="1456769"/>
                  </a:lnTo>
                  <a:lnTo>
                    <a:pt x="4075063" y="1449862"/>
                  </a:lnTo>
                  <a:lnTo>
                    <a:pt x="4015067" y="1434623"/>
                  </a:lnTo>
                  <a:lnTo>
                    <a:pt x="3955939" y="1429565"/>
                  </a:lnTo>
                  <a:lnTo>
                    <a:pt x="3866676" y="1421935"/>
                  </a:lnTo>
                  <a:lnTo>
                    <a:pt x="3777032" y="1414284"/>
                  </a:lnTo>
                  <a:lnTo>
                    <a:pt x="3687980" y="1403721"/>
                  </a:lnTo>
                  <a:lnTo>
                    <a:pt x="3567327" y="1389439"/>
                  </a:lnTo>
                  <a:lnTo>
                    <a:pt x="3445678" y="1369652"/>
                  </a:lnTo>
                  <a:lnTo>
                    <a:pt x="3323447" y="1368356"/>
                  </a:lnTo>
                  <a:lnTo>
                    <a:pt x="3284724" y="1367953"/>
                  </a:lnTo>
                  <a:lnTo>
                    <a:pt x="3245067" y="1365635"/>
                  </a:lnTo>
                  <a:lnTo>
                    <a:pt x="3206468" y="1365635"/>
                  </a:lnTo>
                  <a:lnTo>
                    <a:pt x="3178966" y="1365635"/>
                  </a:lnTo>
                  <a:lnTo>
                    <a:pt x="3153740" y="1377877"/>
                  </a:lnTo>
                  <a:lnTo>
                    <a:pt x="3126222" y="1377877"/>
                  </a:lnTo>
                  <a:lnTo>
                    <a:pt x="3069413" y="1377877"/>
                  </a:lnTo>
                  <a:lnTo>
                    <a:pt x="3011389" y="1373733"/>
                  </a:lnTo>
                  <a:lnTo>
                    <a:pt x="2956192" y="1391480"/>
                  </a:lnTo>
                  <a:lnTo>
                    <a:pt x="2903848" y="1408290"/>
                  </a:lnTo>
                  <a:lnTo>
                    <a:pt x="2771487" y="1512983"/>
                  </a:lnTo>
                  <a:lnTo>
                    <a:pt x="2748081" y="1561504"/>
                  </a:lnTo>
                  <a:lnTo>
                    <a:pt x="2711336" y="1637717"/>
                  </a:lnTo>
                  <a:lnTo>
                    <a:pt x="2752756" y="1700329"/>
                  </a:lnTo>
                  <a:lnTo>
                    <a:pt x="2655587" y="1741050"/>
                  </a:lnTo>
                  <a:lnTo>
                    <a:pt x="2621967" y="1756374"/>
                  </a:lnTo>
                  <a:lnTo>
                    <a:pt x="2584283" y="1759094"/>
                  </a:lnTo>
                  <a:lnTo>
                    <a:pt x="2546180" y="1754057"/>
                  </a:lnTo>
                  <a:lnTo>
                    <a:pt x="2526367" y="1739690"/>
                  </a:lnTo>
                  <a:lnTo>
                    <a:pt x="2510111" y="1720881"/>
                  </a:lnTo>
                  <a:lnTo>
                    <a:pt x="2455255" y="1664858"/>
                  </a:lnTo>
                  <a:lnTo>
                    <a:pt x="2355559" y="1575276"/>
                  </a:lnTo>
                  <a:lnTo>
                    <a:pt x="2292412" y="1558784"/>
                  </a:lnTo>
                  <a:lnTo>
                    <a:pt x="2267676" y="1552323"/>
                  </a:lnTo>
                  <a:lnTo>
                    <a:pt x="2240710" y="1549496"/>
                  </a:lnTo>
                  <a:lnTo>
                    <a:pt x="2213524" y="1546542"/>
                  </a:lnTo>
                  <a:lnTo>
                    <a:pt x="2164197" y="1537594"/>
                  </a:lnTo>
                  <a:lnTo>
                    <a:pt x="1959003" y="1545671"/>
                  </a:lnTo>
                  <a:lnTo>
                    <a:pt x="1904758" y="1553343"/>
                  </a:lnTo>
                  <a:lnTo>
                    <a:pt x="1841131" y="1562355"/>
                  </a:lnTo>
                  <a:lnTo>
                    <a:pt x="1793866" y="1572619"/>
                  </a:lnTo>
                  <a:lnTo>
                    <a:pt x="1726577" y="1561504"/>
                  </a:lnTo>
                  <a:lnTo>
                    <a:pt x="1680881" y="1563863"/>
                  </a:lnTo>
                  <a:lnTo>
                    <a:pt x="1642241" y="1555234"/>
                  </a:lnTo>
                  <a:lnTo>
                    <a:pt x="1597357" y="1569665"/>
                  </a:lnTo>
                  <a:lnTo>
                    <a:pt x="1566137" y="1579697"/>
                  </a:lnTo>
                  <a:lnTo>
                    <a:pt x="1526626" y="1607751"/>
                  </a:lnTo>
                  <a:lnTo>
                    <a:pt x="1528006" y="1640034"/>
                  </a:lnTo>
                  <a:lnTo>
                    <a:pt x="1501633" y="1651596"/>
                  </a:lnTo>
                  <a:lnTo>
                    <a:pt x="1495342" y="1679842"/>
                  </a:lnTo>
                  <a:lnTo>
                    <a:pt x="1521675" y="1716078"/>
                  </a:lnTo>
                  <a:lnTo>
                    <a:pt x="1530710" y="1735609"/>
                  </a:lnTo>
                  <a:lnTo>
                    <a:pt x="1495447" y="1772632"/>
                  </a:lnTo>
                  <a:lnTo>
                    <a:pt x="1483100" y="1838985"/>
                  </a:lnTo>
                  <a:lnTo>
                    <a:pt x="1570001" y="1827211"/>
                  </a:lnTo>
                  <a:lnTo>
                    <a:pt x="1591488" y="1845297"/>
                  </a:lnTo>
                  <a:lnTo>
                    <a:pt x="1642241" y="1905634"/>
                  </a:lnTo>
                  <a:lnTo>
                    <a:pt x="1662324" y="1977151"/>
                  </a:lnTo>
                  <a:lnTo>
                    <a:pt x="1552656" y="2010455"/>
                  </a:lnTo>
                  <a:lnTo>
                    <a:pt x="1500780" y="2003568"/>
                  </a:lnTo>
                  <a:lnTo>
                    <a:pt x="1469495" y="1943720"/>
                  </a:lnTo>
                  <a:lnTo>
                    <a:pt x="1432769" y="1963209"/>
                  </a:lnTo>
                  <a:lnTo>
                    <a:pt x="1401338" y="1994791"/>
                  </a:lnTo>
                  <a:lnTo>
                    <a:pt x="1362044" y="2009009"/>
                  </a:lnTo>
                  <a:lnTo>
                    <a:pt x="1355390" y="2056467"/>
                  </a:lnTo>
                  <a:lnTo>
                    <a:pt x="1371560" y="2096062"/>
                  </a:lnTo>
                  <a:lnTo>
                    <a:pt x="1355220" y="2119461"/>
                  </a:lnTo>
                  <a:lnTo>
                    <a:pt x="1329392" y="2124626"/>
                  </a:lnTo>
                  <a:lnTo>
                    <a:pt x="1322599" y="2161352"/>
                  </a:lnTo>
                  <a:lnTo>
                    <a:pt x="1300898" y="2195845"/>
                  </a:lnTo>
                  <a:lnTo>
                    <a:pt x="1277076" y="2189342"/>
                  </a:lnTo>
                  <a:lnTo>
                    <a:pt x="1220623" y="2260987"/>
                  </a:lnTo>
                  <a:lnTo>
                    <a:pt x="1193168" y="2230850"/>
                  </a:lnTo>
                  <a:lnTo>
                    <a:pt x="1143053" y="2252485"/>
                  </a:lnTo>
                  <a:lnTo>
                    <a:pt x="1123290" y="2268552"/>
                  </a:lnTo>
                  <a:lnTo>
                    <a:pt x="1092873" y="2281580"/>
                  </a:lnTo>
                  <a:lnTo>
                    <a:pt x="1058996" y="2287404"/>
                  </a:lnTo>
                  <a:lnTo>
                    <a:pt x="1036954" y="2289211"/>
                  </a:lnTo>
                  <a:lnTo>
                    <a:pt x="1031131" y="2318455"/>
                  </a:lnTo>
                  <a:lnTo>
                    <a:pt x="1036954" y="2355860"/>
                  </a:lnTo>
                  <a:lnTo>
                    <a:pt x="1047242" y="2410268"/>
                  </a:lnTo>
                  <a:lnTo>
                    <a:pt x="1056826" y="2463464"/>
                  </a:lnTo>
                  <a:lnTo>
                    <a:pt x="1013833" y="2508202"/>
                  </a:lnTo>
                  <a:lnTo>
                    <a:pt x="957877" y="2566436"/>
                  </a:lnTo>
                  <a:lnTo>
                    <a:pt x="872412" y="2511773"/>
                  </a:lnTo>
                  <a:lnTo>
                    <a:pt x="839729" y="2546288"/>
                  </a:lnTo>
                  <a:lnTo>
                    <a:pt x="808909" y="2578848"/>
                  </a:lnTo>
                  <a:lnTo>
                    <a:pt x="813947" y="2624797"/>
                  </a:lnTo>
                  <a:lnTo>
                    <a:pt x="793477" y="2661905"/>
                  </a:lnTo>
                  <a:lnTo>
                    <a:pt x="772948" y="2699098"/>
                  </a:lnTo>
                  <a:lnTo>
                    <a:pt x="725661" y="2691978"/>
                  </a:lnTo>
                  <a:lnTo>
                    <a:pt x="705067" y="2721753"/>
                  </a:lnTo>
                  <a:lnTo>
                    <a:pt x="660841" y="2793546"/>
                  </a:lnTo>
                  <a:lnTo>
                    <a:pt x="620908" y="2876391"/>
                  </a:lnTo>
                  <a:lnTo>
                    <a:pt x="645964" y="2884659"/>
                  </a:lnTo>
                  <a:lnTo>
                    <a:pt x="554084" y="2906740"/>
                  </a:lnTo>
                  <a:lnTo>
                    <a:pt x="501250" y="2961659"/>
                  </a:lnTo>
                  <a:lnTo>
                    <a:pt x="575404" y="3012836"/>
                  </a:lnTo>
                  <a:lnTo>
                    <a:pt x="570406" y="3065884"/>
                  </a:lnTo>
                  <a:lnTo>
                    <a:pt x="568393" y="3087328"/>
                  </a:lnTo>
                  <a:lnTo>
                    <a:pt x="554472" y="3106116"/>
                  </a:lnTo>
                  <a:lnTo>
                    <a:pt x="540848" y="3143309"/>
                  </a:lnTo>
                  <a:lnTo>
                    <a:pt x="534535" y="3165774"/>
                  </a:lnTo>
                  <a:lnTo>
                    <a:pt x="494854" y="3226005"/>
                  </a:lnTo>
                  <a:lnTo>
                    <a:pt x="417107" y="3191872"/>
                  </a:lnTo>
                  <a:lnTo>
                    <a:pt x="393582" y="3218226"/>
                  </a:lnTo>
                  <a:lnTo>
                    <a:pt x="384296" y="3245940"/>
                  </a:lnTo>
                  <a:lnTo>
                    <a:pt x="399557" y="3282304"/>
                  </a:lnTo>
                  <a:lnTo>
                    <a:pt x="462698" y="3300051"/>
                  </a:lnTo>
                  <a:lnTo>
                    <a:pt x="484718" y="3317521"/>
                  </a:lnTo>
                  <a:lnTo>
                    <a:pt x="470902" y="3344087"/>
                  </a:lnTo>
                  <a:lnTo>
                    <a:pt x="450860" y="3353332"/>
                  </a:lnTo>
                  <a:lnTo>
                    <a:pt x="416341" y="3405105"/>
                  </a:lnTo>
                  <a:lnTo>
                    <a:pt x="446289" y="3494942"/>
                  </a:lnTo>
                  <a:lnTo>
                    <a:pt x="407188" y="3550115"/>
                  </a:lnTo>
                  <a:lnTo>
                    <a:pt x="378836" y="3590090"/>
                  </a:lnTo>
                  <a:lnTo>
                    <a:pt x="299942" y="3537171"/>
                  </a:lnTo>
                  <a:lnTo>
                    <a:pt x="233074" y="3586840"/>
                  </a:lnTo>
                  <a:lnTo>
                    <a:pt x="217801" y="3616955"/>
                  </a:lnTo>
                  <a:lnTo>
                    <a:pt x="240138" y="3651917"/>
                  </a:lnTo>
                  <a:lnTo>
                    <a:pt x="237152" y="3683414"/>
                  </a:lnTo>
                  <a:lnTo>
                    <a:pt x="233459" y="3722669"/>
                  </a:lnTo>
                  <a:lnTo>
                    <a:pt x="189548" y="3737525"/>
                  </a:lnTo>
                  <a:lnTo>
                    <a:pt x="185468" y="3786789"/>
                  </a:lnTo>
                  <a:lnTo>
                    <a:pt x="229146" y="3828488"/>
                  </a:lnTo>
                  <a:lnTo>
                    <a:pt x="214862" y="3883682"/>
                  </a:lnTo>
                  <a:lnTo>
                    <a:pt x="158263" y="3902406"/>
                  </a:lnTo>
                  <a:lnTo>
                    <a:pt x="155969" y="3935158"/>
                  </a:lnTo>
                  <a:lnTo>
                    <a:pt x="173227" y="3967696"/>
                  </a:lnTo>
                  <a:lnTo>
                    <a:pt x="119584" y="3983424"/>
                  </a:lnTo>
                  <a:lnTo>
                    <a:pt x="106574" y="4026184"/>
                  </a:lnTo>
                  <a:lnTo>
                    <a:pt x="93846" y="4045057"/>
                  </a:lnTo>
                  <a:lnTo>
                    <a:pt x="64068" y="4051157"/>
                  </a:lnTo>
                  <a:lnTo>
                    <a:pt x="50806" y="4071071"/>
                  </a:lnTo>
                  <a:lnTo>
                    <a:pt x="9172" y="4133491"/>
                  </a:lnTo>
                  <a:lnTo>
                    <a:pt x="50475" y="4187644"/>
                  </a:lnTo>
                  <a:lnTo>
                    <a:pt x="113379" y="4204371"/>
                  </a:lnTo>
                  <a:lnTo>
                    <a:pt x="116095" y="4235655"/>
                  </a:lnTo>
                  <a:lnTo>
                    <a:pt x="90891" y="4244602"/>
                  </a:lnTo>
                  <a:lnTo>
                    <a:pt x="71084" y="4252636"/>
                  </a:lnTo>
                  <a:lnTo>
                    <a:pt x="52171" y="4272380"/>
                  </a:lnTo>
                  <a:lnTo>
                    <a:pt x="42581" y="4298564"/>
                  </a:lnTo>
                  <a:lnTo>
                    <a:pt x="67128" y="4329509"/>
                  </a:lnTo>
                  <a:lnTo>
                    <a:pt x="128957" y="4455114"/>
                  </a:lnTo>
                  <a:lnTo>
                    <a:pt x="169317" y="4372355"/>
                  </a:lnTo>
                  <a:lnTo>
                    <a:pt x="254841" y="4415201"/>
                  </a:lnTo>
                  <a:lnTo>
                    <a:pt x="260043" y="4457452"/>
                  </a:lnTo>
                  <a:lnTo>
                    <a:pt x="218830" y="4504974"/>
                  </a:lnTo>
                  <a:lnTo>
                    <a:pt x="201789" y="4526737"/>
                  </a:lnTo>
                  <a:lnTo>
                    <a:pt x="200109" y="4557958"/>
                  </a:lnTo>
                  <a:lnTo>
                    <a:pt x="265041" y="4589434"/>
                  </a:lnTo>
                  <a:lnTo>
                    <a:pt x="280684" y="4617871"/>
                  </a:lnTo>
                  <a:lnTo>
                    <a:pt x="283211" y="4650771"/>
                  </a:lnTo>
                  <a:lnTo>
                    <a:pt x="273180" y="4723073"/>
                  </a:lnTo>
                  <a:lnTo>
                    <a:pt x="280684" y="4743009"/>
                  </a:lnTo>
                  <a:lnTo>
                    <a:pt x="300317" y="4795334"/>
                  </a:lnTo>
                  <a:lnTo>
                    <a:pt x="364018" y="4764283"/>
                  </a:lnTo>
                  <a:lnTo>
                    <a:pt x="379977" y="4843664"/>
                  </a:lnTo>
                  <a:lnTo>
                    <a:pt x="343297" y="4879369"/>
                  </a:lnTo>
                  <a:lnTo>
                    <a:pt x="310651" y="4851634"/>
                  </a:lnTo>
                  <a:lnTo>
                    <a:pt x="284761" y="4865427"/>
                  </a:lnTo>
                  <a:lnTo>
                    <a:pt x="260577" y="4891419"/>
                  </a:lnTo>
                  <a:lnTo>
                    <a:pt x="248546" y="4996112"/>
                  </a:lnTo>
                  <a:lnTo>
                    <a:pt x="276604" y="5023210"/>
                  </a:lnTo>
                  <a:lnTo>
                    <a:pt x="311457" y="5040744"/>
                  </a:lnTo>
                  <a:lnTo>
                    <a:pt x="368713" y="5029480"/>
                  </a:lnTo>
                  <a:lnTo>
                    <a:pt x="393576" y="5065376"/>
                  </a:lnTo>
                  <a:lnTo>
                    <a:pt x="406264" y="5083696"/>
                  </a:lnTo>
                  <a:lnTo>
                    <a:pt x="405929" y="5156977"/>
                  </a:lnTo>
                  <a:lnTo>
                    <a:pt x="409898" y="5182353"/>
                  </a:lnTo>
                  <a:lnTo>
                    <a:pt x="417488" y="5230981"/>
                  </a:lnTo>
                  <a:lnTo>
                    <a:pt x="486557" y="5282583"/>
                  </a:lnTo>
                  <a:lnTo>
                    <a:pt x="479270" y="5323814"/>
                  </a:lnTo>
                  <a:lnTo>
                    <a:pt x="474976" y="5348128"/>
                  </a:lnTo>
                  <a:lnTo>
                    <a:pt x="445201" y="5360795"/>
                  </a:lnTo>
                  <a:lnTo>
                    <a:pt x="437102" y="5385023"/>
                  </a:lnTo>
                  <a:lnTo>
                    <a:pt x="466409" y="5437135"/>
                  </a:lnTo>
                  <a:lnTo>
                    <a:pt x="484923" y="5458686"/>
                  </a:lnTo>
                  <a:lnTo>
                    <a:pt x="479270" y="5503360"/>
                  </a:lnTo>
                  <a:lnTo>
                    <a:pt x="361333" y="5565993"/>
                  </a:lnTo>
                  <a:lnTo>
                    <a:pt x="365693" y="5539236"/>
                  </a:lnTo>
                  <a:lnTo>
                    <a:pt x="277962" y="5648902"/>
                  </a:lnTo>
                  <a:lnTo>
                    <a:pt x="239282" y="5656255"/>
                  </a:lnTo>
                  <a:lnTo>
                    <a:pt x="179453" y="5710726"/>
                  </a:lnTo>
                  <a:lnTo>
                    <a:pt x="237964" y="5740587"/>
                  </a:lnTo>
                  <a:lnTo>
                    <a:pt x="226262" y="5812125"/>
                  </a:lnTo>
                  <a:lnTo>
                    <a:pt x="220381" y="5848192"/>
                  </a:lnTo>
                  <a:lnTo>
                    <a:pt x="164759" y="5842454"/>
                  </a:lnTo>
                  <a:lnTo>
                    <a:pt x="154174" y="5927742"/>
                  </a:lnTo>
                  <a:lnTo>
                    <a:pt x="151802" y="5952591"/>
                  </a:lnTo>
                  <a:lnTo>
                    <a:pt x="159814" y="5978739"/>
                  </a:lnTo>
                  <a:lnTo>
                    <a:pt x="170188" y="6003562"/>
                  </a:lnTo>
                  <a:lnTo>
                    <a:pt x="177304" y="6027036"/>
                  </a:lnTo>
                  <a:lnTo>
                    <a:pt x="165578" y="6055431"/>
                  </a:lnTo>
                  <a:lnTo>
                    <a:pt x="135136" y="6063762"/>
                  </a:lnTo>
                  <a:lnTo>
                    <a:pt x="103098" y="6061599"/>
                  </a:lnTo>
                  <a:lnTo>
                    <a:pt x="71956" y="6055044"/>
                  </a:lnTo>
                  <a:lnTo>
                    <a:pt x="45359" y="6055601"/>
                  </a:lnTo>
                  <a:lnTo>
                    <a:pt x="23484" y="6066461"/>
                  </a:lnTo>
                  <a:lnTo>
                    <a:pt x="18154" y="6086886"/>
                  </a:lnTo>
                  <a:lnTo>
                    <a:pt x="37558" y="6118622"/>
                  </a:lnTo>
                  <a:lnTo>
                    <a:pt x="44001" y="6138573"/>
                  </a:lnTo>
                  <a:lnTo>
                    <a:pt x="50444" y="6158525"/>
                  </a:lnTo>
                  <a:lnTo>
                    <a:pt x="55541" y="6179975"/>
                  </a:lnTo>
                  <a:lnTo>
                    <a:pt x="73717" y="6239733"/>
                  </a:lnTo>
                  <a:lnTo>
                    <a:pt x="79930" y="6276477"/>
                  </a:lnTo>
                  <a:lnTo>
                    <a:pt x="82085" y="6309958"/>
                  </a:lnTo>
                  <a:lnTo>
                    <a:pt x="84243" y="6343437"/>
                  </a:lnTo>
                  <a:lnTo>
                    <a:pt x="82150" y="6373615"/>
                  </a:lnTo>
                  <a:lnTo>
                    <a:pt x="76644" y="6403813"/>
                  </a:lnTo>
                  <a:lnTo>
                    <a:pt x="65584" y="6464202"/>
                  </a:lnTo>
                  <a:lnTo>
                    <a:pt x="42726" y="6525146"/>
                  </a:lnTo>
                  <a:lnTo>
                    <a:pt x="22238" y="6616004"/>
                  </a:lnTo>
                  <a:lnTo>
                    <a:pt x="11928" y="6661714"/>
                  </a:lnTo>
                  <a:lnTo>
                    <a:pt x="7879" y="6709994"/>
                  </a:lnTo>
                  <a:lnTo>
                    <a:pt x="5913" y="6758823"/>
                  </a:lnTo>
                  <a:lnTo>
                    <a:pt x="3950" y="6807652"/>
                  </a:lnTo>
                  <a:lnTo>
                    <a:pt x="4133" y="6856421"/>
                  </a:lnTo>
                  <a:lnTo>
                    <a:pt x="1839" y="6903007"/>
                  </a:lnTo>
                  <a:lnTo>
                    <a:pt x="0" y="6940328"/>
                  </a:lnTo>
                  <a:lnTo>
                    <a:pt x="90" y="7004404"/>
                  </a:lnTo>
                  <a:lnTo>
                    <a:pt x="4555" y="7066232"/>
                  </a:lnTo>
                  <a:lnTo>
                    <a:pt x="9026" y="7128052"/>
                  </a:lnTo>
                  <a:lnTo>
                    <a:pt x="17230" y="7187841"/>
                  </a:lnTo>
                  <a:lnTo>
                    <a:pt x="30401" y="7218573"/>
                  </a:lnTo>
                  <a:lnTo>
                    <a:pt x="77496" y="7235279"/>
                  </a:lnTo>
                  <a:lnTo>
                    <a:pt x="135136" y="7169607"/>
                  </a:lnTo>
                  <a:lnTo>
                    <a:pt x="177447" y="7159319"/>
                  </a:lnTo>
                  <a:lnTo>
                    <a:pt x="208279" y="7177864"/>
                  </a:lnTo>
                  <a:lnTo>
                    <a:pt x="228988" y="7209051"/>
                  </a:lnTo>
                  <a:lnTo>
                    <a:pt x="252090" y="7236617"/>
                  </a:lnTo>
                  <a:lnTo>
                    <a:pt x="302586" y="7247202"/>
                  </a:lnTo>
                  <a:lnTo>
                    <a:pt x="334761" y="7226936"/>
                  </a:lnTo>
                  <a:lnTo>
                    <a:pt x="366365" y="7221297"/>
                  </a:lnTo>
                  <a:lnTo>
                    <a:pt x="397960" y="7226257"/>
                  </a:lnTo>
                  <a:lnTo>
                    <a:pt x="421829" y="7248983"/>
                  </a:lnTo>
                  <a:lnTo>
                    <a:pt x="441180" y="7274341"/>
                  </a:lnTo>
                  <a:lnTo>
                    <a:pt x="459947" y="7293551"/>
                  </a:lnTo>
                  <a:lnTo>
                    <a:pt x="477549" y="7306497"/>
                  </a:lnTo>
                  <a:lnTo>
                    <a:pt x="492869" y="7321949"/>
                  </a:lnTo>
                  <a:lnTo>
                    <a:pt x="508189" y="7337401"/>
                  </a:lnTo>
                  <a:lnTo>
                    <a:pt x="521860" y="7356104"/>
                  </a:lnTo>
                  <a:lnTo>
                    <a:pt x="532312" y="7383156"/>
                  </a:lnTo>
                  <a:lnTo>
                    <a:pt x="547065" y="7421321"/>
                  </a:lnTo>
                  <a:lnTo>
                    <a:pt x="550323" y="7461418"/>
                  </a:lnTo>
                  <a:lnTo>
                    <a:pt x="547275" y="7502854"/>
                  </a:lnTo>
                  <a:lnTo>
                    <a:pt x="544231" y="7544296"/>
                  </a:lnTo>
                  <a:lnTo>
                    <a:pt x="534681" y="7586774"/>
                  </a:lnTo>
                  <a:lnTo>
                    <a:pt x="525512" y="7626634"/>
                  </a:lnTo>
                  <a:lnTo>
                    <a:pt x="516347" y="7666493"/>
                  </a:lnTo>
                  <a:lnTo>
                    <a:pt x="507352" y="7703392"/>
                  </a:lnTo>
                  <a:lnTo>
                    <a:pt x="503749" y="7736808"/>
                  </a:lnTo>
                  <a:lnTo>
                    <a:pt x="500150" y="7770224"/>
                  </a:lnTo>
                  <a:lnTo>
                    <a:pt x="502351" y="7800389"/>
                  </a:lnTo>
                  <a:lnTo>
                    <a:pt x="515990" y="7822502"/>
                  </a:lnTo>
                  <a:lnTo>
                    <a:pt x="541790" y="7847272"/>
                  </a:lnTo>
                  <a:lnTo>
                    <a:pt x="563600" y="7857871"/>
                  </a:lnTo>
                  <a:lnTo>
                    <a:pt x="585409" y="7868462"/>
                  </a:lnTo>
                  <a:lnTo>
                    <a:pt x="610924" y="7878064"/>
                  </a:lnTo>
                  <a:lnTo>
                    <a:pt x="638405" y="7886433"/>
                  </a:lnTo>
                  <a:lnTo>
                    <a:pt x="693387" y="7903171"/>
                  </a:lnTo>
                  <a:lnTo>
                    <a:pt x="752807" y="7916651"/>
                  </a:lnTo>
                  <a:lnTo>
                    <a:pt x="785307" y="7931318"/>
                  </a:lnTo>
                  <a:lnTo>
                    <a:pt x="827664" y="7950423"/>
                  </a:lnTo>
                  <a:lnTo>
                    <a:pt x="868648" y="7983985"/>
                  </a:lnTo>
                  <a:lnTo>
                    <a:pt x="906370" y="8010213"/>
                  </a:lnTo>
                  <a:lnTo>
                    <a:pt x="933190" y="8028870"/>
                  </a:lnTo>
                  <a:lnTo>
                    <a:pt x="958053" y="8067338"/>
                  </a:lnTo>
                  <a:lnTo>
                    <a:pt x="949000" y="8123124"/>
                  </a:lnTo>
                  <a:lnTo>
                    <a:pt x="938355" y="8194923"/>
                  </a:lnTo>
                  <a:lnTo>
                    <a:pt x="927261" y="8249436"/>
                  </a:lnTo>
                  <a:lnTo>
                    <a:pt x="903644" y="8305375"/>
                  </a:lnTo>
                  <a:lnTo>
                    <a:pt x="893660" y="8329004"/>
                  </a:lnTo>
                  <a:lnTo>
                    <a:pt x="883227" y="8356366"/>
                  </a:lnTo>
                  <a:lnTo>
                    <a:pt x="871001" y="8378822"/>
                  </a:lnTo>
                  <a:lnTo>
                    <a:pt x="844442" y="8418174"/>
                  </a:lnTo>
                  <a:lnTo>
                    <a:pt x="828833" y="8444111"/>
                  </a:lnTo>
                  <a:lnTo>
                    <a:pt x="813228" y="8470056"/>
                  </a:lnTo>
                  <a:lnTo>
                    <a:pt x="800581" y="8496310"/>
                  </a:lnTo>
                  <a:lnTo>
                    <a:pt x="804550" y="8519623"/>
                  </a:lnTo>
                  <a:lnTo>
                    <a:pt x="816704" y="8540232"/>
                  </a:lnTo>
                  <a:lnTo>
                    <a:pt x="837986" y="8552294"/>
                  </a:lnTo>
                  <a:lnTo>
                    <a:pt x="871001" y="8548852"/>
                  </a:lnTo>
                  <a:lnTo>
                    <a:pt x="901362" y="8537693"/>
                  </a:lnTo>
                  <a:lnTo>
                    <a:pt x="933131" y="8521918"/>
                  </a:lnTo>
                  <a:lnTo>
                    <a:pt x="967575" y="8509401"/>
                  </a:lnTo>
                  <a:lnTo>
                    <a:pt x="1003821" y="8505411"/>
                  </a:lnTo>
                  <a:lnTo>
                    <a:pt x="1024700" y="8513477"/>
                  </a:lnTo>
                  <a:lnTo>
                    <a:pt x="1058249" y="8532944"/>
                  </a:lnTo>
                  <a:lnTo>
                    <a:pt x="1080930" y="8559305"/>
                  </a:lnTo>
                  <a:lnTo>
                    <a:pt x="1098156" y="8588289"/>
                  </a:lnTo>
                  <a:lnTo>
                    <a:pt x="1113876" y="8616746"/>
                  </a:lnTo>
                  <a:lnTo>
                    <a:pt x="1134123" y="8638727"/>
                  </a:lnTo>
                  <a:lnTo>
                    <a:pt x="1163446" y="8649496"/>
                  </a:lnTo>
                  <a:lnTo>
                    <a:pt x="1199874" y="8631993"/>
                  </a:lnTo>
                  <a:lnTo>
                    <a:pt x="1213771" y="8611411"/>
                  </a:lnTo>
                  <a:lnTo>
                    <a:pt x="1227668" y="8590828"/>
                  </a:lnTo>
                  <a:lnTo>
                    <a:pt x="1238449" y="8566242"/>
                  </a:lnTo>
                  <a:lnTo>
                    <a:pt x="1253294" y="8538774"/>
                  </a:lnTo>
                  <a:lnTo>
                    <a:pt x="1288582" y="8537963"/>
                  </a:lnTo>
                  <a:lnTo>
                    <a:pt x="1329702" y="8547341"/>
                  </a:lnTo>
                  <a:lnTo>
                    <a:pt x="1351155" y="8557003"/>
                  </a:lnTo>
                  <a:lnTo>
                    <a:pt x="1394055" y="8576339"/>
                  </a:lnTo>
                  <a:lnTo>
                    <a:pt x="1435479" y="8605390"/>
                  </a:lnTo>
                  <a:lnTo>
                    <a:pt x="1453167" y="8619576"/>
                  </a:lnTo>
                  <a:lnTo>
                    <a:pt x="1481169" y="8608681"/>
                  </a:lnTo>
                  <a:lnTo>
                    <a:pt x="1503236" y="8584999"/>
                  </a:lnTo>
                  <a:lnTo>
                    <a:pt x="1525256" y="8563809"/>
                  </a:lnTo>
                  <a:lnTo>
                    <a:pt x="1547283" y="8542620"/>
                  </a:lnTo>
                  <a:lnTo>
                    <a:pt x="1568987" y="8524048"/>
                  </a:lnTo>
                  <a:lnTo>
                    <a:pt x="1595993" y="8518917"/>
                  </a:lnTo>
                  <a:lnTo>
                    <a:pt x="1636424" y="8511241"/>
                  </a:lnTo>
                  <a:lnTo>
                    <a:pt x="1697580" y="8523091"/>
                  </a:lnTo>
                  <a:lnTo>
                    <a:pt x="1759217" y="8531164"/>
                  </a:lnTo>
                  <a:lnTo>
                    <a:pt x="1790027" y="8535200"/>
                  </a:lnTo>
                  <a:lnTo>
                    <a:pt x="1819976" y="8537713"/>
                  </a:lnTo>
                  <a:lnTo>
                    <a:pt x="1848985" y="8536605"/>
                  </a:lnTo>
                  <a:lnTo>
                    <a:pt x="1877997" y="8535497"/>
                  </a:lnTo>
                  <a:lnTo>
                    <a:pt x="1905397" y="8531224"/>
                  </a:lnTo>
                  <a:lnTo>
                    <a:pt x="1927879" y="8518917"/>
                  </a:lnTo>
                  <a:lnTo>
                    <a:pt x="1951661" y="8505906"/>
                  </a:lnTo>
                  <a:lnTo>
                    <a:pt x="1969660" y="8478220"/>
                  </a:lnTo>
                  <a:lnTo>
                    <a:pt x="1995888" y="8464509"/>
                  </a:lnTo>
                  <a:lnTo>
                    <a:pt x="2068128" y="8473419"/>
                  </a:lnTo>
                  <a:lnTo>
                    <a:pt x="2078289" y="8500986"/>
                  </a:lnTo>
                  <a:lnTo>
                    <a:pt x="2070699" y="8527082"/>
                  </a:lnTo>
                  <a:lnTo>
                    <a:pt x="2077058" y="8551925"/>
                  </a:lnTo>
                  <a:lnTo>
                    <a:pt x="2148229" y="8578766"/>
                  </a:lnTo>
                  <a:lnTo>
                    <a:pt x="2123861" y="8626263"/>
                  </a:lnTo>
                  <a:lnTo>
                    <a:pt x="2118308" y="8648138"/>
                  </a:lnTo>
                  <a:lnTo>
                    <a:pt x="2108916" y="8685089"/>
                  </a:lnTo>
                  <a:lnTo>
                    <a:pt x="2111549" y="8706483"/>
                  </a:lnTo>
                  <a:lnTo>
                    <a:pt x="2130497" y="8731253"/>
                  </a:lnTo>
                  <a:lnTo>
                    <a:pt x="2167270" y="8733832"/>
                  </a:lnTo>
                  <a:lnTo>
                    <a:pt x="2209410" y="8729856"/>
                  </a:lnTo>
                  <a:lnTo>
                    <a:pt x="2231200" y="8728391"/>
                  </a:lnTo>
                  <a:lnTo>
                    <a:pt x="2252988" y="8726927"/>
                  </a:lnTo>
                  <a:lnTo>
                    <a:pt x="2274435" y="8728655"/>
                  </a:lnTo>
                  <a:lnTo>
                    <a:pt x="2299761" y="8751071"/>
                  </a:lnTo>
                  <a:lnTo>
                    <a:pt x="2283324" y="8809278"/>
                  </a:lnTo>
                  <a:lnTo>
                    <a:pt x="2293621" y="8846579"/>
                  </a:lnTo>
                  <a:lnTo>
                    <a:pt x="2379374" y="8907852"/>
                  </a:lnTo>
                  <a:lnTo>
                    <a:pt x="2402582" y="8928342"/>
                  </a:lnTo>
                  <a:lnTo>
                    <a:pt x="2433207" y="8955329"/>
                  </a:lnTo>
                  <a:lnTo>
                    <a:pt x="2463168" y="9006043"/>
                  </a:lnTo>
                  <a:lnTo>
                    <a:pt x="2473313" y="9045316"/>
                  </a:lnTo>
                  <a:lnTo>
                    <a:pt x="2486159" y="9095041"/>
                  </a:lnTo>
                  <a:lnTo>
                    <a:pt x="2497299" y="9128379"/>
                  </a:lnTo>
                  <a:lnTo>
                    <a:pt x="2500514" y="9160931"/>
                  </a:lnTo>
                  <a:lnTo>
                    <a:pt x="2503733" y="9193490"/>
                  </a:lnTo>
                  <a:lnTo>
                    <a:pt x="2498201" y="9225139"/>
                  </a:lnTo>
                  <a:lnTo>
                    <a:pt x="2476035" y="9272471"/>
                  </a:lnTo>
                  <a:lnTo>
                    <a:pt x="2458287" y="9307153"/>
                  </a:lnTo>
                  <a:lnTo>
                    <a:pt x="2432298" y="9326708"/>
                  </a:lnTo>
                  <a:lnTo>
                    <a:pt x="2399435" y="9318451"/>
                  </a:lnTo>
                  <a:lnTo>
                    <a:pt x="2374020" y="9317349"/>
                  </a:lnTo>
                  <a:lnTo>
                    <a:pt x="2346393" y="9406380"/>
                  </a:lnTo>
                  <a:lnTo>
                    <a:pt x="2404836" y="9470713"/>
                  </a:lnTo>
                  <a:lnTo>
                    <a:pt x="2453547" y="9521593"/>
                  </a:lnTo>
                  <a:lnTo>
                    <a:pt x="2501875" y="9573066"/>
                  </a:lnTo>
                  <a:lnTo>
                    <a:pt x="2531821" y="9583783"/>
                  </a:lnTo>
                  <a:lnTo>
                    <a:pt x="2563360" y="9565693"/>
                  </a:lnTo>
                  <a:lnTo>
                    <a:pt x="2609463" y="9555708"/>
                  </a:lnTo>
                  <a:lnTo>
                    <a:pt x="2636537" y="9563550"/>
                  </a:lnTo>
                  <a:lnTo>
                    <a:pt x="2661320" y="9592370"/>
                  </a:lnTo>
                  <a:lnTo>
                    <a:pt x="2642254" y="9683775"/>
                  </a:lnTo>
                  <a:lnTo>
                    <a:pt x="2643216" y="9720021"/>
                  </a:lnTo>
                  <a:lnTo>
                    <a:pt x="2656037" y="9739001"/>
                  </a:lnTo>
                  <a:lnTo>
                    <a:pt x="2671905" y="9755336"/>
                  </a:lnTo>
                  <a:lnTo>
                    <a:pt x="2687771" y="9771672"/>
                  </a:lnTo>
                  <a:lnTo>
                    <a:pt x="2705953" y="9786075"/>
                  </a:lnTo>
                  <a:lnTo>
                    <a:pt x="2736277" y="9799074"/>
                  </a:lnTo>
                  <a:lnTo>
                    <a:pt x="2765506" y="9788383"/>
                  </a:lnTo>
                  <a:lnTo>
                    <a:pt x="2793086" y="9777192"/>
                  </a:lnTo>
                  <a:lnTo>
                    <a:pt x="2813363" y="9793422"/>
                  </a:lnTo>
                  <a:lnTo>
                    <a:pt x="2831849" y="9816445"/>
                  </a:lnTo>
                  <a:lnTo>
                    <a:pt x="2852003" y="9838406"/>
                  </a:lnTo>
                  <a:lnTo>
                    <a:pt x="2880014" y="9847830"/>
                  </a:lnTo>
                  <a:lnTo>
                    <a:pt x="2916126" y="9842119"/>
                  </a:lnTo>
                  <a:lnTo>
                    <a:pt x="2943945" y="9821984"/>
                  </a:lnTo>
                  <a:lnTo>
                    <a:pt x="2969788" y="9795077"/>
                  </a:lnTo>
                  <a:lnTo>
                    <a:pt x="3022219" y="9795546"/>
                  </a:lnTo>
                  <a:lnTo>
                    <a:pt x="3059981" y="9813721"/>
                  </a:lnTo>
                  <a:lnTo>
                    <a:pt x="3100363" y="9827425"/>
                  </a:lnTo>
                  <a:lnTo>
                    <a:pt x="3135499" y="9839349"/>
                  </a:lnTo>
                  <a:lnTo>
                    <a:pt x="3172926" y="9847593"/>
                  </a:lnTo>
                  <a:lnTo>
                    <a:pt x="3207820" y="9860070"/>
                  </a:lnTo>
                  <a:lnTo>
                    <a:pt x="3245694" y="9879518"/>
                  </a:lnTo>
                  <a:lnTo>
                    <a:pt x="3285031" y="9892583"/>
                  </a:lnTo>
                  <a:lnTo>
                    <a:pt x="3317993" y="9891356"/>
                  </a:lnTo>
                  <a:lnTo>
                    <a:pt x="3348404" y="9880659"/>
                  </a:lnTo>
                  <a:lnTo>
                    <a:pt x="3387769" y="9851543"/>
                  </a:lnTo>
                  <a:lnTo>
                    <a:pt x="3409972" y="9822518"/>
                  </a:lnTo>
                  <a:lnTo>
                    <a:pt x="3432256" y="9794781"/>
                  </a:lnTo>
                  <a:lnTo>
                    <a:pt x="3450810" y="9784683"/>
                  </a:lnTo>
                  <a:lnTo>
                    <a:pt x="3484429" y="9785851"/>
                  </a:lnTo>
                  <a:lnTo>
                    <a:pt x="3505538" y="9788680"/>
                  </a:lnTo>
                  <a:lnTo>
                    <a:pt x="3526107" y="9793422"/>
                  </a:lnTo>
                  <a:lnTo>
                    <a:pt x="3567240" y="9802892"/>
                  </a:lnTo>
                  <a:lnTo>
                    <a:pt x="3607920" y="9817414"/>
                  </a:lnTo>
                  <a:lnTo>
                    <a:pt x="3651669" y="9827900"/>
                  </a:lnTo>
                  <a:lnTo>
                    <a:pt x="3685673" y="9831719"/>
                  </a:lnTo>
                  <a:lnTo>
                    <a:pt x="3716536" y="9836948"/>
                  </a:lnTo>
                  <a:lnTo>
                    <a:pt x="3748965" y="9826660"/>
                  </a:lnTo>
                  <a:lnTo>
                    <a:pt x="3765668" y="9791529"/>
                  </a:lnTo>
                  <a:lnTo>
                    <a:pt x="3787267" y="9785257"/>
                  </a:lnTo>
                  <a:lnTo>
                    <a:pt x="3821969" y="9785719"/>
                  </a:lnTo>
                  <a:lnTo>
                    <a:pt x="3858658" y="9793000"/>
                  </a:lnTo>
                  <a:lnTo>
                    <a:pt x="3894718" y="9783892"/>
                  </a:lnTo>
                  <a:lnTo>
                    <a:pt x="3913706" y="9755818"/>
                  </a:lnTo>
                  <a:lnTo>
                    <a:pt x="3937289" y="9722388"/>
                  </a:lnTo>
                  <a:lnTo>
                    <a:pt x="3964090" y="9700922"/>
                  </a:lnTo>
                  <a:lnTo>
                    <a:pt x="3989236" y="9690469"/>
                  </a:lnTo>
                  <a:lnTo>
                    <a:pt x="4020642" y="9704318"/>
                  </a:lnTo>
                  <a:lnTo>
                    <a:pt x="4042984" y="9688682"/>
                  </a:lnTo>
                  <a:lnTo>
                    <a:pt x="4069919" y="9658938"/>
                  </a:lnTo>
                  <a:lnTo>
                    <a:pt x="4082430" y="9641073"/>
                  </a:lnTo>
                  <a:lnTo>
                    <a:pt x="4094938" y="9623207"/>
                  </a:lnTo>
                  <a:lnTo>
                    <a:pt x="4108255" y="9606707"/>
                  </a:lnTo>
                  <a:lnTo>
                    <a:pt x="4130037" y="9601629"/>
                  </a:lnTo>
                  <a:lnTo>
                    <a:pt x="4164924" y="9593497"/>
                  </a:lnTo>
                  <a:lnTo>
                    <a:pt x="4208426" y="9600059"/>
                  </a:lnTo>
                  <a:lnTo>
                    <a:pt x="4248377" y="9605704"/>
                  </a:lnTo>
                  <a:lnTo>
                    <a:pt x="4288321" y="9611356"/>
                  </a:lnTo>
                  <a:lnTo>
                    <a:pt x="4325101" y="9615894"/>
                  </a:lnTo>
                  <a:lnTo>
                    <a:pt x="4350386" y="9604346"/>
                  </a:lnTo>
                  <a:lnTo>
                    <a:pt x="4370704" y="9587767"/>
                  </a:lnTo>
                  <a:lnTo>
                    <a:pt x="4405282" y="9534124"/>
                  </a:lnTo>
                  <a:lnTo>
                    <a:pt x="4411601" y="9509129"/>
                  </a:lnTo>
                  <a:lnTo>
                    <a:pt x="4432803" y="9503728"/>
                  </a:lnTo>
                  <a:lnTo>
                    <a:pt x="4456972" y="9494976"/>
                  </a:lnTo>
                  <a:lnTo>
                    <a:pt x="4475526" y="9483290"/>
                  </a:lnTo>
                  <a:lnTo>
                    <a:pt x="4468977" y="9443800"/>
                  </a:lnTo>
                  <a:lnTo>
                    <a:pt x="4461920" y="9414874"/>
                  </a:lnTo>
                  <a:lnTo>
                    <a:pt x="4474158" y="9393514"/>
                  </a:lnTo>
                  <a:lnTo>
                    <a:pt x="4501369" y="9374474"/>
                  </a:lnTo>
                  <a:lnTo>
                    <a:pt x="4518221" y="9354195"/>
                  </a:lnTo>
                  <a:lnTo>
                    <a:pt x="4497326" y="9308096"/>
                  </a:lnTo>
                  <a:lnTo>
                    <a:pt x="4513610" y="9277898"/>
                  </a:lnTo>
                  <a:lnTo>
                    <a:pt x="4572865" y="9247602"/>
                  </a:lnTo>
                  <a:lnTo>
                    <a:pt x="4621067" y="9238454"/>
                  </a:lnTo>
                  <a:lnTo>
                    <a:pt x="4669263" y="9229300"/>
                  </a:lnTo>
                  <a:lnTo>
                    <a:pt x="4718891" y="9226531"/>
                  </a:lnTo>
                  <a:lnTo>
                    <a:pt x="4739401" y="9235737"/>
                  </a:lnTo>
                  <a:lnTo>
                    <a:pt x="4756488" y="9254414"/>
                  </a:lnTo>
                  <a:lnTo>
                    <a:pt x="4762358" y="9274944"/>
                  </a:lnTo>
                  <a:lnTo>
                    <a:pt x="4774769" y="9295586"/>
                  </a:lnTo>
                  <a:lnTo>
                    <a:pt x="4792126" y="9324465"/>
                  </a:lnTo>
                  <a:lnTo>
                    <a:pt x="4810882" y="9341763"/>
                  </a:lnTo>
                  <a:lnTo>
                    <a:pt x="4833253" y="9355434"/>
                  </a:lnTo>
                  <a:lnTo>
                    <a:pt x="4855629" y="9369100"/>
                  </a:lnTo>
                  <a:lnTo>
                    <a:pt x="4882133" y="9378075"/>
                  </a:lnTo>
                  <a:lnTo>
                    <a:pt x="4913505" y="9389438"/>
                  </a:lnTo>
                  <a:lnTo>
                    <a:pt x="4933231" y="9417064"/>
                  </a:lnTo>
                  <a:lnTo>
                    <a:pt x="4953220" y="9445561"/>
                  </a:lnTo>
                  <a:lnTo>
                    <a:pt x="4971994" y="9473767"/>
                  </a:lnTo>
                  <a:lnTo>
                    <a:pt x="4990790" y="9502006"/>
                  </a:lnTo>
                  <a:lnTo>
                    <a:pt x="5003775" y="9531921"/>
                  </a:lnTo>
                  <a:lnTo>
                    <a:pt x="5020962" y="9558103"/>
                  </a:lnTo>
                  <a:lnTo>
                    <a:pt x="5038149" y="9584284"/>
                  </a:lnTo>
                  <a:lnTo>
                    <a:pt x="5059707" y="9606318"/>
                  </a:lnTo>
                  <a:lnTo>
                    <a:pt x="5095776" y="9619310"/>
                  </a:lnTo>
                  <a:lnTo>
                    <a:pt x="5125083" y="9629868"/>
                  </a:lnTo>
                  <a:lnTo>
                    <a:pt x="5183929" y="9627349"/>
                  </a:lnTo>
                  <a:lnTo>
                    <a:pt x="5237228" y="9626109"/>
                  </a:lnTo>
                  <a:lnTo>
                    <a:pt x="5290536" y="9624876"/>
                  </a:lnTo>
                  <a:lnTo>
                    <a:pt x="5339188" y="9624961"/>
                  </a:lnTo>
                  <a:lnTo>
                    <a:pt x="5358436" y="9657686"/>
                  </a:lnTo>
                  <a:lnTo>
                    <a:pt x="5371843" y="9679653"/>
                  </a:lnTo>
                  <a:lnTo>
                    <a:pt x="5382772" y="9702280"/>
                  </a:lnTo>
                  <a:lnTo>
                    <a:pt x="5393705" y="9724907"/>
                  </a:lnTo>
                  <a:lnTo>
                    <a:pt x="5401475" y="9748636"/>
                  </a:lnTo>
                  <a:lnTo>
                    <a:pt x="5397736" y="9771652"/>
                  </a:lnTo>
                  <a:lnTo>
                    <a:pt x="5362374" y="9781175"/>
                  </a:lnTo>
                  <a:lnTo>
                    <a:pt x="5349184" y="9806348"/>
                  </a:lnTo>
                  <a:lnTo>
                    <a:pt x="5348306" y="9834890"/>
                  </a:lnTo>
                  <a:lnTo>
                    <a:pt x="5341969" y="9861428"/>
                  </a:lnTo>
                  <a:lnTo>
                    <a:pt x="5327012" y="9877006"/>
                  </a:lnTo>
                  <a:lnTo>
                    <a:pt x="5297429" y="9879809"/>
                  </a:lnTo>
                  <a:lnTo>
                    <a:pt x="5263747" y="9873622"/>
                  </a:lnTo>
                  <a:lnTo>
                    <a:pt x="5240146" y="9864455"/>
                  </a:lnTo>
                  <a:lnTo>
                    <a:pt x="5205779" y="9870800"/>
                  </a:lnTo>
                  <a:lnTo>
                    <a:pt x="5181554" y="9900787"/>
                  </a:lnTo>
                  <a:lnTo>
                    <a:pt x="5161065" y="9934876"/>
                  </a:lnTo>
                  <a:lnTo>
                    <a:pt x="5140567" y="9968971"/>
                  </a:lnTo>
                  <a:lnTo>
                    <a:pt x="5123421" y="10008171"/>
                  </a:lnTo>
                  <a:lnTo>
                    <a:pt x="5122981" y="10030093"/>
                  </a:lnTo>
                  <a:lnTo>
                    <a:pt x="5160259" y="10062837"/>
                  </a:lnTo>
                  <a:lnTo>
                    <a:pt x="5190986" y="10080419"/>
                  </a:lnTo>
                  <a:lnTo>
                    <a:pt x="5221713" y="10098001"/>
                  </a:lnTo>
                  <a:lnTo>
                    <a:pt x="5254362" y="10116889"/>
                  </a:lnTo>
                  <a:lnTo>
                    <a:pt x="5268516" y="10138909"/>
                  </a:lnTo>
                  <a:lnTo>
                    <a:pt x="5281231" y="10158634"/>
                  </a:lnTo>
                  <a:lnTo>
                    <a:pt x="5259586" y="10226641"/>
                  </a:lnTo>
                  <a:lnTo>
                    <a:pt x="5267158" y="10261323"/>
                  </a:lnTo>
                  <a:lnTo>
                    <a:pt x="5285076" y="10283251"/>
                  </a:lnTo>
                  <a:lnTo>
                    <a:pt x="5297289" y="10306802"/>
                  </a:lnTo>
                  <a:lnTo>
                    <a:pt x="5313406" y="10325254"/>
                  </a:lnTo>
                  <a:lnTo>
                    <a:pt x="5329526" y="10343707"/>
                  </a:lnTo>
                  <a:lnTo>
                    <a:pt x="5349323" y="10356996"/>
                  </a:lnTo>
                  <a:lnTo>
                    <a:pt x="5382772" y="10361982"/>
                  </a:lnTo>
                  <a:lnTo>
                    <a:pt x="5407977" y="10365741"/>
                  </a:lnTo>
                  <a:lnTo>
                    <a:pt x="5437609" y="10354542"/>
                  </a:lnTo>
                  <a:lnTo>
                    <a:pt x="5467108" y="10348376"/>
                  </a:lnTo>
                  <a:lnTo>
                    <a:pt x="5496443" y="10343463"/>
                  </a:lnTo>
                  <a:lnTo>
                    <a:pt x="5524832" y="10347849"/>
                  </a:lnTo>
                  <a:lnTo>
                    <a:pt x="5551438" y="10367422"/>
                  </a:lnTo>
                  <a:lnTo>
                    <a:pt x="5554074" y="10399111"/>
                  </a:lnTo>
                  <a:lnTo>
                    <a:pt x="5516668" y="10428505"/>
                  </a:lnTo>
                  <a:lnTo>
                    <a:pt x="5483306" y="10462429"/>
                  </a:lnTo>
                  <a:lnTo>
                    <a:pt x="5460309" y="10492560"/>
                  </a:lnTo>
                  <a:lnTo>
                    <a:pt x="5558250" y="10663949"/>
                  </a:lnTo>
                  <a:lnTo>
                    <a:pt x="5608576" y="10740121"/>
                  </a:lnTo>
                  <a:lnTo>
                    <a:pt x="5660259" y="10817650"/>
                  </a:lnTo>
                  <a:lnTo>
                    <a:pt x="5665766" y="10789833"/>
                  </a:lnTo>
                  <a:lnTo>
                    <a:pt x="5679747" y="10767272"/>
                  </a:lnTo>
                  <a:lnTo>
                    <a:pt x="5692905" y="10744202"/>
                  </a:lnTo>
                  <a:lnTo>
                    <a:pt x="5706067" y="10721133"/>
                  </a:lnTo>
                  <a:lnTo>
                    <a:pt x="5717304" y="10697722"/>
                  </a:lnTo>
                  <a:lnTo>
                    <a:pt x="5717391" y="10669390"/>
                  </a:lnTo>
                  <a:lnTo>
                    <a:pt x="5740751" y="10665737"/>
                  </a:lnTo>
                  <a:lnTo>
                    <a:pt x="5781613" y="10670426"/>
                  </a:lnTo>
                  <a:lnTo>
                    <a:pt x="5822125" y="10670749"/>
                  </a:lnTo>
                  <a:lnTo>
                    <a:pt x="5862644" y="10671078"/>
                  </a:lnTo>
                  <a:lnTo>
                    <a:pt x="5901863" y="10667596"/>
                  </a:lnTo>
                  <a:lnTo>
                    <a:pt x="5936382" y="10659867"/>
                  </a:lnTo>
                  <a:lnTo>
                    <a:pt x="5969025" y="10700669"/>
                  </a:lnTo>
                  <a:lnTo>
                    <a:pt x="6000893" y="10712659"/>
                  </a:lnTo>
                  <a:lnTo>
                    <a:pt x="6029654" y="10710443"/>
                  </a:lnTo>
                  <a:lnTo>
                    <a:pt x="6054719" y="10696587"/>
                  </a:lnTo>
                  <a:lnTo>
                    <a:pt x="6079958" y="10680390"/>
                  </a:lnTo>
                  <a:lnTo>
                    <a:pt x="6102862" y="10652158"/>
                  </a:lnTo>
                  <a:lnTo>
                    <a:pt x="6124092" y="10620416"/>
                  </a:lnTo>
                  <a:lnTo>
                    <a:pt x="6145321" y="10588682"/>
                  </a:lnTo>
                  <a:lnTo>
                    <a:pt x="6165388" y="10553175"/>
                  </a:lnTo>
                  <a:lnTo>
                    <a:pt x="6186658" y="10522482"/>
                  </a:lnTo>
                  <a:lnTo>
                    <a:pt x="6207934" y="10491789"/>
                  </a:lnTo>
                  <a:lnTo>
                    <a:pt x="6230652" y="10466188"/>
                  </a:lnTo>
                  <a:lnTo>
                    <a:pt x="6256031" y="10453116"/>
                  </a:lnTo>
                  <a:lnTo>
                    <a:pt x="6275242" y="10443225"/>
                  </a:lnTo>
                  <a:lnTo>
                    <a:pt x="6314520" y="10439512"/>
                  </a:lnTo>
                  <a:lnTo>
                    <a:pt x="6356133" y="10440507"/>
                  </a:lnTo>
                  <a:lnTo>
                    <a:pt x="6377087" y="10440870"/>
                  </a:lnTo>
                  <a:lnTo>
                    <a:pt x="6399318" y="10415796"/>
                  </a:lnTo>
                  <a:lnTo>
                    <a:pt x="6414703" y="10375284"/>
                  </a:lnTo>
                  <a:lnTo>
                    <a:pt x="6428777" y="10359258"/>
                  </a:lnTo>
                  <a:lnTo>
                    <a:pt x="6494066" y="10355182"/>
                  </a:lnTo>
                  <a:lnTo>
                    <a:pt x="6534467" y="10352188"/>
                  </a:lnTo>
                  <a:lnTo>
                    <a:pt x="6570238" y="10364705"/>
                  </a:lnTo>
                  <a:lnTo>
                    <a:pt x="6595145" y="10391863"/>
                  </a:lnTo>
                  <a:lnTo>
                    <a:pt x="6615122" y="10416390"/>
                  </a:lnTo>
                  <a:lnTo>
                    <a:pt x="6643427" y="10440131"/>
                  </a:lnTo>
                  <a:lnTo>
                    <a:pt x="6666806" y="10459923"/>
                  </a:lnTo>
                  <a:lnTo>
                    <a:pt x="6688528" y="10450723"/>
                  </a:lnTo>
                  <a:lnTo>
                    <a:pt x="6700940" y="10426407"/>
                  </a:lnTo>
                  <a:lnTo>
                    <a:pt x="6718499" y="10412314"/>
                  </a:lnTo>
                  <a:lnTo>
                    <a:pt x="6752633" y="10398353"/>
                  </a:lnTo>
                  <a:lnTo>
                    <a:pt x="6771249" y="10373062"/>
                  </a:lnTo>
                  <a:lnTo>
                    <a:pt x="6786504" y="10356548"/>
                  </a:lnTo>
                  <a:lnTo>
                    <a:pt x="6806822" y="10351239"/>
                  </a:lnTo>
                  <a:lnTo>
                    <a:pt x="6833518" y="10354826"/>
                  </a:lnTo>
                  <a:lnTo>
                    <a:pt x="6899409" y="10370153"/>
                  </a:lnTo>
                  <a:lnTo>
                    <a:pt x="6929956" y="10406702"/>
                  </a:lnTo>
                  <a:lnTo>
                    <a:pt x="6938845" y="10439525"/>
                  </a:lnTo>
                  <a:lnTo>
                    <a:pt x="6947744" y="10472341"/>
                  </a:lnTo>
                  <a:lnTo>
                    <a:pt x="6953322" y="10506384"/>
                  </a:lnTo>
                  <a:lnTo>
                    <a:pt x="6965628" y="10534056"/>
                  </a:lnTo>
                  <a:lnTo>
                    <a:pt x="6987812" y="10563298"/>
                  </a:lnTo>
                  <a:lnTo>
                    <a:pt x="7023460" y="10579897"/>
                  </a:lnTo>
                  <a:lnTo>
                    <a:pt x="7132994" y="10595349"/>
                  </a:lnTo>
                  <a:lnTo>
                    <a:pt x="7240814" y="10602748"/>
                  </a:lnTo>
                  <a:lnTo>
                    <a:pt x="7348634" y="10610142"/>
                  </a:lnTo>
                  <a:lnTo>
                    <a:pt x="7454984" y="10610121"/>
                  </a:lnTo>
                  <a:lnTo>
                    <a:pt x="7488374" y="10594584"/>
                  </a:lnTo>
                  <a:lnTo>
                    <a:pt x="7504696" y="10555140"/>
                  </a:lnTo>
                  <a:lnTo>
                    <a:pt x="7531978" y="10554678"/>
                  </a:lnTo>
                  <a:lnTo>
                    <a:pt x="7590343" y="10553399"/>
                  </a:lnTo>
                  <a:lnTo>
                    <a:pt x="7614863" y="10570104"/>
                  </a:lnTo>
                  <a:lnTo>
                    <a:pt x="7626853" y="10607636"/>
                  </a:lnTo>
                  <a:lnTo>
                    <a:pt x="7642582" y="10626932"/>
                  </a:lnTo>
                  <a:lnTo>
                    <a:pt x="7694107" y="10631074"/>
                  </a:lnTo>
                  <a:lnTo>
                    <a:pt x="7744092" y="10629953"/>
                  </a:lnTo>
                  <a:lnTo>
                    <a:pt x="7794067" y="10628831"/>
                  </a:lnTo>
                  <a:lnTo>
                    <a:pt x="7842830" y="10623661"/>
                  </a:lnTo>
                  <a:lnTo>
                    <a:pt x="7851549" y="10587785"/>
                  </a:lnTo>
                  <a:lnTo>
                    <a:pt x="7866227" y="10565045"/>
                  </a:lnTo>
                  <a:lnTo>
                    <a:pt x="7886291" y="10550648"/>
                  </a:lnTo>
                  <a:lnTo>
                    <a:pt x="7908674" y="10540176"/>
                  </a:lnTo>
                  <a:lnTo>
                    <a:pt x="7931057" y="10529703"/>
                  </a:lnTo>
                  <a:lnTo>
                    <a:pt x="7956110" y="10522811"/>
                  </a:lnTo>
                  <a:lnTo>
                    <a:pt x="7979405" y="10512972"/>
                  </a:lnTo>
                  <a:lnTo>
                    <a:pt x="8013493" y="10488063"/>
                  </a:lnTo>
                  <a:lnTo>
                    <a:pt x="8058885" y="10474444"/>
                  </a:lnTo>
                  <a:lnTo>
                    <a:pt x="8097906" y="10458650"/>
                  </a:lnTo>
                  <a:lnTo>
                    <a:pt x="8131746" y="10453123"/>
                  </a:lnTo>
                  <a:lnTo>
                    <a:pt x="8163434" y="10447946"/>
                  </a:lnTo>
                  <a:lnTo>
                    <a:pt x="8197069" y="10449523"/>
                  </a:lnTo>
                  <a:lnTo>
                    <a:pt x="8229681" y="10447683"/>
                  </a:lnTo>
                  <a:lnTo>
                    <a:pt x="8262284" y="10445842"/>
                  </a:lnTo>
                  <a:lnTo>
                    <a:pt x="8294843" y="10440072"/>
                  </a:lnTo>
                  <a:lnTo>
                    <a:pt x="8323532" y="10420479"/>
                  </a:lnTo>
                  <a:lnTo>
                    <a:pt x="8342065" y="10397944"/>
                  </a:lnTo>
                  <a:lnTo>
                    <a:pt x="8348297" y="10358816"/>
                  </a:lnTo>
                  <a:lnTo>
                    <a:pt x="8357537" y="10321186"/>
                  </a:lnTo>
                  <a:lnTo>
                    <a:pt x="8367815" y="10283707"/>
                  </a:lnTo>
                  <a:lnTo>
                    <a:pt x="8382623" y="10252572"/>
                  </a:lnTo>
                  <a:lnTo>
                    <a:pt x="8405143" y="10232775"/>
                  </a:lnTo>
                  <a:lnTo>
                    <a:pt x="8459887" y="10202022"/>
                  </a:lnTo>
                  <a:lnTo>
                    <a:pt x="8523015" y="10201039"/>
                  </a:lnTo>
                  <a:lnTo>
                    <a:pt x="8577889" y="10174284"/>
                  </a:lnTo>
                  <a:lnTo>
                    <a:pt x="8586986" y="10120958"/>
                  </a:lnTo>
                  <a:lnTo>
                    <a:pt x="8599265" y="10085893"/>
                  </a:lnTo>
                  <a:lnTo>
                    <a:pt x="8613251" y="10062745"/>
                  </a:lnTo>
                  <a:lnTo>
                    <a:pt x="8627241" y="10039603"/>
                  </a:lnTo>
                  <a:lnTo>
                    <a:pt x="8660861" y="10020583"/>
                  </a:lnTo>
                  <a:lnTo>
                    <a:pt x="8700647" y="10011298"/>
                  </a:lnTo>
                  <a:lnTo>
                    <a:pt x="8723427" y="10005620"/>
                  </a:lnTo>
                  <a:lnTo>
                    <a:pt x="8746220" y="9999942"/>
                  </a:lnTo>
                  <a:lnTo>
                    <a:pt x="8771549" y="9991362"/>
                  </a:lnTo>
                  <a:lnTo>
                    <a:pt x="8798238" y="9972975"/>
                  </a:lnTo>
                  <a:lnTo>
                    <a:pt x="8816541" y="9952847"/>
                  </a:lnTo>
                  <a:lnTo>
                    <a:pt x="8824004" y="9930168"/>
                  </a:lnTo>
                  <a:lnTo>
                    <a:pt x="8830884" y="9907685"/>
                  </a:lnTo>
                  <a:lnTo>
                    <a:pt x="8837762" y="9885203"/>
                  </a:lnTo>
                  <a:lnTo>
                    <a:pt x="8844146" y="9862438"/>
                  </a:lnTo>
                  <a:lnTo>
                    <a:pt x="8856731" y="9841037"/>
                  </a:lnTo>
                  <a:lnTo>
                    <a:pt x="8870625" y="9817434"/>
                  </a:lnTo>
                  <a:lnTo>
                    <a:pt x="8890279" y="9796106"/>
                  </a:lnTo>
                  <a:lnTo>
                    <a:pt x="8908415" y="9774383"/>
                  </a:lnTo>
                  <a:lnTo>
                    <a:pt x="8926556" y="9752659"/>
                  </a:lnTo>
                  <a:lnTo>
                    <a:pt x="8943188" y="9730368"/>
                  </a:lnTo>
                  <a:lnTo>
                    <a:pt x="8949225" y="9703652"/>
                  </a:lnTo>
                  <a:lnTo>
                    <a:pt x="8949225" y="9677813"/>
                  </a:lnTo>
                  <a:lnTo>
                    <a:pt x="8952666" y="9656472"/>
                  </a:lnTo>
                  <a:lnTo>
                    <a:pt x="8953299" y="9617964"/>
                  </a:lnTo>
                  <a:lnTo>
                    <a:pt x="8973111" y="9558603"/>
                  </a:lnTo>
                  <a:lnTo>
                    <a:pt x="9017230" y="9494185"/>
                  </a:lnTo>
                  <a:lnTo>
                    <a:pt x="9042971" y="9447255"/>
                  </a:lnTo>
                  <a:lnTo>
                    <a:pt x="9066994" y="9384709"/>
                  </a:lnTo>
                  <a:lnTo>
                    <a:pt x="9083877" y="9320079"/>
                  </a:lnTo>
                  <a:lnTo>
                    <a:pt x="9100769" y="9255449"/>
                  </a:lnTo>
                  <a:lnTo>
                    <a:pt x="9111491" y="9187568"/>
                  </a:lnTo>
                  <a:lnTo>
                    <a:pt x="9109723" y="9132368"/>
                  </a:lnTo>
                  <a:lnTo>
                    <a:pt x="9097225" y="9098088"/>
                  </a:lnTo>
                  <a:lnTo>
                    <a:pt x="9086181" y="9063914"/>
                  </a:lnTo>
                  <a:lnTo>
                    <a:pt x="9082519" y="9027635"/>
                  </a:lnTo>
                  <a:lnTo>
                    <a:pt x="9103274" y="9003299"/>
                  </a:lnTo>
                  <a:lnTo>
                    <a:pt x="9140655" y="8989404"/>
                  </a:lnTo>
                  <a:lnTo>
                    <a:pt x="9161156" y="8984887"/>
                  </a:lnTo>
                  <a:lnTo>
                    <a:pt x="9184779" y="8964475"/>
                  </a:lnTo>
                  <a:lnTo>
                    <a:pt x="9185895" y="8788029"/>
                  </a:lnTo>
                  <a:lnTo>
                    <a:pt x="9185895" y="8758319"/>
                  </a:lnTo>
                  <a:lnTo>
                    <a:pt x="9210123" y="8724421"/>
                  </a:lnTo>
                  <a:lnTo>
                    <a:pt x="9245823" y="8709114"/>
                  </a:lnTo>
                  <a:lnTo>
                    <a:pt x="9275670" y="8691664"/>
                  </a:lnTo>
                  <a:lnTo>
                    <a:pt x="9304663" y="8672737"/>
                  </a:lnTo>
                  <a:lnTo>
                    <a:pt x="9322845" y="8648026"/>
                  </a:lnTo>
                  <a:lnTo>
                    <a:pt x="9325995" y="8611417"/>
                  </a:lnTo>
                  <a:lnTo>
                    <a:pt x="9324333" y="8589120"/>
                  </a:lnTo>
                  <a:lnTo>
                    <a:pt x="9324169" y="8564831"/>
                  </a:lnTo>
                  <a:lnTo>
                    <a:pt x="9316473" y="8543404"/>
                  </a:lnTo>
                  <a:lnTo>
                    <a:pt x="9293436" y="8521918"/>
                  </a:lnTo>
                  <a:lnTo>
                    <a:pt x="9260700" y="8522999"/>
                  </a:lnTo>
                  <a:lnTo>
                    <a:pt x="9239511" y="8512283"/>
                  </a:lnTo>
                  <a:lnTo>
                    <a:pt x="9223850" y="8496237"/>
                  </a:lnTo>
                  <a:lnTo>
                    <a:pt x="9210374" y="8479473"/>
                  </a:lnTo>
                  <a:lnTo>
                    <a:pt x="9196909" y="8462715"/>
                  </a:lnTo>
                  <a:lnTo>
                    <a:pt x="9184661" y="8444778"/>
                  </a:lnTo>
                  <a:lnTo>
                    <a:pt x="9168213" y="8429148"/>
                  </a:lnTo>
                  <a:lnTo>
                    <a:pt x="9162765" y="8400724"/>
                  </a:lnTo>
                  <a:lnTo>
                    <a:pt x="9158579" y="8347543"/>
                  </a:lnTo>
                  <a:lnTo>
                    <a:pt x="9157327" y="8294486"/>
                  </a:lnTo>
                  <a:lnTo>
                    <a:pt x="9156086" y="8241430"/>
                  </a:lnTo>
                  <a:lnTo>
                    <a:pt x="9157789" y="8189113"/>
                  </a:lnTo>
                  <a:lnTo>
                    <a:pt x="9168213" y="8162548"/>
                  </a:lnTo>
                  <a:lnTo>
                    <a:pt x="9219896" y="8030611"/>
                  </a:lnTo>
                  <a:lnTo>
                    <a:pt x="9230950" y="8002536"/>
                  </a:lnTo>
                  <a:lnTo>
                    <a:pt x="9225127" y="7960751"/>
                  </a:lnTo>
                  <a:lnTo>
                    <a:pt x="9232137" y="7929952"/>
                  </a:lnTo>
                  <a:lnTo>
                    <a:pt x="9239749" y="7896418"/>
                  </a:lnTo>
                  <a:lnTo>
                    <a:pt x="9282246" y="7818822"/>
                  </a:lnTo>
                  <a:lnTo>
                    <a:pt x="9331899" y="7829724"/>
                  </a:lnTo>
                  <a:lnTo>
                    <a:pt x="9362474" y="7815024"/>
                  </a:lnTo>
                  <a:lnTo>
                    <a:pt x="9370929" y="7793946"/>
                  </a:lnTo>
                  <a:lnTo>
                    <a:pt x="9374963" y="7766729"/>
                  </a:lnTo>
                  <a:lnTo>
                    <a:pt x="9378994" y="7739518"/>
                  </a:lnTo>
                  <a:lnTo>
                    <a:pt x="9378451" y="7705594"/>
                  </a:lnTo>
                  <a:lnTo>
                    <a:pt x="9376315" y="7671519"/>
                  </a:lnTo>
                  <a:lnTo>
                    <a:pt x="9372048" y="7603360"/>
                  </a:lnTo>
                  <a:lnTo>
                    <a:pt x="9361826" y="7533500"/>
                  </a:lnTo>
                  <a:lnTo>
                    <a:pt x="9368157" y="7506936"/>
                  </a:lnTo>
                  <a:lnTo>
                    <a:pt x="9373685" y="7483643"/>
                  </a:lnTo>
                  <a:lnTo>
                    <a:pt x="9392255" y="7451908"/>
                  </a:lnTo>
                  <a:lnTo>
                    <a:pt x="9402161" y="7429399"/>
                  </a:lnTo>
                  <a:lnTo>
                    <a:pt x="9359438" y="7398700"/>
                  </a:lnTo>
                  <a:lnTo>
                    <a:pt x="9328715" y="7373633"/>
                  </a:lnTo>
                  <a:lnTo>
                    <a:pt x="9297982" y="7348572"/>
                  </a:lnTo>
                  <a:lnTo>
                    <a:pt x="9270138" y="7322213"/>
                  </a:lnTo>
                  <a:lnTo>
                    <a:pt x="9268799" y="7292377"/>
                  </a:lnTo>
                  <a:lnTo>
                    <a:pt x="9279747" y="7263459"/>
                  </a:lnTo>
                  <a:lnTo>
                    <a:pt x="9296617" y="7236301"/>
                  </a:lnTo>
                  <a:lnTo>
                    <a:pt x="9331688" y="7199435"/>
                  </a:lnTo>
                  <a:lnTo>
                    <a:pt x="9360719" y="7177521"/>
                  </a:lnTo>
                  <a:lnTo>
                    <a:pt x="9379040" y="7157360"/>
                  </a:lnTo>
                  <a:lnTo>
                    <a:pt x="9475146" y="6991821"/>
                  </a:lnTo>
                  <a:lnTo>
                    <a:pt x="9463370" y="6969656"/>
                  </a:lnTo>
                  <a:lnTo>
                    <a:pt x="9372030" y="6934861"/>
                  </a:lnTo>
                  <a:lnTo>
                    <a:pt x="9336878" y="6928846"/>
                  </a:lnTo>
                  <a:lnTo>
                    <a:pt x="9310406" y="6990318"/>
                  </a:lnTo>
                  <a:lnTo>
                    <a:pt x="9290627" y="7032222"/>
                  </a:lnTo>
                  <a:lnTo>
                    <a:pt x="9270842" y="7074132"/>
                  </a:lnTo>
                  <a:lnTo>
                    <a:pt x="9250226" y="7113081"/>
                  </a:lnTo>
                  <a:lnTo>
                    <a:pt x="9214858" y="7132497"/>
                  </a:lnTo>
                  <a:lnTo>
                    <a:pt x="9132686" y="7116518"/>
                  </a:lnTo>
                  <a:lnTo>
                    <a:pt x="9052592" y="7089353"/>
                  </a:lnTo>
                  <a:lnTo>
                    <a:pt x="9012548" y="7075774"/>
                  </a:lnTo>
                  <a:lnTo>
                    <a:pt x="8972845" y="7059644"/>
                  </a:lnTo>
                  <a:lnTo>
                    <a:pt x="8941058" y="7043104"/>
                  </a:lnTo>
                  <a:lnTo>
                    <a:pt x="8909270" y="7026570"/>
                  </a:lnTo>
                  <a:lnTo>
                    <a:pt x="8885365" y="7009324"/>
                  </a:lnTo>
                  <a:lnTo>
                    <a:pt x="8878488" y="6972373"/>
                  </a:lnTo>
                  <a:lnTo>
                    <a:pt x="8900961" y="6953076"/>
                  </a:lnTo>
                  <a:lnTo>
                    <a:pt x="8920653" y="6945169"/>
                  </a:lnTo>
                  <a:lnTo>
                    <a:pt x="8940341" y="6937268"/>
                  </a:lnTo>
                  <a:lnTo>
                    <a:pt x="8961199" y="6928985"/>
                  </a:lnTo>
                  <a:lnTo>
                    <a:pt x="8979223" y="6897224"/>
                  </a:lnTo>
                  <a:lnTo>
                    <a:pt x="8965282" y="6868727"/>
                  </a:lnTo>
                  <a:lnTo>
                    <a:pt x="8941051" y="6837718"/>
                  </a:lnTo>
                  <a:lnTo>
                    <a:pt x="8868454" y="6857628"/>
                  </a:lnTo>
                  <a:lnTo>
                    <a:pt x="8827905" y="6862845"/>
                  </a:lnTo>
                  <a:lnTo>
                    <a:pt x="8795160" y="6850446"/>
                  </a:lnTo>
                  <a:lnTo>
                    <a:pt x="8762870" y="6834995"/>
                  </a:lnTo>
                  <a:lnTo>
                    <a:pt x="8730574" y="6819549"/>
                  </a:lnTo>
                  <a:lnTo>
                    <a:pt x="8699066" y="6801862"/>
                  </a:lnTo>
                  <a:lnTo>
                    <a:pt x="8675818" y="6792827"/>
                  </a:lnTo>
                  <a:lnTo>
                    <a:pt x="8625868" y="6773425"/>
                  </a:lnTo>
                  <a:lnTo>
                    <a:pt x="8568237" y="6761673"/>
                  </a:lnTo>
                  <a:lnTo>
                    <a:pt x="8515313" y="6754741"/>
                  </a:lnTo>
                  <a:lnTo>
                    <a:pt x="8527551" y="6708603"/>
                  </a:lnTo>
                  <a:lnTo>
                    <a:pt x="8545404" y="6673663"/>
                  </a:lnTo>
                  <a:lnTo>
                    <a:pt x="8565645" y="6640485"/>
                  </a:lnTo>
                  <a:lnTo>
                    <a:pt x="8588251" y="6603335"/>
                  </a:lnTo>
                  <a:lnTo>
                    <a:pt x="8622513" y="6569523"/>
                  </a:lnTo>
                  <a:lnTo>
                    <a:pt x="8639092" y="6528951"/>
                  </a:lnTo>
                  <a:lnTo>
                    <a:pt x="8639684" y="6498858"/>
                  </a:lnTo>
                  <a:lnTo>
                    <a:pt x="8590124" y="6443257"/>
                  </a:lnTo>
                  <a:lnTo>
                    <a:pt x="8611149" y="6401802"/>
                  </a:lnTo>
                  <a:lnTo>
                    <a:pt x="8614612" y="6377967"/>
                  </a:lnTo>
                  <a:lnTo>
                    <a:pt x="8618066" y="6354140"/>
                  </a:lnTo>
                  <a:lnTo>
                    <a:pt x="8613462" y="6330986"/>
                  </a:lnTo>
                  <a:lnTo>
                    <a:pt x="8594207" y="6314040"/>
                  </a:lnTo>
                  <a:lnTo>
                    <a:pt x="8615198" y="6294834"/>
                  </a:lnTo>
                  <a:lnTo>
                    <a:pt x="8636366" y="6288196"/>
                  </a:lnTo>
                  <a:lnTo>
                    <a:pt x="8657543" y="6281558"/>
                  </a:lnTo>
                  <a:lnTo>
                    <a:pt x="8683793" y="6276443"/>
                  </a:lnTo>
                  <a:lnTo>
                    <a:pt x="8711180" y="6270513"/>
                  </a:lnTo>
                  <a:lnTo>
                    <a:pt x="8738577" y="6264584"/>
                  </a:lnTo>
                  <a:lnTo>
                    <a:pt x="8767639" y="6257848"/>
                  </a:lnTo>
                  <a:lnTo>
                    <a:pt x="8791433" y="6248750"/>
                  </a:lnTo>
                  <a:lnTo>
                    <a:pt x="8815220" y="6239652"/>
                  </a:lnTo>
                  <a:lnTo>
                    <a:pt x="8834109" y="6228166"/>
                  </a:lnTo>
                  <a:lnTo>
                    <a:pt x="8854771" y="6180996"/>
                  </a:lnTo>
                  <a:lnTo>
                    <a:pt x="8843374" y="6082232"/>
                  </a:lnTo>
                  <a:lnTo>
                    <a:pt x="8828153" y="6055601"/>
                  </a:lnTo>
                  <a:lnTo>
                    <a:pt x="8841402" y="6030330"/>
                  </a:lnTo>
                  <a:lnTo>
                    <a:pt x="8869319" y="6012863"/>
                  </a:lnTo>
                  <a:lnTo>
                    <a:pt x="8904331" y="5998473"/>
                  </a:lnTo>
                  <a:lnTo>
                    <a:pt x="8940735" y="5985410"/>
                  </a:lnTo>
                  <a:lnTo>
                    <a:pt x="8971298" y="5968011"/>
                  </a:lnTo>
                  <a:lnTo>
                    <a:pt x="8990025" y="5942705"/>
                  </a:lnTo>
                  <a:lnTo>
                    <a:pt x="8980702" y="5904218"/>
                  </a:lnTo>
                  <a:lnTo>
                    <a:pt x="8969620" y="5884217"/>
                  </a:lnTo>
                  <a:lnTo>
                    <a:pt x="8958536" y="5864215"/>
                  </a:lnTo>
                  <a:lnTo>
                    <a:pt x="8947705" y="5844102"/>
                  </a:lnTo>
                  <a:lnTo>
                    <a:pt x="8954657" y="5808343"/>
                  </a:lnTo>
                  <a:lnTo>
                    <a:pt x="8990276" y="5766262"/>
                  </a:lnTo>
                  <a:lnTo>
                    <a:pt x="8995777" y="5728920"/>
                  </a:lnTo>
                  <a:lnTo>
                    <a:pt x="8976110" y="5713123"/>
                  </a:lnTo>
                  <a:lnTo>
                    <a:pt x="8954657" y="5699229"/>
                  </a:lnTo>
                  <a:lnTo>
                    <a:pt x="8933204" y="5685336"/>
                  </a:lnTo>
                  <a:lnTo>
                    <a:pt x="8909382" y="5673237"/>
                  </a:lnTo>
                  <a:lnTo>
                    <a:pt x="8897525" y="5654343"/>
                  </a:lnTo>
                  <a:lnTo>
                    <a:pt x="8894809" y="5631220"/>
                  </a:lnTo>
                  <a:lnTo>
                    <a:pt x="8906455" y="5601136"/>
                  </a:lnTo>
                  <a:lnTo>
                    <a:pt x="8925691" y="5573951"/>
                  </a:lnTo>
                  <a:lnTo>
                    <a:pt x="8934258" y="5545527"/>
                  </a:lnTo>
                  <a:lnTo>
                    <a:pt x="8940354" y="5516669"/>
                  </a:lnTo>
                  <a:lnTo>
                    <a:pt x="8933601" y="5487333"/>
                  </a:lnTo>
                  <a:lnTo>
                    <a:pt x="8909779" y="5457114"/>
                  </a:lnTo>
                  <a:lnTo>
                    <a:pt x="8844654" y="5457734"/>
                  </a:lnTo>
                  <a:lnTo>
                    <a:pt x="8819198" y="5458982"/>
                  </a:lnTo>
                  <a:lnTo>
                    <a:pt x="8799600" y="5438069"/>
                  </a:lnTo>
                  <a:lnTo>
                    <a:pt x="8802151" y="5405010"/>
                  </a:lnTo>
                  <a:lnTo>
                    <a:pt x="8791309" y="5382729"/>
                  </a:lnTo>
                  <a:lnTo>
                    <a:pt x="8776475" y="5361898"/>
                  </a:lnTo>
                  <a:lnTo>
                    <a:pt x="8761651" y="5341067"/>
                  </a:lnTo>
                  <a:lnTo>
                    <a:pt x="8742921" y="5321963"/>
                  </a:lnTo>
                  <a:lnTo>
                    <a:pt x="8731591" y="5295249"/>
                  </a:lnTo>
                  <a:lnTo>
                    <a:pt x="8731526" y="5272125"/>
                  </a:lnTo>
                  <a:lnTo>
                    <a:pt x="8737969" y="5248202"/>
                  </a:lnTo>
                  <a:lnTo>
                    <a:pt x="8747913" y="5225878"/>
                  </a:lnTo>
                  <a:lnTo>
                    <a:pt x="8757859" y="5203555"/>
                  </a:lnTo>
                  <a:lnTo>
                    <a:pt x="8771378" y="5182299"/>
                  </a:lnTo>
                  <a:lnTo>
                    <a:pt x="8783275" y="5163309"/>
                  </a:lnTo>
                  <a:lnTo>
                    <a:pt x="8834754" y="5168452"/>
                  </a:lnTo>
                  <a:lnTo>
                    <a:pt x="8882165" y="5208302"/>
                  </a:lnTo>
                  <a:lnTo>
                    <a:pt x="8885120" y="5250742"/>
                  </a:lnTo>
                  <a:lnTo>
                    <a:pt x="8900257" y="5283007"/>
                  </a:lnTo>
                  <a:lnTo>
                    <a:pt x="8918650" y="5313025"/>
                  </a:lnTo>
                  <a:lnTo>
                    <a:pt x="8955311" y="5329160"/>
                  </a:lnTo>
                  <a:lnTo>
                    <a:pt x="8981294" y="5330693"/>
                  </a:lnTo>
                  <a:lnTo>
                    <a:pt x="9019955" y="5325170"/>
                  </a:lnTo>
                  <a:lnTo>
                    <a:pt x="9047712" y="5321205"/>
                  </a:lnTo>
                  <a:lnTo>
                    <a:pt x="9073927" y="5317322"/>
                  </a:lnTo>
                  <a:lnTo>
                    <a:pt x="9098843" y="5308848"/>
                  </a:lnTo>
                  <a:lnTo>
                    <a:pt x="9123757" y="5300373"/>
                  </a:lnTo>
                  <a:lnTo>
                    <a:pt x="9146729" y="5287563"/>
                  </a:lnTo>
                  <a:lnTo>
                    <a:pt x="9168213" y="5268042"/>
                  </a:lnTo>
                  <a:lnTo>
                    <a:pt x="9178206" y="5236194"/>
                  </a:lnTo>
                  <a:lnTo>
                    <a:pt x="9172578" y="5213847"/>
                  </a:lnTo>
                  <a:lnTo>
                    <a:pt x="9164139" y="5191871"/>
                  </a:lnTo>
                  <a:lnTo>
                    <a:pt x="9155689" y="5169895"/>
                  </a:lnTo>
                  <a:lnTo>
                    <a:pt x="9145606" y="5148950"/>
                  </a:lnTo>
                  <a:lnTo>
                    <a:pt x="9145092" y="5119781"/>
                  </a:lnTo>
                  <a:lnTo>
                    <a:pt x="9157655" y="5091758"/>
                  </a:lnTo>
                  <a:lnTo>
                    <a:pt x="9181502" y="5068911"/>
                  </a:lnTo>
                  <a:lnTo>
                    <a:pt x="9198143" y="5042249"/>
                  </a:lnTo>
                  <a:lnTo>
                    <a:pt x="9172560" y="5003322"/>
                  </a:lnTo>
                  <a:lnTo>
                    <a:pt x="9139867" y="4980539"/>
                  </a:lnTo>
                  <a:lnTo>
                    <a:pt x="9111094" y="4972888"/>
                  </a:lnTo>
                  <a:lnTo>
                    <a:pt x="9110672" y="4925876"/>
                  </a:lnTo>
                  <a:lnTo>
                    <a:pt x="9109196" y="4895127"/>
                  </a:lnTo>
                  <a:lnTo>
                    <a:pt x="9105655" y="4870873"/>
                  </a:lnTo>
                  <a:lnTo>
                    <a:pt x="9102105" y="4846618"/>
                  </a:lnTo>
                  <a:lnTo>
                    <a:pt x="9098850" y="4819185"/>
                  </a:lnTo>
                  <a:lnTo>
                    <a:pt x="9111094" y="4801503"/>
                  </a:lnTo>
                  <a:lnTo>
                    <a:pt x="9134091" y="4793214"/>
                  </a:lnTo>
                  <a:lnTo>
                    <a:pt x="9189349" y="4768071"/>
                  </a:lnTo>
                  <a:lnTo>
                    <a:pt x="9202223" y="4745734"/>
                  </a:lnTo>
                  <a:lnTo>
                    <a:pt x="9196171" y="4691818"/>
                  </a:lnTo>
                  <a:lnTo>
                    <a:pt x="9184544" y="4655961"/>
                  </a:lnTo>
                  <a:lnTo>
                    <a:pt x="9172910" y="4620105"/>
                  </a:lnTo>
                  <a:lnTo>
                    <a:pt x="9158868" y="4585146"/>
                  </a:lnTo>
                  <a:lnTo>
                    <a:pt x="9155975" y="4560747"/>
                  </a:lnTo>
                  <a:lnTo>
                    <a:pt x="9213190" y="4580895"/>
                  </a:lnTo>
                  <a:lnTo>
                    <a:pt x="9262027" y="4617897"/>
                  </a:lnTo>
                  <a:lnTo>
                    <a:pt x="9319199" y="4639639"/>
                  </a:lnTo>
                  <a:lnTo>
                    <a:pt x="9397030" y="4548740"/>
                  </a:lnTo>
                  <a:lnTo>
                    <a:pt x="9382575" y="4528910"/>
                  </a:lnTo>
                  <a:lnTo>
                    <a:pt x="9377009" y="4507891"/>
                  </a:lnTo>
                  <a:lnTo>
                    <a:pt x="9348822" y="4480751"/>
                  </a:lnTo>
                  <a:lnTo>
                    <a:pt x="9270402" y="4429743"/>
                  </a:lnTo>
                  <a:lnTo>
                    <a:pt x="9261137" y="4374358"/>
                  </a:lnTo>
                  <a:lnTo>
                    <a:pt x="9246087" y="4318908"/>
                  </a:lnTo>
                  <a:lnTo>
                    <a:pt x="9253907" y="4280547"/>
                  </a:lnTo>
                  <a:lnTo>
                    <a:pt x="9285576" y="4254767"/>
                  </a:lnTo>
                  <a:lnTo>
                    <a:pt x="9340875" y="4253704"/>
                  </a:lnTo>
                  <a:lnTo>
                    <a:pt x="9379046" y="4237020"/>
                  </a:lnTo>
                  <a:lnTo>
                    <a:pt x="9373518" y="4200550"/>
                  </a:lnTo>
                  <a:lnTo>
                    <a:pt x="9345721" y="4174090"/>
                  </a:lnTo>
                  <a:lnTo>
                    <a:pt x="9320938" y="4159914"/>
                  </a:lnTo>
                  <a:lnTo>
                    <a:pt x="9297433" y="4151328"/>
                  </a:lnTo>
                  <a:lnTo>
                    <a:pt x="9291802" y="4116079"/>
                  </a:lnTo>
                  <a:lnTo>
                    <a:pt x="9294487" y="4061876"/>
                  </a:lnTo>
                  <a:lnTo>
                    <a:pt x="9294717" y="4008507"/>
                  </a:lnTo>
                  <a:lnTo>
                    <a:pt x="9294915" y="3955137"/>
                  </a:lnTo>
                  <a:lnTo>
                    <a:pt x="9292165" y="3902666"/>
                  </a:lnTo>
                  <a:lnTo>
                    <a:pt x="9278395" y="3872487"/>
                  </a:lnTo>
                  <a:lnTo>
                    <a:pt x="9228404" y="3873067"/>
                  </a:lnTo>
                  <a:lnTo>
                    <a:pt x="9203200" y="3860904"/>
                  </a:lnTo>
                  <a:lnTo>
                    <a:pt x="9196782" y="3823519"/>
                  </a:lnTo>
                  <a:lnTo>
                    <a:pt x="9196586" y="3785881"/>
                  </a:lnTo>
                  <a:lnTo>
                    <a:pt x="9200015" y="3764203"/>
                  </a:lnTo>
                  <a:lnTo>
                    <a:pt x="9217186" y="3751429"/>
                  </a:lnTo>
                  <a:lnTo>
                    <a:pt x="9231849" y="3734374"/>
                  </a:lnTo>
                  <a:lnTo>
                    <a:pt x="9253221" y="3715772"/>
                  </a:lnTo>
                  <a:lnTo>
                    <a:pt x="9268870" y="3694301"/>
                  </a:lnTo>
                  <a:lnTo>
                    <a:pt x="9283412" y="3672169"/>
                  </a:lnTo>
                  <a:lnTo>
                    <a:pt x="9289691" y="3648423"/>
                  </a:lnTo>
                  <a:lnTo>
                    <a:pt x="9285195" y="3623571"/>
                  </a:lnTo>
                  <a:lnTo>
                    <a:pt x="9261221" y="3592668"/>
                  </a:lnTo>
                  <a:lnTo>
                    <a:pt x="9229598" y="3570119"/>
                  </a:lnTo>
                  <a:lnTo>
                    <a:pt x="9198143" y="3547399"/>
                  </a:lnTo>
                  <a:lnTo>
                    <a:pt x="9136847" y="3503108"/>
                  </a:lnTo>
                  <a:lnTo>
                    <a:pt x="9095042" y="3478303"/>
                  </a:lnTo>
                  <a:lnTo>
                    <a:pt x="9063481" y="3445384"/>
                  </a:lnTo>
                  <a:lnTo>
                    <a:pt x="9047705" y="3428925"/>
                  </a:lnTo>
                  <a:lnTo>
                    <a:pt x="9034088" y="3411202"/>
                  </a:lnTo>
                  <a:lnTo>
                    <a:pt x="9022677" y="3386895"/>
                  </a:lnTo>
                  <a:lnTo>
                    <a:pt x="9011267" y="3362589"/>
                  </a:lnTo>
                  <a:lnTo>
                    <a:pt x="9001845" y="3332323"/>
                  </a:lnTo>
                  <a:lnTo>
                    <a:pt x="8992751" y="3293042"/>
                  </a:lnTo>
                  <a:lnTo>
                    <a:pt x="8977409" y="3226637"/>
                  </a:lnTo>
                  <a:lnTo>
                    <a:pt x="8958681" y="3167075"/>
                  </a:lnTo>
                  <a:lnTo>
                    <a:pt x="8956030" y="3109416"/>
                  </a:lnTo>
                  <a:lnTo>
                    <a:pt x="8954703" y="3080585"/>
                  </a:lnTo>
                  <a:lnTo>
                    <a:pt x="8958244" y="3052295"/>
                  </a:lnTo>
                  <a:lnTo>
                    <a:pt x="8966910" y="3023723"/>
                  </a:lnTo>
                  <a:lnTo>
                    <a:pt x="8975570" y="2995151"/>
                  </a:lnTo>
                  <a:lnTo>
                    <a:pt x="8989960" y="2966270"/>
                  </a:lnTo>
                  <a:lnTo>
                    <a:pt x="9013156" y="2936670"/>
                  </a:lnTo>
                  <a:lnTo>
                    <a:pt x="9039343" y="2903239"/>
                  </a:lnTo>
                  <a:lnTo>
                    <a:pt x="9064464" y="2867236"/>
                  </a:lnTo>
                  <a:lnTo>
                    <a:pt x="9098850" y="2841456"/>
                  </a:lnTo>
                  <a:lnTo>
                    <a:pt x="9124436" y="2822264"/>
                  </a:lnTo>
                  <a:lnTo>
                    <a:pt x="9147817" y="2818354"/>
                  </a:lnTo>
                  <a:lnTo>
                    <a:pt x="9165497" y="2788409"/>
                  </a:lnTo>
                  <a:lnTo>
                    <a:pt x="9176997" y="2768951"/>
                  </a:lnTo>
                  <a:lnTo>
                    <a:pt x="9179477" y="2740735"/>
                  </a:lnTo>
                  <a:lnTo>
                    <a:pt x="9183185" y="2714958"/>
                  </a:lnTo>
                  <a:lnTo>
                    <a:pt x="9186891" y="2689180"/>
                  </a:lnTo>
                  <a:lnTo>
                    <a:pt x="9191935" y="2665523"/>
                  </a:lnTo>
                  <a:lnTo>
                    <a:pt x="9210387" y="2653749"/>
                  </a:lnTo>
                  <a:lnTo>
                    <a:pt x="9244946" y="2631709"/>
                  </a:lnTo>
                  <a:lnTo>
                    <a:pt x="9283031" y="2639063"/>
                  </a:lnTo>
                  <a:lnTo>
                    <a:pt x="9317838" y="2619743"/>
                  </a:lnTo>
                  <a:lnTo>
                    <a:pt x="9313881" y="2589034"/>
                  </a:lnTo>
                  <a:lnTo>
                    <a:pt x="9301687" y="2567695"/>
                  </a:lnTo>
                  <a:lnTo>
                    <a:pt x="9302025" y="2540257"/>
                  </a:lnTo>
                  <a:lnTo>
                    <a:pt x="9312610" y="2502576"/>
                  </a:lnTo>
                  <a:lnTo>
                    <a:pt x="9357897" y="2484616"/>
                  </a:lnTo>
                  <a:lnTo>
                    <a:pt x="9409581" y="2488670"/>
                  </a:lnTo>
                  <a:lnTo>
                    <a:pt x="9455218" y="2493245"/>
                  </a:lnTo>
                  <a:lnTo>
                    <a:pt x="9500847" y="2497820"/>
                  </a:lnTo>
                  <a:lnTo>
                    <a:pt x="9539802" y="2503000"/>
                  </a:lnTo>
                  <a:lnTo>
                    <a:pt x="9549281" y="2478750"/>
                  </a:lnTo>
                  <a:lnTo>
                    <a:pt x="9557615" y="2446467"/>
                  </a:lnTo>
                  <a:lnTo>
                    <a:pt x="9601098" y="2424087"/>
                  </a:lnTo>
                  <a:lnTo>
                    <a:pt x="9649805" y="2438922"/>
                  </a:lnTo>
                  <a:lnTo>
                    <a:pt x="9674207" y="2426595"/>
                  </a:lnTo>
                  <a:lnTo>
                    <a:pt x="9682364" y="2406192"/>
                  </a:lnTo>
                  <a:lnTo>
                    <a:pt x="9737632" y="2384493"/>
                  </a:lnTo>
                  <a:lnTo>
                    <a:pt x="9781369" y="2372187"/>
                  </a:lnTo>
                  <a:lnTo>
                    <a:pt x="9822467" y="2357225"/>
                  </a:lnTo>
                  <a:lnTo>
                    <a:pt x="9882724" y="2335260"/>
                  </a:lnTo>
                  <a:lnTo>
                    <a:pt x="9910887" y="2313699"/>
                  </a:lnTo>
                  <a:lnTo>
                    <a:pt x="9948860" y="2304304"/>
                  </a:lnTo>
                  <a:lnTo>
                    <a:pt x="10029218" y="2306898"/>
                  </a:lnTo>
                  <a:lnTo>
                    <a:pt x="10056084" y="2293125"/>
                  </a:lnTo>
                  <a:lnTo>
                    <a:pt x="10070151" y="2242703"/>
                  </a:lnTo>
                  <a:lnTo>
                    <a:pt x="10064211" y="2212366"/>
                  </a:lnTo>
                  <a:lnTo>
                    <a:pt x="10049622" y="2183120"/>
                  </a:lnTo>
                  <a:lnTo>
                    <a:pt x="10035034" y="2153873"/>
                  </a:lnTo>
                  <a:lnTo>
                    <a:pt x="10012301" y="2125778"/>
                  </a:lnTo>
                  <a:lnTo>
                    <a:pt x="9987050" y="2087906"/>
                  </a:lnTo>
                  <a:lnTo>
                    <a:pt x="9970728" y="2060702"/>
                  </a:lnTo>
                  <a:lnTo>
                    <a:pt x="9990922" y="2030607"/>
                  </a:lnTo>
                  <a:lnTo>
                    <a:pt x="10021147" y="2009800"/>
                  </a:lnTo>
                  <a:lnTo>
                    <a:pt x="10037381" y="1987251"/>
                  </a:lnTo>
                  <a:lnTo>
                    <a:pt x="10046122" y="1946296"/>
                  </a:lnTo>
                  <a:lnTo>
                    <a:pt x="10041378" y="1886331"/>
                  </a:lnTo>
                  <a:lnTo>
                    <a:pt x="10037381" y="1830828"/>
                  </a:lnTo>
                  <a:lnTo>
                    <a:pt x="10033385" y="1775325"/>
                  </a:lnTo>
                  <a:lnTo>
                    <a:pt x="10030476" y="1724583"/>
                  </a:lnTo>
                  <a:lnTo>
                    <a:pt x="10045539" y="1704330"/>
                  </a:lnTo>
                  <a:lnTo>
                    <a:pt x="10082696" y="1685053"/>
                  </a:lnTo>
                  <a:lnTo>
                    <a:pt x="10111851" y="1700653"/>
                  </a:lnTo>
                  <a:lnTo>
                    <a:pt x="10121587" y="1727942"/>
                  </a:lnTo>
                  <a:lnTo>
                    <a:pt x="10123069" y="1749216"/>
                  </a:lnTo>
                  <a:lnTo>
                    <a:pt x="10171392" y="1768662"/>
                  </a:lnTo>
                  <a:lnTo>
                    <a:pt x="10228284" y="1767555"/>
                  </a:lnTo>
                  <a:lnTo>
                    <a:pt x="10282225" y="1760098"/>
                  </a:lnTo>
                  <a:lnTo>
                    <a:pt x="10336157" y="1752641"/>
                  </a:lnTo>
                  <a:lnTo>
                    <a:pt x="10387214" y="1739089"/>
                  </a:lnTo>
                  <a:lnTo>
                    <a:pt x="10414161" y="1719292"/>
                  </a:lnTo>
                  <a:lnTo>
                    <a:pt x="10419749" y="1688634"/>
                  </a:lnTo>
                  <a:lnTo>
                    <a:pt x="10428657" y="1660426"/>
                  </a:lnTo>
                  <a:lnTo>
                    <a:pt x="10434566" y="1632239"/>
                  </a:lnTo>
                  <a:lnTo>
                    <a:pt x="10440470" y="1604052"/>
                  </a:lnTo>
                  <a:lnTo>
                    <a:pt x="10443918" y="1575610"/>
                  </a:lnTo>
                  <a:lnTo>
                    <a:pt x="10440002" y="1543826"/>
                  </a:lnTo>
                  <a:lnTo>
                    <a:pt x="10414078" y="1542955"/>
                  </a:lnTo>
                  <a:lnTo>
                    <a:pt x="10302965" y="1543848"/>
                  </a:lnTo>
                  <a:lnTo>
                    <a:pt x="10284941" y="1531584"/>
                  </a:lnTo>
                  <a:lnTo>
                    <a:pt x="10268744" y="1510990"/>
                  </a:lnTo>
                  <a:lnTo>
                    <a:pt x="10256379" y="1467655"/>
                  </a:lnTo>
                  <a:lnTo>
                    <a:pt x="10247372" y="1447401"/>
                  </a:lnTo>
                  <a:lnTo>
                    <a:pt x="10217271" y="1436264"/>
                  </a:lnTo>
                  <a:lnTo>
                    <a:pt x="10203331" y="1420048"/>
                  </a:lnTo>
                  <a:lnTo>
                    <a:pt x="10180849" y="1393885"/>
                  </a:lnTo>
                  <a:lnTo>
                    <a:pt x="10165206" y="1358457"/>
                  </a:lnTo>
                  <a:lnTo>
                    <a:pt x="10142122" y="1332995"/>
                  </a:lnTo>
                  <a:lnTo>
                    <a:pt x="10079556" y="1277227"/>
                  </a:lnTo>
                  <a:lnTo>
                    <a:pt x="10062719" y="1256335"/>
                  </a:lnTo>
                  <a:lnTo>
                    <a:pt x="10022213" y="1234880"/>
                  </a:lnTo>
                  <a:lnTo>
                    <a:pt x="9992339" y="1229222"/>
                  </a:lnTo>
                  <a:lnTo>
                    <a:pt x="9961219" y="1222819"/>
                  </a:lnTo>
                  <a:lnTo>
                    <a:pt x="9930095" y="1216417"/>
                  </a:lnTo>
                  <a:lnTo>
                    <a:pt x="9898072" y="1208952"/>
                  </a:lnTo>
                  <a:lnTo>
                    <a:pt x="9871441" y="1192895"/>
                  </a:lnTo>
                  <a:lnTo>
                    <a:pt x="9867683" y="1170218"/>
                  </a:lnTo>
                  <a:lnTo>
                    <a:pt x="9866121" y="1144454"/>
                  </a:lnTo>
                  <a:lnTo>
                    <a:pt x="9860561" y="1119444"/>
                  </a:lnTo>
                  <a:lnTo>
                    <a:pt x="9854999" y="1094435"/>
                  </a:lnTo>
                  <a:lnTo>
                    <a:pt x="9844599" y="1070307"/>
                  </a:lnTo>
                  <a:lnTo>
                    <a:pt x="9838795" y="1039192"/>
                  </a:lnTo>
                  <a:lnTo>
                    <a:pt x="9834721" y="1017323"/>
                  </a:lnTo>
                  <a:lnTo>
                    <a:pt x="9840203" y="992287"/>
                  </a:lnTo>
                  <a:lnTo>
                    <a:pt x="9838795" y="969822"/>
                  </a:lnTo>
                  <a:lnTo>
                    <a:pt x="9835270" y="912312"/>
                  </a:lnTo>
                  <a:lnTo>
                    <a:pt x="9841545" y="879645"/>
                  </a:lnTo>
                  <a:lnTo>
                    <a:pt x="9860561" y="854205"/>
                  </a:lnTo>
                  <a:lnTo>
                    <a:pt x="9879574" y="828765"/>
                  </a:lnTo>
                  <a:lnTo>
                    <a:pt x="9911380" y="811061"/>
                  </a:lnTo>
                  <a:lnTo>
                    <a:pt x="9961212" y="783475"/>
                  </a:lnTo>
                  <a:lnTo>
                    <a:pt x="9989350" y="749470"/>
                  </a:lnTo>
                  <a:lnTo>
                    <a:pt x="9998959" y="715029"/>
                  </a:lnTo>
                  <a:lnTo>
                    <a:pt x="9991806" y="691500"/>
                  </a:lnTo>
                  <a:lnTo>
                    <a:pt x="9985698" y="667858"/>
                  </a:lnTo>
                  <a:lnTo>
                    <a:pt x="9979593" y="644217"/>
                  </a:lnTo>
                  <a:lnTo>
                    <a:pt x="9974350" y="621718"/>
                  </a:lnTo>
                  <a:lnTo>
                    <a:pt x="9984340" y="601208"/>
                  </a:lnTo>
                  <a:lnTo>
                    <a:pt x="9999046" y="571029"/>
                  </a:lnTo>
                  <a:lnTo>
                    <a:pt x="10012732" y="537874"/>
                  </a:lnTo>
                  <a:lnTo>
                    <a:pt x="10029224" y="508715"/>
                  </a:lnTo>
                  <a:lnTo>
                    <a:pt x="10044103" y="482362"/>
                  </a:lnTo>
                  <a:lnTo>
                    <a:pt x="10070285" y="455666"/>
                  </a:lnTo>
                  <a:lnTo>
                    <a:pt x="10082275" y="428463"/>
                  </a:lnTo>
                  <a:lnTo>
                    <a:pt x="10090773" y="409175"/>
                  </a:lnTo>
                  <a:lnTo>
                    <a:pt x="10097105" y="383829"/>
                  </a:lnTo>
                  <a:lnTo>
                    <a:pt x="10104038" y="355012"/>
                  </a:lnTo>
                  <a:lnTo>
                    <a:pt x="10110968" y="326196"/>
                  </a:lnTo>
                  <a:lnTo>
                    <a:pt x="10118223" y="293564"/>
                  </a:lnTo>
                  <a:lnTo>
                    <a:pt x="10125801" y="262519"/>
                  </a:lnTo>
                  <a:lnTo>
                    <a:pt x="10133379" y="231473"/>
                  </a:lnTo>
                  <a:lnTo>
                    <a:pt x="10141204" y="201440"/>
                  </a:lnTo>
                  <a:lnTo>
                    <a:pt x="10151638" y="175466"/>
                  </a:lnTo>
                  <a:lnTo>
                    <a:pt x="10175525" y="141904"/>
                  </a:lnTo>
                  <a:lnTo>
                    <a:pt x="10192448" y="116978"/>
                  </a:lnTo>
                  <a:lnTo>
                    <a:pt x="10178492" y="98302"/>
                  </a:lnTo>
                  <a:lnTo>
                    <a:pt x="10067014" y="27715"/>
                  </a:lnTo>
                  <a:lnTo>
                    <a:pt x="10011498" y="134150"/>
                  </a:lnTo>
                  <a:lnTo>
                    <a:pt x="9913609" y="119698"/>
                  </a:lnTo>
                  <a:lnTo>
                    <a:pt x="9856695" y="111303"/>
                  </a:lnTo>
                  <a:lnTo>
                    <a:pt x="9808664" y="85098"/>
                  </a:lnTo>
                  <a:lnTo>
                    <a:pt x="9754468" y="73451"/>
                  </a:lnTo>
                  <a:lnTo>
                    <a:pt x="9697976" y="61358"/>
                  </a:lnTo>
                  <a:lnTo>
                    <a:pt x="9637955" y="58638"/>
                  </a:lnTo>
                  <a:lnTo>
                    <a:pt x="9583080" y="39446"/>
                  </a:lnTo>
                  <a:lnTo>
                    <a:pt x="9539765" y="24293"/>
                  </a:lnTo>
                  <a:lnTo>
                    <a:pt x="9499681" y="3337"/>
                  </a:lnTo>
                  <a:lnTo>
                    <a:pt x="9452499" y="0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03" name="Sevastopol¬0" descr="Sevastopol¬0">
              <a:extLst>
                <a:ext uri="{FF2B5EF4-FFF2-40B4-BE49-F238E27FC236}">
                  <a16:creationId xmlns:a16="http://schemas.microsoft.com/office/drawing/2014/main" id="{6B9521FF-76C7-4DB7-A374-D01C4804BE67}"/>
                </a:ext>
              </a:extLst>
            </p:cNvPr>
            <p:cNvSpPr/>
            <p:nvPr/>
          </p:nvSpPr>
          <p:spPr>
            <a:xfrm>
              <a:off x="4728902" y="4598378"/>
              <a:ext cx="188404" cy="208305"/>
            </a:xfrm>
            <a:custGeom>
              <a:avLst/>
              <a:gdLst/>
              <a:ahLst/>
              <a:cxnLst/>
              <a:rect l="0" t="0" r="0" b="0"/>
              <a:pathLst>
                <a:path w="1922554" h="2412945">
                  <a:moveTo>
                    <a:pt x="1317266" y="2380338"/>
                  </a:moveTo>
                  <a:lnTo>
                    <a:pt x="1318624" y="2354504"/>
                  </a:lnTo>
                  <a:lnTo>
                    <a:pt x="1351270" y="2332735"/>
                  </a:lnTo>
                  <a:lnTo>
                    <a:pt x="1397512" y="2332735"/>
                  </a:lnTo>
                  <a:lnTo>
                    <a:pt x="1389354" y="2253847"/>
                  </a:lnTo>
                  <a:lnTo>
                    <a:pt x="1441038" y="2232084"/>
                  </a:lnTo>
                  <a:lnTo>
                    <a:pt x="1492731" y="2272887"/>
                  </a:lnTo>
                  <a:lnTo>
                    <a:pt x="1615145" y="2204879"/>
                  </a:lnTo>
                  <a:lnTo>
                    <a:pt x="1892626" y="2291934"/>
                  </a:lnTo>
                  <a:lnTo>
                    <a:pt x="1922553" y="2259288"/>
                  </a:lnTo>
                  <a:lnTo>
                    <a:pt x="1821895" y="2030775"/>
                  </a:lnTo>
                  <a:lnTo>
                    <a:pt x="1857264" y="1973644"/>
                  </a:lnTo>
                  <a:lnTo>
                    <a:pt x="1819179" y="1949164"/>
                  </a:lnTo>
                  <a:lnTo>
                    <a:pt x="1756606" y="1984524"/>
                  </a:lnTo>
                  <a:lnTo>
                    <a:pt x="1745723" y="1902913"/>
                  </a:lnTo>
                  <a:lnTo>
                    <a:pt x="1704923" y="1867551"/>
                  </a:lnTo>
                  <a:lnTo>
                    <a:pt x="1743007" y="1826747"/>
                  </a:lnTo>
                  <a:lnTo>
                    <a:pt x="1710361" y="1799536"/>
                  </a:lnTo>
                  <a:lnTo>
                    <a:pt x="1685876" y="1807703"/>
                  </a:lnTo>
                  <a:lnTo>
                    <a:pt x="1620587" y="1753294"/>
                  </a:lnTo>
                  <a:lnTo>
                    <a:pt x="1626034" y="1647195"/>
                  </a:lnTo>
                  <a:lnTo>
                    <a:pt x="1582499" y="1576465"/>
                  </a:lnTo>
                  <a:lnTo>
                    <a:pt x="1560736" y="1543822"/>
                  </a:lnTo>
                  <a:lnTo>
                    <a:pt x="1558020" y="1483971"/>
                  </a:lnTo>
                  <a:lnTo>
                    <a:pt x="1574341" y="1456767"/>
                  </a:lnTo>
                  <a:lnTo>
                    <a:pt x="1571619" y="1424124"/>
                  </a:lnTo>
                  <a:lnTo>
                    <a:pt x="1490012" y="1396919"/>
                  </a:lnTo>
                  <a:lnTo>
                    <a:pt x="1490012" y="1361557"/>
                  </a:lnTo>
                  <a:lnTo>
                    <a:pt x="1451921" y="1312589"/>
                  </a:lnTo>
                  <a:lnTo>
                    <a:pt x="1397512" y="1358835"/>
                  </a:lnTo>
                  <a:lnTo>
                    <a:pt x="1367591" y="1337072"/>
                  </a:lnTo>
                  <a:lnTo>
                    <a:pt x="1332223" y="1366998"/>
                  </a:lnTo>
                  <a:lnTo>
                    <a:pt x="1288697" y="1356115"/>
                  </a:lnTo>
                  <a:lnTo>
                    <a:pt x="1231572" y="1228253"/>
                  </a:lnTo>
                  <a:lnTo>
                    <a:pt x="1261492" y="1187453"/>
                  </a:lnTo>
                  <a:lnTo>
                    <a:pt x="1237013" y="1173847"/>
                  </a:lnTo>
                  <a:lnTo>
                    <a:pt x="1283262" y="1097682"/>
                  </a:lnTo>
                  <a:lnTo>
                    <a:pt x="1307744" y="1114003"/>
                  </a:lnTo>
                  <a:lnTo>
                    <a:pt x="1405679" y="969820"/>
                  </a:lnTo>
                  <a:lnTo>
                    <a:pt x="1402960" y="915410"/>
                  </a:lnTo>
                  <a:lnTo>
                    <a:pt x="1481848" y="850121"/>
                  </a:lnTo>
                  <a:lnTo>
                    <a:pt x="1476406" y="784832"/>
                  </a:lnTo>
                  <a:lnTo>
                    <a:pt x="1405679" y="757628"/>
                  </a:lnTo>
                  <a:lnTo>
                    <a:pt x="1383922" y="746748"/>
                  </a:lnTo>
                  <a:lnTo>
                    <a:pt x="1362150" y="735865"/>
                  </a:lnTo>
                  <a:lnTo>
                    <a:pt x="1326791" y="676017"/>
                  </a:lnTo>
                  <a:lnTo>
                    <a:pt x="1299586" y="656970"/>
                  </a:lnTo>
                  <a:lnTo>
                    <a:pt x="1264224" y="714102"/>
                  </a:lnTo>
                  <a:lnTo>
                    <a:pt x="1217973" y="673292"/>
                  </a:lnTo>
                  <a:lnTo>
                    <a:pt x="1226130" y="635207"/>
                  </a:lnTo>
                  <a:lnTo>
                    <a:pt x="1160841" y="640649"/>
                  </a:lnTo>
                  <a:lnTo>
                    <a:pt x="1155400" y="692339"/>
                  </a:lnTo>
                  <a:lnTo>
                    <a:pt x="1134998" y="703222"/>
                  </a:lnTo>
                  <a:lnTo>
                    <a:pt x="891524" y="673292"/>
                  </a:lnTo>
                  <a:lnTo>
                    <a:pt x="886086" y="493746"/>
                  </a:lnTo>
                  <a:lnTo>
                    <a:pt x="1174446" y="414858"/>
                  </a:lnTo>
                  <a:lnTo>
                    <a:pt x="1169005" y="303318"/>
                  </a:lnTo>
                  <a:lnTo>
                    <a:pt x="820797" y="186345"/>
                  </a:lnTo>
                  <a:lnTo>
                    <a:pt x="799031" y="175465"/>
                  </a:lnTo>
                  <a:lnTo>
                    <a:pt x="779987" y="150977"/>
                  </a:lnTo>
                  <a:lnTo>
                    <a:pt x="760946" y="126497"/>
                  </a:lnTo>
                  <a:lnTo>
                    <a:pt x="744625" y="93851"/>
                  </a:lnTo>
                  <a:lnTo>
                    <a:pt x="740178" y="67196"/>
                  </a:lnTo>
                  <a:lnTo>
                    <a:pt x="735655" y="32395"/>
                  </a:lnTo>
                  <a:lnTo>
                    <a:pt x="731019" y="0"/>
                  </a:lnTo>
                  <a:lnTo>
                    <a:pt x="699688" y="4096"/>
                  </a:lnTo>
                  <a:lnTo>
                    <a:pt x="665333" y="19245"/>
                  </a:lnTo>
                  <a:lnTo>
                    <a:pt x="629010" y="89771"/>
                  </a:lnTo>
                  <a:lnTo>
                    <a:pt x="608307" y="130026"/>
                  </a:lnTo>
                  <a:lnTo>
                    <a:pt x="607622" y="173636"/>
                  </a:lnTo>
                  <a:lnTo>
                    <a:pt x="595000" y="216266"/>
                  </a:lnTo>
                  <a:lnTo>
                    <a:pt x="585310" y="249082"/>
                  </a:lnTo>
                  <a:lnTo>
                    <a:pt x="571879" y="281517"/>
                  </a:lnTo>
                  <a:lnTo>
                    <a:pt x="558273" y="312843"/>
                  </a:lnTo>
                  <a:lnTo>
                    <a:pt x="538888" y="349188"/>
                  </a:lnTo>
                  <a:lnTo>
                    <a:pt x="542674" y="394791"/>
                  </a:lnTo>
                  <a:lnTo>
                    <a:pt x="561377" y="425524"/>
                  </a:lnTo>
                  <a:lnTo>
                    <a:pt x="566437" y="451585"/>
                  </a:lnTo>
                  <a:lnTo>
                    <a:pt x="574976" y="495495"/>
                  </a:lnTo>
                  <a:lnTo>
                    <a:pt x="570942" y="542035"/>
                  </a:lnTo>
                  <a:lnTo>
                    <a:pt x="578675" y="586246"/>
                  </a:lnTo>
                  <a:lnTo>
                    <a:pt x="590495" y="654338"/>
                  </a:lnTo>
                  <a:lnTo>
                    <a:pt x="639422" y="712356"/>
                  </a:lnTo>
                  <a:lnTo>
                    <a:pt x="641248" y="784832"/>
                  </a:lnTo>
                  <a:lnTo>
                    <a:pt x="642138" y="819134"/>
                  </a:lnTo>
                  <a:lnTo>
                    <a:pt x="615488" y="917621"/>
                  </a:lnTo>
                  <a:lnTo>
                    <a:pt x="599080" y="948057"/>
                  </a:lnTo>
                  <a:lnTo>
                    <a:pt x="572517" y="997281"/>
                  </a:lnTo>
                  <a:lnTo>
                    <a:pt x="507228" y="1052962"/>
                  </a:lnTo>
                  <a:lnTo>
                    <a:pt x="524269" y="1115364"/>
                  </a:lnTo>
                  <a:lnTo>
                    <a:pt x="547945" y="1202205"/>
                  </a:lnTo>
                  <a:lnTo>
                    <a:pt x="630619" y="1147620"/>
                  </a:lnTo>
                  <a:lnTo>
                    <a:pt x="706537" y="1216015"/>
                  </a:lnTo>
                  <a:lnTo>
                    <a:pt x="682356" y="1276799"/>
                  </a:lnTo>
                  <a:lnTo>
                    <a:pt x="589816" y="1264043"/>
                  </a:lnTo>
                  <a:lnTo>
                    <a:pt x="546032" y="1267705"/>
                  </a:lnTo>
                  <a:lnTo>
                    <a:pt x="504292" y="1271187"/>
                  </a:lnTo>
                  <a:lnTo>
                    <a:pt x="473950" y="1291422"/>
                  </a:lnTo>
                  <a:lnTo>
                    <a:pt x="430417" y="1273141"/>
                  </a:lnTo>
                  <a:lnTo>
                    <a:pt x="407076" y="1277770"/>
                  </a:lnTo>
                  <a:lnTo>
                    <a:pt x="378179" y="1283050"/>
                  </a:lnTo>
                  <a:lnTo>
                    <a:pt x="347446" y="1294910"/>
                  </a:lnTo>
                  <a:lnTo>
                    <a:pt x="315225" y="1299164"/>
                  </a:lnTo>
                  <a:lnTo>
                    <a:pt x="284327" y="1292265"/>
                  </a:lnTo>
                  <a:lnTo>
                    <a:pt x="252230" y="1293542"/>
                  </a:lnTo>
                  <a:lnTo>
                    <a:pt x="243009" y="1329466"/>
                  </a:lnTo>
                  <a:lnTo>
                    <a:pt x="211473" y="1340473"/>
                  </a:lnTo>
                  <a:lnTo>
                    <a:pt x="189539" y="1334439"/>
                  </a:lnTo>
                  <a:lnTo>
                    <a:pt x="156847" y="1367296"/>
                  </a:lnTo>
                  <a:lnTo>
                    <a:pt x="145458" y="1397855"/>
                  </a:lnTo>
                  <a:lnTo>
                    <a:pt x="124374" y="1418682"/>
                  </a:lnTo>
                  <a:lnTo>
                    <a:pt x="103461" y="1424164"/>
                  </a:lnTo>
                  <a:lnTo>
                    <a:pt x="64868" y="1401508"/>
                  </a:lnTo>
                  <a:lnTo>
                    <a:pt x="77701" y="1359340"/>
                  </a:lnTo>
                  <a:lnTo>
                    <a:pt x="11476" y="1366992"/>
                  </a:lnTo>
                  <a:lnTo>
                    <a:pt x="0" y="1392963"/>
                  </a:lnTo>
                  <a:lnTo>
                    <a:pt x="36603" y="1516016"/>
                  </a:lnTo>
                  <a:lnTo>
                    <a:pt x="171342" y="1615479"/>
                  </a:lnTo>
                  <a:lnTo>
                    <a:pt x="254952" y="1690715"/>
                  </a:lnTo>
                  <a:lnTo>
                    <a:pt x="275270" y="1708996"/>
                  </a:lnTo>
                  <a:lnTo>
                    <a:pt x="290876" y="1734328"/>
                  </a:lnTo>
                  <a:lnTo>
                    <a:pt x="309361" y="1753288"/>
                  </a:lnTo>
                  <a:lnTo>
                    <a:pt x="324449" y="1768673"/>
                  </a:lnTo>
                  <a:lnTo>
                    <a:pt x="577147" y="1911539"/>
                  </a:lnTo>
                  <a:lnTo>
                    <a:pt x="635980" y="1922546"/>
                  </a:lnTo>
                  <a:lnTo>
                    <a:pt x="706367" y="1847608"/>
                  </a:lnTo>
                  <a:lnTo>
                    <a:pt x="751424" y="1872986"/>
                  </a:lnTo>
                  <a:lnTo>
                    <a:pt x="801750" y="1917870"/>
                  </a:lnTo>
                  <a:lnTo>
                    <a:pt x="911752" y="2101881"/>
                  </a:lnTo>
                  <a:lnTo>
                    <a:pt x="915076" y="2143199"/>
                  </a:lnTo>
                  <a:lnTo>
                    <a:pt x="884852" y="2174735"/>
                  </a:lnTo>
                  <a:lnTo>
                    <a:pt x="922812" y="2214392"/>
                  </a:lnTo>
                  <a:lnTo>
                    <a:pt x="953669" y="2246526"/>
                  </a:lnTo>
                  <a:lnTo>
                    <a:pt x="1045912" y="2250166"/>
                  </a:lnTo>
                  <a:lnTo>
                    <a:pt x="1087394" y="2271523"/>
                  </a:lnTo>
                  <a:lnTo>
                    <a:pt x="1135252" y="2296219"/>
                  </a:lnTo>
                  <a:lnTo>
                    <a:pt x="1146774" y="2349165"/>
                  </a:lnTo>
                  <a:lnTo>
                    <a:pt x="1183971" y="2380338"/>
                  </a:lnTo>
                  <a:lnTo>
                    <a:pt x="1222313" y="2403044"/>
                  </a:lnTo>
                  <a:lnTo>
                    <a:pt x="1259995" y="2412944"/>
                  </a:lnTo>
                  <a:lnTo>
                    <a:pt x="1288222" y="2408966"/>
                  </a:lnTo>
                  <a:lnTo>
                    <a:pt x="1315908" y="2407536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04" name="Republic of Crimea¬0" descr="Republic of Crimea¬0">
              <a:extLst>
                <a:ext uri="{FF2B5EF4-FFF2-40B4-BE49-F238E27FC236}">
                  <a16:creationId xmlns:a16="http://schemas.microsoft.com/office/drawing/2014/main" id="{9FA11CFC-DA33-45D3-AA95-BB584EC46AC2}"/>
                </a:ext>
              </a:extLst>
            </p:cNvPr>
            <p:cNvSpPr/>
            <p:nvPr/>
          </p:nvSpPr>
          <p:spPr>
            <a:xfrm>
              <a:off x="4424915" y="3970046"/>
              <a:ext cx="1427504" cy="841689"/>
            </a:xfrm>
            <a:custGeom>
              <a:avLst/>
              <a:gdLst/>
              <a:ahLst/>
              <a:cxnLst/>
              <a:rect l="0" t="0" r="0" b="0"/>
              <a:pathLst>
                <a:path w="14566889" h="9749892">
                  <a:moveTo>
                    <a:pt x="4074998" y="11441"/>
                  </a:moveTo>
                  <a:lnTo>
                    <a:pt x="4050667" y="39442"/>
                  </a:lnTo>
                  <a:lnTo>
                    <a:pt x="4035657" y="73149"/>
                  </a:lnTo>
                  <a:lnTo>
                    <a:pt x="4027646" y="127096"/>
                  </a:lnTo>
                  <a:lnTo>
                    <a:pt x="4033695" y="166368"/>
                  </a:lnTo>
                  <a:lnTo>
                    <a:pt x="4043868" y="204024"/>
                  </a:lnTo>
                  <a:lnTo>
                    <a:pt x="4051604" y="232463"/>
                  </a:lnTo>
                  <a:lnTo>
                    <a:pt x="4058022" y="261664"/>
                  </a:lnTo>
                  <a:lnTo>
                    <a:pt x="4066992" y="289718"/>
                  </a:lnTo>
                  <a:lnTo>
                    <a:pt x="4073494" y="310077"/>
                  </a:lnTo>
                  <a:lnTo>
                    <a:pt x="4086935" y="331629"/>
                  </a:lnTo>
                  <a:lnTo>
                    <a:pt x="4091477" y="352291"/>
                  </a:lnTo>
                  <a:lnTo>
                    <a:pt x="4092330" y="393610"/>
                  </a:lnTo>
                  <a:lnTo>
                    <a:pt x="4097573" y="445142"/>
                  </a:lnTo>
                  <a:lnTo>
                    <a:pt x="4103678" y="467208"/>
                  </a:lnTo>
                  <a:lnTo>
                    <a:pt x="4098311" y="506685"/>
                  </a:lnTo>
                  <a:lnTo>
                    <a:pt x="4060192" y="552236"/>
                  </a:lnTo>
                  <a:lnTo>
                    <a:pt x="4027370" y="574923"/>
                  </a:lnTo>
                  <a:lnTo>
                    <a:pt x="4038302" y="643343"/>
                  </a:lnTo>
                  <a:lnTo>
                    <a:pt x="4106041" y="724759"/>
                  </a:lnTo>
                  <a:lnTo>
                    <a:pt x="4095555" y="792996"/>
                  </a:lnTo>
                  <a:lnTo>
                    <a:pt x="4089307" y="833586"/>
                  </a:lnTo>
                  <a:lnTo>
                    <a:pt x="4042674" y="833673"/>
                  </a:lnTo>
                  <a:lnTo>
                    <a:pt x="4028904" y="869168"/>
                  </a:lnTo>
                  <a:lnTo>
                    <a:pt x="4022483" y="996001"/>
                  </a:lnTo>
                  <a:lnTo>
                    <a:pt x="4027205" y="1084371"/>
                  </a:lnTo>
                  <a:lnTo>
                    <a:pt x="4089264" y="1098823"/>
                  </a:lnTo>
                  <a:lnTo>
                    <a:pt x="4098271" y="1126244"/>
                  </a:lnTo>
                  <a:lnTo>
                    <a:pt x="4082501" y="1181540"/>
                  </a:lnTo>
                  <a:lnTo>
                    <a:pt x="4034768" y="1173041"/>
                  </a:lnTo>
                  <a:lnTo>
                    <a:pt x="4013941" y="1232343"/>
                  </a:lnTo>
                  <a:lnTo>
                    <a:pt x="4029540" y="1287298"/>
                  </a:lnTo>
                  <a:lnTo>
                    <a:pt x="4092665" y="1315944"/>
                  </a:lnTo>
                  <a:lnTo>
                    <a:pt x="4086036" y="1383320"/>
                  </a:lnTo>
                  <a:lnTo>
                    <a:pt x="4081441" y="1429398"/>
                  </a:lnTo>
                  <a:lnTo>
                    <a:pt x="3961702" y="1506506"/>
                  </a:lnTo>
                  <a:lnTo>
                    <a:pt x="4013941" y="1556066"/>
                  </a:lnTo>
                  <a:lnTo>
                    <a:pt x="4074554" y="1573284"/>
                  </a:lnTo>
                  <a:lnTo>
                    <a:pt x="4084337" y="1477085"/>
                  </a:lnTo>
                  <a:lnTo>
                    <a:pt x="4126840" y="1459489"/>
                  </a:lnTo>
                  <a:lnTo>
                    <a:pt x="4179208" y="1437813"/>
                  </a:lnTo>
                  <a:lnTo>
                    <a:pt x="4234461" y="1475516"/>
                  </a:lnTo>
                  <a:lnTo>
                    <a:pt x="4281900" y="1489419"/>
                  </a:lnTo>
                  <a:lnTo>
                    <a:pt x="4373721" y="1516239"/>
                  </a:lnTo>
                  <a:lnTo>
                    <a:pt x="4424381" y="1490433"/>
                  </a:lnTo>
                  <a:lnTo>
                    <a:pt x="4500897" y="1566946"/>
                  </a:lnTo>
                  <a:lnTo>
                    <a:pt x="4518366" y="1584458"/>
                  </a:lnTo>
                  <a:lnTo>
                    <a:pt x="4533925" y="1606094"/>
                  </a:lnTo>
                  <a:lnTo>
                    <a:pt x="4534898" y="1632238"/>
                  </a:lnTo>
                  <a:lnTo>
                    <a:pt x="4522229" y="1655015"/>
                  </a:lnTo>
                  <a:lnTo>
                    <a:pt x="4433475" y="1673594"/>
                  </a:lnTo>
                  <a:lnTo>
                    <a:pt x="4438197" y="1632784"/>
                  </a:lnTo>
                  <a:lnTo>
                    <a:pt x="4355353" y="1688002"/>
                  </a:lnTo>
                  <a:lnTo>
                    <a:pt x="4329506" y="1707049"/>
                  </a:lnTo>
                  <a:lnTo>
                    <a:pt x="4307368" y="1719330"/>
                  </a:lnTo>
                  <a:lnTo>
                    <a:pt x="4274124" y="1696504"/>
                  </a:lnTo>
                  <a:lnTo>
                    <a:pt x="4239738" y="1716565"/>
                  </a:lnTo>
                  <a:lnTo>
                    <a:pt x="4193239" y="1763151"/>
                  </a:lnTo>
                  <a:lnTo>
                    <a:pt x="4293294" y="1916729"/>
                  </a:lnTo>
                  <a:lnTo>
                    <a:pt x="4237022" y="1979088"/>
                  </a:lnTo>
                  <a:lnTo>
                    <a:pt x="4214323" y="1990901"/>
                  </a:lnTo>
                  <a:lnTo>
                    <a:pt x="4098199" y="2023544"/>
                  </a:lnTo>
                  <a:lnTo>
                    <a:pt x="4092922" y="1875715"/>
                  </a:lnTo>
                  <a:lnTo>
                    <a:pt x="4004425" y="1875715"/>
                  </a:lnTo>
                  <a:lnTo>
                    <a:pt x="3976712" y="1875715"/>
                  </a:lnTo>
                  <a:lnTo>
                    <a:pt x="3822241" y="1938663"/>
                  </a:lnTo>
                  <a:lnTo>
                    <a:pt x="3804475" y="1958683"/>
                  </a:lnTo>
                  <a:lnTo>
                    <a:pt x="3770815" y="1996514"/>
                  </a:lnTo>
                  <a:lnTo>
                    <a:pt x="3810561" y="2051896"/>
                  </a:lnTo>
                  <a:lnTo>
                    <a:pt x="3724228" y="2081101"/>
                  </a:lnTo>
                  <a:lnTo>
                    <a:pt x="3579661" y="2130065"/>
                  </a:lnTo>
                  <a:lnTo>
                    <a:pt x="3560576" y="2021929"/>
                  </a:lnTo>
                  <a:lnTo>
                    <a:pt x="3505237" y="2029414"/>
                  </a:lnTo>
                  <a:lnTo>
                    <a:pt x="3465702" y="2042551"/>
                  </a:lnTo>
                  <a:lnTo>
                    <a:pt x="3476668" y="2080124"/>
                  </a:lnTo>
                  <a:lnTo>
                    <a:pt x="3448106" y="2094706"/>
                  </a:lnTo>
                  <a:lnTo>
                    <a:pt x="3426640" y="2095556"/>
                  </a:lnTo>
                  <a:lnTo>
                    <a:pt x="3386897" y="2087897"/>
                  </a:lnTo>
                  <a:lnTo>
                    <a:pt x="3291681" y="2117483"/>
                  </a:lnTo>
                  <a:lnTo>
                    <a:pt x="3252660" y="2150259"/>
                  </a:lnTo>
                  <a:lnTo>
                    <a:pt x="3184565" y="2252572"/>
                  </a:lnTo>
                  <a:lnTo>
                    <a:pt x="3146137" y="2291931"/>
                  </a:lnTo>
                  <a:lnTo>
                    <a:pt x="3082683" y="2356799"/>
                  </a:lnTo>
                  <a:lnTo>
                    <a:pt x="2728602" y="2577914"/>
                  </a:lnTo>
                  <a:lnTo>
                    <a:pt x="2648310" y="2584375"/>
                  </a:lnTo>
                  <a:lnTo>
                    <a:pt x="2605118" y="2577703"/>
                  </a:lnTo>
                  <a:lnTo>
                    <a:pt x="2582338" y="2555385"/>
                  </a:lnTo>
                  <a:lnTo>
                    <a:pt x="2576001" y="2535026"/>
                  </a:lnTo>
                  <a:lnTo>
                    <a:pt x="2536645" y="2491373"/>
                  </a:lnTo>
                  <a:lnTo>
                    <a:pt x="2482065" y="2492858"/>
                  </a:lnTo>
                  <a:lnTo>
                    <a:pt x="2457881" y="2456520"/>
                  </a:lnTo>
                  <a:lnTo>
                    <a:pt x="2439600" y="2429144"/>
                  </a:lnTo>
                  <a:lnTo>
                    <a:pt x="2453673" y="2375582"/>
                  </a:lnTo>
                  <a:lnTo>
                    <a:pt x="2417077" y="2364020"/>
                  </a:lnTo>
                  <a:lnTo>
                    <a:pt x="2397268" y="2372739"/>
                  </a:lnTo>
                  <a:lnTo>
                    <a:pt x="2388508" y="2408913"/>
                  </a:lnTo>
                  <a:lnTo>
                    <a:pt x="2351915" y="2522990"/>
                  </a:lnTo>
                  <a:lnTo>
                    <a:pt x="2519344" y="2534599"/>
                  </a:lnTo>
                  <a:lnTo>
                    <a:pt x="2467403" y="2604780"/>
                  </a:lnTo>
                  <a:lnTo>
                    <a:pt x="2428171" y="2629433"/>
                  </a:lnTo>
                  <a:lnTo>
                    <a:pt x="2376863" y="2624116"/>
                  </a:lnTo>
                  <a:lnTo>
                    <a:pt x="2336819" y="2645584"/>
                  </a:lnTo>
                  <a:lnTo>
                    <a:pt x="2269703" y="2681498"/>
                  </a:lnTo>
                  <a:lnTo>
                    <a:pt x="2208712" y="2730208"/>
                  </a:lnTo>
                  <a:lnTo>
                    <a:pt x="2140955" y="2765282"/>
                  </a:lnTo>
                  <a:lnTo>
                    <a:pt x="2063248" y="2805491"/>
                  </a:lnTo>
                  <a:lnTo>
                    <a:pt x="1978918" y="2832701"/>
                  </a:lnTo>
                  <a:lnTo>
                    <a:pt x="1901561" y="2872739"/>
                  </a:lnTo>
                  <a:lnTo>
                    <a:pt x="1818670" y="2915586"/>
                  </a:lnTo>
                  <a:lnTo>
                    <a:pt x="1734083" y="2962086"/>
                  </a:lnTo>
                  <a:lnTo>
                    <a:pt x="1648560" y="3000601"/>
                  </a:lnTo>
                  <a:lnTo>
                    <a:pt x="1622887" y="3012114"/>
                  </a:lnTo>
                  <a:lnTo>
                    <a:pt x="1597127" y="3019977"/>
                  </a:lnTo>
                  <a:lnTo>
                    <a:pt x="1572391" y="3033238"/>
                  </a:lnTo>
                  <a:lnTo>
                    <a:pt x="1486399" y="3079316"/>
                  </a:lnTo>
                  <a:lnTo>
                    <a:pt x="1426806" y="3156424"/>
                  </a:lnTo>
                  <a:lnTo>
                    <a:pt x="1354758" y="3218225"/>
                  </a:lnTo>
                  <a:lnTo>
                    <a:pt x="1315011" y="3252276"/>
                  </a:lnTo>
                  <a:lnTo>
                    <a:pt x="1265879" y="3280838"/>
                  </a:lnTo>
                  <a:lnTo>
                    <a:pt x="1230979" y="3318882"/>
                  </a:lnTo>
                  <a:lnTo>
                    <a:pt x="1216778" y="3334395"/>
                  </a:lnTo>
                  <a:lnTo>
                    <a:pt x="1195490" y="3355141"/>
                  </a:lnTo>
                  <a:lnTo>
                    <a:pt x="1187453" y="3374650"/>
                  </a:lnTo>
                  <a:lnTo>
                    <a:pt x="1160373" y="3440236"/>
                  </a:lnTo>
                  <a:lnTo>
                    <a:pt x="1293552" y="3462123"/>
                  </a:lnTo>
                  <a:lnTo>
                    <a:pt x="1209216" y="3550115"/>
                  </a:lnTo>
                  <a:lnTo>
                    <a:pt x="1153536" y="3608260"/>
                  </a:lnTo>
                  <a:lnTo>
                    <a:pt x="1003315" y="3486993"/>
                  </a:lnTo>
                  <a:lnTo>
                    <a:pt x="945341" y="3525633"/>
                  </a:lnTo>
                  <a:lnTo>
                    <a:pt x="891012" y="3561847"/>
                  </a:lnTo>
                  <a:lnTo>
                    <a:pt x="893945" y="3667047"/>
                  </a:lnTo>
                  <a:lnTo>
                    <a:pt x="798438" y="3720139"/>
                  </a:lnTo>
                  <a:lnTo>
                    <a:pt x="717888" y="3764858"/>
                  </a:lnTo>
                  <a:lnTo>
                    <a:pt x="629478" y="3746624"/>
                  </a:lnTo>
                  <a:lnTo>
                    <a:pt x="567203" y="3779992"/>
                  </a:lnTo>
                  <a:lnTo>
                    <a:pt x="517382" y="3806682"/>
                  </a:lnTo>
                  <a:lnTo>
                    <a:pt x="485254" y="3852934"/>
                  </a:lnTo>
                  <a:lnTo>
                    <a:pt x="439347" y="3884727"/>
                  </a:lnTo>
                  <a:lnTo>
                    <a:pt x="369084" y="3933397"/>
                  </a:lnTo>
                  <a:lnTo>
                    <a:pt x="285514" y="3969311"/>
                  </a:lnTo>
                  <a:lnTo>
                    <a:pt x="221714" y="4027546"/>
                  </a:lnTo>
                  <a:lnTo>
                    <a:pt x="155832" y="4087651"/>
                  </a:lnTo>
                  <a:lnTo>
                    <a:pt x="78637" y="4205092"/>
                  </a:lnTo>
                  <a:lnTo>
                    <a:pt x="39452" y="4285986"/>
                  </a:lnTo>
                  <a:lnTo>
                    <a:pt x="28141" y="4328703"/>
                  </a:lnTo>
                  <a:lnTo>
                    <a:pt x="16917" y="4363687"/>
                  </a:lnTo>
                  <a:lnTo>
                    <a:pt x="2037" y="4392928"/>
                  </a:lnTo>
                  <a:lnTo>
                    <a:pt x="0" y="4432678"/>
                  </a:lnTo>
                  <a:lnTo>
                    <a:pt x="51129" y="4485844"/>
                  </a:lnTo>
                  <a:lnTo>
                    <a:pt x="62567" y="4514499"/>
                  </a:lnTo>
                  <a:lnTo>
                    <a:pt x="86116" y="4573327"/>
                  </a:lnTo>
                  <a:lnTo>
                    <a:pt x="40934" y="4658162"/>
                  </a:lnTo>
                  <a:lnTo>
                    <a:pt x="100657" y="4704928"/>
                  </a:lnTo>
                  <a:lnTo>
                    <a:pt x="150468" y="4711892"/>
                  </a:lnTo>
                  <a:lnTo>
                    <a:pt x="198586" y="4718868"/>
                  </a:lnTo>
                  <a:lnTo>
                    <a:pt x="238035" y="4748454"/>
                  </a:lnTo>
                  <a:lnTo>
                    <a:pt x="280284" y="4780164"/>
                  </a:lnTo>
                  <a:lnTo>
                    <a:pt x="283006" y="4804392"/>
                  </a:lnTo>
                  <a:lnTo>
                    <a:pt x="341412" y="4817820"/>
                  </a:lnTo>
                  <a:lnTo>
                    <a:pt x="394032" y="4829981"/>
                  </a:lnTo>
                  <a:lnTo>
                    <a:pt x="437387" y="4795462"/>
                  </a:lnTo>
                  <a:lnTo>
                    <a:pt x="493753" y="4813743"/>
                  </a:lnTo>
                  <a:lnTo>
                    <a:pt x="531840" y="4826077"/>
                  </a:lnTo>
                  <a:lnTo>
                    <a:pt x="543526" y="4859440"/>
                  </a:lnTo>
                  <a:lnTo>
                    <a:pt x="594404" y="4857269"/>
                  </a:lnTo>
                  <a:lnTo>
                    <a:pt x="629047" y="4849198"/>
                  </a:lnTo>
                  <a:lnTo>
                    <a:pt x="661014" y="4819271"/>
                  </a:lnTo>
                  <a:lnTo>
                    <a:pt x="666883" y="4783441"/>
                  </a:lnTo>
                  <a:lnTo>
                    <a:pt x="685539" y="4760695"/>
                  </a:lnTo>
                  <a:lnTo>
                    <a:pt x="719503" y="4719464"/>
                  </a:lnTo>
                  <a:lnTo>
                    <a:pt x="757675" y="4701359"/>
                  </a:lnTo>
                  <a:lnTo>
                    <a:pt x="797080" y="4669566"/>
                  </a:lnTo>
                  <a:lnTo>
                    <a:pt x="816034" y="4654218"/>
                  </a:lnTo>
                  <a:lnTo>
                    <a:pt x="829422" y="4635562"/>
                  </a:lnTo>
                  <a:lnTo>
                    <a:pt x="851489" y="4623314"/>
                  </a:lnTo>
                  <a:lnTo>
                    <a:pt x="897223" y="4597939"/>
                  </a:lnTo>
                  <a:lnTo>
                    <a:pt x="996938" y="4626806"/>
                  </a:lnTo>
                  <a:lnTo>
                    <a:pt x="1048714" y="4628756"/>
                  </a:lnTo>
                  <a:lnTo>
                    <a:pt x="1099167" y="4630669"/>
                  </a:lnTo>
                  <a:lnTo>
                    <a:pt x="1166242" y="4604488"/>
                  </a:lnTo>
                  <a:lnTo>
                    <a:pt x="1224179" y="4597477"/>
                  </a:lnTo>
                  <a:lnTo>
                    <a:pt x="1253762" y="4593815"/>
                  </a:lnTo>
                  <a:lnTo>
                    <a:pt x="1295332" y="4597009"/>
                  </a:lnTo>
                  <a:lnTo>
                    <a:pt x="1324837" y="4601545"/>
                  </a:lnTo>
                  <a:lnTo>
                    <a:pt x="1348597" y="4605201"/>
                  </a:lnTo>
                  <a:lnTo>
                    <a:pt x="1588033" y="4680613"/>
                  </a:lnTo>
                  <a:lnTo>
                    <a:pt x="1642185" y="4719715"/>
                  </a:lnTo>
                  <a:lnTo>
                    <a:pt x="1677420" y="4755294"/>
                  </a:lnTo>
                  <a:lnTo>
                    <a:pt x="1715210" y="4789258"/>
                  </a:lnTo>
                  <a:lnTo>
                    <a:pt x="1753254" y="4823516"/>
                  </a:lnTo>
                  <a:lnTo>
                    <a:pt x="1803285" y="4850848"/>
                  </a:lnTo>
                  <a:lnTo>
                    <a:pt x="1847146" y="4876310"/>
                  </a:lnTo>
                  <a:lnTo>
                    <a:pt x="1879581" y="4895137"/>
                  </a:lnTo>
                  <a:lnTo>
                    <a:pt x="2076261" y="5072645"/>
                  </a:lnTo>
                  <a:lnTo>
                    <a:pt x="2101506" y="5104823"/>
                  </a:lnTo>
                  <a:lnTo>
                    <a:pt x="2144697" y="5159911"/>
                  </a:lnTo>
                  <a:lnTo>
                    <a:pt x="2190003" y="5222943"/>
                  </a:lnTo>
                  <a:lnTo>
                    <a:pt x="2241609" y="5269405"/>
                  </a:lnTo>
                  <a:lnTo>
                    <a:pt x="2264011" y="5289599"/>
                  </a:lnTo>
                  <a:lnTo>
                    <a:pt x="2283947" y="5324242"/>
                  </a:lnTo>
                  <a:lnTo>
                    <a:pt x="2302814" y="5348293"/>
                  </a:lnTo>
                  <a:lnTo>
                    <a:pt x="2340518" y="5396418"/>
                  </a:lnTo>
                  <a:lnTo>
                    <a:pt x="2384003" y="5440747"/>
                  </a:lnTo>
                  <a:lnTo>
                    <a:pt x="2429318" y="5481597"/>
                  </a:lnTo>
                  <a:lnTo>
                    <a:pt x="2459834" y="5509059"/>
                  </a:lnTo>
                  <a:lnTo>
                    <a:pt x="2525254" y="5495748"/>
                  </a:lnTo>
                  <a:lnTo>
                    <a:pt x="2565338" y="5508801"/>
                  </a:lnTo>
                  <a:lnTo>
                    <a:pt x="2678060" y="5545354"/>
                  </a:lnTo>
                  <a:lnTo>
                    <a:pt x="2674832" y="5667691"/>
                  </a:lnTo>
                  <a:lnTo>
                    <a:pt x="2787045" y="5676106"/>
                  </a:lnTo>
                  <a:lnTo>
                    <a:pt x="2844304" y="5680360"/>
                  </a:lnTo>
                  <a:lnTo>
                    <a:pt x="2863301" y="5633898"/>
                  </a:lnTo>
                  <a:lnTo>
                    <a:pt x="2891786" y="5597218"/>
                  </a:lnTo>
                  <a:lnTo>
                    <a:pt x="2912191" y="5571371"/>
                  </a:lnTo>
                  <a:lnTo>
                    <a:pt x="2952651" y="5555512"/>
                  </a:lnTo>
                  <a:lnTo>
                    <a:pt x="2977598" y="5578686"/>
                  </a:lnTo>
                  <a:lnTo>
                    <a:pt x="3008759" y="5571371"/>
                  </a:lnTo>
                  <a:lnTo>
                    <a:pt x="3037238" y="5564699"/>
                  </a:lnTo>
                  <a:lnTo>
                    <a:pt x="3050880" y="5547010"/>
                  </a:lnTo>
                  <a:lnTo>
                    <a:pt x="3072690" y="5531929"/>
                  </a:lnTo>
                  <a:lnTo>
                    <a:pt x="3119019" y="5499872"/>
                  </a:lnTo>
                  <a:lnTo>
                    <a:pt x="3189455" y="5497708"/>
                  </a:lnTo>
                  <a:lnTo>
                    <a:pt x="3239991" y="5523765"/>
                  </a:lnTo>
                  <a:lnTo>
                    <a:pt x="3260651" y="5534388"/>
                  </a:lnTo>
                  <a:lnTo>
                    <a:pt x="3276467" y="5550842"/>
                  </a:lnTo>
                  <a:lnTo>
                    <a:pt x="3295765" y="5563207"/>
                  </a:lnTo>
                  <a:lnTo>
                    <a:pt x="3322755" y="5576298"/>
                  </a:lnTo>
                  <a:lnTo>
                    <a:pt x="3458604" y="5710023"/>
                  </a:lnTo>
                  <a:lnTo>
                    <a:pt x="3488916" y="5737315"/>
                  </a:lnTo>
                  <a:lnTo>
                    <a:pt x="3515987" y="5761670"/>
                  </a:lnTo>
                  <a:lnTo>
                    <a:pt x="3560192" y="5767663"/>
                  </a:lnTo>
                  <a:lnTo>
                    <a:pt x="3592289" y="5786282"/>
                  </a:lnTo>
                  <a:lnTo>
                    <a:pt x="3613882" y="5798824"/>
                  </a:lnTo>
                  <a:lnTo>
                    <a:pt x="3625357" y="5817521"/>
                  </a:lnTo>
                  <a:lnTo>
                    <a:pt x="3643973" y="5832531"/>
                  </a:lnTo>
                  <a:lnTo>
                    <a:pt x="3710918" y="5886642"/>
                  </a:lnTo>
                  <a:lnTo>
                    <a:pt x="3801538" y="5979511"/>
                  </a:lnTo>
                  <a:lnTo>
                    <a:pt x="3824880" y="6065121"/>
                  </a:lnTo>
                  <a:lnTo>
                    <a:pt x="3832699" y="6093727"/>
                  </a:lnTo>
                  <a:lnTo>
                    <a:pt x="3853058" y="6211301"/>
                  </a:lnTo>
                  <a:lnTo>
                    <a:pt x="3857523" y="6244673"/>
                  </a:lnTo>
                  <a:lnTo>
                    <a:pt x="3864198" y="6294828"/>
                  </a:lnTo>
                  <a:lnTo>
                    <a:pt x="3841840" y="6432971"/>
                  </a:lnTo>
                  <a:lnTo>
                    <a:pt x="3886085" y="6460939"/>
                  </a:lnTo>
                  <a:lnTo>
                    <a:pt x="3905851" y="6501110"/>
                  </a:lnTo>
                  <a:lnTo>
                    <a:pt x="3920598" y="6526104"/>
                  </a:lnTo>
                  <a:lnTo>
                    <a:pt x="3933695" y="6558874"/>
                  </a:lnTo>
                  <a:lnTo>
                    <a:pt x="3962850" y="6631648"/>
                  </a:lnTo>
                  <a:lnTo>
                    <a:pt x="4010372" y="6893821"/>
                  </a:lnTo>
                  <a:lnTo>
                    <a:pt x="3998984" y="6966933"/>
                  </a:lnTo>
                  <a:lnTo>
                    <a:pt x="3991288" y="7016328"/>
                  </a:lnTo>
                  <a:lnTo>
                    <a:pt x="3964294" y="7063807"/>
                  </a:lnTo>
                  <a:lnTo>
                    <a:pt x="3956816" y="7112477"/>
                  </a:lnTo>
                  <a:lnTo>
                    <a:pt x="3950267" y="7154980"/>
                  </a:lnTo>
                  <a:lnTo>
                    <a:pt x="3959368" y="7219847"/>
                  </a:lnTo>
                  <a:lnTo>
                    <a:pt x="3926889" y="7255296"/>
                  </a:lnTo>
                  <a:lnTo>
                    <a:pt x="3900503" y="7284088"/>
                  </a:lnTo>
                  <a:lnTo>
                    <a:pt x="3868722" y="7273754"/>
                  </a:lnTo>
                  <a:lnTo>
                    <a:pt x="3833037" y="7278424"/>
                  </a:lnTo>
                  <a:lnTo>
                    <a:pt x="3837666" y="7310819"/>
                  </a:lnTo>
                  <a:lnTo>
                    <a:pt x="3842196" y="7345620"/>
                  </a:lnTo>
                  <a:lnTo>
                    <a:pt x="3846636" y="7372269"/>
                  </a:lnTo>
                  <a:lnTo>
                    <a:pt x="3862964" y="7404915"/>
                  </a:lnTo>
                  <a:lnTo>
                    <a:pt x="3882005" y="7429401"/>
                  </a:lnTo>
                  <a:lnTo>
                    <a:pt x="3901042" y="7453889"/>
                  </a:lnTo>
                  <a:lnTo>
                    <a:pt x="3922805" y="7464769"/>
                  </a:lnTo>
                  <a:lnTo>
                    <a:pt x="4271023" y="7581742"/>
                  </a:lnTo>
                  <a:lnTo>
                    <a:pt x="4276458" y="7693282"/>
                  </a:lnTo>
                  <a:lnTo>
                    <a:pt x="3988098" y="7772170"/>
                  </a:lnTo>
                  <a:lnTo>
                    <a:pt x="3993536" y="7951716"/>
                  </a:lnTo>
                  <a:lnTo>
                    <a:pt x="4224775" y="7968041"/>
                  </a:lnTo>
                  <a:lnTo>
                    <a:pt x="4244156" y="7986399"/>
                  </a:lnTo>
                  <a:lnTo>
                    <a:pt x="4265575" y="7938120"/>
                  </a:lnTo>
                  <a:lnTo>
                    <a:pt x="4328148" y="7913631"/>
                  </a:lnTo>
                  <a:lnTo>
                    <a:pt x="4319991" y="7951716"/>
                  </a:lnTo>
                  <a:lnTo>
                    <a:pt x="4366236" y="7992526"/>
                  </a:lnTo>
                  <a:lnTo>
                    <a:pt x="4401598" y="7935394"/>
                  </a:lnTo>
                  <a:lnTo>
                    <a:pt x="4428799" y="7954441"/>
                  </a:lnTo>
                  <a:lnTo>
                    <a:pt x="4464168" y="8014289"/>
                  </a:lnTo>
                  <a:lnTo>
                    <a:pt x="4485931" y="8025172"/>
                  </a:lnTo>
                  <a:lnTo>
                    <a:pt x="4507697" y="8036046"/>
                  </a:lnTo>
                  <a:lnTo>
                    <a:pt x="4578424" y="8063256"/>
                  </a:lnTo>
                  <a:lnTo>
                    <a:pt x="4583866" y="8128545"/>
                  </a:lnTo>
                  <a:lnTo>
                    <a:pt x="4504978" y="8193834"/>
                  </a:lnTo>
                  <a:lnTo>
                    <a:pt x="4507697" y="8248244"/>
                  </a:lnTo>
                  <a:lnTo>
                    <a:pt x="4409762" y="8392421"/>
                  </a:lnTo>
                  <a:lnTo>
                    <a:pt x="4385273" y="8376099"/>
                  </a:lnTo>
                  <a:lnTo>
                    <a:pt x="4339031" y="8452271"/>
                  </a:lnTo>
                  <a:lnTo>
                    <a:pt x="4363510" y="8465877"/>
                  </a:lnTo>
                  <a:lnTo>
                    <a:pt x="4333583" y="8506677"/>
                  </a:lnTo>
                  <a:lnTo>
                    <a:pt x="4390715" y="8634539"/>
                  </a:lnTo>
                  <a:lnTo>
                    <a:pt x="4434241" y="8645422"/>
                  </a:lnTo>
                  <a:lnTo>
                    <a:pt x="4469603" y="8615496"/>
                  </a:lnTo>
                  <a:lnTo>
                    <a:pt x="4499530" y="8637259"/>
                  </a:lnTo>
                  <a:lnTo>
                    <a:pt x="4553939" y="8591013"/>
                  </a:lnTo>
                  <a:lnTo>
                    <a:pt x="4592024" y="8639981"/>
                  </a:lnTo>
                  <a:lnTo>
                    <a:pt x="4592024" y="8675343"/>
                  </a:lnTo>
                  <a:lnTo>
                    <a:pt x="4673637" y="8702548"/>
                  </a:lnTo>
                  <a:lnTo>
                    <a:pt x="4676353" y="8735191"/>
                  </a:lnTo>
                  <a:lnTo>
                    <a:pt x="4660032" y="8762395"/>
                  </a:lnTo>
                  <a:lnTo>
                    <a:pt x="4662754" y="8822246"/>
                  </a:lnTo>
                  <a:lnTo>
                    <a:pt x="4684517" y="8854889"/>
                  </a:lnTo>
                  <a:lnTo>
                    <a:pt x="4728043" y="8925619"/>
                  </a:lnTo>
                  <a:lnTo>
                    <a:pt x="4722605" y="9031718"/>
                  </a:lnTo>
                  <a:lnTo>
                    <a:pt x="4787894" y="9086127"/>
                  </a:lnTo>
                  <a:lnTo>
                    <a:pt x="4812373" y="9077960"/>
                  </a:lnTo>
                  <a:lnTo>
                    <a:pt x="4845019" y="9105165"/>
                  </a:lnTo>
                  <a:lnTo>
                    <a:pt x="4806931" y="9145975"/>
                  </a:lnTo>
                  <a:lnTo>
                    <a:pt x="4847741" y="9181337"/>
                  </a:lnTo>
                  <a:lnTo>
                    <a:pt x="4858624" y="9262948"/>
                  </a:lnTo>
                  <a:lnTo>
                    <a:pt x="4921197" y="9227588"/>
                  </a:lnTo>
                  <a:lnTo>
                    <a:pt x="4959276" y="9252068"/>
                  </a:lnTo>
                  <a:lnTo>
                    <a:pt x="4923913" y="9309193"/>
                  </a:lnTo>
                  <a:lnTo>
                    <a:pt x="5024565" y="9537712"/>
                  </a:lnTo>
                  <a:lnTo>
                    <a:pt x="4994644" y="9570358"/>
                  </a:lnTo>
                  <a:lnTo>
                    <a:pt x="4717163" y="9483303"/>
                  </a:lnTo>
                  <a:lnTo>
                    <a:pt x="4594749" y="9551311"/>
                  </a:lnTo>
                  <a:lnTo>
                    <a:pt x="4543056" y="9510508"/>
                  </a:lnTo>
                  <a:lnTo>
                    <a:pt x="4491372" y="9532264"/>
                  </a:lnTo>
                  <a:lnTo>
                    <a:pt x="4499530" y="9611159"/>
                  </a:lnTo>
                  <a:lnTo>
                    <a:pt x="4453282" y="9611159"/>
                  </a:lnTo>
                  <a:lnTo>
                    <a:pt x="4420636" y="9632922"/>
                  </a:lnTo>
                  <a:lnTo>
                    <a:pt x="4419284" y="9658762"/>
                  </a:lnTo>
                  <a:lnTo>
                    <a:pt x="4417919" y="9685973"/>
                  </a:lnTo>
                  <a:lnTo>
                    <a:pt x="4444761" y="9686429"/>
                  </a:lnTo>
                  <a:lnTo>
                    <a:pt x="4488017" y="9689672"/>
                  </a:lnTo>
                  <a:lnTo>
                    <a:pt x="4519771" y="9703646"/>
                  </a:lnTo>
                  <a:lnTo>
                    <a:pt x="4549862" y="9710446"/>
                  </a:lnTo>
                  <a:lnTo>
                    <a:pt x="4573749" y="9716290"/>
                  </a:lnTo>
                  <a:lnTo>
                    <a:pt x="4650944" y="9713103"/>
                  </a:lnTo>
                  <a:lnTo>
                    <a:pt x="4696039" y="9639321"/>
                  </a:lnTo>
                  <a:lnTo>
                    <a:pt x="4770211" y="9647873"/>
                  </a:lnTo>
                  <a:lnTo>
                    <a:pt x="4877584" y="9660244"/>
                  </a:lnTo>
                  <a:lnTo>
                    <a:pt x="4969780" y="9749891"/>
                  </a:lnTo>
                  <a:lnTo>
                    <a:pt x="5081696" y="9749891"/>
                  </a:lnTo>
                  <a:lnTo>
                    <a:pt x="5117092" y="9745972"/>
                  </a:lnTo>
                  <a:lnTo>
                    <a:pt x="5146768" y="9743408"/>
                  </a:lnTo>
                  <a:lnTo>
                    <a:pt x="5170115" y="9740360"/>
                  </a:lnTo>
                  <a:lnTo>
                    <a:pt x="5211483" y="9727983"/>
                  </a:lnTo>
                  <a:lnTo>
                    <a:pt x="5248284" y="9696366"/>
                  </a:lnTo>
                  <a:lnTo>
                    <a:pt x="5288446" y="9679155"/>
                  </a:lnTo>
                  <a:lnTo>
                    <a:pt x="5374695" y="9642214"/>
                  </a:lnTo>
                  <a:lnTo>
                    <a:pt x="5368265" y="9692388"/>
                  </a:lnTo>
                  <a:lnTo>
                    <a:pt x="5439429" y="9596183"/>
                  </a:lnTo>
                  <a:lnTo>
                    <a:pt x="5482661" y="9583086"/>
                  </a:lnTo>
                  <a:lnTo>
                    <a:pt x="5512581" y="9568721"/>
                  </a:lnTo>
                  <a:lnTo>
                    <a:pt x="5541448" y="9552663"/>
                  </a:lnTo>
                  <a:lnTo>
                    <a:pt x="5568519" y="9544583"/>
                  </a:lnTo>
                  <a:lnTo>
                    <a:pt x="5598216" y="9544887"/>
                  </a:lnTo>
                  <a:lnTo>
                    <a:pt x="5624416" y="9536342"/>
                  </a:lnTo>
                  <a:lnTo>
                    <a:pt x="5662324" y="9523837"/>
                  </a:lnTo>
                  <a:lnTo>
                    <a:pt x="5782841" y="9464669"/>
                  </a:lnTo>
                  <a:lnTo>
                    <a:pt x="5806687" y="9435675"/>
                  </a:lnTo>
                  <a:lnTo>
                    <a:pt x="5840961" y="9394068"/>
                  </a:lnTo>
                  <a:lnTo>
                    <a:pt x="5863468" y="9331793"/>
                  </a:lnTo>
                  <a:lnTo>
                    <a:pt x="5886934" y="9283340"/>
                  </a:lnTo>
                  <a:lnTo>
                    <a:pt x="5905506" y="9245122"/>
                  </a:lnTo>
                  <a:lnTo>
                    <a:pt x="5930460" y="9199723"/>
                  </a:lnTo>
                  <a:lnTo>
                    <a:pt x="5964470" y="9173161"/>
                  </a:lnTo>
                  <a:lnTo>
                    <a:pt x="5995665" y="9166445"/>
                  </a:lnTo>
                  <a:lnTo>
                    <a:pt x="6022398" y="9157431"/>
                  </a:lnTo>
                  <a:lnTo>
                    <a:pt x="6042000" y="9147320"/>
                  </a:lnTo>
                  <a:lnTo>
                    <a:pt x="6083191" y="9137963"/>
                  </a:lnTo>
                  <a:lnTo>
                    <a:pt x="6124885" y="9154542"/>
                  </a:lnTo>
                  <a:lnTo>
                    <a:pt x="6167137" y="9137789"/>
                  </a:lnTo>
                  <a:lnTo>
                    <a:pt x="6179722" y="9114926"/>
                  </a:lnTo>
                  <a:lnTo>
                    <a:pt x="6192251" y="9095668"/>
                  </a:lnTo>
                  <a:lnTo>
                    <a:pt x="6202499" y="9071142"/>
                  </a:lnTo>
                  <a:lnTo>
                    <a:pt x="6216700" y="9037054"/>
                  </a:lnTo>
                  <a:lnTo>
                    <a:pt x="6248434" y="8895851"/>
                  </a:lnTo>
                  <a:lnTo>
                    <a:pt x="6277313" y="8883439"/>
                  </a:lnTo>
                  <a:lnTo>
                    <a:pt x="6336515" y="8858061"/>
                  </a:lnTo>
                  <a:lnTo>
                    <a:pt x="6446596" y="8957571"/>
                  </a:lnTo>
                  <a:lnTo>
                    <a:pt x="6500385" y="8872556"/>
                  </a:lnTo>
                  <a:lnTo>
                    <a:pt x="6516067" y="8847779"/>
                  </a:lnTo>
                  <a:lnTo>
                    <a:pt x="6527040" y="8750901"/>
                  </a:lnTo>
                  <a:lnTo>
                    <a:pt x="6542553" y="8707974"/>
                  </a:lnTo>
                  <a:lnTo>
                    <a:pt x="6557469" y="8666736"/>
                  </a:lnTo>
                  <a:lnTo>
                    <a:pt x="6587647" y="8633287"/>
                  </a:lnTo>
                  <a:lnTo>
                    <a:pt x="6606484" y="8595075"/>
                  </a:lnTo>
                  <a:lnTo>
                    <a:pt x="6635948" y="8535141"/>
                  </a:lnTo>
                  <a:lnTo>
                    <a:pt x="6650651" y="8460885"/>
                  </a:lnTo>
                  <a:lnTo>
                    <a:pt x="6675850" y="8397850"/>
                  </a:lnTo>
                  <a:lnTo>
                    <a:pt x="6699954" y="8337612"/>
                  </a:lnTo>
                  <a:lnTo>
                    <a:pt x="6756394" y="8294179"/>
                  </a:lnTo>
                  <a:lnTo>
                    <a:pt x="6783307" y="8235984"/>
                  </a:lnTo>
                  <a:lnTo>
                    <a:pt x="6820033" y="8156879"/>
                  </a:lnTo>
                  <a:lnTo>
                    <a:pt x="6881068" y="7950807"/>
                  </a:lnTo>
                  <a:lnTo>
                    <a:pt x="6985974" y="7935382"/>
                  </a:lnTo>
                  <a:lnTo>
                    <a:pt x="7014074" y="7926880"/>
                  </a:lnTo>
                  <a:lnTo>
                    <a:pt x="7074219" y="7883519"/>
                  </a:lnTo>
                  <a:lnTo>
                    <a:pt x="7160930" y="7807139"/>
                  </a:lnTo>
                  <a:lnTo>
                    <a:pt x="7215860" y="7791199"/>
                  </a:lnTo>
                  <a:lnTo>
                    <a:pt x="7245477" y="7790005"/>
                  </a:lnTo>
                  <a:lnTo>
                    <a:pt x="7325103" y="7773522"/>
                  </a:lnTo>
                  <a:lnTo>
                    <a:pt x="7387704" y="7747679"/>
                  </a:lnTo>
                  <a:lnTo>
                    <a:pt x="7451167" y="7728632"/>
                  </a:lnTo>
                  <a:lnTo>
                    <a:pt x="7498392" y="7714431"/>
                  </a:lnTo>
                  <a:lnTo>
                    <a:pt x="7558280" y="7717749"/>
                  </a:lnTo>
                  <a:lnTo>
                    <a:pt x="7602150" y="7697344"/>
                  </a:lnTo>
                  <a:lnTo>
                    <a:pt x="7663588" y="7668744"/>
                  </a:lnTo>
                  <a:lnTo>
                    <a:pt x="7693878" y="7626623"/>
                  </a:lnTo>
                  <a:lnTo>
                    <a:pt x="7734086" y="7574930"/>
                  </a:lnTo>
                  <a:lnTo>
                    <a:pt x="7747865" y="7557250"/>
                  </a:lnTo>
                  <a:lnTo>
                    <a:pt x="7769166" y="7547477"/>
                  </a:lnTo>
                  <a:lnTo>
                    <a:pt x="7787137" y="7535487"/>
                  </a:lnTo>
                  <a:lnTo>
                    <a:pt x="7840793" y="7499657"/>
                  </a:lnTo>
                  <a:lnTo>
                    <a:pt x="7886167" y="7472065"/>
                  </a:lnTo>
                  <a:lnTo>
                    <a:pt x="7953077" y="7466115"/>
                  </a:lnTo>
                  <a:lnTo>
                    <a:pt x="8014119" y="7460760"/>
                  </a:lnTo>
                  <a:lnTo>
                    <a:pt x="8085485" y="7451027"/>
                  </a:lnTo>
                  <a:lnTo>
                    <a:pt x="8144870" y="7468831"/>
                  </a:lnTo>
                  <a:lnTo>
                    <a:pt x="8180825" y="7479627"/>
                  </a:lnTo>
                  <a:lnTo>
                    <a:pt x="8209651" y="7514481"/>
                  </a:lnTo>
                  <a:lnTo>
                    <a:pt x="8250963" y="7497393"/>
                  </a:lnTo>
                  <a:lnTo>
                    <a:pt x="8272983" y="7488299"/>
                  </a:lnTo>
                  <a:lnTo>
                    <a:pt x="8282973" y="7461861"/>
                  </a:lnTo>
                  <a:lnTo>
                    <a:pt x="8297211" y="7444345"/>
                  </a:lnTo>
                  <a:lnTo>
                    <a:pt x="8379802" y="7406056"/>
                  </a:lnTo>
                  <a:lnTo>
                    <a:pt x="8389903" y="7509557"/>
                  </a:lnTo>
                  <a:lnTo>
                    <a:pt x="8464513" y="7487878"/>
                  </a:lnTo>
                  <a:lnTo>
                    <a:pt x="8522838" y="7470955"/>
                  </a:lnTo>
                  <a:lnTo>
                    <a:pt x="8520153" y="7387775"/>
                  </a:lnTo>
                  <a:lnTo>
                    <a:pt x="8571970" y="7360016"/>
                  </a:lnTo>
                  <a:lnTo>
                    <a:pt x="8592716" y="7348878"/>
                  </a:lnTo>
                  <a:lnTo>
                    <a:pt x="8616503" y="7354193"/>
                  </a:lnTo>
                  <a:lnTo>
                    <a:pt x="8638617" y="7347774"/>
                  </a:lnTo>
                  <a:lnTo>
                    <a:pt x="8693751" y="7331751"/>
                  </a:lnTo>
                  <a:lnTo>
                    <a:pt x="8727194" y="7326139"/>
                  </a:lnTo>
                  <a:lnTo>
                    <a:pt x="8785519" y="7339617"/>
                  </a:lnTo>
                  <a:lnTo>
                    <a:pt x="8822826" y="7355855"/>
                  </a:lnTo>
                  <a:lnTo>
                    <a:pt x="8848216" y="7379701"/>
                  </a:lnTo>
                  <a:lnTo>
                    <a:pt x="8937650" y="7500500"/>
                  </a:lnTo>
                  <a:lnTo>
                    <a:pt x="8955549" y="7524604"/>
                  </a:lnTo>
                  <a:lnTo>
                    <a:pt x="8970811" y="7555033"/>
                  </a:lnTo>
                  <a:lnTo>
                    <a:pt x="9008340" y="7608342"/>
                  </a:lnTo>
                  <a:lnTo>
                    <a:pt x="9072187" y="7616031"/>
                  </a:lnTo>
                  <a:lnTo>
                    <a:pt x="9113332" y="7593970"/>
                  </a:lnTo>
                  <a:lnTo>
                    <a:pt x="9225372" y="7533949"/>
                  </a:lnTo>
                  <a:lnTo>
                    <a:pt x="9232990" y="7343524"/>
                  </a:lnTo>
                  <a:lnTo>
                    <a:pt x="9262957" y="7234879"/>
                  </a:lnTo>
                  <a:lnTo>
                    <a:pt x="9274262" y="7193905"/>
                  </a:lnTo>
                  <a:lnTo>
                    <a:pt x="9289805" y="7159854"/>
                  </a:lnTo>
                  <a:lnTo>
                    <a:pt x="9307835" y="7121981"/>
                  </a:lnTo>
                  <a:lnTo>
                    <a:pt x="9318209" y="7100137"/>
                  </a:lnTo>
                  <a:lnTo>
                    <a:pt x="9338909" y="7063534"/>
                  </a:lnTo>
                  <a:lnTo>
                    <a:pt x="9358167" y="7048531"/>
                  </a:lnTo>
                  <a:lnTo>
                    <a:pt x="9475946" y="6932786"/>
                  </a:lnTo>
                  <a:lnTo>
                    <a:pt x="9575403" y="6973422"/>
                  </a:lnTo>
                  <a:lnTo>
                    <a:pt x="9623400" y="6930194"/>
                  </a:lnTo>
                  <a:lnTo>
                    <a:pt x="9664970" y="6892748"/>
                  </a:lnTo>
                  <a:lnTo>
                    <a:pt x="9650527" y="6743340"/>
                  </a:lnTo>
                  <a:lnTo>
                    <a:pt x="9730860" y="6700323"/>
                  </a:lnTo>
                  <a:lnTo>
                    <a:pt x="9786624" y="6670439"/>
                  </a:lnTo>
                  <a:lnTo>
                    <a:pt x="9846611" y="6728243"/>
                  </a:lnTo>
                  <a:lnTo>
                    <a:pt x="9881849" y="6718002"/>
                  </a:lnTo>
                  <a:lnTo>
                    <a:pt x="9938578" y="6683446"/>
                  </a:lnTo>
                  <a:lnTo>
                    <a:pt x="9993374" y="6686420"/>
                  </a:lnTo>
                  <a:lnTo>
                    <a:pt x="10043833" y="6755361"/>
                  </a:lnTo>
                  <a:lnTo>
                    <a:pt x="10079078" y="6787375"/>
                  </a:lnTo>
                  <a:lnTo>
                    <a:pt x="10102193" y="6792816"/>
                  </a:lnTo>
                  <a:lnTo>
                    <a:pt x="10118802" y="6776702"/>
                  </a:lnTo>
                  <a:lnTo>
                    <a:pt x="10132454" y="6687185"/>
                  </a:lnTo>
                  <a:lnTo>
                    <a:pt x="10035542" y="6655389"/>
                  </a:lnTo>
                  <a:lnTo>
                    <a:pt x="10098115" y="6561578"/>
                  </a:lnTo>
                  <a:lnTo>
                    <a:pt x="10161749" y="6466117"/>
                  </a:lnTo>
                  <a:lnTo>
                    <a:pt x="10321906" y="6564046"/>
                  </a:lnTo>
                  <a:lnTo>
                    <a:pt x="10351117" y="6474525"/>
                  </a:lnTo>
                  <a:lnTo>
                    <a:pt x="10310874" y="6418079"/>
                  </a:lnTo>
                  <a:lnTo>
                    <a:pt x="10234064" y="6420631"/>
                  </a:lnTo>
                  <a:lnTo>
                    <a:pt x="10213730" y="6367075"/>
                  </a:lnTo>
                  <a:lnTo>
                    <a:pt x="10205058" y="6344329"/>
                  </a:lnTo>
                  <a:lnTo>
                    <a:pt x="10214390" y="6298679"/>
                  </a:lnTo>
                  <a:lnTo>
                    <a:pt x="10220530" y="6275939"/>
                  </a:lnTo>
                  <a:lnTo>
                    <a:pt x="10258530" y="6133371"/>
                  </a:lnTo>
                  <a:lnTo>
                    <a:pt x="10352422" y="6080711"/>
                  </a:lnTo>
                  <a:lnTo>
                    <a:pt x="10465358" y="6002542"/>
                  </a:lnTo>
                  <a:lnTo>
                    <a:pt x="10487124" y="5987445"/>
                  </a:lnTo>
                  <a:lnTo>
                    <a:pt x="10513864" y="5976695"/>
                  </a:lnTo>
                  <a:lnTo>
                    <a:pt x="10534737" y="5960374"/>
                  </a:lnTo>
                  <a:lnTo>
                    <a:pt x="10563526" y="5937892"/>
                  </a:lnTo>
                  <a:lnTo>
                    <a:pt x="10619364" y="5881861"/>
                  </a:lnTo>
                  <a:lnTo>
                    <a:pt x="10650355" y="5870596"/>
                  </a:lnTo>
                  <a:lnTo>
                    <a:pt x="10701179" y="5852191"/>
                  </a:lnTo>
                  <a:lnTo>
                    <a:pt x="10851775" y="5850877"/>
                  </a:lnTo>
                  <a:lnTo>
                    <a:pt x="10907421" y="5861081"/>
                  </a:lnTo>
                  <a:lnTo>
                    <a:pt x="11002764" y="5878503"/>
                  </a:lnTo>
                  <a:lnTo>
                    <a:pt x="11120465" y="5907028"/>
                  </a:lnTo>
                  <a:lnTo>
                    <a:pt x="11202591" y="5960374"/>
                  </a:lnTo>
                  <a:lnTo>
                    <a:pt x="11227795" y="5976782"/>
                  </a:lnTo>
                  <a:lnTo>
                    <a:pt x="11252225" y="5996462"/>
                  </a:lnTo>
                  <a:lnTo>
                    <a:pt x="11277395" y="6012064"/>
                  </a:lnTo>
                  <a:lnTo>
                    <a:pt x="11299800" y="6025998"/>
                  </a:lnTo>
                  <a:lnTo>
                    <a:pt x="11324437" y="6033523"/>
                  </a:lnTo>
                  <a:lnTo>
                    <a:pt x="11348126" y="6044710"/>
                  </a:lnTo>
                  <a:lnTo>
                    <a:pt x="11369725" y="6054905"/>
                  </a:lnTo>
                  <a:lnTo>
                    <a:pt x="11391019" y="6070975"/>
                  </a:lnTo>
                  <a:lnTo>
                    <a:pt x="11412063" y="6082788"/>
                  </a:lnTo>
                  <a:lnTo>
                    <a:pt x="11444920" y="6101280"/>
                  </a:lnTo>
                  <a:lnTo>
                    <a:pt x="11475740" y="6137538"/>
                  </a:lnTo>
                  <a:lnTo>
                    <a:pt x="11507276" y="6160324"/>
                  </a:lnTo>
                  <a:lnTo>
                    <a:pt x="11535962" y="6181064"/>
                  </a:lnTo>
                  <a:lnTo>
                    <a:pt x="11572987" y="6191182"/>
                  </a:lnTo>
                  <a:lnTo>
                    <a:pt x="11594328" y="6221530"/>
                  </a:lnTo>
                  <a:lnTo>
                    <a:pt x="11607378" y="6240062"/>
                  </a:lnTo>
                  <a:lnTo>
                    <a:pt x="11615313" y="6261695"/>
                  </a:lnTo>
                  <a:lnTo>
                    <a:pt x="11625613" y="6281381"/>
                  </a:lnTo>
                  <a:lnTo>
                    <a:pt x="11644402" y="6308288"/>
                  </a:lnTo>
                  <a:lnTo>
                    <a:pt x="11686518" y="6368089"/>
                  </a:lnTo>
                  <a:lnTo>
                    <a:pt x="11705208" y="6420671"/>
                  </a:lnTo>
                  <a:lnTo>
                    <a:pt x="11723542" y="6473167"/>
                  </a:lnTo>
                  <a:lnTo>
                    <a:pt x="11730645" y="6493486"/>
                  </a:lnTo>
                  <a:lnTo>
                    <a:pt x="11736849" y="6519034"/>
                  </a:lnTo>
                  <a:lnTo>
                    <a:pt x="11754836" y="6533015"/>
                  </a:lnTo>
                  <a:lnTo>
                    <a:pt x="11772767" y="6546955"/>
                  </a:lnTo>
                  <a:lnTo>
                    <a:pt x="11809989" y="6557972"/>
                  </a:lnTo>
                  <a:lnTo>
                    <a:pt x="11832357" y="6558861"/>
                  </a:lnTo>
                  <a:lnTo>
                    <a:pt x="12018795" y="6518355"/>
                  </a:lnTo>
                  <a:lnTo>
                    <a:pt x="12049996" y="6501690"/>
                  </a:lnTo>
                  <a:lnTo>
                    <a:pt x="12092871" y="6468662"/>
                  </a:lnTo>
                  <a:lnTo>
                    <a:pt x="12115279" y="6467726"/>
                  </a:lnTo>
                  <a:lnTo>
                    <a:pt x="12178866" y="6465087"/>
                  </a:lnTo>
                  <a:lnTo>
                    <a:pt x="12234258" y="6541049"/>
                  </a:lnTo>
                  <a:lnTo>
                    <a:pt x="12302998" y="6512610"/>
                  </a:lnTo>
                  <a:lnTo>
                    <a:pt x="12384574" y="6478863"/>
                  </a:lnTo>
                  <a:lnTo>
                    <a:pt x="12357736" y="6307943"/>
                  </a:lnTo>
                  <a:lnTo>
                    <a:pt x="12467580" y="6281381"/>
                  </a:lnTo>
                  <a:lnTo>
                    <a:pt x="12498087" y="6273980"/>
                  </a:lnTo>
                  <a:lnTo>
                    <a:pt x="12669006" y="6281579"/>
                  </a:lnTo>
                  <a:lnTo>
                    <a:pt x="12690652" y="6299060"/>
                  </a:lnTo>
                  <a:lnTo>
                    <a:pt x="12729753" y="6330683"/>
                  </a:lnTo>
                  <a:lnTo>
                    <a:pt x="12751774" y="6367841"/>
                  </a:lnTo>
                  <a:lnTo>
                    <a:pt x="12803544" y="6383396"/>
                  </a:lnTo>
                  <a:lnTo>
                    <a:pt x="12878581" y="6405878"/>
                  </a:lnTo>
                  <a:lnTo>
                    <a:pt x="12960474" y="6411156"/>
                  </a:lnTo>
                  <a:lnTo>
                    <a:pt x="13036138" y="6429641"/>
                  </a:lnTo>
                  <a:lnTo>
                    <a:pt x="13067636" y="6437337"/>
                  </a:lnTo>
                  <a:lnTo>
                    <a:pt x="13100993" y="6461050"/>
                  </a:lnTo>
                  <a:lnTo>
                    <a:pt x="13134073" y="6458204"/>
                  </a:lnTo>
                  <a:lnTo>
                    <a:pt x="13222306" y="6450639"/>
                  </a:lnTo>
                  <a:lnTo>
                    <a:pt x="13203399" y="6308077"/>
                  </a:lnTo>
                  <a:lnTo>
                    <a:pt x="13283698" y="6275939"/>
                  </a:lnTo>
                  <a:lnTo>
                    <a:pt x="13345077" y="6251327"/>
                  </a:lnTo>
                  <a:lnTo>
                    <a:pt x="13442621" y="6272076"/>
                  </a:lnTo>
                  <a:lnTo>
                    <a:pt x="13506769" y="6277297"/>
                  </a:lnTo>
                  <a:lnTo>
                    <a:pt x="13531462" y="6279297"/>
                  </a:lnTo>
                  <a:lnTo>
                    <a:pt x="13555256" y="6272153"/>
                  </a:lnTo>
                  <a:lnTo>
                    <a:pt x="13578852" y="6273223"/>
                  </a:lnTo>
                  <a:lnTo>
                    <a:pt x="13604428" y="6277812"/>
                  </a:lnTo>
                  <a:lnTo>
                    <a:pt x="13649582" y="6275939"/>
                  </a:lnTo>
                  <a:lnTo>
                    <a:pt x="13756019" y="6190667"/>
                  </a:lnTo>
                  <a:lnTo>
                    <a:pt x="13797849" y="6171198"/>
                  </a:lnTo>
                  <a:lnTo>
                    <a:pt x="13835552" y="6153649"/>
                  </a:lnTo>
                  <a:lnTo>
                    <a:pt x="13883794" y="6145736"/>
                  </a:lnTo>
                  <a:lnTo>
                    <a:pt x="13914831" y="6115431"/>
                  </a:lnTo>
                  <a:lnTo>
                    <a:pt x="13931844" y="6098775"/>
                  </a:lnTo>
                  <a:lnTo>
                    <a:pt x="13939602" y="6064389"/>
                  </a:lnTo>
                  <a:lnTo>
                    <a:pt x="13932505" y="6041984"/>
                  </a:lnTo>
                  <a:lnTo>
                    <a:pt x="13923646" y="6013977"/>
                  </a:lnTo>
                  <a:lnTo>
                    <a:pt x="13881639" y="5975204"/>
                  </a:lnTo>
                  <a:lnTo>
                    <a:pt x="13864499" y="5950849"/>
                  </a:lnTo>
                  <a:lnTo>
                    <a:pt x="13836529" y="5911062"/>
                  </a:lnTo>
                  <a:lnTo>
                    <a:pt x="13763002" y="5772069"/>
                  </a:lnTo>
                  <a:lnTo>
                    <a:pt x="13755681" y="5727777"/>
                  </a:lnTo>
                  <a:lnTo>
                    <a:pt x="13741912" y="5645230"/>
                  </a:lnTo>
                  <a:lnTo>
                    <a:pt x="13775534" y="5404008"/>
                  </a:lnTo>
                  <a:lnTo>
                    <a:pt x="13799207" y="5321076"/>
                  </a:lnTo>
                  <a:lnTo>
                    <a:pt x="13811296" y="5278611"/>
                  </a:lnTo>
                  <a:lnTo>
                    <a:pt x="13835850" y="5246483"/>
                  </a:lnTo>
                  <a:lnTo>
                    <a:pt x="13841369" y="5200020"/>
                  </a:lnTo>
                  <a:lnTo>
                    <a:pt x="13846897" y="5153856"/>
                  </a:lnTo>
                  <a:lnTo>
                    <a:pt x="13830402" y="5109353"/>
                  </a:lnTo>
                  <a:lnTo>
                    <a:pt x="13844067" y="5061275"/>
                  </a:lnTo>
                  <a:lnTo>
                    <a:pt x="13871910" y="4963858"/>
                  </a:lnTo>
                  <a:lnTo>
                    <a:pt x="14026403" y="5013207"/>
                  </a:lnTo>
                  <a:lnTo>
                    <a:pt x="14068499" y="4961985"/>
                  </a:lnTo>
                  <a:lnTo>
                    <a:pt x="14079807" y="4923132"/>
                  </a:lnTo>
                  <a:lnTo>
                    <a:pt x="14060934" y="4863706"/>
                  </a:lnTo>
                  <a:lnTo>
                    <a:pt x="13983193" y="4806416"/>
                  </a:lnTo>
                  <a:lnTo>
                    <a:pt x="14034495" y="4729395"/>
                  </a:lnTo>
                  <a:lnTo>
                    <a:pt x="14047164" y="4710388"/>
                  </a:lnTo>
                  <a:lnTo>
                    <a:pt x="14069231" y="4692154"/>
                  </a:lnTo>
                  <a:lnTo>
                    <a:pt x="14091627" y="4685863"/>
                  </a:lnTo>
                  <a:lnTo>
                    <a:pt x="14113858" y="4679624"/>
                  </a:lnTo>
                  <a:lnTo>
                    <a:pt x="14200107" y="4683401"/>
                  </a:lnTo>
                  <a:lnTo>
                    <a:pt x="14223563" y="4688579"/>
                  </a:lnTo>
                  <a:lnTo>
                    <a:pt x="14253803" y="4695214"/>
                  </a:lnTo>
                  <a:lnTo>
                    <a:pt x="14280775" y="4721395"/>
                  </a:lnTo>
                  <a:lnTo>
                    <a:pt x="14309251" y="4734830"/>
                  </a:lnTo>
                  <a:lnTo>
                    <a:pt x="14349084" y="4753573"/>
                  </a:lnTo>
                  <a:lnTo>
                    <a:pt x="14487637" y="4757998"/>
                  </a:lnTo>
                  <a:lnTo>
                    <a:pt x="14525526" y="4734830"/>
                  </a:lnTo>
                  <a:lnTo>
                    <a:pt x="14560841" y="4686244"/>
                  </a:lnTo>
                  <a:lnTo>
                    <a:pt x="14566888" y="4661802"/>
                  </a:lnTo>
                  <a:lnTo>
                    <a:pt x="14565436" y="4497645"/>
                  </a:lnTo>
                  <a:lnTo>
                    <a:pt x="14553877" y="4463470"/>
                  </a:lnTo>
                  <a:lnTo>
                    <a:pt x="14526871" y="4428319"/>
                  </a:lnTo>
                  <a:lnTo>
                    <a:pt x="14511939" y="4400218"/>
                  </a:lnTo>
                  <a:lnTo>
                    <a:pt x="14482142" y="4344324"/>
                  </a:lnTo>
                  <a:lnTo>
                    <a:pt x="14470959" y="4251957"/>
                  </a:lnTo>
                  <a:lnTo>
                    <a:pt x="14388160" y="4251957"/>
                  </a:lnTo>
                  <a:lnTo>
                    <a:pt x="14328356" y="4251957"/>
                  </a:lnTo>
                  <a:lnTo>
                    <a:pt x="14274964" y="4382833"/>
                  </a:lnTo>
                  <a:lnTo>
                    <a:pt x="14197732" y="4343093"/>
                  </a:lnTo>
                  <a:lnTo>
                    <a:pt x="14169334" y="4318775"/>
                  </a:lnTo>
                  <a:lnTo>
                    <a:pt x="14120797" y="4263305"/>
                  </a:lnTo>
                  <a:lnTo>
                    <a:pt x="14060407" y="4151641"/>
                  </a:lnTo>
                  <a:lnTo>
                    <a:pt x="13995065" y="4163544"/>
                  </a:lnTo>
                  <a:lnTo>
                    <a:pt x="13974145" y="4167330"/>
                  </a:lnTo>
                  <a:lnTo>
                    <a:pt x="13952723" y="4178253"/>
                  </a:lnTo>
                  <a:lnTo>
                    <a:pt x="13932492" y="4185307"/>
                  </a:lnTo>
                  <a:lnTo>
                    <a:pt x="13912159" y="4192451"/>
                  </a:lnTo>
                  <a:lnTo>
                    <a:pt x="13887943" y="4197846"/>
                  </a:lnTo>
                  <a:lnTo>
                    <a:pt x="13868561" y="4207073"/>
                  </a:lnTo>
                  <a:lnTo>
                    <a:pt x="13837044" y="4209702"/>
                  </a:lnTo>
                  <a:lnTo>
                    <a:pt x="13636656" y="4227391"/>
                  </a:lnTo>
                  <a:lnTo>
                    <a:pt x="13638522" y="4109730"/>
                  </a:lnTo>
                  <a:lnTo>
                    <a:pt x="13553002" y="4096897"/>
                  </a:lnTo>
                  <a:lnTo>
                    <a:pt x="13479031" y="4085843"/>
                  </a:lnTo>
                  <a:lnTo>
                    <a:pt x="13459392" y="4215829"/>
                  </a:lnTo>
                  <a:lnTo>
                    <a:pt x="13382972" y="4188032"/>
                  </a:lnTo>
                  <a:lnTo>
                    <a:pt x="13358940" y="4112626"/>
                  </a:lnTo>
                  <a:lnTo>
                    <a:pt x="13441006" y="4132135"/>
                  </a:lnTo>
                  <a:lnTo>
                    <a:pt x="13434662" y="4052013"/>
                  </a:lnTo>
                  <a:lnTo>
                    <a:pt x="13402763" y="4026083"/>
                  </a:lnTo>
                  <a:lnTo>
                    <a:pt x="13377503" y="4040358"/>
                  </a:lnTo>
                  <a:lnTo>
                    <a:pt x="13353052" y="4042482"/>
                  </a:lnTo>
                  <a:lnTo>
                    <a:pt x="13311522" y="4046010"/>
                  </a:lnTo>
                  <a:lnTo>
                    <a:pt x="13270799" y="4051154"/>
                  </a:lnTo>
                  <a:lnTo>
                    <a:pt x="13229270" y="4054729"/>
                  </a:lnTo>
                  <a:lnTo>
                    <a:pt x="13180343" y="4058890"/>
                  </a:lnTo>
                  <a:lnTo>
                    <a:pt x="13129983" y="4050990"/>
                  </a:lnTo>
                  <a:lnTo>
                    <a:pt x="13081009" y="4057445"/>
                  </a:lnTo>
                  <a:lnTo>
                    <a:pt x="13020991" y="4065401"/>
                  </a:lnTo>
                  <a:lnTo>
                    <a:pt x="12999476" y="4088138"/>
                  </a:lnTo>
                  <a:lnTo>
                    <a:pt x="12921862" y="4079211"/>
                  </a:lnTo>
                  <a:lnTo>
                    <a:pt x="12889895" y="4075509"/>
                  </a:lnTo>
                  <a:lnTo>
                    <a:pt x="12855643" y="4056261"/>
                  </a:lnTo>
                  <a:lnTo>
                    <a:pt x="12823927" y="4066970"/>
                  </a:lnTo>
                  <a:lnTo>
                    <a:pt x="12588497" y="4226585"/>
                  </a:lnTo>
                  <a:lnTo>
                    <a:pt x="12541005" y="4281580"/>
                  </a:lnTo>
                  <a:lnTo>
                    <a:pt x="12509212" y="4524037"/>
                  </a:lnTo>
                  <a:lnTo>
                    <a:pt x="12409069" y="4585205"/>
                  </a:lnTo>
                  <a:lnTo>
                    <a:pt x="12337138" y="4629199"/>
                  </a:lnTo>
                  <a:lnTo>
                    <a:pt x="12160789" y="4590823"/>
                  </a:lnTo>
                  <a:lnTo>
                    <a:pt x="12097584" y="4541676"/>
                  </a:lnTo>
                  <a:lnTo>
                    <a:pt x="12069617" y="4519913"/>
                  </a:lnTo>
                  <a:lnTo>
                    <a:pt x="12048235" y="4494457"/>
                  </a:lnTo>
                  <a:lnTo>
                    <a:pt x="12017332" y="4473671"/>
                  </a:lnTo>
                  <a:lnTo>
                    <a:pt x="11958538" y="4434095"/>
                  </a:lnTo>
                  <a:lnTo>
                    <a:pt x="11891131" y="4403660"/>
                  </a:lnTo>
                  <a:lnTo>
                    <a:pt x="11841866" y="4349892"/>
                  </a:lnTo>
                  <a:lnTo>
                    <a:pt x="11798257" y="4302370"/>
                  </a:lnTo>
                  <a:lnTo>
                    <a:pt x="11783377" y="4232535"/>
                  </a:lnTo>
                  <a:lnTo>
                    <a:pt x="11783377" y="4170344"/>
                  </a:lnTo>
                  <a:lnTo>
                    <a:pt x="11820401" y="4139018"/>
                  </a:lnTo>
                  <a:lnTo>
                    <a:pt x="11843423" y="4158995"/>
                  </a:lnTo>
                  <a:lnTo>
                    <a:pt x="11864990" y="4115938"/>
                  </a:lnTo>
                  <a:lnTo>
                    <a:pt x="11856430" y="4045799"/>
                  </a:lnTo>
                  <a:lnTo>
                    <a:pt x="11735473" y="3996497"/>
                  </a:lnTo>
                  <a:lnTo>
                    <a:pt x="11692241" y="4046565"/>
                  </a:lnTo>
                  <a:lnTo>
                    <a:pt x="11642430" y="4104335"/>
                  </a:lnTo>
                  <a:lnTo>
                    <a:pt x="11640979" y="4277630"/>
                  </a:lnTo>
                  <a:lnTo>
                    <a:pt x="11586152" y="4368936"/>
                  </a:lnTo>
                  <a:lnTo>
                    <a:pt x="11566596" y="4401582"/>
                  </a:lnTo>
                  <a:lnTo>
                    <a:pt x="11539234" y="4440299"/>
                  </a:lnTo>
                  <a:lnTo>
                    <a:pt x="11508621" y="4464149"/>
                  </a:lnTo>
                  <a:lnTo>
                    <a:pt x="11482431" y="4484638"/>
                  </a:lnTo>
                  <a:lnTo>
                    <a:pt x="11453012" y="4492157"/>
                  </a:lnTo>
                  <a:lnTo>
                    <a:pt x="11440607" y="4526719"/>
                  </a:lnTo>
                  <a:lnTo>
                    <a:pt x="11437475" y="4557836"/>
                  </a:lnTo>
                  <a:lnTo>
                    <a:pt x="11434855" y="4600339"/>
                  </a:lnTo>
                  <a:lnTo>
                    <a:pt x="11411958" y="4601316"/>
                  </a:lnTo>
                  <a:lnTo>
                    <a:pt x="11398439" y="4620574"/>
                  </a:lnTo>
                  <a:lnTo>
                    <a:pt x="11379870" y="4647049"/>
                  </a:lnTo>
                  <a:lnTo>
                    <a:pt x="11374059" y="4686371"/>
                  </a:lnTo>
                  <a:lnTo>
                    <a:pt x="11356277" y="4711706"/>
                  </a:lnTo>
                  <a:lnTo>
                    <a:pt x="11309434" y="4778480"/>
                  </a:lnTo>
                  <a:lnTo>
                    <a:pt x="11060946" y="4809260"/>
                  </a:lnTo>
                  <a:lnTo>
                    <a:pt x="10979497" y="4836839"/>
                  </a:lnTo>
                  <a:lnTo>
                    <a:pt x="10949577" y="4847003"/>
                  </a:lnTo>
                  <a:lnTo>
                    <a:pt x="10917994" y="4862646"/>
                  </a:lnTo>
                  <a:lnTo>
                    <a:pt x="10889729" y="4876288"/>
                  </a:lnTo>
                  <a:lnTo>
                    <a:pt x="10865920" y="4887763"/>
                  </a:lnTo>
                  <a:lnTo>
                    <a:pt x="10840901" y="4903235"/>
                  </a:lnTo>
                  <a:lnTo>
                    <a:pt x="10817640" y="4915734"/>
                  </a:lnTo>
                  <a:lnTo>
                    <a:pt x="10763396" y="4944765"/>
                  </a:lnTo>
                  <a:lnTo>
                    <a:pt x="10587934" y="4994966"/>
                  </a:lnTo>
                  <a:lnTo>
                    <a:pt x="10531996" y="4972859"/>
                  </a:lnTo>
                  <a:lnTo>
                    <a:pt x="10474902" y="4950336"/>
                  </a:lnTo>
                  <a:lnTo>
                    <a:pt x="10409969" y="4907747"/>
                  </a:lnTo>
                  <a:lnTo>
                    <a:pt x="10371494" y="4858609"/>
                  </a:lnTo>
                  <a:lnTo>
                    <a:pt x="10355898" y="4838712"/>
                  </a:lnTo>
                  <a:lnTo>
                    <a:pt x="10345353" y="4806240"/>
                  </a:lnTo>
                  <a:lnTo>
                    <a:pt x="10325246" y="4790594"/>
                  </a:lnTo>
                  <a:lnTo>
                    <a:pt x="10299300" y="4770403"/>
                  </a:lnTo>
                  <a:lnTo>
                    <a:pt x="10258214" y="4766748"/>
                  </a:lnTo>
                  <a:lnTo>
                    <a:pt x="10228675" y="4748435"/>
                  </a:lnTo>
                  <a:lnTo>
                    <a:pt x="10143917" y="4695806"/>
                  </a:lnTo>
                  <a:lnTo>
                    <a:pt x="10049340" y="4607988"/>
                  </a:lnTo>
                  <a:lnTo>
                    <a:pt x="9975676" y="4538960"/>
                  </a:lnTo>
                  <a:lnTo>
                    <a:pt x="9914086" y="4481196"/>
                  </a:lnTo>
                  <a:lnTo>
                    <a:pt x="9854915" y="4362645"/>
                  </a:lnTo>
                  <a:lnTo>
                    <a:pt x="9808369" y="4288684"/>
                  </a:lnTo>
                  <a:lnTo>
                    <a:pt x="9794686" y="4257225"/>
                  </a:lnTo>
                  <a:lnTo>
                    <a:pt x="9753116" y="4198190"/>
                  </a:lnTo>
                  <a:lnTo>
                    <a:pt x="9715540" y="4157761"/>
                  </a:lnTo>
                  <a:lnTo>
                    <a:pt x="9683229" y="4111854"/>
                  </a:lnTo>
                  <a:lnTo>
                    <a:pt x="9645941" y="4058853"/>
                  </a:lnTo>
                  <a:lnTo>
                    <a:pt x="9608424" y="3997433"/>
                  </a:lnTo>
                  <a:lnTo>
                    <a:pt x="9581220" y="3939108"/>
                  </a:lnTo>
                  <a:lnTo>
                    <a:pt x="9556818" y="3886829"/>
                  </a:lnTo>
                  <a:lnTo>
                    <a:pt x="9480832" y="3781456"/>
                  </a:lnTo>
                  <a:lnTo>
                    <a:pt x="9446564" y="3726923"/>
                  </a:lnTo>
                  <a:lnTo>
                    <a:pt x="9422671" y="3688962"/>
                  </a:lnTo>
                  <a:lnTo>
                    <a:pt x="9388497" y="3610496"/>
                  </a:lnTo>
                  <a:lnTo>
                    <a:pt x="9362232" y="3563692"/>
                  </a:lnTo>
                  <a:lnTo>
                    <a:pt x="9336621" y="3518002"/>
                  </a:lnTo>
                  <a:lnTo>
                    <a:pt x="9293123" y="3474135"/>
                  </a:lnTo>
                  <a:lnTo>
                    <a:pt x="9261577" y="3431756"/>
                  </a:lnTo>
                  <a:lnTo>
                    <a:pt x="9228934" y="3387932"/>
                  </a:lnTo>
                  <a:lnTo>
                    <a:pt x="9184642" y="3309553"/>
                  </a:lnTo>
                  <a:lnTo>
                    <a:pt x="9155481" y="3260374"/>
                  </a:lnTo>
                  <a:lnTo>
                    <a:pt x="9136171" y="3227775"/>
                  </a:lnTo>
                  <a:lnTo>
                    <a:pt x="9107760" y="3200183"/>
                  </a:lnTo>
                  <a:lnTo>
                    <a:pt x="9087473" y="3167881"/>
                  </a:lnTo>
                  <a:lnTo>
                    <a:pt x="9064430" y="3131325"/>
                  </a:lnTo>
                  <a:lnTo>
                    <a:pt x="9036211" y="3089665"/>
                  </a:lnTo>
                  <a:lnTo>
                    <a:pt x="9018094" y="3050905"/>
                  </a:lnTo>
                  <a:lnTo>
                    <a:pt x="8998713" y="3009373"/>
                  </a:lnTo>
                  <a:lnTo>
                    <a:pt x="8988478" y="2961763"/>
                  </a:lnTo>
                  <a:lnTo>
                    <a:pt x="8969127" y="2920321"/>
                  </a:lnTo>
                  <a:lnTo>
                    <a:pt x="8957311" y="2894989"/>
                  </a:lnTo>
                  <a:lnTo>
                    <a:pt x="8940353" y="2872587"/>
                  </a:lnTo>
                  <a:lnTo>
                    <a:pt x="8928326" y="2846874"/>
                  </a:lnTo>
                  <a:lnTo>
                    <a:pt x="8918076" y="2814439"/>
                  </a:lnTo>
                  <a:lnTo>
                    <a:pt x="8880618" y="2738143"/>
                  </a:lnTo>
                  <a:lnTo>
                    <a:pt x="8825709" y="2691978"/>
                  </a:lnTo>
                  <a:lnTo>
                    <a:pt x="8797745" y="2631957"/>
                  </a:lnTo>
                  <a:lnTo>
                    <a:pt x="8785380" y="2605518"/>
                  </a:lnTo>
                  <a:lnTo>
                    <a:pt x="8775846" y="2577219"/>
                  </a:lnTo>
                  <a:lnTo>
                    <a:pt x="8766466" y="2548988"/>
                  </a:lnTo>
                  <a:lnTo>
                    <a:pt x="8682137" y="2580273"/>
                  </a:lnTo>
                  <a:lnTo>
                    <a:pt x="8700412" y="2608098"/>
                  </a:lnTo>
                  <a:lnTo>
                    <a:pt x="8716417" y="2635343"/>
                  </a:lnTo>
                  <a:lnTo>
                    <a:pt x="8731092" y="2663251"/>
                  </a:lnTo>
                  <a:lnTo>
                    <a:pt x="8744486" y="2688713"/>
                  </a:lnTo>
                  <a:lnTo>
                    <a:pt x="8736322" y="2712212"/>
                  </a:lnTo>
                  <a:lnTo>
                    <a:pt x="8740620" y="2738065"/>
                  </a:lnTo>
                  <a:lnTo>
                    <a:pt x="8755366" y="2783244"/>
                  </a:lnTo>
                  <a:lnTo>
                    <a:pt x="8762377" y="2803348"/>
                  </a:lnTo>
                  <a:lnTo>
                    <a:pt x="8771902" y="2823750"/>
                  </a:lnTo>
                  <a:lnTo>
                    <a:pt x="8784378" y="2847169"/>
                  </a:lnTo>
                  <a:lnTo>
                    <a:pt x="8801150" y="2868894"/>
                  </a:lnTo>
                  <a:lnTo>
                    <a:pt x="8814070" y="2891764"/>
                  </a:lnTo>
                  <a:lnTo>
                    <a:pt x="8828859" y="2917822"/>
                  </a:lnTo>
                  <a:lnTo>
                    <a:pt x="8833622" y="2948040"/>
                  </a:lnTo>
                  <a:lnTo>
                    <a:pt x="8849429" y="2974736"/>
                  </a:lnTo>
                  <a:lnTo>
                    <a:pt x="8863034" y="2999215"/>
                  </a:lnTo>
                  <a:lnTo>
                    <a:pt x="8888967" y="3021995"/>
                  </a:lnTo>
                  <a:lnTo>
                    <a:pt x="8921452" y="3044450"/>
                  </a:lnTo>
                  <a:lnTo>
                    <a:pt x="8939119" y="3059425"/>
                  </a:lnTo>
                  <a:lnTo>
                    <a:pt x="8958253" y="3091709"/>
                  </a:lnTo>
                  <a:lnTo>
                    <a:pt x="8974224" y="3118702"/>
                  </a:lnTo>
                  <a:lnTo>
                    <a:pt x="8990936" y="3154492"/>
                  </a:lnTo>
                  <a:lnTo>
                    <a:pt x="8996338" y="3185560"/>
                  </a:lnTo>
                  <a:lnTo>
                    <a:pt x="9000830" y="3211537"/>
                  </a:lnTo>
                  <a:lnTo>
                    <a:pt x="8992369" y="3234745"/>
                  </a:lnTo>
                  <a:lnTo>
                    <a:pt x="9005863" y="3260374"/>
                  </a:lnTo>
                  <a:lnTo>
                    <a:pt x="9030863" y="3307897"/>
                  </a:lnTo>
                  <a:lnTo>
                    <a:pt x="9117183" y="3386705"/>
                  </a:lnTo>
                  <a:lnTo>
                    <a:pt x="9156839" y="3439920"/>
                  </a:lnTo>
                  <a:lnTo>
                    <a:pt x="9187275" y="3480776"/>
                  </a:lnTo>
                  <a:lnTo>
                    <a:pt x="9223831" y="3561702"/>
                  </a:lnTo>
                  <a:lnTo>
                    <a:pt x="9252055" y="3597703"/>
                  </a:lnTo>
                  <a:lnTo>
                    <a:pt x="9383985" y="3769091"/>
                  </a:lnTo>
                  <a:lnTo>
                    <a:pt x="9404437" y="3795188"/>
                  </a:lnTo>
                  <a:lnTo>
                    <a:pt x="9417146" y="3828089"/>
                  </a:lnTo>
                  <a:lnTo>
                    <a:pt x="9437043" y="3854785"/>
                  </a:lnTo>
                  <a:lnTo>
                    <a:pt x="9487579" y="3922619"/>
                  </a:lnTo>
                  <a:lnTo>
                    <a:pt x="9526516" y="3995223"/>
                  </a:lnTo>
                  <a:lnTo>
                    <a:pt x="9571698" y="4066976"/>
                  </a:lnTo>
                  <a:lnTo>
                    <a:pt x="9591694" y="4098810"/>
                  </a:lnTo>
                  <a:lnTo>
                    <a:pt x="9621217" y="4129199"/>
                  </a:lnTo>
                  <a:lnTo>
                    <a:pt x="9643793" y="4159470"/>
                  </a:lnTo>
                  <a:lnTo>
                    <a:pt x="9674135" y="4200212"/>
                  </a:lnTo>
                  <a:lnTo>
                    <a:pt x="9692556" y="4246082"/>
                  </a:lnTo>
                  <a:lnTo>
                    <a:pt x="9711801" y="4292767"/>
                  </a:lnTo>
                  <a:lnTo>
                    <a:pt x="9731043" y="4339453"/>
                  </a:lnTo>
                  <a:lnTo>
                    <a:pt x="9750794" y="4386625"/>
                  </a:lnTo>
                  <a:lnTo>
                    <a:pt x="9781164" y="4427429"/>
                  </a:lnTo>
                  <a:lnTo>
                    <a:pt x="9804964" y="4459306"/>
                  </a:lnTo>
                  <a:lnTo>
                    <a:pt x="9826392" y="4491571"/>
                  </a:lnTo>
                  <a:lnTo>
                    <a:pt x="9858701" y="4515839"/>
                  </a:lnTo>
                  <a:lnTo>
                    <a:pt x="9886327" y="4536541"/>
                  </a:lnTo>
                  <a:lnTo>
                    <a:pt x="9924157" y="4546829"/>
                  </a:lnTo>
                  <a:lnTo>
                    <a:pt x="9943030" y="4578406"/>
                  </a:lnTo>
                  <a:lnTo>
                    <a:pt x="9962545" y="4611142"/>
                  </a:lnTo>
                  <a:lnTo>
                    <a:pt x="9984327" y="4695425"/>
                  </a:lnTo>
                  <a:lnTo>
                    <a:pt x="10004236" y="4717147"/>
                  </a:lnTo>
                  <a:lnTo>
                    <a:pt x="10028969" y="4744181"/>
                  </a:lnTo>
                  <a:lnTo>
                    <a:pt x="10059668" y="4748389"/>
                  </a:lnTo>
                  <a:lnTo>
                    <a:pt x="10092655" y="4759315"/>
                  </a:lnTo>
                  <a:lnTo>
                    <a:pt x="10114418" y="4776998"/>
                  </a:lnTo>
                  <a:lnTo>
                    <a:pt x="10138429" y="4806497"/>
                  </a:lnTo>
                  <a:lnTo>
                    <a:pt x="10145362" y="4847853"/>
                  </a:lnTo>
                  <a:lnTo>
                    <a:pt x="10170185" y="4874930"/>
                  </a:lnTo>
                  <a:lnTo>
                    <a:pt x="10187812" y="4886750"/>
                  </a:lnTo>
                  <a:lnTo>
                    <a:pt x="10225233" y="4912720"/>
                  </a:lnTo>
                  <a:lnTo>
                    <a:pt x="10260431" y="4898184"/>
                  </a:lnTo>
                  <a:lnTo>
                    <a:pt x="10289883" y="4910298"/>
                  </a:lnTo>
                  <a:lnTo>
                    <a:pt x="10305135" y="4930486"/>
                  </a:lnTo>
                  <a:lnTo>
                    <a:pt x="10331884" y="4943366"/>
                  </a:lnTo>
                  <a:lnTo>
                    <a:pt x="10356537" y="4957902"/>
                  </a:lnTo>
                  <a:lnTo>
                    <a:pt x="10381183" y="4972444"/>
                  </a:lnTo>
                  <a:lnTo>
                    <a:pt x="10403498" y="4988892"/>
                  </a:lnTo>
                  <a:lnTo>
                    <a:pt x="10410946" y="5012311"/>
                  </a:lnTo>
                  <a:lnTo>
                    <a:pt x="10418462" y="5036030"/>
                  </a:lnTo>
                  <a:lnTo>
                    <a:pt x="10410484" y="5061743"/>
                  </a:lnTo>
                  <a:lnTo>
                    <a:pt x="10400057" y="5083038"/>
                  </a:lnTo>
                  <a:lnTo>
                    <a:pt x="10388674" y="5105794"/>
                  </a:lnTo>
                  <a:lnTo>
                    <a:pt x="10373131" y="5123907"/>
                  </a:lnTo>
                  <a:lnTo>
                    <a:pt x="10355173" y="5137454"/>
                  </a:lnTo>
                  <a:lnTo>
                    <a:pt x="10337189" y="5150988"/>
                  </a:lnTo>
                  <a:lnTo>
                    <a:pt x="10315879" y="5159527"/>
                  </a:lnTo>
                  <a:lnTo>
                    <a:pt x="10293964" y="5164652"/>
                  </a:lnTo>
                  <a:lnTo>
                    <a:pt x="10272049" y="5169777"/>
                  </a:lnTo>
                  <a:lnTo>
                    <a:pt x="10249120" y="5171234"/>
                  </a:lnTo>
                  <a:lnTo>
                    <a:pt x="10225953" y="5168735"/>
                  </a:lnTo>
                  <a:lnTo>
                    <a:pt x="10202776" y="5166233"/>
                  </a:lnTo>
                  <a:lnTo>
                    <a:pt x="10179695" y="5160364"/>
                  </a:lnTo>
                  <a:lnTo>
                    <a:pt x="10157944" y="5151047"/>
                  </a:lnTo>
                  <a:lnTo>
                    <a:pt x="10138007" y="5142508"/>
                  </a:lnTo>
                  <a:lnTo>
                    <a:pt x="10114418" y="5115684"/>
                  </a:lnTo>
                  <a:lnTo>
                    <a:pt x="10094574" y="5083621"/>
                  </a:lnTo>
                  <a:lnTo>
                    <a:pt x="10077165" y="5049809"/>
                  </a:lnTo>
                  <a:lnTo>
                    <a:pt x="10054571" y="5017749"/>
                  </a:lnTo>
                  <a:lnTo>
                    <a:pt x="10023667" y="4985956"/>
                  </a:lnTo>
                  <a:lnTo>
                    <a:pt x="9998797" y="4974223"/>
                  </a:lnTo>
                  <a:lnTo>
                    <a:pt x="9958356" y="4955139"/>
                  </a:lnTo>
                  <a:lnTo>
                    <a:pt x="9914976" y="4962103"/>
                  </a:lnTo>
                  <a:lnTo>
                    <a:pt x="9873652" y="4947019"/>
                  </a:lnTo>
                  <a:lnTo>
                    <a:pt x="9838243" y="4934095"/>
                  </a:lnTo>
                  <a:lnTo>
                    <a:pt x="9811612" y="4905533"/>
                  </a:lnTo>
                  <a:lnTo>
                    <a:pt x="9778448" y="4889887"/>
                  </a:lnTo>
                  <a:lnTo>
                    <a:pt x="9737046" y="4870335"/>
                  </a:lnTo>
                  <a:lnTo>
                    <a:pt x="9688454" y="4866642"/>
                  </a:lnTo>
                  <a:lnTo>
                    <a:pt x="9639703" y="4842287"/>
                  </a:lnTo>
                  <a:lnTo>
                    <a:pt x="9580779" y="4812782"/>
                  </a:lnTo>
                  <a:lnTo>
                    <a:pt x="9538301" y="4762797"/>
                  </a:lnTo>
                  <a:lnTo>
                    <a:pt x="9484646" y="4726663"/>
                  </a:lnTo>
                  <a:lnTo>
                    <a:pt x="9454486" y="4706385"/>
                  </a:lnTo>
                  <a:lnTo>
                    <a:pt x="9428851" y="4704478"/>
                  </a:lnTo>
                  <a:lnTo>
                    <a:pt x="9407109" y="4711700"/>
                  </a:lnTo>
                  <a:lnTo>
                    <a:pt x="9385371" y="4718927"/>
                  </a:lnTo>
                  <a:lnTo>
                    <a:pt x="9366517" y="4735125"/>
                  </a:lnTo>
                  <a:lnTo>
                    <a:pt x="9348626" y="4749787"/>
                  </a:lnTo>
                  <a:lnTo>
                    <a:pt x="9330699" y="4764453"/>
                  </a:lnTo>
                  <a:lnTo>
                    <a:pt x="9314284" y="4777677"/>
                  </a:lnTo>
                  <a:lnTo>
                    <a:pt x="9276866" y="4781745"/>
                  </a:lnTo>
                  <a:lnTo>
                    <a:pt x="9255748" y="4772288"/>
                  </a:lnTo>
                  <a:lnTo>
                    <a:pt x="9231644" y="4741630"/>
                  </a:lnTo>
                  <a:lnTo>
                    <a:pt x="9211351" y="4720208"/>
                  </a:lnTo>
                  <a:lnTo>
                    <a:pt x="9198669" y="4686752"/>
                  </a:lnTo>
                  <a:lnTo>
                    <a:pt x="9174519" y="4664093"/>
                  </a:lnTo>
                  <a:lnTo>
                    <a:pt x="9131033" y="4623376"/>
                  </a:lnTo>
                  <a:lnTo>
                    <a:pt x="9076243" y="4608419"/>
                  </a:lnTo>
                  <a:lnTo>
                    <a:pt x="9039857" y="4574322"/>
                  </a:lnTo>
                  <a:lnTo>
                    <a:pt x="9020342" y="4556047"/>
                  </a:lnTo>
                  <a:lnTo>
                    <a:pt x="9003131" y="4517197"/>
                  </a:lnTo>
                  <a:lnTo>
                    <a:pt x="9004133" y="4477655"/>
                  </a:lnTo>
                  <a:lnTo>
                    <a:pt x="8995665" y="4445710"/>
                  </a:lnTo>
                  <a:lnTo>
                    <a:pt x="8982726" y="4419262"/>
                  </a:lnTo>
                  <a:lnTo>
                    <a:pt x="8969787" y="4392811"/>
                  </a:lnTo>
                  <a:lnTo>
                    <a:pt x="8952483" y="4371879"/>
                  </a:lnTo>
                  <a:lnTo>
                    <a:pt x="8935126" y="4353973"/>
                  </a:lnTo>
                  <a:lnTo>
                    <a:pt x="8917735" y="4336061"/>
                  </a:lnTo>
                  <a:lnTo>
                    <a:pt x="8899841" y="4320288"/>
                  </a:lnTo>
                  <a:lnTo>
                    <a:pt x="8875182" y="4292442"/>
                  </a:lnTo>
                  <a:lnTo>
                    <a:pt x="8869834" y="4265563"/>
                  </a:lnTo>
                  <a:lnTo>
                    <a:pt x="8885901" y="4227432"/>
                  </a:lnTo>
                  <a:lnTo>
                    <a:pt x="8914891" y="4211960"/>
                  </a:lnTo>
                  <a:lnTo>
                    <a:pt x="8949832" y="4210428"/>
                  </a:lnTo>
                  <a:lnTo>
                    <a:pt x="9002703" y="4192510"/>
                  </a:lnTo>
                  <a:lnTo>
                    <a:pt x="9044673" y="4172120"/>
                  </a:lnTo>
                  <a:lnTo>
                    <a:pt x="9080667" y="4145865"/>
                  </a:lnTo>
                  <a:lnTo>
                    <a:pt x="9116650" y="4119603"/>
                  </a:lnTo>
                  <a:lnTo>
                    <a:pt x="9146617" y="4086417"/>
                  </a:lnTo>
                  <a:lnTo>
                    <a:pt x="9160914" y="4050649"/>
                  </a:lnTo>
                  <a:lnTo>
                    <a:pt x="9172008" y="4022908"/>
                  </a:lnTo>
                  <a:lnTo>
                    <a:pt x="9165893" y="3998819"/>
                  </a:lnTo>
                  <a:lnTo>
                    <a:pt x="9155472" y="3974477"/>
                  </a:lnTo>
                  <a:lnTo>
                    <a:pt x="9145079" y="3950128"/>
                  </a:lnTo>
                  <a:lnTo>
                    <a:pt x="9130243" y="3925661"/>
                  </a:lnTo>
                  <a:lnTo>
                    <a:pt x="9122829" y="3899662"/>
                  </a:lnTo>
                  <a:lnTo>
                    <a:pt x="9122004" y="3848652"/>
                  </a:lnTo>
                  <a:lnTo>
                    <a:pt x="9125573" y="3812610"/>
                  </a:lnTo>
                  <a:lnTo>
                    <a:pt x="9129102" y="3776569"/>
                  </a:lnTo>
                  <a:lnTo>
                    <a:pt x="9131170" y="3736590"/>
                  </a:lnTo>
                  <a:lnTo>
                    <a:pt x="9121483" y="3701079"/>
                  </a:lnTo>
                  <a:lnTo>
                    <a:pt x="9105029" y="3640714"/>
                  </a:lnTo>
                  <a:lnTo>
                    <a:pt x="9076847" y="3584736"/>
                  </a:lnTo>
                  <a:lnTo>
                    <a:pt x="9039870" y="3535130"/>
                  </a:lnTo>
                  <a:lnTo>
                    <a:pt x="9021083" y="3509885"/>
                  </a:lnTo>
                  <a:lnTo>
                    <a:pt x="8988239" y="3487232"/>
                  </a:lnTo>
                  <a:lnTo>
                    <a:pt x="8973223" y="3460319"/>
                  </a:lnTo>
                  <a:lnTo>
                    <a:pt x="8960752" y="3438112"/>
                  </a:lnTo>
                  <a:lnTo>
                    <a:pt x="8963602" y="3411516"/>
                  </a:lnTo>
                  <a:lnTo>
                    <a:pt x="8965059" y="3385511"/>
                  </a:lnTo>
                  <a:lnTo>
                    <a:pt x="8966535" y="3359500"/>
                  </a:lnTo>
                  <a:lnTo>
                    <a:pt x="8967189" y="3334798"/>
                  </a:lnTo>
                  <a:lnTo>
                    <a:pt x="8950095" y="3316138"/>
                  </a:lnTo>
                  <a:lnTo>
                    <a:pt x="8922680" y="3286258"/>
                  </a:lnTo>
                  <a:lnTo>
                    <a:pt x="8875790" y="3271465"/>
                  </a:lnTo>
                  <a:lnTo>
                    <a:pt x="8845361" y="3244050"/>
                  </a:lnTo>
                  <a:lnTo>
                    <a:pt x="8817353" y="3203538"/>
                  </a:lnTo>
                  <a:lnTo>
                    <a:pt x="8776736" y="3161590"/>
                  </a:lnTo>
                  <a:lnTo>
                    <a:pt x="8775951" y="3124807"/>
                  </a:lnTo>
                  <a:lnTo>
                    <a:pt x="8770550" y="3088986"/>
                  </a:lnTo>
                  <a:lnTo>
                    <a:pt x="8763505" y="3054182"/>
                  </a:lnTo>
                  <a:lnTo>
                    <a:pt x="8747646" y="3020417"/>
                  </a:lnTo>
                  <a:lnTo>
                    <a:pt x="8735430" y="3003336"/>
                  </a:lnTo>
                  <a:lnTo>
                    <a:pt x="8716141" y="2988335"/>
                  </a:lnTo>
                  <a:lnTo>
                    <a:pt x="8684016" y="2972547"/>
                  </a:lnTo>
                  <a:lnTo>
                    <a:pt x="8650331" y="2974193"/>
                  </a:lnTo>
                  <a:lnTo>
                    <a:pt x="8615490" y="2985610"/>
                  </a:lnTo>
                  <a:lnTo>
                    <a:pt x="8582462" y="3000263"/>
                  </a:lnTo>
                  <a:lnTo>
                    <a:pt x="8550576" y="3009035"/>
                  </a:lnTo>
                  <a:lnTo>
                    <a:pt x="8521638" y="3004657"/>
                  </a:lnTo>
                  <a:lnTo>
                    <a:pt x="8488800" y="2992323"/>
                  </a:lnTo>
                  <a:lnTo>
                    <a:pt x="8470512" y="2976733"/>
                  </a:lnTo>
                  <a:lnTo>
                    <a:pt x="8447642" y="2942803"/>
                  </a:lnTo>
                  <a:lnTo>
                    <a:pt x="8433225" y="2905363"/>
                  </a:lnTo>
                  <a:lnTo>
                    <a:pt x="8410501" y="2869356"/>
                  </a:lnTo>
                  <a:lnTo>
                    <a:pt x="8384257" y="2852312"/>
                  </a:lnTo>
                  <a:lnTo>
                    <a:pt x="8358011" y="2835272"/>
                  </a:lnTo>
                  <a:lnTo>
                    <a:pt x="8318826" y="2819914"/>
                  </a:lnTo>
                  <a:lnTo>
                    <a:pt x="8256395" y="2807422"/>
                  </a:lnTo>
                  <a:lnTo>
                    <a:pt x="8271743" y="2762668"/>
                  </a:lnTo>
                  <a:lnTo>
                    <a:pt x="8304349" y="2738651"/>
                  </a:lnTo>
                  <a:lnTo>
                    <a:pt x="8332595" y="2713571"/>
                  </a:lnTo>
                  <a:lnTo>
                    <a:pt x="8360141" y="2688115"/>
                  </a:lnTo>
                  <a:lnTo>
                    <a:pt x="8378468" y="2660138"/>
                  </a:lnTo>
                  <a:lnTo>
                    <a:pt x="8382921" y="2629241"/>
                  </a:lnTo>
                  <a:lnTo>
                    <a:pt x="8359778" y="2613518"/>
                  </a:lnTo>
                  <a:lnTo>
                    <a:pt x="8339367" y="2619744"/>
                  </a:lnTo>
                  <a:lnTo>
                    <a:pt x="8320611" y="2631762"/>
                  </a:lnTo>
                  <a:lnTo>
                    <a:pt x="8295314" y="2656920"/>
                  </a:lnTo>
                  <a:lnTo>
                    <a:pt x="8279802" y="2677101"/>
                  </a:lnTo>
                  <a:lnTo>
                    <a:pt x="8226602" y="2704628"/>
                  </a:lnTo>
                  <a:lnTo>
                    <a:pt x="8192300" y="2696508"/>
                  </a:lnTo>
                  <a:lnTo>
                    <a:pt x="8159827" y="2709515"/>
                  </a:lnTo>
                  <a:lnTo>
                    <a:pt x="8133466" y="2732555"/>
                  </a:lnTo>
                  <a:lnTo>
                    <a:pt x="8092309" y="2736065"/>
                  </a:lnTo>
                  <a:lnTo>
                    <a:pt x="8066134" y="2717245"/>
                  </a:lnTo>
                  <a:lnTo>
                    <a:pt x="8036049" y="2698632"/>
                  </a:lnTo>
                  <a:lnTo>
                    <a:pt x="8005961" y="2680022"/>
                  </a:lnTo>
                  <a:lnTo>
                    <a:pt x="7971944" y="2661781"/>
                  </a:lnTo>
                  <a:lnTo>
                    <a:pt x="7935398" y="2663270"/>
                  </a:lnTo>
                  <a:lnTo>
                    <a:pt x="7902838" y="2664538"/>
                  </a:lnTo>
                  <a:lnTo>
                    <a:pt x="7873135" y="2688819"/>
                  </a:lnTo>
                  <a:lnTo>
                    <a:pt x="7841543" y="2695916"/>
                  </a:lnTo>
                  <a:lnTo>
                    <a:pt x="7826223" y="2667756"/>
                  </a:lnTo>
                  <a:lnTo>
                    <a:pt x="7860444" y="2629579"/>
                  </a:lnTo>
                  <a:lnTo>
                    <a:pt x="7897310" y="2589817"/>
                  </a:lnTo>
                  <a:lnTo>
                    <a:pt x="7934170" y="2550055"/>
                  </a:lnTo>
                  <a:lnTo>
                    <a:pt x="7972868" y="2508799"/>
                  </a:lnTo>
                  <a:lnTo>
                    <a:pt x="7985714" y="2481002"/>
                  </a:lnTo>
                  <a:lnTo>
                    <a:pt x="7998020" y="2454482"/>
                  </a:lnTo>
                  <a:lnTo>
                    <a:pt x="7991162" y="2415713"/>
                  </a:lnTo>
                  <a:lnTo>
                    <a:pt x="7974260" y="2380093"/>
                  </a:lnTo>
                  <a:lnTo>
                    <a:pt x="7968041" y="2357220"/>
                  </a:lnTo>
                  <a:lnTo>
                    <a:pt x="7958776" y="2323303"/>
                  </a:lnTo>
                  <a:lnTo>
                    <a:pt x="7962342" y="2283733"/>
                  </a:lnTo>
                  <a:lnTo>
                    <a:pt x="7947630" y="2249763"/>
                  </a:lnTo>
                  <a:lnTo>
                    <a:pt x="7927035" y="2225712"/>
                  </a:lnTo>
                  <a:lnTo>
                    <a:pt x="7895378" y="2213170"/>
                  </a:lnTo>
                  <a:lnTo>
                    <a:pt x="7868748" y="2217126"/>
                  </a:lnTo>
                  <a:lnTo>
                    <a:pt x="7846070" y="2227256"/>
                  </a:lnTo>
                  <a:lnTo>
                    <a:pt x="7816103" y="2253999"/>
                  </a:lnTo>
                  <a:lnTo>
                    <a:pt x="7798882" y="2278444"/>
                  </a:lnTo>
                  <a:lnTo>
                    <a:pt x="7777612" y="2291937"/>
                  </a:lnTo>
                  <a:lnTo>
                    <a:pt x="7758317" y="2304178"/>
                  </a:lnTo>
                  <a:lnTo>
                    <a:pt x="7737273" y="2308684"/>
                  </a:lnTo>
                  <a:lnTo>
                    <a:pt x="7717758" y="2319142"/>
                  </a:lnTo>
                  <a:lnTo>
                    <a:pt x="7693995" y="2331851"/>
                  </a:lnTo>
                  <a:lnTo>
                    <a:pt x="7672577" y="2351403"/>
                  </a:lnTo>
                  <a:lnTo>
                    <a:pt x="7648392" y="2362668"/>
                  </a:lnTo>
                  <a:lnTo>
                    <a:pt x="7619746" y="2368578"/>
                  </a:lnTo>
                  <a:lnTo>
                    <a:pt x="7600786" y="2358588"/>
                  </a:lnTo>
                  <a:lnTo>
                    <a:pt x="7598172" y="2326983"/>
                  </a:lnTo>
                  <a:lnTo>
                    <a:pt x="7606100" y="2303143"/>
                  </a:lnTo>
                  <a:lnTo>
                    <a:pt x="7621175" y="2283774"/>
                  </a:lnTo>
                  <a:lnTo>
                    <a:pt x="7636774" y="2266007"/>
                  </a:lnTo>
                  <a:lnTo>
                    <a:pt x="7656035" y="2252343"/>
                  </a:lnTo>
                  <a:lnTo>
                    <a:pt x="7666068" y="2230726"/>
                  </a:lnTo>
                  <a:lnTo>
                    <a:pt x="7676818" y="2207496"/>
                  </a:lnTo>
                  <a:lnTo>
                    <a:pt x="7676428" y="2181842"/>
                  </a:lnTo>
                  <a:lnTo>
                    <a:pt x="7674226" y="2157276"/>
                  </a:lnTo>
                  <a:lnTo>
                    <a:pt x="7672003" y="2132710"/>
                  </a:lnTo>
                  <a:lnTo>
                    <a:pt x="7668323" y="2108454"/>
                  </a:lnTo>
                  <a:lnTo>
                    <a:pt x="7675578" y="2086545"/>
                  </a:lnTo>
                  <a:lnTo>
                    <a:pt x="7726508" y="2042157"/>
                  </a:lnTo>
                  <a:lnTo>
                    <a:pt x="7776235" y="2013099"/>
                  </a:lnTo>
                  <a:lnTo>
                    <a:pt x="7825935" y="1984037"/>
                  </a:lnTo>
                  <a:lnTo>
                    <a:pt x="7879801" y="1956113"/>
                  </a:lnTo>
                  <a:lnTo>
                    <a:pt x="7912255" y="1957331"/>
                  </a:lnTo>
                  <a:lnTo>
                    <a:pt x="7923445" y="1975312"/>
                  </a:lnTo>
                  <a:lnTo>
                    <a:pt x="7931215" y="2002687"/>
                  </a:lnTo>
                  <a:lnTo>
                    <a:pt x="7951698" y="2011734"/>
                  </a:lnTo>
                  <a:lnTo>
                    <a:pt x="7970726" y="1987299"/>
                  </a:lnTo>
                  <a:lnTo>
                    <a:pt x="7978955" y="1946405"/>
                  </a:lnTo>
                  <a:lnTo>
                    <a:pt x="7980610" y="1921126"/>
                  </a:lnTo>
                  <a:lnTo>
                    <a:pt x="7978908" y="1896120"/>
                  </a:lnTo>
                  <a:lnTo>
                    <a:pt x="7975513" y="1846110"/>
                  </a:lnTo>
                  <a:lnTo>
                    <a:pt x="7961843" y="1795189"/>
                  </a:lnTo>
                  <a:lnTo>
                    <a:pt x="7943540" y="1775063"/>
                  </a:lnTo>
                  <a:lnTo>
                    <a:pt x="7902144" y="1807880"/>
                  </a:lnTo>
                  <a:lnTo>
                    <a:pt x="7897719" y="1848814"/>
                  </a:lnTo>
                  <a:lnTo>
                    <a:pt x="7870093" y="1877079"/>
                  </a:lnTo>
                  <a:lnTo>
                    <a:pt x="7852175" y="1895400"/>
                  </a:lnTo>
                  <a:lnTo>
                    <a:pt x="7800590" y="1915700"/>
                  </a:lnTo>
                  <a:lnTo>
                    <a:pt x="7746315" y="1934204"/>
                  </a:lnTo>
                  <a:lnTo>
                    <a:pt x="7692070" y="1952708"/>
                  </a:lnTo>
                  <a:lnTo>
                    <a:pt x="7635376" y="1969507"/>
                  </a:lnTo>
                  <a:lnTo>
                    <a:pt x="7606212" y="1980456"/>
                  </a:lnTo>
                  <a:lnTo>
                    <a:pt x="7582080" y="1989317"/>
                  </a:lnTo>
                  <a:lnTo>
                    <a:pt x="7551803" y="2010376"/>
                  </a:lnTo>
                  <a:lnTo>
                    <a:pt x="7529376" y="2035277"/>
                  </a:lnTo>
                  <a:lnTo>
                    <a:pt x="7506887" y="2074834"/>
                  </a:lnTo>
                  <a:lnTo>
                    <a:pt x="7498311" y="2103357"/>
                  </a:lnTo>
                  <a:lnTo>
                    <a:pt x="7472914" y="2132797"/>
                  </a:lnTo>
                  <a:lnTo>
                    <a:pt x="7437165" y="2174239"/>
                  </a:lnTo>
                  <a:lnTo>
                    <a:pt x="7340972" y="2236040"/>
                  </a:lnTo>
                  <a:lnTo>
                    <a:pt x="7321931" y="2266094"/>
                  </a:lnTo>
                  <a:lnTo>
                    <a:pt x="7304680" y="2302265"/>
                  </a:lnTo>
                  <a:lnTo>
                    <a:pt x="7266508" y="2333169"/>
                  </a:lnTo>
                  <a:lnTo>
                    <a:pt x="7235434" y="2314209"/>
                  </a:lnTo>
                  <a:lnTo>
                    <a:pt x="7206317" y="2327306"/>
                  </a:lnTo>
                  <a:lnTo>
                    <a:pt x="7184982" y="2336908"/>
                  </a:lnTo>
                  <a:lnTo>
                    <a:pt x="7165507" y="2365393"/>
                  </a:lnTo>
                  <a:lnTo>
                    <a:pt x="7150525" y="2392148"/>
                  </a:lnTo>
                  <a:lnTo>
                    <a:pt x="7105479" y="2420776"/>
                  </a:lnTo>
                  <a:lnTo>
                    <a:pt x="7069320" y="2416866"/>
                  </a:lnTo>
                  <a:lnTo>
                    <a:pt x="7034935" y="2426599"/>
                  </a:lnTo>
                  <a:lnTo>
                    <a:pt x="7013718" y="2432549"/>
                  </a:lnTo>
                  <a:lnTo>
                    <a:pt x="6996903" y="2447847"/>
                  </a:lnTo>
                  <a:lnTo>
                    <a:pt x="6976445" y="2453803"/>
                  </a:lnTo>
                  <a:lnTo>
                    <a:pt x="6951411" y="2457456"/>
                  </a:lnTo>
                  <a:lnTo>
                    <a:pt x="6932919" y="2438840"/>
                  </a:lnTo>
                  <a:lnTo>
                    <a:pt x="6939493" y="2413378"/>
                  </a:lnTo>
                  <a:lnTo>
                    <a:pt x="6965305" y="2398545"/>
                  </a:lnTo>
                  <a:lnTo>
                    <a:pt x="6980994" y="2375331"/>
                  </a:lnTo>
                  <a:lnTo>
                    <a:pt x="6999566" y="2365387"/>
                  </a:lnTo>
                  <a:lnTo>
                    <a:pt x="7042705" y="2342278"/>
                  </a:lnTo>
                  <a:lnTo>
                    <a:pt x="7067165" y="2325256"/>
                  </a:lnTo>
                  <a:lnTo>
                    <a:pt x="7095192" y="2296706"/>
                  </a:lnTo>
                  <a:lnTo>
                    <a:pt x="7098860" y="2274258"/>
                  </a:lnTo>
                  <a:lnTo>
                    <a:pt x="7095899" y="2252752"/>
                  </a:lnTo>
                  <a:lnTo>
                    <a:pt x="7099117" y="2225027"/>
                  </a:lnTo>
                  <a:lnTo>
                    <a:pt x="7123354" y="2185838"/>
                  </a:lnTo>
                  <a:lnTo>
                    <a:pt x="7156220" y="2145841"/>
                  </a:lnTo>
                  <a:lnTo>
                    <a:pt x="7203858" y="2124211"/>
                  </a:lnTo>
                  <a:lnTo>
                    <a:pt x="7230802" y="2077023"/>
                  </a:lnTo>
                  <a:lnTo>
                    <a:pt x="7241304" y="2058665"/>
                  </a:lnTo>
                  <a:lnTo>
                    <a:pt x="7238969" y="2018540"/>
                  </a:lnTo>
                  <a:lnTo>
                    <a:pt x="7238011" y="1977817"/>
                  </a:lnTo>
                  <a:lnTo>
                    <a:pt x="7249849" y="1960051"/>
                  </a:lnTo>
                  <a:lnTo>
                    <a:pt x="7276539" y="1936861"/>
                  </a:lnTo>
                  <a:lnTo>
                    <a:pt x="7315659" y="1926105"/>
                  </a:lnTo>
                  <a:lnTo>
                    <a:pt x="7338662" y="1922921"/>
                  </a:lnTo>
                  <a:lnTo>
                    <a:pt x="7361383" y="1917883"/>
                  </a:lnTo>
                  <a:lnTo>
                    <a:pt x="7384107" y="1912844"/>
                  </a:lnTo>
                  <a:lnTo>
                    <a:pt x="7406869" y="1906525"/>
                  </a:lnTo>
                  <a:lnTo>
                    <a:pt x="7426672" y="1892036"/>
                  </a:lnTo>
                  <a:lnTo>
                    <a:pt x="7446476" y="1877553"/>
                  </a:lnTo>
                  <a:lnTo>
                    <a:pt x="7463485" y="1855024"/>
                  </a:lnTo>
                  <a:lnTo>
                    <a:pt x="7474282" y="1821306"/>
                  </a:lnTo>
                  <a:lnTo>
                    <a:pt x="7480784" y="1801080"/>
                  </a:lnTo>
                  <a:lnTo>
                    <a:pt x="7475851" y="1780629"/>
                  </a:lnTo>
                  <a:lnTo>
                    <a:pt x="7494395" y="1745518"/>
                  </a:lnTo>
                  <a:lnTo>
                    <a:pt x="7513337" y="1726394"/>
                  </a:lnTo>
                  <a:lnTo>
                    <a:pt x="7523255" y="1707049"/>
                  </a:lnTo>
                  <a:lnTo>
                    <a:pt x="7546711" y="1654990"/>
                  </a:lnTo>
                  <a:lnTo>
                    <a:pt x="7554540" y="1619997"/>
                  </a:lnTo>
                  <a:lnTo>
                    <a:pt x="7560996" y="1585599"/>
                  </a:lnTo>
                  <a:lnTo>
                    <a:pt x="7558980" y="1556469"/>
                  </a:lnTo>
                  <a:lnTo>
                    <a:pt x="7545018" y="1538383"/>
                  </a:lnTo>
                  <a:lnTo>
                    <a:pt x="7514782" y="1516537"/>
                  </a:lnTo>
                  <a:lnTo>
                    <a:pt x="7474886" y="1510165"/>
                  </a:lnTo>
                  <a:lnTo>
                    <a:pt x="7448448" y="1481261"/>
                  </a:lnTo>
                  <a:lnTo>
                    <a:pt x="7419668" y="1475352"/>
                  </a:lnTo>
                  <a:lnTo>
                    <a:pt x="7391019" y="1470465"/>
                  </a:lnTo>
                  <a:lnTo>
                    <a:pt x="7364112" y="1458137"/>
                  </a:lnTo>
                  <a:lnTo>
                    <a:pt x="7320970" y="1434002"/>
                  </a:lnTo>
                  <a:lnTo>
                    <a:pt x="7293381" y="1421411"/>
                  </a:lnTo>
                  <a:lnTo>
                    <a:pt x="7265789" y="1408822"/>
                  </a:lnTo>
                  <a:lnTo>
                    <a:pt x="7239167" y="1400795"/>
                  </a:lnTo>
                  <a:lnTo>
                    <a:pt x="7226756" y="1428210"/>
                  </a:lnTo>
                  <a:lnTo>
                    <a:pt x="7245027" y="1455883"/>
                  </a:lnTo>
                  <a:lnTo>
                    <a:pt x="7275168" y="1494305"/>
                  </a:lnTo>
                  <a:lnTo>
                    <a:pt x="7308137" y="1531435"/>
                  </a:lnTo>
                  <a:lnTo>
                    <a:pt x="7327407" y="1569671"/>
                  </a:lnTo>
                  <a:lnTo>
                    <a:pt x="7337053" y="1588790"/>
                  </a:lnTo>
                  <a:lnTo>
                    <a:pt x="7342370" y="1625439"/>
                  </a:lnTo>
                  <a:lnTo>
                    <a:pt x="7334712" y="1662165"/>
                  </a:lnTo>
                  <a:lnTo>
                    <a:pt x="7316518" y="1677128"/>
                  </a:lnTo>
                  <a:lnTo>
                    <a:pt x="7270319" y="1676741"/>
                  </a:lnTo>
                  <a:lnTo>
                    <a:pt x="7249322" y="1655399"/>
                  </a:lnTo>
                  <a:lnTo>
                    <a:pt x="7218583" y="1658081"/>
                  </a:lnTo>
                  <a:lnTo>
                    <a:pt x="7182820" y="1680275"/>
                  </a:lnTo>
                  <a:lnTo>
                    <a:pt x="7168263" y="1708407"/>
                  </a:lnTo>
                  <a:lnTo>
                    <a:pt x="7153703" y="1736542"/>
                  </a:lnTo>
                  <a:lnTo>
                    <a:pt x="7139670" y="1771740"/>
                  </a:lnTo>
                  <a:lnTo>
                    <a:pt x="7126095" y="1804984"/>
                  </a:lnTo>
                  <a:lnTo>
                    <a:pt x="7112552" y="1838222"/>
                  </a:lnTo>
                  <a:lnTo>
                    <a:pt x="7099474" y="1869588"/>
                  </a:lnTo>
                  <a:lnTo>
                    <a:pt x="7082563" y="1886588"/>
                  </a:lnTo>
                  <a:lnTo>
                    <a:pt x="7064099" y="1899754"/>
                  </a:lnTo>
                  <a:lnTo>
                    <a:pt x="7033636" y="1896870"/>
                  </a:lnTo>
                  <a:lnTo>
                    <a:pt x="7007079" y="1862280"/>
                  </a:lnTo>
                  <a:lnTo>
                    <a:pt x="6984966" y="1827913"/>
                  </a:lnTo>
                  <a:lnTo>
                    <a:pt x="6969671" y="1792737"/>
                  </a:lnTo>
                  <a:lnTo>
                    <a:pt x="6956186" y="1756841"/>
                  </a:lnTo>
                  <a:lnTo>
                    <a:pt x="6950521" y="1722540"/>
                  </a:lnTo>
                  <a:lnTo>
                    <a:pt x="6956047" y="1692079"/>
                  </a:lnTo>
                  <a:lnTo>
                    <a:pt x="6965531" y="1666155"/>
                  </a:lnTo>
                  <a:lnTo>
                    <a:pt x="6998683" y="1662370"/>
                  </a:lnTo>
                  <a:lnTo>
                    <a:pt x="7013178" y="1634954"/>
                  </a:lnTo>
                  <a:lnTo>
                    <a:pt x="6999408" y="1601418"/>
                  </a:lnTo>
                  <a:lnTo>
                    <a:pt x="6972836" y="1590966"/>
                  </a:lnTo>
                  <a:lnTo>
                    <a:pt x="6945164" y="1587351"/>
                  </a:lnTo>
                  <a:lnTo>
                    <a:pt x="6895616" y="1607756"/>
                  </a:lnTo>
                  <a:lnTo>
                    <a:pt x="6870945" y="1619278"/>
                  </a:lnTo>
                  <a:lnTo>
                    <a:pt x="6848676" y="1624462"/>
                  </a:lnTo>
                  <a:lnTo>
                    <a:pt x="6821087" y="1654600"/>
                  </a:lnTo>
                  <a:lnTo>
                    <a:pt x="6814499" y="1687580"/>
                  </a:lnTo>
                  <a:lnTo>
                    <a:pt x="6809144" y="1712491"/>
                  </a:lnTo>
                  <a:lnTo>
                    <a:pt x="6802689" y="1742588"/>
                  </a:lnTo>
                  <a:lnTo>
                    <a:pt x="6795548" y="1769833"/>
                  </a:lnTo>
                  <a:lnTo>
                    <a:pt x="6795548" y="1800901"/>
                  </a:lnTo>
                  <a:lnTo>
                    <a:pt x="6795548" y="1824853"/>
                  </a:lnTo>
                  <a:lnTo>
                    <a:pt x="6801799" y="1859424"/>
                  </a:lnTo>
                  <a:lnTo>
                    <a:pt x="6805064" y="1892036"/>
                  </a:lnTo>
                  <a:lnTo>
                    <a:pt x="6808375" y="1924648"/>
                  </a:lnTo>
                  <a:lnTo>
                    <a:pt x="6809727" y="1956541"/>
                  </a:lnTo>
                  <a:lnTo>
                    <a:pt x="6799622" y="1976372"/>
                  </a:lnTo>
                  <a:lnTo>
                    <a:pt x="6777227" y="1983593"/>
                  </a:lnTo>
                  <a:lnTo>
                    <a:pt x="6756406" y="1970310"/>
                  </a:lnTo>
                  <a:lnTo>
                    <a:pt x="6747938" y="1942362"/>
                  </a:lnTo>
                  <a:lnTo>
                    <a:pt x="6747938" y="1913232"/>
                  </a:lnTo>
                  <a:lnTo>
                    <a:pt x="6755820" y="1865973"/>
                  </a:lnTo>
                  <a:lnTo>
                    <a:pt x="6765261" y="1833277"/>
                  </a:lnTo>
                  <a:lnTo>
                    <a:pt x="6760158" y="1804984"/>
                  </a:lnTo>
                  <a:lnTo>
                    <a:pt x="6720464" y="1814680"/>
                  </a:lnTo>
                  <a:lnTo>
                    <a:pt x="6704050" y="1857269"/>
                  </a:lnTo>
                  <a:lnTo>
                    <a:pt x="6690785" y="1877079"/>
                  </a:lnTo>
                  <a:lnTo>
                    <a:pt x="6664948" y="1878431"/>
                  </a:lnTo>
                  <a:lnTo>
                    <a:pt x="6673931" y="1843221"/>
                  </a:lnTo>
                  <a:lnTo>
                    <a:pt x="6680405" y="1802116"/>
                  </a:lnTo>
                  <a:lnTo>
                    <a:pt x="6669022" y="1772338"/>
                  </a:lnTo>
                  <a:lnTo>
                    <a:pt x="6643362" y="1800770"/>
                  </a:lnTo>
                  <a:lnTo>
                    <a:pt x="6630938" y="1818590"/>
                  </a:lnTo>
                  <a:lnTo>
                    <a:pt x="6618551" y="1836402"/>
                  </a:lnTo>
                  <a:lnTo>
                    <a:pt x="6604598" y="1852125"/>
                  </a:lnTo>
                  <a:lnTo>
                    <a:pt x="6576535" y="1840353"/>
                  </a:lnTo>
                  <a:lnTo>
                    <a:pt x="6587412" y="1809706"/>
                  </a:lnTo>
                  <a:lnTo>
                    <a:pt x="6621884" y="1763160"/>
                  </a:lnTo>
                  <a:lnTo>
                    <a:pt x="6629493" y="1712109"/>
                  </a:lnTo>
                  <a:lnTo>
                    <a:pt x="6635028" y="1671687"/>
                  </a:lnTo>
                  <a:lnTo>
                    <a:pt x="6654065" y="1644476"/>
                  </a:lnTo>
                  <a:lnTo>
                    <a:pt x="6696742" y="1636129"/>
                  </a:lnTo>
                  <a:lnTo>
                    <a:pt x="6723431" y="1628155"/>
                  </a:lnTo>
                  <a:lnTo>
                    <a:pt x="6742602" y="1606035"/>
                  </a:lnTo>
                  <a:lnTo>
                    <a:pt x="6752000" y="1581912"/>
                  </a:lnTo>
                  <a:lnTo>
                    <a:pt x="6772932" y="1544439"/>
                  </a:lnTo>
                  <a:lnTo>
                    <a:pt x="6780569" y="1524778"/>
                  </a:lnTo>
                  <a:lnTo>
                    <a:pt x="6786004" y="1494857"/>
                  </a:lnTo>
                  <a:lnTo>
                    <a:pt x="6779843" y="1474211"/>
                  </a:lnTo>
                  <a:lnTo>
                    <a:pt x="6745154" y="1438005"/>
                  </a:lnTo>
                  <a:lnTo>
                    <a:pt x="6706304" y="1420744"/>
                  </a:lnTo>
                  <a:lnTo>
                    <a:pt x="6670390" y="1403725"/>
                  </a:lnTo>
                  <a:lnTo>
                    <a:pt x="6634472" y="1386703"/>
                  </a:lnTo>
                  <a:lnTo>
                    <a:pt x="6601526" y="1370313"/>
                  </a:lnTo>
                  <a:lnTo>
                    <a:pt x="6584696" y="1345239"/>
                  </a:lnTo>
                  <a:lnTo>
                    <a:pt x="6596419" y="1314651"/>
                  </a:lnTo>
                  <a:lnTo>
                    <a:pt x="6625496" y="1312596"/>
                  </a:lnTo>
                  <a:lnTo>
                    <a:pt x="6655584" y="1311777"/>
                  </a:lnTo>
                  <a:lnTo>
                    <a:pt x="6671503" y="1288920"/>
                  </a:lnTo>
                  <a:lnTo>
                    <a:pt x="6656791" y="1266344"/>
                  </a:lnTo>
                  <a:lnTo>
                    <a:pt x="6639669" y="1243924"/>
                  </a:lnTo>
                  <a:lnTo>
                    <a:pt x="6622523" y="1207089"/>
                  </a:lnTo>
                  <a:lnTo>
                    <a:pt x="6606852" y="1171727"/>
                  </a:lnTo>
                  <a:lnTo>
                    <a:pt x="6586060" y="1145288"/>
                  </a:lnTo>
                  <a:lnTo>
                    <a:pt x="6564198" y="1121739"/>
                  </a:lnTo>
                  <a:lnTo>
                    <a:pt x="6537185" y="1108983"/>
                  </a:lnTo>
                  <a:lnTo>
                    <a:pt x="6504440" y="1112639"/>
                  </a:lnTo>
                  <a:lnTo>
                    <a:pt x="6484782" y="1128365"/>
                  </a:lnTo>
                  <a:lnTo>
                    <a:pt x="6479242" y="1153328"/>
                  </a:lnTo>
                  <a:lnTo>
                    <a:pt x="6475884" y="1179286"/>
                  </a:lnTo>
                  <a:lnTo>
                    <a:pt x="6472489" y="1205250"/>
                  </a:lnTo>
                  <a:lnTo>
                    <a:pt x="6471915" y="1232163"/>
                  </a:lnTo>
                  <a:lnTo>
                    <a:pt x="6460914" y="1251375"/>
                  </a:lnTo>
                  <a:lnTo>
                    <a:pt x="6440280" y="1269702"/>
                  </a:lnTo>
                  <a:lnTo>
                    <a:pt x="6410827" y="1271141"/>
                  </a:lnTo>
                  <a:lnTo>
                    <a:pt x="6377946" y="1259538"/>
                  </a:lnTo>
                  <a:lnTo>
                    <a:pt x="6344475" y="1245366"/>
                  </a:lnTo>
                  <a:lnTo>
                    <a:pt x="6312160" y="1221221"/>
                  </a:lnTo>
                  <a:lnTo>
                    <a:pt x="6293476" y="1189850"/>
                  </a:lnTo>
                  <a:lnTo>
                    <a:pt x="6293610" y="1156165"/>
                  </a:lnTo>
                  <a:lnTo>
                    <a:pt x="6300592" y="1122570"/>
                  </a:lnTo>
                  <a:lnTo>
                    <a:pt x="6311119" y="1086383"/>
                  </a:lnTo>
                  <a:lnTo>
                    <a:pt x="6318101" y="1050072"/>
                  </a:lnTo>
                  <a:lnTo>
                    <a:pt x="6318563" y="1015237"/>
                  </a:lnTo>
                  <a:lnTo>
                    <a:pt x="6296332" y="990225"/>
                  </a:lnTo>
                  <a:lnTo>
                    <a:pt x="6273462" y="998506"/>
                  </a:lnTo>
                  <a:lnTo>
                    <a:pt x="6224513" y="1113191"/>
                  </a:lnTo>
                  <a:lnTo>
                    <a:pt x="6214721" y="1134402"/>
                  </a:lnTo>
                  <a:lnTo>
                    <a:pt x="6203007" y="1159625"/>
                  </a:lnTo>
                  <a:lnTo>
                    <a:pt x="6187523" y="1188808"/>
                  </a:lnTo>
                  <a:lnTo>
                    <a:pt x="6164473" y="1214205"/>
                  </a:lnTo>
                  <a:lnTo>
                    <a:pt x="6137191" y="1226895"/>
                  </a:lnTo>
                  <a:lnTo>
                    <a:pt x="6109385" y="1222431"/>
                  </a:lnTo>
                  <a:lnTo>
                    <a:pt x="6083443" y="1203877"/>
                  </a:lnTo>
                  <a:lnTo>
                    <a:pt x="6086859" y="1175202"/>
                  </a:lnTo>
                  <a:lnTo>
                    <a:pt x="6100933" y="1145521"/>
                  </a:lnTo>
                  <a:lnTo>
                    <a:pt x="6119040" y="1117842"/>
                  </a:lnTo>
                  <a:lnTo>
                    <a:pt x="6129034" y="1092234"/>
                  </a:lnTo>
                  <a:lnTo>
                    <a:pt x="6124218" y="1066434"/>
                  </a:lnTo>
                  <a:lnTo>
                    <a:pt x="6104545" y="1054146"/>
                  </a:lnTo>
                  <a:lnTo>
                    <a:pt x="6083588" y="1053132"/>
                  </a:lnTo>
                  <a:lnTo>
                    <a:pt x="5855937" y="1018958"/>
                  </a:lnTo>
                  <a:lnTo>
                    <a:pt x="5834286" y="1007138"/>
                  </a:lnTo>
                  <a:lnTo>
                    <a:pt x="5817087" y="986476"/>
                  </a:lnTo>
                  <a:lnTo>
                    <a:pt x="5798496" y="969820"/>
                  </a:lnTo>
                  <a:lnTo>
                    <a:pt x="5779945" y="953154"/>
                  </a:lnTo>
                  <a:lnTo>
                    <a:pt x="5760219" y="939719"/>
                  </a:lnTo>
                  <a:lnTo>
                    <a:pt x="5730490" y="943973"/>
                  </a:lnTo>
                  <a:lnTo>
                    <a:pt x="5718249" y="975258"/>
                  </a:lnTo>
                  <a:lnTo>
                    <a:pt x="5731849" y="992941"/>
                  </a:lnTo>
                  <a:lnTo>
                    <a:pt x="5750511" y="1013299"/>
                  </a:lnTo>
                  <a:lnTo>
                    <a:pt x="5772953" y="1029965"/>
                  </a:lnTo>
                  <a:lnTo>
                    <a:pt x="5788980" y="1052788"/>
                  </a:lnTo>
                  <a:lnTo>
                    <a:pt x="5804861" y="1082715"/>
                  </a:lnTo>
                  <a:lnTo>
                    <a:pt x="5822553" y="1102094"/>
                  </a:lnTo>
                  <a:lnTo>
                    <a:pt x="5844753" y="1112639"/>
                  </a:lnTo>
                  <a:lnTo>
                    <a:pt x="5875446" y="1122840"/>
                  </a:lnTo>
                  <a:lnTo>
                    <a:pt x="5989985" y="1200627"/>
                  </a:lnTo>
                  <a:lnTo>
                    <a:pt x="6006610" y="1226895"/>
                  </a:lnTo>
                  <a:lnTo>
                    <a:pt x="6028178" y="1305117"/>
                  </a:lnTo>
                  <a:lnTo>
                    <a:pt x="6033815" y="1365631"/>
                  </a:lnTo>
                  <a:lnTo>
                    <a:pt x="6039455" y="1426151"/>
                  </a:lnTo>
                  <a:lnTo>
                    <a:pt x="6040701" y="1486523"/>
                  </a:lnTo>
                  <a:lnTo>
                    <a:pt x="6014954" y="1525162"/>
                  </a:lnTo>
                  <a:lnTo>
                    <a:pt x="5982763" y="1534911"/>
                  </a:lnTo>
                  <a:lnTo>
                    <a:pt x="5949472" y="1542461"/>
                  </a:lnTo>
                  <a:lnTo>
                    <a:pt x="5916175" y="1550004"/>
                  </a:lnTo>
                  <a:lnTo>
                    <a:pt x="5881356" y="1554720"/>
                  </a:lnTo>
                  <a:lnTo>
                    <a:pt x="5859698" y="1565582"/>
                  </a:lnTo>
                  <a:lnTo>
                    <a:pt x="5837340" y="1558869"/>
                  </a:lnTo>
                  <a:lnTo>
                    <a:pt x="5810504" y="1544755"/>
                  </a:lnTo>
                  <a:lnTo>
                    <a:pt x="5780295" y="1501592"/>
                  </a:lnTo>
                  <a:lnTo>
                    <a:pt x="5756321" y="1456767"/>
                  </a:lnTo>
                  <a:lnTo>
                    <a:pt x="5732357" y="1411941"/>
                  </a:lnTo>
                  <a:lnTo>
                    <a:pt x="5714076" y="1365678"/>
                  </a:lnTo>
                  <a:lnTo>
                    <a:pt x="5740000" y="1343868"/>
                  </a:lnTo>
                  <a:lnTo>
                    <a:pt x="5773443" y="1361079"/>
                  </a:lnTo>
                  <a:lnTo>
                    <a:pt x="5807190" y="1378347"/>
                  </a:lnTo>
                  <a:lnTo>
                    <a:pt x="5843373" y="1373789"/>
                  </a:lnTo>
                  <a:lnTo>
                    <a:pt x="5861186" y="1359123"/>
                  </a:lnTo>
                  <a:lnTo>
                    <a:pt x="5908876" y="1285636"/>
                  </a:lnTo>
                  <a:lnTo>
                    <a:pt x="5907298" y="1263616"/>
                  </a:lnTo>
                  <a:lnTo>
                    <a:pt x="5860483" y="1226743"/>
                  </a:lnTo>
                  <a:lnTo>
                    <a:pt x="5807044" y="1179965"/>
                  </a:lnTo>
                  <a:lnTo>
                    <a:pt x="5754957" y="1130312"/>
                  </a:lnTo>
                  <a:lnTo>
                    <a:pt x="5702917" y="1080659"/>
                  </a:lnTo>
                  <a:lnTo>
                    <a:pt x="5651897" y="1029146"/>
                  </a:lnTo>
                  <a:lnTo>
                    <a:pt x="5616225" y="997015"/>
                  </a:lnTo>
                  <a:lnTo>
                    <a:pt x="5587070" y="970787"/>
                  </a:lnTo>
                  <a:lnTo>
                    <a:pt x="5550846" y="947836"/>
                  </a:lnTo>
                  <a:lnTo>
                    <a:pt x="5526450" y="916762"/>
                  </a:lnTo>
                  <a:lnTo>
                    <a:pt x="5499568" y="882417"/>
                  </a:lnTo>
                  <a:lnTo>
                    <a:pt x="5474146" y="841964"/>
                  </a:lnTo>
                  <a:lnTo>
                    <a:pt x="5446198" y="805222"/>
                  </a:lnTo>
                  <a:lnTo>
                    <a:pt x="5418252" y="768489"/>
                  </a:lnTo>
                  <a:lnTo>
                    <a:pt x="5387411" y="735006"/>
                  </a:lnTo>
                  <a:lnTo>
                    <a:pt x="5348263" y="712728"/>
                  </a:lnTo>
                  <a:lnTo>
                    <a:pt x="5324435" y="699197"/>
                  </a:lnTo>
                  <a:lnTo>
                    <a:pt x="5254675" y="693164"/>
                  </a:lnTo>
                  <a:lnTo>
                    <a:pt x="5195918" y="703213"/>
                  </a:lnTo>
                  <a:lnTo>
                    <a:pt x="5166547" y="708239"/>
                  </a:lnTo>
                  <a:lnTo>
                    <a:pt x="5140365" y="717128"/>
                  </a:lnTo>
                  <a:lnTo>
                    <a:pt x="5123824" y="731775"/>
                  </a:lnTo>
                  <a:lnTo>
                    <a:pt x="5109868" y="747424"/>
                  </a:lnTo>
                  <a:lnTo>
                    <a:pt x="5106243" y="779608"/>
                  </a:lnTo>
                  <a:lnTo>
                    <a:pt x="5118732" y="810849"/>
                  </a:lnTo>
                  <a:lnTo>
                    <a:pt x="5149683" y="826991"/>
                  </a:lnTo>
                  <a:lnTo>
                    <a:pt x="5189820" y="834082"/>
                  </a:lnTo>
                  <a:lnTo>
                    <a:pt x="5210891" y="835152"/>
                  </a:lnTo>
                  <a:lnTo>
                    <a:pt x="5231988" y="836218"/>
                  </a:lnTo>
                  <a:lnTo>
                    <a:pt x="5269381" y="840590"/>
                  </a:lnTo>
                  <a:lnTo>
                    <a:pt x="5299980" y="849799"/>
                  </a:lnTo>
                  <a:lnTo>
                    <a:pt x="5307412" y="880451"/>
                  </a:lnTo>
                  <a:lnTo>
                    <a:pt x="5293860" y="901799"/>
                  </a:lnTo>
                  <a:lnTo>
                    <a:pt x="5271768" y="916201"/>
                  </a:lnTo>
                  <a:lnTo>
                    <a:pt x="5247974" y="928204"/>
                  </a:lnTo>
                  <a:lnTo>
                    <a:pt x="5228571" y="943967"/>
                  </a:lnTo>
                  <a:lnTo>
                    <a:pt x="5218143" y="966561"/>
                  </a:lnTo>
                  <a:lnTo>
                    <a:pt x="5241240" y="1018905"/>
                  </a:lnTo>
                  <a:lnTo>
                    <a:pt x="5281740" y="1043812"/>
                  </a:lnTo>
                  <a:lnTo>
                    <a:pt x="5292502" y="1079987"/>
                  </a:lnTo>
                  <a:lnTo>
                    <a:pt x="5287054" y="1101750"/>
                  </a:lnTo>
                  <a:lnTo>
                    <a:pt x="5263347" y="1128780"/>
                  </a:lnTo>
                  <a:lnTo>
                    <a:pt x="5224949" y="1153433"/>
                  </a:lnTo>
                  <a:lnTo>
                    <a:pt x="5203555" y="1152571"/>
                  </a:lnTo>
                  <a:lnTo>
                    <a:pt x="5185045" y="1142559"/>
                  </a:lnTo>
                  <a:lnTo>
                    <a:pt x="5166540" y="1132541"/>
                  </a:lnTo>
                  <a:lnTo>
                    <a:pt x="5150699" y="1112676"/>
                  </a:lnTo>
                  <a:lnTo>
                    <a:pt x="5137441" y="1089508"/>
                  </a:lnTo>
                  <a:lnTo>
                    <a:pt x="5110872" y="1043167"/>
                  </a:lnTo>
                  <a:lnTo>
                    <a:pt x="5093205" y="984309"/>
                  </a:lnTo>
                  <a:lnTo>
                    <a:pt x="5077594" y="964372"/>
                  </a:lnTo>
                  <a:lnTo>
                    <a:pt x="5049196" y="939759"/>
                  </a:lnTo>
                  <a:lnTo>
                    <a:pt x="5007397" y="947942"/>
                  </a:lnTo>
                  <a:lnTo>
                    <a:pt x="4995974" y="982051"/>
                  </a:lnTo>
                  <a:lnTo>
                    <a:pt x="4988793" y="1014552"/>
                  </a:lnTo>
                  <a:lnTo>
                    <a:pt x="4943013" y="1037943"/>
                  </a:lnTo>
                  <a:lnTo>
                    <a:pt x="4907564" y="1043260"/>
                  </a:lnTo>
                  <a:lnTo>
                    <a:pt x="4890734" y="1058177"/>
                  </a:lnTo>
                  <a:lnTo>
                    <a:pt x="4868121" y="1066387"/>
                  </a:lnTo>
                  <a:lnTo>
                    <a:pt x="4862764" y="1036163"/>
                  </a:lnTo>
                  <a:lnTo>
                    <a:pt x="4875600" y="1009209"/>
                  </a:lnTo>
                  <a:lnTo>
                    <a:pt x="4851797" y="965730"/>
                  </a:lnTo>
                  <a:lnTo>
                    <a:pt x="4881680" y="937828"/>
                  </a:lnTo>
                  <a:lnTo>
                    <a:pt x="4900764" y="920846"/>
                  </a:lnTo>
                  <a:lnTo>
                    <a:pt x="4919653" y="902202"/>
                  </a:lnTo>
                  <a:lnTo>
                    <a:pt x="4928121" y="874191"/>
                  </a:lnTo>
                  <a:lnTo>
                    <a:pt x="4921169" y="833791"/>
                  </a:lnTo>
                  <a:lnTo>
                    <a:pt x="4914646" y="811265"/>
                  </a:lnTo>
                  <a:lnTo>
                    <a:pt x="4885801" y="784826"/>
                  </a:lnTo>
                  <a:lnTo>
                    <a:pt x="4851164" y="763060"/>
                  </a:lnTo>
                  <a:lnTo>
                    <a:pt x="4824487" y="739961"/>
                  </a:lnTo>
                  <a:lnTo>
                    <a:pt x="4804907" y="718836"/>
                  </a:lnTo>
                  <a:lnTo>
                    <a:pt x="4789233" y="696407"/>
                  </a:lnTo>
                  <a:lnTo>
                    <a:pt x="4773557" y="673983"/>
                  </a:lnTo>
                  <a:lnTo>
                    <a:pt x="4761982" y="650078"/>
                  </a:lnTo>
                  <a:lnTo>
                    <a:pt x="4768062" y="617643"/>
                  </a:lnTo>
                  <a:lnTo>
                    <a:pt x="4795010" y="594264"/>
                  </a:lnTo>
                  <a:lnTo>
                    <a:pt x="4817371" y="558626"/>
                  </a:lnTo>
                  <a:lnTo>
                    <a:pt x="4816081" y="523239"/>
                  </a:lnTo>
                  <a:lnTo>
                    <a:pt x="4810996" y="488299"/>
                  </a:lnTo>
                  <a:lnTo>
                    <a:pt x="4805911" y="453358"/>
                  </a:lnTo>
                  <a:lnTo>
                    <a:pt x="4798175" y="417931"/>
                  </a:lnTo>
                  <a:lnTo>
                    <a:pt x="4791949" y="393089"/>
                  </a:lnTo>
                  <a:lnTo>
                    <a:pt x="4773287" y="368734"/>
                  </a:lnTo>
                  <a:lnTo>
                    <a:pt x="4729931" y="367624"/>
                  </a:lnTo>
                  <a:lnTo>
                    <a:pt x="4703539" y="353637"/>
                  </a:lnTo>
                  <a:lnTo>
                    <a:pt x="4663532" y="315215"/>
                  </a:lnTo>
                  <a:lnTo>
                    <a:pt x="4632827" y="321007"/>
                  </a:lnTo>
                  <a:lnTo>
                    <a:pt x="4627407" y="359255"/>
                  </a:lnTo>
                  <a:lnTo>
                    <a:pt x="4634917" y="418690"/>
                  </a:lnTo>
                  <a:lnTo>
                    <a:pt x="4634185" y="474706"/>
                  </a:lnTo>
                  <a:lnTo>
                    <a:pt x="4633857" y="502713"/>
                  </a:lnTo>
                  <a:lnTo>
                    <a:pt x="4631705" y="530386"/>
                  </a:lnTo>
                  <a:lnTo>
                    <a:pt x="4624663" y="553594"/>
                  </a:lnTo>
                  <a:lnTo>
                    <a:pt x="4617619" y="576808"/>
                  </a:lnTo>
                  <a:lnTo>
                    <a:pt x="4605536" y="595749"/>
                  </a:lnTo>
                  <a:lnTo>
                    <a:pt x="4586576" y="608003"/>
                  </a:lnTo>
                  <a:lnTo>
                    <a:pt x="4561588" y="608201"/>
                  </a:lnTo>
                  <a:lnTo>
                    <a:pt x="4525792" y="585645"/>
                  </a:lnTo>
                  <a:lnTo>
                    <a:pt x="4523755" y="553219"/>
                  </a:lnTo>
                  <a:lnTo>
                    <a:pt x="4500882" y="537279"/>
                  </a:lnTo>
                  <a:lnTo>
                    <a:pt x="4476660" y="520442"/>
                  </a:lnTo>
                  <a:lnTo>
                    <a:pt x="4439034" y="511386"/>
                  </a:lnTo>
                  <a:lnTo>
                    <a:pt x="4412472" y="496469"/>
                  </a:lnTo>
                  <a:lnTo>
                    <a:pt x="4391775" y="484823"/>
                  </a:lnTo>
                  <a:lnTo>
                    <a:pt x="4357557" y="450034"/>
                  </a:lnTo>
                  <a:lnTo>
                    <a:pt x="4328142" y="412139"/>
                  </a:lnTo>
                  <a:lnTo>
                    <a:pt x="4298730" y="374240"/>
                  </a:lnTo>
                  <a:lnTo>
                    <a:pt x="4274204" y="333483"/>
                  </a:lnTo>
                  <a:lnTo>
                    <a:pt x="4269653" y="310123"/>
                  </a:lnTo>
                  <a:lnTo>
                    <a:pt x="4264211" y="282029"/>
                  </a:lnTo>
                  <a:lnTo>
                    <a:pt x="4272883" y="254694"/>
                  </a:lnTo>
                  <a:lnTo>
                    <a:pt x="4281894" y="228513"/>
                  </a:lnTo>
                  <a:lnTo>
                    <a:pt x="4266936" y="199817"/>
                  </a:lnTo>
                  <a:lnTo>
                    <a:pt x="4242448" y="178318"/>
                  </a:lnTo>
                  <a:lnTo>
                    <a:pt x="4213885" y="160498"/>
                  </a:lnTo>
                  <a:lnTo>
                    <a:pt x="4187499" y="140971"/>
                  </a:lnTo>
                  <a:lnTo>
                    <a:pt x="4169535" y="117459"/>
                  </a:lnTo>
                  <a:lnTo>
                    <a:pt x="4166276" y="85694"/>
                  </a:lnTo>
                  <a:lnTo>
                    <a:pt x="4183999" y="66210"/>
                  </a:lnTo>
                  <a:lnTo>
                    <a:pt x="4157197" y="16820"/>
                  </a:lnTo>
                  <a:lnTo>
                    <a:pt x="4133633" y="1358"/>
                  </a:lnTo>
                  <a:lnTo>
                    <a:pt x="4094187" y="0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05" name="Cherkasy¬0" descr="Cherkasy¬0">
              <a:extLst>
                <a:ext uri="{FF2B5EF4-FFF2-40B4-BE49-F238E27FC236}">
                  <a16:creationId xmlns:a16="http://schemas.microsoft.com/office/drawing/2014/main" id="{67A0DA20-8553-442F-87D9-84C0A8765E03}"/>
                </a:ext>
              </a:extLst>
            </p:cNvPr>
            <p:cNvSpPr/>
            <p:nvPr/>
          </p:nvSpPr>
          <p:spPr>
            <a:xfrm>
              <a:off x="3432837" y="2147050"/>
              <a:ext cx="1121467" cy="816678"/>
            </a:xfrm>
            <a:custGeom>
              <a:avLst/>
              <a:gdLst/>
              <a:ahLst/>
              <a:cxnLst/>
              <a:rect l="0" t="0" r="0" b="0"/>
              <a:pathLst>
                <a:path w="11443951" h="9460179">
                  <a:moveTo>
                    <a:pt x="1697177" y="9453385"/>
                  </a:moveTo>
                  <a:lnTo>
                    <a:pt x="1763828" y="9457460"/>
                  </a:lnTo>
                  <a:lnTo>
                    <a:pt x="1829117" y="9460178"/>
                  </a:lnTo>
                  <a:lnTo>
                    <a:pt x="1860278" y="9432736"/>
                  </a:lnTo>
                  <a:lnTo>
                    <a:pt x="1880807" y="9409852"/>
                  </a:lnTo>
                  <a:lnTo>
                    <a:pt x="1901336" y="9386968"/>
                  </a:lnTo>
                  <a:lnTo>
                    <a:pt x="1920153" y="9363840"/>
                  </a:lnTo>
                  <a:lnTo>
                    <a:pt x="1955915" y="9328808"/>
                  </a:lnTo>
                  <a:lnTo>
                    <a:pt x="1982816" y="9301036"/>
                  </a:lnTo>
                  <a:lnTo>
                    <a:pt x="2009726" y="9273259"/>
                  </a:lnTo>
                  <a:lnTo>
                    <a:pt x="2041327" y="9244405"/>
                  </a:lnTo>
                  <a:lnTo>
                    <a:pt x="2069871" y="9237105"/>
                  </a:lnTo>
                  <a:lnTo>
                    <a:pt x="2102514" y="9241180"/>
                  </a:lnTo>
                  <a:lnTo>
                    <a:pt x="2135160" y="9245256"/>
                  </a:lnTo>
                  <a:lnTo>
                    <a:pt x="2159007" y="9277775"/>
                  </a:lnTo>
                  <a:lnTo>
                    <a:pt x="2169170" y="9296948"/>
                  </a:lnTo>
                  <a:lnTo>
                    <a:pt x="2179325" y="9316112"/>
                  </a:lnTo>
                  <a:lnTo>
                    <a:pt x="2204533" y="9341832"/>
                  </a:lnTo>
                  <a:lnTo>
                    <a:pt x="2227297" y="9353894"/>
                  </a:lnTo>
                  <a:lnTo>
                    <a:pt x="2261664" y="9349989"/>
                  </a:lnTo>
                  <a:lnTo>
                    <a:pt x="2292211" y="9331860"/>
                  </a:lnTo>
                  <a:lnTo>
                    <a:pt x="2327065" y="9288322"/>
                  </a:lnTo>
                  <a:lnTo>
                    <a:pt x="2342524" y="9250130"/>
                  </a:lnTo>
                  <a:lnTo>
                    <a:pt x="2364206" y="9232496"/>
                  </a:lnTo>
                  <a:lnTo>
                    <a:pt x="2388462" y="9217743"/>
                  </a:lnTo>
                  <a:lnTo>
                    <a:pt x="2414005" y="9203088"/>
                  </a:lnTo>
                  <a:lnTo>
                    <a:pt x="2439541" y="9188435"/>
                  </a:lnTo>
                  <a:lnTo>
                    <a:pt x="2466337" y="9174519"/>
                  </a:lnTo>
                  <a:lnTo>
                    <a:pt x="2489886" y="9165148"/>
                  </a:lnTo>
                  <a:lnTo>
                    <a:pt x="2517382" y="9152763"/>
                  </a:lnTo>
                  <a:lnTo>
                    <a:pt x="2543284" y="9142376"/>
                  </a:lnTo>
                  <a:lnTo>
                    <a:pt x="2579787" y="9130037"/>
                  </a:lnTo>
                  <a:lnTo>
                    <a:pt x="2621440" y="9122743"/>
                  </a:lnTo>
                  <a:lnTo>
                    <a:pt x="2661559" y="9113318"/>
                  </a:lnTo>
                  <a:lnTo>
                    <a:pt x="2701674" y="9103888"/>
                  </a:lnTo>
                  <a:lnTo>
                    <a:pt x="2740841" y="9092327"/>
                  </a:lnTo>
                  <a:lnTo>
                    <a:pt x="2760852" y="9077950"/>
                  </a:lnTo>
                  <a:lnTo>
                    <a:pt x="2777220" y="9060052"/>
                  </a:lnTo>
                  <a:lnTo>
                    <a:pt x="2790732" y="9033283"/>
                  </a:lnTo>
                  <a:lnTo>
                    <a:pt x="2797578" y="9009943"/>
                  </a:lnTo>
                  <a:lnTo>
                    <a:pt x="2802828" y="8984599"/>
                  </a:lnTo>
                  <a:lnTo>
                    <a:pt x="2803922" y="8957297"/>
                  </a:lnTo>
                  <a:lnTo>
                    <a:pt x="2805742" y="8931049"/>
                  </a:lnTo>
                  <a:lnTo>
                    <a:pt x="2807556" y="8904807"/>
                  </a:lnTo>
                  <a:lnTo>
                    <a:pt x="2810821" y="8879311"/>
                  </a:lnTo>
                  <a:lnTo>
                    <a:pt x="2820700" y="8854878"/>
                  </a:lnTo>
                  <a:lnTo>
                    <a:pt x="2843312" y="8837526"/>
                  </a:lnTo>
                  <a:lnTo>
                    <a:pt x="2879704" y="8828702"/>
                  </a:lnTo>
                  <a:lnTo>
                    <a:pt x="2900763" y="8826658"/>
                  </a:lnTo>
                  <a:lnTo>
                    <a:pt x="2922715" y="8826316"/>
                  </a:lnTo>
                  <a:lnTo>
                    <a:pt x="2966632" y="8825623"/>
                  </a:lnTo>
                  <a:lnTo>
                    <a:pt x="3012936" y="8831123"/>
                  </a:lnTo>
                  <a:lnTo>
                    <a:pt x="3035614" y="8834480"/>
                  </a:lnTo>
                  <a:lnTo>
                    <a:pt x="3064632" y="8854990"/>
                  </a:lnTo>
                  <a:lnTo>
                    <a:pt x="3075059" y="8875282"/>
                  </a:lnTo>
                  <a:lnTo>
                    <a:pt x="3085483" y="8895575"/>
                  </a:lnTo>
                  <a:lnTo>
                    <a:pt x="3095219" y="8918585"/>
                  </a:lnTo>
                  <a:lnTo>
                    <a:pt x="3141461" y="8926195"/>
                  </a:lnTo>
                  <a:lnTo>
                    <a:pt x="3175537" y="8922620"/>
                  </a:lnTo>
                  <a:lnTo>
                    <a:pt x="3209721" y="8920167"/>
                  </a:lnTo>
                  <a:lnTo>
                    <a:pt x="3243902" y="8917713"/>
                  </a:lnTo>
                  <a:lnTo>
                    <a:pt x="3277813" y="8915544"/>
                  </a:lnTo>
                  <a:lnTo>
                    <a:pt x="3311730" y="8914726"/>
                  </a:lnTo>
                  <a:lnTo>
                    <a:pt x="3346999" y="8913876"/>
                  </a:lnTo>
                  <a:lnTo>
                    <a:pt x="3373320" y="8912042"/>
                  </a:lnTo>
                  <a:lnTo>
                    <a:pt x="3413370" y="8903812"/>
                  </a:lnTo>
                  <a:lnTo>
                    <a:pt x="3435509" y="8887523"/>
                  </a:lnTo>
                  <a:lnTo>
                    <a:pt x="3449446" y="8861703"/>
                  </a:lnTo>
                  <a:lnTo>
                    <a:pt x="3454227" y="8820848"/>
                  </a:lnTo>
                  <a:lnTo>
                    <a:pt x="3454555" y="8794495"/>
                  </a:lnTo>
                  <a:lnTo>
                    <a:pt x="3454555" y="8761025"/>
                  </a:lnTo>
                  <a:lnTo>
                    <a:pt x="3457445" y="8728381"/>
                  </a:lnTo>
                  <a:lnTo>
                    <a:pt x="3459823" y="8687579"/>
                  </a:lnTo>
                  <a:lnTo>
                    <a:pt x="3455914" y="8657650"/>
                  </a:lnTo>
                  <a:lnTo>
                    <a:pt x="3444274" y="8638842"/>
                  </a:lnTo>
                  <a:lnTo>
                    <a:pt x="3411854" y="8629649"/>
                  </a:lnTo>
                  <a:lnTo>
                    <a:pt x="3381109" y="8618206"/>
                  </a:lnTo>
                  <a:lnTo>
                    <a:pt x="3350410" y="8605774"/>
                  </a:lnTo>
                  <a:lnTo>
                    <a:pt x="3327466" y="8589822"/>
                  </a:lnTo>
                  <a:lnTo>
                    <a:pt x="3317178" y="8566516"/>
                  </a:lnTo>
                  <a:lnTo>
                    <a:pt x="3324681" y="8545576"/>
                  </a:lnTo>
                  <a:lnTo>
                    <a:pt x="3353957" y="8510854"/>
                  </a:lnTo>
                  <a:lnTo>
                    <a:pt x="3381096" y="8480828"/>
                  </a:lnTo>
                  <a:lnTo>
                    <a:pt x="3408233" y="8450795"/>
                  </a:lnTo>
                  <a:lnTo>
                    <a:pt x="3437186" y="8421620"/>
                  </a:lnTo>
                  <a:lnTo>
                    <a:pt x="3467454" y="8415201"/>
                  </a:lnTo>
                  <a:lnTo>
                    <a:pt x="3490603" y="8413144"/>
                  </a:lnTo>
                  <a:lnTo>
                    <a:pt x="3515755" y="8401932"/>
                  </a:lnTo>
                  <a:lnTo>
                    <a:pt x="3527398" y="8379490"/>
                  </a:lnTo>
                  <a:lnTo>
                    <a:pt x="3546131" y="8326139"/>
                  </a:lnTo>
                  <a:lnTo>
                    <a:pt x="3555200" y="8286318"/>
                  </a:lnTo>
                  <a:lnTo>
                    <a:pt x="3564270" y="8246498"/>
                  </a:lnTo>
                  <a:lnTo>
                    <a:pt x="3573640" y="8206031"/>
                  </a:lnTo>
                  <a:lnTo>
                    <a:pt x="3575804" y="8174594"/>
                  </a:lnTo>
                  <a:lnTo>
                    <a:pt x="3572709" y="8153200"/>
                  </a:lnTo>
                  <a:lnTo>
                    <a:pt x="3566366" y="8127552"/>
                  </a:lnTo>
                  <a:lnTo>
                    <a:pt x="3547530" y="8109020"/>
                  </a:lnTo>
                  <a:lnTo>
                    <a:pt x="3538879" y="8079568"/>
                  </a:lnTo>
                  <a:lnTo>
                    <a:pt x="3546758" y="8049949"/>
                  </a:lnTo>
                  <a:lnTo>
                    <a:pt x="3580135" y="8029175"/>
                  </a:lnTo>
                  <a:lnTo>
                    <a:pt x="3615048" y="8010195"/>
                  </a:lnTo>
                  <a:lnTo>
                    <a:pt x="3649954" y="7991209"/>
                  </a:lnTo>
                  <a:lnTo>
                    <a:pt x="3686690" y="7973714"/>
                  </a:lnTo>
                  <a:lnTo>
                    <a:pt x="3718096" y="7952885"/>
                  </a:lnTo>
                  <a:lnTo>
                    <a:pt x="3730666" y="7914979"/>
                  </a:lnTo>
                  <a:lnTo>
                    <a:pt x="3748274" y="7876788"/>
                  </a:lnTo>
                  <a:lnTo>
                    <a:pt x="3775550" y="7863294"/>
                  </a:lnTo>
                  <a:lnTo>
                    <a:pt x="3812276" y="7853778"/>
                  </a:lnTo>
                  <a:lnTo>
                    <a:pt x="3832846" y="7848819"/>
                  </a:lnTo>
                  <a:lnTo>
                    <a:pt x="3870766" y="7830656"/>
                  </a:lnTo>
                  <a:lnTo>
                    <a:pt x="3889800" y="7820520"/>
                  </a:lnTo>
                  <a:lnTo>
                    <a:pt x="3909486" y="7809032"/>
                  </a:lnTo>
                  <a:lnTo>
                    <a:pt x="3929249" y="7796647"/>
                  </a:lnTo>
                  <a:lnTo>
                    <a:pt x="3951232" y="7801519"/>
                  </a:lnTo>
                  <a:lnTo>
                    <a:pt x="3972564" y="7810818"/>
                  </a:lnTo>
                  <a:lnTo>
                    <a:pt x="3994541" y="7819774"/>
                  </a:lnTo>
                  <a:lnTo>
                    <a:pt x="4022930" y="7815877"/>
                  </a:lnTo>
                  <a:lnTo>
                    <a:pt x="4055923" y="7807350"/>
                  </a:lnTo>
                  <a:lnTo>
                    <a:pt x="4093831" y="7819774"/>
                  </a:lnTo>
                  <a:lnTo>
                    <a:pt x="4113538" y="7834772"/>
                  </a:lnTo>
                  <a:lnTo>
                    <a:pt x="4133984" y="7851022"/>
                  </a:lnTo>
                  <a:lnTo>
                    <a:pt x="4155046" y="7860578"/>
                  </a:lnTo>
                  <a:lnTo>
                    <a:pt x="4179178" y="7858685"/>
                  </a:lnTo>
                  <a:lnTo>
                    <a:pt x="4204364" y="7848872"/>
                  </a:lnTo>
                  <a:lnTo>
                    <a:pt x="4221693" y="7832015"/>
                  </a:lnTo>
                  <a:lnTo>
                    <a:pt x="4243456" y="7832015"/>
                  </a:lnTo>
                  <a:lnTo>
                    <a:pt x="4254122" y="7857873"/>
                  </a:lnTo>
                  <a:lnTo>
                    <a:pt x="4270878" y="7885051"/>
                  </a:lnTo>
                  <a:lnTo>
                    <a:pt x="4291066" y="7904104"/>
                  </a:lnTo>
                  <a:lnTo>
                    <a:pt x="4340073" y="7908944"/>
                  </a:lnTo>
                  <a:lnTo>
                    <a:pt x="4376753" y="7898662"/>
                  </a:lnTo>
                  <a:lnTo>
                    <a:pt x="4413443" y="7888381"/>
                  </a:lnTo>
                  <a:lnTo>
                    <a:pt x="4450005" y="7872501"/>
                  </a:lnTo>
                  <a:lnTo>
                    <a:pt x="4466531" y="7856494"/>
                  </a:lnTo>
                  <a:lnTo>
                    <a:pt x="4499168" y="7853989"/>
                  </a:lnTo>
                  <a:lnTo>
                    <a:pt x="4529110" y="7867165"/>
                  </a:lnTo>
                  <a:lnTo>
                    <a:pt x="4553583" y="7886417"/>
                  </a:lnTo>
                  <a:lnTo>
                    <a:pt x="4575346" y="7880975"/>
                  </a:lnTo>
                  <a:lnTo>
                    <a:pt x="4612178" y="7876873"/>
                  </a:lnTo>
                  <a:lnTo>
                    <a:pt x="4635776" y="7872765"/>
                  </a:lnTo>
                  <a:lnTo>
                    <a:pt x="4656960" y="7868736"/>
                  </a:lnTo>
                  <a:lnTo>
                    <a:pt x="4678140" y="7864699"/>
                  </a:lnTo>
                  <a:lnTo>
                    <a:pt x="4719529" y="7859212"/>
                  </a:lnTo>
                  <a:lnTo>
                    <a:pt x="4740846" y="7857959"/>
                  </a:lnTo>
                  <a:lnTo>
                    <a:pt x="4771216" y="7872817"/>
                  </a:lnTo>
                  <a:lnTo>
                    <a:pt x="4799732" y="7889153"/>
                  </a:lnTo>
                  <a:lnTo>
                    <a:pt x="4831637" y="7894021"/>
                  </a:lnTo>
                  <a:lnTo>
                    <a:pt x="4860984" y="7894574"/>
                  </a:lnTo>
                  <a:lnTo>
                    <a:pt x="4890359" y="7895036"/>
                  </a:lnTo>
                  <a:lnTo>
                    <a:pt x="4935963" y="7902296"/>
                  </a:lnTo>
                  <a:lnTo>
                    <a:pt x="4965139" y="7911226"/>
                  </a:lnTo>
                  <a:lnTo>
                    <a:pt x="4992930" y="7923137"/>
                  </a:lnTo>
                  <a:lnTo>
                    <a:pt x="5020720" y="7935046"/>
                  </a:lnTo>
                  <a:lnTo>
                    <a:pt x="5048188" y="7949430"/>
                  </a:lnTo>
                  <a:lnTo>
                    <a:pt x="5075898" y="7963939"/>
                  </a:lnTo>
                  <a:lnTo>
                    <a:pt x="5099023" y="7987068"/>
                  </a:lnTo>
                  <a:lnTo>
                    <a:pt x="5119809" y="8006786"/>
                  </a:lnTo>
                  <a:lnTo>
                    <a:pt x="5145237" y="8017299"/>
                  </a:lnTo>
                  <a:lnTo>
                    <a:pt x="5173833" y="8012907"/>
                  </a:lnTo>
                  <a:lnTo>
                    <a:pt x="5200675" y="8004202"/>
                  </a:lnTo>
                  <a:lnTo>
                    <a:pt x="5233510" y="8005276"/>
                  </a:lnTo>
                  <a:lnTo>
                    <a:pt x="5263664" y="8010677"/>
                  </a:lnTo>
                  <a:lnTo>
                    <a:pt x="5292174" y="8014265"/>
                  </a:lnTo>
                  <a:lnTo>
                    <a:pt x="5320683" y="8017860"/>
                  </a:lnTo>
                  <a:lnTo>
                    <a:pt x="5348269" y="8020853"/>
                  </a:lnTo>
                  <a:lnTo>
                    <a:pt x="5396728" y="7999611"/>
                  </a:lnTo>
                  <a:lnTo>
                    <a:pt x="5427024" y="7972942"/>
                  </a:lnTo>
                  <a:lnTo>
                    <a:pt x="5458120" y="7947618"/>
                  </a:lnTo>
                  <a:lnTo>
                    <a:pt x="5489203" y="7922292"/>
                  </a:lnTo>
                  <a:lnTo>
                    <a:pt x="5520138" y="7897700"/>
                  </a:lnTo>
                  <a:lnTo>
                    <a:pt x="5558771" y="7885051"/>
                  </a:lnTo>
                  <a:lnTo>
                    <a:pt x="5593783" y="7878733"/>
                  </a:lnTo>
                  <a:lnTo>
                    <a:pt x="5627133" y="7880481"/>
                  </a:lnTo>
                  <a:lnTo>
                    <a:pt x="5660787" y="7882333"/>
                  </a:lnTo>
                  <a:lnTo>
                    <a:pt x="5682543" y="7878245"/>
                  </a:lnTo>
                  <a:lnTo>
                    <a:pt x="5707032" y="7872811"/>
                  </a:lnTo>
                  <a:lnTo>
                    <a:pt x="5730562" y="7871070"/>
                  </a:lnTo>
                  <a:lnTo>
                    <a:pt x="5752865" y="7877057"/>
                  </a:lnTo>
                  <a:lnTo>
                    <a:pt x="5775043" y="7885051"/>
                  </a:lnTo>
                  <a:lnTo>
                    <a:pt x="5797225" y="7893038"/>
                  </a:lnTo>
                  <a:lnTo>
                    <a:pt x="5818579" y="7902746"/>
                  </a:lnTo>
                  <a:lnTo>
                    <a:pt x="5840335" y="7909531"/>
                  </a:lnTo>
                  <a:lnTo>
                    <a:pt x="5870256" y="7909531"/>
                  </a:lnTo>
                  <a:lnTo>
                    <a:pt x="5898825" y="7901374"/>
                  </a:lnTo>
                  <a:lnTo>
                    <a:pt x="5945377" y="7902600"/>
                  </a:lnTo>
                  <a:lnTo>
                    <a:pt x="5970907" y="7910890"/>
                  </a:lnTo>
                  <a:lnTo>
                    <a:pt x="5996444" y="7919187"/>
                  </a:lnTo>
                  <a:lnTo>
                    <a:pt x="6021431" y="7930984"/>
                  </a:lnTo>
                  <a:lnTo>
                    <a:pt x="6044828" y="7947221"/>
                  </a:lnTo>
                  <a:lnTo>
                    <a:pt x="6060685" y="7981620"/>
                  </a:lnTo>
                  <a:lnTo>
                    <a:pt x="6074882" y="8016936"/>
                  </a:lnTo>
                  <a:lnTo>
                    <a:pt x="6085316" y="8035586"/>
                  </a:lnTo>
                  <a:lnTo>
                    <a:pt x="6108279" y="8044185"/>
                  </a:lnTo>
                  <a:lnTo>
                    <a:pt x="6124126" y="8019329"/>
                  </a:lnTo>
                  <a:lnTo>
                    <a:pt x="6130522" y="7992871"/>
                  </a:lnTo>
                  <a:lnTo>
                    <a:pt x="6142289" y="7972090"/>
                  </a:lnTo>
                  <a:lnTo>
                    <a:pt x="6164052" y="7972090"/>
                  </a:lnTo>
                  <a:lnTo>
                    <a:pt x="6185893" y="7989224"/>
                  </a:lnTo>
                  <a:lnTo>
                    <a:pt x="6212939" y="7993049"/>
                  </a:lnTo>
                  <a:lnTo>
                    <a:pt x="6240224" y="7988420"/>
                  </a:lnTo>
                  <a:lnTo>
                    <a:pt x="6262651" y="7966446"/>
                  </a:lnTo>
                  <a:lnTo>
                    <a:pt x="6287812" y="7942348"/>
                  </a:lnTo>
                  <a:lnTo>
                    <a:pt x="6315029" y="7928571"/>
                  </a:lnTo>
                  <a:lnTo>
                    <a:pt x="6342714" y="7917162"/>
                  </a:lnTo>
                  <a:lnTo>
                    <a:pt x="6371674" y="7918216"/>
                  </a:lnTo>
                  <a:lnTo>
                    <a:pt x="6402087" y="7935370"/>
                  </a:lnTo>
                  <a:lnTo>
                    <a:pt x="6445371" y="7927271"/>
                  </a:lnTo>
                  <a:lnTo>
                    <a:pt x="6471453" y="7914971"/>
                  </a:lnTo>
                  <a:lnTo>
                    <a:pt x="6497536" y="7902665"/>
                  </a:lnTo>
                  <a:lnTo>
                    <a:pt x="6524074" y="7888816"/>
                  </a:lnTo>
                  <a:lnTo>
                    <a:pt x="6548184" y="7861105"/>
                  </a:lnTo>
                  <a:lnTo>
                    <a:pt x="6555070" y="7840311"/>
                  </a:lnTo>
                  <a:lnTo>
                    <a:pt x="6562589" y="7819756"/>
                  </a:lnTo>
                  <a:lnTo>
                    <a:pt x="6570099" y="7799205"/>
                  </a:lnTo>
                  <a:lnTo>
                    <a:pt x="6577593" y="7779197"/>
                  </a:lnTo>
                  <a:lnTo>
                    <a:pt x="6584352" y="7758547"/>
                  </a:lnTo>
                  <a:lnTo>
                    <a:pt x="6593992" y="7720126"/>
                  </a:lnTo>
                  <a:lnTo>
                    <a:pt x="6599198" y="7682713"/>
                  </a:lnTo>
                  <a:lnTo>
                    <a:pt x="6606115" y="7645650"/>
                  </a:lnTo>
                  <a:lnTo>
                    <a:pt x="6615531" y="7620865"/>
                  </a:lnTo>
                  <a:lnTo>
                    <a:pt x="6627397" y="7599512"/>
                  </a:lnTo>
                  <a:lnTo>
                    <a:pt x="6645241" y="7580491"/>
                  </a:lnTo>
                  <a:lnTo>
                    <a:pt x="6663240" y="7562678"/>
                  </a:lnTo>
                  <a:lnTo>
                    <a:pt x="6681245" y="7544859"/>
                  </a:lnTo>
                  <a:lnTo>
                    <a:pt x="6699632" y="7528919"/>
                  </a:lnTo>
                  <a:lnTo>
                    <a:pt x="6725019" y="7512584"/>
                  </a:lnTo>
                  <a:lnTo>
                    <a:pt x="6752456" y="7498860"/>
                  </a:lnTo>
                  <a:lnTo>
                    <a:pt x="6775689" y="7477355"/>
                  </a:lnTo>
                  <a:lnTo>
                    <a:pt x="6785661" y="7454601"/>
                  </a:lnTo>
                  <a:lnTo>
                    <a:pt x="6792460" y="7429376"/>
                  </a:lnTo>
                  <a:lnTo>
                    <a:pt x="6799260" y="7404158"/>
                  </a:lnTo>
                  <a:lnTo>
                    <a:pt x="6802407" y="7376412"/>
                  </a:lnTo>
                  <a:lnTo>
                    <a:pt x="6804701" y="7354570"/>
                  </a:lnTo>
                  <a:lnTo>
                    <a:pt x="6809746" y="7306547"/>
                  </a:lnTo>
                  <a:lnTo>
                    <a:pt x="6794913" y="7220614"/>
                  </a:lnTo>
                  <a:lnTo>
                    <a:pt x="6791102" y="7139656"/>
                  </a:lnTo>
                  <a:lnTo>
                    <a:pt x="6789195" y="7099176"/>
                  </a:lnTo>
                  <a:lnTo>
                    <a:pt x="6790073" y="7059949"/>
                  </a:lnTo>
                  <a:lnTo>
                    <a:pt x="6797902" y="7028122"/>
                  </a:lnTo>
                  <a:lnTo>
                    <a:pt x="6805737" y="6996290"/>
                  </a:lnTo>
                  <a:lnTo>
                    <a:pt x="6819969" y="6970668"/>
                  </a:lnTo>
                  <a:lnTo>
                    <a:pt x="6845508" y="6958751"/>
                  </a:lnTo>
                  <a:lnTo>
                    <a:pt x="6879512" y="6956033"/>
                  </a:lnTo>
                  <a:lnTo>
                    <a:pt x="6898823" y="6968049"/>
                  </a:lnTo>
                  <a:lnTo>
                    <a:pt x="6919714" y="6979413"/>
                  </a:lnTo>
                  <a:lnTo>
                    <a:pt x="6942085" y="6988678"/>
                  </a:lnTo>
                  <a:lnTo>
                    <a:pt x="6964450" y="6997938"/>
                  </a:lnTo>
                  <a:lnTo>
                    <a:pt x="6987081" y="7005363"/>
                  </a:lnTo>
                  <a:lnTo>
                    <a:pt x="7008732" y="7011800"/>
                  </a:lnTo>
                  <a:lnTo>
                    <a:pt x="7042817" y="7016601"/>
                  </a:lnTo>
                  <a:lnTo>
                    <a:pt x="7078021" y="7015157"/>
                  </a:lnTo>
                  <a:lnTo>
                    <a:pt x="7112109" y="7014518"/>
                  </a:lnTo>
                  <a:lnTo>
                    <a:pt x="7137155" y="7015994"/>
                  </a:lnTo>
                  <a:lnTo>
                    <a:pt x="7164103" y="7024323"/>
                  </a:lnTo>
                  <a:lnTo>
                    <a:pt x="7189639" y="7026757"/>
                  </a:lnTo>
                  <a:lnTo>
                    <a:pt x="7215182" y="7029198"/>
                  </a:lnTo>
                  <a:lnTo>
                    <a:pt x="7240393" y="7026230"/>
                  </a:lnTo>
                  <a:lnTo>
                    <a:pt x="7263092" y="7007718"/>
                  </a:lnTo>
                  <a:lnTo>
                    <a:pt x="7276474" y="6971545"/>
                  </a:lnTo>
                  <a:lnTo>
                    <a:pt x="7276691" y="6949227"/>
                  </a:lnTo>
                  <a:lnTo>
                    <a:pt x="7276890" y="6926911"/>
                  </a:lnTo>
                  <a:lnTo>
                    <a:pt x="7275215" y="6903822"/>
                  </a:lnTo>
                  <a:lnTo>
                    <a:pt x="7291865" y="6877718"/>
                  </a:lnTo>
                  <a:lnTo>
                    <a:pt x="7318859" y="6874415"/>
                  </a:lnTo>
                  <a:lnTo>
                    <a:pt x="7345695" y="6874613"/>
                  </a:lnTo>
                  <a:lnTo>
                    <a:pt x="7374521" y="6872226"/>
                  </a:lnTo>
                  <a:lnTo>
                    <a:pt x="7403694" y="6866263"/>
                  </a:lnTo>
                  <a:lnTo>
                    <a:pt x="7438839" y="6868750"/>
                  </a:lnTo>
                  <a:lnTo>
                    <a:pt x="7479076" y="6874660"/>
                  </a:lnTo>
                  <a:lnTo>
                    <a:pt x="7503846" y="6878511"/>
                  </a:lnTo>
                  <a:lnTo>
                    <a:pt x="7529935" y="6888541"/>
                  </a:lnTo>
                  <a:lnTo>
                    <a:pt x="7556646" y="6901117"/>
                  </a:lnTo>
                  <a:lnTo>
                    <a:pt x="7584099" y="6912513"/>
                  </a:lnTo>
                  <a:lnTo>
                    <a:pt x="7615167" y="6923792"/>
                  </a:lnTo>
                  <a:lnTo>
                    <a:pt x="7648830" y="6933624"/>
                  </a:lnTo>
                  <a:lnTo>
                    <a:pt x="7682028" y="6943800"/>
                  </a:lnTo>
                  <a:lnTo>
                    <a:pt x="7715238" y="6953970"/>
                  </a:lnTo>
                  <a:lnTo>
                    <a:pt x="7747441" y="6964126"/>
                  </a:lnTo>
                  <a:lnTo>
                    <a:pt x="7777244" y="6977804"/>
                  </a:lnTo>
                  <a:lnTo>
                    <a:pt x="7833011" y="7015888"/>
                  </a:lnTo>
                  <a:lnTo>
                    <a:pt x="7888778" y="7052616"/>
                  </a:lnTo>
                  <a:lnTo>
                    <a:pt x="7916054" y="7082563"/>
                  </a:lnTo>
                  <a:lnTo>
                    <a:pt x="7925504" y="7101576"/>
                  </a:lnTo>
                  <a:lnTo>
                    <a:pt x="7934955" y="7120597"/>
                  </a:lnTo>
                  <a:lnTo>
                    <a:pt x="7941661" y="7142333"/>
                  </a:lnTo>
                  <a:lnTo>
                    <a:pt x="7947267" y="7164149"/>
                  </a:lnTo>
                  <a:lnTo>
                    <a:pt x="7958485" y="7207774"/>
                  </a:lnTo>
                  <a:lnTo>
                    <a:pt x="7963682" y="7253424"/>
                  </a:lnTo>
                  <a:lnTo>
                    <a:pt x="7970388" y="7289287"/>
                  </a:lnTo>
                  <a:lnTo>
                    <a:pt x="7982412" y="7312673"/>
                  </a:lnTo>
                  <a:lnTo>
                    <a:pt x="8004622" y="7331192"/>
                  </a:lnTo>
                  <a:lnTo>
                    <a:pt x="8028878" y="7340979"/>
                  </a:lnTo>
                  <a:lnTo>
                    <a:pt x="8061868" y="7334218"/>
                  </a:lnTo>
                  <a:lnTo>
                    <a:pt x="8084651" y="7304251"/>
                  </a:lnTo>
                  <a:lnTo>
                    <a:pt x="8100954" y="7266957"/>
                  </a:lnTo>
                  <a:lnTo>
                    <a:pt x="8118655" y="7245761"/>
                  </a:lnTo>
                  <a:lnTo>
                    <a:pt x="8136443" y="7234253"/>
                  </a:lnTo>
                  <a:lnTo>
                    <a:pt x="8165645" y="7210721"/>
                  </a:lnTo>
                  <a:lnTo>
                    <a:pt x="8186670" y="7176389"/>
                  </a:lnTo>
                  <a:lnTo>
                    <a:pt x="8203915" y="7138983"/>
                  </a:lnTo>
                  <a:lnTo>
                    <a:pt x="8213865" y="7115182"/>
                  </a:lnTo>
                  <a:lnTo>
                    <a:pt x="8237002" y="7090510"/>
                  </a:lnTo>
                  <a:lnTo>
                    <a:pt x="8260116" y="7085255"/>
                  </a:lnTo>
                  <a:lnTo>
                    <a:pt x="8283231" y="7080012"/>
                  </a:lnTo>
                  <a:lnTo>
                    <a:pt x="8312144" y="7078678"/>
                  </a:lnTo>
                  <a:lnTo>
                    <a:pt x="8343088" y="7073014"/>
                  </a:lnTo>
                  <a:lnTo>
                    <a:pt x="8374029" y="7067355"/>
                  </a:lnTo>
                  <a:lnTo>
                    <a:pt x="8407862" y="7058202"/>
                  </a:lnTo>
                  <a:lnTo>
                    <a:pt x="8438304" y="7040369"/>
                  </a:lnTo>
                  <a:lnTo>
                    <a:pt x="8468739" y="7022536"/>
                  </a:lnTo>
                  <a:lnTo>
                    <a:pt x="8496958" y="6995088"/>
                  </a:lnTo>
                  <a:lnTo>
                    <a:pt x="8518550" y="6953317"/>
                  </a:lnTo>
                  <a:lnTo>
                    <a:pt x="8560718" y="6964205"/>
                  </a:lnTo>
                  <a:lnTo>
                    <a:pt x="8586577" y="6976444"/>
                  </a:lnTo>
                  <a:lnTo>
                    <a:pt x="8594682" y="6996796"/>
                  </a:lnTo>
                  <a:lnTo>
                    <a:pt x="8582494" y="7019972"/>
                  </a:lnTo>
                  <a:lnTo>
                    <a:pt x="8599801" y="7050505"/>
                  </a:lnTo>
                  <a:lnTo>
                    <a:pt x="8627381" y="7049892"/>
                  </a:lnTo>
                  <a:lnTo>
                    <a:pt x="8655407" y="7037988"/>
                  </a:lnTo>
                  <a:lnTo>
                    <a:pt x="8683681" y="7018270"/>
                  </a:lnTo>
                  <a:lnTo>
                    <a:pt x="8711711" y="7000925"/>
                  </a:lnTo>
                  <a:lnTo>
                    <a:pt x="8736946" y="6991349"/>
                  </a:lnTo>
                  <a:lnTo>
                    <a:pt x="8754254" y="7011306"/>
                  </a:lnTo>
                  <a:lnTo>
                    <a:pt x="8756554" y="7032185"/>
                  </a:lnTo>
                  <a:lnTo>
                    <a:pt x="8767065" y="7056903"/>
                  </a:lnTo>
                  <a:lnTo>
                    <a:pt x="8789653" y="7067369"/>
                  </a:lnTo>
                  <a:lnTo>
                    <a:pt x="8817800" y="7071662"/>
                  </a:lnTo>
                  <a:lnTo>
                    <a:pt x="8846890" y="7073066"/>
                  </a:lnTo>
                  <a:lnTo>
                    <a:pt x="8878376" y="7065523"/>
                  </a:lnTo>
                  <a:lnTo>
                    <a:pt x="8906706" y="7044266"/>
                  </a:lnTo>
                  <a:lnTo>
                    <a:pt x="8921130" y="7001861"/>
                  </a:lnTo>
                  <a:lnTo>
                    <a:pt x="8933424" y="6957405"/>
                  </a:lnTo>
                  <a:lnTo>
                    <a:pt x="8945709" y="6912949"/>
                  </a:lnTo>
                  <a:lnTo>
                    <a:pt x="8955569" y="6867015"/>
                  </a:lnTo>
                  <a:lnTo>
                    <a:pt x="8951928" y="6840352"/>
                  </a:lnTo>
                  <a:lnTo>
                    <a:pt x="8925257" y="6817304"/>
                  </a:lnTo>
                  <a:lnTo>
                    <a:pt x="8901479" y="6794894"/>
                  </a:lnTo>
                  <a:lnTo>
                    <a:pt x="8927983" y="6723450"/>
                  </a:lnTo>
                  <a:lnTo>
                    <a:pt x="8956545" y="6658161"/>
                  </a:lnTo>
                  <a:lnTo>
                    <a:pt x="8989104" y="6655622"/>
                  </a:lnTo>
                  <a:lnTo>
                    <a:pt x="9012191" y="6649556"/>
                  </a:lnTo>
                  <a:lnTo>
                    <a:pt x="9034075" y="6639116"/>
                  </a:lnTo>
                  <a:lnTo>
                    <a:pt x="9055962" y="6628683"/>
                  </a:lnTo>
                  <a:lnTo>
                    <a:pt x="9075623" y="6613969"/>
                  </a:lnTo>
                  <a:lnTo>
                    <a:pt x="9103445" y="6596954"/>
                  </a:lnTo>
                  <a:lnTo>
                    <a:pt x="9122960" y="6572263"/>
                  </a:lnTo>
                  <a:lnTo>
                    <a:pt x="9133375" y="6550704"/>
                  </a:lnTo>
                  <a:lnTo>
                    <a:pt x="9143786" y="6529146"/>
                  </a:lnTo>
                  <a:lnTo>
                    <a:pt x="9152716" y="6505997"/>
                  </a:lnTo>
                  <a:lnTo>
                    <a:pt x="9169230" y="6483232"/>
                  </a:lnTo>
                  <a:lnTo>
                    <a:pt x="9188295" y="6460724"/>
                  </a:lnTo>
                  <a:lnTo>
                    <a:pt x="9205271" y="6433302"/>
                  </a:lnTo>
                  <a:lnTo>
                    <a:pt x="9214796" y="6411327"/>
                  </a:lnTo>
                  <a:lnTo>
                    <a:pt x="9224501" y="6390198"/>
                  </a:lnTo>
                  <a:lnTo>
                    <a:pt x="9234209" y="6369067"/>
                  </a:lnTo>
                  <a:lnTo>
                    <a:pt x="9243839" y="6348518"/>
                  </a:lnTo>
                  <a:lnTo>
                    <a:pt x="9258511" y="6330349"/>
                  </a:lnTo>
                  <a:lnTo>
                    <a:pt x="9270805" y="6313268"/>
                  </a:lnTo>
                  <a:lnTo>
                    <a:pt x="9289793" y="6292269"/>
                  </a:lnTo>
                  <a:lnTo>
                    <a:pt x="9331226" y="6303718"/>
                  </a:lnTo>
                  <a:lnTo>
                    <a:pt x="9355082" y="6315392"/>
                  </a:lnTo>
                  <a:lnTo>
                    <a:pt x="9378941" y="6327071"/>
                  </a:lnTo>
                  <a:lnTo>
                    <a:pt x="9404180" y="6338731"/>
                  </a:lnTo>
                  <a:lnTo>
                    <a:pt x="9428529" y="6339878"/>
                  </a:lnTo>
                  <a:lnTo>
                    <a:pt x="9448314" y="6327592"/>
                  </a:lnTo>
                  <a:lnTo>
                    <a:pt x="9453786" y="6297342"/>
                  </a:lnTo>
                  <a:lnTo>
                    <a:pt x="9444100" y="6268159"/>
                  </a:lnTo>
                  <a:lnTo>
                    <a:pt x="9435335" y="6247385"/>
                  </a:lnTo>
                  <a:lnTo>
                    <a:pt x="9446605" y="6216777"/>
                  </a:lnTo>
                  <a:lnTo>
                    <a:pt x="9461181" y="6201141"/>
                  </a:lnTo>
                  <a:lnTo>
                    <a:pt x="9475748" y="6185491"/>
                  </a:lnTo>
                  <a:lnTo>
                    <a:pt x="9490488" y="6169690"/>
                  </a:lnTo>
                  <a:lnTo>
                    <a:pt x="9531905" y="6169855"/>
                  </a:lnTo>
                  <a:lnTo>
                    <a:pt x="9568632" y="6133134"/>
                  </a:lnTo>
                  <a:lnTo>
                    <a:pt x="9590395" y="6101848"/>
                  </a:lnTo>
                  <a:lnTo>
                    <a:pt x="9621680" y="6108654"/>
                  </a:lnTo>
                  <a:lnTo>
                    <a:pt x="9640727" y="6118177"/>
                  </a:lnTo>
                  <a:lnTo>
                    <a:pt x="9648013" y="6148230"/>
                  </a:lnTo>
                  <a:lnTo>
                    <a:pt x="9641598" y="6186058"/>
                  </a:lnTo>
                  <a:lnTo>
                    <a:pt x="9638001" y="6218828"/>
                  </a:lnTo>
                  <a:lnTo>
                    <a:pt x="9660893" y="6230020"/>
                  </a:lnTo>
                  <a:lnTo>
                    <a:pt x="9683112" y="6243013"/>
                  </a:lnTo>
                  <a:lnTo>
                    <a:pt x="9703287" y="6256915"/>
                  </a:lnTo>
                  <a:lnTo>
                    <a:pt x="9704500" y="6278057"/>
                  </a:lnTo>
                  <a:lnTo>
                    <a:pt x="9701334" y="6307670"/>
                  </a:lnTo>
                  <a:lnTo>
                    <a:pt x="9712828" y="6332625"/>
                  </a:lnTo>
                  <a:lnTo>
                    <a:pt x="9745762" y="6345128"/>
                  </a:lnTo>
                  <a:lnTo>
                    <a:pt x="9780814" y="6354848"/>
                  </a:lnTo>
                  <a:lnTo>
                    <a:pt x="9815866" y="6364576"/>
                  </a:lnTo>
                  <a:lnTo>
                    <a:pt x="9852779" y="6371785"/>
                  </a:lnTo>
                  <a:lnTo>
                    <a:pt x="9902301" y="6363672"/>
                  </a:lnTo>
                  <a:lnTo>
                    <a:pt x="9922065" y="6343460"/>
                  </a:lnTo>
                  <a:lnTo>
                    <a:pt x="9939964" y="6322204"/>
                  </a:lnTo>
                  <a:lnTo>
                    <a:pt x="9957861" y="6300955"/>
                  </a:lnTo>
                  <a:lnTo>
                    <a:pt x="9973438" y="6278071"/>
                  </a:lnTo>
                  <a:lnTo>
                    <a:pt x="9999812" y="6262354"/>
                  </a:lnTo>
                  <a:lnTo>
                    <a:pt x="10023364" y="6273929"/>
                  </a:lnTo>
                  <a:lnTo>
                    <a:pt x="10035174" y="6292283"/>
                  </a:lnTo>
                  <a:lnTo>
                    <a:pt x="10035636" y="6326056"/>
                  </a:lnTo>
                  <a:lnTo>
                    <a:pt x="10033019" y="6355462"/>
                  </a:lnTo>
                  <a:lnTo>
                    <a:pt x="10031090" y="6384776"/>
                  </a:lnTo>
                  <a:lnTo>
                    <a:pt x="10029187" y="6414091"/>
                  </a:lnTo>
                  <a:lnTo>
                    <a:pt x="10028297" y="6444052"/>
                  </a:lnTo>
                  <a:lnTo>
                    <a:pt x="10031090" y="6469106"/>
                  </a:lnTo>
                  <a:lnTo>
                    <a:pt x="10068992" y="6539367"/>
                  </a:lnTo>
                  <a:lnTo>
                    <a:pt x="10108621" y="6591527"/>
                  </a:lnTo>
                  <a:lnTo>
                    <a:pt x="10148258" y="6643679"/>
                  </a:lnTo>
                  <a:lnTo>
                    <a:pt x="10191995" y="6696069"/>
                  </a:lnTo>
                  <a:lnTo>
                    <a:pt x="10206556" y="6719382"/>
                  </a:lnTo>
                  <a:lnTo>
                    <a:pt x="10223181" y="6745999"/>
                  </a:lnTo>
                  <a:lnTo>
                    <a:pt x="10229782" y="6787468"/>
                  </a:lnTo>
                  <a:lnTo>
                    <a:pt x="10233760" y="6829563"/>
                  </a:lnTo>
                  <a:lnTo>
                    <a:pt x="10237735" y="6871652"/>
                  </a:lnTo>
                  <a:lnTo>
                    <a:pt x="10238886" y="6915369"/>
                  </a:lnTo>
                  <a:lnTo>
                    <a:pt x="10243282" y="6945178"/>
                  </a:lnTo>
                  <a:lnTo>
                    <a:pt x="10267764" y="6964225"/>
                  </a:lnTo>
                  <a:lnTo>
                    <a:pt x="10294876" y="6967133"/>
                  </a:lnTo>
                  <a:lnTo>
                    <a:pt x="10330421" y="6969468"/>
                  </a:lnTo>
                  <a:lnTo>
                    <a:pt x="10356174" y="6966941"/>
                  </a:lnTo>
                  <a:lnTo>
                    <a:pt x="10372853" y="6947705"/>
                  </a:lnTo>
                  <a:lnTo>
                    <a:pt x="10377593" y="6918159"/>
                  </a:lnTo>
                  <a:lnTo>
                    <a:pt x="10376579" y="6883965"/>
                  </a:lnTo>
                  <a:lnTo>
                    <a:pt x="10374449" y="6849506"/>
                  </a:lnTo>
                  <a:lnTo>
                    <a:pt x="10378710" y="6820496"/>
                  </a:lnTo>
                  <a:lnTo>
                    <a:pt x="10394265" y="6802353"/>
                  </a:lnTo>
                  <a:lnTo>
                    <a:pt x="10413966" y="6790897"/>
                  </a:lnTo>
                  <a:lnTo>
                    <a:pt x="10448668" y="6799635"/>
                  </a:lnTo>
                  <a:lnTo>
                    <a:pt x="10481491" y="6821544"/>
                  </a:lnTo>
                  <a:lnTo>
                    <a:pt x="10498994" y="6836363"/>
                  </a:lnTo>
                  <a:lnTo>
                    <a:pt x="10516503" y="6851174"/>
                  </a:lnTo>
                  <a:lnTo>
                    <a:pt x="10535584" y="6866125"/>
                  </a:lnTo>
                  <a:lnTo>
                    <a:pt x="10557483" y="6875807"/>
                  </a:lnTo>
                  <a:lnTo>
                    <a:pt x="10579392" y="6885489"/>
                  </a:lnTo>
                  <a:lnTo>
                    <a:pt x="10603694" y="6890250"/>
                  </a:lnTo>
                  <a:lnTo>
                    <a:pt x="10633655" y="6882607"/>
                  </a:lnTo>
                  <a:lnTo>
                    <a:pt x="10661288" y="6875562"/>
                  </a:lnTo>
                  <a:lnTo>
                    <a:pt x="10681476" y="6846756"/>
                  </a:lnTo>
                  <a:lnTo>
                    <a:pt x="10701670" y="6829563"/>
                  </a:lnTo>
                  <a:lnTo>
                    <a:pt x="10729935" y="6805439"/>
                  </a:lnTo>
                  <a:lnTo>
                    <a:pt x="10766642" y="6774147"/>
                  </a:lnTo>
                  <a:lnTo>
                    <a:pt x="10781922" y="6738428"/>
                  </a:lnTo>
                  <a:lnTo>
                    <a:pt x="10800309" y="6695437"/>
                  </a:lnTo>
                  <a:lnTo>
                    <a:pt x="10804113" y="6664736"/>
                  </a:lnTo>
                  <a:lnTo>
                    <a:pt x="10823873" y="6642651"/>
                  </a:lnTo>
                  <a:lnTo>
                    <a:pt x="10847211" y="6640494"/>
                  </a:lnTo>
                  <a:lnTo>
                    <a:pt x="10880146" y="6648889"/>
                  </a:lnTo>
                  <a:lnTo>
                    <a:pt x="10907052" y="6660899"/>
                  </a:lnTo>
                  <a:lnTo>
                    <a:pt x="10943531" y="6677162"/>
                  </a:lnTo>
                  <a:lnTo>
                    <a:pt x="10973582" y="6702129"/>
                  </a:lnTo>
                  <a:lnTo>
                    <a:pt x="11006352" y="6724822"/>
                  </a:lnTo>
                  <a:lnTo>
                    <a:pt x="11027563" y="6740618"/>
                  </a:lnTo>
                  <a:lnTo>
                    <a:pt x="11045798" y="6762908"/>
                  </a:lnTo>
                  <a:lnTo>
                    <a:pt x="11068116" y="6778532"/>
                  </a:lnTo>
                  <a:lnTo>
                    <a:pt x="11104498" y="6790581"/>
                  </a:lnTo>
                  <a:lnTo>
                    <a:pt x="11157549" y="6803230"/>
                  </a:lnTo>
                  <a:lnTo>
                    <a:pt x="11184539" y="6791477"/>
                  </a:lnTo>
                  <a:lnTo>
                    <a:pt x="11223985" y="6696260"/>
                  </a:lnTo>
                  <a:lnTo>
                    <a:pt x="11301475" y="6655148"/>
                  </a:lnTo>
                  <a:lnTo>
                    <a:pt x="11332800" y="6643210"/>
                  </a:lnTo>
                  <a:lnTo>
                    <a:pt x="11336499" y="6592378"/>
                  </a:lnTo>
                  <a:lnTo>
                    <a:pt x="11360473" y="6567765"/>
                  </a:lnTo>
                  <a:lnTo>
                    <a:pt x="11403952" y="6560412"/>
                  </a:lnTo>
                  <a:lnTo>
                    <a:pt x="11435662" y="6553844"/>
                  </a:lnTo>
                  <a:lnTo>
                    <a:pt x="11443950" y="6479775"/>
                  </a:lnTo>
                  <a:lnTo>
                    <a:pt x="11347770" y="6448694"/>
                  </a:lnTo>
                  <a:lnTo>
                    <a:pt x="11316572" y="6382561"/>
                  </a:lnTo>
                  <a:lnTo>
                    <a:pt x="11293364" y="6320839"/>
                  </a:lnTo>
                  <a:lnTo>
                    <a:pt x="11270162" y="6259117"/>
                  </a:lnTo>
                  <a:lnTo>
                    <a:pt x="11247956" y="6196921"/>
                  </a:lnTo>
                  <a:lnTo>
                    <a:pt x="11240902" y="6171194"/>
                  </a:lnTo>
                  <a:lnTo>
                    <a:pt x="11240359" y="6148732"/>
                  </a:lnTo>
                  <a:lnTo>
                    <a:pt x="11236831" y="6125313"/>
                  </a:lnTo>
                  <a:lnTo>
                    <a:pt x="11238697" y="6101485"/>
                  </a:lnTo>
                  <a:lnTo>
                    <a:pt x="11239615" y="6077724"/>
                  </a:lnTo>
                  <a:lnTo>
                    <a:pt x="11241671" y="6041993"/>
                  </a:lnTo>
                  <a:lnTo>
                    <a:pt x="11243289" y="6007621"/>
                  </a:lnTo>
                  <a:lnTo>
                    <a:pt x="11242502" y="5951511"/>
                  </a:lnTo>
                  <a:lnTo>
                    <a:pt x="11231997" y="5892514"/>
                  </a:lnTo>
                  <a:lnTo>
                    <a:pt x="11215827" y="5836608"/>
                  </a:lnTo>
                  <a:lnTo>
                    <a:pt x="11199655" y="5780703"/>
                  </a:lnTo>
                  <a:lnTo>
                    <a:pt x="11176614" y="5727384"/>
                  </a:lnTo>
                  <a:lnTo>
                    <a:pt x="11153255" y="5699229"/>
                  </a:lnTo>
                  <a:lnTo>
                    <a:pt x="11129830" y="5674189"/>
                  </a:lnTo>
                  <a:lnTo>
                    <a:pt x="11100507" y="5650810"/>
                  </a:lnTo>
                  <a:lnTo>
                    <a:pt x="11071650" y="5631216"/>
                  </a:lnTo>
                  <a:lnTo>
                    <a:pt x="11072366" y="5602607"/>
                  </a:lnTo>
                  <a:lnTo>
                    <a:pt x="11087370" y="5578720"/>
                  </a:lnTo>
                  <a:lnTo>
                    <a:pt x="11115207" y="5512410"/>
                  </a:lnTo>
                  <a:lnTo>
                    <a:pt x="11128298" y="5434095"/>
                  </a:lnTo>
                  <a:lnTo>
                    <a:pt x="11154613" y="5371417"/>
                  </a:lnTo>
                  <a:lnTo>
                    <a:pt x="11166854" y="5353736"/>
                  </a:lnTo>
                  <a:lnTo>
                    <a:pt x="11175405" y="5332045"/>
                  </a:lnTo>
                  <a:lnTo>
                    <a:pt x="11183333" y="5304512"/>
                  </a:lnTo>
                  <a:lnTo>
                    <a:pt x="11189975" y="5277565"/>
                  </a:lnTo>
                  <a:lnTo>
                    <a:pt x="11196622" y="5250618"/>
                  </a:lnTo>
                  <a:lnTo>
                    <a:pt x="11201431" y="5224581"/>
                  </a:lnTo>
                  <a:lnTo>
                    <a:pt x="11204938" y="5201393"/>
                  </a:lnTo>
                  <a:lnTo>
                    <a:pt x="11219018" y="5145119"/>
                  </a:lnTo>
                  <a:lnTo>
                    <a:pt x="11228100" y="5080126"/>
                  </a:lnTo>
                  <a:lnTo>
                    <a:pt x="11230065" y="5028805"/>
                  </a:lnTo>
                  <a:lnTo>
                    <a:pt x="11228059" y="4981045"/>
                  </a:lnTo>
                  <a:lnTo>
                    <a:pt x="11226056" y="4933277"/>
                  </a:lnTo>
                  <a:lnTo>
                    <a:pt x="11219223" y="4889237"/>
                  </a:lnTo>
                  <a:lnTo>
                    <a:pt x="11209022" y="4846384"/>
                  </a:lnTo>
                  <a:lnTo>
                    <a:pt x="11188617" y="4760663"/>
                  </a:lnTo>
                  <a:lnTo>
                    <a:pt x="11153636" y="4679367"/>
                  </a:lnTo>
                  <a:lnTo>
                    <a:pt x="11112445" y="4577060"/>
                  </a:lnTo>
                  <a:lnTo>
                    <a:pt x="11091559" y="4525192"/>
                  </a:lnTo>
                  <a:lnTo>
                    <a:pt x="11077929" y="4460615"/>
                  </a:lnTo>
                  <a:lnTo>
                    <a:pt x="11044439" y="4415202"/>
                  </a:lnTo>
                  <a:lnTo>
                    <a:pt x="10978719" y="4326085"/>
                  </a:lnTo>
                  <a:lnTo>
                    <a:pt x="10912885" y="4244789"/>
                  </a:lnTo>
                  <a:lnTo>
                    <a:pt x="10839047" y="4162202"/>
                  </a:lnTo>
                  <a:lnTo>
                    <a:pt x="10820679" y="4141651"/>
                  </a:lnTo>
                  <a:lnTo>
                    <a:pt x="10798876" y="4092282"/>
                  </a:lnTo>
                  <a:lnTo>
                    <a:pt x="10799602" y="4064267"/>
                  </a:lnTo>
                  <a:lnTo>
                    <a:pt x="10833950" y="3984568"/>
                  </a:lnTo>
                  <a:lnTo>
                    <a:pt x="10895032" y="3913521"/>
                  </a:lnTo>
                  <a:lnTo>
                    <a:pt x="10939699" y="3838471"/>
                  </a:lnTo>
                  <a:lnTo>
                    <a:pt x="10946504" y="3818073"/>
                  </a:lnTo>
                  <a:lnTo>
                    <a:pt x="10976360" y="3788884"/>
                  </a:lnTo>
                  <a:lnTo>
                    <a:pt x="10999552" y="3773189"/>
                  </a:lnTo>
                  <a:lnTo>
                    <a:pt x="11022742" y="3757486"/>
                  </a:lnTo>
                  <a:lnTo>
                    <a:pt x="11048005" y="3744310"/>
                  </a:lnTo>
                  <a:lnTo>
                    <a:pt x="11086164" y="3720733"/>
                  </a:lnTo>
                  <a:lnTo>
                    <a:pt x="11099329" y="3697789"/>
                  </a:lnTo>
                  <a:lnTo>
                    <a:pt x="11105645" y="3673889"/>
                  </a:lnTo>
                  <a:lnTo>
                    <a:pt x="11111964" y="3649995"/>
                  </a:lnTo>
                  <a:lnTo>
                    <a:pt x="11110789" y="3624407"/>
                  </a:lnTo>
                  <a:lnTo>
                    <a:pt x="11107003" y="3599083"/>
                  </a:lnTo>
                  <a:lnTo>
                    <a:pt x="11099435" y="3548427"/>
                  </a:lnTo>
                  <a:lnTo>
                    <a:pt x="11079333" y="3496630"/>
                  </a:lnTo>
                  <a:lnTo>
                    <a:pt x="11077082" y="3448098"/>
                  </a:lnTo>
                  <a:lnTo>
                    <a:pt x="11054721" y="3415837"/>
                  </a:lnTo>
                  <a:lnTo>
                    <a:pt x="11019232" y="3396883"/>
                  </a:lnTo>
                  <a:lnTo>
                    <a:pt x="10985947" y="3376004"/>
                  </a:lnTo>
                  <a:lnTo>
                    <a:pt x="10953211" y="3355402"/>
                  </a:lnTo>
                  <a:lnTo>
                    <a:pt x="10926192" y="3328606"/>
                  </a:lnTo>
                  <a:lnTo>
                    <a:pt x="10908420" y="3291674"/>
                  </a:lnTo>
                  <a:lnTo>
                    <a:pt x="10898033" y="3259037"/>
                  </a:lnTo>
                  <a:lnTo>
                    <a:pt x="10901930" y="3216954"/>
                  </a:lnTo>
                  <a:lnTo>
                    <a:pt x="10905701" y="3176059"/>
                  </a:lnTo>
                  <a:lnTo>
                    <a:pt x="10909462" y="3135164"/>
                  </a:lnTo>
                  <a:lnTo>
                    <a:pt x="10913096" y="3095667"/>
                  </a:lnTo>
                  <a:lnTo>
                    <a:pt x="10901620" y="3069960"/>
                  </a:lnTo>
                  <a:lnTo>
                    <a:pt x="10871355" y="3047135"/>
                  </a:lnTo>
                  <a:lnTo>
                    <a:pt x="10843004" y="3041438"/>
                  </a:lnTo>
                  <a:lnTo>
                    <a:pt x="10809133" y="3029158"/>
                  </a:lnTo>
                  <a:lnTo>
                    <a:pt x="10752891" y="3008786"/>
                  </a:lnTo>
                  <a:lnTo>
                    <a:pt x="10687134" y="2987241"/>
                  </a:lnTo>
                  <a:lnTo>
                    <a:pt x="10621420" y="2963867"/>
                  </a:lnTo>
                  <a:lnTo>
                    <a:pt x="10555710" y="2940489"/>
                  </a:lnTo>
                  <a:lnTo>
                    <a:pt x="10490123" y="2915619"/>
                  </a:lnTo>
                  <a:lnTo>
                    <a:pt x="10436433" y="2884973"/>
                  </a:lnTo>
                  <a:lnTo>
                    <a:pt x="10422493" y="2867602"/>
                  </a:lnTo>
                  <a:lnTo>
                    <a:pt x="10430300" y="2794346"/>
                  </a:lnTo>
                  <a:lnTo>
                    <a:pt x="10436433" y="2721749"/>
                  </a:lnTo>
                  <a:lnTo>
                    <a:pt x="10439500" y="2685452"/>
                  </a:lnTo>
                  <a:lnTo>
                    <a:pt x="10442699" y="2648671"/>
                  </a:lnTo>
                  <a:lnTo>
                    <a:pt x="10441875" y="2619733"/>
                  </a:lnTo>
                  <a:lnTo>
                    <a:pt x="10441050" y="2590802"/>
                  </a:lnTo>
                  <a:lnTo>
                    <a:pt x="10436204" y="2568715"/>
                  </a:lnTo>
                  <a:lnTo>
                    <a:pt x="10406974" y="2548218"/>
                  </a:lnTo>
                  <a:lnTo>
                    <a:pt x="10289961" y="2454175"/>
                  </a:lnTo>
                  <a:lnTo>
                    <a:pt x="10267408" y="2451635"/>
                  </a:lnTo>
                  <a:lnTo>
                    <a:pt x="10244650" y="2470115"/>
                  </a:lnTo>
                  <a:lnTo>
                    <a:pt x="10220611" y="2488434"/>
                  </a:lnTo>
                  <a:lnTo>
                    <a:pt x="10185900" y="2467885"/>
                  </a:lnTo>
                  <a:lnTo>
                    <a:pt x="10182123" y="2443167"/>
                  </a:lnTo>
                  <a:lnTo>
                    <a:pt x="10145012" y="2397108"/>
                  </a:lnTo>
                  <a:lnTo>
                    <a:pt x="10112751" y="2367161"/>
                  </a:lnTo>
                  <a:lnTo>
                    <a:pt x="10085500" y="2338177"/>
                  </a:lnTo>
                  <a:lnTo>
                    <a:pt x="10053777" y="2328647"/>
                  </a:lnTo>
                  <a:lnTo>
                    <a:pt x="10033816" y="2336819"/>
                  </a:lnTo>
                  <a:lnTo>
                    <a:pt x="10013854" y="2344989"/>
                  </a:lnTo>
                  <a:lnTo>
                    <a:pt x="9994265" y="2358983"/>
                  </a:lnTo>
                  <a:lnTo>
                    <a:pt x="9968679" y="2364391"/>
                  </a:lnTo>
                  <a:lnTo>
                    <a:pt x="9948233" y="2348748"/>
                  </a:lnTo>
                  <a:lnTo>
                    <a:pt x="9926359" y="2325936"/>
                  </a:lnTo>
                  <a:lnTo>
                    <a:pt x="9904484" y="2303125"/>
                  </a:lnTo>
                  <a:lnTo>
                    <a:pt x="9880914" y="2272920"/>
                  </a:lnTo>
                  <a:lnTo>
                    <a:pt x="9858351" y="2240242"/>
                  </a:lnTo>
                  <a:lnTo>
                    <a:pt x="9813222" y="2174894"/>
                  </a:lnTo>
                  <a:lnTo>
                    <a:pt x="9771404" y="2101908"/>
                  </a:lnTo>
                  <a:lnTo>
                    <a:pt x="9753619" y="2068854"/>
                  </a:lnTo>
                  <a:lnTo>
                    <a:pt x="9739669" y="2042989"/>
                  </a:lnTo>
                  <a:lnTo>
                    <a:pt x="9723348" y="2018127"/>
                  </a:lnTo>
                  <a:lnTo>
                    <a:pt x="9712809" y="1989966"/>
                  </a:lnTo>
                  <a:lnTo>
                    <a:pt x="9704980" y="1969054"/>
                  </a:lnTo>
                  <a:lnTo>
                    <a:pt x="9711423" y="1941474"/>
                  </a:lnTo>
                  <a:lnTo>
                    <a:pt x="9725050" y="1921959"/>
                  </a:lnTo>
                  <a:lnTo>
                    <a:pt x="9740724" y="1904898"/>
                  </a:lnTo>
                  <a:lnTo>
                    <a:pt x="9761064" y="1895488"/>
                  </a:lnTo>
                  <a:lnTo>
                    <a:pt x="9784898" y="1897478"/>
                  </a:lnTo>
                  <a:lnTo>
                    <a:pt x="9816480" y="1923088"/>
                  </a:lnTo>
                  <a:lnTo>
                    <a:pt x="9840959" y="1917198"/>
                  </a:lnTo>
                  <a:lnTo>
                    <a:pt x="9874675" y="1894756"/>
                  </a:lnTo>
                  <a:lnTo>
                    <a:pt x="9903743" y="1867136"/>
                  </a:lnTo>
                  <a:lnTo>
                    <a:pt x="9896265" y="1822838"/>
                  </a:lnTo>
                  <a:lnTo>
                    <a:pt x="9869655" y="1801371"/>
                  </a:lnTo>
                  <a:lnTo>
                    <a:pt x="9863792" y="1775058"/>
                  </a:lnTo>
                  <a:lnTo>
                    <a:pt x="9856096" y="1740409"/>
                  </a:lnTo>
                  <a:lnTo>
                    <a:pt x="9872523" y="1682743"/>
                  </a:lnTo>
                  <a:lnTo>
                    <a:pt x="9888271" y="1626797"/>
                  </a:lnTo>
                  <a:lnTo>
                    <a:pt x="9896147" y="1598822"/>
                  </a:lnTo>
                  <a:lnTo>
                    <a:pt x="9903328" y="1571018"/>
                  </a:lnTo>
                  <a:lnTo>
                    <a:pt x="9907318" y="1546545"/>
                  </a:lnTo>
                  <a:lnTo>
                    <a:pt x="9911309" y="1522071"/>
                  </a:lnTo>
                  <a:lnTo>
                    <a:pt x="9905960" y="1486696"/>
                  </a:lnTo>
                  <a:lnTo>
                    <a:pt x="9895251" y="1464589"/>
                  </a:lnTo>
                  <a:lnTo>
                    <a:pt x="9850280" y="1439292"/>
                  </a:lnTo>
                  <a:lnTo>
                    <a:pt x="9806825" y="1415523"/>
                  </a:lnTo>
                  <a:lnTo>
                    <a:pt x="9768576" y="1384679"/>
                  </a:lnTo>
                  <a:lnTo>
                    <a:pt x="9749458" y="1369260"/>
                  </a:lnTo>
                  <a:lnTo>
                    <a:pt x="9731599" y="1352113"/>
                  </a:lnTo>
                  <a:lnTo>
                    <a:pt x="9716889" y="1332995"/>
                  </a:lnTo>
                  <a:lnTo>
                    <a:pt x="9702183" y="1313876"/>
                  </a:lnTo>
                  <a:lnTo>
                    <a:pt x="9690643" y="1291665"/>
                  </a:lnTo>
                  <a:lnTo>
                    <a:pt x="9682888" y="1267705"/>
                  </a:lnTo>
                  <a:lnTo>
                    <a:pt x="9666989" y="1218712"/>
                  </a:lnTo>
                  <a:lnTo>
                    <a:pt x="9656785" y="1161989"/>
                  </a:lnTo>
                  <a:lnTo>
                    <a:pt x="9633921" y="1115363"/>
                  </a:lnTo>
                  <a:lnTo>
                    <a:pt x="9595827" y="1037827"/>
                  </a:lnTo>
                  <a:lnTo>
                    <a:pt x="9565017" y="1032478"/>
                  </a:lnTo>
                  <a:lnTo>
                    <a:pt x="9509290" y="1074580"/>
                  </a:lnTo>
                  <a:lnTo>
                    <a:pt x="9487018" y="1066396"/>
                  </a:lnTo>
                  <a:lnTo>
                    <a:pt x="9348276" y="1016064"/>
                  </a:lnTo>
                  <a:lnTo>
                    <a:pt x="9323069" y="996832"/>
                  </a:lnTo>
                  <a:lnTo>
                    <a:pt x="9323394" y="963739"/>
                  </a:lnTo>
                  <a:lnTo>
                    <a:pt x="9319382" y="932249"/>
                  </a:lnTo>
                  <a:lnTo>
                    <a:pt x="9311550" y="901807"/>
                  </a:lnTo>
                  <a:lnTo>
                    <a:pt x="9303752" y="871371"/>
                  </a:lnTo>
                  <a:lnTo>
                    <a:pt x="9291830" y="841925"/>
                  </a:lnTo>
                  <a:lnTo>
                    <a:pt x="9280268" y="814761"/>
                  </a:lnTo>
                  <a:lnTo>
                    <a:pt x="9257147" y="760432"/>
                  </a:lnTo>
                  <a:lnTo>
                    <a:pt x="9233998" y="716016"/>
                  </a:lnTo>
                  <a:lnTo>
                    <a:pt x="9242184" y="693698"/>
                  </a:lnTo>
                  <a:lnTo>
                    <a:pt x="9388572" y="647323"/>
                  </a:lnTo>
                  <a:lnTo>
                    <a:pt x="9412207" y="639290"/>
                  </a:lnTo>
                  <a:lnTo>
                    <a:pt x="9420201" y="588812"/>
                  </a:lnTo>
                  <a:lnTo>
                    <a:pt x="9416241" y="544356"/>
                  </a:lnTo>
                  <a:lnTo>
                    <a:pt x="9401324" y="512793"/>
                  </a:lnTo>
                  <a:lnTo>
                    <a:pt x="9346918" y="467908"/>
                  </a:lnTo>
                  <a:lnTo>
                    <a:pt x="9301333" y="488722"/>
                  </a:lnTo>
                  <a:lnTo>
                    <a:pt x="9270746" y="514152"/>
                  </a:lnTo>
                  <a:lnTo>
                    <a:pt x="9240159" y="539582"/>
                  </a:lnTo>
                  <a:lnTo>
                    <a:pt x="9207370" y="565948"/>
                  </a:lnTo>
                  <a:lnTo>
                    <a:pt x="9182333" y="563119"/>
                  </a:lnTo>
                  <a:lnTo>
                    <a:pt x="9157934" y="551921"/>
                  </a:lnTo>
                  <a:lnTo>
                    <a:pt x="9143728" y="495910"/>
                  </a:lnTo>
                  <a:lnTo>
                    <a:pt x="9129945" y="466701"/>
                  </a:lnTo>
                  <a:lnTo>
                    <a:pt x="9114322" y="448862"/>
                  </a:lnTo>
                  <a:lnTo>
                    <a:pt x="9098698" y="431030"/>
                  </a:lnTo>
                  <a:lnTo>
                    <a:pt x="9061280" y="420299"/>
                  </a:lnTo>
                  <a:lnTo>
                    <a:pt x="9019084" y="416376"/>
                  </a:lnTo>
                  <a:lnTo>
                    <a:pt x="8997349" y="412136"/>
                  </a:lnTo>
                  <a:lnTo>
                    <a:pt x="8975604" y="407895"/>
                  </a:lnTo>
                  <a:lnTo>
                    <a:pt x="8954328" y="400469"/>
                  </a:lnTo>
                  <a:lnTo>
                    <a:pt x="8933418" y="380855"/>
                  </a:lnTo>
                  <a:lnTo>
                    <a:pt x="8919627" y="353902"/>
                  </a:lnTo>
                  <a:lnTo>
                    <a:pt x="8920008" y="320750"/>
                  </a:lnTo>
                  <a:lnTo>
                    <a:pt x="8915741" y="288362"/>
                  </a:lnTo>
                  <a:lnTo>
                    <a:pt x="8890720" y="257313"/>
                  </a:lnTo>
                  <a:lnTo>
                    <a:pt x="8873574" y="244836"/>
                  </a:lnTo>
                  <a:lnTo>
                    <a:pt x="8856427" y="232358"/>
                  </a:lnTo>
                  <a:lnTo>
                    <a:pt x="8837591" y="219967"/>
                  </a:lnTo>
                  <a:lnTo>
                    <a:pt x="8825009" y="187671"/>
                  </a:lnTo>
                  <a:lnTo>
                    <a:pt x="8820526" y="156424"/>
                  </a:lnTo>
                  <a:lnTo>
                    <a:pt x="8813785" y="125923"/>
                  </a:lnTo>
                  <a:lnTo>
                    <a:pt x="8801209" y="104331"/>
                  </a:lnTo>
                  <a:lnTo>
                    <a:pt x="8789238" y="84329"/>
                  </a:lnTo>
                  <a:lnTo>
                    <a:pt x="8760433" y="70275"/>
                  </a:lnTo>
                  <a:lnTo>
                    <a:pt x="8728268" y="73903"/>
                  </a:lnTo>
                  <a:lnTo>
                    <a:pt x="8699469" y="85687"/>
                  </a:lnTo>
                  <a:lnTo>
                    <a:pt x="8672265" y="63924"/>
                  </a:lnTo>
                  <a:lnTo>
                    <a:pt x="8638921" y="55061"/>
                  </a:lnTo>
                  <a:lnTo>
                    <a:pt x="8613775" y="38086"/>
                  </a:lnTo>
                  <a:lnTo>
                    <a:pt x="8581439" y="16981"/>
                  </a:lnTo>
                  <a:lnTo>
                    <a:pt x="8545451" y="2058"/>
                  </a:lnTo>
                  <a:lnTo>
                    <a:pt x="8506318" y="0"/>
                  </a:lnTo>
                  <a:lnTo>
                    <a:pt x="8484621" y="2196"/>
                  </a:lnTo>
                  <a:lnTo>
                    <a:pt x="8463075" y="10044"/>
                  </a:lnTo>
                  <a:lnTo>
                    <a:pt x="8442394" y="23121"/>
                  </a:lnTo>
                  <a:lnTo>
                    <a:pt x="8421703" y="36200"/>
                  </a:lnTo>
                  <a:lnTo>
                    <a:pt x="8402467" y="53353"/>
                  </a:lnTo>
                  <a:lnTo>
                    <a:pt x="8386620" y="73448"/>
                  </a:lnTo>
                  <a:lnTo>
                    <a:pt x="8370773" y="93542"/>
                  </a:lnTo>
                  <a:lnTo>
                    <a:pt x="8357087" y="116848"/>
                  </a:lnTo>
                  <a:lnTo>
                    <a:pt x="8349900" y="140096"/>
                  </a:lnTo>
                  <a:lnTo>
                    <a:pt x="8342704" y="163349"/>
                  </a:lnTo>
                  <a:lnTo>
                    <a:pt x="8341888" y="186919"/>
                  </a:lnTo>
                  <a:lnTo>
                    <a:pt x="8347181" y="209467"/>
                  </a:lnTo>
                  <a:lnTo>
                    <a:pt x="8361065" y="247705"/>
                  </a:lnTo>
                  <a:lnTo>
                    <a:pt x="8384983" y="280046"/>
                  </a:lnTo>
                  <a:lnTo>
                    <a:pt x="8412467" y="310126"/>
                  </a:lnTo>
                  <a:lnTo>
                    <a:pt x="8426342" y="327536"/>
                  </a:lnTo>
                  <a:lnTo>
                    <a:pt x="8427430" y="367250"/>
                  </a:lnTo>
                  <a:lnTo>
                    <a:pt x="8416513" y="407585"/>
                  </a:lnTo>
                  <a:lnTo>
                    <a:pt x="8404306" y="427099"/>
                  </a:lnTo>
                  <a:lnTo>
                    <a:pt x="8379880" y="466135"/>
                  </a:lnTo>
                  <a:lnTo>
                    <a:pt x="8341392" y="501575"/>
                  </a:lnTo>
                  <a:lnTo>
                    <a:pt x="8317254" y="522316"/>
                  </a:lnTo>
                  <a:lnTo>
                    <a:pt x="8283417" y="551393"/>
                  </a:lnTo>
                  <a:lnTo>
                    <a:pt x="8257090" y="572418"/>
                  </a:lnTo>
                  <a:lnTo>
                    <a:pt x="8230202" y="576724"/>
                  </a:lnTo>
                  <a:lnTo>
                    <a:pt x="8203763" y="577720"/>
                  </a:lnTo>
                  <a:lnTo>
                    <a:pt x="8175030" y="562130"/>
                  </a:lnTo>
                  <a:lnTo>
                    <a:pt x="8158845" y="547990"/>
                  </a:lnTo>
                  <a:lnTo>
                    <a:pt x="8141792" y="527757"/>
                  </a:lnTo>
                  <a:lnTo>
                    <a:pt x="8121440" y="601224"/>
                  </a:lnTo>
                  <a:lnTo>
                    <a:pt x="8106237" y="639844"/>
                  </a:lnTo>
                  <a:lnTo>
                    <a:pt x="8087383" y="666494"/>
                  </a:lnTo>
                  <a:lnTo>
                    <a:pt x="8068522" y="693151"/>
                  </a:lnTo>
                  <a:lnTo>
                    <a:pt x="8046244" y="707594"/>
                  </a:lnTo>
                  <a:lnTo>
                    <a:pt x="8023452" y="718185"/>
                  </a:lnTo>
                  <a:lnTo>
                    <a:pt x="8000659" y="728776"/>
                  </a:lnTo>
                  <a:lnTo>
                    <a:pt x="7978078" y="735075"/>
                  </a:lnTo>
                  <a:lnTo>
                    <a:pt x="7958163" y="746748"/>
                  </a:lnTo>
                  <a:lnTo>
                    <a:pt x="7938238" y="758427"/>
                  </a:lnTo>
                  <a:lnTo>
                    <a:pt x="7920788" y="775324"/>
                  </a:lnTo>
                  <a:lnTo>
                    <a:pt x="7910553" y="805238"/>
                  </a:lnTo>
                  <a:lnTo>
                    <a:pt x="7923731" y="856480"/>
                  </a:lnTo>
                  <a:lnTo>
                    <a:pt x="7942393" y="893247"/>
                  </a:lnTo>
                  <a:lnTo>
                    <a:pt x="7949999" y="924935"/>
                  </a:lnTo>
                  <a:lnTo>
                    <a:pt x="7947999" y="968633"/>
                  </a:lnTo>
                  <a:lnTo>
                    <a:pt x="7952591" y="1011882"/>
                  </a:lnTo>
                  <a:lnTo>
                    <a:pt x="7959186" y="1038084"/>
                  </a:lnTo>
                  <a:lnTo>
                    <a:pt x="7963604" y="1062314"/>
                  </a:lnTo>
                  <a:lnTo>
                    <a:pt x="7996374" y="1153172"/>
                  </a:lnTo>
                  <a:lnTo>
                    <a:pt x="8001661" y="1188639"/>
                  </a:lnTo>
                  <a:lnTo>
                    <a:pt x="7992015" y="1207665"/>
                  </a:lnTo>
                  <a:lnTo>
                    <a:pt x="7975842" y="1221455"/>
                  </a:lnTo>
                  <a:lnTo>
                    <a:pt x="7959673" y="1235252"/>
                  </a:lnTo>
                  <a:lnTo>
                    <a:pt x="7937004" y="1243627"/>
                  </a:lnTo>
                  <a:lnTo>
                    <a:pt x="7911911" y="1250018"/>
                  </a:lnTo>
                  <a:lnTo>
                    <a:pt x="7861725" y="1262805"/>
                  </a:lnTo>
                  <a:lnTo>
                    <a:pt x="7800761" y="1268556"/>
                  </a:lnTo>
                  <a:lnTo>
                    <a:pt x="7758212" y="1294909"/>
                  </a:lnTo>
                  <a:lnTo>
                    <a:pt x="7762392" y="1354085"/>
                  </a:lnTo>
                  <a:lnTo>
                    <a:pt x="7769092" y="1399643"/>
                  </a:lnTo>
                  <a:lnTo>
                    <a:pt x="7775792" y="1445200"/>
                  </a:lnTo>
                  <a:lnTo>
                    <a:pt x="7779901" y="1496496"/>
                  </a:lnTo>
                  <a:lnTo>
                    <a:pt x="7765018" y="1535662"/>
                  </a:lnTo>
                  <a:lnTo>
                    <a:pt x="7753257" y="1566605"/>
                  </a:lnTo>
                  <a:lnTo>
                    <a:pt x="7739962" y="1594212"/>
                  </a:lnTo>
                  <a:lnTo>
                    <a:pt x="7724208" y="1621357"/>
                  </a:lnTo>
                  <a:lnTo>
                    <a:pt x="7708460" y="1648495"/>
                  </a:lnTo>
                  <a:lnTo>
                    <a:pt x="7691146" y="1675600"/>
                  </a:lnTo>
                  <a:lnTo>
                    <a:pt x="7671160" y="1701603"/>
                  </a:lnTo>
                  <a:lnTo>
                    <a:pt x="7657403" y="1719509"/>
                  </a:lnTo>
                  <a:lnTo>
                    <a:pt x="7622534" y="1749126"/>
                  </a:lnTo>
                  <a:lnTo>
                    <a:pt x="7614035" y="1770976"/>
                  </a:lnTo>
                  <a:lnTo>
                    <a:pt x="7613368" y="1808823"/>
                  </a:lnTo>
                  <a:lnTo>
                    <a:pt x="7616751" y="1832183"/>
                  </a:lnTo>
                  <a:lnTo>
                    <a:pt x="7620140" y="1855549"/>
                  </a:lnTo>
                  <a:lnTo>
                    <a:pt x="7621532" y="1878123"/>
                  </a:lnTo>
                  <a:lnTo>
                    <a:pt x="7587503" y="1910867"/>
                  </a:lnTo>
                  <a:lnTo>
                    <a:pt x="7557167" y="1934713"/>
                  </a:lnTo>
                  <a:lnTo>
                    <a:pt x="7536505" y="1960045"/>
                  </a:lnTo>
                  <a:lnTo>
                    <a:pt x="7519693" y="1980655"/>
                  </a:lnTo>
                  <a:lnTo>
                    <a:pt x="7501840" y="2019254"/>
                  </a:lnTo>
                  <a:lnTo>
                    <a:pt x="7484812" y="2055262"/>
                  </a:lnTo>
                  <a:lnTo>
                    <a:pt x="7467786" y="2091263"/>
                  </a:lnTo>
                  <a:lnTo>
                    <a:pt x="7451384" y="2124864"/>
                  </a:lnTo>
                  <a:lnTo>
                    <a:pt x="7433128" y="2136875"/>
                  </a:lnTo>
                  <a:lnTo>
                    <a:pt x="7367166" y="2126771"/>
                  </a:lnTo>
                  <a:lnTo>
                    <a:pt x="7307985" y="2115110"/>
                  </a:lnTo>
                  <a:lnTo>
                    <a:pt x="7248808" y="2103444"/>
                  </a:lnTo>
                  <a:lnTo>
                    <a:pt x="7187707" y="2091693"/>
                  </a:lnTo>
                  <a:lnTo>
                    <a:pt x="7161880" y="2087333"/>
                  </a:lnTo>
                  <a:lnTo>
                    <a:pt x="7137915" y="2084200"/>
                  </a:lnTo>
                  <a:lnTo>
                    <a:pt x="7114837" y="2079742"/>
                  </a:lnTo>
                  <a:lnTo>
                    <a:pt x="7091763" y="2075284"/>
                  </a:lnTo>
                  <a:lnTo>
                    <a:pt x="7069783" y="2068576"/>
                  </a:lnTo>
                  <a:lnTo>
                    <a:pt x="7055914" y="2048252"/>
                  </a:lnTo>
                  <a:lnTo>
                    <a:pt x="7056348" y="2003571"/>
                  </a:lnTo>
                  <a:lnTo>
                    <a:pt x="7057805" y="1979546"/>
                  </a:lnTo>
                  <a:lnTo>
                    <a:pt x="7062391" y="1952534"/>
                  </a:lnTo>
                  <a:lnTo>
                    <a:pt x="7063148" y="1928759"/>
                  </a:lnTo>
                  <a:lnTo>
                    <a:pt x="7063920" y="1904991"/>
                  </a:lnTo>
                  <a:lnTo>
                    <a:pt x="7050906" y="1871633"/>
                  </a:lnTo>
                  <a:lnTo>
                    <a:pt x="7021237" y="1852614"/>
                  </a:lnTo>
                  <a:lnTo>
                    <a:pt x="6988343" y="1860752"/>
                  </a:lnTo>
                  <a:lnTo>
                    <a:pt x="6975060" y="1887375"/>
                  </a:lnTo>
                  <a:lnTo>
                    <a:pt x="6971696" y="1921175"/>
                  </a:lnTo>
                  <a:lnTo>
                    <a:pt x="6970660" y="1960045"/>
                  </a:lnTo>
                  <a:lnTo>
                    <a:pt x="6965985" y="1997517"/>
                  </a:lnTo>
                  <a:lnTo>
                    <a:pt x="6948125" y="2034112"/>
                  </a:lnTo>
                  <a:lnTo>
                    <a:pt x="6933636" y="2051489"/>
                  </a:lnTo>
                  <a:lnTo>
                    <a:pt x="6909455" y="2066136"/>
                  </a:lnTo>
                  <a:lnTo>
                    <a:pt x="6888628" y="2078752"/>
                  </a:lnTo>
                  <a:lnTo>
                    <a:pt x="6851939" y="2083126"/>
                  </a:lnTo>
                  <a:lnTo>
                    <a:pt x="6827841" y="2074302"/>
                  </a:lnTo>
                  <a:lnTo>
                    <a:pt x="6805393" y="2066097"/>
                  </a:lnTo>
                  <a:lnTo>
                    <a:pt x="6792389" y="2026205"/>
                  </a:lnTo>
                  <a:lnTo>
                    <a:pt x="6758472" y="2017176"/>
                  </a:lnTo>
                  <a:lnTo>
                    <a:pt x="6727546" y="2027359"/>
                  </a:lnTo>
                  <a:lnTo>
                    <a:pt x="6713222" y="2053238"/>
                  </a:lnTo>
                  <a:lnTo>
                    <a:pt x="6708143" y="2087901"/>
                  </a:lnTo>
                  <a:lnTo>
                    <a:pt x="6706865" y="2122978"/>
                  </a:lnTo>
                  <a:lnTo>
                    <a:pt x="6701272" y="2153480"/>
                  </a:lnTo>
                  <a:lnTo>
                    <a:pt x="6685022" y="2172235"/>
                  </a:lnTo>
                  <a:lnTo>
                    <a:pt x="6651126" y="2163696"/>
                  </a:lnTo>
                  <a:lnTo>
                    <a:pt x="6647635" y="2141332"/>
                  </a:lnTo>
                  <a:lnTo>
                    <a:pt x="6629124" y="2106861"/>
                  </a:lnTo>
                  <a:lnTo>
                    <a:pt x="6603622" y="2097068"/>
                  </a:lnTo>
                  <a:lnTo>
                    <a:pt x="6593886" y="2075666"/>
                  </a:lnTo>
                  <a:lnTo>
                    <a:pt x="6584002" y="2053943"/>
                  </a:lnTo>
                  <a:lnTo>
                    <a:pt x="6589192" y="2009355"/>
                  </a:lnTo>
                  <a:lnTo>
                    <a:pt x="6580290" y="1980450"/>
                  </a:lnTo>
                  <a:lnTo>
                    <a:pt x="6556382" y="1971117"/>
                  </a:lnTo>
                  <a:lnTo>
                    <a:pt x="6531323" y="1945082"/>
                  </a:lnTo>
                  <a:lnTo>
                    <a:pt x="6517764" y="1915556"/>
                  </a:lnTo>
                  <a:lnTo>
                    <a:pt x="6512235" y="1884843"/>
                  </a:lnTo>
                  <a:lnTo>
                    <a:pt x="6508202" y="1856670"/>
                  </a:lnTo>
                  <a:lnTo>
                    <a:pt x="6497319" y="1830112"/>
                  </a:lnTo>
                  <a:lnTo>
                    <a:pt x="6463321" y="1810321"/>
                  </a:lnTo>
                  <a:lnTo>
                    <a:pt x="6437694" y="1816407"/>
                  </a:lnTo>
                  <a:lnTo>
                    <a:pt x="6411625" y="1825383"/>
                  </a:lnTo>
                  <a:lnTo>
                    <a:pt x="6385549" y="1834360"/>
                  </a:lnTo>
                  <a:lnTo>
                    <a:pt x="6359122" y="1846995"/>
                  </a:lnTo>
                  <a:lnTo>
                    <a:pt x="6338172" y="1851228"/>
                  </a:lnTo>
                  <a:lnTo>
                    <a:pt x="6289375" y="1861068"/>
                  </a:lnTo>
                  <a:lnTo>
                    <a:pt x="6237241" y="1847576"/>
                  </a:lnTo>
                  <a:lnTo>
                    <a:pt x="6188553" y="1849864"/>
                  </a:lnTo>
                  <a:lnTo>
                    <a:pt x="6163847" y="1851032"/>
                  </a:lnTo>
                  <a:lnTo>
                    <a:pt x="6138680" y="1857560"/>
                  </a:lnTo>
                  <a:lnTo>
                    <a:pt x="6113739" y="1867551"/>
                  </a:lnTo>
                  <a:lnTo>
                    <a:pt x="6088798" y="1877535"/>
                  </a:lnTo>
                  <a:lnTo>
                    <a:pt x="6062775" y="1890370"/>
                  </a:lnTo>
                  <a:lnTo>
                    <a:pt x="6038934" y="1905637"/>
                  </a:lnTo>
                  <a:lnTo>
                    <a:pt x="5991238" y="1936170"/>
                  </a:lnTo>
                  <a:lnTo>
                    <a:pt x="5947712" y="1973241"/>
                  </a:lnTo>
                  <a:lnTo>
                    <a:pt x="5912430" y="2003571"/>
                  </a:lnTo>
                  <a:lnTo>
                    <a:pt x="5895858" y="2017809"/>
                  </a:lnTo>
                  <a:lnTo>
                    <a:pt x="5879852" y="2040443"/>
                  </a:lnTo>
                  <a:lnTo>
                    <a:pt x="5862105" y="2052539"/>
                  </a:lnTo>
                  <a:lnTo>
                    <a:pt x="5839008" y="2068274"/>
                  </a:lnTo>
                  <a:lnTo>
                    <a:pt x="5793740" y="2062081"/>
                  </a:lnTo>
                  <a:lnTo>
                    <a:pt x="5750570" y="2063420"/>
                  </a:lnTo>
                  <a:lnTo>
                    <a:pt x="5728978" y="2064093"/>
                  </a:lnTo>
                  <a:lnTo>
                    <a:pt x="5690717" y="2074302"/>
                  </a:lnTo>
                  <a:lnTo>
                    <a:pt x="5657643" y="2094885"/>
                  </a:lnTo>
                  <a:lnTo>
                    <a:pt x="5649913" y="2116470"/>
                  </a:lnTo>
                  <a:lnTo>
                    <a:pt x="5624944" y="2191677"/>
                  </a:lnTo>
                  <a:lnTo>
                    <a:pt x="5612644" y="2211963"/>
                  </a:lnTo>
                  <a:lnTo>
                    <a:pt x="5584624" y="2234802"/>
                  </a:lnTo>
                  <a:lnTo>
                    <a:pt x="5560725" y="2259982"/>
                  </a:lnTo>
                  <a:lnTo>
                    <a:pt x="5556061" y="2281052"/>
                  </a:lnTo>
                  <a:lnTo>
                    <a:pt x="5571400" y="2305940"/>
                  </a:lnTo>
                  <a:lnTo>
                    <a:pt x="5615825" y="2335500"/>
                  </a:lnTo>
                  <a:lnTo>
                    <a:pt x="5640391" y="2349058"/>
                  </a:lnTo>
                  <a:lnTo>
                    <a:pt x="5635213" y="2382013"/>
                  </a:lnTo>
                  <a:lnTo>
                    <a:pt x="5617698" y="2410707"/>
                  </a:lnTo>
                  <a:lnTo>
                    <a:pt x="5600945" y="2440194"/>
                  </a:lnTo>
                  <a:lnTo>
                    <a:pt x="5584187" y="2469679"/>
                  </a:lnTo>
                  <a:lnTo>
                    <a:pt x="5568544" y="2499435"/>
                  </a:lnTo>
                  <a:lnTo>
                    <a:pt x="5569660" y="2535404"/>
                  </a:lnTo>
                  <a:lnTo>
                    <a:pt x="5633523" y="2580954"/>
                  </a:lnTo>
                  <a:lnTo>
                    <a:pt x="5627452" y="2634981"/>
                  </a:lnTo>
                  <a:lnTo>
                    <a:pt x="5598164" y="2815015"/>
                  </a:lnTo>
                  <a:lnTo>
                    <a:pt x="5565788" y="2863579"/>
                  </a:lnTo>
                  <a:lnTo>
                    <a:pt x="5531641" y="2903129"/>
                  </a:lnTo>
                  <a:lnTo>
                    <a:pt x="5523415" y="2944828"/>
                  </a:lnTo>
                  <a:lnTo>
                    <a:pt x="5535855" y="2975093"/>
                  </a:lnTo>
                  <a:lnTo>
                    <a:pt x="5554505" y="3009775"/>
                  </a:lnTo>
                  <a:lnTo>
                    <a:pt x="5550614" y="3050921"/>
                  </a:lnTo>
                  <a:lnTo>
                    <a:pt x="5513655" y="3123776"/>
                  </a:lnTo>
                  <a:lnTo>
                    <a:pt x="5478038" y="3194486"/>
                  </a:lnTo>
                  <a:lnTo>
                    <a:pt x="5456768" y="3273994"/>
                  </a:lnTo>
                  <a:lnTo>
                    <a:pt x="5430329" y="3284262"/>
                  </a:lnTo>
                  <a:lnTo>
                    <a:pt x="5404542" y="3305214"/>
                  </a:lnTo>
                  <a:lnTo>
                    <a:pt x="5390115" y="3329760"/>
                  </a:lnTo>
                  <a:lnTo>
                    <a:pt x="5380537" y="3369956"/>
                  </a:lnTo>
                  <a:lnTo>
                    <a:pt x="5381954" y="3399132"/>
                  </a:lnTo>
                  <a:lnTo>
                    <a:pt x="5383374" y="3428307"/>
                  </a:lnTo>
                  <a:lnTo>
                    <a:pt x="5389017" y="3457253"/>
                  </a:lnTo>
                  <a:lnTo>
                    <a:pt x="5412417" y="3475388"/>
                  </a:lnTo>
                  <a:lnTo>
                    <a:pt x="5447240" y="3475303"/>
                  </a:lnTo>
                  <a:lnTo>
                    <a:pt x="5479250" y="3481582"/>
                  </a:lnTo>
                  <a:lnTo>
                    <a:pt x="5489405" y="3502507"/>
                  </a:lnTo>
                  <a:lnTo>
                    <a:pt x="5495327" y="3555979"/>
                  </a:lnTo>
                  <a:lnTo>
                    <a:pt x="5493488" y="3596365"/>
                  </a:lnTo>
                  <a:lnTo>
                    <a:pt x="5489473" y="3635382"/>
                  </a:lnTo>
                  <a:lnTo>
                    <a:pt x="5481182" y="3666159"/>
                  </a:lnTo>
                  <a:lnTo>
                    <a:pt x="5395290" y="3701086"/>
                  </a:lnTo>
                  <a:lnTo>
                    <a:pt x="5364098" y="3709455"/>
                  </a:lnTo>
                  <a:lnTo>
                    <a:pt x="5343870" y="3729661"/>
                  </a:lnTo>
                  <a:lnTo>
                    <a:pt x="5323644" y="3749869"/>
                  </a:lnTo>
                  <a:lnTo>
                    <a:pt x="5315276" y="3781411"/>
                  </a:lnTo>
                  <a:lnTo>
                    <a:pt x="5288102" y="3846641"/>
                  </a:lnTo>
                  <a:lnTo>
                    <a:pt x="5278007" y="3870865"/>
                  </a:lnTo>
                  <a:lnTo>
                    <a:pt x="5264191" y="3894502"/>
                  </a:lnTo>
                  <a:lnTo>
                    <a:pt x="5254092" y="3918732"/>
                  </a:lnTo>
                  <a:lnTo>
                    <a:pt x="5243745" y="3943555"/>
                  </a:lnTo>
                  <a:lnTo>
                    <a:pt x="5236413" y="3964974"/>
                  </a:lnTo>
                  <a:lnTo>
                    <a:pt x="5220091" y="3988096"/>
                  </a:lnTo>
                  <a:lnTo>
                    <a:pt x="5196691" y="4021276"/>
                  </a:lnTo>
                  <a:lnTo>
                    <a:pt x="5170069" y="4033501"/>
                  </a:lnTo>
                  <a:lnTo>
                    <a:pt x="5143919" y="4042510"/>
                  </a:lnTo>
                  <a:lnTo>
                    <a:pt x="5117778" y="4051513"/>
                  </a:lnTo>
                  <a:lnTo>
                    <a:pt x="5091978" y="4057864"/>
                  </a:lnTo>
                  <a:lnTo>
                    <a:pt x="5069108" y="4079232"/>
                  </a:lnTo>
                  <a:lnTo>
                    <a:pt x="5045168" y="4101601"/>
                  </a:lnTo>
                  <a:lnTo>
                    <a:pt x="5033994" y="4127618"/>
                  </a:lnTo>
                  <a:lnTo>
                    <a:pt x="5018779" y="4149961"/>
                  </a:lnTo>
                  <a:lnTo>
                    <a:pt x="5002886" y="4171685"/>
                  </a:lnTo>
                  <a:lnTo>
                    <a:pt x="4980273" y="4188087"/>
                  </a:lnTo>
                  <a:lnTo>
                    <a:pt x="4946691" y="4197570"/>
                  </a:lnTo>
                  <a:lnTo>
                    <a:pt x="4906715" y="4230282"/>
                  </a:lnTo>
                  <a:lnTo>
                    <a:pt x="4887265" y="4292188"/>
                  </a:lnTo>
                  <a:lnTo>
                    <a:pt x="4851481" y="4330872"/>
                  </a:lnTo>
                  <a:lnTo>
                    <a:pt x="4824890" y="4345270"/>
                  </a:lnTo>
                  <a:lnTo>
                    <a:pt x="4793730" y="4351839"/>
                  </a:lnTo>
                  <a:lnTo>
                    <a:pt x="4772587" y="4368958"/>
                  </a:lnTo>
                  <a:lnTo>
                    <a:pt x="4723619" y="4476409"/>
                  </a:lnTo>
                  <a:lnTo>
                    <a:pt x="4708485" y="4508910"/>
                  </a:lnTo>
                  <a:lnTo>
                    <a:pt x="4661028" y="4560976"/>
                  </a:lnTo>
                  <a:lnTo>
                    <a:pt x="4655605" y="4587948"/>
                  </a:lnTo>
                  <a:lnTo>
                    <a:pt x="4647053" y="4630315"/>
                  </a:lnTo>
                  <a:lnTo>
                    <a:pt x="4652132" y="4657163"/>
                  </a:lnTo>
                  <a:lnTo>
                    <a:pt x="4654247" y="4684525"/>
                  </a:lnTo>
                  <a:lnTo>
                    <a:pt x="4656370" y="4711880"/>
                  </a:lnTo>
                  <a:lnTo>
                    <a:pt x="4655930" y="4740410"/>
                  </a:lnTo>
                  <a:lnTo>
                    <a:pt x="4633851" y="4785176"/>
                  </a:lnTo>
                  <a:lnTo>
                    <a:pt x="4609362" y="4793334"/>
                  </a:lnTo>
                  <a:lnTo>
                    <a:pt x="4563120" y="4782459"/>
                  </a:lnTo>
                  <a:lnTo>
                    <a:pt x="4541931" y="4753013"/>
                  </a:lnTo>
                  <a:lnTo>
                    <a:pt x="4534552" y="4732127"/>
                  </a:lnTo>
                  <a:lnTo>
                    <a:pt x="4527178" y="4711240"/>
                  </a:lnTo>
                  <a:lnTo>
                    <a:pt x="4519613" y="4690038"/>
                  </a:lnTo>
                  <a:lnTo>
                    <a:pt x="4484223" y="4669554"/>
                  </a:lnTo>
                  <a:lnTo>
                    <a:pt x="4445670" y="4678569"/>
                  </a:lnTo>
                  <a:lnTo>
                    <a:pt x="4428459" y="4706280"/>
                  </a:lnTo>
                  <a:lnTo>
                    <a:pt x="4420354" y="4739085"/>
                  </a:lnTo>
                  <a:lnTo>
                    <a:pt x="4399896" y="4759330"/>
                  </a:lnTo>
                  <a:lnTo>
                    <a:pt x="4338874" y="4772441"/>
                  </a:lnTo>
                  <a:lnTo>
                    <a:pt x="4316813" y="4753185"/>
                  </a:lnTo>
                  <a:lnTo>
                    <a:pt x="4297267" y="4718264"/>
                  </a:lnTo>
                  <a:lnTo>
                    <a:pt x="4264540" y="4709967"/>
                  </a:lnTo>
                  <a:lnTo>
                    <a:pt x="4239388" y="4734843"/>
                  </a:lnTo>
                  <a:lnTo>
                    <a:pt x="4217631" y="4767957"/>
                  </a:lnTo>
                  <a:lnTo>
                    <a:pt x="4205384" y="4785169"/>
                  </a:lnTo>
                  <a:lnTo>
                    <a:pt x="4193140" y="4802389"/>
                  </a:lnTo>
                  <a:lnTo>
                    <a:pt x="4177699" y="4818151"/>
                  </a:lnTo>
                  <a:lnTo>
                    <a:pt x="4156420" y="4825979"/>
                  </a:lnTo>
                  <a:lnTo>
                    <a:pt x="4135137" y="4833800"/>
                  </a:lnTo>
                  <a:lnTo>
                    <a:pt x="4108209" y="4834242"/>
                  </a:lnTo>
                  <a:lnTo>
                    <a:pt x="4069364" y="4820539"/>
                  </a:lnTo>
                  <a:lnTo>
                    <a:pt x="4038349" y="4840672"/>
                  </a:lnTo>
                  <a:lnTo>
                    <a:pt x="4024480" y="4858623"/>
                  </a:lnTo>
                  <a:lnTo>
                    <a:pt x="4010605" y="4876568"/>
                  </a:lnTo>
                  <a:lnTo>
                    <a:pt x="3993161" y="4895515"/>
                  </a:lnTo>
                  <a:lnTo>
                    <a:pt x="3957833" y="4902149"/>
                  </a:lnTo>
                  <a:lnTo>
                    <a:pt x="3920242" y="4858056"/>
                  </a:lnTo>
                  <a:lnTo>
                    <a:pt x="3900702" y="4817815"/>
                  </a:lnTo>
                  <a:lnTo>
                    <a:pt x="3881159" y="4777578"/>
                  </a:lnTo>
                  <a:lnTo>
                    <a:pt x="3859886" y="4735483"/>
                  </a:lnTo>
                  <a:lnTo>
                    <a:pt x="3834052" y="4718522"/>
                  </a:lnTo>
                  <a:lnTo>
                    <a:pt x="3806757" y="4709835"/>
                  </a:lnTo>
                  <a:lnTo>
                    <a:pt x="3779729" y="4719055"/>
                  </a:lnTo>
                  <a:lnTo>
                    <a:pt x="3753799" y="4736209"/>
                  </a:lnTo>
                  <a:lnTo>
                    <a:pt x="3728126" y="4753217"/>
                  </a:lnTo>
                  <a:lnTo>
                    <a:pt x="3703303" y="4760003"/>
                  </a:lnTo>
                  <a:lnTo>
                    <a:pt x="3678985" y="4747090"/>
                  </a:lnTo>
                  <a:lnTo>
                    <a:pt x="3617780" y="4685883"/>
                  </a:lnTo>
                  <a:lnTo>
                    <a:pt x="3591440" y="4697081"/>
                  </a:lnTo>
                  <a:lnTo>
                    <a:pt x="3573779" y="4739737"/>
                  </a:lnTo>
                  <a:lnTo>
                    <a:pt x="3555207" y="4779735"/>
                  </a:lnTo>
                  <a:lnTo>
                    <a:pt x="3536643" y="4819740"/>
                  </a:lnTo>
                  <a:lnTo>
                    <a:pt x="3516573" y="4857192"/>
                  </a:lnTo>
                  <a:lnTo>
                    <a:pt x="3484476" y="4855913"/>
                  </a:lnTo>
                  <a:lnTo>
                    <a:pt x="3459364" y="4822872"/>
                  </a:lnTo>
                  <a:lnTo>
                    <a:pt x="3434150" y="4811021"/>
                  </a:lnTo>
                  <a:lnTo>
                    <a:pt x="3408946" y="4799177"/>
                  </a:lnTo>
                  <a:lnTo>
                    <a:pt x="3380839" y="4789007"/>
                  </a:lnTo>
                  <a:lnTo>
                    <a:pt x="3364778" y="4772935"/>
                  </a:lnTo>
                  <a:lnTo>
                    <a:pt x="3344956" y="4789680"/>
                  </a:lnTo>
                  <a:lnTo>
                    <a:pt x="3335050" y="4825490"/>
                  </a:lnTo>
                  <a:lnTo>
                    <a:pt x="3299746" y="4837414"/>
                  </a:lnTo>
                  <a:lnTo>
                    <a:pt x="3158096" y="4889784"/>
                  </a:lnTo>
                  <a:lnTo>
                    <a:pt x="3138693" y="4860345"/>
                  </a:lnTo>
                  <a:lnTo>
                    <a:pt x="3130364" y="4821435"/>
                  </a:lnTo>
                  <a:lnTo>
                    <a:pt x="3110428" y="4798774"/>
                  </a:lnTo>
                  <a:lnTo>
                    <a:pt x="3092698" y="4778608"/>
                  </a:lnTo>
                  <a:lnTo>
                    <a:pt x="3064499" y="4756851"/>
                  </a:lnTo>
                  <a:lnTo>
                    <a:pt x="3032891" y="4744367"/>
                  </a:lnTo>
                  <a:lnTo>
                    <a:pt x="2999579" y="4733347"/>
                  </a:lnTo>
                  <a:lnTo>
                    <a:pt x="2968275" y="4733617"/>
                  </a:lnTo>
                  <a:lnTo>
                    <a:pt x="2940398" y="4747090"/>
                  </a:lnTo>
                  <a:lnTo>
                    <a:pt x="2908096" y="4797884"/>
                  </a:lnTo>
                  <a:lnTo>
                    <a:pt x="2892828" y="4839848"/>
                  </a:lnTo>
                  <a:lnTo>
                    <a:pt x="2893204" y="4864097"/>
                  </a:lnTo>
                  <a:lnTo>
                    <a:pt x="2894152" y="4888552"/>
                  </a:lnTo>
                  <a:lnTo>
                    <a:pt x="2895104" y="4912998"/>
                  </a:lnTo>
                  <a:lnTo>
                    <a:pt x="2896813" y="4936978"/>
                  </a:lnTo>
                  <a:lnTo>
                    <a:pt x="2892794" y="4961998"/>
                  </a:lnTo>
                  <a:lnTo>
                    <a:pt x="2888587" y="4988121"/>
                  </a:lnTo>
                  <a:lnTo>
                    <a:pt x="2870334" y="5011434"/>
                  </a:lnTo>
                  <a:lnTo>
                    <a:pt x="2864232" y="5038170"/>
                  </a:lnTo>
                  <a:lnTo>
                    <a:pt x="2840723" y="5141228"/>
                  </a:lnTo>
                  <a:lnTo>
                    <a:pt x="2818793" y="5243879"/>
                  </a:lnTo>
                  <a:lnTo>
                    <a:pt x="2793501" y="5346936"/>
                  </a:lnTo>
                  <a:lnTo>
                    <a:pt x="2770216" y="5366755"/>
                  </a:lnTo>
                  <a:lnTo>
                    <a:pt x="2732296" y="5370059"/>
                  </a:lnTo>
                  <a:lnTo>
                    <a:pt x="2695002" y="5367783"/>
                  </a:lnTo>
                  <a:lnTo>
                    <a:pt x="2693101" y="5322218"/>
                  </a:lnTo>
                  <a:lnTo>
                    <a:pt x="2688636" y="5273806"/>
                  </a:lnTo>
                  <a:lnTo>
                    <a:pt x="2690128" y="5235397"/>
                  </a:lnTo>
                  <a:lnTo>
                    <a:pt x="2644537" y="5212288"/>
                  </a:lnTo>
                  <a:lnTo>
                    <a:pt x="2480047" y="5185335"/>
                  </a:lnTo>
                  <a:lnTo>
                    <a:pt x="2324234" y="5157867"/>
                  </a:lnTo>
                  <a:lnTo>
                    <a:pt x="2246322" y="5144136"/>
                  </a:lnTo>
                  <a:lnTo>
                    <a:pt x="2169781" y="5130551"/>
                  </a:lnTo>
                  <a:lnTo>
                    <a:pt x="2112045" y="5117065"/>
                  </a:lnTo>
                  <a:lnTo>
                    <a:pt x="2054294" y="5103579"/>
                  </a:lnTo>
                  <a:lnTo>
                    <a:pt x="2014432" y="5089966"/>
                  </a:lnTo>
                  <a:lnTo>
                    <a:pt x="2001838" y="5059643"/>
                  </a:lnTo>
                  <a:lnTo>
                    <a:pt x="2008662" y="5025929"/>
                  </a:lnTo>
                  <a:lnTo>
                    <a:pt x="2023796" y="4994987"/>
                  </a:lnTo>
                  <a:lnTo>
                    <a:pt x="2055928" y="4949080"/>
                  </a:lnTo>
                  <a:lnTo>
                    <a:pt x="2081148" y="4918750"/>
                  </a:lnTo>
                  <a:lnTo>
                    <a:pt x="2082115" y="4885828"/>
                  </a:lnTo>
                  <a:lnTo>
                    <a:pt x="2037296" y="4867956"/>
                  </a:lnTo>
                  <a:lnTo>
                    <a:pt x="2004588" y="4855907"/>
                  </a:lnTo>
                  <a:lnTo>
                    <a:pt x="1971871" y="4843850"/>
                  </a:lnTo>
                  <a:lnTo>
                    <a:pt x="1938564" y="4834598"/>
                  </a:lnTo>
                  <a:lnTo>
                    <a:pt x="1911236" y="4869229"/>
                  </a:lnTo>
                  <a:lnTo>
                    <a:pt x="1924116" y="4897388"/>
                  </a:lnTo>
                  <a:lnTo>
                    <a:pt x="1912095" y="4923914"/>
                  </a:lnTo>
                  <a:lnTo>
                    <a:pt x="1833197" y="4934795"/>
                  </a:lnTo>
                  <a:lnTo>
                    <a:pt x="1812287" y="4949738"/>
                  </a:lnTo>
                  <a:lnTo>
                    <a:pt x="1793305" y="4991458"/>
                  </a:lnTo>
                  <a:lnTo>
                    <a:pt x="1795113" y="5017772"/>
                  </a:lnTo>
                  <a:lnTo>
                    <a:pt x="1817877" y="5049698"/>
                  </a:lnTo>
                  <a:lnTo>
                    <a:pt x="1829117" y="5070815"/>
                  </a:lnTo>
                  <a:lnTo>
                    <a:pt x="1840353" y="5091931"/>
                  </a:lnTo>
                  <a:lnTo>
                    <a:pt x="1849243" y="5114513"/>
                  </a:lnTo>
                  <a:lnTo>
                    <a:pt x="1837281" y="5145627"/>
                  </a:lnTo>
                  <a:lnTo>
                    <a:pt x="1810498" y="5150494"/>
                  </a:lnTo>
                  <a:lnTo>
                    <a:pt x="1784800" y="5131355"/>
                  </a:lnTo>
                  <a:lnTo>
                    <a:pt x="1761177" y="5113431"/>
                  </a:lnTo>
                  <a:lnTo>
                    <a:pt x="1736623" y="5102101"/>
                  </a:lnTo>
                  <a:lnTo>
                    <a:pt x="1712485" y="5091548"/>
                  </a:lnTo>
                  <a:lnTo>
                    <a:pt x="1687311" y="5090890"/>
                  </a:lnTo>
                  <a:lnTo>
                    <a:pt x="1663176" y="5102101"/>
                  </a:lnTo>
                  <a:lnTo>
                    <a:pt x="1653651" y="5121140"/>
                  </a:lnTo>
                  <a:lnTo>
                    <a:pt x="1609254" y="5114025"/>
                  </a:lnTo>
                  <a:lnTo>
                    <a:pt x="1597140" y="5089921"/>
                  </a:lnTo>
                  <a:lnTo>
                    <a:pt x="1573399" y="5072173"/>
                  </a:lnTo>
                  <a:lnTo>
                    <a:pt x="1543708" y="5077311"/>
                  </a:lnTo>
                  <a:lnTo>
                    <a:pt x="1524202" y="5094240"/>
                  </a:lnTo>
                  <a:lnTo>
                    <a:pt x="1510832" y="5118423"/>
                  </a:lnTo>
                  <a:lnTo>
                    <a:pt x="1498678" y="5143978"/>
                  </a:lnTo>
                  <a:lnTo>
                    <a:pt x="1490151" y="5174539"/>
                  </a:lnTo>
                  <a:lnTo>
                    <a:pt x="1470022" y="5193235"/>
                  </a:lnTo>
                  <a:lnTo>
                    <a:pt x="1437262" y="5204836"/>
                  </a:lnTo>
                  <a:lnTo>
                    <a:pt x="1412386" y="5209822"/>
                  </a:lnTo>
                  <a:lnTo>
                    <a:pt x="1381104" y="5204315"/>
                  </a:lnTo>
                  <a:lnTo>
                    <a:pt x="1348969" y="5198671"/>
                  </a:lnTo>
                  <a:lnTo>
                    <a:pt x="1316832" y="5192998"/>
                  </a:lnTo>
                  <a:lnTo>
                    <a:pt x="1283587" y="5187848"/>
                  </a:lnTo>
                  <a:lnTo>
                    <a:pt x="1257834" y="5197311"/>
                  </a:lnTo>
                  <a:lnTo>
                    <a:pt x="1243831" y="5230748"/>
                  </a:lnTo>
                  <a:lnTo>
                    <a:pt x="1215263" y="5251270"/>
                  </a:lnTo>
                  <a:lnTo>
                    <a:pt x="1189825" y="5265324"/>
                  </a:lnTo>
                  <a:lnTo>
                    <a:pt x="1164382" y="5279379"/>
                  </a:lnTo>
                  <a:lnTo>
                    <a:pt x="1142495" y="5286937"/>
                  </a:lnTo>
                  <a:lnTo>
                    <a:pt x="1127169" y="5336437"/>
                  </a:lnTo>
                  <a:lnTo>
                    <a:pt x="1116729" y="5367098"/>
                  </a:lnTo>
                  <a:lnTo>
                    <a:pt x="1102773" y="5395904"/>
                  </a:lnTo>
                  <a:lnTo>
                    <a:pt x="1088818" y="5424709"/>
                  </a:lnTo>
                  <a:lnTo>
                    <a:pt x="1070385" y="5451255"/>
                  </a:lnTo>
                  <a:lnTo>
                    <a:pt x="1040207" y="5481597"/>
                  </a:lnTo>
                  <a:lnTo>
                    <a:pt x="1018267" y="5501046"/>
                  </a:lnTo>
                  <a:lnTo>
                    <a:pt x="996851" y="5519274"/>
                  </a:lnTo>
                  <a:lnTo>
                    <a:pt x="978995" y="5542805"/>
                  </a:lnTo>
                  <a:lnTo>
                    <a:pt x="976211" y="5583779"/>
                  </a:lnTo>
                  <a:lnTo>
                    <a:pt x="981711" y="5608095"/>
                  </a:lnTo>
                  <a:lnTo>
                    <a:pt x="987218" y="5632410"/>
                  </a:lnTo>
                  <a:lnTo>
                    <a:pt x="992349" y="5657874"/>
                  </a:lnTo>
                  <a:lnTo>
                    <a:pt x="978995" y="5678826"/>
                  </a:lnTo>
                  <a:lnTo>
                    <a:pt x="957871" y="5680816"/>
                  </a:lnTo>
                  <a:lnTo>
                    <a:pt x="924586" y="5670667"/>
                  </a:lnTo>
                  <a:lnTo>
                    <a:pt x="892185" y="5658974"/>
                  </a:lnTo>
                  <a:lnTo>
                    <a:pt x="856460" y="5657959"/>
                  </a:lnTo>
                  <a:lnTo>
                    <a:pt x="823935" y="5665227"/>
                  </a:lnTo>
                  <a:lnTo>
                    <a:pt x="793276" y="5673931"/>
                  </a:lnTo>
                  <a:lnTo>
                    <a:pt x="761290" y="5678382"/>
                  </a:lnTo>
                  <a:lnTo>
                    <a:pt x="727358" y="5681548"/>
                  </a:lnTo>
                  <a:lnTo>
                    <a:pt x="694913" y="5682821"/>
                  </a:lnTo>
                  <a:lnTo>
                    <a:pt x="656022" y="5686218"/>
                  </a:lnTo>
                  <a:lnTo>
                    <a:pt x="634616" y="5684199"/>
                  </a:lnTo>
                  <a:lnTo>
                    <a:pt x="597031" y="5670733"/>
                  </a:lnTo>
                  <a:lnTo>
                    <a:pt x="564133" y="5647539"/>
                  </a:lnTo>
                  <a:lnTo>
                    <a:pt x="531813" y="5622801"/>
                  </a:lnTo>
                  <a:lnTo>
                    <a:pt x="503204" y="5589530"/>
                  </a:lnTo>
                  <a:lnTo>
                    <a:pt x="475723" y="5560486"/>
                  </a:lnTo>
                  <a:lnTo>
                    <a:pt x="467559" y="5533283"/>
                  </a:lnTo>
                  <a:lnTo>
                    <a:pt x="469380" y="5512014"/>
                  </a:lnTo>
                  <a:lnTo>
                    <a:pt x="491418" y="5491853"/>
                  </a:lnTo>
                  <a:lnTo>
                    <a:pt x="514428" y="5482211"/>
                  </a:lnTo>
                  <a:lnTo>
                    <a:pt x="536932" y="5477509"/>
                  </a:lnTo>
                  <a:lnTo>
                    <a:pt x="545248" y="5450009"/>
                  </a:lnTo>
                  <a:lnTo>
                    <a:pt x="532842" y="5427184"/>
                  </a:lnTo>
                  <a:lnTo>
                    <a:pt x="515801" y="5407300"/>
                  </a:lnTo>
                  <a:lnTo>
                    <a:pt x="487778" y="5395997"/>
                  </a:lnTo>
                  <a:lnTo>
                    <a:pt x="453954" y="5412227"/>
                  </a:lnTo>
                  <a:lnTo>
                    <a:pt x="433251" y="5415695"/>
                  </a:lnTo>
                  <a:lnTo>
                    <a:pt x="406642" y="5408751"/>
                  </a:lnTo>
                  <a:lnTo>
                    <a:pt x="372340" y="5385022"/>
                  </a:lnTo>
                  <a:lnTo>
                    <a:pt x="337006" y="5401852"/>
                  </a:lnTo>
                  <a:lnTo>
                    <a:pt x="315209" y="5421742"/>
                  </a:lnTo>
                  <a:lnTo>
                    <a:pt x="293421" y="5441639"/>
                  </a:lnTo>
                  <a:lnTo>
                    <a:pt x="273497" y="5464550"/>
                  </a:lnTo>
                  <a:lnTo>
                    <a:pt x="270325" y="5491115"/>
                  </a:lnTo>
                  <a:lnTo>
                    <a:pt x="282250" y="5508867"/>
                  </a:lnTo>
                  <a:lnTo>
                    <a:pt x="300509" y="5521445"/>
                  </a:lnTo>
                  <a:lnTo>
                    <a:pt x="320651" y="5533283"/>
                  </a:lnTo>
                  <a:lnTo>
                    <a:pt x="340792" y="5545119"/>
                  </a:lnTo>
                  <a:lnTo>
                    <a:pt x="362831" y="5555936"/>
                  </a:lnTo>
                  <a:lnTo>
                    <a:pt x="381865" y="5567285"/>
                  </a:lnTo>
                  <a:lnTo>
                    <a:pt x="400897" y="5578635"/>
                  </a:lnTo>
                  <a:lnTo>
                    <a:pt x="426750" y="5606729"/>
                  </a:lnTo>
                  <a:lnTo>
                    <a:pt x="435192" y="5644017"/>
                  </a:lnTo>
                  <a:lnTo>
                    <a:pt x="424033" y="5670660"/>
                  </a:lnTo>
                  <a:lnTo>
                    <a:pt x="392166" y="5687833"/>
                  </a:lnTo>
                  <a:lnTo>
                    <a:pt x="379571" y="5705627"/>
                  </a:lnTo>
                  <a:lnTo>
                    <a:pt x="373286" y="5741786"/>
                  </a:lnTo>
                  <a:lnTo>
                    <a:pt x="390029" y="5778117"/>
                  </a:lnTo>
                  <a:lnTo>
                    <a:pt x="400357" y="5796662"/>
                  </a:lnTo>
                  <a:lnTo>
                    <a:pt x="414121" y="5815314"/>
                  </a:lnTo>
                  <a:lnTo>
                    <a:pt x="431227" y="5852455"/>
                  </a:lnTo>
                  <a:lnTo>
                    <a:pt x="426750" y="5889650"/>
                  </a:lnTo>
                  <a:lnTo>
                    <a:pt x="405858" y="5903890"/>
                  </a:lnTo>
                  <a:lnTo>
                    <a:pt x="372415" y="5915252"/>
                  </a:lnTo>
                  <a:lnTo>
                    <a:pt x="342414" y="5929102"/>
                  </a:lnTo>
                  <a:lnTo>
                    <a:pt x="312422" y="5942945"/>
                  </a:lnTo>
                  <a:lnTo>
                    <a:pt x="286336" y="5958364"/>
                  </a:lnTo>
                  <a:lnTo>
                    <a:pt x="281208" y="5982144"/>
                  </a:lnTo>
                  <a:lnTo>
                    <a:pt x="286253" y="6005623"/>
                  </a:lnTo>
                  <a:lnTo>
                    <a:pt x="292128" y="6025868"/>
                  </a:lnTo>
                  <a:lnTo>
                    <a:pt x="302931" y="6066289"/>
                  </a:lnTo>
                  <a:lnTo>
                    <a:pt x="307039" y="6087069"/>
                  </a:lnTo>
                  <a:lnTo>
                    <a:pt x="305687" y="6112723"/>
                  </a:lnTo>
                  <a:lnTo>
                    <a:pt x="276083" y="6137494"/>
                  </a:lnTo>
                  <a:lnTo>
                    <a:pt x="255362" y="6145368"/>
                  </a:lnTo>
                  <a:lnTo>
                    <a:pt x="234640" y="6153250"/>
                  </a:lnTo>
                  <a:lnTo>
                    <a:pt x="212580" y="6159751"/>
                  </a:lnTo>
                  <a:lnTo>
                    <a:pt x="192023" y="6169413"/>
                  </a:lnTo>
                  <a:lnTo>
                    <a:pt x="173016" y="6184773"/>
                  </a:lnTo>
                  <a:lnTo>
                    <a:pt x="150773" y="6197831"/>
                  </a:lnTo>
                  <a:lnTo>
                    <a:pt x="115258" y="6216098"/>
                  </a:lnTo>
                  <a:lnTo>
                    <a:pt x="80380" y="6236319"/>
                  </a:lnTo>
                  <a:lnTo>
                    <a:pt x="38197" y="6273962"/>
                  </a:lnTo>
                  <a:lnTo>
                    <a:pt x="16778" y="6305994"/>
                  </a:lnTo>
                  <a:lnTo>
                    <a:pt x="6443" y="6341236"/>
                  </a:lnTo>
                  <a:lnTo>
                    <a:pt x="0" y="6377602"/>
                  </a:lnTo>
                  <a:lnTo>
                    <a:pt x="2013" y="6413696"/>
                  </a:lnTo>
                  <a:lnTo>
                    <a:pt x="14607" y="6448694"/>
                  </a:lnTo>
                  <a:lnTo>
                    <a:pt x="28073" y="6472153"/>
                  </a:lnTo>
                  <a:lnTo>
                    <a:pt x="47384" y="6493249"/>
                  </a:lnTo>
                  <a:lnTo>
                    <a:pt x="71739" y="6505819"/>
                  </a:lnTo>
                  <a:lnTo>
                    <a:pt x="99610" y="6514017"/>
                  </a:lnTo>
                  <a:lnTo>
                    <a:pt x="130017" y="6512045"/>
                  </a:lnTo>
                  <a:lnTo>
                    <a:pt x="160152" y="6511260"/>
                  </a:lnTo>
                  <a:lnTo>
                    <a:pt x="190277" y="6510482"/>
                  </a:lnTo>
                  <a:lnTo>
                    <a:pt x="219618" y="6511062"/>
                  </a:lnTo>
                  <a:lnTo>
                    <a:pt x="244479" y="6523508"/>
                  </a:lnTo>
                  <a:lnTo>
                    <a:pt x="274598" y="6558947"/>
                  </a:lnTo>
                  <a:lnTo>
                    <a:pt x="288005" y="6588797"/>
                  </a:lnTo>
                  <a:lnTo>
                    <a:pt x="301415" y="6618638"/>
                  </a:lnTo>
                  <a:lnTo>
                    <a:pt x="310896" y="6651066"/>
                  </a:lnTo>
                  <a:lnTo>
                    <a:pt x="297530" y="6671767"/>
                  </a:lnTo>
                  <a:lnTo>
                    <a:pt x="263308" y="6678915"/>
                  </a:lnTo>
                  <a:lnTo>
                    <a:pt x="228374" y="6686381"/>
                  </a:lnTo>
                  <a:lnTo>
                    <a:pt x="202311" y="6701687"/>
                  </a:lnTo>
                  <a:lnTo>
                    <a:pt x="190817" y="6722350"/>
                  </a:lnTo>
                  <a:lnTo>
                    <a:pt x="194153" y="6756103"/>
                  </a:lnTo>
                  <a:lnTo>
                    <a:pt x="199219" y="6785555"/>
                  </a:lnTo>
                  <a:lnTo>
                    <a:pt x="187164" y="6806864"/>
                  </a:lnTo>
                  <a:lnTo>
                    <a:pt x="166951" y="6820027"/>
                  </a:lnTo>
                  <a:lnTo>
                    <a:pt x="148004" y="6834819"/>
                  </a:lnTo>
                  <a:lnTo>
                    <a:pt x="147008" y="6864510"/>
                  </a:lnTo>
                  <a:lnTo>
                    <a:pt x="172365" y="6877633"/>
                  </a:lnTo>
                  <a:lnTo>
                    <a:pt x="200952" y="6893480"/>
                  </a:lnTo>
                  <a:lnTo>
                    <a:pt x="229549" y="6909321"/>
                  </a:lnTo>
                  <a:lnTo>
                    <a:pt x="262087" y="6927016"/>
                  </a:lnTo>
                  <a:lnTo>
                    <a:pt x="279847" y="6957411"/>
                  </a:lnTo>
                  <a:lnTo>
                    <a:pt x="300584" y="6970344"/>
                  </a:lnTo>
                  <a:lnTo>
                    <a:pt x="326520" y="6955605"/>
                  </a:lnTo>
                  <a:lnTo>
                    <a:pt x="356019" y="6957411"/>
                  </a:lnTo>
                  <a:lnTo>
                    <a:pt x="386572" y="6964191"/>
                  </a:lnTo>
                  <a:lnTo>
                    <a:pt x="402270" y="6979168"/>
                  </a:lnTo>
                  <a:lnTo>
                    <a:pt x="417959" y="6994152"/>
                  </a:lnTo>
                  <a:lnTo>
                    <a:pt x="434070" y="7017749"/>
                  </a:lnTo>
                  <a:lnTo>
                    <a:pt x="449871" y="7058064"/>
                  </a:lnTo>
                  <a:lnTo>
                    <a:pt x="460859" y="7082312"/>
                  </a:lnTo>
                  <a:lnTo>
                    <a:pt x="468825" y="7104543"/>
                  </a:lnTo>
                  <a:lnTo>
                    <a:pt x="466195" y="7130153"/>
                  </a:lnTo>
                  <a:lnTo>
                    <a:pt x="436352" y="7156050"/>
                  </a:lnTo>
                  <a:lnTo>
                    <a:pt x="414502" y="7168237"/>
                  </a:lnTo>
                  <a:lnTo>
                    <a:pt x="392662" y="7180426"/>
                  </a:lnTo>
                  <a:lnTo>
                    <a:pt x="371906" y="7192361"/>
                  </a:lnTo>
                  <a:lnTo>
                    <a:pt x="390175" y="7278426"/>
                  </a:lnTo>
                  <a:lnTo>
                    <a:pt x="397700" y="7311887"/>
                  </a:lnTo>
                  <a:lnTo>
                    <a:pt x="418586" y="7331461"/>
                  </a:lnTo>
                  <a:lnTo>
                    <a:pt x="439471" y="7351042"/>
                  </a:lnTo>
                  <a:lnTo>
                    <a:pt x="473587" y="7356140"/>
                  </a:lnTo>
                  <a:lnTo>
                    <a:pt x="545090" y="7372271"/>
                  </a:lnTo>
                  <a:lnTo>
                    <a:pt x="557935" y="7399884"/>
                  </a:lnTo>
                  <a:lnTo>
                    <a:pt x="562769" y="7422597"/>
                  </a:lnTo>
                  <a:lnTo>
                    <a:pt x="567597" y="7445309"/>
                  </a:lnTo>
                  <a:lnTo>
                    <a:pt x="571454" y="7470000"/>
                  </a:lnTo>
                  <a:lnTo>
                    <a:pt x="576930" y="7494264"/>
                  </a:lnTo>
                  <a:lnTo>
                    <a:pt x="584532" y="7524614"/>
                  </a:lnTo>
                  <a:lnTo>
                    <a:pt x="592163" y="7554810"/>
                  </a:lnTo>
                  <a:lnTo>
                    <a:pt x="596851" y="7591228"/>
                  </a:lnTo>
                  <a:lnTo>
                    <a:pt x="595902" y="7641475"/>
                  </a:lnTo>
                  <a:lnTo>
                    <a:pt x="599496" y="7689196"/>
                  </a:lnTo>
                  <a:lnTo>
                    <a:pt x="601291" y="7713057"/>
                  </a:lnTo>
                  <a:lnTo>
                    <a:pt x="604125" y="7736739"/>
                  </a:lnTo>
                  <a:lnTo>
                    <a:pt x="613901" y="7774955"/>
                  </a:lnTo>
                  <a:lnTo>
                    <a:pt x="630777" y="7796653"/>
                  </a:lnTo>
                  <a:lnTo>
                    <a:pt x="665209" y="7811499"/>
                  </a:lnTo>
                  <a:lnTo>
                    <a:pt x="720936" y="7815996"/>
                  </a:lnTo>
                  <a:lnTo>
                    <a:pt x="777677" y="7815692"/>
                  </a:lnTo>
                  <a:lnTo>
                    <a:pt x="834421" y="7815362"/>
                  </a:lnTo>
                  <a:lnTo>
                    <a:pt x="892033" y="7809764"/>
                  </a:lnTo>
                  <a:lnTo>
                    <a:pt x="931379" y="7804811"/>
                  </a:lnTo>
                  <a:lnTo>
                    <a:pt x="943627" y="7827932"/>
                  </a:lnTo>
                  <a:lnTo>
                    <a:pt x="948941" y="7851654"/>
                  </a:lnTo>
                  <a:lnTo>
                    <a:pt x="951704" y="7882722"/>
                  </a:lnTo>
                  <a:lnTo>
                    <a:pt x="982396" y="7904868"/>
                  </a:lnTo>
                  <a:lnTo>
                    <a:pt x="1017061" y="7915585"/>
                  </a:lnTo>
                  <a:lnTo>
                    <a:pt x="1044284" y="7932673"/>
                  </a:lnTo>
                  <a:lnTo>
                    <a:pt x="1049716" y="7958511"/>
                  </a:lnTo>
                  <a:lnTo>
                    <a:pt x="1028021" y="7987793"/>
                  </a:lnTo>
                  <a:lnTo>
                    <a:pt x="1002504" y="7997494"/>
                  </a:lnTo>
                  <a:lnTo>
                    <a:pt x="978995" y="8008843"/>
                  </a:lnTo>
                  <a:lnTo>
                    <a:pt x="955477" y="8020187"/>
                  </a:lnTo>
                  <a:lnTo>
                    <a:pt x="933990" y="8033970"/>
                  </a:lnTo>
                  <a:lnTo>
                    <a:pt x="920502" y="8057811"/>
                  </a:lnTo>
                  <a:lnTo>
                    <a:pt x="915064" y="8080933"/>
                  </a:lnTo>
                  <a:lnTo>
                    <a:pt x="916422" y="8104054"/>
                  </a:lnTo>
                  <a:lnTo>
                    <a:pt x="918540" y="8125481"/>
                  </a:lnTo>
                  <a:lnTo>
                    <a:pt x="934102" y="8161186"/>
                  </a:lnTo>
                  <a:lnTo>
                    <a:pt x="955530" y="8192736"/>
                  </a:lnTo>
                  <a:lnTo>
                    <a:pt x="997347" y="8232741"/>
                  </a:lnTo>
                  <a:lnTo>
                    <a:pt x="1032182" y="8253621"/>
                  </a:lnTo>
                  <a:lnTo>
                    <a:pt x="1064683" y="8275442"/>
                  </a:lnTo>
                  <a:lnTo>
                    <a:pt x="1085574" y="8289800"/>
                  </a:lnTo>
                  <a:lnTo>
                    <a:pt x="1109071" y="8304613"/>
                  </a:lnTo>
                  <a:lnTo>
                    <a:pt x="1132688" y="8316246"/>
                  </a:lnTo>
                  <a:lnTo>
                    <a:pt x="1155369" y="8324714"/>
                  </a:lnTo>
                  <a:lnTo>
                    <a:pt x="1178911" y="8331737"/>
                  </a:lnTo>
                  <a:lnTo>
                    <a:pt x="1202060" y="8339367"/>
                  </a:lnTo>
                  <a:lnTo>
                    <a:pt x="1225206" y="8347004"/>
                  </a:lnTo>
                  <a:lnTo>
                    <a:pt x="1248501" y="8354734"/>
                  </a:lnTo>
                  <a:lnTo>
                    <a:pt x="1271433" y="8362496"/>
                  </a:lnTo>
                  <a:lnTo>
                    <a:pt x="1299751" y="8403872"/>
                  </a:lnTo>
                  <a:lnTo>
                    <a:pt x="1288809" y="8435554"/>
                  </a:lnTo>
                  <a:lnTo>
                    <a:pt x="1283677" y="8479469"/>
                  </a:lnTo>
                  <a:lnTo>
                    <a:pt x="1281113" y="8501424"/>
                  </a:lnTo>
                  <a:lnTo>
                    <a:pt x="1280670" y="8526162"/>
                  </a:lnTo>
                  <a:lnTo>
                    <a:pt x="1285038" y="8555641"/>
                  </a:lnTo>
                  <a:lnTo>
                    <a:pt x="1289404" y="8585120"/>
                  </a:lnTo>
                  <a:lnTo>
                    <a:pt x="1298675" y="8619242"/>
                  </a:lnTo>
                  <a:lnTo>
                    <a:pt x="1317681" y="8659016"/>
                  </a:lnTo>
                  <a:lnTo>
                    <a:pt x="1332105" y="8691040"/>
                  </a:lnTo>
                  <a:lnTo>
                    <a:pt x="1349503" y="8724925"/>
                  </a:lnTo>
                  <a:lnTo>
                    <a:pt x="1369365" y="8754233"/>
                  </a:lnTo>
                  <a:lnTo>
                    <a:pt x="1402011" y="8795036"/>
                  </a:lnTo>
                  <a:lnTo>
                    <a:pt x="1433296" y="8834480"/>
                  </a:lnTo>
                  <a:lnTo>
                    <a:pt x="1460553" y="8868403"/>
                  </a:lnTo>
                  <a:lnTo>
                    <a:pt x="1472742" y="8890253"/>
                  </a:lnTo>
                  <a:lnTo>
                    <a:pt x="1484936" y="8912101"/>
                  </a:lnTo>
                  <a:lnTo>
                    <a:pt x="1495308" y="8936233"/>
                  </a:lnTo>
                  <a:lnTo>
                    <a:pt x="1500566" y="8967208"/>
                  </a:lnTo>
                  <a:lnTo>
                    <a:pt x="1505384" y="8992262"/>
                  </a:lnTo>
                  <a:lnTo>
                    <a:pt x="1510265" y="9018662"/>
                  </a:lnTo>
                  <a:lnTo>
                    <a:pt x="1511663" y="9047784"/>
                  </a:lnTo>
                  <a:lnTo>
                    <a:pt x="1503921" y="9077976"/>
                  </a:lnTo>
                  <a:lnTo>
                    <a:pt x="1490421" y="9105161"/>
                  </a:lnTo>
                  <a:lnTo>
                    <a:pt x="1476927" y="9132345"/>
                  </a:lnTo>
                  <a:lnTo>
                    <a:pt x="1457217" y="9155817"/>
                  </a:lnTo>
                  <a:lnTo>
                    <a:pt x="1436021" y="9159568"/>
                  </a:lnTo>
                  <a:lnTo>
                    <a:pt x="1406991" y="9172053"/>
                  </a:lnTo>
                  <a:lnTo>
                    <a:pt x="1397934" y="9209902"/>
                  </a:lnTo>
                  <a:lnTo>
                    <a:pt x="1387020" y="9248217"/>
                  </a:lnTo>
                  <a:lnTo>
                    <a:pt x="1372097" y="9265673"/>
                  </a:lnTo>
                  <a:lnTo>
                    <a:pt x="1353899" y="9286936"/>
                  </a:lnTo>
                  <a:lnTo>
                    <a:pt x="1320115" y="9310217"/>
                  </a:lnTo>
                  <a:lnTo>
                    <a:pt x="1295924" y="9336404"/>
                  </a:lnTo>
                  <a:lnTo>
                    <a:pt x="1273616" y="9363047"/>
                  </a:lnTo>
                  <a:lnTo>
                    <a:pt x="1266543" y="9394090"/>
                  </a:lnTo>
                  <a:lnTo>
                    <a:pt x="1280961" y="9430257"/>
                  </a:lnTo>
                  <a:lnTo>
                    <a:pt x="1328115" y="9435276"/>
                  </a:lnTo>
                  <a:lnTo>
                    <a:pt x="1359849" y="9423458"/>
                  </a:lnTo>
                  <a:lnTo>
                    <a:pt x="1391584" y="9411632"/>
                  </a:lnTo>
                  <a:lnTo>
                    <a:pt x="1422317" y="9395039"/>
                  </a:lnTo>
                  <a:lnTo>
                    <a:pt x="1472267" y="9368456"/>
                  </a:lnTo>
                  <a:lnTo>
                    <a:pt x="1506336" y="9350749"/>
                  </a:lnTo>
                  <a:lnTo>
                    <a:pt x="1539395" y="9345921"/>
                  </a:lnTo>
                  <a:lnTo>
                    <a:pt x="1571877" y="9344596"/>
                  </a:lnTo>
                  <a:lnTo>
                    <a:pt x="1604851" y="9355404"/>
                  </a:lnTo>
                  <a:lnTo>
                    <a:pt x="1638688" y="9381283"/>
                  </a:lnTo>
                  <a:lnTo>
                    <a:pt x="1661499" y="9399360"/>
                  </a:lnTo>
                  <a:lnTo>
                    <a:pt x="1683898" y="9420338"/>
                  </a:lnTo>
                  <a:lnTo>
                    <a:pt x="1699903" y="9445214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06" name="Donetsk¬0" descr="Donetsk¬0">
              <a:extLst>
                <a:ext uri="{FF2B5EF4-FFF2-40B4-BE49-F238E27FC236}">
                  <a16:creationId xmlns:a16="http://schemas.microsoft.com/office/drawing/2014/main" id="{1D4793E3-9DAA-4C56-90CB-0E2D89D0D54E}"/>
                </a:ext>
              </a:extLst>
            </p:cNvPr>
            <p:cNvSpPr/>
            <p:nvPr/>
          </p:nvSpPr>
          <p:spPr>
            <a:xfrm>
              <a:off x="5815664" y="2609415"/>
              <a:ext cx="868728" cy="1072121"/>
            </a:xfrm>
            <a:custGeom>
              <a:avLst/>
              <a:gdLst/>
              <a:ahLst/>
              <a:cxnLst/>
              <a:rect l="0" t="0" r="0" b="0"/>
              <a:pathLst>
                <a:path w="8864896" h="12419153">
                  <a:moveTo>
                    <a:pt x="8795733" y="7136010"/>
                  </a:moveTo>
                  <a:lnTo>
                    <a:pt x="8813382" y="7077519"/>
                  </a:lnTo>
                  <a:lnTo>
                    <a:pt x="8830894" y="7020533"/>
                  </a:lnTo>
                  <a:lnTo>
                    <a:pt x="8848704" y="6962563"/>
                  </a:lnTo>
                  <a:lnTo>
                    <a:pt x="8864467" y="6906447"/>
                  </a:lnTo>
                  <a:lnTo>
                    <a:pt x="8864895" y="6865473"/>
                  </a:lnTo>
                  <a:lnTo>
                    <a:pt x="8855227" y="6840860"/>
                  </a:lnTo>
                  <a:lnTo>
                    <a:pt x="8823322" y="6826207"/>
                  </a:lnTo>
                  <a:lnTo>
                    <a:pt x="8795535" y="6808341"/>
                  </a:lnTo>
                  <a:lnTo>
                    <a:pt x="8768305" y="6788834"/>
                  </a:lnTo>
                  <a:lnTo>
                    <a:pt x="8752021" y="6765284"/>
                  </a:lnTo>
                  <a:lnTo>
                    <a:pt x="8753367" y="6733529"/>
                  </a:lnTo>
                  <a:lnTo>
                    <a:pt x="8761695" y="6700587"/>
                  </a:lnTo>
                  <a:lnTo>
                    <a:pt x="8771177" y="6668536"/>
                  </a:lnTo>
                  <a:lnTo>
                    <a:pt x="8779207" y="6635602"/>
                  </a:lnTo>
                  <a:lnTo>
                    <a:pt x="8787244" y="6602659"/>
                  </a:lnTo>
                  <a:lnTo>
                    <a:pt x="8794195" y="6568841"/>
                  </a:lnTo>
                  <a:lnTo>
                    <a:pt x="8796893" y="6534943"/>
                  </a:lnTo>
                  <a:lnTo>
                    <a:pt x="8799020" y="6507634"/>
                  </a:lnTo>
                  <a:lnTo>
                    <a:pt x="8792800" y="6477811"/>
                  </a:lnTo>
                  <a:lnTo>
                    <a:pt x="8772634" y="6456088"/>
                  </a:lnTo>
                  <a:lnTo>
                    <a:pt x="8747916" y="6446532"/>
                  </a:lnTo>
                  <a:lnTo>
                    <a:pt x="8727179" y="6438513"/>
                  </a:lnTo>
                  <a:lnTo>
                    <a:pt x="8693513" y="6427486"/>
                  </a:lnTo>
                  <a:lnTo>
                    <a:pt x="8657887" y="6418371"/>
                  </a:lnTo>
                  <a:lnTo>
                    <a:pt x="8633659" y="6412528"/>
                  </a:lnTo>
                  <a:lnTo>
                    <a:pt x="8524277" y="6386130"/>
                  </a:lnTo>
                  <a:lnTo>
                    <a:pt x="8454371" y="6373230"/>
                  </a:lnTo>
                  <a:lnTo>
                    <a:pt x="8384744" y="6369002"/>
                  </a:lnTo>
                  <a:lnTo>
                    <a:pt x="8315118" y="6364768"/>
                  </a:lnTo>
                  <a:lnTo>
                    <a:pt x="8244877" y="6369787"/>
                  </a:lnTo>
                  <a:lnTo>
                    <a:pt x="8133107" y="6378518"/>
                  </a:lnTo>
                  <a:lnTo>
                    <a:pt x="8081767" y="6376732"/>
                  </a:lnTo>
                  <a:lnTo>
                    <a:pt x="7968522" y="6232983"/>
                  </a:lnTo>
                  <a:lnTo>
                    <a:pt x="7953192" y="6213567"/>
                  </a:lnTo>
                  <a:lnTo>
                    <a:pt x="7949397" y="6191435"/>
                  </a:lnTo>
                  <a:lnTo>
                    <a:pt x="7953558" y="6167692"/>
                  </a:lnTo>
                  <a:lnTo>
                    <a:pt x="7957750" y="6143945"/>
                  </a:lnTo>
                  <a:lnTo>
                    <a:pt x="7969638" y="6119042"/>
                  </a:lnTo>
                  <a:lnTo>
                    <a:pt x="7983479" y="6094239"/>
                  </a:lnTo>
                  <a:lnTo>
                    <a:pt x="8011173" y="6044631"/>
                  </a:lnTo>
                  <a:lnTo>
                    <a:pt x="8048052" y="5996561"/>
                  </a:lnTo>
                  <a:lnTo>
                    <a:pt x="8055580" y="5962302"/>
                  </a:lnTo>
                  <a:lnTo>
                    <a:pt x="8051531" y="5938625"/>
                  </a:lnTo>
                  <a:lnTo>
                    <a:pt x="8032071" y="5916315"/>
                  </a:lnTo>
                  <a:lnTo>
                    <a:pt x="8009325" y="5898371"/>
                  </a:lnTo>
                  <a:lnTo>
                    <a:pt x="7986586" y="5880418"/>
                  </a:lnTo>
                  <a:lnTo>
                    <a:pt x="7960975" y="5866318"/>
                  </a:lnTo>
                  <a:lnTo>
                    <a:pt x="7851506" y="5800904"/>
                  </a:lnTo>
                  <a:lnTo>
                    <a:pt x="7772608" y="5763115"/>
                  </a:lnTo>
                  <a:lnTo>
                    <a:pt x="7672000" y="5729705"/>
                  </a:lnTo>
                  <a:lnTo>
                    <a:pt x="7649726" y="5722313"/>
                  </a:lnTo>
                  <a:lnTo>
                    <a:pt x="7624431" y="5719081"/>
                  </a:lnTo>
                  <a:lnTo>
                    <a:pt x="7602634" y="5710660"/>
                  </a:lnTo>
                  <a:lnTo>
                    <a:pt x="7556851" y="5693025"/>
                  </a:lnTo>
                  <a:lnTo>
                    <a:pt x="7513411" y="5669460"/>
                  </a:lnTo>
                  <a:lnTo>
                    <a:pt x="7467969" y="5650817"/>
                  </a:lnTo>
                  <a:lnTo>
                    <a:pt x="7447270" y="5642323"/>
                  </a:lnTo>
                  <a:lnTo>
                    <a:pt x="7398200" y="5626198"/>
                  </a:lnTo>
                  <a:lnTo>
                    <a:pt x="7352348" y="5605926"/>
                  </a:lnTo>
                  <a:lnTo>
                    <a:pt x="7329429" y="5595789"/>
                  </a:lnTo>
                  <a:lnTo>
                    <a:pt x="7307191" y="5584901"/>
                  </a:lnTo>
                  <a:lnTo>
                    <a:pt x="7272372" y="5561661"/>
                  </a:lnTo>
                  <a:lnTo>
                    <a:pt x="7255778" y="5536560"/>
                  </a:lnTo>
                  <a:lnTo>
                    <a:pt x="7254909" y="5491366"/>
                  </a:lnTo>
                  <a:lnTo>
                    <a:pt x="7262586" y="5464465"/>
                  </a:lnTo>
                  <a:lnTo>
                    <a:pt x="7270251" y="5437571"/>
                  </a:lnTo>
                  <a:lnTo>
                    <a:pt x="7279733" y="5410611"/>
                  </a:lnTo>
                  <a:lnTo>
                    <a:pt x="7262283" y="5344299"/>
                  </a:lnTo>
                  <a:lnTo>
                    <a:pt x="7233205" y="5298438"/>
                  </a:lnTo>
                  <a:lnTo>
                    <a:pt x="7217696" y="5250915"/>
                  </a:lnTo>
                  <a:lnTo>
                    <a:pt x="7205176" y="5212513"/>
                  </a:lnTo>
                  <a:lnTo>
                    <a:pt x="7197567" y="5171182"/>
                  </a:lnTo>
                  <a:lnTo>
                    <a:pt x="7187769" y="5131217"/>
                  </a:lnTo>
                  <a:lnTo>
                    <a:pt x="7177971" y="5091252"/>
                  </a:lnTo>
                  <a:lnTo>
                    <a:pt x="7165898" y="5052303"/>
                  </a:lnTo>
                  <a:lnTo>
                    <a:pt x="7145601" y="5016961"/>
                  </a:lnTo>
                  <a:lnTo>
                    <a:pt x="7049967" y="5016703"/>
                  </a:lnTo>
                  <a:lnTo>
                    <a:pt x="6963975" y="5034729"/>
                  </a:lnTo>
                  <a:lnTo>
                    <a:pt x="6880365" y="5046883"/>
                  </a:lnTo>
                  <a:lnTo>
                    <a:pt x="6816059" y="5056194"/>
                  </a:lnTo>
                  <a:lnTo>
                    <a:pt x="6749105" y="5048208"/>
                  </a:lnTo>
                  <a:lnTo>
                    <a:pt x="6684495" y="5045523"/>
                  </a:lnTo>
                  <a:lnTo>
                    <a:pt x="6648106" y="5019553"/>
                  </a:lnTo>
                  <a:lnTo>
                    <a:pt x="6627667" y="4961280"/>
                  </a:lnTo>
                  <a:lnTo>
                    <a:pt x="6619674" y="4910698"/>
                  </a:lnTo>
                  <a:lnTo>
                    <a:pt x="6602887" y="4859178"/>
                  </a:lnTo>
                  <a:lnTo>
                    <a:pt x="6593616" y="4830741"/>
                  </a:lnTo>
                  <a:lnTo>
                    <a:pt x="6586690" y="4805622"/>
                  </a:lnTo>
                  <a:lnTo>
                    <a:pt x="6581121" y="4774850"/>
                  </a:lnTo>
                  <a:lnTo>
                    <a:pt x="6597629" y="4758355"/>
                  </a:lnTo>
                  <a:lnTo>
                    <a:pt x="6653675" y="4748338"/>
                  </a:lnTo>
                  <a:lnTo>
                    <a:pt x="6706540" y="4747639"/>
                  </a:lnTo>
                  <a:lnTo>
                    <a:pt x="6751151" y="4735406"/>
                  </a:lnTo>
                  <a:lnTo>
                    <a:pt x="6773450" y="4729279"/>
                  </a:lnTo>
                  <a:lnTo>
                    <a:pt x="6793982" y="4719979"/>
                  </a:lnTo>
                  <a:lnTo>
                    <a:pt x="6809634" y="4705477"/>
                  </a:lnTo>
                  <a:lnTo>
                    <a:pt x="6825280" y="4690974"/>
                  </a:lnTo>
                  <a:lnTo>
                    <a:pt x="6836504" y="4671731"/>
                  </a:lnTo>
                  <a:lnTo>
                    <a:pt x="6840913" y="4644270"/>
                  </a:lnTo>
                  <a:lnTo>
                    <a:pt x="6845558" y="4615430"/>
                  </a:lnTo>
                  <a:lnTo>
                    <a:pt x="6837000" y="4583142"/>
                  </a:lnTo>
                  <a:lnTo>
                    <a:pt x="6823233" y="4553135"/>
                  </a:lnTo>
                  <a:lnTo>
                    <a:pt x="6809454" y="4523129"/>
                  </a:lnTo>
                  <a:lnTo>
                    <a:pt x="6790652" y="4495740"/>
                  </a:lnTo>
                  <a:lnTo>
                    <a:pt x="6774275" y="4474247"/>
                  </a:lnTo>
                  <a:lnTo>
                    <a:pt x="6744026" y="4434572"/>
                  </a:lnTo>
                  <a:lnTo>
                    <a:pt x="6688705" y="4420940"/>
                  </a:lnTo>
                  <a:lnTo>
                    <a:pt x="6658648" y="4383113"/>
                  </a:lnTo>
                  <a:lnTo>
                    <a:pt x="6641886" y="4361942"/>
                  </a:lnTo>
                  <a:lnTo>
                    <a:pt x="6637849" y="4339836"/>
                  </a:lnTo>
                  <a:lnTo>
                    <a:pt x="6635530" y="4316458"/>
                  </a:lnTo>
                  <a:lnTo>
                    <a:pt x="6633223" y="4293086"/>
                  </a:lnTo>
                  <a:lnTo>
                    <a:pt x="6632219" y="4268321"/>
                  </a:lnTo>
                  <a:lnTo>
                    <a:pt x="6623283" y="4245733"/>
                  </a:lnTo>
                  <a:lnTo>
                    <a:pt x="6608623" y="4208624"/>
                  </a:lnTo>
                  <a:lnTo>
                    <a:pt x="6576526" y="4184822"/>
                  </a:lnTo>
                  <a:lnTo>
                    <a:pt x="6562077" y="4145076"/>
                  </a:lnTo>
                  <a:lnTo>
                    <a:pt x="6541669" y="4136911"/>
                  </a:lnTo>
                  <a:lnTo>
                    <a:pt x="6511668" y="4168355"/>
                  </a:lnTo>
                  <a:lnTo>
                    <a:pt x="6489989" y="4191326"/>
                  </a:lnTo>
                  <a:lnTo>
                    <a:pt x="6466908" y="4212317"/>
                  </a:lnTo>
                  <a:lnTo>
                    <a:pt x="6439616" y="4222019"/>
                  </a:lnTo>
                  <a:lnTo>
                    <a:pt x="6408381" y="4213089"/>
                  </a:lnTo>
                  <a:lnTo>
                    <a:pt x="6392866" y="4175939"/>
                  </a:lnTo>
                  <a:lnTo>
                    <a:pt x="6352434" y="4173480"/>
                  </a:lnTo>
                  <a:lnTo>
                    <a:pt x="6315618" y="4173098"/>
                  </a:lnTo>
                  <a:lnTo>
                    <a:pt x="6283235" y="4164121"/>
                  </a:lnTo>
                  <a:lnTo>
                    <a:pt x="6252130" y="4151961"/>
                  </a:lnTo>
                  <a:lnTo>
                    <a:pt x="6227301" y="4132764"/>
                  </a:lnTo>
                  <a:lnTo>
                    <a:pt x="6212505" y="4104272"/>
                  </a:lnTo>
                  <a:lnTo>
                    <a:pt x="6203997" y="4078137"/>
                  </a:lnTo>
                  <a:lnTo>
                    <a:pt x="6207773" y="4042386"/>
                  </a:lnTo>
                  <a:lnTo>
                    <a:pt x="6208424" y="4015862"/>
                  </a:lnTo>
                  <a:lnTo>
                    <a:pt x="6209553" y="3970529"/>
                  </a:lnTo>
                  <a:lnTo>
                    <a:pt x="6216920" y="3921693"/>
                  </a:lnTo>
                  <a:lnTo>
                    <a:pt x="6231542" y="3878483"/>
                  </a:lnTo>
                  <a:lnTo>
                    <a:pt x="6244131" y="3852295"/>
                  </a:lnTo>
                  <a:lnTo>
                    <a:pt x="6256601" y="3807945"/>
                  </a:lnTo>
                  <a:lnTo>
                    <a:pt x="6257370" y="3767623"/>
                  </a:lnTo>
                  <a:lnTo>
                    <a:pt x="6256025" y="3735664"/>
                  </a:lnTo>
                  <a:lnTo>
                    <a:pt x="6231145" y="3714495"/>
                  </a:lnTo>
                  <a:lnTo>
                    <a:pt x="6198713" y="3708493"/>
                  </a:lnTo>
                  <a:lnTo>
                    <a:pt x="6166256" y="3703019"/>
                  </a:lnTo>
                  <a:lnTo>
                    <a:pt x="6133793" y="3697539"/>
                  </a:lnTo>
                  <a:lnTo>
                    <a:pt x="6101795" y="3691643"/>
                  </a:lnTo>
                  <a:lnTo>
                    <a:pt x="6076488" y="3669009"/>
                  </a:lnTo>
                  <a:lnTo>
                    <a:pt x="6056806" y="3637643"/>
                  </a:lnTo>
                  <a:lnTo>
                    <a:pt x="6060806" y="3596999"/>
                  </a:lnTo>
                  <a:lnTo>
                    <a:pt x="6069369" y="3574075"/>
                  </a:lnTo>
                  <a:lnTo>
                    <a:pt x="6077840" y="3550677"/>
                  </a:lnTo>
                  <a:lnTo>
                    <a:pt x="6086299" y="3527272"/>
                  </a:lnTo>
                  <a:lnTo>
                    <a:pt x="6095290" y="3504070"/>
                  </a:lnTo>
                  <a:lnTo>
                    <a:pt x="6099600" y="3481306"/>
                  </a:lnTo>
                  <a:lnTo>
                    <a:pt x="6103916" y="3458540"/>
                  </a:lnTo>
                  <a:lnTo>
                    <a:pt x="6103302" y="3437160"/>
                  </a:lnTo>
                  <a:lnTo>
                    <a:pt x="6092810" y="3418733"/>
                  </a:lnTo>
                  <a:lnTo>
                    <a:pt x="6081741" y="3399291"/>
                  </a:lnTo>
                  <a:lnTo>
                    <a:pt x="6035213" y="3298996"/>
                  </a:lnTo>
                  <a:lnTo>
                    <a:pt x="6035052" y="3273512"/>
                  </a:lnTo>
                  <a:lnTo>
                    <a:pt x="6048242" y="3251216"/>
                  </a:lnTo>
                  <a:lnTo>
                    <a:pt x="6050642" y="3229664"/>
                  </a:lnTo>
                  <a:lnTo>
                    <a:pt x="6053600" y="3202374"/>
                  </a:lnTo>
                  <a:lnTo>
                    <a:pt x="6032789" y="3153175"/>
                  </a:lnTo>
                  <a:lnTo>
                    <a:pt x="6028869" y="3124929"/>
                  </a:lnTo>
                  <a:lnTo>
                    <a:pt x="6024510" y="3093498"/>
                  </a:lnTo>
                  <a:lnTo>
                    <a:pt x="6015047" y="2978794"/>
                  </a:lnTo>
                  <a:lnTo>
                    <a:pt x="6024783" y="2952183"/>
                  </a:lnTo>
                  <a:lnTo>
                    <a:pt x="6038103" y="2915819"/>
                  </a:lnTo>
                  <a:lnTo>
                    <a:pt x="6055721" y="2895315"/>
                  </a:lnTo>
                  <a:lnTo>
                    <a:pt x="6076476" y="2877377"/>
                  </a:lnTo>
                  <a:lnTo>
                    <a:pt x="6097225" y="2859432"/>
                  </a:lnTo>
                  <a:lnTo>
                    <a:pt x="6120492" y="2845055"/>
                  </a:lnTo>
                  <a:lnTo>
                    <a:pt x="6145842" y="2818887"/>
                  </a:lnTo>
                  <a:lnTo>
                    <a:pt x="6171602" y="2792303"/>
                  </a:lnTo>
                  <a:lnTo>
                    <a:pt x="6229415" y="2709286"/>
                  </a:lnTo>
                  <a:lnTo>
                    <a:pt x="6239703" y="2670626"/>
                  </a:lnTo>
                  <a:lnTo>
                    <a:pt x="6219295" y="2643422"/>
                  </a:lnTo>
                  <a:lnTo>
                    <a:pt x="6193833" y="2638173"/>
                  </a:lnTo>
                  <a:lnTo>
                    <a:pt x="6115878" y="2656599"/>
                  </a:lnTo>
                  <a:lnTo>
                    <a:pt x="6098242" y="2673344"/>
                  </a:lnTo>
                  <a:lnTo>
                    <a:pt x="6081604" y="2631136"/>
                  </a:lnTo>
                  <a:lnTo>
                    <a:pt x="6079136" y="2574197"/>
                  </a:lnTo>
                  <a:lnTo>
                    <a:pt x="6092828" y="2542765"/>
                  </a:lnTo>
                  <a:lnTo>
                    <a:pt x="6105231" y="2514386"/>
                  </a:lnTo>
                  <a:lnTo>
                    <a:pt x="6131604" y="2490658"/>
                  </a:lnTo>
                  <a:lnTo>
                    <a:pt x="6148589" y="2465228"/>
                  </a:lnTo>
                  <a:lnTo>
                    <a:pt x="6163863" y="2442371"/>
                  </a:lnTo>
                  <a:lnTo>
                    <a:pt x="6182305" y="2402649"/>
                  </a:lnTo>
                  <a:lnTo>
                    <a:pt x="6192115" y="2363219"/>
                  </a:lnTo>
                  <a:lnTo>
                    <a:pt x="6199216" y="2324176"/>
                  </a:lnTo>
                  <a:lnTo>
                    <a:pt x="6195904" y="2287997"/>
                  </a:lnTo>
                  <a:lnTo>
                    <a:pt x="6178516" y="2258478"/>
                  </a:lnTo>
                  <a:lnTo>
                    <a:pt x="6155386" y="2232639"/>
                  </a:lnTo>
                  <a:lnTo>
                    <a:pt x="6130916" y="2206794"/>
                  </a:lnTo>
                  <a:lnTo>
                    <a:pt x="6120027" y="2180948"/>
                  </a:lnTo>
                  <a:lnTo>
                    <a:pt x="6128187" y="2152385"/>
                  </a:lnTo>
                  <a:lnTo>
                    <a:pt x="6136633" y="2133089"/>
                  </a:lnTo>
                  <a:lnTo>
                    <a:pt x="6148589" y="2112651"/>
                  </a:lnTo>
                  <a:lnTo>
                    <a:pt x="6141793" y="2078932"/>
                  </a:lnTo>
                  <a:lnTo>
                    <a:pt x="6115233" y="2048978"/>
                  </a:lnTo>
                  <a:lnTo>
                    <a:pt x="6069698" y="2045139"/>
                  </a:lnTo>
                  <a:lnTo>
                    <a:pt x="6028888" y="2038129"/>
                  </a:lnTo>
                  <a:lnTo>
                    <a:pt x="5989895" y="2030480"/>
                  </a:lnTo>
                  <a:lnTo>
                    <a:pt x="5961791" y="2015851"/>
                  </a:lnTo>
                  <a:lnTo>
                    <a:pt x="5952725" y="1990521"/>
                  </a:lnTo>
                  <a:lnTo>
                    <a:pt x="5953314" y="1958602"/>
                  </a:lnTo>
                  <a:lnTo>
                    <a:pt x="5957742" y="1922871"/>
                  </a:lnTo>
                  <a:lnTo>
                    <a:pt x="5955423" y="1891228"/>
                  </a:lnTo>
                  <a:lnTo>
                    <a:pt x="5953420" y="1863555"/>
                  </a:lnTo>
                  <a:lnTo>
                    <a:pt x="5942847" y="1812228"/>
                  </a:lnTo>
                  <a:lnTo>
                    <a:pt x="5928212" y="1762008"/>
                  </a:lnTo>
                  <a:lnTo>
                    <a:pt x="5913583" y="1711787"/>
                  </a:lnTo>
                  <a:lnTo>
                    <a:pt x="5895166" y="1663276"/>
                  </a:lnTo>
                  <a:lnTo>
                    <a:pt x="5877890" y="1639586"/>
                  </a:lnTo>
                  <a:lnTo>
                    <a:pt x="5832956" y="1637040"/>
                  </a:lnTo>
                  <a:lnTo>
                    <a:pt x="5795290" y="1599126"/>
                  </a:lnTo>
                  <a:lnTo>
                    <a:pt x="5747305" y="1597425"/>
                  </a:lnTo>
                  <a:lnTo>
                    <a:pt x="5722494" y="1596534"/>
                  </a:lnTo>
                  <a:lnTo>
                    <a:pt x="5695618" y="1603716"/>
                  </a:lnTo>
                  <a:lnTo>
                    <a:pt x="5671136" y="1601501"/>
                  </a:lnTo>
                  <a:lnTo>
                    <a:pt x="5642909" y="1598974"/>
                  </a:lnTo>
                  <a:lnTo>
                    <a:pt x="5613757" y="1586193"/>
                  </a:lnTo>
                  <a:lnTo>
                    <a:pt x="5585442" y="1582454"/>
                  </a:lnTo>
                  <a:lnTo>
                    <a:pt x="5530239" y="1575121"/>
                  </a:lnTo>
                  <a:lnTo>
                    <a:pt x="5473604" y="1575061"/>
                  </a:lnTo>
                  <a:lnTo>
                    <a:pt x="5418141" y="1568855"/>
                  </a:lnTo>
                  <a:lnTo>
                    <a:pt x="5384692" y="1565116"/>
                  </a:lnTo>
                  <a:lnTo>
                    <a:pt x="5351615" y="1553871"/>
                  </a:lnTo>
                  <a:lnTo>
                    <a:pt x="5317483" y="1555251"/>
                  </a:lnTo>
                  <a:lnTo>
                    <a:pt x="5290155" y="1540313"/>
                  </a:lnTo>
                  <a:lnTo>
                    <a:pt x="5283272" y="1511685"/>
                  </a:lnTo>
                  <a:lnTo>
                    <a:pt x="5265803" y="1487244"/>
                  </a:lnTo>
                  <a:lnTo>
                    <a:pt x="5245395" y="1476363"/>
                  </a:lnTo>
                  <a:lnTo>
                    <a:pt x="5189628" y="1480437"/>
                  </a:lnTo>
                  <a:lnTo>
                    <a:pt x="5168841" y="1460370"/>
                  </a:lnTo>
                  <a:lnTo>
                    <a:pt x="5174664" y="1436193"/>
                  </a:lnTo>
                  <a:lnTo>
                    <a:pt x="5184189" y="1412424"/>
                  </a:lnTo>
                  <a:lnTo>
                    <a:pt x="5193826" y="1388657"/>
                  </a:lnTo>
                  <a:lnTo>
                    <a:pt x="5207289" y="1364816"/>
                  </a:lnTo>
                  <a:lnTo>
                    <a:pt x="5228565" y="1350380"/>
                  </a:lnTo>
                  <a:lnTo>
                    <a:pt x="5256278" y="1359375"/>
                  </a:lnTo>
                  <a:lnTo>
                    <a:pt x="5285231" y="1367757"/>
                  </a:lnTo>
                  <a:lnTo>
                    <a:pt x="5304883" y="1336821"/>
                  </a:lnTo>
                  <a:lnTo>
                    <a:pt x="5297224" y="1308601"/>
                  </a:lnTo>
                  <a:lnTo>
                    <a:pt x="5301143" y="1283204"/>
                  </a:lnTo>
                  <a:lnTo>
                    <a:pt x="5336236" y="1286171"/>
                  </a:lnTo>
                  <a:lnTo>
                    <a:pt x="5358275" y="1284562"/>
                  </a:lnTo>
                  <a:lnTo>
                    <a:pt x="5380320" y="1282961"/>
                  </a:lnTo>
                  <a:lnTo>
                    <a:pt x="5401460" y="1279102"/>
                  </a:lnTo>
                  <a:lnTo>
                    <a:pt x="5422575" y="1246754"/>
                  </a:lnTo>
                  <a:lnTo>
                    <a:pt x="5425241" y="1219109"/>
                  </a:lnTo>
                  <a:lnTo>
                    <a:pt x="5422196" y="1189345"/>
                  </a:lnTo>
                  <a:lnTo>
                    <a:pt x="5419158" y="1159588"/>
                  </a:lnTo>
                  <a:lnTo>
                    <a:pt x="5410631" y="1126958"/>
                  </a:lnTo>
                  <a:lnTo>
                    <a:pt x="5399078" y="1095493"/>
                  </a:lnTo>
                  <a:lnTo>
                    <a:pt x="5375967" y="1032565"/>
                  </a:lnTo>
                  <a:lnTo>
                    <a:pt x="5341377" y="972070"/>
                  </a:lnTo>
                  <a:lnTo>
                    <a:pt x="5318829" y="933629"/>
                  </a:lnTo>
                  <a:lnTo>
                    <a:pt x="5292176" y="910210"/>
                  </a:lnTo>
                  <a:lnTo>
                    <a:pt x="5279501" y="874215"/>
                  </a:lnTo>
                  <a:lnTo>
                    <a:pt x="5291252" y="853849"/>
                  </a:lnTo>
                  <a:lnTo>
                    <a:pt x="5306582" y="835694"/>
                  </a:lnTo>
                  <a:lnTo>
                    <a:pt x="5321917" y="817538"/>
                  </a:lnTo>
                  <a:lnTo>
                    <a:pt x="5341104" y="802020"/>
                  </a:lnTo>
                  <a:lnTo>
                    <a:pt x="5371254" y="769705"/>
                  </a:lnTo>
                  <a:lnTo>
                    <a:pt x="5373381" y="740668"/>
                  </a:lnTo>
                  <a:lnTo>
                    <a:pt x="5371874" y="711921"/>
                  </a:lnTo>
                  <a:lnTo>
                    <a:pt x="5370348" y="683166"/>
                  </a:lnTo>
                  <a:lnTo>
                    <a:pt x="5364674" y="654598"/>
                  </a:lnTo>
                  <a:lnTo>
                    <a:pt x="5367787" y="631667"/>
                  </a:lnTo>
                  <a:lnTo>
                    <a:pt x="5376791" y="566141"/>
                  </a:lnTo>
                  <a:lnTo>
                    <a:pt x="5388276" y="496689"/>
                  </a:lnTo>
                  <a:lnTo>
                    <a:pt x="5407233" y="433075"/>
                  </a:lnTo>
                  <a:lnTo>
                    <a:pt x="5383557" y="433859"/>
                  </a:lnTo>
                  <a:lnTo>
                    <a:pt x="5208721" y="419879"/>
                  </a:lnTo>
                  <a:lnTo>
                    <a:pt x="5086279" y="532380"/>
                  </a:lnTo>
                  <a:lnTo>
                    <a:pt x="5039690" y="537228"/>
                  </a:lnTo>
                  <a:lnTo>
                    <a:pt x="4972680" y="489112"/>
                  </a:lnTo>
                  <a:lnTo>
                    <a:pt x="4939187" y="466003"/>
                  </a:lnTo>
                  <a:lnTo>
                    <a:pt x="4904014" y="449410"/>
                  </a:lnTo>
                  <a:lnTo>
                    <a:pt x="4868829" y="432817"/>
                  </a:lnTo>
                  <a:lnTo>
                    <a:pt x="4830896" y="421804"/>
                  </a:lnTo>
                  <a:lnTo>
                    <a:pt x="4765275" y="403160"/>
                  </a:lnTo>
                  <a:lnTo>
                    <a:pt x="4741512" y="387735"/>
                  </a:lnTo>
                  <a:lnTo>
                    <a:pt x="4725997" y="365589"/>
                  </a:lnTo>
                  <a:lnTo>
                    <a:pt x="4768202" y="255177"/>
                  </a:lnTo>
                  <a:lnTo>
                    <a:pt x="4774788" y="234502"/>
                  </a:lnTo>
                  <a:lnTo>
                    <a:pt x="4898061" y="228996"/>
                  </a:lnTo>
                  <a:lnTo>
                    <a:pt x="4928490" y="223615"/>
                  </a:lnTo>
                  <a:lnTo>
                    <a:pt x="4929892" y="172418"/>
                  </a:lnTo>
                  <a:lnTo>
                    <a:pt x="4902377" y="156544"/>
                  </a:lnTo>
                  <a:lnTo>
                    <a:pt x="4792201" y="147469"/>
                  </a:lnTo>
                  <a:lnTo>
                    <a:pt x="4769287" y="113823"/>
                  </a:lnTo>
                  <a:lnTo>
                    <a:pt x="4744359" y="79205"/>
                  </a:lnTo>
                  <a:lnTo>
                    <a:pt x="4716286" y="50873"/>
                  </a:lnTo>
                  <a:lnTo>
                    <a:pt x="4688207" y="22542"/>
                  </a:lnTo>
                  <a:lnTo>
                    <a:pt x="4657071" y="0"/>
                  </a:lnTo>
                  <a:lnTo>
                    <a:pt x="4631950" y="548"/>
                  </a:lnTo>
                  <a:lnTo>
                    <a:pt x="4609179" y="25002"/>
                  </a:lnTo>
                  <a:lnTo>
                    <a:pt x="4605682" y="49363"/>
                  </a:lnTo>
                  <a:lnTo>
                    <a:pt x="4602036" y="73990"/>
                  </a:lnTo>
                  <a:lnTo>
                    <a:pt x="4598383" y="98614"/>
                  </a:lnTo>
                  <a:lnTo>
                    <a:pt x="4593813" y="123266"/>
                  </a:lnTo>
                  <a:lnTo>
                    <a:pt x="4410252" y="154242"/>
                  </a:lnTo>
                  <a:lnTo>
                    <a:pt x="4372344" y="157467"/>
                  </a:lnTo>
                  <a:lnTo>
                    <a:pt x="4331193" y="151743"/>
                  </a:lnTo>
                  <a:lnTo>
                    <a:pt x="4287828" y="142003"/>
                  </a:lnTo>
                  <a:lnTo>
                    <a:pt x="4244476" y="132254"/>
                  </a:lnTo>
                  <a:lnTo>
                    <a:pt x="4199660" y="118207"/>
                  </a:lnTo>
                  <a:lnTo>
                    <a:pt x="4154534" y="102552"/>
                  </a:lnTo>
                  <a:lnTo>
                    <a:pt x="4109408" y="86902"/>
                  </a:lnTo>
                  <a:lnTo>
                    <a:pt x="4064437" y="69452"/>
                  </a:lnTo>
                  <a:lnTo>
                    <a:pt x="4021228" y="54949"/>
                  </a:lnTo>
                  <a:lnTo>
                    <a:pt x="3978018" y="40441"/>
                  </a:lnTo>
                  <a:lnTo>
                    <a:pt x="3936420" y="28603"/>
                  </a:lnTo>
                  <a:lnTo>
                    <a:pt x="3898817" y="22304"/>
                  </a:lnTo>
                  <a:lnTo>
                    <a:pt x="3848023" y="13790"/>
                  </a:lnTo>
                  <a:lnTo>
                    <a:pt x="3768877" y="18289"/>
                  </a:lnTo>
                  <a:lnTo>
                    <a:pt x="3716545" y="19588"/>
                  </a:lnTo>
                  <a:lnTo>
                    <a:pt x="3679004" y="26769"/>
                  </a:lnTo>
                  <a:lnTo>
                    <a:pt x="3616279" y="30126"/>
                  </a:lnTo>
                  <a:lnTo>
                    <a:pt x="3573764" y="22219"/>
                  </a:lnTo>
                  <a:lnTo>
                    <a:pt x="3530206" y="37268"/>
                  </a:lnTo>
                  <a:lnTo>
                    <a:pt x="3520551" y="69636"/>
                  </a:lnTo>
                  <a:lnTo>
                    <a:pt x="3428606" y="223212"/>
                  </a:lnTo>
                  <a:lnTo>
                    <a:pt x="3396900" y="248101"/>
                  </a:lnTo>
                  <a:lnTo>
                    <a:pt x="3419063" y="265149"/>
                  </a:lnTo>
                  <a:lnTo>
                    <a:pt x="3439068" y="272581"/>
                  </a:lnTo>
                  <a:lnTo>
                    <a:pt x="3459067" y="280020"/>
                  </a:lnTo>
                  <a:lnTo>
                    <a:pt x="3484529" y="286522"/>
                  </a:lnTo>
                  <a:lnTo>
                    <a:pt x="3509798" y="291628"/>
                  </a:lnTo>
                  <a:lnTo>
                    <a:pt x="3535062" y="296725"/>
                  </a:lnTo>
                  <a:lnTo>
                    <a:pt x="3560121" y="300379"/>
                  </a:lnTo>
                  <a:lnTo>
                    <a:pt x="3583251" y="302509"/>
                  </a:lnTo>
                  <a:lnTo>
                    <a:pt x="3606375" y="304639"/>
                  </a:lnTo>
                  <a:lnTo>
                    <a:pt x="3640377" y="303867"/>
                  </a:lnTo>
                  <a:lnTo>
                    <a:pt x="3663581" y="301356"/>
                  </a:lnTo>
                  <a:lnTo>
                    <a:pt x="3694922" y="290091"/>
                  </a:lnTo>
                  <a:lnTo>
                    <a:pt x="3717904" y="298427"/>
                  </a:lnTo>
                  <a:lnTo>
                    <a:pt x="3749914" y="337403"/>
                  </a:lnTo>
                  <a:lnTo>
                    <a:pt x="3778142" y="382037"/>
                  </a:lnTo>
                  <a:lnTo>
                    <a:pt x="3802246" y="426283"/>
                  </a:lnTo>
                  <a:lnTo>
                    <a:pt x="3731559" y="486995"/>
                  </a:lnTo>
                  <a:lnTo>
                    <a:pt x="3656698" y="535098"/>
                  </a:lnTo>
                  <a:lnTo>
                    <a:pt x="3581844" y="583202"/>
                  </a:lnTo>
                  <a:lnTo>
                    <a:pt x="3500974" y="631053"/>
                  </a:lnTo>
                  <a:lnTo>
                    <a:pt x="3475791" y="645279"/>
                  </a:lnTo>
                  <a:lnTo>
                    <a:pt x="3400645" y="687487"/>
                  </a:lnTo>
                  <a:lnTo>
                    <a:pt x="3342447" y="724530"/>
                  </a:lnTo>
                  <a:lnTo>
                    <a:pt x="3282643" y="758171"/>
                  </a:lnTo>
                  <a:lnTo>
                    <a:pt x="3252809" y="774942"/>
                  </a:lnTo>
                  <a:lnTo>
                    <a:pt x="3212806" y="776854"/>
                  </a:lnTo>
                  <a:lnTo>
                    <a:pt x="3186072" y="797615"/>
                  </a:lnTo>
                  <a:lnTo>
                    <a:pt x="3160226" y="817743"/>
                  </a:lnTo>
                  <a:lnTo>
                    <a:pt x="3138119" y="847564"/>
                  </a:lnTo>
                  <a:lnTo>
                    <a:pt x="3108533" y="862904"/>
                  </a:lnTo>
                  <a:lnTo>
                    <a:pt x="3072374" y="881694"/>
                  </a:lnTo>
                  <a:lnTo>
                    <a:pt x="3035762" y="896380"/>
                  </a:lnTo>
                  <a:lnTo>
                    <a:pt x="2999721" y="917320"/>
                  </a:lnTo>
                  <a:lnTo>
                    <a:pt x="2947885" y="947425"/>
                  </a:lnTo>
                  <a:lnTo>
                    <a:pt x="2917543" y="971760"/>
                  </a:lnTo>
                  <a:lnTo>
                    <a:pt x="2900428" y="993490"/>
                  </a:lnTo>
                  <a:lnTo>
                    <a:pt x="2883313" y="1015207"/>
                  </a:lnTo>
                  <a:lnTo>
                    <a:pt x="2880020" y="1051973"/>
                  </a:lnTo>
                  <a:lnTo>
                    <a:pt x="2884987" y="1086142"/>
                  </a:lnTo>
                  <a:lnTo>
                    <a:pt x="2885923" y="1121180"/>
                  </a:lnTo>
                  <a:lnTo>
                    <a:pt x="2865063" y="1160790"/>
                  </a:lnTo>
                  <a:lnTo>
                    <a:pt x="2848468" y="1175370"/>
                  </a:lnTo>
                  <a:lnTo>
                    <a:pt x="2824538" y="1181576"/>
                  </a:lnTo>
                  <a:lnTo>
                    <a:pt x="2797054" y="1185277"/>
                  </a:lnTo>
                  <a:lnTo>
                    <a:pt x="2768746" y="1190097"/>
                  </a:lnTo>
                  <a:lnTo>
                    <a:pt x="2743743" y="1202218"/>
                  </a:lnTo>
                  <a:lnTo>
                    <a:pt x="2724966" y="1227437"/>
                  </a:lnTo>
                  <a:lnTo>
                    <a:pt x="2660536" y="1331327"/>
                  </a:lnTo>
                  <a:lnTo>
                    <a:pt x="2661677" y="1370455"/>
                  </a:lnTo>
                  <a:lnTo>
                    <a:pt x="2688236" y="1385227"/>
                  </a:lnTo>
                  <a:lnTo>
                    <a:pt x="2717927" y="1398740"/>
                  </a:lnTo>
                  <a:lnTo>
                    <a:pt x="2722219" y="1442458"/>
                  </a:lnTo>
                  <a:lnTo>
                    <a:pt x="2705172" y="1469345"/>
                  </a:lnTo>
                  <a:lnTo>
                    <a:pt x="2704558" y="1499478"/>
                  </a:lnTo>
                  <a:lnTo>
                    <a:pt x="2716979" y="1527242"/>
                  </a:lnTo>
                  <a:lnTo>
                    <a:pt x="2732947" y="1553332"/>
                  </a:lnTo>
                  <a:lnTo>
                    <a:pt x="2746732" y="1578372"/>
                  </a:lnTo>
                  <a:lnTo>
                    <a:pt x="2753057" y="1603631"/>
                  </a:lnTo>
                  <a:lnTo>
                    <a:pt x="2745808" y="1629285"/>
                  </a:lnTo>
                  <a:lnTo>
                    <a:pt x="2718144" y="1655902"/>
                  </a:lnTo>
                  <a:lnTo>
                    <a:pt x="2676442" y="1664601"/>
                  </a:lnTo>
                  <a:lnTo>
                    <a:pt x="2647414" y="1662700"/>
                  </a:lnTo>
                  <a:lnTo>
                    <a:pt x="2618380" y="1660809"/>
                  </a:lnTo>
                  <a:lnTo>
                    <a:pt x="2589117" y="1655915"/>
                  </a:lnTo>
                  <a:lnTo>
                    <a:pt x="2535756" y="1670483"/>
                  </a:lnTo>
                  <a:lnTo>
                    <a:pt x="2484236" y="1732693"/>
                  </a:lnTo>
                  <a:lnTo>
                    <a:pt x="2405302" y="1768799"/>
                  </a:lnTo>
                  <a:lnTo>
                    <a:pt x="2392081" y="1815511"/>
                  </a:lnTo>
                  <a:lnTo>
                    <a:pt x="2379275" y="1868409"/>
                  </a:lnTo>
                  <a:lnTo>
                    <a:pt x="2356325" y="1911619"/>
                  </a:lnTo>
                  <a:lnTo>
                    <a:pt x="2312799" y="1900737"/>
                  </a:lnTo>
                  <a:lnTo>
                    <a:pt x="2291950" y="1907306"/>
                  </a:lnTo>
                  <a:lnTo>
                    <a:pt x="2275666" y="1930665"/>
                  </a:lnTo>
                  <a:lnTo>
                    <a:pt x="2268733" y="1963304"/>
                  </a:lnTo>
                  <a:lnTo>
                    <a:pt x="2271449" y="1991094"/>
                  </a:lnTo>
                  <a:lnTo>
                    <a:pt x="2274717" y="2019077"/>
                  </a:lnTo>
                  <a:lnTo>
                    <a:pt x="2277979" y="2047052"/>
                  </a:lnTo>
                  <a:lnTo>
                    <a:pt x="2281328" y="2075990"/>
                  </a:lnTo>
                  <a:lnTo>
                    <a:pt x="2281514" y="2097965"/>
                  </a:lnTo>
                  <a:lnTo>
                    <a:pt x="2281514" y="2119945"/>
                  </a:lnTo>
                  <a:lnTo>
                    <a:pt x="2263828" y="2138774"/>
                  </a:lnTo>
                  <a:lnTo>
                    <a:pt x="2240170" y="2145784"/>
                  </a:lnTo>
                  <a:lnTo>
                    <a:pt x="2211316" y="2153526"/>
                  </a:lnTo>
                  <a:lnTo>
                    <a:pt x="2179498" y="2160537"/>
                  </a:lnTo>
                  <a:lnTo>
                    <a:pt x="2149100" y="2164006"/>
                  </a:lnTo>
                  <a:lnTo>
                    <a:pt x="2120122" y="2162509"/>
                  </a:lnTo>
                  <a:lnTo>
                    <a:pt x="2095162" y="2153731"/>
                  </a:lnTo>
                  <a:lnTo>
                    <a:pt x="2069688" y="2134566"/>
                  </a:lnTo>
                  <a:lnTo>
                    <a:pt x="2052635" y="2110330"/>
                  </a:lnTo>
                  <a:lnTo>
                    <a:pt x="2038037" y="2085718"/>
                  </a:lnTo>
                  <a:lnTo>
                    <a:pt x="2022584" y="2063797"/>
                  </a:lnTo>
                  <a:lnTo>
                    <a:pt x="1999081" y="2050522"/>
                  </a:lnTo>
                  <a:lnTo>
                    <a:pt x="1963232" y="2050356"/>
                  </a:lnTo>
                  <a:lnTo>
                    <a:pt x="1923353" y="2058007"/>
                  </a:lnTo>
                  <a:lnTo>
                    <a:pt x="1907459" y="2072119"/>
                  </a:lnTo>
                  <a:lnTo>
                    <a:pt x="1891076" y="2096138"/>
                  </a:lnTo>
                  <a:lnTo>
                    <a:pt x="1889469" y="2127088"/>
                  </a:lnTo>
                  <a:lnTo>
                    <a:pt x="1887063" y="2156455"/>
                  </a:lnTo>
                  <a:lnTo>
                    <a:pt x="1884620" y="2185816"/>
                  </a:lnTo>
                  <a:lnTo>
                    <a:pt x="1880521" y="2213487"/>
                  </a:lnTo>
                  <a:lnTo>
                    <a:pt x="1859859" y="2232627"/>
                  </a:lnTo>
                  <a:lnTo>
                    <a:pt x="1819117" y="2236419"/>
                  </a:lnTo>
                  <a:lnTo>
                    <a:pt x="1794567" y="2224461"/>
                  </a:lnTo>
                  <a:lnTo>
                    <a:pt x="1769991" y="2212512"/>
                  </a:lnTo>
                  <a:lnTo>
                    <a:pt x="1745633" y="2196037"/>
                  </a:lnTo>
                  <a:lnTo>
                    <a:pt x="1707930" y="2190260"/>
                  </a:lnTo>
                  <a:lnTo>
                    <a:pt x="1690027" y="2210368"/>
                  </a:lnTo>
                  <a:lnTo>
                    <a:pt x="1674872" y="2233985"/>
                  </a:lnTo>
                  <a:lnTo>
                    <a:pt x="1659697" y="2257601"/>
                  </a:lnTo>
                  <a:lnTo>
                    <a:pt x="1646904" y="2285332"/>
                  </a:lnTo>
                  <a:lnTo>
                    <a:pt x="1636784" y="2341442"/>
                  </a:lnTo>
                  <a:lnTo>
                    <a:pt x="1651121" y="2362044"/>
                  </a:lnTo>
                  <a:lnTo>
                    <a:pt x="1674121" y="2375248"/>
                  </a:lnTo>
                  <a:lnTo>
                    <a:pt x="1702076" y="2383604"/>
                  </a:lnTo>
                  <a:lnTo>
                    <a:pt x="1729640" y="2392533"/>
                  </a:lnTo>
                  <a:lnTo>
                    <a:pt x="1758135" y="2401238"/>
                  </a:lnTo>
                  <a:lnTo>
                    <a:pt x="1770078" y="2421688"/>
                  </a:lnTo>
                  <a:lnTo>
                    <a:pt x="1764962" y="2456748"/>
                  </a:lnTo>
                  <a:lnTo>
                    <a:pt x="1753428" y="2487289"/>
                  </a:lnTo>
                  <a:lnTo>
                    <a:pt x="1729268" y="2512824"/>
                  </a:lnTo>
                  <a:lnTo>
                    <a:pt x="1686517" y="2492301"/>
                  </a:lnTo>
                  <a:lnTo>
                    <a:pt x="1660156" y="2461990"/>
                  </a:lnTo>
                  <a:lnTo>
                    <a:pt x="1634062" y="2442099"/>
                  </a:lnTo>
                  <a:lnTo>
                    <a:pt x="1606851" y="2431212"/>
                  </a:lnTo>
                  <a:lnTo>
                    <a:pt x="1571963" y="2418761"/>
                  </a:lnTo>
                  <a:lnTo>
                    <a:pt x="1504786" y="2380477"/>
                  </a:lnTo>
                  <a:lnTo>
                    <a:pt x="1469470" y="2361847"/>
                  </a:lnTo>
                  <a:lnTo>
                    <a:pt x="1437020" y="2344719"/>
                  </a:lnTo>
                  <a:lnTo>
                    <a:pt x="1406386" y="2325601"/>
                  </a:lnTo>
                  <a:lnTo>
                    <a:pt x="1375628" y="2310155"/>
                  </a:lnTo>
                  <a:lnTo>
                    <a:pt x="1344852" y="2294718"/>
                  </a:lnTo>
                  <a:lnTo>
                    <a:pt x="1314419" y="2282754"/>
                  </a:lnTo>
                  <a:lnTo>
                    <a:pt x="1284489" y="2276153"/>
                  </a:lnTo>
                  <a:lnTo>
                    <a:pt x="1254556" y="2269558"/>
                  </a:lnTo>
                  <a:lnTo>
                    <a:pt x="1224654" y="2269465"/>
                  </a:lnTo>
                  <a:lnTo>
                    <a:pt x="1194715" y="2278877"/>
                  </a:lnTo>
                  <a:lnTo>
                    <a:pt x="1164766" y="2288287"/>
                  </a:lnTo>
                  <a:lnTo>
                    <a:pt x="1134390" y="2306167"/>
                  </a:lnTo>
                  <a:lnTo>
                    <a:pt x="1103586" y="2338724"/>
                  </a:lnTo>
                  <a:lnTo>
                    <a:pt x="1079699" y="2363963"/>
                  </a:lnTo>
                  <a:lnTo>
                    <a:pt x="1064689" y="2398190"/>
                  </a:lnTo>
                  <a:lnTo>
                    <a:pt x="1036932" y="2420336"/>
                  </a:lnTo>
                  <a:lnTo>
                    <a:pt x="959105" y="2419505"/>
                  </a:lnTo>
                  <a:lnTo>
                    <a:pt x="883652" y="2424927"/>
                  </a:lnTo>
                  <a:lnTo>
                    <a:pt x="827463" y="2405373"/>
                  </a:lnTo>
                  <a:lnTo>
                    <a:pt x="779981" y="2388839"/>
                  </a:lnTo>
                  <a:lnTo>
                    <a:pt x="746141" y="2361417"/>
                  </a:lnTo>
                  <a:lnTo>
                    <a:pt x="703684" y="2338724"/>
                  </a:lnTo>
                  <a:lnTo>
                    <a:pt x="654546" y="2332684"/>
                  </a:lnTo>
                  <a:lnTo>
                    <a:pt x="613408" y="2330745"/>
                  </a:lnTo>
                  <a:lnTo>
                    <a:pt x="582622" y="2344166"/>
                  </a:lnTo>
                  <a:lnTo>
                    <a:pt x="563253" y="2366674"/>
                  </a:lnTo>
                  <a:lnTo>
                    <a:pt x="555762" y="2397821"/>
                  </a:lnTo>
                  <a:lnTo>
                    <a:pt x="556763" y="2433936"/>
                  </a:lnTo>
                  <a:lnTo>
                    <a:pt x="562763" y="2471104"/>
                  </a:lnTo>
                  <a:lnTo>
                    <a:pt x="578638" y="2548897"/>
                  </a:lnTo>
                  <a:lnTo>
                    <a:pt x="589316" y="2603477"/>
                  </a:lnTo>
                  <a:lnTo>
                    <a:pt x="609811" y="2661091"/>
                  </a:lnTo>
                  <a:lnTo>
                    <a:pt x="635196" y="2732460"/>
                  </a:lnTo>
                  <a:lnTo>
                    <a:pt x="643208" y="2773381"/>
                  </a:lnTo>
                  <a:lnTo>
                    <a:pt x="642457" y="2814791"/>
                  </a:lnTo>
                  <a:lnTo>
                    <a:pt x="641713" y="2856201"/>
                  </a:lnTo>
                  <a:lnTo>
                    <a:pt x="632352" y="2897565"/>
                  </a:lnTo>
                  <a:lnTo>
                    <a:pt x="627488" y="2967134"/>
                  </a:lnTo>
                  <a:lnTo>
                    <a:pt x="622052" y="3050104"/>
                  </a:lnTo>
                  <a:lnTo>
                    <a:pt x="634569" y="3093063"/>
                  </a:lnTo>
                  <a:lnTo>
                    <a:pt x="649257" y="3118117"/>
                  </a:lnTo>
                  <a:lnTo>
                    <a:pt x="663950" y="3143171"/>
                  </a:lnTo>
                  <a:lnTo>
                    <a:pt x="679574" y="3169050"/>
                  </a:lnTo>
                  <a:lnTo>
                    <a:pt x="683261" y="3190206"/>
                  </a:lnTo>
                  <a:lnTo>
                    <a:pt x="694532" y="3280299"/>
                  </a:lnTo>
                  <a:lnTo>
                    <a:pt x="711823" y="3311262"/>
                  </a:lnTo>
                  <a:lnTo>
                    <a:pt x="752289" y="3326997"/>
                  </a:lnTo>
                  <a:lnTo>
                    <a:pt x="779605" y="3320463"/>
                  </a:lnTo>
                  <a:lnTo>
                    <a:pt x="807039" y="3312628"/>
                  </a:lnTo>
                  <a:lnTo>
                    <a:pt x="834473" y="3304792"/>
                  </a:lnTo>
                  <a:lnTo>
                    <a:pt x="860980" y="3296272"/>
                  </a:lnTo>
                  <a:lnTo>
                    <a:pt x="887292" y="3294940"/>
                  </a:lnTo>
                  <a:lnTo>
                    <a:pt x="906807" y="3308295"/>
                  </a:lnTo>
                  <a:lnTo>
                    <a:pt x="916732" y="3330558"/>
                  </a:lnTo>
                  <a:lnTo>
                    <a:pt x="921296" y="3354788"/>
                  </a:lnTo>
                  <a:lnTo>
                    <a:pt x="908596" y="3372345"/>
                  </a:lnTo>
                  <a:lnTo>
                    <a:pt x="886266" y="3371546"/>
                  </a:lnTo>
                  <a:lnTo>
                    <a:pt x="866881" y="3383350"/>
                  </a:lnTo>
                  <a:lnTo>
                    <a:pt x="847586" y="3398012"/>
                  </a:lnTo>
                  <a:lnTo>
                    <a:pt x="834501" y="3428546"/>
                  </a:lnTo>
                  <a:lnTo>
                    <a:pt x="830346" y="3450824"/>
                  </a:lnTo>
                  <a:lnTo>
                    <a:pt x="830160" y="3482650"/>
                  </a:lnTo>
                  <a:lnTo>
                    <a:pt x="763507" y="3503055"/>
                  </a:lnTo>
                  <a:lnTo>
                    <a:pt x="753278" y="3550261"/>
                  </a:lnTo>
                  <a:lnTo>
                    <a:pt x="753991" y="3592824"/>
                  </a:lnTo>
                  <a:lnTo>
                    <a:pt x="754689" y="3635388"/>
                  </a:lnTo>
                  <a:lnTo>
                    <a:pt x="758878" y="3680438"/>
                  </a:lnTo>
                  <a:lnTo>
                    <a:pt x="770313" y="3704365"/>
                  </a:lnTo>
                  <a:lnTo>
                    <a:pt x="812059" y="3690205"/>
                  </a:lnTo>
                  <a:lnTo>
                    <a:pt x="857492" y="3691017"/>
                  </a:lnTo>
                  <a:lnTo>
                    <a:pt x="900891" y="3689400"/>
                  </a:lnTo>
                  <a:lnTo>
                    <a:pt x="930880" y="3674668"/>
                  </a:lnTo>
                  <a:lnTo>
                    <a:pt x="940343" y="3652674"/>
                  </a:lnTo>
                  <a:lnTo>
                    <a:pt x="949793" y="3630686"/>
                  </a:lnTo>
                  <a:lnTo>
                    <a:pt x="956261" y="3600666"/>
                  </a:lnTo>
                  <a:lnTo>
                    <a:pt x="960742" y="3571061"/>
                  </a:lnTo>
                  <a:lnTo>
                    <a:pt x="969702" y="3511859"/>
                  </a:lnTo>
                  <a:lnTo>
                    <a:pt x="970667" y="3451766"/>
                  </a:lnTo>
                  <a:lnTo>
                    <a:pt x="993577" y="3435009"/>
                  </a:lnTo>
                  <a:lnTo>
                    <a:pt x="1043692" y="3427115"/>
                  </a:lnTo>
                  <a:lnTo>
                    <a:pt x="1095403" y="3422802"/>
                  </a:lnTo>
                  <a:lnTo>
                    <a:pt x="1147112" y="3418489"/>
                  </a:lnTo>
                  <a:lnTo>
                    <a:pt x="1200777" y="3418007"/>
                  </a:lnTo>
                  <a:lnTo>
                    <a:pt x="1224623" y="3421443"/>
                  </a:lnTo>
                  <a:lnTo>
                    <a:pt x="1251859" y="3457933"/>
                  </a:lnTo>
                  <a:lnTo>
                    <a:pt x="1262326" y="3523579"/>
                  </a:lnTo>
                  <a:lnTo>
                    <a:pt x="1266791" y="3584667"/>
                  </a:lnTo>
                  <a:lnTo>
                    <a:pt x="1271240" y="3645756"/>
                  </a:lnTo>
                  <a:lnTo>
                    <a:pt x="1270620" y="3702346"/>
                  </a:lnTo>
                  <a:lnTo>
                    <a:pt x="1240259" y="3715715"/>
                  </a:lnTo>
                  <a:lnTo>
                    <a:pt x="1126220" y="3754987"/>
                  </a:lnTo>
                  <a:lnTo>
                    <a:pt x="1121774" y="3789056"/>
                  </a:lnTo>
                  <a:lnTo>
                    <a:pt x="1149856" y="3872607"/>
                  </a:lnTo>
                  <a:lnTo>
                    <a:pt x="1151167" y="3908397"/>
                  </a:lnTo>
                  <a:lnTo>
                    <a:pt x="1061393" y="3958723"/>
                  </a:lnTo>
                  <a:lnTo>
                    <a:pt x="1061861" y="3993815"/>
                  </a:lnTo>
                  <a:lnTo>
                    <a:pt x="1065489" y="4025372"/>
                  </a:lnTo>
                  <a:lnTo>
                    <a:pt x="1069234" y="4056928"/>
                  </a:lnTo>
                  <a:lnTo>
                    <a:pt x="1070202" y="4095805"/>
                  </a:lnTo>
                  <a:lnTo>
                    <a:pt x="1051883" y="4138270"/>
                  </a:lnTo>
                  <a:lnTo>
                    <a:pt x="1072155" y="4163521"/>
                  </a:lnTo>
                  <a:lnTo>
                    <a:pt x="1102333" y="4175584"/>
                  </a:lnTo>
                  <a:lnTo>
                    <a:pt x="1126694" y="4192678"/>
                  </a:lnTo>
                  <a:lnTo>
                    <a:pt x="1104134" y="4223054"/>
                  </a:lnTo>
                  <a:lnTo>
                    <a:pt x="1073079" y="4243913"/>
                  </a:lnTo>
                  <a:lnTo>
                    <a:pt x="1039636" y="4257967"/>
                  </a:lnTo>
                  <a:lnTo>
                    <a:pt x="1006147" y="4270747"/>
                  </a:lnTo>
                  <a:lnTo>
                    <a:pt x="975559" y="4278431"/>
                  </a:lnTo>
                  <a:lnTo>
                    <a:pt x="967560" y="4305569"/>
                  </a:lnTo>
                  <a:lnTo>
                    <a:pt x="964341" y="4350882"/>
                  </a:lnTo>
                  <a:lnTo>
                    <a:pt x="987528" y="4389100"/>
                  </a:lnTo>
                  <a:lnTo>
                    <a:pt x="994764" y="4433431"/>
                  </a:lnTo>
                  <a:lnTo>
                    <a:pt x="1000659" y="4469603"/>
                  </a:lnTo>
                  <a:lnTo>
                    <a:pt x="1012438" y="4563246"/>
                  </a:lnTo>
                  <a:lnTo>
                    <a:pt x="1012438" y="4600737"/>
                  </a:lnTo>
                  <a:lnTo>
                    <a:pt x="1012438" y="4641224"/>
                  </a:lnTo>
                  <a:lnTo>
                    <a:pt x="1000026" y="4672754"/>
                  </a:lnTo>
                  <a:lnTo>
                    <a:pt x="992033" y="4704112"/>
                  </a:lnTo>
                  <a:lnTo>
                    <a:pt x="984052" y="4735465"/>
                  </a:lnTo>
                  <a:lnTo>
                    <a:pt x="980691" y="4766427"/>
                  </a:lnTo>
                  <a:lnTo>
                    <a:pt x="996129" y="4808846"/>
                  </a:lnTo>
                  <a:lnTo>
                    <a:pt x="1011086" y="4833325"/>
                  </a:lnTo>
                  <a:lnTo>
                    <a:pt x="1032849" y="4836043"/>
                  </a:lnTo>
                  <a:lnTo>
                    <a:pt x="1072155" y="4813034"/>
                  </a:lnTo>
                  <a:lnTo>
                    <a:pt x="1099505" y="4806122"/>
                  </a:lnTo>
                  <a:lnTo>
                    <a:pt x="1126846" y="4799211"/>
                  </a:lnTo>
                  <a:lnTo>
                    <a:pt x="1154934" y="4798703"/>
                  </a:lnTo>
                  <a:lnTo>
                    <a:pt x="1179184" y="4830946"/>
                  </a:lnTo>
                  <a:lnTo>
                    <a:pt x="1183602" y="4859125"/>
                  </a:lnTo>
                  <a:lnTo>
                    <a:pt x="1182468" y="4880935"/>
                  </a:lnTo>
                  <a:lnTo>
                    <a:pt x="1217712" y="4879873"/>
                  </a:lnTo>
                  <a:lnTo>
                    <a:pt x="1272124" y="4883270"/>
                  </a:lnTo>
                  <a:lnTo>
                    <a:pt x="1304888" y="4898616"/>
                  </a:lnTo>
                  <a:lnTo>
                    <a:pt x="1322577" y="5008791"/>
                  </a:lnTo>
                  <a:lnTo>
                    <a:pt x="1325274" y="5038124"/>
                  </a:lnTo>
                  <a:lnTo>
                    <a:pt x="1340517" y="5064603"/>
                  </a:lnTo>
                  <a:lnTo>
                    <a:pt x="1345701" y="5093125"/>
                  </a:lnTo>
                  <a:lnTo>
                    <a:pt x="1350203" y="5117480"/>
                  </a:lnTo>
                  <a:lnTo>
                    <a:pt x="1347915" y="5144600"/>
                  </a:lnTo>
                  <a:lnTo>
                    <a:pt x="1351133" y="5169297"/>
                  </a:lnTo>
                  <a:lnTo>
                    <a:pt x="1356572" y="5210014"/>
                  </a:lnTo>
                  <a:lnTo>
                    <a:pt x="1367635" y="5252010"/>
                  </a:lnTo>
                  <a:lnTo>
                    <a:pt x="1374264" y="5293070"/>
                  </a:lnTo>
                  <a:lnTo>
                    <a:pt x="1382759" y="5345948"/>
                  </a:lnTo>
                  <a:lnTo>
                    <a:pt x="1397642" y="5415788"/>
                  </a:lnTo>
                  <a:lnTo>
                    <a:pt x="1390585" y="5468541"/>
                  </a:lnTo>
                  <a:lnTo>
                    <a:pt x="1386319" y="5500513"/>
                  </a:lnTo>
                  <a:lnTo>
                    <a:pt x="1375529" y="5519671"/>
                  </a:lnTo>
                  <a:lnTo>
                    <a:pt x="1345788" y="5545267"/>
                  </a:lnTo>
                  <a:lnTo>
                    <a:pt x="1306255" y="5554229"/>
                  </a:lnTo>
                  <a:lnTo>
                    <a:pt x="1264751" y="5558726"/>
                  </a:lnTo>
                  <a:lnTo>
                    <a:pt x="1225327" y="5566059"/>
                  </a:lnTo>
                  <a:lnTo>
                    <a:pt x="1193357" y="5586879"/>
                  </a:lnTo>
                  <a:lnTo>
                    <a:pt x="1181035" y="5617057"/>
                  </a:lnTo>
                  <a:lnTo>
                    <a:pt x="1196628" y="5716734"/>
                  </a:lnTo>
                  <a:lnTo>
                    <a:pt x="1206196" y="5804043"/>
                  </a:lnTo>
                  <a:lnTo>
                    <a:pt x="1232799" y="5891565"/>
                  </a:lnTo>
                  <a:lnTo>
                    <a:pt x="1239007" y="5911962"/>
                  </a:lnTo>
                  <a:lnTo>
                    <a:pt x="1254643" y="5931945"/>
                  </a:lnTo>
                  <a:lnTo>
                    <a:pt x="1260004" y="5954130"/>
                  </a:lnTo>
                  <a:lnTo>
                    <a:pt x="1265762" y="5978102"/>
                  </a:lnTo>
                  <a:lnTo>
                    <a:pt x="1272937" y="6024214"/>
                  </a:lnTo>
                  <a:lnTo>
                    <a:pt x="1273603" y="6069745"/>
                  </a:lnTo>
                  <a:lnTo>
                    <a:pt x="1274065" y="6092511"/>
                  </a:lnTo>
                  <a:lnTo>
                    <a:pt x="1272602" y="6115666"/>
                  </a:lnTo>
                  <a:lnTo>
                    <a:pt x="1263737" y="6154405"/>
                  </a:lnTo>
                  <a:lnTo>
                    <a:pt x="1245047" y="6181285"/>
                  </a:lnTo>
                  <a:lnTo>
                    <a:pt x="1193382" y="6229712"/>
                  </a:lnTo>
                  <a:lnTo>
                    <a:pt x="1152547" y="6262897"/>
                  </a:lnTo>
                  <a:lnTo>
                    <a:pt x="1132130" y="6279490"/>
                  </a:lnTo>
                  <a:lnTo>
                    <a:pt x="1111139" y="6295053"/>
                  </a:lnTo>
                  <a:lnTo>
                    <a:pt x="1092706" y="6305057"/>
                  </a:lnTo>
                  <a:lnTo>
                    <a:pt x="1074251" y="6315069"/>
                  </a:lnTo>
                  <a:lnTo>
                    <a:pt x="1047812" y="6314581"/>
                  </a:lnTo>
                  <a:lnTo>
                    <a:pt x="1023122" y="6303529"/>
                  </a:lnTo>
                  <a:lnTo>
                    <a:pt x="997006" y="6294308"/>
                  </a:lnTo>
                  <a:lnTo>
                    <a:pt x="973008" y="6281936"/>
                  </a:lnTo>
                  <a:lnTo>
                    <a:pt x="951539" y="6270890"/>
                  </a:lnTo>
                  <a:lnTo>
                    <a:pt x="928545" y="6250782"/>
                  </a:lnTo>
                  <a:lnTo>
                    <a:pt x="906351" y="6242492"/>
                  </a:lnTo>
                  <a:lnTo>
                    <a:pt x="884886" y="6234479"/>
                  </a:lnTo>
                  <a:lnTo>
                    <a:pt x="846181" y="6228050"/>
                  </a:lnTo>
                  <a:lnTo>
                    <a:pt x="809777" y="6218005"/>
                  </a:lnTo>
                  <a:lnTo>
                    <a:pt x="773373" y="6207967"/>
                  </a:lnTo>
                  <a:lnTo>
                    <a:pt x="739766" y="6193630"/>
                  </a:lnTo>
                  <a:lnTo>
                    <a:pt x="726806" y="6171762"/>
                  </a:lnTo>
                  <a:lnTo>
                    <a:pt x="717290" y="6117354"/>
                  </a:lnTo>
                  <a:lnTo>
                    <a:pt x="698137" y="6088791"/>
                  </a:lnTo>
                  <a:lnTo>
                    <a:pt x="675556" y="6077843"/>
                  </a:lnTo>
                  <a:lnTo>
                    <a:pt x="650633" y="6071110"/>
                  </a:lnTo>
                  <a:lnTo>
                    <a:pt x="625714" y="6064370"/>
                  </a:lnTo>
                  <a:lnTo>
                    <a:pt x="598540" y="6062181"/>
                  </a:lnTo>
                  <a:lnTo>
                    <a:pt x="570381" y="6053423"/>
                  </a:lnTo>
                  <a:lnTo>
                    <a:pt x="546277" y="6045944"/>
                  </a:lnTo>
                  <a:lnTo>
                    <a:pt x="525252" y="6034621"/>
                  </a:lnTo>
                  <a:lnTo>
                    <a:pt x="503734" y="6026219"/>
                  </a:lnTo>
                  <a:lnTo>
                    <a:pt x="482213" y="6017818"/>
                  </a:lnTo>
                  <a:lnTo>
                    <a:pt x="460459" y="6012086"/>
                  </a:lnTo>
                  <a:lnTo>
                    <a:pt x="434361" y="6016697"/>
                  </a:lnTo>
                  <a:lnTo>
                    <a:pt x="394410" y="6023799"/>
                  </a:lnTo>
                  <a:lnTo>
                    <a:pt x="355380" y="6047264"/>
                  </a:lnTo>
                  <a:lnTo>
                    <a:pt x="317382" y="6053423"/>
                  </a:lnTo>
                  <a:lnTo>
                    <a:pt x="288820" y="6049347"/>
                  </a:lnTo>
                  <a:lnTo>
                    <a:pt x="264232" y="6046076"/>
                  </a:lnTo>
                  <a:lnTo>
                    <a:pt x="228969" y="6053423"/>
                  </a:lnTo>
                  <a:lnTo>
                    <a:pt x="196010" y="6069852"/>
                  </a:lnTo>
                  <a:lnTo>
                    <a:pt x="175921" y="6083350"/>
                  </a:lnTo>
                  <a:lnTo>
                    <a:pt x="159649" y="6109882"/>
                  </a:lnTo>
                  <a:lnTo>
                    <a:pt x="154710" y="6139454"/>
                  </a:lnTo>
                  <a:lnTo>
                    <a:pt x="154158" y="6171762"/>
                  </a:lnTo>
                  <a:lnTo>
                    <a:pt x="153563" y="6204070"/>
                  </a:lnTo>
                  <a:lnTo>
                    <a:pt x="158245" y="6239314"/>
                  </a:lnTo>
                  <a:lnTo>
                    <a:pt x="162322" y="6275137"/>
                  </a:lnTo>
                  <a:lnTo>
                    <a:pt x="166371" y="6310961"/>
                  </a:lnTo>
                  <a:lnTo>
                    <a:pt x="170164" y="6346877"/>
                  </a:lnTo>
                  <a:lnTo>
                    <a:pt x="167764" y="6383953"/>
                  </a:lnTo>
                  <a:lnTo>
                    <a:pt x="165370" y="6421030"/>
                  </a:lnTo>
                  <a:lnTo>
                    <a:pt x="156459" y="6458053"/>
                  </a:lnTo>
                  <a:lnTo>
                    <a:pt x="136476" y="6494128"/>
                  </a:lnTo>
                  <a:lnTo>
                    <a:pt x="162452" y="6541479"/>
                  </a:lnTo>
                  <a:lnTo>
                    <a:pt x="176647" y="6570041"/>
                  </a:lnTo>
                  <a:lnTo>
                    <a:pt x="154031" y="6639631"/>
                  </a:lnTo>
                  <a:lnTo>
                    <a:pt x="154158" y="6676397"/>
                  </a:lnTo>
                  <a:lnTo>
                    <a:pt x="211414" y="6681924"/>
                  </a:lnTo>
                  <a:lnTo>
                    <a:pt x="246348" y="6685921"/>
                  </a:lnTo>
                  <a:lnTo>
                    <a:pt x="268415" y="6692719"/>
                  </a:lnTo>
                  <a:lnTo>
                    <a:pt x="290494" y="6699519"/>
                  </a:lnTo>
                  <a:lnTo>
                    <a:pt x="305141" y="6722641"/>
                  </a:lnTo>
                  <a:lnTo>
                    <a:pt x="314235" y="6756400"/>
                  </a:lnTo>
                  <a:lnTo>
                    <a:pt x="322821" y="6783848"/>
                  </a:lnTo>
                  <a:lnTo>
                    <a:pt x="331428" y="6811302"/>
                  </a:lnTo>
                  <a:lnTo>
                    <a:pt x="345582" y="6845834"/>
                  </a:lnTo>
                  <a:lnTo>
                    <a:pt x="375872" y="6892663"/>
                  </a:lnTo>
                  <a:lnTo>
                    <a:pt x="356958" y="6903315"/>
                  </a:lnTo>
                  <a:lnTo>
                    <a:pt x="318620" y="6909224"/>
                  </a:lnTo>
                  <a:lnTo>
                    <a:pt x="294258" y="6910741"/>
                  </a:lnTo>
                  <a:lnTo>
                    <a:pt x="269779" y="6911710"/>
                  </a:lnTo>
                  <a:lnTo>
                    <a:pt x="245294" y="6912679"/>
                  </a:lnTo>
                  <a:lnTo>
                    <a:pt x="220114" y="6912995"/>
                  </a:lnTo>
                  <a:lnTo>
                    <a:pt x="199049" y="6913068"/>
                  </a:lnTo>
                  <a:lnTo>
                    <a:pt x="177983" y="6913135"/>
                  </a:lnTo>
                  <a:lnTo>
                    <a:pt x="151445" y="6913068"/>
                  </a:lnTo>
                  <a:lnTo>
                    <a:pt x="135124" y="6951154"/>
                  </a:lnTo>
                  <a:lnTo>
                    <a:pt x="106127" y="6956977"/>
                  </a:lnTo>
                  <a:lnTo>
                    <a:pt x="67026" y="6952810"/>
                  </a:lnTo>
                  <a:lnTo>
                    <a:pt x="38541" y="6947079"/>
                  </a:lnTo>
                  <a:lnTo>
                    <a:pt x="12697" y="6970200"/>
                  </a:lnTo>
                  <a:lnTo>
                    <a:pt x="726" y="7017684"/>
                  </a:lnTo>
                  <a:lnTo>
                    <a:pt x="456" y="7049096"/>
                  </a:lnTo>
                  <a:lnTo>
                    <a:pt x="0" y="7080500"/>
                  </a:lnTo>
                  <a:lnTo>
                    <a:pt x="5113" y="7111259"/>
                  </a:lnTo>
                  <a:lnTo>
                    <a:pt x="128318" y="7145665"/>
                  </a:lnTo>
                  <a:lnTo>
                    <a:pt x="144171" y="7177465"/>
                  </a:lnTo>
                  <a:lnTo>
                    <a:pt x="153532" y="7201899"/>
                  </a:lnTo>
                  <a:lnTo>
                    <a:pt x="159597" y="7227275"/>
                  </a:lnTo>
                  <a:lnTo>
                    <a:pt x="165680" y="7252660"/>
                  </a:lnTo>
                  <a:lnTo>
                    <a:pt x="168483" y="7279158"/>
                  </a:lnTo>
                  <a:lnTo>
                    <a:pt x="160949" y="7299372"/>
                  </a:lnTo>
                  <a:lnTo>
                    <a:pt x="175782" y="7330816"/>
                  </a:lnTo>
                  <a:lnTo>
                    <a:pt x="178749" y="7365861"/>
                  </a:lnTo>
                  <a:lnTo>
                    <a:pt x="173183" y="7402747"/>
                  </a:lnTo>
                  <a:lnTo>
                    <a:pt x="166080" y="7439289"/>
                  </a:lnTo>
                  <a:lnTo>
                    <a:pt x="151315" y="7475093"/>
                  </a:lnTo>
                  <a:lnTo>
                    <a:pt x="141899" y="7504764"/>
                  </a:lnTo>
                  <a:lnTo>
                    <a:pt x="143725" y="7527121"/>
                  </a:lnTo>
                  <a:lnTo>
                    <a:pt x="154878" y="7550532"/>
                  </a:lnTo>
                  <a:lnTo>
                    <a:pt x="178625" y="7572771"/>
                  </a:lnTo>
                  <a:lnTo>
                    <a:pt x="206078" y="7589567"/>
                  </a:lnTo>
                  <a:lnTo>
                    <a:pt x="254295" y="7604471"/>
                  </a:lnTo>
                  <a:lnTo>
                    <a:pt x="291251" y="7605559"/>
                  </a:lnTo>
                  <a:lnTo>
                    <a:pt x="322802" y="7601332"/>
                  </a:lnTo>
                  <a:lnTo>
                    <a:pt x="347970" y="7597969"/>
                  </a:lnTo>
                  <a:lnTo>
                    <a:pt x="405529" y="7573661"/>
                  </a:lnTo>
                  <a:lnTo>
                    <a:pt x="426176" y="7578211"/>
                  </a:lnTo>
                  <a:lnTo>
                    <a:pt x="444999" y="7652133"/>
                  </a:lnTo>
                  <a:lnTo>
                    <a:pt x="449306" y="7714230"/>
                  </a:lnTo>
                  <a:lnTo>
                    <a:pt x="453613" y="7776329"/>
                  </a:lnTo>
                  <a:lnTo>
                    <a:pt x="456400" y="7839244"/>
                  </a:lnTo>
                  <a:lnTo>
                    <a:pt x="486746" y="7870780"/>
                  </a:lnTo>
                  <a:lnTo>
                    <a:pt x="509833" y="7891100"/>
                  </a:lnTo>
                  <a:lnTo>
                    <a:pt x="528194" y="7912823"/>
                  </a:lnTo>
                  <a:lnTo>
                    <a:pt x="552872" y="7941979"/>
                  </a:lnTo>
                  <a:lnTo>
                    <a:pt x="562440" y="7984510"/>
                  </a:lnTo>
                  <a:lnTo>
                    <a:pt x="571720" y="8027073"/>
                  </a:lnTo>
                  <a:lnTo>
                    <a:pt x="581000" y="8069643"/>
                  </a:lnTo>
                  <a:lnTo>
                    <a:pt x="589242" y="8111725"/>
                  </a:lnTo>
                  <a:lnTo>
                    <a:pt x="611163" y="8138612"/>
                  </a:lnTo>
                  <a:lnTo>
                    <a:pt x="660323" y="8161484"/>
                  </a:lnTo>
                  <a:lnTo>
                    <a:pt x="695499" y="8167175"/>
                  </a:lnTo>
                  <a:lnTo>
                    <a:pt x="730672" y="8172866"/>
                  </a:lnTo>
                  <a:lnTo>
                    <a:pt x="764595" y="8176104"/>
                  </a:lnTo>
                  <a:lnTo>
                    <a:pt x="772502" y="8210615"/>
                  </a:lnTo>
                  <a:lnTo>
                    <a:pt x="736005" y="8241012"/>
                  </a:lnTo>
                  <a:lnTo>
                    <a:pt x="648748" y="8252698"/>
                  </a:lnTo>
                  <a:lnTo>
                    <a:pt x="643347" y="8277884"/>
                  </a:lnTo>
                  <a:lnTo>
                    <a:pt x="651610" y="8305590"/>
                  </a:lnTo>
                  <a:lnTo>
                    <a:pt x="662862" y="8330399"/>
                  </a:lnTo>
                  <a:lnTo>
                    <a:pt x="674099" y="8355216"/>
                  </a:lnTo>
                  <a:lnTo>
                    <a:pt x="688805" y="8377177"/>
                  </a:lnTo>
                  <a:lnTo>
                    <a:pt x="722229" y="8380560"/>
                  </a:lnTo>
                  <a:lnTo>
                    <a:pt x="763420" y="8377968"/>
                  </a:lnTo>
                  <a:lnTo>
                    <a:pt x="789220" y="8402850"/>
                  </a:lnTo>
                  <a:lnTo>
                    <a:pt x="781602" y="8432765"/>
                  </a:lnTo>
                  <a:lnTo>
                    <a:pt x="773029" y="8466418"/>
                  </a:lnTo>
                  <a:lnTo>
                    <a:pt x="764437" y="8500072"/>
                  </a:lnTo>
                  <a:lnTo>
                    <a:pt x="754267" y="8538402"/>
                  </a:lnTo>
                  <a:lnTo>
                    <a:pt x="759424" y="8571153"/>
                  </a:lnTo>
                  <a:lnTo>
                    <a:pt x="786172" y="8586723"/>
                  </a:lnTo>
                  <a:lnTo>
                    <a:pt x="821997" y="8577959"/>
                  </a:lnTo>
                  <a:lnTo>
                    <a:pt x="863321" y="8562645"/>
                  </a:lnTo>
                  <a:lnTo>
                    <a:pt x="884570" y="8552112"/>
                  </a:lnTo>
                  <a:lnTo>
                    <a:pt x="927060" y="8531049"/>
                  </a:lnTo>
                  <a:lnTo>
                    <a:pt x="967566" y="8508118"/>
                  </a:lnTo>
                  <a:lnTo>
                    <a:pt x="998609" y="8513560"/>
                  </a:lnTo>
                  <a:lnTo>
                    <a:pt x="1017451" y="8533239"/>
                  </a:lnTo>
                  <a:lnTo>
                    <a:pt x="1040145" y="8566820"/>
                  </a:lnTo>
                  <a:lnTo>
                    <a:pt x="1053325" y="8592705"/>
                  </a:lnTo>
                  <a:lnTo>
                    <a:pt x="1068192" y="8616043"/>
                  </a:lnTo>
                  <a:lnTo>
                    <a:pt x="1092848" y="8654723"/>
                  </a:lnTo>
                  <a:lnTo>
                    <a:pt x="1125777" y="8692367"/>
                  </a:lnTo>
                  <a:lnTo>
                    <a:pt x="1157973" y="8730300"/>
                  </a:lnTo>
                  <a:lnTo>
                    <a:pt x="1190151" y="8768234"/>
                  </a:lnTo>
                  <a:lnTo>
                    <a:pt x="1220667" y="8806940"/>
                  </a:lnTo>
                  <a:lnTo>
                    <a:pt x="1239580" y="8848640"/>
                  </a:lnTo>
                  <a:lnTo>
                    <a:pt x="1272053" y="8844617"/>
                  </a:lnTo>
                  <a:lnTo>
                    <a:pt x="1299598" y="8820019"/>
                  </a:lnTo>
                  <a:lnTo>
                    <a:pt x="1322549" y="8794231"/>
                  </a:lnTo>
                  <a:lnTo>
                    <a:pt x="1341348" y="8775021"/>
                  </a:lnTo>
                  <a:lnTo>
                    <a:pt x="1418962" y="8721972"/>
                  </a:lnTo>
                  <a:lnTo>
                    <a:pt x="1446334" y="8708537"/>
                  </a:lnTo>
                  <a:lnTo>
                    <a:pt x="1482642" y="8743016"/>
                  </a:lnTo>
                  <a:lnTo>
                    <a:pt x="1496607" y="8762425"/>
                  </a:lnTo>
                  <a:lnTo>
                    <a:pt x="1521194" y="8787940"/>
                  </a:lnTo>
                  <a:lnTo>
                    <a:pt x="1541540" y="8798307"/>
                  </a:lnTo>
                  <a:lnTo>
                    <a:pt x="1562785" y="8806947"/>
                  </a:lnTo>
                  <a:lnTo>
                    <a:pt x="1584775" y="8807613"/>
                  </a:lnTo>
                  <a:lnTo>
                    <a:pt x="1619074" y="8837751"/>
                  </a:lnTo>
                  <a:lnTo>
                    <a:pt x="1659803" y="8873542"/>
                  </a:lnTo>
                  <a:lnTo>
                    <a:pt x="1681854" y="8951711"/>
                  </a:lnTo>
                  <a:lnTo>
                    <a:pt x="1725169" y="8991453"/>
                  </a:lnTo>
                  <a:lnTo>
                    <a:pt x="1747828" y="9012201"/>
                  </a:lnTo>
                  <a:lnTo>
                    <a:pt x="1775845" y="9027922"/>
                  </a:lnTo>
                  <a:lnTo>
                    <a:pt x="1798622" y="9048584"/>
                  </a:lnTo>
                  <a:lnTo>
                    <a:pt x="1822596" y="9070261"/>
                  </a:lnTo>
                  <a:lnTo>
                    <a:pt x="1839339" y="9103071"/>
                  </a:lnTo>
                  <a:lnTo>
                    <a:pt x="1866631" y="9124755"/>
                  </a:lnTo>
                  <a:lnTo>
                    <a:pt x="1900259" y="9151366"/>
                  </a:lnTo>
                  <a:lnTo>
                    <a:pt x="1939445" y="9171216"/>
                  </a:lnTo>
                  <a:lnTo>
                    <a:pt x="1972726" y="9198202"/>
                  </a:lnTo>
                  <a:lnTo>
                    <a:pt x="1993085" y="9214762"/>
                  </a:lnTo>
                  <a:lnTo>
                    <a:pt x="2010523" y="9239111"/>
                  </a:lnTo>
                  <a:lnTo>
                    <a:pt x="2025771" y="9264852"/>
                  </a:lnTo>
                  <a:lnTo>
                    <a:pt x="2041032" y="9290596"/>
                  </a:lnTo>
                  <a:lnTo>
                    <a:pt x="2054917" y="9317602"/>
                  </a:lnTo>
                  <a:lnTo>
                    <a:pt x="2067939" y="9339663"/>
                  </a:lnTo>
                  <a:lnTo>
                    <a:pt x="2073719" y="9361044"/>
                  </a:lnTo>
                  <a:lnTo>
                    <a:pt x="2101940" y="9377747"/>
                  </a:lnTo>
                  <a:lnTo>
                    <a:pt x="2135104" y="9358242"/>
                  </a:lnTo>
                  <a:lnTo>
                    <a:pt x="2145448" y="9308378"/>
                  </a:lnTo>
                  <a:lnTo>
                    <a:pt x="2226937" y="9294094"/>
                  </a:lnTo>
                  <a:lnTo>
                    <a:pt x="2278841" y="9323301"/>
                  </a:lnTo>
                  <a:lnTo>
                    <a:pt x="2327719" y="9326064"/>
                  </a:lnTo>
                  <a:lnTo>
                    <a:pt x="2355593" y="9327636"/>
                  </a:lnTo>
                  <a:lnTo>
                    <a:pt x="2386419" y="9306167"/>
                  </a:lnTo>
                  <a:lnTo>
                    <a:pt x="2416129" y="9311100"/>
                  </a:lnTo>
                  <a:lnTo>
                    <a:pt x="2429703" y="9355947"/>
                  </a:lnTo>
                  <a:lnTo>
                    <a:pt x="2410083" y="9384435"/>
                  </a:lnTo>
                  <a:lnTo>
                    <a:pt x="2390282" y="9413119"/>
                  </a:lnTo>
                  <a:lnTo>
                    <a:pt x="2370501" y="9441793"/>
                  </a:lnTo>
                  <a:lnTo>
                    <a:pt x="2350117" y="9470644"/>
                  </a:lnTo>
                  <a:lnTo>
                    <a:pt x="2344040" y="9501529"/>
                  </a:lnTo>
                  <a:lnTo>
                    <a:pt x="2338478" y="9529834"/>
                  </a:lnTo>
                  <a:lnTo>
                    <a:pt x="2354160" y="9565243"/>
                  </a:lnTo>
                  <a:lnTo>
                    <a:pt x="2345392" y="9589939"/>
                  </a:lnTo>
                  <a:lnTo>
                    <a:pt x="2321617" y="9611959"/>
                  </a:lnTo>
                  <a:lnTo>
                    <a:pt x="2304055" y="9648695"/>
                  </a:lnTo>
                  <a:lnTo>
                    <a:pt x="2293711" y="9687874"/>
                  </a:lnTo>
                  <a:lnTo>
                    <a:pt x="2283362" y="9727053"/>
                  </a:lnTo>
                  <a:lnTo>
                    <a:pt x="2280751" y="9769274"/>
                  </a:lnTo>
                  <a:lnTo>
                    <a:pt x="2285551" y="9800773"/>
                  </a:lnTo>
                  <a:lnTo>
                    <a:pt x="2288980" y="9823348"/>
                  </a:lnTo>
                  <a:lnTo>
                    <a:pt x="2303745" y="9846593"/>
                  </a:lnTo>
                  <a:lnTo>
                    <a:pt x="2299150" y="9870145"/>
                  </a:lnTo>
                  <a:lnTo>
                    <a:pt x="2281173" y="9892243"/>
                  </a:lnTo>
                  <a:lnTo>
                    <a:pt x="2241088" y="9915070"/>
                  </a:lnTo>
                  <a:lnTo>
                    <a:pt x="2216172" y="9927270"/>
                  </a:lnTo>
                  <a:lnTo>
                    <a:pt x="2203770" y="9891161"/>
                  </a:lnTo>
                  <a:lnTo>
                    <a:pt x="2186493" y="9852732"/>
                  </a:lnTo>
                  <a:lnTo>
                    <a:pt x="2161763" y="9823894"/>
                  </a:lnTo>
                  <a:lnTo>
                    <a:pt x="2136065" y="9798252"/>
                  </a:lnTo>
                  <a:lnTo>
                    <a:pt x="2103149" y="9781527"/>
                  </a:lnTo>
                  <a:lnTo>
                    <a:pt x="2062476" y="9776284"/>
                  </a:lnTo>
                  <a:lnTo>
                    <a:pt x="2041516" y="9783071"/>
                  </a:lnTo>
                  <a:lnTo>
                    <a:pt x="2016228" y="9803495"/>
                  </a:lnTo>
                  <a:lnTo>
                    <a:pt x="1997277" y="9826387"/>
                  </a:lnTo>
                  <a:lnTo>
                    <a:pt x="1980682" y="9867876"/>
                  </a:lnTo>
                  <a:lnTo>
                    <a:pt x="1976838" y="9900453"/>
                  </a:lnTo>
                  <a:lnTo>
                    <a:pt x="1961818" y="9935434"/>
                  </a:lnTo>
                  <a:lnTo>
                    <a:pt x="1953286" y="9955303"/>
                  </a:lnTo>
                  <a:lnTo>
                    <a:pt x="1937733" y="9974799"/>
                  </a:lnTo>
                  <a:lnTo>
                    <a:pt x="1925095" y="9995282"/>
                  </a:lnTo>
                  <a:lnTo>
                    <a:pt x="1912451" y="10015758"/>
                  </a:lnTo>
                  <a:lnTo>
                    <a:pt x="1902610" y="10038209"/>
                  </a:lnTo>
                  <a:lnTo>
                    <a:pt x="1903335" y="10061932"/>
                  </a:lnTo>
                  <a:lnTo>
                    <a:pt x="1904123" y="10087137"/>
                  </a:lnTo>
                  <a:lnTo>
                    <a:pt x="1915397" y="10138867"/>
                  </a:lnTo>
                  <a:lnTo>
                    <a:pt x="1903335" y="10161222"/>
                  </a:lnTo>
                  <a:lnTo>
                    <a:pt x="1885389" y="10183159"/>
                  </a:lnTo>
                  <a:lnTo>
                    <a:pt x="1773935" y="10220394"/>
                  </a:lnTo>
                  <a:lnTo>
                    <a:pt x="1748269" y="10226514"/>
                  </a:lnTo>
                  <a:lnTo>
                    <a:pt x="1688527" y="10229652"/>
                  </a:lnTo>
                  <a:lnTo>
                    <a:pt x="1644895" y="10225153"/>
                  </a:lnTo>
                  <a:lnTo>
                    <a:pt x="1601258" y="10220657"/>
                  </a:lnTo>
                  <a:lnTo>
                    <a:pt x="1558283" y="10212704"/>
                  </a:lnTo>
                  <a:lnTo>
                    <a:pt x="1546799" y="10188216"/>
                  </a:lnTo>
                  <a:lnTo>
                    <a:pt x="1530632" y="10168028"/>
                  </a:lnTo>
                  <a:lnTo>
                    <a:pt x="1510069" y="10156252"/>
                  </a:lnTo>
                  <a:lnTo>
                    <a:pt x="1480316" y="10174868"/>
                  </a:lnTo>
                  <a:lnTo>
                    <a:pt x="1455828" y="10166670"/>
                  </a:lnTo>
                  <a:lnTo>
                    <a:pt x="1424549" y="10127221"/>
                  </a:lnTo>
                  <a:lnTo>
                    <a:pt x="1399298" y="10129903"/>
                  </a:lnTo>
                  <a:lnTo>
                    <a:pt x="1354147" y="10151409"/>
                  </a:lnTo>
                  <a:lnTo>
                    <a:pt x="1341571" y="10172111"/>
                  </a:lnTo>
                  <a:lnTo>
                    <a:pt x="1328815" y="10193130"/>
                  </a:lnTo>
                  <a:lnTo>
                    <a:pt x="1323888" y="10222437"/>
                  </a:lnTo>
                  <a:lnTo>
                    <a:pt x="1328381" y="10248482"/>
                  </a:lnTo>
                  <a:lnTo>
                    <a:pt x="1351611" y="10280526"/>
                  </a:lnTo>
                  <a:lnTo>
                    <a:pt x="1377463" y="10298587"/>
                  </a:lnTo>
                  <a:lnTo>
                    <a:pt x="1393252" y="10331252"/>
                  </a:lnTo>
                  <a:lnTo>
                    <a:pt x="1406287" y="10358159"/>
                  </a:lnTo>
                  <a:lnTo>
                    <a:pt x="1422081" y="10422614"/>
                  </a:lnTo>
                  <a:lnTo>
                    <a:pt x="1431345" y="10486312"/>
                  </a:lnTo>
                  <a:lnTo>
                    <a:pt x="1440610" y="10550020"/>
                  </a:lnTo>
                  <a:lnTo>
                    <a:pt x="1444244" y="10613542"/>
                  </a:lnTo>
                  <a:lnTo>
                    <a:pt x="1434043" y="10641379"/>
                  </a:lnTo>
                  <a:lnTo>
                    <a:pt x="1418484" y="10658730"/>
                  </a:lnTo>
                  <a:lnTo>
                    <a:pt x="1395193" y="10668614"/>
                  </a:lnTo>
                  <a:lnTo>
                    <a:pt x="1368751" y="10674022"/>
                  </a:lnTo>
                  <a:lnTo>
                    <a:pt x="1342309" y="10679432"/>
                  </a:lnTo>
                  <a:lnTo>
                    <a:pt x="1312677" y="10680446"/>
                  </a:lnTo>
                  <a:lnTo>
                    <a:pt x="1283060" y="10680821"/>
                  </a:lnTo>
                  <a:lnTo>
                    <a:pt x="1253434" y="10681218"/>
                  </a:lnTo>
                  <a:lnTo>
                    <a:pt x="1223829" y="10679925"/>
                  </a:lnTo>
                  <a:lnTo>
                    <a:pt x="1198724" y="10682182"/>
                  </a:lnTo>
                  <a:lnTo>
                    <a:pt x="1173625" y="10684437"/>
                  </a:lnTo>
                  <a:lnTo>
                    <a:pt x="1153114" y="10690173"/>
                  </a:lnTo>
                  <a:lnTo>
                    <a:pt x="1133435" y="10721631"/>
                  </a:lnTo>
                  <a:lnTo>
                    <a:pt x="1154603" y="10767151"/>
                  </a:lnTo>
                  <a:lnTo>
                    <a:pt x="1186278" y="10791168"/>
                  </a:lnTo>
                  <a:lnTo>
                    <a:pt x="1220487" y="10825002"/>
                  </a:lnTo>
                  <a:lnTo>
                    <a:pt x="1236762" y="10841112"/>
                  </a:lnTo>
                  <a:lnTo>
                    <a:pt x="1249319" y="10860581"/>
                  </a:lnTo>
                  <a:lnTo>
                    <a:pt x="1269455" y="10875333"/>
                  </a:lnTo>
                  <a:lnTo>
                    <a:pt x="1298743" y="10896669"/>
                  </a:lnTo>
                  <a:lnTo>
                    <a:pt x="1333299" y="10901639"/>
                  </a:lnTo>
                  <a:lnTo>
                    <a:pt x="1366029" y="10914776"/>
                  </a:lnTo>
                  <a:lnTo>
                    <a:pt x="1400885" y="10928719"/>
                  </a:lnTo>
                  <a:lnTo>
                    <a:pt x="1507322" y="10987506"/>
                  </a:lnTo>
                  <a:lnTo>
                    <a:pt x="1527898" y="11014069"/>
                  </a:lnTo>
                  <a:lnTo>
                    <a:pt x="1551940" y="11045100"/>
                  </a:lnTo>
                  <a:lnTo>
                    <a:pt x="1572540" y="11079439"/>
                  </a:lnTo>
                  <a:lnTo>
                    <a:pt x="1589103" y="11116085"/>
                  </a:lnTo>
                  <a:lnTo>
                    <a:pt x="1605660" y="11152734"/>
                  </a:lnTo>
                  <a:lnTo>
                    <a:pt x="1618026" y="11190641"/>
                  </a:lnTo>
                  <a:lnTo>
                    <a:pt x="1629907" y="11227619"/>
                  </a:lnTo>
                  <a:lnTo>
                    <a:pt x="1637268" y="11250616"/>
                  </a:lnTo>
                  <a:lnTo>
                    <a:pt x="1657118" y="11375542"/>
                  </a:lnTo>
                  <a:lnTo>
                    <a:pt x="1719508" y="11416522"/>
                  </a:lnTo>
                  <a:lnTo>
                    <a:pt x="1780335" y="11457794"/>
                  </a:lnTo>
                  <a:lnTo>
                    <a:pt x="1817616" y="11507822"/>
                  </a:lnTo>
                  <a:lnTo>
                    <a:pt x="1837256" y="11477855"/>
                  </a:lnTo>
                  <a:lnTo>
                    <a:pt x="1859908" y="11443978"/>
                  </a:lnTo>
                  <a:lnTo>
                    <a:pt x="1880186" y="11423495"/>
                  </a:lnTo>
                  <a:lnTo>
                    <a:pt x="1916184" y="11452821"/>
                  </a:lnTo>
                  <a:lnTo>
                    <a:pt x="1939438" y="11485975"/>
                  </a:lnTo>
                  <a:lnTo>
                    <a:pt x="1963158" y="11506464"/>
                  </a:lnTo>
                  <a:lnTo>
                    <a:pt x="1981476" y="11522320"/>
                  </a:lnTo>
                  <a:lnTo>
                    <a:pt x="2003986" y="11533253"/>
                  </a:lnTo>
                  <a:lnTo>
                    <a:pt x="2024364" y="11545910"/>
                  </a:lnTo>
                  <a:lnTo>
                    <a:pt x="2044747" y="11558566"/>
                  </a:lnTo>
                  <a:lnTo>
                    <a:pt x="2063003" y="11573542"/>
                  </a:lnTo>
                  <a:lnTo>
                    <a:pt x="2076050" y="11596235"/>
                  </a:lnTo>
                  <a:lnTo>
                    <a:pt x="2074531" y="11619316"/>
                  </a:lnTo>
                  <a:lnTo>
                    <a:pt x="2058520" y="11641166"/>
                  </a:lnTo>
                  <a:lnTo>
                    <a:pt x="2033889" y="11662888"/>
                  </a:lnTo>
                  <a:lnTo>
                    <a:pt x="2008364" y="11684527"/>
                  </a:lnTo>
                  <a:lnTo>
                    <a:pt x="1980459" y="11706858"/>
                  </a:lnTo>
                  <a:lnTo>
                    <a:pt x="1972677" y="11733619"/>
                  </a:lnTo>
                  <a:lnTo>
                    <a:pt x="1981817" y="11761245"/>
                  </a:lnTo>
                  <a:lnTo>
                    <a:pt x="2002356" y="11784242"/>
                  </a:lnTo>
                  <a:lnTo>
                    <a:pt x="2023005" y="11808427"/>
                  </a:lnTo>
                  <a:lnTo>
                    <a:pt x="2043655" y="11832615"/>
                  </a:lnTo>
                  <a:lnTo>
                    <a:pt x="2064088" y="11858117"/>
                  </a:lnTo>
                  <a:lnTo>
                    <a:pt x="2070618" y="11891402"/>
                  </a:lnTo>
                  <a:lnTo>
                    <a:pt x="2055481" y="11918904"/>
                  </a:lnTo>
                  <a:lnTo>
                    <a:pt x="1991553" y="11960985"/>
                  </a:lnTo>
                  <a:lnTo>
                    <a:pt x="1967238" y="11977089"/>
                  </a:lnTo>
                  <a:lnTo>
                    <a:pt x="1934043" y="11966678"/>
                  </a:lnTo>
                  <a:lnTo>
                    <a:pt x="1879721" y="11931440"/>
                  </a:lnTo>
                  <a:lnTo>
                    <a:pt x="1852343" y="11946022"/>
                  </a:lnTo>
                  <a:lnTo>
                    <a:pt x="1831389" y="11957630"/>
                  </a:lnTo>
                  <a:lnTo>
                    <a:pt x="1817499" y="11976457"/>
                  </a:lnTo>
                  <a:lnTo>
                    <a:pt x="1799937" y="11992053"/>
                  </a:lnTo>
                  <a:lnTo>
                    <a:pt x="1779064" y="12006188"/>
                  </a:lnTo>
                  <a:lnTo>
                    <a:pt x="1759933" y="12025167"/>
                  </a:lnTo>
                  <a:lnTo>
                    <a:pt x="1673390" y="12111283"/>
                  </a:lnTo>
                  <a:lnTo>
                    <a:pt x="1667988" y="12132156"/>
                  </a:lnTo>
                  <a:lnTo>
                    <a:pt x="1677687" y="12186987"/>
                  </a:lnTo>
                  <a:lnTo>
                    <a:pt x="1733281" y="12296738"/>
                  </a:lnTo>
                  <a:lnTo>
                    <a:pt x="1787690" y="12396031"/>
                  </a:lnTo>
                  <a:lnTo>
                    <a:pt x="1852510" y="12362542"/>
                  </a:lnTo>
                  <a:lnTo>
                    <a:pt x="1910789" y="12344261"/>
                  </a:lnTo>
                  <a:lnTo>
                    <a:pt x="1965874" y="12315785"/>
                  </a:lnTo>
                  <a:lnTo>
                    <a:pt x="2020544" y="12287474"/>
                  </a:lnTo>
                  <a:lnTo>
                    <a:pt x="2103987" y="12272343"/>
                  </a:lnTo>
                  <a:lnTo>
                    <a:pt x="2169911" y="12238249"/>
                  </a:lnTo>
                  <a:lnTo>
                    <a:pt x="2238515" y="12202762"/>
                  </a:lnTo>
                  <a:lnTo>
                    <a:pt x="2293184" y="12137129"/>
                  </a:lnTo>
                  <a:lnTo>
                    <a:pt x="2365775" y="12111751"/>
                  </a:lnTo>
                  <a:lnTo>
                    <a:pt x="2398300" y="12100363"/>
                  </a:lnTo>
                  <a:lnTo>
                    <a:pt x="2492106" y="12078045"/>
                  </a:lnTo>
                  <a:lnTo>
                    <a:pt x="2523564" y="12085914"/>
                  </a:lnTo>
                  <a:lnTo>
                    <a:pt x="2578519" y="12099637"/>
                  </a:lnTo>
                  <a:lnTo>
                    <a:pt x="2616439" y="12168963"/>
                  </a:lnTo>
                  <a:lnTo>
                    <a:pt x="2662297" y="12198803"/>
                  </a:lnTo>
                  <a:lnTo>
                    <a:pt x="2691244" y="12217633"/>
                  </a:lnTo>
                  <a:lnTo>
                    <a:pt x="2767115" y="12234423"/>
                  </a:lnTo>
                  <a:lnTo>
                    <a:pt x="2777918" y="12266817"/>
                  </a:lnTo>
                  <a:lnTo>
                    <a:pt x="2794878" y="12317738"/>
                  </a:lnTo>
                  <a:lnTo>
                    <a:pt x="2735781" y="12358204"/>
                  </a:lnTo>
                  <a:lnTo>
                    <a:pt x="2739830" y="12400115"/>
                  </a:lnTo>
                  <a:lnTo>
                    <a:pt x="2765670" y="12419152"/>
                  </a:lnTo>
                  <a:lnTo>
                    <a:pt x="2822206" y="12397985"/>
                  </a:lnTo>
                  <a:lnTo>
                    <a:pt x="2903522" y="12228172"/>
                  </a:lnTo>
                  <a:lnTo>
                    <a:pt x="2931620" y="12174318"/>
                  </a:lnTo>
                  <a:lnTo>
                    <a:pt x="2962055" y="12115912"/>
                  </a:lnTo>
                  <a:lnTo>
                    <a:pt x="2996614" y="12040810"/>
                  </a:lnTo>
                  <a:lnTo>
                    <a:pt x="3036351" y="11989331"/>
                  </a:lnTo>
                  <a:lnTo>
                    <a:pt x="3057355" y="11962126"/>
                  </a:lnTo>
                  <a:lnTo>
                    <a:pt x="3090209" y="11945336"/>
                  </a:lnTo>
                  <a:lnTo>
                    <a:pt x="3109804" y="11915884"/>
                  </a:lnTo>
                  <a:lnTo>
                    <a:pt x="3161454" y="11838394"/>
                  </a:lnTo>
                  <a:lnTo>
                    <a:pt x="3201191" y="11750958"/>
                  </a:lnTo>
                  <a:lnTo>
                    <a:pt x="3258068" y="11677846"/>
                  </a:lnTo>
                  <a:lnTo>
                    <a:pt x="3319702" y="11598616"/>
                  </a:lnTo>
                  <a:lnTo>
                    <a:pt x="3392646" y="11529501"/>
                  </a:lnTo>
                  <a:lnTo>
                    <a:pt x="3453938" y="11450691"/>
                  </a:lnTo>
                  <a:lnTo>
                    <a:pt x="3497291" y="11394880"/>
                  </a:lnTo>
                  <a:lnTo>
                    <a:pt x="3506729" y="11330909"/>
                  </a:lnTo>
                  <a:lnTo>
                    <a:pt x="3573633" y="11291550"/>
                  </a:lnTo>
                  <a:lnTo>
                    <a:pt x="3624340" y="11261623"/>
                  </a:lnTo>
                  <a:lnTo>
                    <a:pt x="3647979" y="11271489"/>
                  </a:lnTo>
                  <a:lnTo>
                    <a:pt x="3701489" y="11279309"/>
                  </a:lnTo>
                  <a:lnTo>
                    <a:pt x="3727205" y="11283088"/>
                  </a:lnTo>
                  <a:lnTo>
                    <a:pt x="3756493" y="11279507"/>
                  </a:lnTo>
                  <a:lnTo>
                    <a:pt x="3781745" y="11286108"/>
                  </a:lnTo>
                  <a:lnTo>
                    <a:pt x="3827863" y="11298225"/>
                  </a:lnTo>
                  <a:lnTo>
                    <a:pt x="3871432" y="11332781"/>
                  </a:lnTo>
                  <a:lnTo>
                    <a:pt x="3917761" y="11343234"/>
                  </a:lnTo>
                  <a:lnTo>
                    <a:pt x="3971197" y="11355224"/>
                  </a:lnTo>
                  <a:lnTo>
                    <a:pt x="4039887" y="11342173"/>
                  </a:lnTo>
                  <a:lnTo>
                    <a:pt x="4095952" y="11348675"/>
                  </a:lnTo>
                  <a:lnTo>
                    <a:pt x="4145896" y="11354420"/>
                  </a:lnTo>
                  <a:lnTo>
                    <a:pt x="4193037" y="11376689"/>
                  </a:lnTo>
                  <a:lnTo>
                    <a:pt x="4244209" y="11374522"/>
                  </a:lnTo>
                  <a:lnTo>
                    <a:pt x="4296870" y="11372311"/>
                  </a:lnTo>
                  <a:lnTo>
                    <a:pt x="4360339" y="11346979"/>
                  </a:lnTo>
                  <a:lnTo>
                    <a:pt x="4407437" y="11324196"/>
                  </a:lnTo>
                  <a:lnTo>
                    <a:pt x="4440080" y="11316965"/>
                  </a:lnTo>
                  <a:lnTo>
                    <a:pt x="4519988" y="11275650"/>
                  </a:lnTo>
                  <a:lnTo>
                    <a:pt x="4586812" y="11240375"/>
                  </a:lnTo>
                  <a:lnTo>
                    <a:pt x="4659068" y="11227619"/>
                  </a:lnTo>
                  <a:lnTo>
                    <a:pt x="4685975" y="11222856"/>
                  </a:lnTo>
                  <a:lnTo>
                    <a:pt x="4710457" y="11231188"/>
                  </a:lnTo>
                  <a:lnTo>
                    <a:pt x="4736607" y="11228977"/>
                  </a:lnTo>
                  <a:lnTo>
                    <a:pt x="4772314" y="11221585"/>
                  </a:lnTo>
                  <a:lnTo>
                    <a:pt x="4830326" y="11233575"/>
                  </a:lnTo>
                  <a:lnTo>
                    <a:pt x="4897832" y="11270857"/>
                  </a:lnTo>
                  <a:lnTo>
                    <a:pt x="4939274" y="11288834"/>
                  </a:lnTo>
                  <a:lnTo>
                    <a:pt x="5008386" y="11253214"/>
                  </a:lnTo>
                  <a:lnTo>
                    <a:pt x="5026326" y="11239866"/>
                  </a:lnTo>
                  <a:lnTo>
                    <a:pt x="5049066" y="11241271"/>
                  </a:lnTo>
                  <a:lnTo>
                    <a:pt x="5108101" y="11263800"/>
                  </a:lnTo>
                  <a:lnTo>
                    <a:pt x="5190992" y="11322453"/>
                  </a:lnTo>
                  <a:lnTo>
                    <a:pt x="5246678" y="11320119"/>
                  </a:lnTo>
                  <a:lnTo>
                    <a:pt x="5313539" y="11317356"/>
                  </a:lnTo>
                  <a:lnTo>
                    <a:pt x="5357022" y="11216314"/>
                  </a:lnTo>
                  <a:lnTo>
                    <a:pt x="5411258" y="11237141"/>
                  </a:lnTo>
                  <a:lnTo>
                    <a:pt x="5453308" y="11269278"/>
                  </a:lnTo>
                  <a:lnTo>
                    <a:pt x="5487179" y="11312891"/>
                  </a:lnTo>
                  <a:lnTo>
                    <a:pt x="5530965" y="11344601"/>
                  </a:lnTo>
                  <a:lnTo>
                    <a:pt x="5554852" y="11361859"/>
                  </a:lnTo>
                  <a:lnTo>
                    <a:pt x="5589572" y="11372739"/>
                  </a:lnTo>
                  <a:lnTo>
                    <a:pt x="5609850" y="11394927"/>
                  </a:lnTo>
                  <a:lnTo>
                    <a:pt x="5624355" y="11418516"/>
                  </a:lnTo>
                  <a:lnTo>
                    <a:pt x="5618860" y="11533498"/>
                  </a:lnTo>
                  <a:lnTo>
                    <a:pt x="5531653" y="11540170"/>
                  </a:lnTo>
                  <a:lnTo>
                    <a:pt x="5530965" y="11616640"/>
                  </a:lnTo>
                  <a:lnTo>
                    <a:pt x="5636931" y="11577446"/>
                  </a:lnTo>
                  <a:lnTo>
                    <a:pt x="5653252" y="11502250"/>
                  </a:lnTo>
                  <a:lnTo>
                    <a:pt x="5713224" y="11435727"/>
                  </a:lnTo>
                  <a:lnTo>
                    <a:pt x="5740726" y="11412178"/>
                  </a:lnTo>
                  <a:lnTo>
                    <a:pt x="5794068" y="11347357"/>
                  </a:lnTo>
                  <a:lnTo>
                    <a:pt x="5824677" y="11288149"/>
                  </a:lnTo>
                  <a:lnTo>
                    <a:pt x="5869648" y="11241224"/>
                  </a:lnTo>
                  <a:lnTo>
                    <a:pt x="5902211" y="11207214"/>
                  </a:lnTo>
                  <a:lnTo>
                    <a:pt x="5938041" y="11186090"/>
                  </a:lnTo>
                  <a:lnTo>
                    <a:pt x="5977108" y="11160972"/>
                  </a:lnTo>
                  <a:lnTo>
                    <a:pt x="5933892" y="11038167"/>
                  </a:lnTo>
                  <a:lnTo>
                    <a:pt x="5943058" y="11062482"/>
                  </a:lnTo>
                  <a:lnTo>
                    <a:pt x="5929496" y="10935175"/>
                  </a:lnTo>
                  <a:lnTo>
                    <a:pt x="5926885" y="10910311"/>
                  </a:lnTo>
                  <a:lnTo>
                    <a:pt x="5927152" y="10884809"/>
                  </a:lnTo>
                  <a:lnTo>
                    <a:pt x="5921335" y="10860361"/>
                  </a:lnTo>
                  <a:lnTo>
                    <a:pt x="5910998" y="10816711"/>
                  </a:lnTo>
                  <a:lnTo>
                    <a:pt x="5896003" y="10782365"/>
                  </a:lnTo>
                  <a:lnTo>
                    <a:pt x="5902297" y="10735224"/>
                  </a:lnTo>
                  <a:lnTo>
                    <a:pt x="5930302" y="10524859"/>
                  </a:lnTo>
                  <a:lnTo>
                    <a:pt x="6189164" y="10493961"/>
                  </a:lnTo>
                  <a:lnTo>
                    <a:pt x="6246425" y="10391096"/>
                  </a:lnTo>
                  <a:lnTo>
                    <a:pt x="6271844" y="10345446"/>
                  </a:lnTo>
                  <a:lnTo>
                    <a:pt x="6268185" y="10279562"/>
                  </a:lnTo>
                  <a:lnTo>
                    <a:pt x="6268185" y="10249080"/>
                  </a:lnTo>
                  <a:lnTo>
                    <a:pt x="6260831" y="10195226"/>
                  </a:lnTo>
                  <a:lnTo>
                    <a:pt x="6245067" y="10169389"/>
                  </a:lnTo>
                  <a:lnTo>
                    <a:pt x="6217739" y="10144900"/>
                  </a:lnTo>
                  <a:lnTo>
                    <a:pt x="6115624" y="10161396"/>
                  </a:lnTo>
                  <a:lnTo>
                    <a:pt x="6076401" y="10162583"/>
                  </a:lnTo>
                  <a:lnTo>
                    <a:pt x="6016628" y="10164456"/>
                  </a:lnTo>
                  <a:lnTo>
                    <a:pt x="5999339" y="10195056"/>
                  </a:lnTo>
                  <a:lnTo>
                    <a:pt x="5929496" y="10166657"/>
                  </a:lnTo>
                  <a:lnTo>
                    <a:pt x="5904077" y="10159266"/>
                  </a:lnTo>
                  <a:lnTo>
                    <a:pt x="5824671" y="10066093"/>
                  </a:lnTo>
                  <a:lnTo>
                    <a:pt x="5964985" y="9912899"/>
                  </a:lnTo>
                  <a:lnTo>
                    <a:pt x="6008387" y="9847009"/>
                  </a:lnTo>
                  <a:lnTo>
                    <a:pt x="6028491" y="9816409"/>
                  </a:lnTo>
                  <a:lnTo>
                    <a:pt x="6043758" y="9775177"/>
                  </a:lnTo>
                  <a:lnTo>
                    <a:pt x="6069593" y="9749083"/>
                  </a:lnTo>
                  <a:lnTo>
                    <a:pt x="6092810" y="9725658"/>
                  </a:lnTo>
                  <a:lnTo>
                    <a:pt x="6127406" y="9703932"/>
                  </a:lnTo>
                  <a:lnTo>
                    <a:pt x="6143045" y="9674269"/>
                  </a:lnTo>
                  <a:lnTo>
                    <a:pt x="6154648" y="9642897"/>
                  </a:lnTo>
                  <a:lnTo>
                    <a:pt x="6158474" y="9438575"/>
                  </a:lnTo>
                  <a:lnTo>
                    <a:pt x="6150016" y="9374854"/>
                  </a:lnTo>
                  <a:lnTo>
                    <a:pt x="6136826" y="9315342"/>
                  </a:lnTo>
                  <a:lnTo>
                    <a:pt x="6133514" y="9253963"/>
                  </a:lnTo>
                  <a:lnTo>
                    <a:pt x="6130947" y="9205680"/>
                  </a:lnTo>
                  <a:lnTo>
                    <a:pt x="6137433" y="9156074"/>
                  </a:lnTo>
                  <a:lnTo>
                    <a:pt x="6132162" y="9107062"/>
                  </a:lnTo>
                  <a:lnTo>
                    <a:pt x="6132752" y="9080029"/>
                  </a:lnTo>
                  <a:lnTo>
                    <a:pt x="6147982" y="9026214"/>
                  </a:lnTo>
                  <a:lnTo>
                    <a:pt x="6167956" y="8988940"/>
                  </a:lnTo>
                  <a:lnTo>
                    <a:pt x="6177053" y="8946561"/>
                  </a:lnTo>
                  <a:lnTo>
                    <a:pt x="6184829" y="8910770"/>
                  </a:lnTo>
                  <a:lnTo>
                    <a:pt x="6184277" y="8871451"/>
                  </a:lnTo>
                  <a:lnTo>
                    <a:pt x="6196096" y="8836387"/>
                  </a:lnTo>
                  <a:lnTo>
                    <a:pt x="6212077" y="8788738"/>
                  </a:lnTo>
                  <a:lnTo>
                    <a:pt x="6249402" y="8772798"/>
                  </a:lnTo>
                  <a:lnTo>
                    <a:pt x="6274988" y="8734370"/>
                  </a:lnTo>
                  <a:lnTo>
                    <a:pt x="6320728" y="8665763"/>
                  </a:lnTo>
                  <a:lnTo>
                    <a:pt x="6301473" y="8579601"/>
                  </a:lnTo>
                  <a:lnTo>
                    <a:pt x="6390609" y="8530337"/>
                  </a:lnTo>
                  <a:lnTo>
                    <a:pt x="6483657" y="8478909"/>
                  </a:lnTo>
                  <a:lnTo>
                    <a:pt x="6522966" y="8532506"/>
                  </a:lnTo>
                  <a:lnTo>
                    <a:pt x="6595991" y="8516738"/>
                  </a:lnTo>
                  <a:lnTo>
                    <a:pt x="6633397" y="8508659"/>
                  </a:lnTo>
                  <a:lnTo>
                    <a:pt x="6657761" y="8462284"/>
                  </a:lnTo>
                  <a:lnTo>
                    <a:pt x="6689852" y="8443283"/>
                  </a:lnTo>
                  <a:lnTo>
                    <a:pt x="6743666" y="8411405"/>
                  </a:lnTo>
                  <a:lnTo>
                    <a:pt x="6839642" y="8440059"/>
                  </a:lnTo>
                  <a:lnTo>
                    <a:pt x="6902044" y="8439208"/>
                  </a:lnTo>
                  <a:lnTo>
                    <a:pt x="6998441" y="8445626"/>
                  </a:lnTo>
                  <a:lnTo>
                    <a:pt x="7220375" y="8415065"/>
                  </a:lnTo>
                  <a:lnTo>
                    <a:pt x="7304661" y="8368479"/>
                  </a:lnTo>
                  <a:lnTo>
                    <a:pt x="7333819" y="8352328"/>
                  </a:lnTo>
                  <a:lnTo>
                    <a:pt x="7361104" y="8327628"/>
                  </a:lnTo>
                  <a:lnTo>
                    <a:pt x="7383553" y="8303188"/>
                  </a:lnTo>
                  <a:lnTo>
                    <a:pt x="7422657" y="8260560"/>
                  </a:lnTo>
                  <a:lnTo>
                    <a:pt x="7438049" y="8204620"/>
                  </a:lnTo>
                  <a:lnTo>
                    <a:pt x="7474691" y="8159011"/>
                  </a:lnTo>
                  <a:lnTo>
                    <a:pt x="7492538" y="8136780"/>
                  </a:lnTo>
                  <a:lnTo>
                    <a:pt x="7520121" y="8119099"/>
                  </a:lnTo>
                  <a:lnTo>
                    <a:pt x="7544058" y="8104603"/>
                  </a:lnTo>
                  <a:lnTo>
                    <a:pt x="7620909" y="8058056"/>
                  </a:lnTo>
                  <a:lnTo>
                    <a:pt x="7630725" y="8095040"/>
                  </a:lnTo>
                  <a:lnTo>
                    <a:pt x="7693673" y="8134524"/>
                  </a:lnTo>
                  <a:lnTo>
                    <a:pt x="7738012" y="8162321"/>
                  </a:lnTo>
                  <a:lnTo>
                    <a:pt x="7789736" y="8158628"/>
                  </a:lnTo>
                  <a:lnTo>
                    <a:pt x="7818813" y="8108685"/>
                  </a:lnTo>
                  <a:lnTo>
                    <a:pt x="7845205" y="8063372"/>
                  </a:lnTo>
                  <a:lnTo>
                    <a:pt x="7850098" y="7914643"/>
                  </a:lnTo>
                  <a:lnTo>
                    <a:pt x="7855542" y="7857049"/>
                  </a:lnTo>
                  <a:lnTo>
                    <a:pt x="7865446" y="7751374"/>
                  </a:lnTo>
                  <a:lnTo>
                    <a:pt x="7912203" y="7658582"/>
                  </a:lnTo>
                  <a:lnTo>
                    <a:pt x="7950749" y="7561881"/>
                  </a:lnTo>
                  <a:lnTo>
                    <a:pt x="8008563" y="7416807"/>
                  </a:lnTo>
                  <a:lnTo>
                    <a:pt x="8008780" y="7255159"/>
                  </a:lnTo>
                  <a:lnTo>
                    <a:pt x="8188787" y="7191907"/>
                  </a:lnTo>
                  <a:lnTo>
                    <a:pt x="8307335" y="7150207"/>
                  </a:lnTo>
                  <a:lnTo>
                    <a:pt x="8451568" y="7180004"/>
                  </a:lnTo>
                  <a:lnTo>
                    <a:pt x="8573725" y="7189191"/>
                  </a:lnTo>
                  <a:lnTo>
                    <a:pt x="8601444" y="7191315"/>
                  </a:lnTo>
                  <a:lnTo>
                    <a:pt x="8632177" y="7204154"/>
                  </a:lnTo>
                  <a:lnTo>
                    <a:pt x="8659419" y="7204154"/>
                  </a:lnTo>
                  <a:lnTo>
                    <a:pt x="8706939" y="7192251"/>
                  </a:lnTo>
                  <a:lnTo>
                    <a:pt x="8727427" y="7187831"/>
                  </a:lnTo>
                  <a:lnTo>
                    <a:pt x="8764789" y="7186315"/>
                  </a:lnTo>
                  <a:lnTo>
                    <a:pt x="8788633" y="7186473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07" name="Luhansk¬0" descr="Luhansk¬0">
              <a:extLst>
                <a:ext uri="{FF2B5EF4-FFF2-40B4-BE49-F238E27FC236}">
                  <a16:creationId xmlns:a16="http://schemas.microsoft.com/office/drawing/2014/main" id="{9E235F21-ACAC-4E89-A5AC-98296D8FD7A8}"/>
                </a:ext>
              </a:extLst>
            </p:cNvPr>
            <p:cNvSpPr/>
            <p:nvPr/>
          </p:nvSpPr>
          <p:spPr>
            <a:xfrm>
              <a:off x="6268725" y="2225977"/>
              <a:ext cx="800591" cy="1025487"/>
            </a:xfrm>
            <a:custGeom>
              <a:avLst/>
              <a:gdLst/>
              <a:ahLst/>
              <a:cxnLst/>
              <a:rect l="0" t="0" r="0" b="0"/>
              <a:pathLst>
                <a:path w="8169587" h="11878959">
                  <a:moveTo>
                    <a:pt x="1518165" y="32025"/>
                  </a:moveTo>
                  <a:lnTo>
                    <a:pt x="1463849" y="92091"/>
                  </a:lnTo>
                  <a:lnTo>
                    <a:pt x="1394768" y="88201"/>
                  </a:lnTo>
                  <a:lnTo>
                    <a:pt x="1336917" y="84949"/>
                  </a:lnTo>
                  <a:lnTo>
                    <a:pt x="1222406" y="29051"/>
                  </a:lnTo>
                  <a:lnTo>
                    <a:pt x="1173051" y="65079"/>
                  </a:lnTo>
                  <a:lnTo>
                    <a:pt x="1158299" y="130830"/>
                  </a:lnTo>
                  <a:lnTo>
                    <a:pt x="1179178" y="179249"/>
                  </a:lnTo>
                  <a:lnTo>
                    <a:pt x="1186663" y="225579"/>
                  </a:lnTo>
                  <a:lnTo>
                    <a:pt x="1191388" y="255289"/>
                  </a:lnTo>
                  <a:lnTo>
                    <a:pt x="1192064" y="290552"/>
                  </a:lnTo>
                  <a:lnTo>
                    <a:pt x="1193466" y="320796"/>
                  </a:lnTo>
                  <a:lnTo>
                    <a:pt x="1194848" y="350783"/>
                  </a:lnTo>
                  <a:lnTo>
                    <a:pt x="1204764" y="378560"/>
                  </a:lnTo>
                  <a:lnTo>
                    <a:pt x="1209787" y="409207"/>
                  </a:lnTo>
                  <a:lnTo>
                    <a:pt x="1206600" y="467691"/>
                  </a:lnTo>
                  <a:lnTo>
                    <a:pt x="1219213" y="526313"/>
                  </a:lnTo>
                  <a:lnTo>
                    <a:pt x="1209787" y="586030"/>
                  </a:lnTo>
                  <a:lnTo>
                    <a:pt x="1198222" y="659227"/>
                  </a:lnTo>
                  <a:lnTo>
                    <a:pt x="1060754" y="841365"/>
                  </a:lnTo>
                  <a:lnTo>
                    <a:pt x="973107" y="787339"/>
                  </a:lnTo>
                  <a:lnTo>
                    <a:pt x="946585" y="745943"/>
                  </a:lnTo>
                  <a:lnTo>
                    <a:pt x="930945" y="731573"/>
                  </a:lnTo>
                  <a:lnTo>
                    <a:pt x="875811" y="716081"/>
                  </a:lnTo>
                  <a:lnTo>
                    <a:pt x="798110" y="784643"/>
                  </a:lnTo>
                  <a:lnTo>
                    <a:pt x="756835" y="814543"/>
                  </a:lnTo>
                  <a:lnTo>
                    <a:pt x="707616" y="850122"/>
                  </a:lnTo>
                  <a:lnTo>
                    <a:pt x="648655" y="866214"/>
                  </a:lnTo>
                  <a:lnTo>
                    <a:pt x="611293" y="919284"/>
                  </a:lnTo>
                  <a:lnTo>
                    <a:pt x="605005" y="947786"/>
                  </a:lnTo>
                  <a:lnTo>
                    <a:pt x="621581" y="986294"/>
                  </a:lnTo>
                  <a:lnTo>
                    <a:pt x="648017" y="1036257"/>
                  </a:lnTo>
                  <a:lnTo>
                    <a:pt x="680120" y="1096951"/>
                  </a:lnTo>
                  <a:lnTo>
                    <a:pt x="716416" y="1155677"/>
                  </a:lnTo>
                  <a:lnTo>
                    <a:pt x="808515" y="1200839"/>
                  </a:lnTo>
                  <a:lnTo>
                    <a:pt x="816682" y="1234849"/>
                  </a:lnTo>
                  <a:lnTo>
                    <a:pt x="784077" y="1261500"/>
                  </a:lnTo>
                  <a:lnTo>
                    <a:pt x="754416" y="1266663"/>
                  </a:lnTo>
                  <a:lnTo>
                    <a:pt x="732464" y="1263082"/>
                  </a:lnTo>
                  <a:lnTo>
                    <a:pt x="679593" y="1267739"/>
                  </a:lnTo>
                  <a:lnTo>
                    <a:pt x="636327" y="1277023"/>
                  </a:lnTo>
                  <a:lnTo>
                    <a:pt x="597694" y="1293333"/>
                  </a:lnTo>
                  <a:lnTo>
                    <a:pt x="578378" y="1301492"/>
                  </a:lnTo>
                  <a:lnTo>
                    <a:pt x="544643" y="1323261"/>
                  </a:lnTo>
                  <a:lnTo>
                    <a:pt x="517767" y="1349805"/>
                  </a:lnTo>
                  <a:lnTo>
                    <a:pt x="513340" y="1384468"/>
                  </a:lnTo>
                  <a:lnTo>
                    <a:pt x="531335" y="1396266"/>
                  </a:lnTo>
                  <a:lnTo>
                    <a:pt x="575854" y="1425535"/>
                  </a:lnTo>
                  <a:lnTo>
                    <a:pt x="616713" y="1456557"/>
                  </a:lnTo>
                  <a:lnTo>
                    <a:pt x="657560" y="1487580"/>
                  </a:lnTo>
                  <a:lnTo>
                    <a:pt x="695375" y="1520666"/>
                  </a:lnTo>
                  <a:lnTo>
                    <a:pt x="690972" y="1555256"/>
                  </a:lnTo>
                  <a:lnTo>
                    <a:pt x="625289" y="1590730"/>
                  </a:lnTo>
                  <a:lnTo>
                    <a:pt x="589918" y="1610983"/>
                  </a:lnTo>
                  <a:lnTo>
                    <a:pt x="577292" y="1632555"/>
                  </a:lnTo>
                  <a:lnTo>
                    <a:pt x="567743" y="1656507"/>
                  </a:lnTo>
                  <a:lnTo>
                    <a:pt x="558193" y="1680461"/>
                  </a:lnTo>
                  <a:lnTo>
                    <a:pt x="550826" y="1707019"/>
                  </a:lnTo>
                  <a:lnTo>
                    <a:pt x="545983" y="1729956"/>
                  </a:lnTo>
                  <a:lnTo>
                    <a:pt x="502742" y="1723895"/>
                  </a:lnTo>
                  <a:lnTo>
                    <a:pt x="476604" y="1714998"/>
                  </a:lnTo>
                  <a:lnTo>
                    <a:pt x="450485" y="1706101"/>
                  </a:lnTo>
                  <a:lnTo>
                    <a:pt x="425792" y="1697858"/>
                  </a:lnTo>
                  <a:lnTo>
                    <a:pt x="395896" y="1715572"/>
                  </a:lnTo>
                  <a:lnTo>
                    <a:pt x="310152" y="1836628"/>
                  </a:lnTo>
                  <a:lnTo>
                    <a:pt x="305228" y="1860535"/>
                  </a:lnTo>
                  <a:lnTo>
                    <a:pt x="309098" y="1882515"/>
                  </a:lnTo>
                  <a:lnTo>
                    <a:pt x="315721" y="1907444"/>
                  </a:lnTo>
                  <a:lnTo>
                    <a:pt x="336507" y="1919025"/>
                  </a:lnTo>
                  <a:lnTo>
                    <a:pt x="387096" y="1890205"/>
                  </a:lnTo>
                  <a:lnTo>
                    <a:pt x="419485" y="1878222"/>
                  </a:lnTo>
                  <a:lnTo>
                    <a:pt x="452277" y="1868052"/>
                  </a:lnTo>
                  <a:lnTo>
                    <a:pt x="481900" y="1866628"/>
                  </a:lnTo>
                  <a:lnTo>
                    <a:pt x="505173" y="1878222"/>
                  </a:lnTo>
                  <a:lnTo>
                    <a:pt x="518673" y="1895038"/>
                  </a:lnTo>
                  <a:lnTo>
                    <a:pt x="531019" y="1925824"/>
                  </a:lnTo>
                  <a:lnTo>
                    <a:pt x="534455" y="1953272"/>
                  </a:lnTo>
                  <a:lnTo>
                    <a:pt x="528179" y="1993363"/>
                  </a:lnTo>
                  <a:lnTo>
                    <a:pt x="515398" y="2018180"/>
                  </a:lnTo>
                  <a:lnTo>
                    <a:pt x="511963" y="2045528"/>
                  </a:lnTo>
                  <a:lnTo>
                    <a:pt x="508000" y="2077170"/>
                  </a:lnTo>
                  <a:lnTo>
                    <a:pt x="517984" y="2115481"/>
                  </a:lnTo>
                  <a:lnTo>
                    <a:pt x="525562" y="2152979"/>
                  </a:lnTo>
                  <a:lnTo>
                    <a:pt x="533152" y="2190478"/>
                  </a:lnTo>
                  <a:lnTo>
                    <a:pt x="538876" y="2227778"/>
                  </a:lnTo>
                  <a:lnTo>
                    <a:pt x="524210" y="2256354"/>
                  </a:lnTo>
                  <a:lnTo>
                    <a:pt x="488808" y="2282416"/>
                  </a:lnTo>
                  <a:lnTo>
                    <a:pt x="467408" y="2305294"/>
                  </a:lnTo>
                  <a:lnTo>
                    <a:pt x="454838" y="2325725"/>
                  </a:lnTo>
                  <a:lnTo>
                    <a:pt x="442274" y="2346157"/>
                  </a:lnTo>
                  <a:lnTo>
                    <a:pt x="437158" y="2380134"/>
                  </a:lnTo>
                  <a:lnTo>
                    <a:pt x="439856" y="2409066"/>
                  </a:lnTo>
                  <a:lnTo>
                    <a:pt x="439868" y="2432813"/>
                  </a:lnTo>
                  <a:lnTo>
                    <a:pt x="426257" y="2452223"/>
                  </a:lnTo>
                  <a:lnTo>
                    <a:pt x="395691" y="2478919"/>
                  </a:lnTo>
                  <a:lnTo>
                    <a:pt x="349312" y="2486187"/>
                  </a:lnTo>
                  <a:lnTo>
                    <a:pt x="324241" y="2517512"/>
                  </a:lnTo>
                  <a:lnTo>
                    <a:pt x="343843" y="2562100"/>
                  </a:lnTo>
                  <a:lnTo>
                    <a:pt x="347868" y="2602039"/>
                  </a:lnTo>
                  <a:lnTo>
                    <a:pt x="356884" y="2633134"/>
                  </a:lnTo>
                  <a:lnTo>
                    <a:pt x="376064" y="2661478"/>
                  </a:lnTo>
                  <a:lnTo>
                    <a:pt x="400286" y="2686395"/>
                  </a:lnTo>
                  <a:lnTo>
                    <a:pt x="405855" y="2724262"/>
                  </a:lnTo>
                  <a:lnTo>
                    <a:pt x="381931" y="2731852"/>
                  </a:lnTo>
                  <a:lnTo>
                    <a:pt x="350088" y="2731068"/>
                  </a:lnTo>
                  <a:lnTo>
                    <a:pt x="371215" y="2801778"/>
                  </a:lnTo>
                  <a:lnTo>
                    <a:pt x="389533" y="2850760"/>
                  </a:lnTo>
                  <a:lnTo>
                    <a:pt x="398705" y="2875253"/>
                  </a:lnTo>
                  <a:lnTo>
                    <a:pt x="405377" y="2898763"/>
                  </a:lnTo>
                  <a:lnTo>
                    <a:pt x="409042" y="2938781"/>
                  </a:lnTo>
                  <a:lnTo>
                    <a:pt x="392262" y="2963657"/>
                  </a:lnTo>
                  <a:lnTo>
                    <a:pt x="360506" y="2981385"/>
                  </a:lnTo>
                  <a:lnTo>
                    <a:pt x="313234" y="2999765"/>
                  </a:lnTo>
                  <a:lnTo>
                    <a:pt x="287518" y="3026230"/>
                  </a:lnTo>
                  <a:lnTo>
                    <a:pt x="268437" y="3045869"/>
                  </a:lnTo>
                  <a:lnTo>
                    <a:pt x="258205" y="3068365"/>
                  </a:lnTo>
                  <a:lnTo>
                    <a:pt x="252159" y="3092879"/>
                  </a:lnTo>
                  <a:lnTo>
                    <a:pt x="246113" y="3117392"/>
                  </a:lnTo>
                  <a:lnTo>
                    <a:pt x="244265" y="3143790"/>
                  </a:lnTo>
                  <a:lnTo>
                    <a:pt x="243992" y="3169049"/>
                  </a:lnTo>
                  <a:lnTo>
                    <a:pt x="243533" y="3194308"/>
                  </a:lnTo>
                  <a:lnTo>
                    <a:pt x="244457" y="3219255"/>
                  </a:lnTo>
                  <a:lnTo>
                    <a:pt x="242640" y="3241138"/>
                  </a:lnTo>
                  <a:lnTo>
                    <a:pt x="240904" y="3263020"/>
                  </a:lnTo>
                  <a:lnTo>
                    <a:pt x="226318" y="3295545"/>
                  </a:lnTo>
                  <a:lnTo>
                    <a:pt x="205929" y="3303816"/>
                  </a:lnTo>
                  <a:lnTo>
                    <a:pt x="180479" y="3307120"/>
                  </a:lnTo>
                  <a:lnTo>
                    <a:pt x="155588" y="3311868"/>
                  </a:lnTo>
                  <a:lnTo>
                    <a:pt x="130715" y="3316617"/>
                  </a:lnTo>
                  <a:lnTo>
                    <a:pt x="106623" y="3322730"/>
                  </a:lnTo>
                  <a:lnTo>
                    <a:pt x="90302" y="3336355"/>
                  </a:lnTo>
                  <a:lnTo>
                    <a:pt x="79084" y="3359371"/>
                  </a:lnTo>
                  <a:lnTo>
                    <a:pt x="21407" y="3438860"/>
                  </a:lnTo>
                  <a:lnTo>
                    <a:pt x="47880" y="3479873"/>
                  </a:lnTo>
                  <a:lnTo>
                    <a:pt x="77441" y="3506115"/>
                  </a:lnTo>
                  <a:lnTo>
                    <a:pt x="97105" y="3532224"/>
                  </a:lnTo>
                  <a:lnTo>
                    <a:pt x="117339" y="3569274"/>
                  </a:lnTo>
                  <a:lnTo>
                    <a:pt x="122945" y="3593431"/>
                  </a:lnTo>
                  <a:lnTo>
                    <a:pt x="128557" y="3617588"/>
                  </a:lnTo>
                  <a:lnTo>
                    <a:pt x="131465" y="3644956"/>
                  </a:lnTo>
                  <a:lnTo>
                    <a:pt x="132470" y="3672319"/>
                  </a:lnTo>
                  <a:lnTo>
                    <a:pt x="134473" y="3727057"/>
                  </a:lnTo>
                  <a:lnTo>
                    <a:pt x="128898" y="3781438"/>
                  </a:lnTo>
                  <a:lnTo>
                    <a:pt x="120229" y="3815145"/>
                  </a:lnTo>
                  <a:lnTo>
                    <a:pt x="112849" y="3843820"/>
                  </a:lnTo>
                  <a:lnTo>
                    <a:pt x="95734" y="3883838"/>
                  </a:lnTo>
                  <a:lnTo>
                    <a:pt x="88944" y="3922595"/>
                  </a:lnTo>
                  <a:lnTo>
                    <a:pt x="84541" y="3961196"/>
                  </a:lnTo>
                  <a:lnTo>
                    <a:pt x="93340" y="3995535"/>
                  </a:lnTo>
                  <a:lnTo>
                    <a:pt x="120229" y="4023254"/>
                  </a:lnTo>
                  <a:lnTo>
                    <a:pt x="156537" y="4034340"/>
                  </a:lnTo>
                  <a:lnTo>
                    <a:pt x="178718" y="4035494"/>
                  </a:lnTo>
                  <a:lnTo>
                    <a:pt x="200887" y="4036649"/>
                  </a:lnTo>
                  <a:lnTo>
                    <a:pt x="223267" y="4037644"/>
                  </a:lnTo>
                  <a:lnTo>
                    <a:pt x="244010" y="4050457"/>
                  </a:lnTo>
                  <a:lnTo>
                    <a:pt x="260332" y="4070862"/>
                  </a:lnTo>
                  <a:lnTo>
                    <a:pt x="276653" y="4091267"/>
                  </a:lnTo>
                  <a:lnTo>
                    <a:pt x="283450" y="4117106"/>
                  </a:lnTo>
                  <a:lnTo>
                    <a:pt x="290252" y="4142951"/>
                  </a:lnTo>
                  <a:lnTo>
                    <a:pt x="288994" y="4166311"/>
                  </a:lnTo>
                  <a:lnTo>
                    <a:pt x="272095" y="4182863"/>
                  </a:lnTo>
                  <a:lnTo>
                    <a:pt x="252165" y="4198718"/>
                  </a:lnTo>
                  <a:lnTo>
                    <a:pt x="232234" y="4214579"/>
                  </a:lnTo>
                  <a:lnTo>
                    <a:pt x="209867" y="4229338"/>
                  </a:lnTo>
                  <a:lnTo>
                    <a:pt x="196398" y="4247686"/>
                  </a:lnTo>
                  <a:lnTo>
                    <a:pt x="216806" y="4295293"/>
                  </a:lnTo>
                  <a:lnTo>
                    <a:pt x="158608" y="4331361"/>
                  </a:lnTo>
                  <a:lnTo>
                    <a:pt x="113116" y="4361071"/>
                  </a:lnTo>
                  <a:lnTo>
                    <a:pt x="65820" y="4380987"/>
                  </a:lnTo>
                  <a:lnTo>
                    <a:pt x="36035" y="4387834"/>
                  </a:lnTo>
                  <a:lnTo>
                    <a:pt x="0" y="4431380"/>
                  </a:lnTo>
                  <a:lnTo>
                    <a:pt x="33815" y="4441674"/>
                  </a:lnTo>
                  <a:lnTo>
                    <a:pt x="64952" y="4464196"/>
                  </a:lnTo>
                  <a:lnTo>
                    <a:pt x="93024" y="4492528"/>
                  </a:lnTo>
                  <a:lnTo>
                    <a:pt x="121097" y="4520860"/>
                  </a:lnTo>
                  <a:lnTo>
                    <a:pt x="146032" y="4555476"/>
                  </a:lnTo>
                  <a:lnTo>
                    <a:pt x="155588" y="4575498"/>
                  </a:lnTo>
                  <a:lnTo>
                    <a:pt x="279121" y="4598197"/>
                  </a:lnTo>
                  <a:lnTo>
                    <a:pt x="302494" y="4601343"/>
                  </a:lnTo>
                  <a:lnTo>
                    <a:pt x="317922" y="4654155"/>
                  </a:lnTo>
                  <a:lnTo>
                    <a:pt x="274799" y="4670649"/>
                  </a:lnTo>
                  <a:lnTo>
                    <a:pt x="162539" y="4667015"/>
                  </a:lnTo>
                  <a:lnTo>
                    <a:pt x="144940" y="4696830"/>
                  </a:lnTo>
                  <a:lnTo>
                    <a:pt x="102729" y="4807242"/>
                  </a:lnTo>
                  <a:lnTo>
                    <a:pt x="118257" y="4829388"/>
                  </a:lnTo>
                  <a:lnTo>
                    <a:pt x="142013" y="4844821"/>
                  </a:lnTo>
                  <a:lnTo>
                    <a:pt x="207634" y="4863457"/>
                  </a:lnTo>
                  <a:lnTo>
                    <a:pt x="245573" y="4874471"/>
                  </a:lnTo>
                  <a:lnTo>
                    <a:pt x="280746" y="4891063"/>
                  </a:lnTo>
                  <a:lnTo>
                    <a:pt x="315925" y="4907656"/>
                  </a:lnTo>
                  <a:lnTo>
                    <a:pt x="349418" y="4930765"/>
                  </a:lnTo>
                  <a:lnTo>
                    <a:pt x="405886" y="4971317"/>
                  </a:lnTo>
                  <a:lnTo>
                    <a:pt x="452475" y="4983577"/>
                  </a:lnTo>
                  <a:lnTo>
                    <a:pt x="579990" y="4866576"/>
                  </a:lnTo>
                  <a:lnTo>
                    <a:pt x="760351" y="4875526"/>
                  </a:lnTo>
                  <a:lnTo>
                    <a:pt x="784027" y="4874742"/>
                  </a:lnTo>
                  <a:lnTo>
                    <a:pt x="765070" y="4938349"/>
                  </a:lnTo>
                  <a:lnTo>
                    <a:pt x="753592" y="5007807"/>
                  </a:lnTo>
                  <a:lnTo>
                    <a:pt x="744575" y="5073327"/>
                  </a:lnTo>
                  <a:lnTo>
                    <a:pt x="741444" y="5096265"/>
                  </a:lnTo>
                  <a:lnTo>
                    <a:pt x="747149" y="5124834"/>
                  </a:lnTo>
                  <a:lnTo>
                    <a:pt x="748662" y="5153581"/>
                  </a:lnTo>
                  <a:lnTo>
                    <a:pt x="750193" y="5182328"/>
                  </a:lnTo>
                  <a:lnTo>
                    <a:pt x="748079" y="5211365"/>
                  </a:lnTo>
                  <a:lnTo>
                    <a:pt x="729630" y="5231111"/>
                  </a:lnTo>
                  <a:lnTo>
                    <a:pt x="698705" y="5259205"/>
                  </a:lnTo>
                  <a:lnTo>
                    <a:pt x="683382" y="5277361"/>
                  </a:lnTo>
                  <a:lnTo>
                    <a:pt x="668046" y="5295516"/>
                  </a:lnTo>
                  <a:lnTo>
                    <a:pt x="656301" y="5315881"/>
                  </a:lnTo>
                  <a:lnTo>
                    <a:pt x="668970" y="5351869"/>
                  </a:lnTo>
                  <a:lnTo>
                    <a:pt x="688430" y="5363028"/>
                  </a:lnTo>
                  <a:lnTo>
                    <a:pt x="718171" y="5413731"/>
                  </a:lnTo>
                  <a:lnTo>
                    <a:pt x="752761" y="5474231"/>
                  </a:lnTo>
                  <a:lnTo>
                    <a:pt x="775866" y="5537154"/>
                  </a:lnTo>
                  <a:lnTo>
                    <a:pt x="787425" y="5568617"/>
                  </a:lnTo>
                  <a:lnTo>
                    <a:pt x="795952" y="5601249"/>
                  </a:lnTo>
                  <a:lnTo>
                    <a:pt x="798997" y="5631012"/>
                  </a:lnTo>
                  <a:lnTo>
                    <a:pt x="802041" y="5660768"/>
                  </a:lnTo>
                  <a:lnTo>
                    <a:pt x="799456" y="5688421"/>
                  </a:lnTo>
                  <a:lnTo>
                    <a:pt x="788114" y="5711266"/>
                  </a:lnTo>
                  <a:lnTo>
                    <a:pt x="757108" y="5724620"/>
                  </a:lnTo>
                  <a:lnTo>
                    <a:pt x="735069" y="5726223"/>
                  </a:lnTo>
                  <a:lnTo>
                    <a:pt x="713024" y="5727825"/>
                  </a:lnTo>
                  <a:lnTo>
                    <a:pt x="689899" y="5726183"/>
                  </a:lnTo>
                  <a:lnTo>
                    <a:pt x="674012" y="5750260"/>
                  </a:lnTo>
                  <a:lnTo>
                    <a:pt x="681683" y="5778487"/>
                  </a:lnTo>
                  <a:lnTo>
                    <a:pt x="675234" y="5802394"/>
                  </a:lnTo>
                  <a:lnTo>
                    <a:pt x="647180" y="5805454"/>
                  </a:lnTo>
                  <a:lnTo>
                    <a:pt x="618958" y="5796617"/>
                  </a:lnTo>
                  <a:lnTo>
                    <a:pt x="592262" y="5798318"/>
                  </a:lnTo>
                  <a:lnTo>
                    <a:pt x="570614" y="5830324"/>
                  </a:lnTo>
                  <a:lnTo>
                    <a:pt x="560983" y="5854091"/>
                  </a:lnTo>
                  <a:lnTo>
                    <a:pt x="551340" y="5877859"/>
                  </a:lnTo>
                  <a:lnTo>
                    <a:pt x="545629" y="5902036"/>
                  </a:lnTo>
                  <a:lnTo>
                    <a:pt x="566428" y="5922098"/>
                  </a:lnTo>
                  <a:lnTo>
                    <a:pt x="622195" y="5918022"/>
                  </a:lnTo>
                  <a:lnTo>
                    <a:pt x="642591" y="5928904"/>
                  </a:lnTo>
                  <a:lnTo>
                    <a:pt x="660059" y="5953344"/>
                  </a:lnTo>
                  <a:lnTo>
                    <a:pt x="666949" y="5981973"/>
                  </a:lnTo>
                  <a:lnTo>
                    <a:pt x="682036" y="6007798"/>
                  </a:lnTo>
                  <a:lnTo>
                    <a:pt x="728409" y="5995539"/>
                  </a:lnTo>
                  <a:lnTo>
                    <a:pt x="761486" y="6006777"/>
                  </a:lnTo>
                  <a:lnTo>
                    <a:pt x="794935" y="6010516"/>
                  </a:lnTo>
                  <a:lnTo>
                    <a:pt x="850404" y="6016722"/>
                  </a:lnTo>
                  <a:lnTo>
                    <a:pt x="907027" y="6016788"/>
                  </a:lnTo>
                  <a:lnTo>
                    <a:pt x="962236" y="6024121"/>
                  </a:lnTo>
                  <a:lnTo>
                    <a:pt x="990551" y="6027861"/>
                  </a:lnTo>
                  <a:lnTo>
                    <a:pt x="1019709" y="6040635"/>
                  </a:lnTo>
                  <a:lnTo>
                    <a:pt x="1047924" y="6043160"/>
                  </a:lnTo>
                  <a:lnTo>
                    <a:pt x="1072413" y="6045370"/>
                  </a:lnTo>
                  <a:lnTo>
                    <a:pt x="1099282" y="6038189"/>
                  </a:lnTo>
                  <a:lnTo>
                    <a:pt x="1124105" y="6039085"/>
                  </a:lnTo>
                  <a:lnTo>
                    <a:pt x="1172090" y="6040787"/>
                  </a:lnTo>
                  <a:lnTo>
                    <a:pt x="1209750" y="6078701"/>
                  </a:lnTo>
                  <a:lnTo>
                    <a:pt x="1254677" y="6081253"/>
                  </a:lnTo>
                  <a:lnTo>
                    <a:pt x="1271960" y="6104941"/>
                  </a:lnTo>
                  <a:lnTo>
                    <a:pt x="1290384" y="6153447"/>
                  </a:lnTo>
                  <a:lnTo>
                    <a:pt x="1305006" y="6203675"/>
                  </a:lnTo>
                  <a:lnTo>
                    <a:pt x="1319635" y="6253895"/>
                  </a:lnTo>
                  <a:lnTo>
                    <a:pt x="1330214" y="6305216"/>
                  </a:lnTo>
                  <a:lnTo>
                    <a:pt x="1332211" y="6332888"/>
                  </a:lnTo>
                  <a:lnTo>
                    <a:pt x="1334524" y="6364536"/>
                  </a:lnTo>
                  <a:lnTo>
                    <a:pt x="1330084" y="6400261"/>
                  </a:lnTo>
                  <a:lnTo>
                    <a:pt x="1329513" y="6432188"/>
                  </a:lnTo>
                  <a:lnTo>
                    <a:pt x="1338592" y="6457512"/>
                  </a:lnTo>
                  <a:lnTo>
                    <a:pt x="1366683" y="6472139"/>
                  </a:lnTo>
                  <a:lnTo>
                    <a:pt x="1405688" y="6479790"/>
                  </a:lnTo>
                  <a:lnTo>
                    <a:pt x="1446492" y="6486800"/>
                  </a:lnTo>
                  <a:lnTo>
                    <a:pt x="1492021" y="6490639"/>
                  </a:lnTo>
                  <a:lnTo>
                    <a:pt x="1510420" y="6505635"/>
                  </a:lnTo>
                  <a:lnTo>
                    <a:pt x="1525383" y="6535563"/>
                  </a:lnTo>
                  <a:lnTo>
                    <a:pt x="1513421" y="6574756"/>
                  </a:lnTo>
                  <a:lnTo>
                    <a:pt x="1504981" y="6594046"/>
                  </a:lnTo>
                  <a:lnTo>
                    <a:pt x="1496821" y="6622615"/>
                  </a:lnTo>
                  <a:lnTo>
                    <a:pt x="1507704" y="6648454"/>
                  </a:lnTo>
                  <a:lnTo>
                    <a:pt x="1532186" y="6674300"/>
                  </a:lnTo>
                  <a:lnTo>
                    <a:pt x="1555310" y="6700145"/>
                  </a:lnTo>
                  <a:lnTo>
                    <a:pt x="1572692" y="6729664"/>
                  </a:lnTo>
                  <a:lnTo>
                    <a:pt x="1576003" y="6765837"/>
                  </a:lnTo>
                  <a:lnTo>
                    <a:pt x="1568909" y="6804878"/>
                  </a:lnTo>
                  <a:lnTo>
                    <a:pt x="1559105" y="6844310"/>
                  </a:lnTo>
                  <a:lnTo>
                    <a:pt x="1540651" y="6884038"/>
                  </a:lnTo>
                  <a:lnTo>
                    <a:pt x="1525383" y="6906895"/>
                  </a:lnTo>
                  <a:lnTo>
                    <a:pt x="1508404" y="6932325"/>
                  </a:lnTo>
                  <a:lnTo>
                    <a:pt x="1482025" y="6956054"/>
                  </a:lnTo>
                  <a:lnTo>
                    <a:pt x="1469616" y="6984425"/>
                  </a:lnTo>
                  <a:lnTo>
                    <a:pt x="1455924" y="7015856"/>
                  </a:lnTo>
                  <a:lnTo>
                    <a:pt x="1458392" y="7072797"/>
                  </a:lnTo>
                  <a:lnTo>
                    <a:pt x="1462813" y="7106846"/>
                  </a:lnTo>
                  <a:lnTo>
                    <a:pt x="1492685" y="7098253"/>
                  </a:lnTo>
                  <a:lnTo>
                    <a:pt x="1570652" y="7079834"/>
                  </a:lnTo>
                  <a:lnTo>
                    <a:pt x="1596114" y="7085077"/>
                  </a:lnTo>
                  <a:lnTo>
                    <a:pt x="1616522" y="7112287"/>
                  </a:lnTo>
                  <a:lnTo>
                    <a:pt x="1606228" y="7150946"/>
                  </a:lnTo>
                  <a:lnTo>
                    <a:pt x="1548421" y="7233962"/>
                  </a:lnTo>
                  <a:lnTo>
                    <a:pt x="1522661" y="7260547"/>
                  </a:lnTo>
                  <a:lnTo>
                    <a:pt x="1497311" y="7286709"/>
                  </a:lnTo>
                  <a:lnTo>
                    <a:pt x="1474044" y="7301093"/>
                  </a:lnTo>
                  <a:lnTo>
                    <a:pt x="1453295" y="7319038"/>
                  </a:lnTo>
                  <a:lnTo>
                    <a:pt x="1432539" y="7336974"/>
                  </a:lnTo>
                  <a:lnTo>
                    <a:pt x="1414922" y="7357479"/>
                  </a:lnTo>
                  <a:lnTo>
                    <a:pt x="1401602" y="7393842"/>
                  </a:lnTo>
                  <a:lnTo>
                    <a:pt x="1391866" y="7420453"/>
                  </a:lnTo>
                  <a:lnTo>
                    <a:pt x="1401143" y="7535159"/>
                  </a:lnTo>
                  <a:lnTo>
                    <a:pt x="1405694" y="7566590"/>
                  </a:lnTo>
                  <a:lnTo>
                    <a:pt x="1409607" y="7594836"/>
                  </a:lnTo>
                  <a:lnTo>
                    <a:pt x="1430431" y="7644033"/>
                  </a:lnTo>
                  <a:lnTo>
                    <a:pt x="1427454" y="7671323"/>
                  </a:lnTo>
                  <a:lnTo>
                    <a:pt x="1425061" y="7692875"/>
                  </a:lnTo>
                  <a:lnTo>
                    <a:pt x="1411852" y="7715173"/>
                  </a:lnTo>
                  <a:lnTo>
                    <a:pt x="1409775" y="7737972"/>
                  </a:lnTo>
                  <a:lnTo>
                    <a:pt x="1458566" y="7840951"/>
                  </a:lnTo>
                  <a:lnTo>
                    <a:pt x="1469622" y="7860392"/>
                  </a:lnTo>
                  <a:lnTo>
                    <a:pt x="1480109" y="7878819"/>
                  </a:lnTo>
                  <a:lnTo>
                    <a:pt x="1480735" y="7900193"/>
                  </a:lnTo>
                  <a:lnTo>
                    <a:pt x="1476425" y="7922965"/>
                  </a:lnTo>
                  <a:lnTo>
                    <a:pt x="1472115" y="7945731"/>
                  </a:lnTo>
                  <a:lnTo>
                    <a:pt x="1463124" y="7968931"/>
                  </a:lnTo>
                  <a:lnTo>
                    <a:pt x="1454659" y="7992330"/>
                  </a:lnTo>
                  <a:lnTo>
                    <a:pt x="1446194" y="8015730"/>
                  </a:lnTo>
                  <a:lnTo>
                    <a:pt x="1437606" y="8038660"/>
                  </a:lnTo>
                  <a:lnTo>
                    <a:pt x="1433612" y="8079304"/>
                  </a:lnTo>
                  <a:lnTo>
                    <a:pt x="1453301" y="8110670"/>
                  </a:lnTo>
                  <a:lnTo>
                    <a:pt x="1478614" y="8133303"/>
                  </a:lnTo>
                  <a:lnTo>
                    <a:pt x="1510612" y="8139198"/>
                  </a:lnTo>
                  <a:lnTo>
                    <a:pt x="1543069" y="8144672"/>
                  </a:lnTo>
                  <a:lnTo>
                    <a:pt x="1575538" y="8150153"/>
                  </a:lnTo>
                  <a:lnTo>
                    <a:pt x="1607964" y="8156154"/>
                  </a:lnTo>
                  <a:lnTo>
                    <a:pt x="1632850" y="8177317"/>
                  </a:lnTo>
                  <a:lnTo>
                    <a:pt x="1634201" y="8209282"/>
                  </a:lnTo>
                  <a:lnTo>
                    <a:pt x="1633439" y="8249598"/>
                  </a:lnTo>
                  <a:lnTo>
                    <a:pt x="1624683" y="8280692"/>
                  </a:lnTo>
                  <a:lnTo>
                    <a:pt x="1612863" y="8306987"/>
                  </a:lnTo>
                  <a:lnTo>
                    <a:pt x="1593739" y="8363346"/>
                  </a:lnTo>
                  <a:lnTo>
                    <a:pt x="1586384" y="8412188"/>
                  </a:lnTo>
                  <a:lnTo>
                    <a:pt x="1585237" y="8457522"/>
                  </a:lnTo>
                  <a:lnTo>
                    <a:pt x="1584580" y="8484047"/>
                  </a:lnTo>
                  <a:lnTo>
                    <a:pt x="1580816" y="8519797"/>
                  </a:lnTo>
                  <a:lnTo>
                    <a:pt x="1589330" y="8545933"/>
                  </a:lnTo>
                  <a:lnTo>
                    <a:pt x="1604113" y="8574423"/>
                  </a:lnTo>
                  <a:lnTo>
                    <a:pt x="1628943" y="8593614"/>
                  </a:lnTo>
                  <a:lnTo>
                    <a:pt x="1660060" y="8605782"/>
                  </a:lnTo>
                  <a:lnTo>
                    <a:pt x="1692437" y="8614751"/>
                  </a:lnTo>
                  <a:lnTo>
                    <a:pt x="1729253" y="8615134"/>
                  </a:lnTo>
                  <a:lnTo>
                    <a:pt x="1756625" y="8612582"/>
                  </a:lnTo>
                  <a:lnTo>
                    <a:pt x="1782093" y="8642549"/>
                  </a:lnTo>
                  <a:lnTo>
                    <a:pt x="1802042" y="8664259"/>
                  </a:lnTo>
                  <a:lnTo>
                    <a:pt x="1830084" y="8658824"/>
                  </a:lnTo>
                  <a:lnTo>
                    <a:pt x="1855968" y="8644461"/>
                  </a:lnTo>
                  <a:lnTo>
                    <a:pt x="1888487" y="8610016"/>
                  </a:lnTo>
                  <a:lnTo>
                    <a:pt x="1905596" y="8581650"/>
                  </a:lnTo>
                  <a:lnTo>
                    <a:pt x="1938840" y="8586729"/>
                  </a:lnTo>
                  <a:lnTo>
                    <a:pt x="1953289" y="8626469"/>
                  </a:lnTo>
                  <a:lnTo>
                    <a:pt x="1985380" y="8650277"/>
                  </a:lnTo>
                  <a:lnTo>
                    <a:pt x="2000046" y="8687387"/>
                  </a:lnTo>
                  <a:lnTo>
                    <a:pt x="2008988" y="8709974"/>
                  </a:lnTo>
                  <a:lnTo>
                    <a:pt x="2009961" y="8734739"/>
                  </a:lnTo>
                  <a:lnTo>
                    <a:pt x="2012287" y="8758117"/>
                  </a:lnTo>
                  <a:lnTo>
                    <a:pt x="2014594" y="8781489"/>
                  </a:lnTo>
                  <a:lnTo>
                    <a:pt x="2018643" y="8803597"/>
                  </a:lnTo>
                  <a:lnTo>
                    <a:pt x="2035411" y="8824766"/>
                  </a:lnTo>
                  <a:lnTo>
                    <a:pt x="2065462" y="8862595"/>
                  </a:lnTo>
                  <a:lnTo>
                    <a:pt x="2120783" y="8876226"/>
                  </a:lnTo>
                  <a:lnTo>
                    <a:pt x="2151026" y="8915900"/>
                  </a:lnTo>
                  <a:lnTo>
                    <a:pt x="2167403" y="8937393"/>
                  </a:lnTo>
                  <a:lnTo>
                    <a:pt x="2186217" y="8964788"/>
                  </a:lnTo>
                  <a:lnTo>
                    <a:pt x="2199990" y="8994788"/>
                  </a:lnTo>
                  <a:lnTo>
                    <a:pt x="2213769" y="9024796"/>
                  </a:lnTo>
                  <a:lnTo>
                    <a:pt x="2222321" y="9057083"/>
                  </a:lnTo>
                  <a:lnTo>
                    <a:pt x="2217670" y="9085924"/>
                  </a:lnTo>
                  <a:lnTo>
                    <a:pt x="2213254" y="9113385"/>
                  </a:lnTo>
                  <a:lnTo>
                    <a:pt x="2202043" y="9132629"/>
                  </a:lnTo>
                  <a:lnTo>
                    <a:pt x="2186391" y="9147131"/>
                  </a:lnTo>
                  <a:lnTo>
                    <a:pt x="2170739" y="9161634"/>
                  </a:lnTo>
                  <a:lnTo>
                    <a:pt x="2150207" y="9170939"/>
                  </a:lnTo>
                  <a:lnTo>
                    <a:pt x="2127902" y="9177059"/>
                  </a:lnTo>
                  <a:lnTo>
                    <a:pt x="2083284" y="9189292"/>
                  </a:lnTo>
                  <a:lnTo>
                    <a:pt x="2030438" y="9189992"/>
                  </a:lnTo>
                  <a:lnTo>
                    <a:pt x="1986447" y="9196098"/>
                  </a:lnTo>
                  <a:lnTo>
                    <a:pt x="1957878" y="9216503"/>
                  </a:lnTo>
                  <a:lnTo>
                    <a:pt x="1963446" y="9247275"/>
                  </a:lnTo>
                  <a:lnTo>
                    <a:pt x="1970373" y="9272401"/>
                  </a:lnTo>
                  <a:lnTo>
                    <a:pt x="1979644" y="9300831"/>
                  </a:lnTo>
                  <a:lnTo>
                    <a:pt x="1996431" y="9352351"/>
                  </a:lnTo>
                  <a:lnTo>
                    <a:pt x="2004424" y="9402934"/>
                  </a:lnTo>
                  <a:lnTo>
                    <a:pt x="2019090" y="9454540"/>
                  </a:lnTo>
                  <a:lnTo>
                    <a:pt x="2051478" y="9486755"/>
                  </a:lnTo>
                  <a:lnTo>
                    <a:pt x="2125861" y="9489855"/>
                  </a:lnTo>
                  <a:lnTo>
                    <a:pt x="2192809" y="9497847"/>
                  </a:lnTo>
                  <a:lnTo>
                    <a:pt x="2257122" y="9488542"/>
                  </a:lnTo>
                  <a:lnTo>
                    <a:pt x="2340732" y="9476382"/>
                  </a:lnTo>
                  <a:lnTo>
                    <a:pt x="2426724" y="9458358"/>
                  </a:lnTo>
                  <a:lnTo>
                    <a:pt x="2511481" y="9453174"/>
                  </a:lnTo>
                  <a:lnTo>
                    <a:pt x="2542655" y="9493958"/>
                  </a:lnTo>
                  <a:lnTo>
                    <a:pt x="2554728" y="9532907"/>
                  </a:lnTo>
                  <a:lnTo>
                    <a:pt x="2564526" y="9572872"/>
                  </a:lnTo>
                  <a:lnTo>
                    <a:pt x="2574324" y="9612837"/>
                  </a:lnTo>
                  <a:lnTo>
                    <a:pt x="2581933" y="9654166"/>
                  </a:lnTo>
                  <a:lnTo>
                    <a:pt x="2594453" y="9692569"/>
                  </a:lnTo>
                  <a:lnTo>
                    <a:pt x="2609962" y="9740091"/>
                  </a:lnTo>
                  <a:lnTo>
                    <a:pt x="2639039" y="9785960"/>
                  </a:lnTo>
                  <a:lnTo>
                    <a:pt x="2658375" y="9832672"/>
                  </a:lnTo>
                  <a:lnTo>
                    <a:pt x="2647008" y="9879224"/>
                  </a:lnTo>
                  <a:lnTo>
                    <a:pt x="2639337" y="9906118"/>
                  </a:lnTo>
                  <a:lnTo>
                    <a:pt x="2631672" y="9933019"/>
                  </a:lnTo>
                  <a:lnTo>
                    <a:pt x="2626253" y="9959340"/>
                  </a:lnTo>
                  <a:lnTo>
                    <a:pt x="2636584" y="9990349"/>
                  </a:lnTo>
                  <a:lnTo>
                    <a:pt x="2666548" y="10014935"/>
                  </a:lnTo>
                  <a:lnTo>
                    <a:pt x="2706186" y="10037450"/>
                  </a:lnTo>
                  <a:lnTo>
                    <a:pt x="2729111" y="10047580"/>
                  </a:lnTo>
                  <a:lnTo>
                    <a:pt x="2774950" y="10067853"/>
                  </a:lnTo>
                  <a:lnTo>
                    <a:pt x="2824033" y="10083977"/>
                  </a:lnTo>
                  <a:lnTo>
                    <a:pt x="2844726" y="10092471"/>
                  </a:lnTo>
                  <a:lnTo>
                    <a:pt x="2890174" y="10111115"/>
                  </a:lnTo>
                  <a:lnTo>
                    <a:pt x="2933607" y="10134678"/>
                  </a:lnTo>
                  <a:lnTo>
                    <a:pt x="2979384" y="10152319"/>
                  </a:lnTo>
                  <a:lnTo>
                    <a:pt x="3001194" y="10160734"/>
                  </a:lnTo>
                  <a:lnTo>
                    <a:pt x="3026482" y="10163966"/>
                  </a:lnTo>
                  <a:lnTo>
                    <a:pt x="3048763" y="10171360"/>
                  </a:lnTo>
                  <a:lnTo>
                    <a:pt x="3149371" y="10204768"/>
                  </a:lnTo>
                  <a:lnTo>
                    <a:pt x="3228262" y="10242558"/>
                  </a:lnTo>
                  <a:lnTo>
                    <a:pt x="3320802" y="10297856"/>
                  </a:lnTo>
                  <a:lnTo>
                    <a:pt x="3363342" y="10322079"/>
                  </a:lnTo>
                  <a:lnTo>
                    <a:pt x="3386088" y="10340024"/>
                  </a:lnTo>
                  <a:lnTo>
                    <a:pt x="3408828" y="10357975"/>
                  </a:lnTo>
                  <a:lnTo>
                    <a:pt x="3428275" y="10380279"/>
                  </a:lnTo>
                  <a:lnTo>
                    <a:pt x="3432330" y="10403955"/>
                  </a:lnTo>
                  <a:lnTo>
                    <a:pt x="3424808" y="10438215"/>
                  </a:lnTo>
                  <a:lnTo>
                    <a:pt x="3387930" y="10486286"/>
                  </a:lnTo>
                  <a:lnTo>
                    <a:pt x="3360242" y="10535892"/>
                  </a:lnTo>
                  <a:lnTo>
                    <a:pt x="3346401" y="10560696"/>
                  </a:lnTo>
                  <a:lnTo>
                    <a:pt x="3334476" y="10585598"/>
                  </a:lnTo>
                  <a:lnTo>
                    <a:pt x="3330321" y="10609347"/>
                  </a:lnTo>
                  <a:lnTo>
                    <a:pt x="3326142" y="10633088"/>
                  </a:lnTo>
                  <a:lnTo>
                    <a:pt x="3329862" y="10655220"/>
                  </a:lnTo>
                  <a:lnTo>
                    <a:pt x="3345278" y="10674636"/>
                  </a:lnTo>
                  <a:lnTo>
                    <a:pt x="3451380" y="10809291"/>
                  </a:lnTo>
                  <a:lnTo>
                    <a:pt x="3499830" y="10820957"/>
                  </a:lnTo>
                  <a:lnTo>
                    <a:pt x="3621634" y="10811434"/>
                  </a:lnTo>
                  <a:lnTo>
                    <a:pt x="3691874" y="10806422"/>
                  </a:lnTo>
                  <a:lnTo>
                    <a:pt x="3761507" y="10810655"/>
                  </a:lnTo>
                  <a:lnTo>
                    <a:pt x="3831128" y="10814883"/>
                  </a:lnTo>
                  <a:lnTo>
                    <a:pt x="3901027" y="10827783"/>
                  </a:lnTo>
                  <a:lnTo>
                    <a:pt x="4010422" y="10854175"/>
                  </a:lnTo>
                  <a:lnTo>
                    <a:pt x="4034638" y="10860025"/>
                  </a:lnTo>
                  <a:lnTo>
                    <a:pt x="4070270" y="10869139"/>
                  </a:lnTo>
                  <a:lnTo>
                    <a:pt x="4103936" y="10880166"/>
                  </a:lnTo>
                  <a:lnTo>
                    <a:pt x="4124679" y="10888186"/>
                  </a:lnTo>
                  <a:lnTo>
                    <a:pt x="4149397" y="10897742"/>
                  </a:lnTo>
                  <a:lnTo>
                    <a:pt x="4169563" y="10919472"/>
                  </a:lnTo>
                  <a:lnTo>
                    <a:pt x="4175801" y="10949287"/>
                  </a:lnTo>
                  <a:lnTo>
                    <a:pt x="4173650" y="10976597"/>
                  </a:lnTo>
                  <a:lnTo>
                    <a:pt x="4170952" y="11010494"/>
                  </a:lnTo>
                  <a:lnTo>
                    <a:pt x="4164001" y="11044313"/>
                  </a:lnTo>
                  <a:lnTo>
                    <a:pt x="4155964" y="11077255"/>
                  </a:lnTo>
                  <a:lnTo>
                    <a:pt x="4147933" y="11110189"/>
                  </a:lnTo>
                  <a:lnTo>
                    <a:pt x="4138452" y="11142248"/>
                  </a:lnTo>
                  <a:lnTo>
                    <a:pt x="4130130" y="11175190"/>
                  </a:lnTo>
                  <a:lnTo>
                    <a:pt x="4128765" y="11206937"/>
                  </a:lnTo>
                  <a:lnTo>
                    <a:pt x="4145062" y="11230487"/>
                  </a:lnTo>
                  <a:lnTo>
                    <a:pt x="4172285" y="11249995"/>
                  </a:lnTo>
                  <a:lnTo>
                    <a:pt x="4200079" y="11267860"/>
                  </a:lnTo>
                  <a:lnTo>
                    <a:pt x="4231990" y="11282515"/>
                  </a:lnTo>
                  <a:lnTo>
                    <a:pt x="4241652" y="11307126"/>
                  </a:lnTo>
                  <a:lnTo>
                    <a:pt x="4241199" y="11348100"/>
                  </a:lnTo>
                  <a:lnTo>
                    <a:pt x="4225460" y="11404216"/>
                  </a:lnTo>
                  <a:lnTo>
                    <a:pt x="4207651" y="11462186"/>
                  </a:lnTo>
                  <a:lnTo>
                    <a:pt x="4190138" y="11519172"/>
                  </a:lnTo>
                  <a:lnTo>
                    <a:pt x="4172490" y="11577663"/>
                  </a:lnTo>
                  <a:lnTo>
                    <a:pt x="4165483" y="11628134"/>
                  </a:lnTo>
                  <a:lnTo>
                    <a:pt x="4206324" y="11628398"/>
                  </a:lnTo>
                  <a:lnTo>
                    <a:pt x="4250339" y="11630765"/>
                  </a:lnTo>
                  <a:lnTo>
                    <a:pt x="4270220" y="11641732"/>
                  </a:lnTo>
                  <a:lnTo>
                    <a:pt x="4348008" y="11684790"/>
                  </a:lnTo>
                  <a:lnTo>
                    <a:pt x="4414832" y="11791701"/>
                  </a:lnTo>
                  <a:lnTo>
                    <a:pt x="4509617" y="11795440"/>
                  </a:lnTo>
                  <a:lnTo>
                    <a:pt x="4552337" y="11797141"/>
                  </a:lnTo>
                  <a:lnTo>
                    <a:pt x="4704761" y="11739501"/>
                  </a:lnTo>
                  <a:lnTo>
                    <a:pt x="4761260" y="11727426"/>
                  </a:lnTo>
                  <a:lnTo>
                    <a:pt x="4823309" y="11714124"/>
                  </a:lnTo>
                  <a:lnTo>
                    <a:pt x="4888310" y="11694656"/>
                  </a:lnTo>
                  <a:lnTo>
                    <a:pt x="4951686" y="11692065"/>
                  </a:lnTo>
                  <a:lnTo>
                    <a:pt x="5004352" y="11689941"/>
                  </a:lnTo>
                  <a:lnTo>
                    <a:pt x="5058073" y="11703243"/>
                  </a:lnTo>
                  <a:lnTo>
                    <a:pt x="5110826" y="11701581"/>
                  </a:lnTo>
                  <a:lnTo>
                    <a:pt x="5167139" y="11699840"/>
                  </a:lnTo>
                  <a:lnTo>
                    <a:pt x="5224103" y="11690237"/>
                  </a:lnTo>
                  <a:lnTo>
                    <a:pt x="5280844" y="11696147"/>
                  </a:lnTo>
                  <a:lnTo>
                    <a:pt x="5406194" y="11709153"/>
                  </a:lnTo>
                  <a:lnTo>
                    <a:pt x="5414107" y="11804534"/>
                  </a:lnTo>
                  <a:lnTo>
                    <a:pt x="5474004" y="11817203"/>
                  </a:lnTo>
                  <a:lnTo>
                    <a:pt x="5543451" y="11831909"/>
                  </a:lnTo>
                  <a:lnTo>
                    <a:pt x="5626894" y="11755950"/>
                  </a:lnTo>
                  <a:lnTo>
                    <a:pt x="5692986" y="11761430"/>
                  </a:lnTo>
                  <a:lnTo>
                    <a:pt x="5716538" y="11763428"/>
                  </a:lnTo>
                  <a:lnTo>
                    <a:pt x="5763766" y="11790631"/>
                  </a:lnTo>
                  <a:lnTo>
                    <a:pt x="5788205" y="11800880"/>
                  </a:lnTo>
                  <a:lnTo>
                    <a:pt x="5891064" y="11843853"/>
                  </a:lnTo>
                  <a:lnTo>
                    <a:pt x="6002133" y="11760415"/>
                  </a:lnTo>
                  <a:lnTo>
                    <a:pt x="6130975" y="11765512"/>
                  </a:lnTo>
                  <a:lnTo>
                    <a:pt x="6255935" y="11770445"/>
                  </a:lnTo>
                  <a:lnTo>
                    <a:pt x="6433493" y="11871862"/>
                  </a:lnTo>
                  <a:lnTo>
                    <a:pt x="6567606" y="11877052"/>
                  </a:lnTo>
                  <a:lnTo>
                    <a:pt x="6617209" y="11878958"/>
                  </a:lnTo>
                  <a:lnTo>
                    <a:pt x="6704850" y="11834072"/>
                  </a:lnTo>
                  <a:lnTo>
                    <a:pt x="6733537" y="11794075"/>
                  </a:lnTo>
                  <a:lnTo>
                    <a:pt x="6750286" y="11770781"/>
                  </a:lnTo>
                  <a:lnTo>
                    <a:pt x="6781614" y="11722539"/>
                  </a:lnTo>
                  <a:lnTo>
                    <a:pt x="6798829" y="11702947"/>
                  </a:lnTo>
                  <a:lnTo>
                    <a:pt x="6921203" y="11564248"/>
                  </a:lnTo>
                  <a:lnTo>
                    <a:pt x="6815070" y="11481404"/>
                  </a:lnTo>
                  <a:lnTo>
                    <a:pt x="6820595" y="11360175"/>
                  </a:lnTo>
                  <a:lnTo>
                    <a:pt x="6824973" y="11264747"/>
                  </a:lnTo>
                  <a:lnTo>
                    <a:pt x="6907325" y="11171278"/>
                  </a:lnTo>
                  <a:lnTo>
                    <a:pt x="6904931" y="11081330"/>
                  </a:lnTo>
                  <a:lnTo>
                    <a:pt x="6904329" y="11059995"/>
                  </a:lnTo>
                  <a:lnTo>
                    <a:pt x="6894643" y="11038911"/>
                  </a:lnTo>
                  <a:lnTo>
                    <a:pt x="6888609" y="11018765"/>
                  </a:lnTo>
                  <a:lnTo>
                    <a:pt x="6875897" y="10976642"/>
                  </a:lnTo>
                  <a:lnTo>
                    <a:pt x="6838281" y="10924912"/>
                  </a:lnTo>
                  <a:lnTo>
                    <a:pt x="6748711" y="10805129"/>
                  </a:lnTo>
                  <a:lnTo>
                    <a:pt x="6751241" y="10783452"/>
                  </a:lnTo>
                  <a:lnTo>
                    <a:pt x="6768449" y="10756710"/>
                  </a:lnTo>
                  <a:lnTo>
                    <a:pt x="6956785" y="10701583"/>
                  </a:lnTo>
                  <a:lnTo>
                    <a:pt x="6993347" y="10700481"/>
                  </a:lnTo>
                  <a:lnTo>
                    <a:pt x="7020763" y="10699585"/>
                  </a:lnTo>
                  <a:lnTo>
                    <a:pt x="7048011" y="10706818"/>
                  </a:lnTo>
                  <a:lnTo>
                    <a:pt x="7074961" y="10707280"/>
                  </a:lnTo>
                  <a:lnTo>
                    <a:pt x="7087710" y="10681521"/>
                  </a:lnTo>
                  <a:lnTo>
                    <a:pt x="7070539" y="10663240"/>
                  </a:lnTo>
                  <a:lnTo>
                    <a:pt x="7059997" y="10643349"/>
                  </a:lnTo>
                  <a:lnTo>
                    <a:pt x="7049710" y="10623796"/>
                  </a:lnTo>
                  <a:lnTo>
                    <a:pt x="7030114" y="10609426"/>
                  </a:lnTo>
                  <a:lnTo>
                    <a:pt x="7021910" y="10588942"/>
                  </a:lnTo>
                  <a:lnTo>
                    <a:pt x="7007567" y="10553105"/>
                  </a:lnTo>
                  <a:lnTo>
                    <a:pt x="7015076" y="10518383"/>
                  </a:lnTo>
                  <a:lnTo>
                    <a:pt x="7006953" y="10481485"/>
                  </a:lnTo>
                  <a:lnTo>
                    <a:pt x="6998290" y="10459933"/>
                  </a:lnTo>
                  <a:lnTo>
                    <a:pt x="6959724" y="10265132"/>
                  </a:lnTo>
                  <a:lnTo>
                    <a:pt x="7107610" y="10268146"/>
                  </a:lnTo>
                  <a:lnTo>
                    <a:pt x="7144333" y="10161836"/>
                  </a:lnTo>
                  <a:lnTo>
                    <a:pt x="7154230" y="10132977"/>
                  </a:lnTo>
                  <a:lnTo>
                    <a:pt x="7153772" y="10105007"/>
                  </a:lnTo>
                  <a:lnTo>
                    <a:pt x="7160655" y="10076148"/>
                  </a:lnTo>
                  <a:lnTo>
                    <a:pt x="7182799" y="9983483"/>
                  </a:lnTo>
                  <a:lnTo>
                    <a:pt x="7237890" y="9873091"/>
                  </a:lnTo>
                  <a:lnTo>
                    <a:pt x="7299394" y="9800026"/>
                  </a:lnTo>
                  <a:lnTo>
                    <a:pt x="7341648" y="9749912"/>
                  </a:lnTo>
                  <a:lnTo>
                    <a:pt x="7439280" y="9742981"/>
                  </a:lnTo>
                  <a:lnTo>
                    <a:pt x="7495264" y="9698010"/>
                  </a:lnTo>
                  <a:lnTo>
                    <a:pt x="7533854" y="9661282"/>
                  </a:lnTo>
                  <a:lnTo>
                    <a:pt x="7576233" y="9589325"/>
                  </a:lnTo>
                  <a:lnTo>
                    <a:pt x="7614072" y="9389415"/>
                  </a:lnTo>
                  <a:lnTo>
                    <a:pt x="7530629" y="9359322"/>
                  </a:lnTo>
                  <a:lnTo>
                    <a:pt x="7504615" y="9349588"/>
                  </a:lnTo>
                  <a:lnTo>
                    <a:pt x="7458199" y="9355075"/>
                  </a:lnTo>
                  <a:lnTo>
                    <a:pt x="7353288" y="9386018"/>
                  </a:lnTo>
                  <a:lnTo>
                    <a:pt x="7326598" y="9404206"/>
                  </a:lnTo>
                  <a:lnTo>
                    <a:pt x="7299518" y="9422698"/>
                  </a:lnTo>
                  <a:lnTo>
                    <a:pt x="7271594" y="9448030"/>
                  </a:lnTo>
                  <a:lnTo>
                    <a:pt x="7242268" y="9462697"/>
                  </a:lnTo>
                  <a:lnTo>
                    <a:pt x="7145772" y="9265134"/>
                  </a:lnTo>
                  <a:lnTo>
                    <a:pt x="6995902" y="9356262"/>
                  </a:lnTo>
                  <a:lnTo>
                    <a:pt x="6959346" y="9264111"/>
                  </a:lnTo>
                  <a:lnTo>
                    <a:pt x="6956084" y="9206558"/>
                  </a:lnTo>
                  <a:lnTo>
                    <a:pt x="7108075" y="9190954"/>
                  </a:lnTo>
                  <a:lnTo>
                    <a:pt x="7162013" y="9145773"/>
                  </a:lnTo>
                  <a:lnTo>
                    <a:pt x="7211957" y="9103862"/>
                  </a:lnTo>
                  <a:lnTo>
                    <a:pt x="7226970" y="9034193"/>
                  </a:lnTo>
                  <a:lnTo>
                    <a:pt x="7259948" y="8986630"/>
                  </a:lnTo>
                  <a:lnTo>
                    <a:pt x="7193726" y="8950287"/>
                  </a:lnTo>
                  <a:lnTo>
                    <a:pt x="7219957" y="8833351"/>
                  </a:lnTo>
                  <a:lnTo>
                    <a:pt x="7202817" y="8773074"/>
                  </a:lnTo>
                  <a:lnTo>
                    <a:pt x="7196361" y="8750335"/>
                  </a:lnTo>
                  <a:lnTo>
                    <a:pt x="7161374" y="8728104"/>
                  </a:lnTo>
                  <a:lnTo>
                    <a:pt x="7153852" y="8702352"/>
                  </a:lnTo>
                  <a:lnTo>
                    <a:pt x="7144513" y="8669831"/>
                  </a:lnTo>
                  <a:lnTo>
                    <a:pt x="7162528" y="8624135"/>
                  </a:lnTo>
                  <a:lnTo>
                    <a:pt x="7144333" y="8592169"/>
                  </a:lnTo>
                  <a:lnTo>
                    <a:pt x="7106760" y="8526181"/>
                  </a:lnTo>
                  <a:lnTo>
                    <a:pt x="6936867" y="8414944"/>
                  </a:lnTo>
                  <a:lnTo>
                    <a:pt x="6975668" y="8336453"/>
                  </a:lnTo>
                  <a:lnTo>
                    <a:pt x="7008273" y="8324015"/>
                  </a:lnTo>
                  <a:lnTo>
                    <a:pt x="7045040" y="8321488"/>
                  </a:lnTo>
                  <a:lnTo>
                    <a:pt x="7062931" y="8307890"/>
                  </a:lnTo>
                  <a:lnTo>
                    <a:pt x="7071308" y="8259134"/>
                  </a:lnTo>
                  <a:lnTo>
                    <a:pt x="7054937" y="8237833"/>
                  </a:lnTo>
                  <a:lnTo>
                    <a:pt x="7049114" y="8207231"/>
                  </a:lnTo>
                  <a:lnTo>
                    <a:pt x="7039720" y="8157672"/>
                  </a:lnTo>
                  <a:lnTo>
                    <a:pt x="7043719" y="8027256"/>
                  </a:lnTo>
                  <a:lnTo>
                    <a:pt x="7012397" y="7990959"/>
                  </a:lnTo>
                  <a:lnTo>
                    <a:pt x="6994370" y="7970046"/>
                  </a:lnTo>
                  <a:lnTo>
                    <a:pt x="6970316" y="7960352"/>
                  </a:lnTo>
                  <a:lnTo>
                    <a:pt x="6952544" y="7940634"/>
                  </a:lnTo>
                  <a:lnTo>
                    <a:pt x="6927764" y="7913172"/>
                  </a:lnTo>
                  <a:lnTo>
                    <a:pt x="6865107" y="7865972"/>
                  </a:lnTo>
                  <a:lnTo>
                    <a:pt x="6830126" y="7856298"/>
                  </a:lnTo>
                  <a:lnTo>
                    <a:pt x="6760289" y="7837020"/>
                  </a:lnTo>
                  <a:lnTo>
                    <a:pt x="6671792" y="7868096"/>
                  </a:lnTo>
                  <a:lnTo>
                    <a:pt x="6597533" y="7860374"/>
                  </a:lnTo>
                  <a:lnTo>
                    <a:pt x="6523534" y="7852703"/>
                  </a:lnTo>
                  <a:lnTo>
                    <a:pt x="6460028" y="7811215"/>
                  </a:lnTo>
                  <a:lnTo>
                    <a:pt x="6378538" y="7831811"/>
                  </a:lnTo>
                  <a:lnTo>
                    <a:pt x="6360561" y="7798441"/>
                  </a:lnTo>
                  <a:lnTo>
                    <a:pt x="6325152" y="7738400"/>
                  </a:lnTo>
                  <a:lnTo>
                    <a:pt x="6329574" y="7701231"/>
                  </a:lnTo>
                  <a:lnTo>
                    <a:pt x="6333102" y="7671990"/>
                  </a:lnTo>
                  <a:lnTo>
                    <a:pt x="6348103" y="7648993"/>
                  </a:lnTo>
                  <a:lnTo>
                    <a:pt x="6360859" y="7623701"/>
                  </a:lnTo>
                  <a:lnTo>
                    <a:pt x="6376963" y="7591776"/>
                  </a:lnTo>
                  <a:lnTo>
                    <a:pt x="6385849" y="7555392"/>
                  </a:lnTo>
                  <a:lnTo>
                    <a:pt x="6401662" y="7523044"/>
                  </a:lnTo>
                  <a:lnTo>
                    <a:pt x="6427800" y="7469619"/>
                  </a:lnTo>
                  <a:lnTo>
                    <a:pt x="6472095" y="7421008"/>
                  </a:lnTo>
                  <a:lnTo>
                    <a:pt x="6490073" y="7363902"/>
                  </a:lnTo>
                  <a:lnTo>
                    <a:pt x="6503052" y="7322605"/>
                  </a:lnTo>
                  <a:lnTo>
                    <a:pt x="6503889" y="7266483"/>
                  </a:lnTo>
                  <a:lnTo>
                    <a:pt x="6498239" y="7223800"/>
                  </a:lnTo>
                  <a:lnTo>
                    <a:pt x="6487437" y="7190094"/>
                  </a:lnTo>
                  <a:lnTo>
                    <a:pt x="6491437" y="7168033"/>
                  </a:lnTo>
                  <a:lnTo>
                    <a:pt x="6497892" y="7132137"/>
                  </a:lnTo>
                  <a:lnTo>
                    <a:pt x="6524043" y="7104677"/>
                  </a:lnTo>
                  <a:lnTo>
                    <a:pt x="6536321" y="7071457"/>
                  </a:lnTo>
                  <a:lnTo>
                    <a:pt x="6554980" y="7020921"/>
                  </a:lnTo>
                  <a:lnTo>
                    <a:pt x="6563612" y="6966382"/>
                  </a:lnTo>
                  <a:lnTo>
                    <a:pt x="6579847" y="6915033"/>
                  </a:lnTo>
                  <a:lnTo>
                    <a:pt x="6597068" y="6891154"/>
                  </a:lnTo>
                  <a:lnTo>
                    <a:pt x="6657331" y="6907469"/>
                  </a:lnTo>
                  <a:lnTo>
                    <a:pt x="6684585" y="6893276"/>
                  </a:lnTo>
                  <a:lnTo>
                    <a:pt x="6699288" y="6875530"/>
                  </a:lnTo>
                  <a:lnTo>
                    <a:pt x="6706227" y="6830810"/>
                  </a:lnTo>
                  <a:lnTo>
                    <a:pt x="6714512" y="6807582"/>
                  </a:lnTo>
                  <a:lnTo>
                    <a:pt x="6723013" y="6783715"/>
                  </a:lnTo>
                  <a:lnTo>
                    <a:pt x="6738014" y="6751579"/>
                  </a:lnTo>
                  <a:lnTo>
                    <a:pt x="6751241" y="6730053"/>
                  </a:lnTo>
                  <a:lnTo>
                    <a:pt x="6764760" y="6707966"/>
                  </a:lnTo>
                  <a:lnTo>
                    <a:pt x="6856227" y="6616515"/>
                  </a:lnTo>
                  <a:lnTo>
                    <a:pt x="6877733" y="6604914"/>
                  </a:lnTo>
                  <a:lnTo>
                    <a:pt x="7003257" y="6537304"/>
                  </a:lnTo>
                  <a:lnTo>
                    <a:pt x="7138300" y="6673964"/>
                  </a:lnTo>
                  <a:lnTo>
                    <a:pt x="7240904" y="6725970"/>
                  </a:lnTo>
                  <a:lnTo>
                    <a:pt x="7266410" y="6738890"/>
                  </a:lnTo>
                  <a:lnTo>
                    <a:pt x="7295059" y="6742378"/>
                  </a:lnTo>
                  <a:lnTo>
                    <a:pt x="7321154" y="6753174"/>
                  </a:lnTo>
                  <a:lnTo>
                    <a:pt x="7346275" y="6763523"/>
                  </a:lnTo>
                  <a:lnTo>
                    <a:pt x="7388194" y="6780102"/>
                  </a:lnTo>
                  <a:lnTo>
                    <a:pt x="7415015" y="6779013"/>
                  </a:lnTo>
                  <a:lnTo>
                    <a:pt x="7497980" y="6775637"/>
                  </a:lnTo>
                  <a:lnTo>
                    <a:pt x="7580617" y="6699637"/>
                  </a:lnTo>
                  <a:lnTo>
                    <a:pt x="7635367" y="6645717"/>
                  </a:lnTo>
                  <a:lnTo>
                    <a:pt x="7725476" y="6556983"/>
                  </a:lnTo>
                  <a:lnTo>
                    <a:pt x="7767216" y="6504066"/>
                  </a:lnTo>
                  <a:lnTo>
                    <a:pt x="7804026" y="6377760"/>
                  </a:lnTo>
                  <a:lnTo>
                    <a:pt x="7808448" y="6303376"/>
                  </a:lnTo>
                  <a:lnTo>
                    <a:pt x="7782608" y="6243968"/>
                  </a:lnTo>
                  <a:lnTo>
                    <a:pt x="7706098" y="6219976"/>
                  </a:lnTo>
                  <a:lnTo>
                    <a:pt x="7543038" y="6168886"/>
                  </a:lnTo>
                  <a:lnTo>
                    <a:pt x="7549239" y="6389722"/>
                  </a:lnTo>
                  <a:lnTo>
                    <a:pt x="7451738" y="6400881"/>
                  </a:lnTo>
                  <a:lnTo>
                    <a:pt x="7355074" y="6411974"/>
                  </a:lnTo>
                  <a:lnTo>
                    <a:pt x="7313632" y="6272089"/>
                  </a:lnTo>
                  <a:lnTo>
                    <a:pt x="7268109" y="6256704"/>
                  </a:lnTo>
                  <a:lnTo>
                    <a:pt x="7239633" y="6247095"/>
                  </a:lnTo>
                  <a:lnTo>
                    <a:pt x="7157635" y="6279318"/>
                  </a:lnTo>
                  <a:lnTo>
                    <a:pt x="7100807" y="6277101"/>
                  </a:lnTo>
                  <a:lnTo>
                    <a:pt x="7047552" y="6275058"/>
                  </a:lnTo>
                  <a:lnTo>
                    <a:pt x="7009204" y="6244647"/>
                  </a:lnTo>
                  <a:lnTo>
                    <a:pt x="6963420" y="6222694"/>
                  </a:lnTo>
                  <a:lnTo>
                    <a:pt x="6877143" y="6181357"/>
                  </a:lnTo>
                  <a:lnTo>
                    <a:pt x="6847595" y="6246522"/>
                  </a:lnTo>
                  <a:lnTo>
                    <a:pt x="6719950" y="6171010"/>
                  </a:lnTo>
                  <a:lnTo>
                    <a:pt x="6678297" y="6146377"/>
                  </a:lnTo>
                  <a:lnTo>
                    <a:pt x="6695424" y="6002259"/>
                  </a:lnTo>
                  <a:lnTo>
                    <a:pt x="6634256" y="5945213"/>
                  </a:lnTo>
                  <a:lnTo>
                    <a:pt x="6613308" y="5925706"/>
                  </a:lnTo>
                  <a:lnTo>
                    <a:pt x="6586904" y="5904496"/>
                  </a:lnTo>
                  <a:lnTo>
                    <a:pt x="6563525" y="5888088"/>
                  </a:lnTo>
                  <a:lnTo>
                    <a:pt x="6512818" y="5852555"/>
                  </a:lnTo>
                  <a:lnTo>
                    <a:pt x="6463550" y="5843117"/>
                  </a:lnTo>
                  <a:lnTo>
                    <a:pt x="6460152" y="5771107"/>
                  </a:lnTo>
                  <a:lnTo>
                    <a:pt x="6458583" y="5738357"/>
                  </a:lnTo>
                  <a:lnTo>
                    <a:pt x="6469206" y="5702316"/>
                  </a:lnTo>
                  <a:lnTo>
                    <a:pt x="6471035" y="5669098"/>
                  </a:lnTo>
                  <a:lnTo>
                    <a:pt x="6474384" y="5606545"/>
                  </a:lnTo>
                  <a:lnTo>
                    <a:pt x="6475215" y="5540134"/>
                  </a:lnTo>
                  <a:lnTo>
                    <a:pt x="6495523" y="5480029"/>
                  </a:lnTo>
                  <a:lnTo>
                    <a:pt x="6530634" y="5454249"/>
                  </a:lnTo>
                  <a:lnTo>
                    <a:pt x="6632557" y="5491886"/>
                  </a:lnTo>
                  <a:lnTo>
                    <a:pt x="6677782" y="5493627"/>
                  </a:lnTo>
                  <a:lnTo>
                    <a:pt x="6798841" y="5498302"/>
                  </a:lnTo>
                  <a:lnTo>
                    <a:pt x="6865963" y="5395310"/>
                  </a:lnTo>
                  <a:lnTo>
                    <a:pt x="6948463" y="5378012"/>
                  </a:lnTo>
                  <a:lnTo>
                    <a:pt x="7050187" y="5356677"/>
                  </a:lnTo>
                  <a:lnTo>
                    <a:pt x="7244346" y="5443005"/>
                  </a:lnTo>
                  <a:lnTo>
                    <a:pt x="7321154" y="5376654"/>
                  </a:lnTo>
                  <a:lnTo>
                    <a:pt x="7370378" y="5334170"/>
                  </a:lnTo>
                  <a:lnTo>
                    <a:pt x="7317154" y="5267033"/>
                  </a:lnTo>
                  <a:lnTo>
                    <a:pt x="7319802" y="5216154"/>
                  </a:lnTo>
                  <a:lnTo>
                    <a:pt x="7321978" y="5175199"/>
                  </a:lnTo>
                  <a:lnTo>
                    <a:pt x="7344253" y="5134621"/>
                  </a:lnTo>
                  <a:lnTo>
                    <a:pt x="7363334" y="5099173"/>
                  </a:lnTo>
                  <a:lnTo>
                    <a:pt x="7385522" y="5057921"/>
                  </a:lnTo>
                  <a:lnTo>
                    <a:pt x="7415653" y="5022877"/>
                  </a:lnTo>
                  <a:lnTo>
                    <a:pt x="7442225" y="4984917"/>
                  </a:lnTo>
                  <a:lnTo>
                    <a:pt x="7523368" y="4868958"/>
                  </a:lnTo>
                  <a:lnTo>
                    <a:pt x="7614116" y="4827027"/>
                  </a:lnTo>
                  <a:lnTo>
                    <a:pt x="7725141" y="4749604"/>
                  </a:lnTo>
                  <a:lnTo>
                    <a:pt x="7754305" y="4729284"/>
                  </a:lnTo>
                  <a:lnTo>
                    <a:pt x="7790775" y="4717296"/>
                  </a:lnTo>
                  <a:lnTo>
                    <a:pt x="7823076" y="4693830"/>
                  </a:lnTo>
                  <a:lnTo>
                    <a:pt x="7875185" y="4615688"/>
                  </a:lnTo>
                  <a:lnTo>
                    <a:pt x="7897763" y="4522937"/>
                  </a:lnTo>
                  <a:lnTo>
                    <a:pt x="7952296" y="4447636"/>
                  </a:lnTo>
                  <a:lnTo>
                    <a:pt x="8028379" y="4412888"/>
                  </a:lnTo>
                  <a:lnTo>
                    <a:pt x="8056693" y="4425490"/>
                  </a:lnTo>
                  <a:lnTo>
                    <a:pt x="8119604" y="4359224"/>
                  </a:lnTo>
                  <a:lnTo>
                    <a:pt x="8137370" y="4308411"/>
                  </a:lnTo>
                  <a:lnTo>
                    <a:pt x="8089938" y="4233934"/>
                  </a:lnTo>
                  <a:lnTo>
                    <a:pt x="8097838" y="4174237"/>
                  </a:lnTo>
                  <a:lnTo>
                    <a:pt x="8101707" y="4144890"/>
                  </a:lnTo>
                  <a:lnTo>
                    <a:pt x="8119393" y="4122230"/>
                  </a:lnTo>
                  <a:lnTo>
                    <a:pt x="8129123" y="4095343"/>
                  </a:lnTo>
                  <a:lnTo>
                    <a:pt x="8154411" y="4025338"/>
                  </a:lnTo>
                  <a:lnTo>
                    <a:pt x="8169586" y="3958010"/>
                  </a:lnTo>
                  <a:lnTo>
                    <a:pt x="8157685" y="3883151"/>
                  </a:lnTo>
                  <a:lnTo>
                    <a:pt x="8141401" y="3781057"/>
                  </a:lnTo>
                  <a:lnTo>
                    <a:pt x="8090446" y="3761714"/>
                  </a:lnTo>
                  <a:lnTo>
                    <a:pt x="8031188" y="3688648"/>
                  </a:lnTo>
                  <a:lnTo>
                    <a:pt x="8013762" y="3659235"/>
                  </a:lnTo>
                  <a:lnTo>
                    <a:pt x="7979755" y="3610241"/>
                  </a:lnTo>
                  <a:lnTo>
                    <a:pt x="7946852" y="3575644"/>
                  </a:lnTo>
                  <a:lnTo>
                    <a:pt x="7919653" y="3543105"/>
                  </a:lnTo>
                  <a:lnTo>
                    <a:pt x="7868178" y="3481535"/>
                  </a:lnTo>
                  <a:lnTo>
                    <a:pt x="7834177" y="3403624"/>
                  </a:lnTo>
                  <a:lnTo>
                    <a:pt x="7797236" y="3333637"/>
                  </a:lnTo>
                  <a:lnTo>
                    <a:pt x="7781467" y="3303796"/>
                  </a:lnTo>
                  <a:lnTo>
                    <a:pt x="7751453" y="3274145"/>
                  </a:lnTo>
                  <a:lnTo>
                    <a:pt x="7738747" y="3243862"/>
                  </a:lnTo>
                  <a:lnTo>
                    <a:pt x="7713527" y="3183631"/>
                  </a:lnTo>
                  <a:lnTo>
                    <a:pt x="7719108" y="3099407"/>
                  </a:lnTo>
                  <a:lnTo>
                    <a:pt x="7734654" y="3037111"/>
                  </a:lnTo>
                  <a:lnTo>
                    <a:pt x="7810110" y="2754171"/>
                  </a:lnTo>
                  <a:lnTo>
                    <a:pt x="7972742" y="2856352"/>
                  </a:lnTo>
                  <a:lnTo>
                    <a:pt x="8044781" y="2692982"/>
                  </a:lnTo>
                  <a:lnTo>
                    <a:pt x="8056985" y="2665311"/>
                  </a:lnTo>
                  <a:lnTo>
                    <a:pt x="8064370" y="2642208"/>
                  </a:lnTo>
                  <a:lnTo>
                    <a:pt x="8061102" y="2611371"/>
                  </a:lnTo>
                  <a:lnTo>
                    <a:pt x="8057276" y="2574960"/>
                  </a:lnTo>
                  <a:lnTo>
                    <a:pt x="8033389" y="2541999"/>
                  </a:lnTo>
                  <a:lnTo>
                    <a:pt x="8024385" y="2506631"/>
                  </a:lnTo>
                  <a:lnTo>
                    <a:pt x="7970950" y="2483127"/>
                  </a:lnTo>
                  <a:lnTo>
                    <a:pt x="7945401" y="2498730"/>
                  </a:lnTo>
                  <a:lnTo>
                    <a:pt x="7893807" y="2493031"/>
                  </a:lnTo>
                  <a:lnTo>
                    <a:pt x="7845512" y="2487697"/>
                  </a:lnTo>
                  <a:lnTo>
                    <a:pt x="7815722" y="2460367"/>
                  </a:lnTo>
                  <a:lnTo>
                    <a:pt x="7774106" y="2442706"/>
                  </a:lnTo>
                  <a:lnTo>
                    <a:pt x="7722890" y="2420963"/>
                  </a:lnTo>
                  <a:lnTo>
                    <a:pt x="7591066" y="2420685"/>
                  </a:lnTo>
                  <a:lnTo>
                    <a:pt x="7538790" y="2441348"/>
                  </a:lnTo>
                  <a:lnTo>
                    <a:pt x="7476301" y="2478966"/>
                  </a:lnTo>
                  <a:lnTo>
                    <a:pt x="7422195" y="2547994"/>
                  </a:lnTo>
                  <a:lnTo>
                    <a:pt x="7381776" y="2622148"/>
                  </a:lnTo>
                  <a:lnTo>
                    <a:pt x="7322518" y="2660337"/>
                  </a:lnTo>
                  <a:lnTo>
                    <a:pt x="7282092" y="2686395"/>
                  </a:lnTo>
                  <a:lnTo>
                    <a:pt x="7236700" y="2698403"/>
                  </a:lnTo>
                  <a:lnTo>
                    <a:pt x="7193304" y="2716105"/>
                  </a:lnTo>
                  <a:lnTo>
                    <a:pt x="7085720" y="2759993"/>
                  </a:lnTo>
                  <a:lnTo>
                    <a:pt x="6936011" y="2801819"/>
                  </a:lnTo>
                  <a:lnTo>
                    <a:pt x="6823330" y="2758273"/>
                  </a:lnTo>
                  <a:lnTo>
                    <a:pt x="6797527" y="2724842"/>
                  </a:lnTo>
                  <a:lnTo>
                    <a:pt x="6738225" y="2619766"/>
                  </a:lnTo>
                  <a:lnTo>
                    <a:pt x="6715870" y="2601848"/>
                  </a:lnTo>
                  <a:lnTo>
                    <a:pt x="6698612" y="2587971"/>
                  </a:lnTo>
                  <a:lnTo>
                    <a:pt x="6507504" y="2506229"/>
                  </a:lnTo>
                  <a:lnTo>
                    <a:pt x="6480560" y="2499831"/>
                  </a:lnTo>
                  <a:lnTo>
                    <a:pt x="6401625" y="2481128"/>
                  </a:lnTo>
                  <a:lnTo>
                    <a:pt x="6353461" y="2525426"/>
                  </a:lnTo>
                  <a:lnTo>
                    <a:pt x="6272442" y="2430466"/>
                  </a:lnTo>
                  <a:lnTo>
                    <a:pt x="6210046" y="2357269"/>
                  </a:lnTo>
                  <a:lnTo>
                    <a:pt x="6204347" y="2257232"/>
                  </a:lnTo>
                  <a:lnTo>
                    <a:pt x="6184032" y="2167943"/>
                  </a:lnTo>
                  <a:lnTo>
                    <a:pt x="6169025" y="2101466"/>
                  </a:lnTo>
                  <a:lnTo>
                    <a:pt x="6134690" y="2037008"/>
                  </a:lnTo>
                  <a:lnTo>
                    <a:pt x="6120104" y="1970716"/>
                  </a:lnTo>
                  <a:lnTo>
                    <a:pt x="6111770" y="1932735"/>
                  </a:lnTo>
                  <a:lnTo>
                    <a:pt x="6102754" y="1888088"/>
                  </a:lnTo>
                  <a:lnTo>
                    <a:pt x="6086097" y="1852384"/>
                  </a:lnTo>
                  <a:lnTo>
                    <a:pt x="6074575" y="1831721"/>
                  </a:lnTo>
                  <a:lnTo>
                    <a:pt x="5998413" y="1809002"/>
                  </a:lnTo>
                  <a:lnTo>
                    <a:pt x="5923428" y="1823353"/>
                  </a:lnTo>
                  <a:lnTo>
                    <a:pt x="5854868" y="1804774"/>
                  </a:lnTo>
                  <a:lnTo>
                    <a:pt x="5746298" y="1775336"/>
                  </a:lnTo>
                  <a:lnTo>
                    <a:pt x="5729338" y="1664606"/>
                  </a:lnTo>
                  <a:lnTo>
                    <a:pt x="5616830" y="1678278"/>
                  </a:lnTo>
                  <a:lnTo>
                    <a:pt x="5489656" y="1693750"/>
                  </a:lnTo>
                  <a:lnTo>
                    <a:pt x="5447990" y="1820945"/>
                  </a:lnTo>
                  <a:lnTo>
                    <a:pt x="5272702" y="1814298"/>
                  </a:lnTo>
                  <a:lnTo>
                    <a:pt x="5236996" y="1812952"/>
                  </a:lnTo>
                  <a:lnTo>
                    <a:pt x="5196024" y="1793952"/>
                  </a:lnTo>
                  <a:lnTo>
                    <a:pt x="5162519" y="1783011"/>
                  </a:lnTo>
                  <a:lnTo>
                    <a:pt x="5126478" y="1771173"/>
                  </a:lnTo>
                  <a:lnTo>
                    <a:pt x="5083163" y="1763926"/>
                  </a:lnTo>
                  <a:lnTo>
                    <a:pt x="5049627" y="1746285"/>
                  </a:lnTo>
                  <a:lnTo>
                    <a:pt x="4898052" y="1666566"/>
                  </a:lnTo>
                  <a:lnTo>
                    <a:pt x="4905872" y="1614367"/>
                  </a:lnTo>
                  <a:lnTo>
                    <a:pt x="4871443" y="1464722"/>
                  </a:lnTo>
                  <a:lnTo>
                    <a:pt x="4867474" y="1428489"/>
                  </a:lnTo>
                  <a:lnTo>
                    <a:pt x="4843767" y="1362731"/>
                  </a:lnTo>
                  <a:lnTo>
                    <a:pt x="4801431" y="1313547"/>
                  </a:lnTo>
                  <a:lnTo>
                    <a:pt x="4789829" y="1260696"/>
                  </a:lnTo>
                  <a:lnTo>
                    <a:pt x="4770103" y="1170965"/>
                  </a:lnTo>
                  <a:lnTo>
                    <a:pt x="4799987" y="1110496"/>
                  </a:lnTo>
                  <a:lnTo>
                    <a:pt x="4706857" y="1051222"/>
                  </a:lnTo>
                  <a:lnTo>
                    <a:pt x="4678258" y="1033052"/>
                  </a:lnTo>
                  <a:lnTo>
                    <a:pt x="4637485" y="1034899"/>
                  </a:lnTo>
                  <a:lnTo>
                    <a:pt x="4528890" y="1026636"/>
                  </a:lnTo>
                  <a:lnTo>
                    <a:pt x="4508779" y="1095321"/>
                  </a:lnTo>
                  <a:lnTo>
                    <a:pt x="4457942" y="1165478"/>
                  </a:lnTo>
                  <a:lnTo>
                    <a:pt x="4434093" y="1198360"/>
                  </a:lnTo>
                  <a:lnTo>
                    <a:pt x="4327147" y="1335825"/>
                  </a:lnTo>
                  <a:lnTo>
                    <a:pt x="4304240" y="1351824"/>
                  </a:lnTo>
                  <a:lnTo>
                    <a:pt x="4220754" y="1410017"/>
                  </a:lnTo>
                  <a:lnTo>
                    <a:pt x="4118273" y="1361558"/>
                  </a:lnTo>
                  <a:lnTo>
                    <a:pt x="4026756" y="1395350"/>
                  </a:lnTo>
                  <a:lnTo>
                    <a:pt x="3959176" y="1420305"/>
                  </a:lnTo>
                  <a:lnTo>
                    <a:pt x="3911948" y="1430547"/>
                  </a:lnTo>
                  <a:lnTo>
                    <a:pt x="3839047" y="1421195"/>
                  </a:lnTo>
                  <a:lnTo>
                    <a:pt x="3765172" y="1370038"/>
                  </a:lnTo>
                  <a:lnTo>
                    <a:pt x="3731506" y="1159127"/>
                  </a:lnTo>
                  <a:lnTo>
                    <a:pt x="3643177" y="1102912"/>
                  </a:lnTo>
                  <a:lnTo>
                    <a:pt x="3510217" y="1018326"/>
                  </a:lnTo>
                  <a:lnTo>
                    <a:pt x="3242816" y="1033646"/>
                  </a:lnTo>
                  <a:lnTo>
                    <a:pt x="3187508" y="1002254"/>
                  </a:lnTo>
                  <a:lnTo>
                    <a:pt x="3129918" y="969523"/>
                  </a:lnTo>
                  <a:lnTo>
                    <a:pt x="3107811" y="880578"/>
                  </a:lnTo>
                  <a:lnTo>
                    <a:pt x="3055572" y="840396"/>
                  </a:lnTo>
                  <a:lnTo>
                    <a:pt x="3030451" y="821053"/>
                  </a:lnTo>
                  <a:lnTo>
                    <a:pt x="2988668" y="811740"/>
                  </a:lnTo>
                  <a:lnTo>
                    <a:pt x="2965804" y="790062"/>
                  </a:lnTo>
                  <a:lnTo>
                    <a:pt x="2894180" y="722267"/>
                  </a:lnTo>
                  <a:lnTo>
                    <a:pt x="2985530" y="562150"/>
                  </a:lnTo>
                  <a:lnTo>
                    <a:pt x="2933161" y="520747"/>
                  </a:lnTo>
                  <a:lnTo>
                    <a:pt x="2890993" y="527718"/>
                  </a:lnTo>
                  <a:lnTo>
                    <a:pt x="2866294" y="609053"/>
                  </a:lnTo>
                  <a:lnTo>
                    <a:pt x="2794416" y="630921"/>
                  </a:lnTo>
                  <a:lnTo>
                    <a:pt x="2737328" y="648305"/>
                  </a:lnTo>
                  <a:lnTo>
                    <a:pt x="2681183" y="586010"/>
                  </a:lnTo>
                  <a:lnTo>
                    <a:pt x="2612151" y="588754"/>
                  </a:lnTo>
                  <a:lnTo>
                    <a:pt x="2570833" y="590389"/>
                  </a:lnTo>
                  <a:lnTo>
                    <a:pt x="2518935" y="622698"/>
                  </a:lnTo>
                  <a:lnTo>
                    <a:pt x="2478851" y="636362"/>
                  </a:lnTo>
                  <a:lnTo>
                    <a:pt x="2438345" y="650178"/>
                  </a:lnTo>
                  <a:lnTo>
                    <a:pt x="2399662" y="653872"/>
                  </a:lnTo>
                  <a:lnTo>
                    <a:pt x="2357791" y="660849"/>
                  </a:lnTo>
                  <a:lnTo>
                    <a:pt x="2290422" y="668710"/>
                  </a:lnTo>
                  <a:lnTo>
                    <a:pt x="2212039" y="636125"/>
                  </a:lnTo>
                  <a:lnTo>
                    <a:pt x="2183390" y="527289"/>
                  </a:lnTo>
                  <a:lnTo>
                    <a:pt x="2118395" y="492178"/>
                  </a:lnTo>
                  <a:lnTo>
                    <a:pt x="2008312" y="432653"/>
                  </a:lnTo>
                  <a:lnTo>
                    <a:pt x="1906079" y="596767"/>
                  </a:lnTo>
                  <a:lnTo>
                    <a:pt x="1791953" y="406484"/>
                  </a:lnTo>
                  <a:lnTo>
                    <a:pt x="1780090" y="374775"/>
                  </a:lnTo>
                  <a:lnTo>
                    <a:pt x="1767893" y="340073"/>
                  </a:lnTo>
                  <a:lnTo>
                    <a:pt x="1760662" y="307190"/>
                  </a:lnTo>
                  <a:lnTo>
                    <a:pt x="1741196" y="218331"/>
                  </a:lnTo>
                  <a:lnTo>
                    <a:pt x="1723219" y="0"/>
                  </a:lnTo>
                  <a:lnTo>
                    <a:pt x="1585200" y="21552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08" name="Mykolaiv¬0" descr="Mykolaiv¬0">
              <a:extLst>
                <a:ext uri="{FF2B5EF4-FFF2-40B4-BE49-F238E27FC236}">
                  <a16:creationId xmlns:a16="http://schemas.microsoft.com/office/drawing/2014/main" id="{49AD3A24-BFE5-4834-82DC-96463B39FCA7}"/>
                </a:ext>
              </a:extLst>
            </p:cNvPr>
            <p:cNvSpPr/>
            <p:nvPr/>
          </p:nvSpPr>
          <p:spPr>
            <a:xfrm>
              <a:off x="3644081" y="3066650"/>
              <a:ext cx="1006769" cy="736963"/>
            </a:xfrm>
            <a:custGeom>
              <a:avLst/>
              <a:gdLst/>
              <a:ahLst/>
              <a:cxnLst/>
              <a:rect l="0" t="0" r="0" b="0"/>
              <a:pathLst>
                <a:path w="10273523" h="8536773">
                  <a:moveTo>
                    <a:pt x="320942" y="502597"/>
                  </a:moveTo>
                  <a:lnTo>
                    <a:pt x="314142" y="525718"/>
                  </a:lnTo>
                  <a:lnTo>
                    <a:pt x="308701" y="554281"/>
                  </a:lnTo>
                  <a:lnTo>
                    <a:pt x="305405" y="575260"/>
                  </a:lnTo>
                  <a:lnTo>
                    <a:pt x="308766" y="601060"/>
                  </a:lnTo>
                  <a:lnTo>
                    <a:pt x="395753" y="633177"/>
                  </a:lnTo>
                  <a:lnTo>
                    <a:pt x="384873" y="701184"/>
                  </a:lnTo>
                  <a:lnTo>
                    <a:pt x="353591" y="718863"/>
                  </a:lnTo>
                  <a:lnTo>
                    <a:pt x="330470" y="702627"/>
                  </a:lnTo>
                  <a:lnTo>
                    <a:pt x="301520" y="691956"/>
                  </a:lnTo>
                  <a:lnTo>
                    <a:pt x="273338" y="699818"/>
                  </a:lnTo>
                  <a:lnTo>
                    <a:pt x="248686" y="735358"/>
                  </a:lnTo>
                  <a:lnTo>
                    <a:pt x="229812" y="754225"/>
                  </a:lnTo>
                  <a:lnTo>
                    <a:pt x="188733" y="736110"/>
                  </a:lnTo>
                  <a:lnTo>
                    <a:pt x="158338" y="746055"/>
                  </a:lnTo>
                  <a:lnTo>
                    <a:pt x="125078" y="762391"/>
                  </a:lnTo>
                  <a:lnTo>
                    <a:pt x="89551" y="777085"/>
                  </a:lnTo>
                  <a:lnTo>
                    <a:pt x="54505" y="793941"/>
                  </a:lnTo>
                  <a:lnTo>
                    <a:pt x="24420" y="815440"/>
                  </a:lnTo>
                  <a:lnTo>
                    <a:pt x="0" y="840229"/>
                  </a:lnTo>
                  <a:lnTo>
                    <a:pt x="2657" y="872566"/>
                  </a:lnTo>
                  <a:lnTo>
                    <a:pt x="50437" y="880980"/>
                  </a:lnTo>
                  <a:lnTo>
                    <a:pt x="74752" y="891611"/>
                  </a:lnTo>
                  <a:lnTo>
                    <a:pt x="71416" y="942873"/>
                  </a:lnTo>
                  <a:lnTo>
                    <a:pt x="64446" y="971733"/>
                  </a:lnTo>
                  <a:lnTo>
                    <a:pt x="66588" y="1003144"/>
                  </a:lnTo>
                  <a:lnTo>
                    <a:pt x="71369" y="1040596"/>
                  </a:lnTo>
                  <a:lnTo>
                    <a:pt x="69314" y="1061635"/>
                  </a:lnTo>
                  <a:lnTo>
                    <a:pt x="41238" y="1088323"/>
                  </a:lnTo>
                  <a:lnTo>
                    <a:pt x="34820" y="1109421"/>
                  </a:lnTo>
                  <a:lnTo>
                    <a:pt x="33945" y="1131006"/>
                  </a:lnTo>
                  <a:lnTo>
                    <a:pt x="32584" y="1162286"/>
                  </a:lnTo>
                  <a:lnTo>
                    <a:pt x="31933" y="1183283"/>
                  </a:lnTo>
                  <a:lnTo>
                    <a:pt x="34993" y="1213825"/>
                  </a:lnTo>
                  <a:lnTo>
                    <a:pt x="48372" y="1231288"/>
                  </a:lnTo>
                  <a:lnTo>
                    <a:pt x="70678" y="1238456"/>
                  </a:lnTo>
                  <a:lnTo>
                    <a:pt x="95343" y="1243561"/>
                  </a:lnTo>
                  <a:lnTo>
                    <a:pt x="119453" y="1246958"/>
                  </a:lnTo>
                  <a:lnTo>
                    <a:pt x="142767" y="1252062"/>
                  </a:lnTo>
                  <a:lnTo>
                    <a:pt x="164464" y="1260977"/>
                  </a:lnTo>
                  <a:lnTo>
                    <a:pt x="185362" y="1280089"/>
                  </a:lnTo>
                  <a:lnTo>
                    <a:pt x="203975" y="1303745"/>
                  </a:lnTo>
                  <a:lnTo>
                    <a:pt x="221543" y="1328919"/>
                  </a:lnTo>
                  <a:lnTo>
                    <a:pt x="238097" y="1354752"/>
                  </a:lnTo>
                  <a:lnTo>
                    <a:pt x="255665" y="1379917"/>
                  </a:lnTo>
                  <a:lnTo>
                    <a:pt x="275081" y="1403652"/>
                  </a:lnTo>
                  <a:lnTo>
                    <a:pt x="299684" y="1424947"/>
                  </a:lnTo>
                  <a:lnTo>
                    <a:pt x="315103" y="1439601"/>
                  </a:lnTo>
                  <a:lnTo>
                    <a:pt x="335279" y="1496469"/>
                  </a:lnTo>
                  <a:lnTo>
                    <a:pt x="336504" y="1586925"/>
                  </a:lnTo>
                  <a:lnTo>
                    <a:pt x="342717" y="1630194"/>
                  </a:lnTo>
                  <a:lnTo>
                    <a:pt x="348915" y="1673338"/>
                  </a:lnTo>
                  <a:lnTo>
                    <a:pt x="360080" y="1718097"/>
                  </a:lnTo>
                  <a:lnTo>
                    <a:pt x="367196" y="1760773"/>
                  </a:lnTo>
                  <a:lnTo>
                    <a:pt x="379865" y="1836865"/>
                  </a:lnTo>
                  <a:lnTo>
                    <a:pt x="383329" y="1913801"/>
                  </a:lnTo>
                  <a:lnTo>
                    <a:pt x="397120" y="1990651"/>
                  </a:lnTo>
                  <a:lnTo>
                    <a:pt x="403148" y="2024207"/>
                  </a:lnTo>
                  <a:lnTo>
                    <a:pt x="407082" y="2049306"/>
                  </a:lnTo>
                  <a:lnTo>
                    <a:pt x="414365" y="2089773"/>
                  </a:lnTo>
                  <a:lnTo>
                    <a:pt x="425689" y="2118507"/>
                  </a:lnTo>
                  <a:lnTo>
                    <a:pt x="443223" y="2143476"/>
                  </a:lnTo>
                  <a:lnTo>
                    <a:pt x="459690" y="2156593"/>
                  </a:lnTo>
                  <a:lnTo>
                    <a:pt x="476157" y="2169710"/>
                  </a:lnTo>
                  <a:lnTo>
                    <a:pt x="498760" y="2184845"/>
                  </a:lnTo>
                  <a:lnTo>
                    <a:pt x="530420" y="2204200"/>
                  </a:lnTo>
                  <a:lnTo>
                    <a:pt x="552183" y="2206918"/>
                  </a:lnTo>
                  <a:lnTo>
                    <a:pt x="589056" y="2221454"/>
                  </a:lnTo>
                  <a:lnTo>
                    <a:pt x="622006" y="2245341"/>
                  </a:lnTo>
                  <a:lnTo>
                    <a:pt x="662360" y="2250444"/>
                  </a:lnTo>
                  <a:lnTo>
                    <a:pt x="676287" y="2313684"/>
                  </a:lnTo>
                  <a:lnTo>
                    <a:pt x="679044" y="2354360"/>
                  </a:lnTo>
                  <a:lnTo>
                    <a:pt x="674607" y="2381024"/>
                  </a:lnTo>
                  <a:lnTo>
                    <a:pt x="670155" y="2407680"/>
                  </a:lnTo>
                  <a:lnTo>
                    <a:pt x="646038" y="2431349"/>
                  </a:lnTo>
                  <a:lnTo>
                    <a:pt x="620139" y="2447876"/>
                  </a:lnTo>
                  <a:lnTo>
                    <a:pt x="601210" y="2474671"/>
                  </a:lnTo>
                  <a:lnTo>
                    <a:pt x="599793" y="2530643"/>
                  </a:lnTo>
                  <a:lnTo>
                    <a:pt x="613268" y="2550243"/>
                  </a:lnTo>
                  <a:lnTo>
                    <a:pt x="630374" y="2569493"/>
                  </a:lnTo>
                  <a:lnTo>
                    <a:pt x="654202" y="2575527"/>
                  </a:lnTo>
                  <a:lnTo>
                    <a:pt x="681444" y="2590960"/>
                  </a:lnTo>
                  <a:lnTo>
                    <a:pt x="721147" y="2631933"/>
                  </a:lnTo>
                  <a:lnTo>
                    <a:pt x="739242" y="2663892"/>
                  </a:lnTo>
                  <a:lnTo>
                    <a:pt x="735806" y="2697949"/>
                  </a:lnTo>
                  <a:lnTo>
                    <a:pt x="725174" y="2727414"/>
                  </a:lnTo>
                  <a:lnTo>
                    <a:pt x="699936" y="2769595"/>
                  </a:lnTo>
                  <a:lnTo>
                    <a:pt x="679723" y="2797347"/>
                  </a:lnTo>
                  <a:lnTo>
                    <a:pt x="681397" y="2832610"/>
                  </a:lnTo>
                  <a:lnTo>
                    <a:pt x="689332" y="2872099"/>
                  </a:lnTo>
                  <a:lnTo>
                    <a:pt x="697722" y="2892458"/>
                  </a:lnTo>
                  <a:lnTo>
                    <a:pt x="706109" y="2912810"/>
                  </a:lnTo>
                  <a:lnTo>
                    <a:pt x="714822" y="2933413"/>
                  </a:lnTo>
                  <a:lnTo>
                    <a:pt x="732166" y="2974584"/>
                  </a:lnTo>
                  <a:lnTo>
                    <a:pt x="725243" y="3027198"/>
                  </a:lnTo>
                  <a:lnTo>
                    <a:pt x="739890" y="3047518"/>
                  </a:lnTo>
                  <a:lnTo>
                    <a:pt x="842249" y="3087542"/>
                  </a:lnTo>
                  <a:lnTo>
                    <a:pt x="869104" y="3101926"/>
                  </a:lnTo>
                  <a:lnTo>
                    <a:pt x="894829" y="3127553"/>
                  </a:lnTo>
                  <a:lnTo>
                    <a:pt x="919553" y="3160634"/>
                  </a:lnTo>
                  <a:lnTo>
                    <a:pt x="943915" y="3175380"/>
                  </a:lnTo>
                  <a:lnTo>
                    <a:pt x="1000665" y="3150346"/>
                  </a:lnTo>
                  <a:lnTo>
                    <a:pt x="1063296" y="3150814"/>
                  </a:lnTo>
                  <a:lnTo>
                    <a:pt x="1123460" y="3137294"/>
                  </a:lnTo>
                  <a:lnTo>
                    <a:pt x="1168347" y="3186261"/>
                  </a:lnTo>
                  <a:lnTo>
                    <a:pt x="1205074" y="3198501"/>
                  </a:lnTo>
                  <a:lnTo>
                    <a:pt x="1253000" y="3174865"/>
                  </a:lnTo>
                  <a:lnTo>
                    <a:pt x="1279885" y="3154975"/>
                  </a:lnTo>
                  <a:lnTo>
                    <a:pt x="1306773" y="3135091"/>
                  </a:lnTo>
                  <a:lnTo>
                    <a:pt x="1330192" y="3112556"/>
                  </a:lnTo>
                  <a:lnTo>
                    <a:pt x="1334294" y="3091044"/>
                  </a:lnTo>
                  <a:lnTo>
                    <a:pt x="1364664" y="3085517"/>
                  </a:lnTo>
                  <a:lnTo>
                    <a:pt x="1401772" y="3093425"/>
                  </a:lnTo>
                  <a:lnTo>
                    <a:pt x="1409173" y="3116163"/>
                  </a:lnTo>
                  <a:lnTo>
                    <a:pt x="1424065" y="3138652"/>
                  </a:lnTo>
                  <a:lnTo>
                    <a:pt x="1441270" y="3152667"/>
                  </a:lnTo>
                  <a:lnTo>
                    <a:pt x="1484089" y="3153161"/>
                  </a:lnTo>
                  <a:lnTo>
                    <a:pt x="1530164" y="3152257"/>
                  </a:lnTo>
                  <a:lnTo>
                    <a:pt x="1576236" y="3151355"/>
                  </a:lnTo>
                  <a:lnTo>
                    <a:pt x="1625333" y="3149316"/>
                  </a:lnTo>
                  <a:lnTo>
                    <a:pt x="1652578" y="3154975"/>
                  </a:lnTo>
                  <a:lnTo>
                    <a:pt x="1687947" y="3235221"/>
                  </a:lnTo>
                  <a:lnTo>
                    <a:pt x="1678896" y="3266850"/>
                  </a:lnTo>
                  <a:lnTo>
                    <a:pt x="1653778" y="3275517"/>
                  </a:lnTo>
                  <a:lnTo>
                    <a:pt x="1659152" y="3309375"/>
                  </a:lnTo>
                  <a:lnTo>
                    <a:pt x="1677070" y="3326357"/>
                  </a:lnTo>
                  <a:lnTo>
                    <a:pt x="1694988" y="3343339"/>
                  </a:lnTo>
                  <a:lnTo>
                    <a:pt x="1715750" y="3357339"/>
                  </a:lnTo>
                  <a:lnTo>
                    <a:pt x="1743652" y="3340767"/>
                  </a:lnTo>
                  <a:lnTo>
                    <a:pt x="1754172" y="3321298"/>
                  </a:lnTo>
                  <a:lnTo>
                    <a:pt x="1768627" y="3282448"/>
                  </a:lnTo>
                  <a:lnTo>
                    <a:pt x="1776363" y="3244745"/>
                  </a:lnTo>
                  <a:lnTo>
                    <a:pt x="1782629" y="3207457"/>
                  </a:lnTo>
                  <a:lnTo>
                    <a:pt x="1784080" y="3174569"/>
                  </a:lnTo>
                  <a:lnTo>
                    <a:pt x="1834642" y="3142557"/>
                  </a:lnTo>
                  <a:lnTo>
                    <a:pt x="1878630" y="3135930"/>
                  </a:lnTo>
                  <a:lnTo>
                    <a:pt x="1920540" y="3127770"/>
                  </a:lnTo>
                  <a:lnTo>
                    <a:pt x="1956014" y="3120839"/>
                  </a:lnTo>
                  <a:lnTo>
                    <a:pt x="1991528" y="3109193"/>
                  </a:lnTo>
                  <a:lnTo>
                    <a:pt x="2027997" y="3104643"/>
                  </a:lnTo>
                  <a:lnTo>
                    <a:pt x="2038862" y="3141244"/>
                  </a:lnTo>
                  <a:lnTo>
                    <a:pt x="2058454" y="3175248"/>
                  </a:lnTo>
                  <a:lnTo>
                    <a:pt x="2063366" y="3202577"/>
                  </a:lnTo>
                  <a:lnTo>
                    <a:pt x="2067672" y="3224340"/>
                  </a:lnTo>
                  <a:lnTo>
                    <a:pt x="2090886" y="3257961"/>
                  </a:lnTo>
                  <a:lnTo>
                    <a:pt x="2085150" y="3280516"/>
                  </a:lnTo>
                  <a:lnTo>
                    <a:pt x="2067145" y="3293990"/>
                  </a:lnTo>
                  <a:lnTo>
                    <a:pt x="2051121" y="3308676"/>
                  </a:lnTo>
                  <a:lnTo>
                    <a:pt x="2035094" y="3323363"/>
                  </a:lnTo>
                  <a:lnTo>
                    <a:pt x="2020791" y="3339427"/>
                  </a:lnTo>
                  <a:lnTo>
                    <a:pt x="2018475" y="3360359"/>
                  </a:lnTo>
                  <a:lnTo>
                    <a:pt x="2076642" y="3364996"/>
                  </a:lnTo>
                  <a:lnTo>
                    <a:pt x="2137956" y="3370517"/>
                  </a:lnTo>
                  <a:lnTo>
                    <a:pt x="2189857" y="3372613"/>
                  </a:lnTo>
                  <a:lnTo>
                    <a:pt x="2212259" y="3410831"/>
                  </a:lnTo>
                  <a:lnTo>
                    <a:pt x="2221142" y="3441979"/>
                  </a:lnTo>
                  <a:lnTo>
                    <a:pt x="2230028" y="3473126"/>
                  </a:lnTo>
                  <a:lnTo>
                    <a:pt x="2237913" y="3505316"/>
                  </a:lnTo>
                  <a:lnTo>
                    <a:pt x="2324519" y="3548078"/>
                  </a:lnTo>
                  <a:lnTo>
                    <a:pt x="2338843" y="3588840"/>
                  </a:lnTo>
                  <a:lnTo>
                    <a:pt x="2332236" y="3754484"/>
                  </a:lnTo>
                  <a:lnTo>
                    <a:pt x="2324519" y="3788831"/>
                  </a:lnTo>
                  <a:lnTo>
                    <a:pt x="2301398" y="3801070"/>
                  </a:lnTo>
                  <a:lnTo>
                    <a:pt x="2278267" y="3813312"/>
                  </a:lnTo>
                  <a:lnTo>
                    <a:pt x="2276909" y="3840522"/>
                  </a:lnTo>
                  <a:lnTo>
                    <a:pt x="2283715" y="3867719"/>
                  </a:lnTo>
                  <a:lnTo>
                    <a:pt x="2280518" y="3906115"/>
                  </a:lnTo>
                  <a:lnTo>
                    <a:pt x="2273303" y="3946305"/>
                  </a:lnTo>
                  <a:lnTo>
                    <a:pt x="2268990" y="3967144"/>
                  </a:lnTo>
                  <a:lnTo>
                    <a:pt x="2263800" y="4000317"/>
                  </a:lnTo>
                  <a:lnTo>
                    <a:pt x="2246443" y="4053644"/>
                  </a:lnTo>
                  <a:lnTo>
                    <a:pt x="2227942" y="4105756"/>
                  </a:lnTo>
                  <a:lnTo>
                    <a:pt x="2209450" y="4157867"/>
                  </a:lnTo>
                  <a:lnTo>
                    <a:pt x="2188809" y="4208004"/>
                  </a:lnTo>
                  <a:lnTo>
                    <a:pt x="2286434" y="4594070"/>
                  </a:lnTo>
                  <a:lnTo>
                    <a:pt x="2392533" y="4970841"/>
                  </a:lnTo>
                  <a:lnTo>
                    <a:pt x="2459199" y="4983767"/>
                  </a:lnTo>
                  <a:lnTo>
                    <a:pt x="2529356" y="4988524"/>
                  </a:lnTo>
                  <a:lnTo>
                    <a:pt x="2595200" y="5002129"/>
                  </a:lnTo>
                  <a:lnTo>
                    <a:pt x="2637455" y="5019300"/>
                  </a:lnTo>
                  <a:lnTo>
                    <a:pt x="2702657" y="5025759"/>
                  </a:lnTo>
                  <a:lnTo>
                    <a:pt x="2753835" y="5022060"/>
                  </a:lnTo>
                  <a:lnTo>
                    <a:pt x="2800592" y="5022528"/>
                  </a:lnTo>
                  <a:lnTo>
                    <a:pt x="2834041" y="5027585"/>
                  </a:lnTo>
                  <a:lnTo>
                    <a:pt x="2862346" y="5116215"/>
                  </a:lnTo>
                  <a:lnTo>
                    <a:pt x="2871322" y="5138149"/>
                  </a:lnTo>
                  <a:lnTo>
                    <a:pt x="2927629" y="5118264"/>
                  </a:lnTo>
                  <a:lnTo>
                    <a:pt x="2963050" y="5100833"/>
                  </a:lnTo>
                  <a:lnTo>
                    <a:pt x="2999178" y="5085098"/>
                  </a:lnTo>
                  <a:lnTo>
                    <a:pt x="3035303" y="5069371"/>
                  </a:lnTo>
                  <a:lnTo>
                    <a:pt x="3071729" y="5055862"/>
                  </a:lnTo>
                  <a:lnTo>
                    <a:pt x="3113435" y="5048377"/>
                  </a:lnTo>
                  <a:lnTo>
                    <a:pt x="3299827" y="5010925"/>
                  </a:lnTo>
                  <a:lnTo>
                    <a:pt x="3324265" y="5008929"/>
                  </a:lnTo>
                  <a:lnTo>
                    <a:pt x="3349625" y="5040933"/>
                  </a:lnTo>
                  <a:lnTo>
                    <a:pt x="3386305" y="5141888"/>
                  </a:lnTo>
                  <a:lnTo>
                    <a:pt x="3399079" y="5183033"/>
                  </a:lnTo>
                  <a:lnTo>
                    <a:pt x="3377930" y="5216277"/>
                  </a:lnTo>
                  <a:lnTo>
                    <a:pt x="3362973" y="5233457"/>
                  </a:lnTo>
                  <a:lnTo>
                    <a:pt x="3348748" y="5251047"/>
                  </a:lnTo>
                  <a:lnTo>
                    <a:pt x="3334522" y="5268634"/>
                  </a:lnTo>
                  <a:lnTo>
                    <a:pt x="3320647" y="5286791"/>
                  </a:lnTo>
                  <a:lnTo>
                    <a:pt x="3302496" y="5300015"/>
                  </a:lnTo>
                  <a:lnTo>
                    <a:pt x="3263212" y="5313031"/>
                  </a:lnTo>
                  <a:lnTo>
                    <a:pt x="3239929" y="5319052"/>
                  </a:lnTo>
                  <a:lnTo>
                    <a:pt x="3216650" y="5325080"/>
                  </a:lnTo>
                  <a:lnTo>
                    <a:pt x="3195765" y="5333002"/>
                  </a:lnTo>
                  <a:lnTo>
                    <a:pt x="3193852" y="5378481"/>
                  </a:lnTo>
                  <a:lnTo>
                    <a:pt x="3182435" y="5417976"/>
                  </a:lnTo>
                  <a:lnTo>
                    <a:pt x="3181440" y="5452356"/>
                  </a:lnTo>
                  <a:lnTo>
                    <a:pt x="3183102" y="5485727"/>
                  </a:lnTo>
                  <a:lnTo>
                    <a:pt x="3198825" y="5511478"/>
                  </a:lnTo>
                  <a:lnTo>
                    <a:pt x="3234491" y="5525802"/>
                  </a:lnTo>
                  <a:lnTo>
                    <a:pt x="3275140" y="5534614"/>
                  </a:lnTo>
                  <a:lnTo>
                    <a:pt x="3303802" y="5539467"/>
                  </a:lnTo>
                  <a:lnTo>
                    <a:pt x="3328343" y="5550291"/>
                  </a:lnTo>
                  <a:lnTo>
                    <a:pt x="3352887" y="5561112"/>
                  </a:lnTo>
                  <a:lnTo>
                    <a:pt x="3373782" y="5577554"/>
                  </a:lnTo>
                  <a:lnTo>
                    <a:pt x="3400431" y="5610138"/>
                  </a:lnTo>
                  <a:lnTo>
                    <a:pt x="3443812" y="5610430"/>
                  </a:lnTo>
                  <a:lnTo>
                    <a:pt x="3466551" y="5595749"/>
                  </a:lnTo>
                  <a:lnTo>
                    <a:pt x="3490209" y="5582928"/>
                  </a:lnTo>
                  <a:lnTo>
                    <a:pt x="3513863" y="5570107"/>
                  </a:lnTo>
                  <a:lnTo>
                    <a:pt x="3537803" y="5559865"/>
                  </a:lnTo>
                  <a:lnTo>
                    <a:pt x="3566378" y="5563890"/>
                  </a:lnTo>
                  <a:lnTo>
                    <a:pt x="3592798" y="5587346"/>
                  </a:lnTo>
                  <a:lnTo>
                    <a:pt x="3587824" y="5618460"/>
                  </a:lnTo>
                  <a:lnTo>
                    <a:pt x="3586804" y="5641417"/>
                  </a:lnTo>
                  <a:lnTo>
                    <a:pt x="3602927" y="5674875"/>
                  </a:lnTo>
                  <a:lnTo>
                    <a:pt x="3627335" y="5695023"/>
                  </a:lnTo>
                  <a:lnTo>
                    <a:pt x="3645440" y="5707683"/>
                  </a:lnTo>
                  <a:lnTo>
                    <a:pt x="3661591" y="5723031"/>
                  </a:lnTo>
                  <a:lnTo>
                    <a:pt x="3677748" y="5738375"/>
                  </a:lnTo>
                  <a:lnTo>
                    <a:pt x="3691390" y="5756433"/>
                  </a:lnTo>
                  <a:lnTo>
                    <a:pt x="3702397" y="5778798"/>
                  </a:lnTo>
                  <a:lnTo>
                    <a:pt x="3709166" y="5812957"/>
                  </a:lnTo>
                  <a:lnTo>
                    <a:pt x="3714673" y="5853457"/>
                  </a:lnTo>
                  <a:lnTo>
                    <a:pt x="3732318" y="5879455"/>
                  </a:lnTo>
                  <a:lnTo>
                    <a:pt x="3760943" y="5888081"/>
                  </a:lnTo>
                  <a:lnTo>
                    <a:pt x="3788178" y="5882153"/>
                  </a:lnTo>
                  <a:lnTo>
                    <a:pt x="3811206" y="5883529"/>
                  </a:lnTo>
                  <a:lnTo>
                    <a:pt x="3833828" y="5885880"/>
                  </a:lnTo>
                  <a:lnTo>
                    <a:pt x="3851160" y="5900223"/>
                  </a:lnTo>
                  <a:lnTo>
                    <a:pt x="3862899" y="5931139"/>
                  </a:lnTo>
                  <a:lnTo>
                    <a:pt x="3872337" y="5971428"/>
                  </a:lnTo>
                  <a:lnTo>
                    <a:pt x="3858685" y="6002462"/>
                  </a:lnTo>
                  <a:lnTo>
                    <a:pt x="3823640" y="6021847"/>
                  </a:lnTo>
                  <a:lnTo>
                    <a:pt x="3804686" y="6044161"/>
                  </a:lnTo>
                  <a:lnTo>
                    <a:pt x="3811011" y="6071493"/>
                  </a:lnTo>
                  <a:lnTo>
                    <a:pt x="3818520" y="6116442"/>
                  </a:lnTo>
                  <a:lnTo>
                    <a:pt x="3826725" y="6143172"/>
                  </a:lnTo>
                  <a:lnTo>
                    <a:pt x="3826173" y="6166452"/>
                  </a:lnTo>
                  <a:lnTo>
                    <a:pt x="3824061" y="6189244"/>
                  </a:lnTo>
                  <a:lnTo>
                    <a:pt x="3811966" y="6208948"/>
                  </a:lnTo>
                  <a:lnTo>
                    <a:pt x="3786727" y="6224935"/>
                  </a:lnTo>
                  <a:lnTo>
                    <a:pt x="3763606" y="6234460"/>
                  </a:lnTo>
                  <a:lnTo>
                    <a:pt x="3741837" y="6246698"/>
                  </a:lnTo>
                  <a:lnTo>
                    <a:pt x="3739930" y="6279198"/>
                  </a:lnTo>
                  <a:lnTo>
                    <a:pt x="3736494" y="6317673"/>
                  </a:lnTo>
                  <a:lnTo>
                    <a:pt x="3728238" y="6354155"/>
                  </a:lnTo>
                  <a:lnTo>
                    <a:pt x="3719987" y="6390646"/>
                  </a:lnTo>
                  <a:lnTo>
                    <a:pt x="3706251" y="6424761"/>
                  </a:lnTo>
                  <a:lnTo>
                    <a:pt x="3684712" y="6450732"/>
                  </a:lnTo>
                  <a:lnTo>
                    <a:pt x="3598615" y="6484736"/>
                  </a:lnTo>
                  <a:lnTo>
                    <a:pt x="3577655" y="6519509"/>
                  </a:lnTo>
                  <a:lnTo>
                    <a:pt x="3582780" y="6545691"/>
                  </a:lnTo>
                  <a:lnTo>
                    <a:pt x="3570455" y="6570430"/>
                  </a:lnTo>
                  <a:lnTo>
                    <a:pt x="3434032" y="6582293"/>
                  </a:lnTo>
                  <a:lnTo>
                    <a:pt x="3401644" y="6579859"/>
                  </a:lnTo>
                  <a:lnTo>
                    <a:pt x="3376082" y="6580216"/>
                  </a:lnTo>
                  <a:lnTo>
                    <a:pt x="3353470" y="6580414"/>
                  </a:lnTo>
                  <a:lnTo>
                    <a:pt x="3331059" y="6584029"/>
                  </a:lnTo>
                  <a:lnTo>
                    <a:pt x="3308651" y="6587641"/>
                  </a:lnTo>
                  <a:lnTo>
                    <a:pt x="3286082" y="6594295"/>
                  </a:lnTo>
                  <a:lnTo>
                    <a:pt x="3268492" y="6605792"/>
                  </a:lnTo>
                  <a:lnTo>
                    <a:pt x="3234485" y="6574517"/>
                  </a:lnTo>
                  <a:lnTo>
                    <a:pt x="3173258" y="6562105"/>
                  </a:lnTo>
                  <a:lnTo>
                    <a:pt x="3137731" y="6637936"/>
                  </a:lnTo>
                  <a:lnTo>
                    <a:pt x="3128299" y="6660074"/>
                  </a:lnTo>
                  <a:lnTo>
                    <a:pt x="3090404" y="6676672"/>
                  </a:lnTo>
                  <a:lnTo>
                    <a:pt x="3063069" y="6670244"/>
                  </a:lnTo>
                  <a:lnTo>
                    <a:pt x="3007336" y="6677893"/>
                  </a:lnTo>
                  <a:lnTo>
                    <a:pt x="2896198" y="6693920"/>
                  </a:lnTo>
                  <a:lnTo>
                    <a:pt x="2875397" y="6705098"/>
                  </a:lnTo>
                  <a:lnTo>
                    <a:pt x="2881260" y="6737570"/>
                  </a:lnTo>
                  <a:lnTo>
                    <a:pt x="2892499" y="6788218"/>
                  </a:lnTo>
                  <a:lnTo>
                    <a:pt x="2899938" y="6830427"/>
                  </a:lnTo>
                  <a:lnTo>
                    <a:pt x="2912117" y="6871038"/>
                  </a:lnTo>
                  <a:lnTo>
                    <a:pt x="2924299" y="6911656"/>
                  </a:lnTo>
                  <a:lnTo>
                    <a:pt x="2941135" y="6950624"/>
                  </a:lnTo>
                  <a:lnTo>
                    <a:pt x="2967890" y="6974415"/>
                  </a:lnTo>
                  <a:lnTo>
                    <a:pt x="2986996" y="6991409"/>
                  </a:lnTo>
                  <a:lnTo>
                    <a:pt x="3018045" y="7006590"/>
                  </a:lnTo>
                  <a:lnTo>
                    <a:pt x="3039979" y="7020663"/>
                  </a:lnTo>
                  <a:lnTo>
                    <a:pt x="3071391" y="7040476"/>
                  </a:lnTo>
                  <a:lnTo>
                    <a:pt x="3091263" y="7058103"/>
                  </a:lnTo>
                  <a:lnTo>
                    <a:pt x="3143387" y="7094026"/>
                  </a:lnTo>
                  <a:lnTo>
                    <a:pt x="3161537" y="7122344"/>
                  </a:lnTo>
                  <a:lnTo>
                    <a:pt x="3174640" y="7152602"/>
                  </a:lnTo>
                  <a:lnTo>
                    <a:pt x="3187737" y="7182852"/>
                  </a:lnTo>
                  <a:lnTo>
                    <a:pt x="3196478" y="7215891"/>
                  </a:lnTo>
                  <a:lnTo>
                    <a:pt x="3214080" y="7250534"/>
                  </a:lnTo>
                  <a:lnTo>
                    <a:pt x="3225654" y="7273302"/>
                  </a:lnTo>
                  <a:lnTo>
                    <a:pt x="3257876" y="7289524"/>
                  </a:lnTo>
                  <a:lnTo>
                    <a:pt x="3290255" y="7309027"/>
                  </a:lnTo>
                  <a:lnTo>
                    <a:pt x="3322703" y="7329206"/>
                  </a:lnTo>
                  <a:lnTo>
                    <a:pt x="3350298" y="7354128"/>
                  </a:lnTo>
                  <a:lnTo>
                    <a:pt x="3367785" y="7385196"/>
                  </a:lnTo>
                  <a:lnTo>
                    <a:pt x="3378324" y="7424899"/>
                  </a:lnTo>
                  <a:lnTo>
                    <a:pt x="3375952" y="7455843"/>
                  </a:lnTo>
                  <a:lnTo>
                    <a:pt x="3375952" y="7509359"/>
                  </a:lnTo>
                  <a:lnTo>
                    <a:pt x="3386686" y="7564230"/>
                  </a:lnTo>
                  <a:lnTo>
                    <a:pt x="3394996" y="7610987"/>
                  </a:lnTo>
                  <a:lnTo>
                    <a:pt x="3394996" y="7638191"/>
                  </a:lnTo>
                  <a:lnTo>
                    <a:pt x="3387347" y="7675479"/>
                  </a:lnTo>
                  <a:lnTo>
                    <a:pt x="3378160" y="7712441"/>
                  </a:lnTo>
                  <a:lnTo>
                    <a:pt x="3371869" y="7751090"/>
                  </a:lnTo>
                  <a:lnTo>
                    <a:pt x="3369230" y="7788111"/>
                  </a:lnTo>
                  <a:lnTo>
                    <a:pt x="3379276" y="7817545"/>
                  </a:lnTo>
                  <a:lnTo>
                    <a:pt x="3389548" y="7844941"/>
                  </a:lnTo>
                  <a:lnTo>
                    <a:pt x="3399830" y="7872335"/>
                  </a:lnTo>
                  <a:lnTo>
                    <a:pt x="3411259" y="7897865"/>
                  </a:lnTo>
                  <a:lnTo>
                    <a:pt x="3412679" y="7927910"/>
                  </a:lnTo>
                  <a:lnTo>
                    <a:pt x="3400788" y="7969585"/>
                  </a:lnTo>
                  <a:lnTo>
                    <a:pt x="3389548" y="7990483"/>
                  </a:lnTo>
                  <a:lnTo>
                    <a:pt x="3378324" y="8011384"/>
                  </a:lnTo>
                  <a:lnTo>
                    <a:pt x="3368774" y="8031522"/>
                  </a:lnTo>
                  <a:lnTo>
                    <a:pt x="3397715" y="8171390"/>
                  </a:lnTo>
                  <a:lnTo>
                    <a:pt x="3402515" y="8194424"/>
                  </a:lnTo>
                  <a:lnTo>
                    <a:pt x="3404264" y="8222611"/>
                  </a:lnTo>
                  <a:lnTo>
                    <a:pt x="3409953" y="8244843"/>
                  </a:lnTo>
                  <a:lnTo>
                    <a:pt x="3415447" y="8266302"/>
                  </a:lnTo>
                  <a:lnTo>
                    <a:pt x="3424938" y="8294461"/>
                  </a:lnTo>
                  <a:lnTo>
                    <a:pt x="3431722" y="8323731"/>
                  </a:lnTo>
                  <a:lnTo>
                    <a:pt x="3438773" y="8378943"/>
                  </a:lnTo>
                  <a:lnTo>
                    <a:pt x="3441241" y="8409425"/>
                  </a:lnTo>
                  <a:lnTo>
                    <a:pt x="3494968" y="8408612"/>
                  </a:lnTo>
                  <a:lnTo>
                    <a:pt x="3581047" y="8464175"/>
                  </a:lnTo>
                  <a:lnTo>
                    <a:pt x="3633028" y="8480155"/>
                  </a:lnTo>
                  <a:lnTo>
                    <a:pt x="3691325" y="8498092"/>
                  </a:lnTo>
                  <a:lnTo>
                    <a:pt x="3745713" y="8494861"/>
                  </a:lnTo>
                  <a:lnTo>
                    <a:pt x="3804416" y="8503276"/>
                  </a:lnTo>
                  <a:lnTo>
                    <a:pt x="3848450" y="8509521"/>
                  </a:lnTo>
                  <a:lnTo>
                    <a:pt x="3890082" y="8528357"/>
                  </a:lnTo>
                  <a:lnTo>
                    <a:pt x="3933630" y="8534564"/>
                  </a:lnTo>
                  <a:lnTo>
                    <a:pt x="3960152" y="8536772"/>
                  </a:lnTo>
                  <a:lnTo>
                    <a:pt x="3985530" y="8532441"/>
                  </a:lnTo>
                  <a:lnTo>
                    <a:pt x="4007083" y="8522323"/>
                  </a:lnTo>
                  <a:lnTo>
                    <a:pt x="4048717" y="8504173"/>
                  </a:lnTo>
                  <a:lnTo>
                    <a:pt x="4089527" y="8467617"/>
                  </a:lnTo>
                  <a:lnTo>
                    <a:pt x="4121339" y="8455667"/>
                  </a:lnTo>
                  <a:lnTo>
                    <a:pt x="4160679" y="8440921"/>
                  </a:lnTo>
                  <a:lnTo>
                    <a:pt x="4200293" y="8437947"/>
                  </a:lnTo>
                  <a:lnTo>
                    <a:pt x="4238312" y="8417589"/>
                  </a:lnTo>
                  <a:lnTo>
                    <a:pt x="4303418" y="8382688"/>
                  </a:lnTo>
                  <a:lnTo>
                    <a:pt x="4265516" y="8342393"/>
                  </a:lnTo>
                  <a:lnTo>
                    <a:pt x="4295446" y="8295168"/>
                  </a:lnTo>
                  <a:lnTo>
                    <a:pt x="4317802" y="8259846"/>
                  </a:lnTo>
                  <a:lnTo>
                    <a:pt x="4387766" y="8234725"/>
                  </a:lnTo>
                  <a:lnTo>
                    <a:pt x="4423299" y="8189075"/>
                  </a:lnTo>
                  <a:lnTo>
                    <a:pt x="4449211" y="8155791"/>
                  </a:lnTo>
                  <a:lnTo>
                    <a:pt x="4460686" y="8100151"/>
                  </a:lnTo>
                  <a:lnTo>
                    <a:pt x="4479072" y="8061214"/>
                  </a:lnTo>
                  <a:lnTo>
                    <a:pt x="4494929" y="8027631"/>
                  </a:lnTo>
                  <a:lnTo>
                    <a:pt x="4518729" y="8001155"/>
                  </a:lnTo>
                  <a:lnTo>
                    <a:pt x="4536198" y="7968720"/>
                  </a:lnTo>
                  <a:lnTo>
                    <a:pt x="4554646" y="7919793"/>
                  </a:lnTo>
                  <a:lnTo>
                    <a:pt x="4556069" y="7893267"/>
                  </a:lnTo>
                  <a:lnTo>
                    <a:pt x="4546191" y="7871551"/>
                  </a:lnTo>
                  <a:lnTo>
                    <a:pt x="4491611" y="7854082"/>
                  </a:lnTo>
                  <a:lnTo>
                    <a:pt x="4464407" y="7837547"/>
                  </a:lnTo>
                  <a:lnTo>
                    <a:pt x="4430108" y="7813660"/>
                  </a:lnTo>
                  <a:lnTo>
                    <a:pt x="4327919" y="7742501"/>
                  </a:lnTo>
                  <a:lnTo>
                    <a:pt x="4376121" y="7679851"/>
                  </a:lnTo>
                  <a:lnTo>
                    <a:pt x="4352572" y="7578341"/>
                  </a:lnTo>
                  <a:lnTo>
                    <a:pt x="4347341" y="7555728"/>
                  </a:lnTo>
                  <a:lnTo>
                    <a:pt x="4330805" y="7538303"/>
                  </a:lnTo>
                  <a:lnTo>
                    <a:pt x="4326731" y="7515777"/>
                  </a:lnTo>
                  <a:lnTo>
                    <a:pt x="4356652" y="7504888"/>
                  </a:lnTo>
                  <a:lnTo>
                    <a:pt x="4439859" y="7553260"/>
                  </a:lnTo>
                  <a:lnTo>
                    <a:pt x="4394736" y="7667517"/>
                  </a:lnTo>
                  <a:lnTo>
                    <a:pt x="4442346" y="7713002"/>
                  </a:lnTo>
                  <a:lnTo>
                    <a:pt x="4487335" y="7728638"/>
                  </a:lnTo>
                  <a:lnTo>
                    <a:pt x="4507635" y="7745642"/>
                  </a:lnTo>
                  <a:lnTo>
                    <a:pt x="4565334" y="7802132"/>
                  </a:lnTo>
                  <a:lnTo>
                    <a:pt x="4646017" y="7847534"/>
                  </a:lnTo>
                  <a:lnTo>
                    <a:pt x="4644678" y="7703012"/>
                  </a:lnTo>
                  <a:lnTo>
                    <a:pt x="4632775" y="7662670"/>
                  </a:lnTo>
                  <a:lnTo>
                    <a:pt x="4638216" y="7642272"/>
                  </a:lnTo>
                  <a:lnTo>
                    <a:pt x="4663889" y="7628114"/>
                  </a:lnTo>
                  <a:lnTo>
                    <a:pt x="4696045" y="7626372"/>
                  </a:lnTo>
                  <a:lnTo>
                    <a:pt x="4719827" y="7612345"/>
                  </a:lnTo>
                  <a:lnTo>
                    <a:pt x="4780545" y="7576555"/>
                  </a:lnTo>
                  <a:lnTo>
                    <a:pt x="4836189" y="7533581"/>
                  </a:lnTo>
                  <a:lnTo>
                    <a:pt x="4861288" y="7464084"/>
                  </a:lnTo>
                  <a:lnTo>
                    <a:pt x="4873020" y="7431565"/>
                  </a:lnTo>
                  <a:lnTo>
                    <a:pt x="4871405" y="7387273"/>
                  </a:lnTo>
                  <a:lnTo>
                    <a:pt x="4888492" y="7357985"/>
                  </a:lnTo>
                  <a:lnTo>
                    <a:pt x="4926471" y="7367212"/>
                  </a:lnTo>
                  <a:lnTo>
                    <a:pt x="4938989" y="7408701"/>
                  </a:lnTo>
                  <a:lnTo>
                    <a:pt x="4933376" y="7442321"/>
                  </a:lnTo>
                  <a:lnTo>
                    <a:pt x="4920028" y="7522319"/>
                  </a:lnTo>
                  <a:lnTo>
                    <a:pt x="4821526" y="7603204"/>
                  </a:lnTo>
                  <a:lnTo>
                    <a:pt x="4774236" y="7664035"/>
                  </a:lnTo>
                  <a:lnTo>
                    <a:pt x="4700253" y="7759207"/>
                  </a:lnTo>
                  <a:lnTo>
                    <a:pt x="4748138" y="7812423"/>
                  </a:lnTo>
                  <a:lnTo>
                    <a:pt x="4718469" y="7897983"/>
                  </a:lnTo>
                  <a:lnTo>
                    <a:pt x="4692365" y="7973265"/>
                  </a:lnTo>
                  <a:lnTo>
                    <a:pt x="4615430" y="8006253"/>
                  </a:lnTo>
                  <a:lnTo>
                    <a:pt x="4600129" y="8050334"/>
                  </a:lnTo>
                  <a:lnTo>
                    <a:pt x="4588501" y="8083907"/>
                  </a:lnTo>
                  <a:lnTo>
                    <a:pt x="4601192" y="8128540"/>
                  </a:lnTo>
                  <a:lnTo>
                    <a:pt x="4587884" y="8160507"/>
                  </a:lnTo>
                  <a:lnTo>
                    <a:pt x="4578663" y="8182651"/>
                  </a:lnTo>
                  <a:lnTo>
                    <a:pt x="4555198" y="8197782"/>
                  </a:lnTo>
                  <a:lnTo>
                    <a:pt x="4545723" y="8218996"/>
                  </a:lnTo>
                  <a:lnTo>
                    <a:pt x="4478347" y="8247646"/>
                  </a:lnTo>
                  <a:lnTo>
                    <a:pt x="4444219" y="8284881"/>
                  </a:lnTo>
                  <a:lnTo>
                    <a:pt x="4419054" y="8370699"/>
                  </a:lnTo>
                  <a:lnTo>
                    <a:pt x="4466834" y="8391742"/>
                  </a:lnTo>
                  <a:lnTo>
                    <a:pt x="4523219" y="8416646"/>
                  </a:lnTo>
                  <a:lnTo>
                    <a:pt x="4588318" y="8388465"/>
                  </a:lnTo>
                  <a:lnTo>
                    <a:pt x="4670865" y="8437987"/>
                  </a:lnTo>
                  <a:lnTo>
                    <a:pt x="4695500" y="8450266"/>
                  </a:lnTo>
                  <a:lnTo>
                    <a:pt x="4712224" y="8485761"/>
                  </a:lnTo>
                  <a:lnTo>
                    <a:pt x="4798002" y="8526484"/>
                  </a:lnTo>
                  <a:lnTo>
                    <a:pt x="4823210" y="8495113"/>
                  </a:lnTo>
                  <a:lnTo>
                    <a:pt x="4840145" y="8448229"/>
                  </a:lnTo>
                  <a:lnTo>
                    <a:pt x="4850051" y="8366959"/>
                  </a:lnTo>
                  <a:lnTo>
                    <a:pt x="4876257" y="8333253"/>
                  </a:lnTo>
                  <a:lnTo>
                    <a:pt x="4905710" y="8295419"/>
                  </a:lnTo>
                  <a:lnTo>
                    <a:pt x="4980881" y="8263669"/>
                  </a:lnTo>
                  <a:lnTo>
                    <a:pt x="5028602" y="8259800"/>
                  </a:lnTo>
                  <a:lnTo>
                    <a:pt x="5074797" y="8256061"/>
                  </a:lnTo>
                  <a:lnTo>
                    <a:pt x="5233076" y="8316376"/>
                  </a:lnTo>
                  <a:lnTo>
                    <a:pt x="5276152" y="8341410"/>
                  </a:lnTo>
                  <a:lnTo>
                    <a:pt x="5306885" y="8359264"/>
                  </a:lnTo>
                  <a:lnTo>
                    <a:pt x="5337169" y="8384853"/>
                  </a:lnTo>
                  <a:lnTo>
                    <a:pt x="5370004" y="8398542"/>
                  </a:lnTo>
                  <a:lnTo>
                    <a:pt x="5421161" y="8419837"/>
                  </a:lnTo>
                  <a:lnTo>
                    <a:pt x="5448796" y="8397884"/>
                  </a:lnTo>
                  <a:lnTo>
                    <a:pt x="5491070" y="8406703"/>
                  </a:lnTo>
                  <a:lnTo>
                    <a:pt x="5534490" y="8415756"/>
                  </a:lnTo>
                  <a:lnTo>
                    <a:pt x="5570426" y="8455543"/>
                  </a:lnTo>
                  <a:lnTo>
                    <a:pt x="5617564" y="8461109"/>
                  </a:lnTo>
                  <a:lnTo>
                    <a:pt x="5772032" y="8405084"/>
                  </a:lnTo>
                  <a:lnTo>
                    <a:pt x="5794387" y="8393103"/>
                  </a:lnTo>
                  <a:lnTo>
                    <a:pt x="5813605" y="8382853"/>
                  </a:lnTo>
                  <a:lnTo>
                    <a:pt x="5831709" y="8367086"/>
                  </a:lnTo>
                  <a:lnTo>
                    <a:pt x="5851513" y="8359093"/>
                  </a:lnTo>
                  <a:lnTo>
                    <a:pt x="5909627" y="8335885"/>
                  </a:lnTo>
                  <a:lnTo>
                    <a:pt x="5976228" y="8296650"/>
                  </a:lnTo>
                  <a:lnTo>
                    <a:pt x="5980739" y="8225796"/>
                  </a:lnTo>
                  <a:lnTo>
                    <a:pt x="5859168" y="7993286"/>
                  </a:lnTo>
                  <a:lnTo>
                    <a:pt x="5983793" y="7949930"/>
                  </a:lnTo>
                  <a:lnTo>
                    <a:pt x="5963053" y="7847664"/>
                  </a:lnTo>
                  <a:lnTo>
                    <a:pt x="5952083" y="7793593"/>
                  </a:lnTo>
                  <a:lnTo>
                    <a:pt x="5924203" y="7735361"/>
                  </a:lnTo>
                  <a:lnTo>
                    <a:pt x="5881440" y="7699397"/>
                  </a:lnTo>
                  <a:lnTo>
                    <a:pt x="5862526" y="7687243"/>
                  </a:lnTo>
                  <a:lnTo>
                    <a:pt x="5786143" y="7598699"/>
                  </a:lnTo>
                  <a:lnTo>
                    <a:pt x="5796090" y="7469228"/>
                  </a:lnTo>
                  <a:lnTo>
                    <a:pt x="5843355" y="7382474"/>
                  </a:lnTo>
                  <a:lnTo>
                    <a:pt x="5905419" y="7268769"/>
                  </a:lnTo>
                  <a:lnTo>
                    <a:pt x="6024687" y="7274586"/>
                  </a:lnTo>
                  <a:lnTo>
                    <a:pt x="6074591" y="7219249"/>
                  </a:lnTo>
                  <a:lnTo>
                    <a:pt x="6110086" y="7179884"/>
                  </a:lnTo>
                  <a:lnTo>
                    <a:pt x="6204998" y="6893607"/>
                  </a:lnTo>
                  <a:lnTo>
                    <a:pt x="6198366" y="6843834"/>
                  </a:lnTo>
                  <a:lnTo>
                    <a:pt x="6176897" y="6811870"/>
                  </a:lnTo>
                  <a:lnTo>
                    <a:pt x="6114715" y="6814803"/>
                  </a:lnTo>
                  <a:lnTo>
                    <a:pt x="6083685" y="6852506"/>
                  </a:lnTo>
                  <a:lnTo>
                    <a:pt x="6039222" y="6864239"/>
                  </a:lnTo>
                  <a:lnTo>
                    <a:pt x="6012489" y="6871336"/>
                  </a:lnTo>
                  <a:lnTo>
                    <a:pt x="5973893" y="6858713"/>
                  </a:lnTo>
                  <a:lnTo>
                    <a:pt x="5954896" y="6839753"/>
                  </a:lnTo>
                  <a:lnTo>
                    <a:pt x="5865205" y="6749976"/>
                  </a:lnTo>
                  <a:lnTo>
                    <a:pt x="6001051" y="6593300"/>
                  </a:lnTo>
                  <a:lnTo>
                    <a:pt x="6056905" y="6521463"/>
                  </a:lnTo>
                  <a:lnTo>
                    <a:pt x="6071447" y="6502766"/>
                  </a:lnTo>
                  <a:lnTo>
                    <a:pt x="6096989" y="6457404"/>
                  </a:lnTo>
                  <a:lnTo>
                    <a:pt x="6085474" y="6434417"/>
                  </a:lnTo>
                  <a:lnTo>
                    <a:pt x="6049215" y="6361897"/>
                  </a:lnTo>
                  <a:lnTo>
                    <a:pt x="5937973" y="6498425"/>
                  </a:lnTo>
                  <a:lnTo>
                    <a:pt x="5895045" y="6503789"/>
                  </a:lnTo>
                  <a:lnTo>
                    <a:pt x="5848756" y="6500127"/>
                  </a:lnTo>
                  <a:lnTo>
                    <a:pt x="5795284" y="6491244"/>
                  </a:lnTo>
                  <a:lnTo>
                    <a:pt x="5772671" y="6478919"/>
                  </a:lnTo>
                  <a:lnTo>
                    <a:pt x="5749503" y="6452096"/>
                  </a:lnTo>
                  <a:lnTo>
                    <a:pt x="5734072" y="6434200"/>
                  </a:lnTo>
                  <a:lnTo>
                    <a:pt x="5730714" y="6408142"/>
                  </a:lnTo>
                  <a:lnTo>
                    <a:pt x="5723657" y="6386807"/>
                  </a:lnTo>
                  <a:lnTo>
                    <a:pt x="5659648" y="6194803"/>
                  </a:lnTo>
                  <a:lnTo>
                    <a:pt x="5874891" y="6102654"/>
                  </a:lnTo>
                  <a:lnTo>
                    <a:pt x="5831114" y="5977384"/>
                  </a:lnTo>
                  <a:lnTo>
                    <a:pt x="5772842" y="5810504"/>
                  </a:lnTo>
                  <a:lnTo>
                    <a:pt x="5666743" y="5890844"/>
                  </a:lnTo>
                  <a:lnTo>
                    <a:pt x="5631163" y="5808725"/>
                  </a:lnTo>
                  <a:lnTo>
                    <a:pt x="5597035" y="5729954"/>
                  </a:lnTo>
                  <a:lnTo>
                    <a:pt x="5715797" y="5625012"/>
                  </a:lnTo>
                  <a:lnTo>
                    <a:pt x="5631163" y="5482276"/>
                  </a:lnTo>
                  <a:lnTo>
                    <a:pt x="5588918" y="5410994"/>
                  </a:lnTo>
                  <a:lnTo>
                    <a:pt x="5526872" y="5417111"/>
                  </a:lnTo>
                  <a:lnTo>
                    <a:pt x="5458423" y="5396582"/>
                  </a:lnTo>
                  <a:lnTo>
                    <a:pt x="5426373" y="5386933"/>
                  </a:lnTo>
                  <a:lnTo>
                    <a:pt x="5352259" y="5331247"/>
                  </a:lnTo>
                  <a:lnTo>
                    <a:pt x="5333284" y="5302731"/>
                  </a:lnTo>
                  <a:lnTo>
                    <a:pt x="5292074" y="5240924"/>
                  </a:lnTo>
                  <a:lnTo>
                    <a:pt x="5322081" y="5110984"/>
                  </a:lnTo>
                  <a:lnTo>
                    <a:pt x="5408092" y="5108222"/>
                  </a:lnTo>
                  <a:lnTo>
                    <a:pt x="5423331" y="5161223"/>
                  </a:lnTo>
                  <a:lnTo>
                    <a:pt x="5392855" y="5227833"/>
                  </a:lnTo>
                  <a:lnTo>
                    <a:pt x="5404014" y="5268720"/>
                  </a:lnTo>
                  <a:lnTo>
                    <a:pt x="5432856" y="5374475"/>
                  </a:lnTo>
                  <a:lnTo>
                    <a:pt x="5641070" y="5361682"/>
                  </a:lnTo>
                  <a:lnTo>
                    <a:pt x="5697810" y="5430587"/>
                  </a:lnTo>
                  <a:lnTo>
                    <a:pt x="5761788" y="5508287"/>
                  </a:lnTo>
                  <a:lnTo>
                    <a:pt x="5692760" y="5623356"/>
                  </a:lnTo>
                  <a:lnTo>
                    <a:pt x="5710058" y="5712148"/>
                  </a:lnTo>
                  <a:lnTo>
                    <a:pt x="5730801" y="5818842"/>
                  </a:lnTo>
                  <a:lnTo>
                    <a:pt x="5837110" y="5785898"/>
                  </a:lnTo>
                  <a:lnTo>
                    <a:pt x="5880081" y="5848167"/>
                  </a:lnTo>
                  <a:lnTo>
                    <a:pt x="5902266" y="5862281"/>
                  </a:lnTo>
                  <a:lnTo>
                    <a:pt x="5909925" y="5899643"/>
                  </a:lnTo>
                  <a:lnTo>
                    <a:pt x="5915450" y="5924339"/>
                  </a:lnTo>
                  <a:lnTo>
                    <a:pt x="5942865" y="6047736"/>
                  </a:lnTo>
                  <a:lnTo>
                    <a:pt x="5906005" y="6140996"/>
                  </a:lnTo>
                  <a:lnTo>
                    <a:pt x="5850161" y="6249423"/>
                  </a:lnTo>
                  <a:lnTo>
                    <a:pt x="5836602" y="6275735"/>
                  </a:lnTo>
                  <a:lnTo>
                    <a:pt x="5825204" y="6296648"/>
                  </a:lnTo>
                  <a:lnTo>
                    <a:pt x="5821592" y="6326960"/>
                  </a:lnTo>
                  <a:lnTo>
                    <a:pt x="5831709" y="6375115"/>
                  </a:lnTo>
                  <a:lnTo>
                    <a:pt x="5885607" y="6386807"/>
                  </a:lnTo>
                  <a:lnTo>
                    <a:pt x="5927691" y="6388165"/>
                  </a:lnTo>
                  <a:lnTo>
                    <a:pt x="5956424" y="6370656"/>
                  </a:lnTo>
                  <a:lnTo>
                    <a:pt x="6000967" y="6353141"/>
                  </a:lnTo>
                  <a:lnTo>
                    <a:pt x="6033784" y="6347365"/>
                  </a:lnTo>
                  <a:lnTo>
                    <a:pt x="6076380" y="6339877"/>
                  </a:lnTo>
                  <a:lnTo>
                    <a:pt x="6152294" y="6342726"/>
                  </a:lnTo>
                  <a:lnTo>
                    <a:pt x="6187489" y="6369128"/>
                  </a:lnTo>
                  <a:lnTo>
                    <a:pt x="6339957" y="6483421"/>
                  </a:lnTo>
                  <a:lnTo>
                    <a:pt x="5952514" y="6585440"/>
                  </a:lnTo>
                  <a:lnTo>
                    <a:pt x="6067791" y="6755423"/>
                  </a:lnTo>
                  <a:lnTo>
                    <a:pt x="6147274" y="6797288"/>
                  </a:lnTo>
                  <a:lnTo>
                    <a:pt x="6261407" y="6696081"/>
                  </a:lnTo>
                  <a:lnTo>
                    <a:pt x="6315345" y="6792144"/>
                  </a:lnTo>
                  <a:lnTo>
                    <a:pt x="6327586" y="6835459"/>
                  </a:lnTo>
                  <a:lnTo>
                    <a:pt x="6327586" y="6900661"/>
                  </a:lnTo>
                  <a:lnTo>
                    <a:pt x="6234327" y="7238123"/>
                  </a:lnTo>
                  <a:lnTo>
                    <a:pt x="6202446" y="7279097"/>
                  </a:lnTo>
                  <a:lnTo>
                    <a:pt x="6147188" y="7350165"/>
                  </a:lnTo>
                  <a:lnTo>
                    <a:pt x="6085644" y="7359898"/>
                  </a:lnTo>
                  <a:lnTo>
                    <a:pt x="6062346" y="7461362"/>
                  </a:lnTo>
                  <a:lnTo>
                    <a:pt x="6054570" y="7495152"/>
                  </a:lnTo>
                  <a:lnTo>
                    <a:pt x="6053463" y="7633305"/>
                  </a:lnTo>
                  <a:lnTo>
                    <a:pt x="6058275" y="7669470"/>
                  </a:lnTo>
                  <a:lnTo>
                    <a:pt x="6109109" y="7810336"/>
                  </a:lnTo>
                  <a:lnTo>
                    <a:pt x="6125301" y="7834638"/>
                  </a:lnTo>
                  <a:lnTo>
                    <a:pt x="6147749" y="7855704"/>
                  </a:lnTo>
                  <a:lnTo>
                    <a:pt x="6163010" y="7876226"/>
                  </a:lnTo>
                  <a:lnTo>
                    <a:pt x="6196862" y="7877467"/>
                  </a:lnTo>
                  <a:lnTo>
                    <a:pt x="6237901" y="7884623"/>
                  </a:lnTo>
                  <a:lnTo>
                    <a:pt x="6269103" y="7889826"/>
                  </a:lnTo>
                  <a:lnTo>
                    <a:pt x="6303891" y="7895630"/>
                  </a:lnTo>
                  <a:lnTo>
                    <a:pt x="6338460" y="7898743"/>
                  </a:lnTo>
                  <a:lnTo>
                    <a:pt x="6373844" y="7885748"/>
                  </a:lnTo>
                  <a:lnTo>
                    <a:pt x="6397631" y="7863223"/>
                  </a:lnTo>
                  <a:lnTo>
                    <a:pt x="6411928" y="7843583"/>
                  </a:lnTo>
                  <a:lnTo>
                    <a:pt x="6426225" y="7823950"/>
                  </a:lnTo>
                  <a:lnTo>
                    <a:pt x="6440674" y="7803031"/>
                  </a:lnTo>
                  <a:lnTo>
                    <a:pt x="6465057" y="7780759"/>
                  </a:lnTo>
                  <a:lnTo>
                    <a:pt x="6489722" y="7772732"/>
                  </a:lnTo>
                  <a:lnTo>
                    <a:pt x="6513937" y="7770134"/>
                  </a:lnTo>
                  <a:lnTo>
                    <a:pt x="6538153" y="7767535"/>
                  </a:lnTo>
                  <a:lnTo>
                    <a:pt x="6563215" y="7770069"/>
                  </a:lnTo>
                  <a:lnTo>
                    <a:pt x="6586798" y="7780192"/>
                  </a:lnTo>
                  <a:lnTo>
                    <a:pt x="6609153" y="7805496"/>
                  </a:lnTo>
                  <a:lnTo>
                    <a:pt x="6632113" y="7832700"/>
                  </a:lnTo>
                  <a:lnTo>
                    <a:pt x="6652214" y="7848271"/>
                  </a:lnTo>
                  <a:lnTo>
                    <a:pt x="6678935" y="7845568"/>
                  </a:lnTo>
                  <a:lnTo>
                    <a:pt x="6705724" y="7839506"/>
                  </a:lnTo>
                  <a:lnTo>
                    <a:pt x="6732519" y="7833438"/>
                  </a:lnTo>
                  <a:lnTo>
                    <a:pt x="6758477" y="7824425"/>
                  </a:lnTo>
                  <a:lnTo>
                    <a:pt x="6807774" y="7810376"/>
                  </a:lnTo>
                  <a:lnTo>
                    <a:pt x="6837589" y="7798585"/>
                  </a:lnTo>
                  <a:lnTo>
                    <a:pt x="6862149" y="7785097"/>
                  </a:lnTo>
                  <a:lnTo>
                    <a:pt x="6886708" y="7771606"/>
                  </a:lnTo>
                  <a:lnTo>
                    <a:pt x="6906512" y="7756172"/>
                  </a:lnTo>
                  <a:lnTo>
                    <a:pt x="6923364" y="7737491"/>
                  </a:lnTo>
                  <a:lnTo>
                    <a:pt x="6957054" y="7700122"/>
                  </a:lnTo>
                  <a:lnTo>
                    <a:pt x="6977987" y="7651294"/>
                  </a:lnTo>
                  <a:lnTo>
                    <a:pt x="6999526" y="7582424"/>
                  </a:lnTo>
                  <a:lnTo>
                    <a:pt x="7010791" y="7542650"/>
                  </a:lnTo>
                  <a:lnTo>
                    <a:pt x="7017215" y="7522574"/>
                  </a:lnTo>
                  <a:lnTo>
                    <a:pt x="7023636" y="7502507"/>
                  </a:lnTo>
                  <a:lnTo>
                    <a:pt x="7031540" y="7481838"/>
                  </a:lnTo>
                  <a:lnTo>
                    <a:pt x="7057892" y="7455334"/>
                  </a:lnTo>
                  <a:lnTo>
                    <a:pt x="7089949" y="7444932"/>
                  </a:lnTo>
                  <a:lnTo>
                    <a:pt x="7121947" y="7438247"/>
                  </a:lnTo>
                  <a:lnTo>
                    <a:pt x="7153948" y="7431553"/>
                  </a:lnTo>
                  <a:lnTo>
                    <a:pt x="7186222" y="7429072"/>
                  </a:lnTo>
                  <a:lnTo>
                    <a:pt x="7239016" y="7452860"/>
                  </a:lnTo>
                  <a:lnTo>
                    <a:pt x="7274970" y="7470040"/>
                  </a:lnTo>
                  <a:lnTo>
                    <a:pt x="7311017" y="7484489"/>
                  </a:lnTo>
                  <a:lnTo>
                    <a:pt x="7335248" y="7494185"/>
                  </a:lnTo>
                  <a:lnTo>
                    <a:pt x="7364747" y="7505027"/>
                  </a:lnTo>
                  <a:lnTo>
                    <a:pt x="7389906" y="7511700"/>
                  </a:lnTo>
                  <a:lnTo>
                    <a:pt x="7410645" y="7517228"/>
                  </a:lnTo>
                  <a:lnTo>
                    <a:pt x="7432839" y="7517827"/>
                  </a:lnTo>
                  <a:lnTo>
                    <a:pt x="7453837" y="7522583"/>
                  </a:lnTo>
                  <a:lnTo>
                    <a:pt x="7489602" y="7530682"/>
                  </a:lnTo>
                  <a:lnTo>
                    <a:pt x="7521842" y="7521222"/>
                  </a:lnTo>
                  <a:lnTo>
                    <a:pt x="7541819" y="7488241"/>
                  </a:lnTo>
                  <a:lnTo>
                    <a:pt x="7553130" y="7450494"/>
                  </a:lnTo>
                  <a:lnTo>
                    <a:pt x="7565830" y="7394659"/>
                  </a:lnTo>
                  <a:lnTo>
                    <a:pt x="7577615" y="7359359"/>
                  </a:lnTo>
                  <a:lnTo>
                    <a:pt x="7590858" y="7323646"/>
                  </a:lnTo>
                  <a:lnTo>
                    <a:pt x="7607902" y="7297127"/>
                  </a:lnTo>
                  <a:lnTo>
                    <a:pt x="7629302" y="7284545"/>
                  </a:lnTo>
                  <a:lnTo>
                    <a:pt x="7700163" y="7264227"/>
                  </a:lnTo>
                  <a:lnTo>
                    <a:pt x="7753080" y="7253260"/>
                  </a:lnTo>
                  <a:lnTo>
                    <a:pt x="7779538" y="7247778"/>
                  </a:lnTo>
                  <a:lnTo>
                    <a:pt x="7806770" y="7243394"/>
                  </a:lnTo>
                  <a:lnTo>
                    <a:pt x="7829252" y="7242377"/>
                  </a:lnTo>
                  <a:lnTo>
                    <a:pt x="7851735" y="7241369"/>
                  </a:lnTo>
                  <a:lnTo>
                    <a:pt x="7879578" y="7251902"/>
                  </a:lnTo>
                  <a:lnTo>
                    <a:pt x="7902513" y="7274744"/>
                  </a:lnTo>
                  <a:lnTo>
                    <a:pt x="7901822" y="7307858"/>
                  </a:lnTo>
                  <a:lnTo>
                    <a:pt x="7914946" y="7330796"/>
                  </a:lnTo>
                  <a:lnTo>
                    <a:pt x="7932421" y="7351787"/>
                  </a:lnTo>
                  <a:lnTo>
                    <a:pt x="7968199" y="7358763"/>
                  </a:lnTo>
                  <a:lnTo>
                    <a:pt x="7993518" y="7355604"/>
                  </a:lnTo>
                  <a:lnTo>
                    <a:pt x="8031919" y="7345753"/>
                  </a:lnTo>
                  <a:lnTo>
                    <a:pt x="8063061" y="7337779"/>
                  </a:lnTo>
                  <a:lnTo>
                    <a:pt x="8087506" y="7330433"/>
                  </a:lnTo>
                  <a:lnTo>
                    <a:pt x="8106733" y="7321271"/>
                  </a:lnTo>
                  <a:lnTo>
                    <a:pt x="8125957" y="7312112"/>
                  </a:lnTo>
                  <a:lnTo>
                    <a:pt x="8150259" y="7288628"/>
                  </a:lnTo>
                  <a:lnTo>
                    <a:pt x="8164246" y="7257402"/>
                  </a:lnTo>
                  <a:lnTo>
                    <a:pt x="8166581" y="7235577"/>
                  </a:lnTo>
                  <a:lnTo>
                    <a:pt x="8168915" y="7213755"/>
                  </a:lnTo>
                  <a:lnTo>
                    <a:pt x="8169238" y="7187270"/>
                  </a:lnTo>
                  <a:lnTo>
                    <a:pt x="8166581" y="7153967"/>
                  </a:lnTo>
                  <a:lnTo>
                    <a:pt x="8157400" y="7114180"/>
                  </a:lnTo>
                  <a:lnTo>
                    <a:pt x="8181631" y="7096076"/>
                  </a:lnTo>
                  <a:lnTo>
                    <a:pt x="8209639" y="7096513"/>
                  </a:lnTo>
                  <a:lnTo>
                    <a:pt x="8233228" y="7139003"/>
                  </a:lnTo>
                  <a:lnTo>
                    <a:pt x="8261245" y="7148314"/>
                  </a:lnTo>
                  <a:lnTo>
                    <a:pt x="8285262" y="7142662"/>
                  </a:lnTo>
                  <a:lnTo>
                    <a:pt x="8307704" y="7149337"/>
                  </a:lnTo>
                  <a:lnTo>
                    <a:pt x="8311570" y="7178619"/>
                  </a:lnTo>
                  <a:lnTo>
                    <a:pt x="8322655" y="7204205"/>
                  </a:lnTo>
                  <a:lnTo>
                    <a:pt x="8358374" y="7202934"/>
                  </a:lnTo>
                  <a:lnTo>
                    <a:pt x="8401081" y="7193000"/>
                  </a:lnTo>
                  <a:lnTo>
                    <a:pt x="8423663" y="7185252"/>
                  </a:lnTo>
                  <a:lnTo>
                    <a:pt x="8446238" y="7177503"/>
                  </a:lnTo>
                  <a:lnTo>
                    <a:pt x="8468370" y="7169491"/>
                  </a:lnTo>
                  <a:lnTo>
                    <a:pt x="8506811" y="7162927"/>
                  </a:lnTo>
                  <a:lnTo>
                    <a:pt x="8532472" y="7175730"/>
                  </a:lnTo>
                  <a:lnTo>
                    <a:pt x="8543804" y="7197731"/>
                  </a:lnTo>
                  <a:lnTo>
                    <a:pt x="8564668" y="7210853"/>
                  </a:lnTo>
                  <a:lnTo>
                    <a:pt x="8590964" y="7219256"/>
                  </a:lnTo>
                  <a:lnTo>
                    <a:pt x="8618739" y="7226102"/>
                  </a:lnTo>
                  <a:lnTo>
                    <a:pt x="8649776" y="7229069"/>
                  </a:lnTo>
                  <a:lnTo>
                    <a:pt x="8667139" y="7245102"/>
                  </a:lnTo>
                  <a:lnTo>
                    <a:pt x="8690744" y="7266890"/>
                  </a:lnTo>
                  <a:lnTo>
                    <a:pt x="8702998" y="7302181"/>
                  </a:lnTo>
                  <a:lnTo>
                    <a:pt x="8720184" y="7329429"/>
                  </a:lnTo>
                  <a:lnTo>
                    <a:pt x="8738261" y="7354478"/>
                  </a:lnTo>
                  <a:lnTo>
                    <a:pt x="8764671" y="7369671"/>
                  </a:lnTo>
                  <a:lnTo>
                    <a:pt x="8803159" y="7370239"/>
                  </a:lnTo>
                  <a:lnTo>
                    <a:pt x="9004455" y="7338948"/>
                  </a:lnTo>
                  <a:lnTo>
                    <a:pt x="9054189" y="7331342"/>
                  </a:lnTo>
                  <a:lnTo>
                    <a:pt x="9106263" y="7354134"/>
                  </a:lnTo>
                  <a:lnTo>
                    <a:pt x="9155441" y="7356633"/>
                  </a:lnTo>
                  <a:lnTo>
                    <a:pt x="9193454" y="7342423"/>
                  </a:lnTo>
                  <a:lnTo>
                    <a:pt x="9212573" y="7325348"/>
                  </a:lnTo>
                  <a:lnTo>
                    <a:pt x="9231685" y="7308273"/>
                  </a:lnTo>
                  <a:lnTo>
                    <a:pt x="9250229" y="7288938"/>
                  </a:lnTo>
                  <a:lnTo>
                    <a:pt x="9293439" y="7267070"/>
                  </a:lnTo>
                  <a:lnTo>
                    <a:pt x="9323009" y="7258602"/>
                  </a:lnTo>
                  <a:lnTo>
                    <a:pt x="9352673" y="7253260"/>
                  </a:lnTo>
                  <a:lnTo>
                    <a:pt x="9382324" y="7247911"/>
                  </a:lnTo>
                  <a:lnTo>
                    <a:pt x="9412464" y="7246380"/>
                  </a:lnTo>
                  <a:lnTo>
                    <a:pt x="9441080" y="7243735"/>
                  </a:lnTo>
                  <a:lnTo>
                    <a:pt x="9469701" y="7241090"/>
                  </a:lnTo>
                  <a:lnTo>
                    <a:pt x="9496627" y="7238138"/>
                  </a:lnTo>
                  <a:lnTo>
                    <a:pt x="9519974" y="7232855"/>
                  </a:lnTo>
                  <a:lnTo>
                    <a:pt x="9543318" y="7227565"/>
                  </a:lnTo>
                  <a:lnTo>
                    <a:pt x="9563271" y="7218921"/>
                  </a:lnTo>
                  <a:lnTo>
                    <a:pt x="9586621" y="7160766"/>
                  </a:lnTo>
                  <a:lnTo>
                    <a:pt x="9563184" y="7143084"/>
                  </a:lnTo>
                  <a:lnTo>
                    <a:pt x="9536296" y="7152602"/>
                  </a:lnTo>
                  <a:lnTo>
                    <a:pt x="9506797" y="7155833"/>
                  </a:lnTo>
                  <a:lnTo>
                    <a:pt x="9487328" y="7144442"/>
                  </a:lnTo>
                  <a:lnTo>
                    <a:pt x="9472755" y="7110692"/>
                  </a:lnTo>
                  <a:lnTo>
                    <a:pt x="9420470" y="7118235"/>
                  </a:lnTo>
                  <a:lnTo>
                    <a:pt x="9337399" y="7139509"/>
                  </a:lnTo>
                  <a:lnTo>
                    <a:pt x="9260173" y="7141719"/>
                  </a:lnTo>
                  <a:lnTo>
                    <a:pt x="9221567" y="7142826"/>
                  </a:lnTo>
                  <a:lnTo>
                    <a:pt x="9184221" y="7139986"/>
                  </a:lnTo>
                  <a:lnTo>
                    <a:pt x="9155441" y="7128120"/>
                  </a:lnTo>
                  <a:lnTo>
                    <a:pt x="9128156" y="7114047"/>
                  </a:lnTo>
                  <a:lnTo>
                    <a:pt x="9109277" y="7093226"/>
                  </a:lnTo>
                  <a:lnTo>
                    <a:pt x="9101032" y="7064189"/>
                  </a:lnTo>
                  <a:lnTo>
                    <a:pt x="9114638" y="7041068"/>
                  </a:lnTo>
                  <a:lnTo>
                    <a:pt x="9132320" y="7022021"/>
                  </a:lnTo>
                  <a:lnTo>
                    <a:pt x="9194099" y="7022061"/>
                  </a:lnTo>
                  <a:lnTo>
                    <a:pt x="9255525" y="7011873"/>
                  </a:lnTo>
                  <a:lnTo>
                    <a:pt x="9315946" y="7000258"/>
                  </a:lnTo>
                  <a:lnTo>
                    <a:pt x="9376370" y="6988646"/>
                  </a:lnTo>
                  <a:lnTo>
                    <a:pt x="9436640" y="6976393"/>
                  </a:lnTo>
                  <a:lnTo>
                    <a:pt x="9498211" y="6971696"/>
                  </a:lnTo>
                  <a:lnTo>
                    <a:pt x="9533400" y="6946153"/>
                  </a:lnTo>
                  <a:lnTo>
                    <a:pt x="9552617" y="6920006"/>
                  </a:lnTo>
                  <a:lnTo>
                    <a:pt x="9571834" y="6893865"/>
                  </a:lnTo>
                  <a:lnTo>
                    <a:pt x="9590382" y="6865770"/>
                  </a:lnTo>
                  <a:lnTo>
                    <a:pt x="9618777" y="6833850"/>
                  </a:lnTo>
                  <a:lnTo>
                    <a:pt x="9645126" y="6822824"/>
                  </a:lnTo>
                  <a:lnTo>
                    <a:pt x="9673673" y="6815271"/>
                  </a:lnTo>
                  <a:lnTo>
                    <a:pt x="9702223" y="6807721"/>
                  </a:lnTo>
                  <a:lnTo>
                    <a:pt x="9732125" y="6803479"/>
                  </a:lnTo>
                  <a:lnTo>
                    <a:pt x="9758009" y="6797591"/>
                  </a:lnTo>
                  <a:lnTo>
                    <a:pt x="9814666" y="6798481"/>
                  </a:lnTo>
                  <a:lnTo>
                    <a:pt x="9835539" y="6794872"/>
                  </a:lnTo>
                  <a:lnTo>
                    <a:pt x="9847390" y="6759433"/>
                  </a:lnTo>
                  <a:lnTo>
                    <a:pt x="9837288" y="6721500"/>
                  </a:lnTo>
                  <a:lnTo>
                    <a:pt x="9809696" y="6698298"/>
                  </a:lnTo>
                  <a:lnTo>
                    <a:pt x="9756815" y="6692816"/>
                  </a:lnTo>
                  <a:lnTo>
                    <a:pt x="9699730" y="6707057"/>
                  </a:lnTo>
                  <a:lnTo>
                    <a:pt x="9649194" y="6698298"/>
                  </a:lnTo>
                  <a:lnTo>
                    <a:pt x="9631046" y="6686631"/>
                  </a:lnTo>
                  <a:lnTo>
                    <a:pt x="9618219" y="6639629"/>
                  </a:lnTo>
                  <a:lnTo>
                    <a:pt x="9612468" y="6592206"/>
                  </a:lnTo>
                  <a:lnTo>
                    <a:pt x="9606716" y="6544776"/>
                  </a:lnTo>
                  <a:lnTo>
                    <a:pt x="9607752" y="6496797"/>
                  </a:lnTo>
                  <a:lnTo>
                    <a:pt x="9621475" y="6471466"/>
                  </a:lnTo>
                  <a:lnTo>
                    <a:pt x="9651910" y="6448022"/>
                  </a:lnTo>
                  <a:lnTo>
                    <a:pt x="9686172" y="6431573"/>
                  </a:lnTo>
                  <a:lnTo>
                    <a:pt x="9731056" y="6457882"/>
                  </a:lnTo>
                  <a:lnTo>
                    <a:pt x="9739604" y="6501197"/>
                  </a:lnTo>
                  <a:lnTo>
                    <a:pt x="9771608" y="6526916"/>
                  </a:lnTo>
                  <a:lnTo>
                    <a:pt x="9803448" y="6552506"/>
                  </a:lnTo>
                  <a:lnTo>
                    <a:pt x="9841278" y="6575627"/>
                  </a:lnTo>
                  <a:lnTo>
                    <a:pt x="9874985" y="6599005"/>
                  </a:lnTo>
                  <a:lnTo>
                    <a:pt x="9877701" y="6556837"/>
                  </a:lnTo>
                  <a:lnTo>
                    <a:pt x="9883505" y="6530423"/>
                  </a:lnTo>
                  <a:lnTo>
                    <a:pt x="9921596" y="6489108"/>
                  </a:lnTo>
                  <a:lnTo>
                    <a:pt x="9955237" y="6448022"/>
                  </a:lnTo>
                  <a:lnTo>
                    <a:pt x="9972055" y="6427478"/>
                  </a:lnTo>
                  <a:lnTo>
                    <a:pt x="9988383" y="6406685"/>
                  </a:lnTo>
                  <a:lnTo>
                    <a:pt x="9998763" y="6388171"/>
                  </a:lnTo>
                  <a:lnTo>
                    <a:pt x="10009144" y="6369667"/>
                  </a:lnTo>
                  <a:lnTo>
                    <a:pt x="10008285" y="6340565"/>
                  </a:lnTo>
                  <a:lnTo>
                    <a:pt x="9999489" y="6318886"/>
                  </a:lnTo>
                  <a:lnTo>
                    <a:pt x="9866226" y="6188395"/>
                  </a:lnTo>
                  <a:lnTo>
                    <a:pt x="9836897" y="6170541"/>
                  </a:lnTo>
                  <a:lnTo>
                    <a:pt x="9814285" y="6156725"/>
                  </a:lnTo>
                  <a:lnTo>
                    <a:pt x="9638140" y="6041616"/>
                  </a:lnTo>
                  <a:lnTo>
                    <a:pt x="9586792" y="6033926"/>
                  </a:lnTo>
                  <a:lnTo>
                    <a:pt x="9554484" y="6056626"/>
                  </a:lnTo>
                  <a:lnTo>
                    <a:pt x="9524048" y="6048127"/>
                  </a:lnTo>
                  <a:lnTo>
                    <a:pt x="9507048" y="6025375"/>
                  </a:lnTo>
                  <a:lnTo>
                    <a:pt x="9505696" y="5994707"/>
                  </a:lnTo>
                  <a:lnTo>
                    <a:pt x="9505011" y="5963791"/>
                  </a:lnTo>
                  <a:lnTo>
                    <a:pt x="9500459" y="5940965"/>
                  </a:lnTo>
                  <a:lnTo>
                    <a:pt x="9489796" y="5921074"/>
                  </a:lnTo>
                  <a:lnTo>
                    <a:pt x="9487328" y="5897141"/>
                  </a:lnTo>
                  <a:lnTo>
                    <a:pt x="9491089" y="5875273"/>
                  </a:lnTo>
                  <a:lnTo>
                    <a:pt x="9510458" y="5846229"/>
                  </a:lnTo>
                  <a:lnTo>
                    <a:pt x="9530854" y="5818253"/>
                  </a:lnTo>
                  <a:lnTo>
                    <a:pt x="9551253" y="5790273"/>
                  </a:lnTo>
                  <a:lnTo>
                    <a:pt x="9573273" y="5763100"/>
                  </a:lnTo>
                  <a:lnTo>
                    <a:pt x="9585263" y="5740716"/>
                  </a:lnTo>
                  <a:lnTo>
                    <a:pt x="9598056" y="5716786"/>
                  </a:lnTo>
                  <a:lnTo>
                    <a:pt x="9604012" y="5689628"/>
                  </a:lnTo>
                  <a:lnTo>
                    <a:pt x="9615184" y="5665905"/>
                  </a:lnTo>
                  <a:lnTo>
                    <a:pt x="9629000" y="5636453"/>
                  </a:lnTo>
                  <a:lnTo>
                    <a:pt x="9644816" y="5607463"/>
                  </a:lnTo>
                  <a:lnTo>
                    <a:pt x="9657352" y="5577495"/>
                  </a:lnTo>
                  <a:lnTo>
                    <a:pt x="9675329" y="5534562"/>
                  </a:lnTo>
                  <a:lnTo>
                    <a:pt x="9678349" y="5477390"/>
                  </a:lnTo>
                  <a:lnTo>
                    <a:pt x="9706319" y="5440115"/>
                  </a:lnTo>
                  <a:lnTo>
                    <a:pt x="9747808" y="5460724"/>
                  </a:lnTo>
                  <a:lnTo>
                    <a:pt x="9754608" y="5493032"/>
                  </a:lnTo>
                  <a:lnTo>
                    <a:pt x="9777050" y="5509481"/>
                  </a:lnTo>
                  <a:lnTo>
                    <a:pt x="9813138" y="5514572"/>
                  </a:lnTo>
                  <a:lnTo>
                    <a:pt x="9839623" y="5517645"/>
                  </a:lnTo>
                  <a:lnTo>
                    <a:pt x="9866108" y="5520711"/>
                  </a:lnTo>
                  <a:lnTo>
                    <a:pt x="9894537" y="5523679"/>
                  </a:lnTo>
                  <a:lnTo>
                    <a:pt x="9922591" y="5513571"/>
                  </a:lnTo>
                  <a:lnTo>
                    <a:pt x="9950118" y="5490515"/>
                  </a:lnTo>
                  <a:lnTo>
                    <a:pt x="10008648" y="5429539"/>
                  </a:lnTo>
                  <a:lnTo>
                    <a:pt x="10031357" y="5375750"/>
                  </a:lnTo>
                  <a:lnTo>
                    <a:pt x="10058611" y="5350346"/>
                  </a:lnTo>
                  <a:lnTo>
                    <a:pt x="10087431" y="5331154"/>
                  </a:lnTo>
                  <a:lnTo>
                    <a:pt x="10127726" y="5342341"/>
                  </a:lnTo>
                  <a:lnTo>
                    <a:pt x="10153123" y="5359400"/>
                  </a:lnTo>
                  <a:lnTo>
                    <a:pt x="10187834" y="5391156"/>
                  </a:lnTo>
                  <a:lnTo>
                    <a:pt x="10209597" y="5393872"/>
                  </a:lnTo>
                  <a:lnTo>
                    <a:pt x="10233561" y="5366767"/>
                  </a:lnTo>
                  <a:lnTo>
                    <a:pt x="10239518" y="5339463"/>
                  </a:lnTo>
                  <a:lnTo>
                    <a:pt x="10245471" y="5312153"/>
                  </a:lnTo>
                  <a:lnTo>
                    <a:pt x="10251678" y="5279780"/>
                  </a:lnTo>
                  <a:lnTo>
                    <a:pt x="10273522" y="5253769"/>
                  </a:lnTo>
                  <a:lnTo>
                    <a:pt x="10261281" y="5214001"/>
                  </a:lnTo>
                  <a:lnTo>
                    <a:pt x="10233410" y="5172798"/>
                  </a:lnTo>
                  <a:lnTo>
                    <a:pt x="10208230" y="5131349"/>
                  </a:lnTo>
                  <a:lnTo>
                    <a:pt x="10183059" y="5089907"/>
                  </a:lnTo>
                  <a:lnTo>
                    <a:pt x="10160459" y="5048235"/>
                  </a:lnTo>
                  <a:lnTo>
                    <a:pt x="10156546" y="5008935"/>
                  </a:lnTo>
                  <a:lnTo>
                    <a:pt x="10152041" y="4963536"/>
                  </a:lnTo>
                  <a:lnTo>
                    <a:pt x="10159560" y="4924729"/>
                  </a:lnTo>
                  <a:lnTo>
                    <a:pt x="10171509" y="4881079"/>
                  </a:lnTo>
                  <a:lnTo>
                    <a:pt x="10179028" y="4853487"/>
                  </a:lnTo>
                  <a:lnTo>
                    <a:pt x="10191645" y="4830186"/>
                  </a:lnTo>
                  <a:lnTo>
                    <a:pt x="10201430" y="4803543"/>
                  </a:lnTo>
                  <a:lnTo>
                    <a:pt x="10215538" y="4765160"/>
                  </a:lnTo>
                  <a:lnTo>
                    <a:pt x="10222706" y="4731057"/>
                  </a:lnTo>
                  <a:lnTo>
                    <a:pt x="10224554" y="4700166"/>
                  </a:lnTo>
                  <a:lnTo>
                    <a:pt x="10226405" y="4669278"/>
                  </a:lnTo>
                  <a:lnTo>
                    <a:pt x="10222313" y="4641162"/>
                  </a:lnTo>
                  <a:lnTo>
                    <a:pt x="10215035" y="4613114"/>
                  </a:lnTo>
                  <a:lnTo>
                    <a:pt x="10200475" y="4557018"/>
                  </a:lnTo>
                  <a:lnTo>
                    <a:pt x="10171193" y="4502122"/>
                  </a:lnTo>
                  <a:lnTo>
                    <a:pt x="10138866" y="4429485"/>
                  </a:lnTo>
                  <a:lnTo>
                    <a:pt x="10129252" y="4407889"/>
                  </a:lnTo>
                  <a:lnTo>
                    <a:pt x="10095340" y="4402283"/>
                  </a:lnTo>
                  <a:lnTo>
                    <a:pt x="10057188" y="4407902"/>
                  </a:lnTo>
                  <a:lnTo>
                    <a:pt x="10011690" y="4407464"/>
                  </a:lnTo>
                  <a:lnTo>
                    <a:pt x="9981763" y="4401899"/>
                  </a:lnTo>
                  <a:lnTo>
                    <a:pt x="9953879" y="4399564"/>
                  </a:lnTo>
                  <a:lnTo>
                    <a:pt x="9926179" y="4389540"/>
                  </a:lnTo>
                  <a:lnTo>
                    <a:pt x="9905405" y="4363340"/>
                  </a:lnTo>
                  <a:lnTo>
                    <a:pt x="9891306" y="4327476"/>
                  </a:lnTo>
                  <a:lnTo>
                    <a:pt x="9879791" y="4290210"/>
                  </a:lnTo>
                  <a:lnTo>
                    <a:pt x="9876455" y="4248838"/>
                  </a:lnTo>
                  <a:lnTo>
                    <a:pt x="9879065" y="4226818"/>
                  </a:lnTo>
                  <a:lnTo>
                    <a:pt x="9889031" y="4207951"/>
                  </a:lnTo>
                  <a:lnTo>
                    <a:pt x="9922591" y="4194172"/>
                  </a:lnTo>
                  <a:lnTo>
                    <a:pt x="9956403" y="4183081"/>
                  </a:lnTo>
                  <a:lnTo>
                    <a:pt x="9972898" y="4151539"/>
                  </a:lnTo>
                  <a:lnTo>
                    <a:pt x="9969199" y="4129181"/>
                  </a:lnTo>
                  <a:lnTo>
                    <a:pt x="9965770" y="4087785"/>
                  </a:lnTo>
                  <a:lnTo>
                    <a:pt x="9981084" y="4055436"/>
                  </a:lnTo>
                  <a:lnTo>
                    <a:pt x="10015507" y="4073631"/>
                  </a:lnTo>
                  <a:lnTo>
                    <a:pt x="10034963" y="4124756"/>
                  </a:lnTo>
                  <a:lnTo>
                    <a:pt x="10050453" y="4171051"/>
                  </a:lnTo>
                  <a:lnTo>
                    <a:pt x="10065947" y="4217355"/>
                  </a:lnTo>
                  <a:lnTo>
                    <a:pt x="10078501" y="4258066"/>
                  </a:lnTo>
                  <a:lnTo>
                    <a:pt x="10105669" y="4267470"/>
                  </a:lnTo>
                  <a:lnTo>
                    <a:pt x="10133127" y="4269367"/>
                  </a:lnTo>
                  <a:lnTo>
                    <a:pt x="10160629" y="4267628"/>
                  </a:lnTo>
                  <a:lnTo>
                    <a:pt x="10188129" y="4265886"/>
                  </a:lnTo>
                  <a:lnTo>
                    <a:pt x="10214654" y="4261039"/>
                  </a:lnTo>
                  <a:lnTo>
                    <a:pt x="10236802" y="4254029"/>
                  </a:lnTo>
                  <a:lnTo>
                    <a:pt x="10251092" y="4235050"/>
                  </a:lnTo>
                  <a:lnTo>
                    <a:pt x="10249719" y="4207719"/>
                  </a:lnTo>
                  <a:lnTo>
                    <a:pt x="10238160" y="4176493"/>
                  </a:lnTo>
                  <a:lnTo>
                    <a:pt x="10226353" y="4145350"/>
                  </a:lnTo>
                  <a:lnTo>
                    <a:pt x="10210270" y="4113907"/>
                  </a:lnTo>
                  <a:lnTo>
                    <a:pt x="10206701" y="4042175"/>
                  </a:lnTo>
                  <a:lnTo>
                    <a:pt x="10236036" y="3988281"/>
                  </a:lnTo>
                  <a:lnTo>
                    <a:pt x="10228635" y="3930300"/>
                  </a:lnTo>
                  <a:lnTo>
                    <a:pt x="10225317" y="3904221"/>
                  </a:lnTo>
                  <a:lnTo>
                    <a:pt x="10212279" y="3880394"/>
                  </a:lnTo>
                  <a:lnTo>
                    <a:pt x="10200072" y="3856852"/>
                  </a:lnTo>
                  <a:lnTo>
                    <a:pt x="10187865" y="3833307"/>
                  </a:lnTo>
                  <a:lnTo>
                    <a:pt x="10176904" y="3809289"/>
                  </a:lnTo>
                  <a:lnTo>
                    <a:pt x="10175587" y="3782038"/>
                  </a:lnTo>
                  <a:lnTo>
                    <a:pt x="10187260" y="3745034"/>
                  </a:lnTo>
                  <a:lnTo>
                    <a:pt x="10197356" y="3726272"/>
                  </a:lnTo>
                  <a:lnTo>
                    <a:pt x="10207445" y="3707503"/>
                  </a:lnTo>
                  <a:lnTo>
                    <a:pt x="10204156" y="3669141"/>
                  </a:lnTo>
                  <a:lnTo>
                    <a:pt x="10181112" y="3625145"/>
                  </a:lnTo>
                  <a:lnTo>
                    <a:pt x="10129171" y="3601977"/>
                  </a:lnTo>
                  <a:lnTo>
                    <a:pt x="10099421" y="3561690"/>
                  </a:lnTo>
                  <a:lnTo>
                    <a:pt x="10092872" y="3498312"/>
                  </a:lnTo>
                  <a:lnTo>
                    <a:pt x="10090407" y="3439610"/>
                  </a:lnTo>
                  <a:lnTo>
                    <a:pt x="10102140" y="3376703"/>
                  </a:lnTo>
                  <a:lnTo>
                    <a:pt x="10057036" y="3365649"/>
                  </a:lnTo>
                  <a:lnTo>
                    <a:pt x="10011352" y="3358118"/>
                  </a:lnTo>
                  <a:lnTo>
                    <a:pt x="9964753" y="3352216"/>
                  </a:lnTo>
                  <a:lnTo>
                    <a:pt x="9918161" y="3346314"/>
                  </a:lnTo>
                  <a:lnTo>
                    <a:pt x="9870644" y="3341683"/>
                  </a:lnTo>
                  <a:lnTo>
                    <a:pt x="9824659" y="3335893"/>
                  </a:lnTo>
                  <a:lnTo>
                    <a:pt x="9794494" y="3328256"/>
                  </a:lnTo>
                  <a:lnTo>
                    <a:pt x="9765047" y="3310885"/>
                  </a:lnTo>
                  <a:lnTo>
                    <a:pt x="9749845" y="3284203"/>
                  </a:lnTo>
                  <a:lnTo>
                    <a:pt x="9749021" y="3261285"/>
                  </a:lnTo>
                  <a:lnTo>
                    <a:pt x="9767528" y="3224354"/>
                  </a:lnTo>
                  <a:lnTo>
                    <a:pt x="9793167" y="3190627"/>
                  </a:lnTo>
                  <a:lnTo>
                    <a:pt x="9808335" y="3175386"/>
                  </a:lnTo>
                  <a:lnTo>
                    <a:pt x="9823503" y="3160151"/>
                  </a:lnTo>
                  <a:lnTo>
                    <a:pt x="9839021" y="3145940"/>
                  </a:lnTo>
                  <a:lnTo>
                    <a:pt x="9861978" y="3115063"/>
                  </a:lnTo>
                  <a:lnTo>
                    <a:pt x="9869543" y="3080175"/>
                  </a:lnTo>
                  <a:lnTo>
                    <a:pt x="9869543" y="3047129"/>
                  </a:lnTo>
                  <a:lnTo>
                    <a:pt x="9862514" y="3015117"/>
                  </a:lnTo>
                  <a:lnTo>
                    <a:pt x="9851861" y="2983599"/>
                  </a:lnTo>
                  <a:lnTo>
                    <a:pt x="9841204" y="2952090"/>
                  </a:lnTo>
                  <a:lnTo>
                    <a:pt x="9826920" y="2921640"/>
                  </a:lnTo>
                  <a:lnTo>
                    <a:pt x="9811054" y="2891106"/>
                  </a:lnTo>
                  <a:lnTo>
                    <a:pt x="9779319" y="2830038"/>
                  </a:lnTo>
                  <a:lnTo>
                    <a:pt x="9742643" y="2769324"/>
                  </a:lnTo>
                  <a:lnTo>
                    <a:pt x="9722641" y="2708843"/>
                  </a:lnTo>
                  <a:lnTo>
                    <a:pt x="9740308" y="2687475"/>
                  </a:lnTo>
                  <a:lnTo>
                    <a:pt x="9759367" y="2677556"/>
                  </a:lnTo>
                  <a:lnTo>
                    <a:pt x="9778420" y="2667637"/>
                  </a:lnTo>
                  <a:lnTo>
                    <a:pt x="9802375" y="2658458"/>
                  </a:lnTo>
                  <a:lnTo>
                    <a:pt x="9827375" y="2650353"/>
                  </a:lnTo>
                  <a:lnTo>
                    <a:pt x="9877379" y="2634135"/>
                  </a:lnTo>
                  <a:lnTo>
                    <a:pt x="9929028" y="2622925"/>
                  </a:lnTo>
                  <a:lnTo>
                    <a:pt x="9951833" y="2617662"/>
                  </a:lnTo>
                  <a:lnTo>
                    <a:pt x="9976697" y="2618177"/>
                  </a:lnTo>
                  <a:lnTo>
                    <a:pt x="10023568" y="2617115"/>
                  </a:lnTo>
                  <a:lnTo>
                    <a:pt x="10051814" y="2614991"/>
                  </a:lnTo>
                  <a:lnTo>
                    <a:pt x="10080051" y="2612855"/>
                  </a:lnTo>
                  <a:lnTo>
                    <a:pt x="10107600" y="2608422"/>
                  </a:lnTo>
                  <a:lnTo>
                    <a:pt x="10107489" y="2571425"/>
                  </a:lnTo>
                  <a:lnTo>
                    <a:pt x="10118843" y="2496527"/>
                  </a:lnTo>
                  <a:lnTo>
                    <a:pt x="10071109" y="2463585"/>
                  </a:lnTo>
                  <a:lnTo>
                    <a:pt x="10027748" y="2440715"/>
                  </a:lnTo>
                  <a:lnTo>
                    <a:pt x="9998763" y="2412323"/>
                  </a:lnTo>
                  <a:lnTo>
                    <a:pt x="9987710" y="2392854"/>
                  </a:lnTo>
                  <a:lnTo>
                    <a:pt x="10011005" y="2281698"/>
                  </a:lnTo>
                  <a:lnTo>
                    <a:pt x="10008279" y="2243659"/>
                  </a:lnTo>
                  <a:lnTo>
                    <a:pt x="10002847" y="2185168"/>
                  </a:lnTo>
                  <a:lnTo>
                    <a:pt x="9998763" y="2125320"/>
                  </a:lnTo>
                  <a:lnTo>
                    <a:pt x="9994345" y="2063519"/>
                  </a:lnTo>
                  <a:lnTo>
                    <a:pt x="10001058" y="2039395"/>
                  </a:lnTo>
                  <a:lnTo>
                    <a:pt x="10018220" y="2001777"/>
                  </a:lnTo>
                  <a:lnTo>
                    <a:pt x="10035484" y="1949855"/>
                  </a:lnTo>
                  <a:lnTo>
                    <a:pt x="10038842" y="1927565"/>
                  </a:lnTo>
                  <a:lnTo>
                    <a:pt x="10034442" y="1903678"/>
                  </a:lnTo>
                  <a:lnTo>
                    <a:pt x="10031409" y="1879126"/>
                  </a:lnTo>
                  <a:lnTo>
                    <a:pt x="10028374" y="1854572"/>
                  </a:lnTo>
                  <a:lnTo>
                    <a:pt x="10026297" y="1829518"/>
                  </a:lnTo>
                  <a:lnTo>
                    <a:pt x="10034126" y="1808395"/>
                  </a:lnTo>
                  <a:lnTo>
                    <a:pt x="10047929" y="1787950"/>
                  </a:lnTo>
                  <a:lnTo>
                    <a:pt x="10072015" y="1760826"/>
                  </a:lnTo>
                  <a:lnTo>
                    <a:pt x="10089899" y="1741747"/>
                  </a:lnTo>
                  <a:lnTo>
                    <a:pt x="10086020" y="1704967"/>
                  </a:lnTo>
                  <a:lnTo>
                    <a:pt x="10079010" y="1677816"/>
                  </a:lnTo>
                  <a:lnTo>
                    <a:pt x="10072005" y="1650664"/>
                  </a:lnTo>
                  <a:lnTo>
                    <a:pt x="10064034" y="1624727"/>
                  </a:lnTo>
                  <a:lnTo>
                    <a:pt x="10035893" y="1618771"/>
                  </a:lnTo>
                  <a:lnTo>
                    <a:pt x="10014704" y="1623797"/>
                  </a:lnTo>
                  <a:lnTo>
                    <a:pt x="9993316" y="1628848"/>
                  </a:lnTo>
                  <a:lnTo>
                    <a:pt x="9971943" y="1633907"/>
                  </a:lnTo>
                  <a:lnTo>
                    <a:pt x="9949387" y="1637903"/>
                  </a:lnTo>
                  <a:lnTo>
                    <a:pt x="9925311" y="1635648"/>
                  </a:lnTo>
                  <a:lnTo>
                    <a:pt x="9902186" y="1622048"/>
                  </a:lnTo>
                  <a:lnTo>
                    <a:pt x="9884507" y="1603003"/>
                  </a:lnTo>
                  <a:lnTo>
                    <a:pt x="9898019" y="1541083"/>
                  </a:lnTo>
                  <a:lnTo>
                    <a:pt x="9915792" y="1496910"/>
                  </a:lnTo>
                  <a:lnTo>
                    <a:pt x="9933561" y="1452732"/>
                  </a:lnTo>
                  <a:lnTo>
                    <a:pt x="9954025" y="1408071"/>
                  </a:lnTo>
                  <a:lnTo>
                    <a:pt x="9955876" y="1378189"/>
                  </a:lnTo>
                  <a:lnTo>
                    <a:pt x="9939889" y="1362929"/>
                  </a:lnTo>
                  <a:lnTo>
                    <a:pt x="9913069" y="1359526"/>
                  </a:lnTo>
                  <a:lnTo>
                    <a:pt x="9891220" y="1337934"/>
                  </a:lnTo>
                  <a:lnTo>
                    <a:pt x="9847951" y="1319106"/>
                  </a:lnTo>
                  <a:lnTo>
                    <a:pt x="9836404" y="1289521"/>
                  </a:lnTo>
                  <a:lnTo>
                    <a:pt x="9843691" y="1253434"/>
                  </a:lnTo>
                  <a:lnTo>
                    <a:pt x="9850379" y="1216436"/>
                  </a:lnTo>
                  <a:lnTo>
                    <a:pt x="9841216" y="1176240"/>
                  </a:lnTo>
                  <a:lnTo>
                    <a:pt x="9817906" y="1152241"/>
                  </a:lnTo>
                  <a:lnTo>
                    <a:pt x="9793365" y="1124214"/>
                  </a:lnTo>
                  <a:lnTo>
                    <a:pt x="9768818" y="1096191"/>
                  </a:lnTo>
                  <a:lnTo>
                    <a:pt x="9742816" y="1064833"/>
                  </a:lnTo>
                  <a:lnTo>
                    <a:pt x="9732160" y="1030361"/>
                  </a:lnTo>
                  <a:lnTo>
                    <a:pt x="9728141" y="1000710"/>
                  </a:lnTo>
                  <a:lnTo>
                    <a:pt x="9725279" y="970236"/>
                  </a:lnTo>
                  <a:lnTo>
                    <a:pt x="9710387" y="943308"/>
                  </a:lnTo>
                  <a:lnTo>
                    <a:pt x="9675515" y="947793"/>
                  </a:lnTo>
                  <a:lnTo>
                    <a:pt x="9658762" y="965071"/>
                  </a:lnTo>
                  <a:lnTo>
                    <a:pt x="9642382" y="980029"/>
                  </a:lnTo>
                  <a:lnTo>
                    <a:pt x="9625999" y="994992"/>
                  </a:lnTo>
                  <a:lnTo>
                    <a:pt x="9597498" y="1011315"/>
                  </a:lnTo>
                  <a:lnTo>
                    <a:pt x="9567742" y="1018569"/>
                  </a:lnTo>
                  <a:lnTo>
                    <a:pt x="9543867" y="1006105"/>
                  </a:lnTo>
                  <a:lnTo>
                    <a:pt x="9518600" y="993634"/>
                  </a:lnTo>
                  <a:lnTo>
                    <a:pt x="9492652" y="980754"/>
                  </a:lnTo>
                  <a:lnTo>
                    <a:pt x="9462948" y="973869"/>
                  </a:lnTo>
                  <a:lnTo>
                    <a:pt x="9427474" y="977311"/>
                  </a:lnTo>
                  <a:lnTo>
                    <a:pt x="9397045" y="1003678"/>
                  </a:lnTo>
                  <a:lnTo>
                    <a:pt x="9381480" y="1028547"/>
                  </a:lnTo>
                  <a:lnTo>
                    <a:pt x="9374423" y="1052124"/>
                  </a:lnTo>
                  <a:lnTo>
                    <a:pt x="9367360" y="1075700"/>
                  </a:lnTo>
                  <a:lnTo>
                    <a:pt x="9368824" y="1098408"/>
                  </a:lnTo>
                  <a:lnTo>
                    <a:pt x="9377307" y="1139137"/>
                  </a:lnTo>
                  <a:lnTo>
                    <a:pt x="9388022" y="1174539"/>
                  </a:lnTo>
                  <a:lnTo>
                    <a:pt x="9390602" y="1205396"/>
                  </a:lnTo>
                  <a:lnTo>
                    <a:pt x="9372492" y="1227437"/>
                  </a:lnTo>
                  <a:lnTo>
                    <a:pt x="9343303" y="1237467"/>
                  </a:lnTo>
                  <a:lnTo>
                    <a:pt x="9313218" y="1243910"/>
                  </a:lnTo>
                  <a:lnTo>
                    <a:pt x="9283123" y="1250361"/>
                  </a:lnTo>
                  <a:lnTo>
                    <a:pt x="9252220" y="1253645"/>
                  </a:lnTo>
                  <a:lnTo>
                    <a:pt x="9227524" y="1262957"/>
                  </a:lnTo>
                  <a:lnTo>
                    <a:pt x="9220637" y="1295681"/>
                  </a:lnTo>
                  <a:lnTo>
                    <a:pt x="9210474" y="1334320"/>
                  </a:lnTo>
                  <a:lnTo>
                    <a:pt x="9193520" y="1363608"/>
                  </a:lnTo>
                  <a:lnTo>
                    <a:pt x="9161013" y="1376436"/>
                  </a:lnTo>
                  <a:lnTo>
                    <a:pt x="9122643" y="1364380"/>
                  </a:lnTo>
                  <a:lnTo>
                    <a:pt x="9103928" y="1352311"/>
                  </a:lnTo>
                  <a:lnTo>
                    <a:pt x="9073493" y="1309187"/>
                  </a:lnTo>
                  <a:lnTo>
                    <a:pt x="9055243" y="1270264"/>
                  </a:lnTo>
                  <a:lnTo>
                    <a:pt x="9035737" y="1237111"/>
                  </a:lnTo>
                  <a:lnTo>
                    <a:pt x="8993014" y="1246409"/>
                  </a:lnTo>
                  <a:lnTo>
                    <a:pt x="8972485" y="1256506"/>
                  </a:lnTo>
                  <a:lnTo>
                    <a:pt x="8935759" y="1269406"/>
                  </a:lnTo>
                  <a:lnTo>
                    <a:pt x="8903798" y="1273839"/>
                  </a:lnTo>
                  <a:lnTo>
                    <a:pt x="8871260" y="1276608"/>
                  </a:lnTo>
                  <a:lnTo>
                    <a:pt x="8839761" y="1274702"/>
                  </a:lnTo>
                  <a:lnTo>
                    <a:pt x="8796341" y="1292878"/>
                  </a:lnTo>
                  <a:lnTo>
                    <a:pt x="8772091" y="1306193"/>
                  </a:lnTo>
                  <a:lnTo>
                    <a:pt x="8747137" y="1323088"/>
                  </a:lnTo>
                  <a:lnTo>
                    <a:pt x="8724246" y="1339128"/>
                  </a:lnTo>
                  <a:lnTo>
                    <a:pt x="8701757" y="1360674"/>
                  </a:lnTo>
                  <a:lnTo>
                    <a:pt x="8692967" y="1379930"/>
                  </a:lnTo>
                  <a:lnTo>
                    <a:pt x="8684174" y="1399188"/>
                  </a:lnTo>
                  <a:lnTo>
                    <a:pt x="8676736" y="1422817"/>
                  </a:lnTo>
                  <a:lnTo>
                    <a:pt x="8673920" y="1445220"/>
                  </a:lnTo>
                  <a:lnTo>
                    <a:pt x="8671105" y="1467622"/>
                  </a:lnTo>
                  <a:lnTo>
                    <a:pt x="8671710" y="1489669"/>
                  </a:lnTo>
                  <a:lnTo>
                    <a:pt x="8684279" y="1523191"/>
                  </a:lnTo>
                  <a:lnTo>
                    <a:pt x="8714724" y="1536354"/>
                  </a:lnTo>
                  <a:lnTo>
                    <a:pt x="8796334" y="1547236"/>
                  </a:lnTo>
                  <a:lnTo>
                    <a:pt x="8792260" y="1651971"/>
                  </a:lnTo>
                  <a:lnTo>
                    <a:pt x="8747289" y="1668912"/>
                  </a:lnTo>
                  <a:lnTo>
                    <a:pt x="8709289" y="1671016"/>
                  </a:lnTo>
                  <a:lnTo>
                    <a:pt x="8671282" y="1673114"/>
                  </a:lnTo>
                  <a:lnTo>
                    <a:pt x="8631290" y="1675264"/>
                  </a:lnTo>
                  <a:lnTo>
                    <a:pt x="8615437" y="1691415"/>
                  </a:lnTo>
                  <a:lnTo>
                    <a:pt x="8599491" y="1714384"/>
                  </a:lnTo>
                  <a:lnTo>
                    <a:pt x="8596009" y="1736457"/>
                  </a:lnTo>
                  <a:lnTo>
                    <a:pt x="8601825" y="1758070"/>
                  </a:lnTo>
                  <a:lnTo>
                    <a:pt x="8610008" y="1779575"/>
                  </a:lnTo>
                  <a:lnTo>
                    <a:pt x="8626475" y="1800679"/>
                  </a:lnTo>
                  <a:lnTo>
                    <a:pt x="8637194" y="1820635"/>
                  </a:lnTo>
                  <a:lnTo>
                    <a:pt x="8648412" y="1841547"/>
                  </a:lnTo>
                  <a:lnTo>
                    <a:pt x="8635625" y="1907602"/>
                  </a:lnTo>
                  <a:lnTo>
                    <a:pt x="8638552" y="1943057"/>
                  </a:lnTo>
                  <a:lnTo>
                    <a:pt x="8680720" y="1975701"/>
                  </a:lnTo>
                  <a:lnTo>
                    <a:pt x="8679988" y="2004053"/>
                  </a:lnTo>
                  <a:lnTo>
                    <a:pt x="8660182" y="2016102"/>
                  </a:lnTo>
                  <a:lnTo>
                    <a:pt x="8636639" y="2018080"/>
                  </a:lnTo>
                  <a:lnTo>
                    <a:pt x="8614073" y="2020585"/>
                  </a:lnTo>
                  <a:lnTo>
                    <a:pt x="8591497" y="2023086"/>
                  </a:lnTo>
                  <a:lnTo>
                    <a:pt x="8570500" y="2026066"/>
                  </a:lnTo>
                  <a:lnTo>
                    <a:pt x="8558107" y="2053461"/>
                  </a:lnTo>
                  <a:lnTo>
                    <a:pt x="8560395" y="2098109"/>
                  </a:lnTo>
                  <a:lnTo>
                    <a:pt x="8561022" y="2140283"/>
                  </a:lnTo>
                  <a:lnTo>
                    <a:pt x="8561617" y="2182451"/>
                  </a:lnTo>
                  <a:lnTo>
                    <a:pt x="8560829" y="2223128"/>
                  </a:lnTo>
                  <a:lnTo>
                    <a:pt x="8431808" y="2246375"/>
                  </a:lnTo>
                  <a:lnTo>
                    <a:pt x="8314829" y="2253174"/>
                  </a:lnTo>
                  <a:lnTo>
                    <a:pt x="8278403" y="2263766"/>
                  </a:lnTo>
                  <a:lnTo>
                    <a:pt x="8213155" y="2275578"/>
                  </a:lnTo>
                  <a:lnTo>
                    <a:pt x="8163719" y="2281573"/>
                  </a:lnTo>
                  <a:lnTo>
                    <a:pt x="8116243" y="2291267"/>
                  </a:lnTo>
                  <a:lnTo>
                    <a:pt x="7973417" y="2321189"/>
                  </a:lnTo>
                  <a:lnTo>
                    <a:pt x="7943494" y="2327308"/>
                  </a:lnTo>
                  <a:lnTo>
                    <a:pt x="7913489" y="2342397"/>
                  </a:lnTo>
                  <a:lnTo>
                    <a:pt x="7880924" y="2336152"/>
                  </a:lnTo>
                  <a:lnTo>
                    <a:pt x="7860268" y="2332155"/>
                  </a:lnTo>
                  <a:lnTo>
                    <a:pt x="7798811" y="2309811"/>
                  </a:lnTo>
                  <a:lnTo>
                    <a:pt x="7739463" y="2284461"/>
                  </a:lnTo>
                  <a:lnTo>
                    <a:pt x="7680120" y="2259110"/>
                  </a:lnTo>
                  <a:lnTo>
                    <a:pt x="7622806" y="2230884"/>
                  </a:lnTo>
                  <a:lnTo>
                    <a:pt x="7593924" y="2212378"/>
                  </a:lnTo>
                  <a:lnTo>
                    <a:pt x="7506023" y="2270486"/>
                  </a:lnTo>
                  <a:lnTo>
                    <a:pt x="7470462" y="2231656"/>
                  </a:lnTo>
                  <a:lnTo>
                    <a:pt x="7422471" y="2185795"/>
                  </a:lnTo>
                  <a:lnTo>
                    <a:pt x="7368130" y="2151165"/>
                  </a:lnTo>
                  <a:lnTo>
                    <a:pt x="7340960" y="2133853"/>
                  </a:lnTo>
                  <a:lnTo>
                    <a:pt x="7312468" y="2119688"/>
                  </a:lnTo>
                  <a:lnTo>
                    <a:pt x="7285159" y="2110363"/>
                  </a:lnTo>
                  <a:lnTo>
                    <a:pt x="7257849" y="2101030"/>
                  </a:lnTo>
                  <a:lnTo>
                    <a:pt x="7231952" y="2097396"/>
                  </a:lnTo>
                  <a:lnTo>
                    <a:pt x="7210348" y="2100839"/>
                  </a:lnTo>
                  <a:lnTo>
                    <a:pt x="7140975" y="2118520"/>
                  </a:lnTo>
                  <a:lnTo>
                    <a:pt x="7077385" y="2135442"/>
                  </a:lnTo>
                  <a:lnTo>
                    <a:pt x="7060729" y="2149807"/>
                  </a:lnTo>
                  <a:lnTo>
                    <a:pt x="7042876" y="2165192"/>
                  </a:lnTo>
                  <a:lnTo>
                    <a:pt x="7032414" y="2191888"/>
                  </a:lnTo>
                  <a:lnTo>
                    <a:pt x="7019919" y="2211014"/>
                  </a:lnTo>
                  <a:lnTo>
                    <a:pt x="7003808" y="2235665"/>
                  </a:lnTo>
                  <a:lnTo>
                    <a:pt x="6984960" y="2261457"/>
                  </a:lnTo>
                  <a:lnTo>
                    <a:pt x="6970951" y="2287185"/>
                  </a:lnTo>
                  <a:lnTo>
                    <a:pt x="6946357" y="2332360"/>
                  </a:lnTo>
                  <a:lnTo>
                    <a:pt x="6927168" y="2386233"/>
                  </a:lnTo>
                  <a:lnTo>
                    <a:pt x="6898863" y="2430004"/>
                  </a:lnTo>
                  <a:lnTo>
                    <a:pt x="6884709" y="2451892"/>
                  </a:lnTo>
                  <a:lnTo>
                    <a:pt x="6867643" y="2471335"/>
                  </a:lnTo>
                  <a:lnTo>
                    <a:pt x="6847179" y="2485777"/>
                  </a:lnTo>
                  <a:lnTo>
                    <a:pt x="6826715" y="2500220"/>
                  </a:lnTo>
                  <a:lnTo>
                    <a:pt x="6802723" y="2509340"/>
                  </a:lnTo>
                  <a:lnTo>
                    <a:pt x="6772365" y="2511622"/>
                  </a:lnTo>
                  <a:lnTo>
                    <a:pt x="6720663" y="2510515"/>
                  </a:lnTo>
                  <a:lnTo>
                    <a:pt x="6689387" y="2503458"/>
                  </a:lnTo>
                  <a:lnTo>
                    <a:pt x="6658115" y="2496401"/>
                  </a:lnTo>
                  <a:lnTo>
                    <a:pt x="6628727" y="2484841"/>
                  </a:lnTo>
                  <a:lnTo>
                    <a:pt x="6600087" y="2449689"/>
                  </a:lnTo>
                  <a:lnTo>
                    <a:pt x="6589917" y="2419307"/>
                  </a:lnTo>
                  <a:lnTo>
                    <a:pt x="6579214" y="2387842"/>
                  </a:lnTo>
                  <a:lnTo>
                    <a:pt x="6568511" y="2356379"/>
                  </a:lnTo>
                  <a:lnTo>
                    <a:pt x="6556738" y="2324598"/>
                  </a:lnTo>
                  <a:lnTo>
                    <a:pt x="6537046" y="2300790"/>
                  </a:lnTo>
                  <a:lnTo>
                    <a:pt x="6518384" y="2278222"/>
                  </a:lnTo>
                  <a:lnTo>
                    <a:pt x="6481279" y="2261346"/>
                  </a:lnTo>
                  <a:lnTo>
                    <a:pt x="6442984" y="2247978"/>
                  </a:lnTo>
                  <a:lnTo>
                    <a:pt x="6425512" y="2232777"/>
                  </a:lnTo>
                  <a:lnTo>
                    <a:pt x="6408635" y="2218116"/>
                  </a:lnTo>
                  <a:lnTo>
                    <a:pt x="6397755" y="2193669"/>
                  </a:lnTo>
                  <a:lnTo>
                    <a:pt x="6376547" y="2183809"/>
                  </a:lnTo>
                  <a:lnTo>
                    <a:pt x="6345359" y="2171985"/>
                  </a:lnTo>
                  <a:lnTo>
                    <a:pt x="6312517" y="2162989"/>
                  </a:lnTo>
                  <a:lnTo>
                    <a:pt x="6279970" y="2155247"/>
                  </a:lnTo>
                  <a:lnTo>
                    <a:pt x="6235554" y="2144134"/>
                  </a:lnTo>
                  <a:lnTo>
                    <a:pt x="6206496" y="2145243"/>
                  </a:lnTo>
                  <a:lnTo>
                    <a:pt x="6188835" y="2160688"/>
                  </a:lnTo>
                  <a:lnTo>
                    <a:pt x="6171180" y="2176132"/>
                  </a:lnTo>
                  <a:lnTo>
                    <a:pt x="6165121" y="2204940"/>
                  </a:lnTo>
                  <a:lnTo>
                    <a:pt x="6164356" y="2249099"/>
                  </a:lnTo>
                  <a:lnTo>
                    <a:pt x="6032286" y="2262110"/>
                  </a:lnTo>
                  <a:lnTo>
                    <a:pt x="5919096" y="2254118"/>
                  </a:lnTo>
                  <a:lnTo>
                    <a:pt x="5803903" y="2262704"/>
                  </a:lnTo>
                  <a:lnTo>
                    <a:pt x="5774358" y="2259644"/>
                  </a:lnTo>
                  <a:lnTo>
                    <a:pt x="5756660" y="2241555"/>
                  </a:lnTo>
                  <a:lnTo>
                    <a:pt x="5758570" y="2215544"/>
                  </a:lnTo>
                  <a:lnTo>
                    <a:pt x="5761735" y="2187891"/>
                  </a:lnTo>
                  <a:lnTo>
                    <a:pt x="5764895" y="2160239"/>
                  </a:lnTo>
                  <a:lnTo>
                    <a:pt x="5770290" y="2131084"/>
                  </a:lnTo>
                  <a:lnTo>
                    <a:pt x="5773080" y="2090848"/>
                  </a:lnTo>
                  <a:lnTo>
                    <a:pt x="5760991" y="2073661"/>
                  </a:lnTo>
                  <a:lnTo>
                    <a:pt x="5748130" y="2055954"/>
                  </a:lnTo>
                  <a:lnTo>
                    <a:pt x="5735272" y="2038240"/>
                  </a:lnTo>
                  <a:lnTo>
                    <a:pt x="5721170" y="2021035"/>
                  </a:lnTo>
                  <a:lnTo>
                    <a:pt x="5718203" y="1996106"/>
                  </a:lnTo>
                  <a:lnTo>
                    <a:pt x="5725080" y="1959550"/>
                  </a:lnTo>
                  <a:lnTo>
                    <a:pt x="5738608" y="1938973"/>
                  </a:lnTo>
                  <a:lnTo>
                    <a:pt x="5752133" y="1918398"/>
                  </a:lnTo>
                  <a:lnTo>
                    <a:pt x="5770460" y="1897123"/>
                  </a:lnTo>
                  <a:lnTo>
                    <a:pt x="5786217" y="1873684"/>
                  </a:lnTo>
                  <a:lnTo>
                    <a:pt x="5801965" y="1850253"/>
                  </a:lnTo>
                  <a:lnTo>
                    <a:pt x="5815518" y="1825521"/>
                  </a:lnTo>
                  <a:lnTo>
                    <a:pt x="5820218" y="1800238"/>
                  </a:lnTo>
                  <a:lnTo>
                    <a:pt x="5824922" y="1774952"/>
                  </a:lnTo>
                  <a:lnTo>
                    <a:pt x="5820814" y="1748803"/>
                  </a:lnTo>
                  <a:lnTo>
                    <a:pt x="5801175" y="1722701"/>
                  </a:lnTo>
                  <a:lnTo>
                    <a:pt x="5787758" y="1704881"/>
                  </a:lnTo>
                  <a:lnTo>
                    <a:pt x="5772817" y="1686863"/>
                  </a:lnTo>
                  <a:lnTo>
                    <a:pt x="5757655" y="1669658"/>
                  </a:lnTo>
                  <a:lnTo>
                    <a:pt x="5742487" y="1652451"/>
                  </a:lnTo>
                  <a:lnTo>
                    <a:pt x="5727291" y="1636320"/>
                  </a:lnTo>
                  <a:lnTo>
                    <a:pt x="5712768" y="1619332"/>
                  </a:lnTo>
                  <a:lnTo>
                    <a:pt x="5694989" y="1598512"/>
                  </a:lnTo>
                  <a:lnTo>
                    <a:pt x="5693426" y="1553271"/>
                  </a:lnTo>
                  <a:lnTo>
                    <a:pt x="5695082" y="1528197"/>
                  </a:lnTo>
                  <a:lnTo>
                    <a:pt x="5652108" y="1452105"/>
                  </a:lnTo>
                  <a:lnTo>
                    <a:pt x="5612408" y="1446751"/>
                  </a:lnTo>
                  <a:lnTo>
                    <a:pt x="5538577" y="1474383"/>
                  </a:lnTo>
                  <a:lnTo>
                    <a:pt x="5519617" y="1490111"/>
                  </a:lnTo>
                  <a:lnTo>
                    <a:pt x="5480549" y="1436250"/>
                  </a:lnTo>
                  <a:lnTo>
                    <a:pt x="5439336" y="1395065"/>
                  </a:lnTo>
                  <a:lnTo>
                    <a:pt x="5408079" y="1348645"/>
                  </a:lnTo>
                  <a:lnTo>
                    <a:pt x="5390766" y="1322930"/>
                  </a:lnTo>
                  <a:lnTo>
                    <a:pt x="5375790" y="1295107"/>
                  </a:lnTo>
                  <a:lnTo>
                    <a:pt x="5360470" y="1267033"/>
                  </a:lnTo>
                  <a:lnTo>
                    <a:pt x="5345162" y="1238965"/>
                  </a:lnTo>
                  <a:lnTo>
                    <a:pt x="5330602" y="1211154"/>
                  </a:lnTo>
                  <a:lnTo>
                    <a:pt x="5315586" y="1184061"/>
                  </a:lnTo>
                  <a:lnTo>
                    <a:pt x="5305317" y="1165523"/>
                  </a:lnTo>
                  <a:lnTo>
                    <a:pt x="5291600" y="1144605"/>
                  </a:lnTo>
                  <a:lnTo>
                    <a:pt x="5280224" y="1124214"/>
                  </a:lnTo>
                  <a:lnTo>
                    <a:pt x="5268847" y="1103821"/>
                  </a:lnTo>
                  <a:lnTo>
                    <a:pt x="5258823" y="1084044"/>
                  </a:lnTo>
                  <a:lnTo>
                    <a:pt x="5254377" y="1063005"/>
                  </a:lnTo>
                  <a:lnTo>
                    <a:pt x="5281879" y="1055652"/>
                  </a:lnTo>
                  <a:lnTo>
                    <a:pt x="5324822" y="1037332"/>
                  </a:lnTo>
                  <a:lnTo>
                    <a:pt x="5365918" y="1016755"/>
                  </a:lnTo>
                  <a:lnTo>
                    <a:pt x="5407010" y="996186"/>
                  </a:lnTo>
                  <a:lnTo>
                    <a:pt x="5447020" y="972643"/>
                  </a:lnTo>
                  <a:lnTo>
                    <a:pt x="5469291" y="954190"/>
                  </a:lnTo>
                  <a:lnTo>
                    <a:pt x="5481052" y="933633"/>
                  </a:lnTo>
                  <a:lnTo>
                    <a:pt x="5490177" y="898575"/>
                  </a:lnTo>
                  <a:lnTo>
                    <a:pt x="5493773" y="871220"/>
                  </a:lnTo>
                  <a:lnTo>
                    <a:pt x="5487566" y="831360"/>
                  </a:lnTo>
                  <a:lnTo>
                    <a:pt x="5472773" y="794099"/>
                  </a:lnTo>
                  <a:lnTo>
                    <a:pt x="5459769" y="756956"/>
                  </a:lnTo>
                  <a:lnTo>
                    <a:pt x="5453187" y="722175"/>
                  </a:lnTo>
                  <a:lnTo>
                    <a:pt x="5446164" y="701190"/>
                  </a:lnTo>
                  <a:lnTo>
                    <a:pt x="5439147" y="680211"/>
                  </a:lnTo>
                  <a:lnTo>
                    <a:pt x="5429932" y="661237"/>
                  </a:lnTo>
                  <a:lnTo>
                    <a:pt x="5398455" y="649249"/>
                  </a:lnTo>
                  <a:lnTo>
                    <a:pt x="5346957" y="666389"/>
                  </a:lnTo>
                  <a:lnTo>
                    <a:pt x="5295187" y="680785"/>
                  </a:lnTo>
                  <a:lnTo>
                    <a:pt x="5269294" y="687986"/>
                  </a:lnTo>
                  <a:lnTo>
                    <a:pt x="5243475" y="694990"/>
                  </a:lnTo>
                  <a:lnTo>
                    <a:pt x="5221731" y="697108"/>
                  </a:lnTo>
                  <a:lnTo>
                    <a:pt x="5199990" y="699224"/>
                  </a:lnTo>
                  <a:lnTo>
                    <a:pt x="5172767" y="687591"/>
                  </a:lnTo>
                  <a:lnTo>
                    <a:pt x="5164606" y="652222"/>
                  </a:lnTo>
                  <a:lnTo>
                    <a:pt x="5138347" y="633289"/>
                  </a:lnTo>
                  <a:lnTo>
                    <a:pt x="5110200" y="644059"/>
                  </a:lnTo>
                  <a:lnTo>
                    <a:pt x="5083463" y="661422"/>
                  </a:lnTo>
                  <a:lnTo>
                    <a:pt x="5053068" y="664462"/>
                  </a:lnTo>
                  <a:lnTo>
                    <a:pt x="4959874" y="549052"/>
                  </a:lnTo>
                  <a:lnTo>
                    <a:pt x="4936964" y="545866"/>
                  </a:lnTo>
                  <a:lnTo>
                    <a:pt x="4900724" y="567886"/>
                  </a:lnTo>
                  <a:lnTo>
                    <a:pt x="4882536" y="580576"/>
                  </a:lnTo>
                  <a:lnTo>
                    <a:pt x="4864968" y="596792"/>
                  </a:lnTo>
                  <a:lnTo>
                    <a:pt x="4840591" y="624333"/>
                  </a:lnTo>
                  <a:lnTo>
                    <a:pt x="4843599" y="664462"/>
                  </a:lnTo>
                  <a:lnTo>
                    <a:pt x="4850926" y="705859"/>
                  </a:lnTo>
                  <a:lnTo>
                    <a:pt x="4812900" y="744631"/>
                  </a:lnTo>
                  <a:lnTo>
                    <a:pt x="4762854" y="752663"/>
                  </a:lnTo>
                  <a:lnTo>
                    <a:pt x="4723895" y="754232"/>
                  </a:lnTo>
                  <a:lnTo>
                    <a:pt x="4706215" y="699824"/>
                  </a:lnTo>
                  <a:lnTo>
                    <a:pt x="4676992" y="688099"/>
                  </a:lnTo>
                  <a:lnTo>
                    <a:pt x="4651108" y="699528"/>
                  </a:lnTo>
                  <a:lnTo>
                    <a:pt x="4625436" y="763842"/>
                  </a:lnTo>
                  <a:lnTo>
                    <a:pt x="4637416" y="823472"/>
                  </a:lnTo>
                  <a:lnTo>
                    <a:pt x="4625963" y="880729"/>
                  </a:lnTo>
                  <a:lnTo>
                    <a:pt x="4538911" y="897052"/>
                  </a:lnTo>
                  <a:lnTo>
                    <a:pt x="4524428" y="857370"/>
                  </a:lnTo>
                  <a:lnTo>
                    <a:pt x="4534688" y="836286"/>
                  </a:lnTo>
                  <a:lnTo>
                    <a:pt x="4554010" y="802751"/>
                  </a:lnTo>
                  <a:lnTo>
                    <a:pt x="4564754" y="775996"/>
                  </a:lnTo>
                  <a:lnTo>
                    <a:pt x="4571231" y="712098"/>
                  </a:lnTo>
                  <a:lnTo>
                    <a:pt x="4575860" y="665372"/>
                  </a:lnTo>
                  <a:lnTo>
                    <a:pt x="4575637" y="631811"/>
                  </a:lnTo>
                  <a:lnTo>
                    <a:pt x="4575439" y="598250"/>
                  </a:lnTo>
                  <a:lnTo>
                    <a:pt x="4555232" y="566522"/>
                  </a:lnTo>
                  <a:lnTo>
                    <a:pt x="4515656" y="550621"/>
                  </a:lnTo>
                  <a:lnTo>
                    <a:pt x="4477702" y="551557"/>
                  </a:lnTo>
                  <a:lnTo>
                    <a:pt x="4439741" y="552494"/>
                  </a:lnTo>
                  <a:lnTo>
                    <a:pt x="4388914" y="557329"/>
                  </a:lnTo>
                  <a:lnTo>
                    <a:pt x="4319913" y="562439"/>
                  </a:lnTo>
                  <a:lnTo>
                    <a:pt x="4288368" y="575300"/>
                  </a:lnTo>
                  <a:lnTo>
                    <a:pt x="4264410" y="601277"/>
                  </a:lnTo>
                  <a:lnTo>
                    <a:pt x="4238306" y="625012"/>
                  </a:lnTo>
                  <a:lnTo>
                    <a:pt x="4206804" y="626219"/>
                  </a:lnTo>
                  <a:lnTo>
                    <a:pt x="4185475" y="612916"/>
                  </a:lnTo>
                  <a:lnTo>
                    <a:pt x="4171652" y="589649"/>
                  </a:lnTo>
                  <a:lnTo>
                    <a:pt x="4159644" y="564009"/>
                  </a:lnTo>
                  <a:lnTo>
                    <a:pt x="4153957" y="531371"/>
                  </a:lnTo>
                  <a:lnTo>
                    <a:pt x="4143090" y="512113"/>
                  </a:lnTo>
                  <a:lnTo>
                    <a:pt x="4097815" y="528106"/>
                  </a:lnTo>
                  <a:lnTo>
                    <a:pt x="4072359" y="548841"/>
                  </a:lnTo>
                  <a:lnTo>
                    <a:pt x="4046910" y="569575"/>
                  </a:lnTo>
                  <a:lnTo>
                    <a:pt x="4020397" y="592473"/>
                  </a:lnTo>
                  <a:lnTo>
                    <a:pt x="3998913" y="601891"/>
                  </a:lnTo>
                  <a:lnTo>
                    <a:pt x="3950407" y="599298"/>
                  </a:lnTo>
                  <a:lnTo>
                    <a:pt x="3913219" y="589649"/>
                  </a:lnTo>
                  <a:lnTo>
                    <a:pt x="3876030" y="579996"/>
                  </a:lnTo>
                  <a:lnTo>
                    <a:pt x="3838088" y="569627"/>
                  </a:lnTo>
                  <a:lnTo>
                    <a:pt x="3782771" y="562347"/>
                  </a:lnTo>
                  <a:lnTo>
                    <a:pt x="3740522" y="567017"/>
                  </a:lnTo>
                  <a:lnTo>
                    <a:pt x="3701027" y="562439"/>
                  </a:lnTo>
                  <a:lnTo>
                    <a:pt x="3661529" y="555252"/>
                  </a:lnTo>
                  <a:lnTo>
                    <a:pt x="3626266" y="536989"/>
                  </a:lnTo>
                  <a:lnTo>
                    <a:pt x="3596292" y="502591"/>
                  </a:lnTo>
                  <a:lnTo>
                    <a:pt x="3582470" y="481005"/>
                  </a:lnTo>
                  <a:lnTo>
                    <a:pt x="3588128" y="369294"/>
                  </a:lnTo>
                  <a:lnTo>
                    <a:pt x="3583797" y="343826"/>
                  </a:lnTo>
                  <a:lnTo>
                    <a:pt x="3565265" y="332192"/>
                  </a:lnTo>
                  <a:lnTo>
                    <a:pt x="3537803" y="328486"/>
                  </a:lnTo>
                  <a:lnTo>
                    <a:pt x="3509364" y="325979"/>
                  </a:lnTo>
                  <a:lnTo>
                    <a:pt x="3476284" y="328354"/>
                  </a:lnTo>
                  <a:lnTo>
                    <a:pt x="3458908" y="314886"/>
                  </a:lnTo>
                  <a:lnTo>
                    <a:pt x="3443303" y="262141"/>
                  </a:lnTo>
                  <a:lnTo>
                    <a:pt x="3439868" y="215593"/>
                  </a:lnTo>
                  <a:lnTo>
                    <a:pt x="3436432" y="169041"/>
                  </a:lnTo>
                  <a:lnTo>
                    <a:pt x="3434466" y="120252"/>
                  </a:lnTo>
                  <a:lnTo>
                    <a:pt x="3432535" y="97974"/>
                  </a:lnTo>
                  <a:lnTo>
                    <a:pt x="3413798" y="75254"/>
                  </a:lnTo>
                  <a:lnTo>
                    <a:pt x="3356648" y="75538"/>
                  </a:lnTo>
                  <a:lnTo>
                    <a:pt x="3327226" y="75141"/>
                  </a:lnTo>
                  <a:lnTo>
                    <a:pt x="3288633" y="70394"/>
                  </a:lnTo>
                  <a:lnTo>
                    <a:pt x="3259662" y="49785"/>
                  </a:lnTo>
                  <a:lnTo>
                    <a:pt x="3238559" y="34682"/>
                  </a:lnTo>
                  <a:lnTo>
                    <a:pt x="3213801" y="32842"/>
                  </a:lnTo>
                  <a:lnTo>
                    <a:pt x="3186981" y="39147"/>
                  </a:lnTo>
                  <a:lnTo>
                    <a:pt x="3161029" y="46929"/>
                  </a:lnTo>
                  <a:lnTo>
                    <a:pt x="3135071" y="54698"/>
                  </a:lnTo>
                  <a:lnTo>
                    <a:pt x="3109919" y="64260"/>
                  </a:lnTo>
                  <a:lnTo>
                    <a:pt x="3087576" y="70050"/>
                  </a:lnTo>
                  <a:lnTo>
                    <a:pt x="3065233" y="75834"/>
                  </a:lnTo>
                  <a:lnTo>
                    <a:pt x="3031809" y="70050"/>
                  </a:lnTo>
                  <a:lnTo>
                    <a:pt x="3009392" y="44556"/>
                  </a:lnTo>
                  <a:lnTo>
                    <a:pt x="3008682" y="11561"/>
                  </a:lnTo>
                  <a:lnTo>
                    <a:pt x="2990366" y="0"/>
                  </a:lnTo>
                  <a:lnTo>
                    <a:pt x="2931982" y="11824"/>
                  </a:lnTo>
                  <a:lnTo>
                    <a:pt x="2910753" y="14278"/>
                  </a:lnTo>
                  <a:lnTo>
                    <a:pt x="2806123" y="39905"/>
                  </a:lnTo>
                  <a:lnTo>
                    <a:pt x="2772011" y="45563"/>
                  </a:lnTo>
                  <a:lnTo>
                    <a:pt x="2740512" y="70559"/>
                  </a:lnTo>
                  <a:lnTo>
                    <a:pt x="2736094" y="100842"/>
                  </a:lnTo>
                  <a:lnTo>
                    <a:pt x="2733105" y="141539"/>
                  </a:lnTo>
                  <a:lnTo>
                    <a:pt x="2723043" y="178861"/>
                  </a:lnTo>
                  <a:lnTo>
                    <a:pt x="2711720" y="215265"/>
                  </a:lnTo>
                  <a:lnTo>
                    <a:pt x="2693563" y="240390"/>
                  </a:lnTo>
                  <a:lnTo>
                    <a:pt x="2667276" y="246873"/>
                  </a:lnTo>
                  <a:lnTo>
                    <a:pt x="2621995" y="237569"/>
                  </a:lnTo>
                  <a:lnTo>
                    <a:pt x="2595187" y="235992"/>
                  </a:lnTo>
                  <a:lnTo>
                    <a:pt x="2568370" y="234415"/>
                  </a:lnTo>
                  <a:lnTo>
                    <a:pt x="2542778" y="237944"/>
                  </a:lnTo>
                  <a:lnTo>
                    <a:pt x="2529898" y="256389"/>
                  </a:lnTo>
                  <a:lnTo>
                    <a:pt x="2526336" y="281733"/>
                  </a:lnTo>
                  <a:lnTo>
                    <a:pt x="2517130" y="315387"/>
                  </a:lnTo>
                  <a:lnTo>
                    <a:pt x="2504052" y="338001"/>
                  </a:lnTo>
                  <a:lnTo>
                    <a:pt x="2488428" y="352431"/>
                  </a:lnTo>
                  <a:lnTo>
                    <a:pt x="2457168" y="364150"/>
                  </a:lnTo>
                  <a:lnTo>
                    <a:pt x="2426522" y="366570"/>
                  </a:lnTo>
                  <a:lnTo>
                    <a:pt x="2395699" y="367032"/>
                  </a:lnTo>
                  <a:lnTo>
                    <a:pt x="2370286" y="357985"/>
                  </a:lnTo>
                  <a:lnTo>
                    <a:pt x="2354427" y="338009"/>
                  </a:lnTo>
                  <a:lnTo>
                    <a:pt x="2351711" y="297205"/>
                  </a:lnTo>
                  <a:lnTo>
                    <a:pt x="2350350" y="256397"/>
                  </a:lnTo>
                  <a:lnTo>
                    <a:pt x="2335520" y="227056"/>
                  </a:lnTo>
                  <a:lnTo>
                    <a:pt x="2317713" y="215593"/>
                  </a:lnTo>
                  <a:lnTo>
                    <a:pt x="2299900" y="204126"/>
                  </a:lnTo>
                  <a:lnTo>
                    <a:pt x="2278797" y="196291"/>
                  </a:lnTo>
                  <a:lnTo>
                    <a:pt x="2250077" y="200386"/>
                  </a:lnTo>
                  <a:lnTo>
                    <a:pt x="2225213" y="219669"/>
                  </a:lnTo>
                  <a:lnTo>
                    <a:pt x="2205217" y="245270"/>
                  </a:lnTo>
                  <a:lnTo>
                    <a:pt x="2183591" y="290894"/>
                  </a:lnTo>
                  <a:lnTo>
                    <a:pt x="2176239" y="326092"/>
                  </a:lnTo>
                  <a:lnTo>
                    <a:pt x="2169446" y="352972"/>
                  </a:lnTo>
                  <a:lnTo>
                    <a:pt x="2144821" y="361546"/>
                  </a:lnTo>
                  <a:lnTo>
                    <a:pt x="2117902" y="357997"/>
                  </a:lnTo>
                  <a:lnTo>
                    <a:pt x="2094635" y="348890"/>
                  </a:lnTo>
                  <a:lnTo>
                    <a:pt x="2080726" y="321382"/>
                  </a:lnTo>
                  <a:lnTo>
                    <a:pt x="2078620" y="289344"/>
                  </a:lnTo>
                  <a:lnTo>
                    <a:pt x="2074236" y="257761"/>
                  </a:lnTo>
                  <a:lnTo>
                    <a:pt x="2047032" y="235998"/>
                  </a:lnTo>
                  <a:lnTo>
                    <a:pt x="2023356" y="238531"/>
                  </a:lnTo>
                  <a:lnTo>
                    <a:pt x="1999977" y="247064"/>
                  </a:lnTo>
                  <a:lnTo>
                    <a:pt x="1976301" y="253679"/>
                  </a:lnTo>
                  <a:lnTo>
                    <a:pt x="1950179" y="256383"/>
                  </a:lnTo>
                  <a:lnTo>
                    <a:pt x="1927334" y="257755"/>
                  </a:lnTo>
                  <a:lnTo>
                    <a:pt x="1904482" y="259127"/>
                  </a:lnTo>
                  <a:lnTo>
                    <a:pt x="1881243" y="259332"/>
                  </a:lnTo>
                  <a:lnTo>
                    <a:pt x="1853267" y="258282"/>
                  </a:lnTo>
                  <a:lnTo>
                    <a:pt x="1826676" y="242792"/>
                  </a:lnTo>
                  <a:lnTo>
                    <a:pt x="1804616" y="224748"/>
                  </a:lnTo>
                  <a:lnTo>
                    <a:pt x="1746179" y="216801"/>
                  </a:lnTo>
                  <a:lnTo>
                    <a:pt x="1716503" y="229186"/>
                  </a:lnTo>
                  <a:lnTo>
                    <a:pt x="1698703" y="245897"/>
                  </a:lnTo>
                  <a:lnTo>
                    <a:pt x="1659924" y="247751"/>
                  </a:lnTo>
                  <a:lnTo>
                    <a:pt x="1629370" y="245132"/>
                  </a:lnTo>
                  <a:lnTo>
                    <a:pt x="1600885" y="248232"/>
                  </a:lnTo>
                  <a:lnTo>
                    <a:pt x="1572397" y="251324"/>
                  </a:lnTo>
                  <a:lnTo>
                    <a:pt x="1545853" y="259259"/>
                  </a:lnTo>
                  <a:lnTo>
                    <a:pt x="1534232" y="278152"/>
                  </a:lnTo>
                  <a:lnTo>
                    <a:pt x="1534034" y="304506"/>
                  </a:lnTo>
                  <a:lnTo>
                    <a:pt x="1507582" y="321850"/>
                  </a:lnTo>
                  <a:lnTo>
                    <a:pt x="1497512" y="343443"/>
                  </a:lnTo>
                  <a:lnTo>
                    <a:pt x="1486861" y="366268"/>
                  </a:lnTo>
                  <a:lnTo>
                    <a:pt x="1489776" y="392449"/>
                  </a:lnTo>
                  <a:lnTo>
                    <a:pt x="1474381" y="415531"/>
                  </a:lnTo>
                  <a:lnTo>
                    <a:pt x="1440690" y="432507"/>
                  </a:lnTo>
                  <a:lnTo>
                    <a:pt x="1409092" y="429137"/>
                  </a:lnTo>
                  <a:lnTo>
                    <a:pt x="1377504" y="425760"/>
                  </a:lnTo>
                  <a:lnTo>
                    <a:pt x="1338799" y="415987"/>
                  </a:lnTo>
                  <a:lnTo>
                    <a:pt x="1298919" y="403292"/>
                  </a:lnTo>
                  <a:lnTo>
                    <a:pt x="1219166" y="377907"/>
                  </a:lnTo>
                  <a:lnTo>
                    <a:pt x="1135729" y="342869"/>
                  </a:lnTo>
                  <a:lnTo>
                    <a:pt x="1105774" y="329837"/>
                  </a:lnTo>
                  <a:lnTo>
                    <a:pt x="1057936" y="337659"/>
                  </a:lnTo>
                  <a:lnTo>
                    <a:pt x="1034911" y="345506"/>
                  </a:lnTo>
                  <a:lnTo>
                    <a:pt x="978784" y="331195"/>
                  </a:lnTo>
                  <a:lnTo>
                    <a:pt x="955297" y="338595"/>
                  </a:lnTo>
                  <a:lnTo>
                    <a:pt x="920787" y="336643"/>
                  </a:lnTo>
                  <a:lnTo>
                    <a:pt x="870883" y="333755"/>
                  </a:lnTo>
                  <a:lnTo>
                    <a:pt x="821085" y="322061"/>
                  </a:lnTo>
                  <a:lnTo>
                    <a:pt x="771162" y="318962"/>
                  </a:lnTo>
                  <a:lnTo>
                    <a:pt x="736309" y="316793"/>
                  </a:lnTo>
                  <a:lnTo>
                    <a:pt x="715845" y="343402"/>
                  </a:lnTo>
                  <a:lnTo>
                    <a:pt x="680027" y="339361"/>
                  </a:lnTo>
                  <a:lnTo>
                    <a:pt x="645173" y="306247"/>
                  </a:lnTo>
                  <a:lnTo>
                    <a:pt x="628343" y="293117"/>
                  </a:lnTo>
                  <a:lnTo>
                    <a:pt x="593858" y="288237"/>
                  </a:lnTo>
                  <a:lnTo>
                    <a:pt x="559451" y="297997"/>
                  </a:lnTo>
                  <a:lnTo>
                    <a:pt x="526325" y="318962"/>
                  </a:lnTo>
                  <a:lnTo>
                    <a:pt x="495483" y="341919"/>
                  </a:lnTo>
                  <a:lnTo>
                    <a:pt x="469736" y="373475"/>
                  </a:lnTo>
                  <a:lnTo>
                    <a:pt x="455597" y="400568"/>
                  </a:lnTo>
                  <a:lnTo>
                    <a:pt x="434981" y="440077"/>
                  </a:lnTo>
                  <a:lnTo>
                    <a:pt x="427211" y="465693"/>
                  </a:lnTo>
                  <a:lnTo>
                    <a:pt x="410710" y="479462"/>
                  </a:lnTo>
                  <a:lnTo>
                    <a:pt x="392001" y="490350"/>
                  </a:lnTo>
                  <a:lnTo>
                    <a:pt x="361407" y="493054"/>
                  </a:lnTo>
                  <a:lnTo>
                    <a:pt x="314136" y="488986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09" name="Odessa¬0" descr="Odessa¬0">
              <a:extLst>
                <a:ext uri="{FF2B5EF4-FFF2-40B4-BE49-F238E27FC236}">
                  <a16:creationId xmlns:a16="http://schemas.microsoft.com/office/drawing/2014/main" id="{1947960C-8F12-454A-AE8E-1444C77210B0}"/>
                </a:ext>
              </a:extLst>
            </p:cNvPr>
            <p:cNvSpPr/>
            <p:nvPr/>
          </p:nvSpPr>
          <p:spPr>
            <a:xfrm>
              <a:off x="2959698" y="3066937"/>
              <a:ext cx="1063859" cy="1367932"/>
            </a:xfrm>
            <a:custGeom>
              <a:avLst/>
              <a:gdLst/>
              <a:ahLst/>
              <a:cxnLst/>
              <a:rect l="0" t="0" r="0" b="0"/>
              <a:pathLst>
                <a:path w="10856097" h="15845753">
                  <a:moveTo>
                    <a:pt x="6029786" y="0"/>
                  </a:moveTo>
                  <a:lnTo>
                    <a:pt x="6007068" y="5519"/>
                  </a:lnTo>
                  <a:lnTo>
                    <a:pt x="5979736" y="29189"/>
                  </a:lnTo>
                  <a:lnTo>
                    <a:pt x="5967616" y="49045"/>
                  </a:lnTo>
                  <a:lnTo>
                    <a:pt x="5955502" y="68903"/>
                  </a:lnTo>
                  <a:lnTo>
                    <a:pt x="5943946" y="92618"/>
                  </a:lnTo>
                  <a:lnTo>
                    <a:pt x="5932253" y="117052"/>
                  </a:lnTo>
                  <a:lnTo>
                    <a:pt x="5920567" y="141494"/>
                  </a:lnTo>
                  <a:lnTo>
                    <a:pt x="5907846" y="166850"/>
                  </a:lnTo>
                  <a:lnTo>
                    <a:pt x="5894169" y="189148"/>
                  </a:lnTo>
                  <a:lnTo>
                    <a:pt x="5880489" y="211438"/>
                  </a:lnTo>
                  <a:lnTo>
                    <a:pt x="5866009" y="231494"/>
                  </a:lnTo>
                  <a:lnTo>
                    <a:pt x="5847924" y="244914"/>
                  </a:lnTo>
                  <a:lnTo>
                    <a:pt x="5812794" y="230597"/>
                  </a:lnTo>
                  <a:lnTo>
                    <a:pt x="5796234" y="213629"/>
                  </a:lnTo>
                  <a:lnTo>
                    <a:pt x="5779674" y="196659"/>
                  </a:lnTo>
                  <a:lnTo>
                    <a:pt x="5762620" y="175529"/>
                  </a:lnTo>
                  <a:lnTo>
                    <a:pt x="5745908" y="153780"/>
                  </a:lnTo>
                  <a:lnTo>
                    <a:pt x="5729196" y="132029"/>
                  </a:lnTo>
                  <a:lnTo>
                    <a:pt x="5712782" y="109745"/>
                  </a:lnTo>
                  <a:lnTo>
                    <a:pt x="5694218" y="93931"/>
                  </a:lnTo>
                  <a:lnTo>
                    <a:pt x="5675652" y="78122"/>
                  </a:lnTo>
                  <a:lnTo>
                    <a:pt x="5655123" y="68580"/>
                  </a:lnTo>
                  <a:lnTo>
                    <a:pt x="5633010" y="69450"/>
                  </a:lnTo>
                  <a:lnTo>
                    <a:pt x="5609889" y="74885"/>
                  </a:lnTo>
                  <a:lnTo>
                    <a:pt x="5585400" y="88491"/>
                  </a:lnTo>
                  <a:lnTo>
                    <a:pt x="5562279" y="103454"/>
                  </a:lnTo>
                  <a:lnTo>
                    <a:pt x="5541874" y="115694"/>
                  </a:lnTo>
                  <a:lnTo>
                    <a:pt x="5518021" y="119176"/>
                  </a:lnTo>
                  <a:lnTo>
                    <a:pt x="5493145" y="110953"/>
                  </a:lnTo>
                  <a:lnTo>
                    <a:pt x="5469786" y="114329"/>
                  </a:lnTo>
                  <a:lnTo>
                    <a:pt x="5460071" y="136686"/>
                  </a:lnTo>
                  <a:lnTo>
                    <a:pt x="5425556" y="147382"/>
                  </a:lnTo>
                  <a:lnTo>
                    <a:pt x="5409938" y="170095"/>
                  </a:lnTo>
                  <a:lnTo>
                    <a:pt x="5380048" y="171421"/>
                  </a:lnTo>
                  <a:lnTo>
                    <a:pt x="5344615" y="187816"/>
                  </a:lnTo>
                  <a:lnTo>
                    <a:pt x="5324988" y="200597"/>
                  </a:lnTo>
                  <a:lnTo>
                    <a:pt x="5306561" y="212263"/>
                  </a:lnTo>
                  <a:lnTo>
                    <a:pt x="5269717" y="235596"/>
                  </a:lnTo>
                  <a:lnTo>
                    <a:pt x="5235831" y="258170"/>
                  </a:lnTo>
                  <a:lnTo>
                    <a:pt x="5198596" y="239593"/>
                  </a:lnTo>
                  <a:lnTo>
                    <a:pt x="5195154" y="209717"/>
                  </a:lnTo>
                  <a:lnTo>
                    <a:pt x="5174625" y="200023"/>
                  </a:lnTo>
                  <a:lnTo>
                    <a:pt x="5154010" y="193818"/>
                  </a:lnTo>
                  <a:lnTo>
                    <a:pt x="5124300" y="216345"/>
                  </a:lnTo>
                  <a:lnTo>
                    <a:pt x="5092717" y="239995"/>
                  </a:lnTo>
                  <a:lnTo>
                    <a:pt x="5082448" y="259370"/>
                  </a:lnTo>
                  <a:lnTo>
                    <a:pt x="5084848" y="280276"/>
                  </a:lnTo>
                  <a:lnTo>
                    <a:pt x="5087248" y="301175"/>
                  </a:lnTo>
                  <a:lnTo>
                    <a:pt x="5101935" y="323909"/>
                  </a:lnTo>
                  <a:lnTo>
                    <a:pt x="5122935" y="352365"/>
                  </a:lnTo>
                  <a:lnTo>
                    <a:pt x="5173267" y="420371"/>
                  </a:lnTo>
                  <a:lnTo>
                    <a:pt x="5198097" y="454039"/>
                  </a:lnTo>
                  <a:lnTo>
                    <a:pt x="5211848" y="479845"/>
                  </a:lnTo>
                  <a:lnTo>
                    <a:pt x="5212710" y="504707"/>
                  </a:lnTo>
                  <a:lnTo>
                    <a:pt x="5213575" y="529571"/>
                  </a:lnTo>
                  <a:lnTo>
                    <a:pt x="5201724" y="554248"/>
                  </a:lnTo>
                  <a:lnTo>
                    <a:pt x="5177341" y="589037"/>
                  </a:lnTo>
                  <a:lnTo>
                    <a:pt x="5161144" y="603954"/>
                  </a:lnTo>
                  <a:lnTo>
                    <a:pt x="5155479" y="633757"/>
                  </a:lnTo>
                  <a:lnTo>
                    <a:pt x="5163869" y="683061"/>
                  </a:lnTo>
                  <a:lnTo>
                    <a:pt x="5156943" y="714175"/>
                  </a:lnTo>
                  <a:lnTo>
                    <a:pt x="5109525" y="720427"/>
                  </a:lnTo>
                  <a:lnTo>
                    <a:pt x="5086721" y="682982"/>
                  </a:lnTo>
                  <a:lnTo>
                    <a:pt x="5054927" y="684254"/>
                  </a:lnTo>
                  <a:lnTo>
                    <a:pt x="4974780" y="712817"/>
                  </a:lnTo>
                  <a:lnTo>
                    <a:pt x="4931149" y="716899"/>
                  </a:lnTo>
                  <a:lnTo>
                    <a:pt x="4848493" y="724674"/>
                  </a:lnTo>
                  <a:lnTo>
                    <a:pt x="4762635" y="719702"/>
                  </a:lnTo>
                  <a:lnTo>
                    <a:pt x="4679511" y="718257"/>
                  </a:lnTo>
                  <a:lnTo>
                    <a:pt x="4655758" y="717862"/>
                  </a:lnTo>
                  <a:lnTo>
                    <a:pt x="4621571" y="717288"/>
                  </a:lnTo>
                  <a:lnTo>
                    <a:pt x="4588379" y="714181"/>
                  </a:lnTo>
                  <a:lnTo>
                    <a:pt x="4555184" y="711068"/>
                  </a:lnTo>
                  <a:lnTo>
                    <a:pt x="4522916" y="705681"/>
                  </a:lnTo>
                  <a:lnTo>
                    <a:pt x="4501324" y="695136"/>
                  </a:lnTo>
                  <a:lnTo>
                    <a:pt x="4475223" y="682427"/>
                  </a:lnTo>
                  <a:lnTo>
                    <a:pt x="4448684" y="662960"/>
                  </a:lnTo>
                  <a:lnTo>
                    <a:pt x="4423795" y="647533"/>
                  </a:lnTo>
                  <a:lnTo>
                    <a:pt x="4393530" y="628830"/>
                  </a:lnTo>
                  <a:lnTo>
                    <a:pt x="4363650" y="612462"/>
                  </a:lnTo>
                  <a:lnTo>
                    <a:pt x="4342183" y="583602"/>
                  </a:lnTo>
                  <a:lnTo>
                    <a:pt x="4328071" y="565328"/>
                  </a:lnTo>
                  <a:lnTo>
                    <a:pt x="4295933" y="561839"/>
                  </a:lnTo>
                  <a:lnTo>
                    <a:pt x="4278319" y="590000"/>
                  </a:lnTo>
                  <a:lnTo>
                    <a:pt x="4254742" y="610595"/>
                  </a:lnTo>
                  <a:lnTo>
                    <a:pt x="4227926" y="627129"/>
                  </a:lnTo>
                  <a:lnTo>
                    <a:pt x="4201111" y="643655"/>
                  </a:lnTo>
                  <a:lnTo>
                    <a:pt x="4171718" y="655816"/>
                  </a:lnTo>
                  <a:lnTo>
                    <a:pt x="4140874" y="665214"/>
                  </a:lnTo>
                  <a:lnTo>
                    <a:pt x="4099682" y="668485"/>
                  </a:lnTo>
                  <a:lnTo>
                    <a:pt x="4068666" y="679710"/>
                  </a:lnTo>
                  <a:lnTo>
                    <a:pt x="4052463" y="699218"/>
                  </a:lnTo>
                  <a:lnTo>
                    <a:pt x="4030917" y="718705"/>
                  </a:lnTo>
                  <a:lnTo>
                    <a:pt x="3989831" y="725908"/>
                  </a:lnTo>
                  <a:lnTo>
                    <a:pt x="3890570" y="732073"/>
                  </a:lnTo>
                  <a:lnTo>
                    <a:pt x="3826370" y="727108"/>
                  </a:lnTo>
                  <a:lnTo>
                    <a:pt x="3779737" y="716384"/>
                  </a:lnTo>
                  <a:lnTo>
                    <a:pt x="3735532" y="720981"/>
                  </a:lnTo>
                  <a:lnTo>
                    <a:pt x="3711908" y="723441"/>
                  </a:lnTo>
                  <a:lnTo>
                    <a:pt x="3689769" y="727596"/>
                  </a:lnTo>
                  <a:lnTo>
                    <a:pt x="3667525" y="731862"/>
                  </a:lnTo>
                  <a:lnTo>
                    <a:pt x="3645280" y="736136"/>
                  </a:lnTo>
                  <a:lnTo>
                    <a:pt x="3622805" y="739302"/>
                  </a:lnTo>
                  <a:lnTo>
                    <a:pt x="3598153" y="737304"/>
                  </a:lnTo>
                  <a:lnTo>
                    <a:pt x="3568792" y="709037"/>
                  </a:lnTo>
                  <a:lnTo>
                    <a:pt x="3528952" y="691145"/>
                  </a:lnTo>
                  <a:lnTo>
                    <a:pt x="3487978" y="676095"/>
                  </a:lnTo>
                  <a:lnTo>
                    <a:pt x="3447004" y="661040"/>
                  </a:lnTo>
                  <a:lnTo>
                    <a:pt x="3404718" y="649123"/>
                  </a:lnTo>
                  <a:lnTo>
                    <a:pt x="3368281" y="633929"/>
                  </a:lnTo>
                  <a:lnTo>
                    <a:pt x="3336269" y="620579"/>
                  </a:lnTo>
                  <a:lnTo>
                    <a:pt x="3317948" y="598567"/>
                  </a:lnTo>
                  <a:lnTo>
                    <a:pt x="3308590" y="576672"/>
                  </a:lnTo>
                  <a:lnTo>
                    <a:pt x="3267622" y="546875"/>
                  </a:lnTo>
                  <a:lnTo>
                    <a:pt x="3243143" y="530554"/>
                  </a:lnTo>
                  <a:lnTo>
                    <a:pt x="3217118" y="514020"/>
                  </a:lnTo>
                  <a:lnTo>
                    <a:pt x="3192889" y="494373"/>
                  </a:lnTo>
                  <a:lnTo>
                    <a:pt x="3171047" y="472063"/>
                  </a:lnTo>
                  <a:lnTo>
                    <a:pt x="3149211" y="449759"/>
                  </a:lnTo>
                  <a:lnTo>
                    <a:pt x="3129618" y="424309"/>
                  </a:lnTo>
                  <a:lnTo>
                    <a:pt x="3112564" y="398616"/>
                  </a:lnTo>
                  <a:lnTo>
                    <a:pt x="3058162" y="408699"/>
                  </a:lnTo>
                  <a:lnTo>
                    <a:pt x="3014628" y="425819"/>
                  </a:lnTo>
                  <a:lnTo>
                    <a:pt x="2971090" y="442939"/>
                  </a:lnTo>
                  <a:lnTo>
                    <a:pt x="2926297" y="463502"/>
                  </a:lnTo>
                  <a:lnTo>
                    <a:pt x="2900807" y="482905"/>
                  </a:lnTo>
                  <a:lnTo>
                    <a:pt x="2901731" y="523754"/>
                  </a:lnTo>
                  <a:lnTo>
                    <a:pt x="2903722" y="545933"/>
                  </a:lnTo>
                  <a:lnTo>
                    <a:pt x="2909948" y="571198"/>
                  </a:lnTo>
                  <a:lnTo>
                    <a:pt x="2916695" y="597201"/>
                  </a:lnTo>
                  <a:lnTo>
                    <a:pt x="2923442" y="623212"/>
                  </a:lnTo>
                  <a:lnTo>
                    <a:pt x="2930564" y="649697"/>
                  </a:lnTo>
                  <a:lnTo>
                    <a:pt x="2934376" y="673373"/>
                  </a:lnTo>
                  <a:lnTo>
                    <a:pt x="2938188" y="697055"/>
                  </a:lnTo>
                  <a:lnTo>
                    <a:pt x="2938464" y="718026"/>
                  </a:lnTo>
                  <a:lnTo>
                    <a:pt x="2892583" y="773858"/>
                  </a:lnTo>
                  <a:lnTo>
                    <a:pt x="2859253" y="787530"/>
                  </a:lnTo>
                  <a:lnTo>
                    <a:pt x="2825567" y="808033"/>
                  </a:lnTo>
                  <a:lnTo>
                    <a:pt x="2791992" y="830562"/>
                  </a:lnTo>
                  <a:lnTo>
                    <a:pt x="2773876" y="848843"/>
                  </a:lnTo>
                  <a:lnTo>
                    <a:pt x="2755759" y="867118"/>
                  </a:lnTo>
                  <a:lnTo>
                    <a:pt x="2736521" y="891353"/>
                  </a:lnTo>
                  <a:lnTo>
                    <a:pt x="2715385" y="926373"/>
                  </a:lnTo>
                  <a:lnTo>
                    <a:pt x="2697177" y="954368"/>
                  </a:lnTo>
                  <a:lnTo>
                    <a:pt x="2685464" y="973981"/>
                  </a:lnTo>
                  <a:lnTo>
                    <a:pt x="2673752" y="993587"/>
                  </a:lnTo>
                  <a:lnTo>
                    <a:pt x="2663668" y="1013873"/>
                  </a:lnTo>
                  <a:lnTo>
                    <a:pt x="2642848" y="1037140"/>
                  </a:lnTo>
                  <a:lnTo>
                    <a:pt x="2565397" y="1064774"/>
                  </a:lnTo>
                  <a:lnTo>
                    <a:pt x="2490955" y="1088231"/>
                  </a:lnTo>
                  <a:lnTo>
                    <a:pt x="2453732" y="1099964"/>
                  </a:lnTo>
                  <a:lnTo>
                    <a:pt x="2417969" y="1110574"/>
                  </a:lnTo>
                  <a:lnTo>
                    <a:pt x="2388938" y="1118158"/>
                  </a:lnTo>
                  <a:lnTo>
                    <a:pt x="2356385" y="1126040"/>
                  </a:lnTo>
                  <a:lnTo>
                    <a:pt x="2343947" y="1149538"/>
                  </a:lnTo>
                  <a:lnTo>
                    <a:pt x="2367175" y="1180725"/>
                  </a:lnTo>
                  <a:lnTo>
                    <a:pt x="2390065" y="1211035"/>
                  </a:lnTo>
                  <a:lnTo>
                    <a:pt x="2407134" y="1245084"/>
                  </a:lnTo>
                  <a:lnTo>
                    <a:pt x="2433830" y="1273225"/>
                  </a:lnTo>
                  <a:lnTo>
                    <a:pt x="2472824" y="1314371"/>
                  </a:lnTo>
                  <a:lnTo>
                    <a:pt x="2521944" y="1349053"/>
                  </a:lnTo>
                  <a:lnTo>
                    <a:pt x="2560326" y="1390199"/>
                  </a:lnTo>
                  <a:lnTo>
                    <a:pt x="2605765" y="1438909"/>
                  </a:lnTo>
                  <a:lnTo>
                    <a:pt x="2652161" y="1507350"/>
                  </a:lnTo>
                  <a:lnTo>
                    <a:pt x="2722192" y="1524860"/>
                  </a:lnTo>
                  <a:lnTo>
                    <a:pt x="2753919" y="1532807"/>
                  </a:lnTo>
                  <a:lnTo>
                    <a:pt x="2789176" y="1533533"/>
                  </a:lnTo>
                  <a:lnTo>
                    <a:pt x="2821484" y="1535742"/>
                  </a:lnTo>
                  <a:lnTo>
                    <a:pt x="2867985" y="1538973"/>
                  </a:lnTo>
                  <a:lnTo>
                    <a:pt x="2916762" y="1525118"/>
                  </a:lnTo>
                  <a:lnTo>
                    <a:pt x="2946622" y="1486774"/>
                  </a:lnTo>
                  <a:lnTo>
                    <a:pt x="2984412" y="1438190"/>
                  </a:lnTo>
                  <a:lnTo>
                    <a:pt x="2982644" y="1384672"/>
                  </a:lnTo>
                  <a:lnTo>
                    <a:pt x="2996949" y="1328992"/>
                  </a:lnTo>
                  <a:lnTo>
                    <a:pt x="3005001" y="1297659"/>
                  </a:lnTo>
                  <a:lnTo>
                    <a:pt x="3039115" y="1270501"/>
                  </a:lnTo>
                  <a:lnTo>
                    <a:pt x="3065087" y="1261447"/>
                  </a:lnTo>
                  <a:lnTo>
                    <a:pt x="3124829" y="1247208"/>
                  </a:lnTo>
                  <a:lnTo>
                    <a:pt x="3186460" y="1241002"/>
                  </a:lnTo>
                  <a:lnTo>
                    <a:pt x="3233626" y="1247380"/>
                  </a:lnTo>
                  <a:lnTo>
                    <a:pt x="3267906" y="1263022"/>
                  </a:lnTo>
                  <a:lnTo>
                    <a:pt x="3291074" y="1287845"/>
                  </a:lnTo>
                  <a:lnTo>
                    <a:pt x="3384096" y="1439759"/>
                  </a:lnTo>
                  <a:lnTo>
                    <a:pt x="3397866" y="1514743"/>
                  </a:lnTo>
                  <a:lnTo>
                    <a:pt x="3403650" y="1679880"/>
                  </a:lnTo>
                  <a:lnTo>
                    <a:pt x="3434928" y="1731611"/>
                  </a:lnTo>
                  <a:lnTo>
                    <a:pt x="3486660" y="1817219"/>
                  </a:lnTo>
                  <a:lnTo>
                    <a:pt x="3605064" y="1788189"/>
                  </a:lnTo>
                  <a:lnTo>
                    <a:pt x="3651202" y="1822745"/>
                  </a:lnTo>
                  <a:lnTo>
                    <a:pt x="3656650" y="1858107"/>
                  </a:lnTo>
                  <a:lnTo>
                    <a:pt x="3631338" y="1880042"/>
                  </a:lnTo>
                  <a:lnTo>
                    <a:pt x="3591803" y="1960545"/>
                  </a:lnTo>
                  <a:lnTo>
                    <a:pt x="3568238" y="1992768"/>
                  </a:lnTo>
                  <a:lnTo>
                    <a:pt x="3548236" y="2020097"/>
                  </a:lnTo>
                  <a:lnTo>
                    <a:pt x="3517609" y="2041393"/>
                  </a:lnTo>
                  <a:lnTo>
                    <a:pt x="3497501" y="2067581"/>
                  </a:lnTo>
                  <a:lnTo>
                    <a:pt x="3459778" y="2116674"/>
                  </a:lnTo>
                  <a:lnTo>
                    <a:pt x="3416252" y="2206020"/>
                  </a:lnTo>
                  <a:lnTo>
                    <a:pt x="3440376" y="2267525"/>
                  </a:lnTo>
                  <a:lnTo>
                    <a:pt x="3463564" y="2299833"/>
                  </a:lnTo>
                  <a:lnTo>
                    <a:pt x="3579944" y="2301917"/>
                  </a:lnTo>
                  <a:lnTo>
                    <a:pt x="3628087" y="2335538"/>
                  </a:lnTo>
                  <a:lnTo>
                    <a:pt x="3676817" y="2348801"/>
                  </a:lnTo>
                  <a:lnTo>
                    <a:pt x="3666680" y="2462036"/>
                  </a:lnTo>
                  <a:lnTo>
                    <a:pt x="3618564" y="2491963"/>
                  </a:lnTo>
                  <a:lnTo>
                    <a:pt x="3592210" y="2521283"/>
                  </a:lnTo>
                  <a:lnTo>
                    <a:pt x="3562758" y="2539519"/>
                  </a:lnTo>
                  <a:lnTo>
                    <a:pt x="3538317" y="2562687"/>
                  </a:lnTo>
                  <a:lnTo>
                    <a:pt x="3464117" y="2632949"/>
                  </a:lnTo>
                  <a:lnTo>
                    <a:pt x="3485564" y="2736746"/>
                  </a:lnTo>
                  <a:lnTo>
                    <a:pt x="3496149" y="2825203"/>
                  </a:lnTo>
                  <a:lnTo>
                    <a:pt x="3504459" y="2850962"/>
                  </a:lnTo>
                  <a:lnTo>
                    <a:pt x="3511668" y="2924457"/>
                  </a:lnTo>
                  <a:lnTo>
                    <a:pt x="3474346" y="3160575"/>
                  </a:lnTo>
                  <a:lnTo>
                    <a:pt x="3451264" y="3218306"/>
                  </a:lnTo>
                  <a:lnTo>
                    <a:pt x="3430161" y="3271092"/>
                  </a:lnTo>
                  <a:lnTo>
                    <a:pt x="3371413" y="3308372"/>
                  </a:lnTo>
                  <a:lnTo>
                    <a:pt x="3343807" y="3359759"/>
                  </a:lnTo>
                  <a:lnTo>
                    <a:pt x="3322934" y="3362773"/>
                  </a:lnTo>
                  <a:lnTo>
                    <a:pt x="3298349" y="3405119"/>
                  </a:lnTo>
                  <a:lnTo>
                    <a:pt x="3270188" y="3452082"/>
                  </a:lnTo>
                  <a:lnTo>
                    <a:pt x="3223048" y="3523881"/>
                  </a:lnTo>
                  <a:lnTo>
                    <a:pt x="3217311" y="3554270"/>
                  </a:lnTo>
                  <a:lnTo>
                    <a:pt x="3210254" y="3591630"/>
                  </a:lnTo>
                  <a:lnTo>
                    <a:pt x="3259155" y="3767734"/>
                  </a:lnTo>
                  <a:lnTo>
                    <a:pt x="3278518" y="3804546"/>
                  </a:lnTo>
                  <a:lnTo>
                    <a:pt x="3305952" y="3850619"/>
                  </a:lnTo>
                  <a:lnTo>
                    <a:pt x="3358573" y="3919013"/>
                  </a:lnTo>
                  <a:lnTo>
                    <a:pt x="3371011" y="3963687"/>
                  </a:lnTo>
                  <a:lnTo>
                    <a:pt x="3385995" y="4017457"/>
                  </a:lnTo>
                  <a:lnTo>
                    <a:pt x="3388119" y="4106125"/>
                  </a:lnTo>
                  <a:lnTo>
                    <a:pt x="3429495" y="4144594"/>
                  </a:lnTo>
                  <a:lnTo>
                    <a:pt x="3458742" y="4161938"/>
                  </a:lnTo>
                  <a:lnTo>
                    <a:pt x="3481865" y="4146801"/>
                  </a:lnTo>
                  <a:lnTo>
                    <a:pt x="3504307" y="4136430"/>
                  </a:lnTo>
                  <a:lnTo>
                    <a:pt x="3522734" y="4111864"/>
                  </a:lnTo>
                  <a:lnTo>
                    <a:pt x="3527284" y="4077562"/>
                  </a:lnTo>
                  <a:lnTo>
                    <a:pt x="3547833" y="4053458"/>
                  </a:lnTo>
                  <a:lnTo>
                    <a:pt x="3583307" y="4026381"/>
                  </a:lnTo>
                  <a:lnTo>
                    <a:pt x="3661662" y="4020688"/>
                  </a:lnTo>
                  <a:lnTo>
                    <a:pt x="3665876" y="4128483"/>
                  </a:lnTo>
                  <a:lnTo>
                    <a:pt x="3677055" y="4166357"/>
                  </a:lnTo>
                  <a:lnTo>
                    <a:pt x="3712673" y="4203421"/>
                  </a:lnTo>
                  <a:lnTo>
                    <a:pt x="3761832" y="4196411"/>
                  </a:lnTo>
                  <a:lnTo>
                    <a:pt x="3806275" y="4216682"/>
                  </a:lnTo>
                  <a:lnTo>
                    <a:pt x="3844124" y="4267476"/>
                  </a:lnTo>
                  <a:lnTo>
                    <a:pt x="3840766" y="4290519"/>
                  </a:lnTo>
                  <a:lnTo>
                    <a:pt x="3862042" y="4344538"/>
                  </a:lnTo>
                  <a:lnTo>
                    <a:pt x="3874281" y="4373107"/>
                  </a:lnTo>
                  <a:lnTo>
                    <a:pt x="3882313" y="4394355"/>
                  </a:lnTo>
                  <a:lnTo>
                    <a:pt x="3872072" y="4428536"/>
                  </a:lnTo>
                  <a:lnTo>
                    <a:pt x="3887881" y="4446560"/>
                  </a:lnTo>
                  <a:lnTo>
                    <a:pt x="3924587" y="4457520"/>
                  </a:lnTo>
                  <a:lnTo>
                    <a:pt x="3992172" y="4427382"/>
                  </a:lnTo>
                  <a:lnTo>
                    <a:pt x="4014383" y="4447918"/>
                  </a:lnTo>
                  <a:lnTo>
                    <a:pt x="4035250" y="4476989"/>
                  </a:lnTo>
                  <a:lnTo>
                    <a:pt x="4149916" y="4625039"/>
                  </a:lnTo>
                  <a:lnTo>
                    <a:pt x="4063093" y="4621002"/>
                  </a:lnTo>
                  <a:lnTo>
                    <a:pt x="4082390" y="4726756"/>
                  </a:lnTo>
                  <a:lnTo>
                    <a:pt x="4089578" y="4766078"/>
                  </a:lnTo>
                  <a:lnTo>
                    <a:pt x="4181004" y="4900178"/>
                  </a:lnTo>
                  <a:lnTo>
                    <a:pt x="4215693" y="4921262"/>
                  </a:lnTo>
                  <a:lnTo>
                    <a:pt x="4248634" y="4941243"/>
                  </a:lnTo>
                  <a:lnTo>
                    <a:pt x="4273609" y="4926747"/>
                  </a:lnTo>
                  <a:lnTo>
                    <a:pt x="4306829" y="4923979"/>
                  </a:lnTo>
                  <a:lnTo>
                    <a:pt x="4342850" y="4921005"/>
                  </a:lnTo>
                  <a:lnTo>
                    <a:pt x="4409134" y="4918590"/>
                  </a:lnTo>
                  <a:lnTo>
                    <a:pt x="4434683" y="4889974"/>
                  </a:lnTo>
                  <a:lnTo>
                    <a:pt x="4492810" y="4824812"/>
                  </a:lnTo>
                  <a:lnTo>
                    <a:pt x="4448262" y="4650113"/>
                  </a:lnTo>
                  <a:lnTo>
                    <a:pt x="4509497" y="4622019"/>
                  </a:lnTo>
                  <a:lnTo>
                    <a:pt x="4558226" y="4609309"/>
                  </a:lnTo>
                  <a:lnTo>
                    <a:pt x="4693994" y="4615898"/>
                  </a:lnTo>
                  <a:lnTo>
                    <a:pt x="4732569" y="4643782"/>
                  </a:lnTo>
                  <a:lnTo>
                    <a:pt x="4812948" y="4701890"/>
                  </a:lnTo>
                  <a:lnTo>
                    <a:pt x="4925778" y="5078617"/>
                  </a:lnTo>
                  <a:lnTo>
                    <a:pt x="4816898" y="5121213"/>
                  </a:lnTo>
                  <a:lnTo>
                    <a:pt x="4787399" y="5131414"/>
                  </a:lnTo>
                  <a:lnTo>
                    <a:pt x="4752419" y="5137364"/>
                  </a:lnTo>
                  <a:lnTo>
                    <a:pt x="4732569" y="5159297"/>
                  </a:lnTo>
                  <a:lnTo>
                    <a:pt x="4684069" y="5212810"/>
                  </a:lnTo>
                  <a:lnTo>
                    <a:pt x="4721258" y="5266203"/>
                  </a:lnTo>
                  <a:lnTo>
                    <a:pt x="4729852" y="5321157"/>
                  </a:lnTo>
                  <a:lnTo>
                    <a:pt x="4736209" y="5361753"/>
                  </a:lnTo>
                  <a:lnTo>
                    <a:pt x="4734652" y="5402774"/>
                  </a:lnTo>
                  <a:lnTo>
                    <a:pt x="4736652" y="5443578"/>
                  </a:lnTo>
                  <a:lnTo>
                    <a:pt x="4739585" y="5503512"/>
                  </a:lnTo>
                  <a:lnTo>
                    <a:pt x="4752505" y="5567483"/>
                  </a:lnTo>
                  <a:lnTo>
                    <a:pt x="4765215" y="5625843"/>
                  </a:lnTo>
                  <a:lnTo>
                    <a:pt x="4766842" y="5666144"/>
                  </a:lnTo>
                  <a:lnTo>
                    <a:pt x="4762706" y="5691473"/>
                  </a:lnTo>
                  <a:lnTo>
                    <a:pt x="4752149" y="5715533"/>
                  </a:lnTo>
                  <a:lnTo>
                    <a:pt x="4670148" y="5777037"/>
                  </a:lnTo>
                  <a:lnTo>
                    <a:pt x="4586813" y="5767896"/>
                  </a:lnTo>
                  <a:lnTo>
                    <a:pt x="4510861" y="5780906"/>
                  </a:lnTo>
                  <a:lnTo>
                    <a:pt x="4495904" y="5813599"/>
                  </a:lnTo>
                  <a:lnTo>
                    <a:pt x="4510861" y="5847556"/>
                  </a:lnTo>
                  <a:lnTo>
                    <a:pt x="4539675" y="5915695"/>
                  </a:lnTo>
                  <a:lnTo>
                    <a:pt x="4592745" y="5969977"/>
                  </a:lnTo>
                  <a:lnTo>
                    <a:pt x="4618312" y="6040707"/>
                  </a:lnTo>
                  <a:lnTo>
                    <a:pt x="4622290" y="6064765"/>
                  </a:lnTo>
                  <a:lnTo>
                    <a:pt x="4643585" y="6082109"/>
                  </a:lnTo>
                  <a:lnTo>
                    <a:pt x="4664560" y="6080156"/>
                  </a:lnTo>
                  <a:lnTo>
                    <a:pt x="4699349" y="6030339"/>
                  </a:lnTo>
                  <a:lnTo>
                    <a:pt x="4682367" y="5952381"/>
                  </a:lnTo>
                  <a:lnTo>
                    <a:pt x="4752974" y="5918293"/>
                  </a:lnTo>
                  <a:lnTo>
                    <a:pt x="4799244" y="5895975"/>
                  </a:lnTo>
                  <a:lnTo>
                    <a:pt x="4875177" y="5935973"/>
                  </a:lnTo>
                  <a:lnTo>
                    <a:pt x="4899873" y="5976782"/>
                  </a:lnTo>
                  <a:lnTo>
                    <a:pt x="4944633" y="6176984"/>
                  </a:lnTo>
                  <a:lnTo>
                    <a:pt x="4932097" y="6260892"/>
                  </a:lnTo>
                  <a:lnTo>
                    <a:pt x="4877412" y="6245169"/>
                  </a:lnTo>
                  <a:lnTo>
                    <a:pt x="4845467" y="6288267"/>
                  </a:lnTo>
                  <a:lnTo>
                    <a:pt x="4823980" y="6317258"/>
                  </a:lnTo>
                  <a:lnTo>
                    <a:pt x="4821838" y="6397380"/>
                  </a:lnTo>
                  <a:lnTo>
                    <a:pt x="4816904" y="6435167"/>
                  </a:lnTo>
                  <a:lnTo>
                    <a:pt x="4819469" y="6469897"/>
                  </a:lnTo>
                  <a:lnTo>
                    <a:pt x="4814074" y="6527109"/>
                  </a:lnTo>
                  <a:lnTo>
                    <a:pt x="4753739" y="6709628"/>
                  </a:lnTo>
                  <a:lnTo>
                    <a:pt x="4773378" y="6735769"/>
                  </a:lnTo>
                  <a:lnTo>
                    <a:pt x="4807144" y="6757321"/>
                  </a:lnTo>
                  <a:lnTo>
                    <a:pt x="4882702" y="6721490"/>
                  </a:lnTo>
                  <a:lnTo>
                    <a:pt x="4931155" y="6741210"/>
                  </a:lnTo>
                  <a:lnTo>
                    <a:pt x="4961063" y="6753371"/>
                  </a:lnTo>
                  <a:lnTo>
                    <a:pt x="5032088" y="6867965"/>
                  </a:lnTo>
                  <a:lnTo>
                    <a:pt x="5098459" y="6890835"/>
                  </a:lnTo>
                  <a:lnTo>
                    <a:pt x="5151383" y="6909110"/>
                  </a:lnTo>
                  <a:lnTo>
                    <a:pt x="5210040" y="6878120"/>
                  </a:lnTo>
                  <a:lnTo>
                    <a:pt x="5263042" y="6900351"/>
                  </a:lnTo>
                  <a:lnTo>
                    <a:pt x="5348928" y="6936315"/>
                  </a:lnTo>
                  <a:lnTo>
                    <a:pt x="5342193" y="7090786"/>
                  </a:lnTo>
                  <a:lnTo>
                    <a:pt x="5407228" y="7131589"/>
                  </a:lnTo>
                  <a:lnTo>
                    <a:pt x="5426886" y="7143961"/>
                  </a:lnTo>
                  <a:lnTo>
                    <a:pt x="5451774" y="7143831"/>
                  </a:lnTo>
                  <a:lnTo>
                    <a:pt x="5473875" y="7146553"/>
                  </a:lnTo>
                  <a:lnTo>
                    <a:pt x="5499126" y="7149567"/>
                  </a:lnTo>
                  <a:lnTo>
                    <a:pt x="5528942" y="7155734"/>
                  </a:lnTo>
                  <a:lnTo>
                    <a:pt x="5554128" y="7154711"/>
                  </a:lnTo>
                  <a:lnTo>
                    <a:pt x="5693744" y="7149396"/>
                  </a:lnTo>
                  <a:lnTo>
                    <a:pt x="5791850" y="7094693"/>
                  </a:lnTo>
                  <a:lnTo>
                    <a:pt x="5880576" y="7252646"/>
                  </a:lnTo>
                  <a:lnTo>
                    <a:pt x="5913452" y="7311222"/>
                  </a:lnTo>
                  <a:lnTo>
                    <a:pt x="5916326" y="7360484"/>
                  </a:lnTo>
                  <a:lnTo>
                    <a:pt x="5941785" y="7413154"/>
                  </a:lnTo>
                  <a:lnTo>
                    <a:pt x="5977107" y="7421184"/>
                  </a:lnTo>
                  <a:lnTo>
                    <a:pt x="5997043" y="7372812"/>
                  </a:lnTo>
                  <a:lnTo>
                    <a:pt x="6030195" y="7370986"/>
                  </a:lnTo>
                  <a:lnTo>
                    <a:pt x="6051555" y="7372555"/>
                  </a:lnTo>
                  <a:lnTo>
                    <a:pt x="6075107" y="7395552"/>
                  </a:lnTo>
                  <a:lnTo>
                    <a:pt x="6094681" y="7449279"/>
                  </a:lnTo>
                  <a:lnTo>
                    <a:pt x="6072468" y="7489106"/>
                  </a:lnTo>
                  <a:lnTo>
                    <a:pt x="6071005" y="7524685"/>
                  </a:lnTo>
                  <a:lnTo>
                    <a:pt x="6068899" y="7576589"/>
                  </a:lnTo>
                  <a:lnTo>
                    <a:pt x="6117017" y="7637965"/>
                  </a:lnTo>
                  <a:lnTo>
                    <a:pt x="6137652" y="7683826"/>
                  </a:lnTo>
                  <a:lnTo>
                    <a:pt x="6158209" y="7745589"/>
                  </a:lnTo>
                  <a:lnTo>
                    <a:pt x="6161672" y="7782440"/>
                  </a:lnTo>
                  <a:lnTo>
                    <a:pt x="6167303" y="7809948"/>
                  </a:lnTo>
                  <a:lnTo>
                    <a:pt x="6166214" y="7832092"/>
                  </a:lnTo>
                  <a:lnTo>
                    <a:pt x="6163734" y="7882973"/>
                  </a:lnTo>
                  <a:lnTo>
                    <a:pt x="6136064" y="7935937"/>
                  </a:lnTo>
                  <a:lnTo>
                    <a:pt x="6139010" y="7988511"/>
                  </a:lnTo>
                  <a:lnTo>
                    <a:pt x="6141199" y="8027705"/>
                  </a:lnTo>
                  <a:lnTo>
                    <a:pt x="6138886" y="8092824"/>
                  </a:lnTo>
                  <a:lnTo>
                    <a:pt x="6132210" y="8132694"/>
                  </a:lnTo>
                  <a:lnTo>
                    <a:pt x="6134709" y="8161806"/>
                  </a:lnTo>
                  <a:lnTo>
                    <a:pt x="6127745" y="8232880"/>
                  </a:lnTo>
                  <a:lnTo>
                    <a:pt x="6073318" y="8270537"/>
                  </a:lnTo>
                  <a:lnTo>
                    <a:pt x="6080527" y="8344880"/>
                  </a:lnTo>
                  <a:lnTo>
                    <a:pt x="6088408" y="8425945"/>
                  </a:lnTo>
                  <a:lnTo>
                    <a:pt x="6105626" y="8491829"/>
                  </a:lnTo>
                  <a:lnTo>
                    <a:pt x="6137652" y="8566593"/>
                  </a:lnTo>
                  <a:lnTo>
                    <a:pt x="6154910" y="8598133"/>
                  </a:lnTo>
                  <a:lnTo>
                    <a:pt x="6150110" y="8631290"/>
                  </a:lnTo>
                  <a:lnTo>
                    <a:pt x="6152615" y="8668612"/>
                  </a:lnTo>
                  <a:lnTo>
                    <a:pt x="6137891" y="8774280"/>
                  </a:lnTo>
                  <a:lnTo>
                    <a:pt x="6059951" y="8736874"/>
                  </a:lnTo>
                  <a:lnTo>
                    <a:pt x="5985311" y="8748858"/>
                  </a:lnTo>
                  <a:lnTo>
                    <a:pt x="5952051" y="8754259"/>
                  </a:lnTo>
                  <a:lnTo>
                    <a:pt x="5925739" y="8777762"/>
                  </a:lnTo>
                  <a:lnTo>
                    <a:pt x="5896897" y="8792384"/>
                  </a:lnTo>
                  <a:lnTo>
                    <a:pt x="5900110" y="8815552"/>
                  </a:lnTo>
                  <a:lnTo>
                    <a:pt x="5901970" y="8841820"/>
                  </a:lnTo>
                  <a:lnTo>
                    <a:pt x="5896897" y="8869921"/>
                  </a:lnTo>
                  <a:lnTo>
                    <a:pt x="5899300" y="8916039"/>
                  </a:lnTo>
                  <a:lnTo>
                    <a:pt x="5941574" y="8952461"/>
                  </a:lnTo>
                  <a:lnTo>
                    <a:pt x="5970347" y="8984177"/>
                  </a:lnTo>
                  <a:lnTo>
                    <a:pt x="5993983" y="9026212"/>
                  </a:lnTo>
                  <a:lnTo>
                    <a:pt x="6031255" y="9050099"/>
                  </a:lnTo>
                  <a:lnTo>
                    <a:pt x="6107368" y="9039904"/>
                  </a:lnTo>
                  <a:lnTo>
                    <a:pt x="6113173" y="9064423"/>
                  </a:lnTo>
                  <a:lnTo>
                    <a:pt x="6130279" y="9088955"/>
                  </a:lnTo>
                  <a:lnTo>
                    <a:pt x="6148581" y="9156536"/>
                  </a:lnTo>
                  <a:lnTo>
                    <a:pt x="6193419" y="9121555"/>
                  </a:lnTo>
                  <a:lnTo>
                    <a:pt x="6213929" y="9091674"/>
                  </a:lnTo>
                  <a:lnTo>
                    <a:pt x="6242386" y="9073961"/>
                  </a:lnTo>
                  <a:lnTo>
                    <a:pt x="6260224" y="9086419"/>
                  </a:lnTo>
                  <a:lnTo>
                    <a:pt x="6266214" y="9121992"/>
                  </a:lnTo>
                  <a:lnTo>
                    <a:pt x="6285041" y="9147243"/>
                  </a:lnTo>
                  <a:lnTo>
                    <a:pt x="6307682" y="9174618"/>
                  </a:lnTo>
                  <a:lnTo>
                    <a:pt x="6310847" y="9207007"/>
                  </a:lnTo>
                  <a:lnTo>
                    <a:pt x="6326722" y="9223586"/>
                  </a:lnTo>
                  <a:lnTo>
                    <a:pt x="6312733" y="9254951"/>
                  </a:lnTo>
                  <a:lnTo>
                    <a:pt x="6279113" y="9260312"/>
                  </a:lnTo>
                  <a:lnTo>
                    <a:pt x="6280130" y="9284965"/>
                  </a:lnTo>
                  <a:lnTo>
                    <a:pt x="6298811" y="9306554"/>
                  </a:lnTo>
                  <a:lnTo>
                    <a:pt x="6321644" y="9306049"/>
                  </a:lnTo>
                  <a:lnTo>
                    <a:pt x="6355111" y="9327046"/>
                  </a:lnTo>
                  <a:lnTo>
                    <a:pt x="6369845" y="9355351"/>
                  </a:lnTo>
                  <a:lnTo>
                    <a:pt x="6431476" y="9388636"/>
                  </a:lnTo>
                  <a:lnTo>
                    <a:pt x="6435767" y="9353485"/>
                  </a:lnTo>
                  <a:lnTo>
                    <a:pt x="6491305" y="9404490"/>
                  </a:lnTo>
                  <a:lnTo>
                    <a:pt x="6501208" y="9440788"/>
                  </a:lnTo>
                  <a:lnTo>
                    <a:pt x="6517148" y="9471137"/>
                  </a:lnTo>
                  <a:lnTo>
                    <a:pt x="6579591" y="9447166"/>
                  </a:lnTo>
                  <a:lnTo>
                    <a:pt x="6569455" y="9411336"/>
                  </a:lnTo>
                  <a:lnTo>
                    <a:pt x="6664051" y="9443935"/>
                  </a:lnTo>
                  <a:lnTo>
                    <a:pt x="6702665" y="9464464"/>
                  </a:lnTo>
                  <a:lnTo>
                    <a:pt x="6716652" y="9485468"/>
                  </a:lnTo>
                  <a:lnTo>
                    <a:pt x="6727975" y="9503783"/>
                  </a:lnTo>
                  <a:lnTo>
                    <a:pt x="6716804" y="9570393"/>
                  </a:lnTo>
                  <a:lnTo>
                    <a:pt x="6695252" y="9611069"/>
                  </a:lnTo>
                  <a:lnTo>
                    <a:pt x="6686090" y="9637210"/>
                  </a:lnTo>
                  <a:lnTo>
                    <a:pt x="6670850" y="9662923"/>
                  </a:lnTo>
                  <a:lnTo>
                    <a:pt x="6640651" y="9675766"/>
                  </a:lnTo>
                  <a:lnTo>
                    <a:pt x="6618652" y="9683713"/>
                  </a:lnTo>
                  <a:lnTo>
                    <a:pt x="6586521" y="9691492"/>
                  </a:lnTo>
                  <a:lnTo>
                    <a:pt x="6535919" y="9684141"/>
                  </a:lnTo>
                  <a:lnTo>
                    <a:pt x="6482000" y="9701017"/>
                  </a:lnTo>
                  <a:lnTo>
                    <a:pt x="6431454" y="9701017"/>
                  </a:lnTo>
                  <a:lnTo>
                    <a:pt x="6388120" y="9701017"/>
                  </a:lnTo>
                  <a:lnTo>
                    <a:pt x="6344061" y="9694810"/>
                  </a:lnTo>
                  <a:lnTo>
                    <a:pt x="6300876" y="9698292"/>
                  </a:lnTo>
                  <a:lnTo>
                    <a:pt x="6273969" y="9697107"/>
                  </a:lnTo>
                  <a:lnTo>
                    <a:pt x="6236858" y="9705091"/>
                  </a:lnTo>
                  <a:lnTo>
                    <a:pt x="6197692" y="9694335"/>
                  </a:lnTo>
                  <a:lnTo>
                    <a:pt x="6170298" y="9695576"/>
                  </a:lnTo>
                  <a:lnTo>
                    <a:pt x="6120611" y="9692642"/>
                  </a:lnTo>
                  <a:lnTo>
                    <a:pt x="6007734" y="9665475"/>
                  </a:lnTo>
                  <a:lnTo>
                    <a:pt x="5968986" y="9690134"/>
                  </a:lnTo>
                  <a:lnTo>
                    <a:pt x="5900131" y="9733998"/>
                  </a:lnTo>
                  <a:lnTo>
                    <a:pt x="5892501" y="9872399"/>
                  </a:lnTo>
                  <a:lnTo>
                    <a:pt x="5793524" y="9872399"/>
                  </a:lnTo>
                  <a:lnTo>
                    <a:pt x="5752398" y="9865599"/>
                  </a:lnTo>
                  <a:lnTo>
                    <a:pt x="5700925" y="9857646"/>
                  </a:lnTo>
                  <a:lnTo>
                    <a:pt x="5663749" y="9817950"/>
                  </a:lnTo>
                  <a:lnTo>
                    <a:pt x="5654779" y="9785347"/>
                  </a:lnTo>
                  <a:lnTo>
                    <a:pt x="5641459" y="9736972"/>
                  </a:lnTo>
                  <a:lnTo>
                    <a:pt x="5675699" y="9702158"/>
                  </a:lnTo>
                  <a:lnTo>
                    <a:pt x="5667026" y="9653408"/>
                  </a:lnTo>
                  <a:lnTo>
                    <a:pt x="5655994" y="9633517"/>
                  </a:lnTo>
                  <a:lnTo>
                    <a:pt x="5632039" y="9564015"/>
                  </a:lnTo>
                  <a:lnTo>
                    <a:pt x="5596680" y="9508629"/>
                  </a:lnTo>
                  <a:lnTo>
                    <a:pt x="5566369" y="9456179"/>
                  </a:lnTo>
                  <a:lnTo>
                    <a:pt x="5538953" y="9408744"/>
                  </a:lnTo>
                  <a:lnTo>
                    <a:pt x="5487797" y="9351699"/>
                  </a:lnTo>
                  <a:lnTo>
                    <a:pt x="5445313" y="9317437"/>
                  </a:lnTo>
                  <a:lnTo>
                    <a:pt x="5425884" y="9301755"/>
                  </a:lnTo>
                  <a:lnTo>
                    <a:pt x="5382932" y="9286112"/>
                  </a:lnTo>
                  <a:lnTo>
                    <a:pt x="5370499" y="9268470"/>
                  </a:lnTo>
                  <a:lnTo>
                    <a:pt x="5351077" y="9240844"/>
                  </a:lnTo>
                  <a:lnTo>
                    <a:pt x="5350140" y="9206412"/>
                  </a:lnTo>
                  <a:lnTo>
                    <a:pt x="5326973" y="9180060"/>
                  </a:lnTo>
                  <a:lnTo>
                    <a:pt x="5309439" y="9210064"/>
                  </a:lnTo>
                  <a:lnTo>
                    <a:pt x="5340578" y="9309063"/>
                  </a:lnTo>
                  <a:lnTo>
                    <a:pt x="5340578" y="9346000"/>
                  </a:lnTo>
                  <a:lnTo>
                    <a:pt x="5328991" y="9378559"/>
                  </a:lnTo>
                  <a:lnTo>
                    <a:pt x="5244578" y="9481130"/>
                  </a:lnTo>
                  <a:lnTo>
                    <a:pt x="5171934" y="9410440"/>
                  </a:lnTo>
                  <a:lnTo>
                    <a:pt x="5082138" y="9439858"/>
                  </a:lnTo>
                  <a:lnTo>
                    <a:pt x="5075245" y="9491073"/>
                  </a:lnTo>
                  <a:lnTo>
                    <a:pt x="5133400" y="9537536"/>
                  </a:lnTo>
                  <a:lnTo>
                    <a:pt x="5136547" y="9581313"/>
                  </a:lnTo>
                  <a:lnTo>
                    <a:pt x="5121286" y="9617360"/>
                  </a:lnTo>
                  <a:lnTo>
                    <a:pt x="5085180" y="9680653"/>
                  </a:lnTo>
                  <a:lnTo>
                    <a:pt x="5064753" y="9726222"/>
                  </a:lnTo>
                  <a:lnTo>
                    <a:pt x="5012765" y="9751343"/>
                  </a:lnTo>
                  <a:lnTo>
                    <a:pt x="4953023" y="9780246"/>
                  </a:lnTo>
                  <a:lnTo>
                    <a:pt x="4820253" y="9698419"/>
                  </a:lnTo>
                  <a:lnTo>
                    <a:pt x="4804657" y="9633003"/>
                  </a:lnTo>
                  <a:lnTo>
                    <a:pt x="4790484" y="9573623"/>
                  </a:lnTo>
                  <a:lnTo>
                    <a:pt x="4817115" y="9539151"/>
                  </a:lnTo>
                  <a:lnTo>
                    <a:pt x="4776095" y="9484742"/>
                  </a:lnTo>
                  <a:lnTo>
                    <a:pt x="4750505" y="9467273"/>
                  </a:lnTo>
                  <a:lnTo>
                    <a:pt x="4713522" y="9490441"/>
                  </a:lnTo>
                  <a:lnTo>
                    <a:pt x="4684959" y="9491542"/>
                  </a:lnTo>
                  <a:lnTo>
                    <a:pt x="4631338" y="9493619"/>
                  </a:lnTo>
                  <a:lnTo>
                    <a:pt x="4555680" y="9447594"/>
                  </a:lnTo>
                  <a:lnTo>
                    <a:pt x="4509497" y="9420811"/>
                  </a:lnTo>
                  <a:lnTo>
                    <a:pt x="4418130" y="9305792"/>
                  </a:lnTo>
                  <a:lnTo>
                    <a:pt x="4605882" y="9201907"/>
                  </a:lnTo>
                  <a:lnTo>
                    <a:pt x="4509497" y="9121567"/>
                  </a:lnTo>
                  <a:lnTo>
                    <a:pt x="4390650" y="9040168"/>
                  </a:lnTo>
                  <a:lnTo>
                    <a:pt x="4285210" y="9236590"/>
                  </a:lnTo>
                  <a:lnTo>
                    <a:pt x="4232015" y="9309274"/>
                  </a:lnTo>
                  <a:lnTo>
                    <a:pt x="4207528" y="9342775"/>
                  </a:lnTo>
                  <a:lnTo>
                    <a:pt x="4172141" y="9360619"/>
                  </a:lnTo>
                  <a:lnTo>
                    <a:pt x="4144963" y="9389526"/>
                  </a:lnTo>
                  <a:lnTo>
                    <a:pt x="4133613" y="9420306"/>
                  </a:lnTo>
                  <a:lnTo>
                    <a:pt x="4164028" y="9450778"/>
                  </a:lnTo>
                  <a:lnTo>
                    <a:pt x="4158562" y="9482020"/>
                  </a:lnTo>
                  <a:lnTo>
                    <a:pt x="4134081" y="9505147"/>
                  </a:lnTo>
                  <a:lnTo>
                    <a:pt x="4092685" y="9502384"/>
                  </a:lnTo>
                  <a:lnTo>
                    <a:pt x="4036272" y="9394499"/>
                  </a:lnTo>
                  <a:lnTo>
                    <a:pt x="4023906" y="9358247"/>
                  </a:lnTo>
                  <a:lnTo>
                    <a:pt x="4012346" y="9324284"/>
                  </a:lnTo>
                  <a:lnTo>
                    <a:pt x="4008540" y="9285939"/>
                  </a:lnTo>
                  <a:lnTo>
                    <a:pt x="3996702" y="9252148"/>
                  </a:lnTo>
                  <a:lnTo>
                    <a:pt x="3978534" y="9212408"/>
                  </a:lnTo>
                  <a:lnTo>
                    <a:pt x="3974939" y="9188217"/>
                  </a:lnTo>
                  <a:lnTo>
                    <a:pt x="3948461" y="9169856"/>
                  </a:lnTo>
                  <a:lnTo>
                    <a:pt x="3874241" y="9181588"/>
                  </a:lnTo>
                  <a:lnTo>
                    <a:pt x="3855031" y="9239439"/>
                  </a:lnTo>
                  <a:lnTo>
                    <a:pt x="3834844" y="9288875"/>
                  </a:lnTo>
                  <a:lnTo>
                    <a:pt x="3818646" y="9317267"/>
                  </a:lnTo>
                  <a:lnTo>
                    <a:pt x="3795420" y="9408105"/>
                  </a:lnTo>
                  <a:lnTo>
                    <a:pt x="3892629" y="9554499"/>
                  </a:lnTo>
                  <a:lnTo>
                    <a:pt x="3806275" y="9597634"/>
                  </a:lnTo>
                  <a:lnTo>
                    <a:pt x="3764918" y="9598447"/>
                  </a:lnTo>
                  <a:lnTo>
                    <a:pt x="3708854" y="9558706"/>
                  </a:lnTo>
                  <a:lnTo>
                    <a:pt x="3667537" y="9607159"/>
                  </a:lnTo>
                  <a:lnTo>
                    <a:pt x="3630065" y="9651113"/>
                  </a:lnTo>
                  <a:lnTo>
                    <a:pt x="3633553" y="9780287"/>
                  </a:lnTo>
                  <a:lnTo>
                    <a:pt x="3542399" y="9773106"/>
                  </a:lnTo>
                  <a:lnTo>
                    <a:pt x="3496129" y="9769490"/>
                  </a:lnTo>
                  <a:lnTo>
                    <a:pt x="3456046" y="9737697"/>
                  </a:lnTo>
                  <a:lnTo>
                    <a:pt x="3460787" y="9687412"/>
                  </a:lnTo>
                  <a:lnTo>
                    <a:pt x="3463675" y="9656812"/>
                  </a:lnTo>
                  <a:lnTo>
                    <a:pt x="3543481" y="9551733"/>
                  </a:lnTo>
                  <a:lnTo>
                    <a:pt x="3550557" y="9501067"/>
                  </a:lnTo>
                  <a:lnTo>
                    <a:pt x="3558167" y="9446440"/>
                  </a:lnTo>
                  <a:lnTo>
                    <a:pt x="3542083" y="9394630"/>
                  </a:lnTo>
                  <a:lnTo>
                    <a:pt x="3536959" y="9341917"/>
                  </a:lnTo>
                  <a:lnTo>
                    <a:pt x="3533899" y="9310467"/>
                  </a:lnTo>
                  <a:lnTo>
                    <a:pt x="3551751" y="9264262"/>
                  </a:lnTo>
                  <a:lnTo>
                    <a:pt x="3554639" y="9230385"/>
                  </a:lnTo>
                  <a:lnTo>
                    <a:pt x="3559467" y="9173939"/>
                  </a:lnTo>
                  <a:lnTo>
                    <a:pt x="3553789" y="9121741"/>
                  </a:lnTo>
                  <a:lnTo>
                    <a:pt x="3547841" y="9065803"/>
                  </a:lnTo>
                  <a:lnTo>
                    <a:pt x="3535897" y="8953881"/>
                  </a:lnTo>
                  <a:lnTo>
                    <a:pt x="3558319" y="8914349"/>
                  </a:lnTo>
                  <a:lnTo>
                    <a:pt x="3470311" y="8827765"/>
                  </a:lnTo>
                  <a:lnTo>
                    <a:pt x="3363447" y="8826026"/>
                  </a:lnTo>
                  <a:lnTo>
                    <a:pt x="3171977" y="8976494"/>
                  </a:lnTo>
                  <a:lnTo>
                    <a:pt x="3073132" y="9016836"/>
                  </a:lnTo>
                  <a:lnTo>
                    <a:pt x="3030773" y="9034134"/>
                  </a:lnTo>
                  <a:lnTo>
                    <a:pt x="2986100" y="9047097"/>
                  </a:lnTo>
                  <a:lnTo>
                    <a:pt x="2943912" y="9064442"/>
                  </a:lnTo>
                  <a:lnTo>
                    <a:pt x="2871823" y="9083101"/>
                  </a:lnTo>
                  <a:lnTo>
                    <a:pt x="2866000" y="9107416"/>
                  </a:lnTo>
                  <a:lnTo>
                    <a:pt x="2811974" y="9140614"/>
                  </a:lnTo>
                  <a:lnTo>
                    <a:pt x="2788635" y="9154933"/>
                  </a:lnTo>
                  <a:lnTo>
                    <a:pt x="2760329" y="9163565"/>
                  </a:lnTo>
                  <a:lnTo>
                    <a:pt x="2737162" y="9178702"/>
                  </a:lnTo>
                  <a:lnTo>
                    <a:pt x="2707156" y="9198208"/>
                  </a:lnTo>
                  <a:lnTo>
                    <a:pt x="2675993" y="9229964"/>
                  </a:lnTo>
                  <a:lnTo>
                    <a:pt x="2650110" y="9254865"/>
                  </a:lnTo>
                  <a:lnTo>
                    <a:pt x="2631235" y="9273059"/>
                  </a:lnTo>
                  <a:lnTo>
                    <a:pt x="2616403" y="9306133"/>
                  </a:lnTo>
                  <a:lnTo>
                    <a:pt x="2597060" y="9320160"/>
                  </a:lnTo>
                  <a:lnTo>
                    <a:pt x="2575573" y="9346381"/>
                  </a:lnTo>
                  <a:lnTo>
                    <a:pt x="2547671" y="9373719"/>
                  </a:lnTo>
                  <a:lnTo>
                    <a:pt x="2531770" y="9401767"/>
                  </a:lnTo>
                  <a:lnTo>
                    <a:pt x="2495959" y="9464979"/>
                  </a:lnTo>
                  <a:lnTo>
                    <a:pt x="2558486" y="9702118"/>
                  </a:lnTo>
                  <a:lnTo>
                    <a:pt x="2583455" y="9774464"/>
                  </a:lnTo>
                  <a:lnTo>
                    <a:pt x="2593301" y="9794401"/>
                  </a:lnTo>
                  <a:lnTo>
                    <a:pt x="2607942" y="9881921"/>
                  </a:lnTo>
                  <a:lnTo>
                    <a:pt x="2612176" y="9904239"/>
                  </a:lnTo>
                  <a:lnTo>
                    <a:pt x="2630106" y="9970077"/>
                  </a:lnTo>
                  <a:lnTo>
                    <a:pt x="2622838" y="9999793"/>
                  </a:lnTo>
                  <a:lnTo>
                    <a:pt x="2641687" y="10046841"/>
                  </a:lnTo>
                  <a:lnTo>
                    <a:pt x="2626987" y="10092754"/>
                  </a:lnTo>
                  <a:lnTo>
                    <a:pt x="2617293" y="10123010"/>
                  </a:lnTo>
                  <a:lnTo>
                    <a:pt x="2593063" y="10142736"/>
                  </a:lnTo>
                  <a:lnTo>
                    <a:pt x="2582095" y="10171643"/>
                  </a:lnTo>
                  <a:lnTo>
                    <a:pt x="2550071" y="10256189"/>
                  </a:lnTo>
                  <a:lnTo>
                    <a:pt x="2604452" y="10315482"/>
                  </a:lnTo>
                  <a:lnTo>
                    <a:pt x="2651468" y="10378393"/>
                  </a:lnTo>
                  <a:lnTo>
                    <a:pt x="2687813" y="10412909"/>
                  </a:lnTo>
                  <a:lnTo>
                    <a:pt x="2723919" y="10440200"/>
                  </a:lnTo>
                  <a:lnTo>
                    <a:pt x="2757560" y="10470886"/>
                  </a:lnTo>
                  <a:lnTo>
                    <a:pt x="2801218" y="10510797"/>
                  </a:lnTo>
                  <a:lnTo>
                    <a:pt x="2835433" y="10544677"/>
                  </a:lnTo>
                  <a:lnTo>
                    <a:pt x="2865017" y="10597384"/>
                  </a:lnTo>
                  <a:lnTo>
                    <a:pt x="2876578" y="10625733"/>
                  </a:lnTo>
                  <a:lnTo>
                    <a:pt x="2899028" y="10653148"/>
                  </a:lnTo>
                  <a:lnTo>
                    <a:pt x="2900769" y="10683366"/>
                  </a:lnTo>
                  <a:lnTo>
                    <a:pt x="2889847" y="10730381"/>
                  </a:lnTo>
                  <a:lnTo>
                    <a:pt x="2766746" y="10956007"/>
                  </a:lnTo>
                  <a:lnTo>
                    <a:pt x="2741244" y="10986396"/>
                  </a:lnTo>
                  <a:lnTo>
                    <a:pt x="2697440" y="11038470"/>
                  </a:lnTo>
                  <a:lnTo>
                    <a:pt x="2628880" y="11066267"/>
                  </a:lnTo>
                  <a:lnTo>
                    <a:pt x="2607948" y="11137379"/>
                  </a:lnTo>
                  <a:lnTo>
                    <a:pt x="2592938" y="11188430"/>
                  </a:lnTo>
                  <a:lnTo>
                    <a:pt x="2605627" y="11234759"/>
                  </a:lnTo>
                  <a:lnTo>
                    <a:pt x="2612024" y="11285640"/>
                  </a:lnTo>
                  <a:lnTo>
                    <a:pt x="2617287" y="11350290"/>
                  </a:lnTo>
                  <a:lnTo>
                    <a:pt x="2657120" y="11401682"/>
                  </a:lnTo>
                  <a:lnTo>
                    <a:pt x="2678672" y="11459744"/>
                  </a:lnTo>
                  <a:lnTo>
                    <a:pt x="2696228" y="11507056"/>
                  </a:lnTo>
                  <a:lnTo>
                    <a:pt x="2691340" y="11637721"/>
                  </a:lnTo>
                  <a:lnTo>
                    <a:pt x="2648744" y="11670578"/>
                  </a:lnTo>
                  <a:lnTo>
                    <a:pt x="2597845" y="11690601"/>
                  </a:lnTo>
                  <a:lnTo>
                    <a:pt x="2520104" y="11697869"/>
                  </a:lnTo>
                  <a:lnTo>
                    <a:pt x="2274246" y="11793547"/>
                  </a:lnTo>
                  <a:lnTo>
                    <a:pt x="2243407" y="11786192"/>
                  </a:lnTo>
                  <a:lnTo>
                    <a:pt x="2221237" y="11802430"/>
                  </a:lnTo>
                  <a:lnTo>
                    <a:pt x="2184067" y="11800687"/>
                  </a:lnTo>
                  <a:lnTo>
                    <a:pt x="2159073" y="11806597"/>
                  </a:lnTo>
                  <a:lnTo>
                    <a:pt x="2140310" y="11819136"/>
                  </a:lnTo>
                  <a:lnTo>
                    <a:pt x="2109321" y="11826825"/>
                  </a:lnTo>
                  <a:lnTo>
                    <a:pt x="2060037" y="11828230"/>
                  </a:lnTo>
                  <a:lnTo>
                    <a:pt x="2047539" y="11848765"/>
                  </a:lnTo>
                  <a:lnTo>
                    <a:pt x="2024035" y="11854324"/>
                  </a:lnTo>
                  <a:lnTo>
                    <a:pt x="1886973" y="11884595"/>
                  </a:lnTo>
                  <a:lnTo>
                    <a:pt x="1860614" y="11933135"/>
                  </a:lnTo>
                  <a:lnTo>
                    <a:pt x="1873435" y="12065031"/>
                  </a:lnTo>
                  <a:lnTo>
                    <a:pt x="1876051" y="12091901"/>
                  </a:lnTo>
                  <a:lnTo>
                    <a:pt x="1892968" y="12124841"/>
                  </a:lnTo>
                  <a:lnTo>
                    <a:pt x="1899279" y="12152092"/>
                  </a:lnTo>
                  <a:lnTo>
                    <a:pt x="1907905" y="12189364"/>
                  </a:lnTo>
                  <a:lnTo>
                    <a:pt x="1910049" y="12228857"/>
                  </a:lnTo>
                  <a:lnTo>
                    <a:pt x="1916961" y="12266343"/>
                  </a:lnTo>
                  <a:lnTo>
                    <a:pt x="1924697" y="12308300"/>
                  </a:lnTo>
                  <a:lnTo>
                    <a:pt x="1942714" y="12349017"/>
                  </a:lnTo>
                  <a:lnTo>
                    <a:pt x="1946881" y="12391485"/>
                  </a:lnTo>
                  <a:lnTo>
                    <a:pt x="1948965" y="12412861"/>
                  </a:lnTo>
                  <a:lnTo>
                    <a:pt x="1933560" y="12472671"/>
                  </a:lnTo>
                  <a:lnTo>
                    <a:pt x="1925118" y="12493498"/>
                  </a:lnTo>
                  <a:lnTo>
                    <a:pt x="1872689" y="12623223"/>
                  </a:lnTo>
                  <a:lnTo>
                    <a:pt x="1696757" y="12594022"/>
                  </a:lnTo>
                  <a:lnTo>
                    <a:pt x="1666684" y="12644481"/>
                  </a:lnTo>
                  <a:lnTo>
                    <a:pt x="1661158" y="12682355"/>
                  </a:lnTo>
                  <a:lnTo>
                    <a:pt x="1693802" y="12722011"/>
                  </a:lnTo>
                  <a:lnTo>
                    <a:pt x="1687088" y="12772337"/>
                  </a:lnTo>
                  <a:lnTo>
                    <a:pt x="1682011" y="12810341"/>
                  </a:lnTo>
                  <a:lnTo>
                    <a:pt x="1642263" y="12869084"/>
                  </a:lnTo>
                  <a:lnTo>
                    <a:pt x="1604111" y="12881152"/>
                  </a:lnTo>
                  <a:lnTo>
                    <a:pt x="1571954" y="12891353"/>
                  </a:lnTo>
                  <a:lnTo>
                    <a:pt x="1530215" y="12887871"/>
                  </a:lnTo>
                  <a:lnTo>
                    <a:pt x="1496654" y="12890674"/>
                  </a:lnTo>
                  <a:lnTo>
                    <a:pt x="1455786" y="12894072"/>
                  </a:lnTo>
                  <a:lnTo>
                    <a:pt x="1409627" y="12900199"/>
                  </a:lnTo>
                  <a:lnTo>
                    <a:pt x="1368799" y="12900199"/>
                  </a:lnTo>
                  <a:lnTo>
                    <a:pt x="1315881" y="12914905"/>
                  </a:lnTo>
                  <a:lnTo>
                    <a:pt x="1273139" y="12942022"/>
                  </a:lnTo>
                  <a:lnTo>
                    <a:pt x="1284463" y="13006288"/>
                  </a:lnTo>
                  <a:lnTo>
                    <a:pt x="1288064" y="13045272"/>
                  </a:lnTo>
                  <a:lnTo>
                    <a:pt x="1325397" y="13133896"/>
                  </a:lnTo>
                  <a:lnTo>
                    <a:pt x="1293986" y="13165438"/>
                  </a:lnTo>
                  <a:lnTo>
                    <a:pt x="1265424" y="13174954"/>
                  </a:lnTo>
                  <a:lnTo>
                    <a:pt x="1234816" y="13177131"/>
                  </a:lnTo>
                  <a:lnTo>
                    <a:pt x="1178799" y="13184854"/>
                  </a:lnTo>
                  <a:lnTo>
                    <a:pt x="1137904" y="13172917"/>
                  </a:lnTo>
                  <a:lnTo>
                    <a:pt x="1099482" y="13195353"/>
                  </a:lnTo>
                  <a:lnTo>
                    <a:pt x="1064245" y="13247808"/>
                  </a:lnTo>
                  <a:lnTo>
                    <a:pt x="1055698" y="13318158"/>
                  </a:lnTo>
                  <a:lnTo>
                    <a:pt x="1023311" y="13366741"/>
                  </a:lnTo>
                  <a:lnTo>
                    <a:pt x="1008387" y="13383149"/>
                  </a:lnTo>
                  <a:lnTo>
                    <a:pt x="992935" y="13413795"/>
                  </a:lnTo>
                  <a:lnTo>
                    <a:pt x="969346" y="13433685"/>
                  </a:lnTo>
                  <a:lnTo>
                    <a:pt x="978506" y="13482997"/>
                  </a:lnTo>
                  <a:lnTo>
                    <a:pt x="1077654" y="13511346"/>
                  </a:lnTo>
                  <a:lnTo>
                    <a:pt x="1104923" y="13559892"/>
                  </a:lnTo>
                  <a:lnTo>
                    <a:pt x="1124536" y="13594826"/>
                  </a:lnTo>
                  <a:lnTo>
                    <a:pt x="1082856" y="13715802"/>
                  </a:lnTo>
                  <a:lnTo>
                    <a:pt x="1147085" y="13802004"/>
                  </a:lnTo>
                  <a:lnTo>
                    <a:pt x="1183132" y="13833540"/>
                  </a:lnTo>
                  <a:lnTo>
                    <a:pt x="1201493" y="13864571"/>
                  </a:lnTo>
                  <a:lnTo>
                    <a:pt x="1174710" y="13906019"/>
                  </a:lnTo>
                  <a:lnTo>
                    <a:pt x="1085086" y="13918385"/>
                  </a:lnTo>
                  <a:lnTo>
                    <a:pt x="1045068" y="13957064"/>
                  </a:lnTo>
                  <a:lnTo>
                    <a:pt x="1039264" y="13985500"/>
                  </a:lnTo>
                  <a:lnTo>
                    <a:pt x="1053463" y="14036467"/>
                  </a:lnTo>
                  <a:lnTo>
                    <a:pt x="1091251" y="14030517"/>
                  </a:lnTo>
                  <a:lnTo>
                    <a:pt x="1106281" y="14074043"/>
                  </a:lnTo>
                  <a:lnTo>
                    <a:pt x="1109632" y="14097636"/>
                  </a:lnTo>
                  <a:lnTo>
                    <a:pt x="1117262" y="14249595"/>
                  </a:lnTo>
                  <a:lnTo>
                    <a:pt x="1018735" y="14298349"/>
                  </a:lnTo>
                  <a:lnTo>
                    <a:pt x="895443" y="14283513"/>
                  </a:lnTo>
                  <a:lnTo>
                    <a:pt x="846627" y="14277656"/>
                  </a:lnTo>
                  <a:lnTo>
                    <a:pt x="766710" y="14273777"/>
                  </a:lnTo>
                  <a:lnTo>
                    <a:pt x="721337" y="14257672"/>
                  </a:lnTo>
                  <a:lnTo>
                    <a:pt x="669291" y="14262466"/>
                  </a:lnTo>
                  <a:lnTo>
                    <a:pt x="591457" y="14254138"/>
                  </a:lnTo>
                  <a:lnTo>
                    <a:pt x="510102" y="14205257"/>
                  </a:lnTo>
                  <a:lnTo>
                    <a:pt x="443857" y="14195093"/>
                  </a:lnTo>
                  <a:lnTo>
                    <a:pt x="414978" y="14193782"/>
                  </a:lnTo>
                  <a:lnTo>
                    <a:pt x="390088" y="14180049"/>
                  </a:lnTo>
                  <a:lnTo>
                    <a:pt x="362245" y="14176056"/>
                  </a:lnTo>
                  <a:lnTo>
                    <a:pt x="282335" y="14164534"/>
                  </a:lnTo>
                  <a:lnTo>
                    <a:pt x="98667" y="14228759"/>
                  </a:lnTo>
                  <a:lnTo>
                    <a:pt x="82048" y="14318875"/>
                  </a:lnTo>
                  <a:lnTo>
                    <a:pt x="70078" y="14339357"/>
                  </a:lnTo>
                  <a:lnTo>
                    <a:pt x="53485" y="14375997"/>
                  </a:lnTo>
                  <a:lnTo>
                    <a:pt x="34333" y="14420586"/>
                  </a:lnTo>
                  <a:lnTo>
                    <a:pt x="29466" y="14458079"/>
                  </a:lnTo>
                  <a:lnTo>
                    <a:pt x="16757" y="14487537"/>
                  </a:lnTo>
                  <a:lnTo>
                    <a:pt x="7531" y="14506408"/>
                  </a:lnTo>
                  <a:lnTo>
                    <a:pt x="0" y="14571569"/>
                  </a:lnTo>
                  <a:lnTo>
                    <a:pt x="33640" y="14563709"/>
                  </a:lnTo>
                  <a:lnTo>
                    <a:pt x="93521" y="14606166"/>
                  </a:lnTo>
                  <a:lnTo>
                    <a:pt x="120132" y="14616757"/>
                  </a:lnTo>
                  <a:lnTo>
                    <a:pt x="152223" y="14629467"/>
                  </a:lnTo>
                  <a:lnTo>
                    <a:pt x="213365" y="14654330"/>
                  </a:lnTo>
                  <a:lnTo>
                    <a:pt x="231665" y="14683408"/>
                  </a:lnTo>
                  <a:lnTo>
                    <a:pt x="267759" y="14740744"/>
                  </a:lnTo>
                  <a:lnTo>
                    <a:pt x="239620" y="14834893"/>
                  </a:lnTo>
                  <a:lnTo>
                    <a:pt x="253430" y="14901038"/>
                  </a:lnTo>
                  <a:lnTo>
                    <a:pt x="269455" y="14977889"/>
                  </a:lnTo>
                  <a:lnTo>
                    <a:pt x="323011" y="15105617"/>
                  </a:lnTo>
                  <a:lnTo>
                    <a:pt x="362245" y="15174438"/>
                  </a:lnTo>
                  <a:lnTo>
                    <a:pt x="377419" y="15201001"/>
                  </a:lnTo>
                  <a:lnTo>
                    <a:pt x="433575" y="15269778"/>
                  </a:lnTo>
                  <a:lnTo>
                    <a:pt x="456096" y="15290053"/>
                  </a:lnTo>
                  <a:lnTo>
                    <a:pt x="477715" y="15309481"/>
                  </a:lnTo>
                  <a:lnTo>
                    <a:pt x="509555" y="15316575"/>
                  </a:lnTo>
                  <a:lnTo>
                    <a:pt x="532268" y="15333579"/>
                  </a:lnTo>
                  <a:lnTo>
                    <a:pt x="559947" y="15354365"/>
                  </a:lnTo>
                  <a:lnTo>
                    <a:pt x="605723" y="15383904"/>
                  </a:lnTo>
                  <a:lnTo>
                    <a:pt x="661211" y="15405329"/>
                  </a:lnTo>
                  <a:lnTo>
                    <a:pt x="719728" y="15413403"/>
                  </a:lnTo>
                  <a:lnTo>
                    <a:pt x="775745" y="15434230"/>
                  </a:lnTo>
                  <a:lnTo>
                    <a:pt x="823037" y="15451879"/>
                  </a:lnTo>
                  <a:lnTo>
                    <a:pt x="869307" y="15476826"/>
                  </a:lnTo>
                  <a:lnTo>
                    <a:pt x="917206" y="15491361"/>
                  </a:lnTo>
                  <a:lnTo>
                    <a:pt x="966259" y="15506285"/>
                  </a:lnTo>
                  <a:lnTo>
                    <a:pt x="1020608" y="15516997"/>
                  </a:lnTo>
                  <a:lnTo>
                    <a:pt x="1066831" y="15540329"/>
                  </a:lnTo>
                  <a:lnTo>
                    <a:pt x="1100195" y="15557119"/>
                  </a:lnTo>
                  <a:lnTo>
                    <a:pt x="1135985" y="15610427"/>
                  </a:lnTo>
                  <a:lnTo>
                    <a:pt x="1177006" y="15634187"/>
                  </a:lnTo>
                  <a:lnTo>
                    <a:pt x="1314661" y="15714269"/>
                  </a:lnTo>
                  <a:lnTo>
                    <a:pt x="1377042" y="15652586"/>
                  </a:lnTo>
                  <a:lnTo>
                    <a:pt x="1474891" y="15687229"/>
                  </a:lnTo>
                  <a:lnTo>
                    <a:pt x="1565346" y="15719282"/>
                  </a:lnTo>
                  <a:lnTo>
                    <a:pt x="1611610" y="15791963"/>
                  </a:lnTo>
                  <a:lnTo>
                    <a:pt x="1722444" y="15791963"/>
                  </a:lnTo>
                  <a:lnTo>
                    <a:pt x="1752964" y="15789247"/>
                  </a:lnTo>
                  <a:lnTo>
                    <a:pt x="1860508" y="15751373"/>
                  </a:lnTo>
                  <a:lnTo>
                    <a:pt x="1874786" y="15767484"/>
                  </a:lnTo>
                  <a:lnTo>
                    <a:pt x="1883009" y="15725400"/>
                  </a:lnTo>
                  <a:lnTo>
                    <a:pt x="2078734" y="15767444"/>
                  </a:lnTo>
                  <a:lnTo>
                    <a:pt x="2055698" y="15683148"/>
                  </a:lnTo>
                  <a:lnTo>
                    <a:pt x="2040265" y="15665208"/>
                  </a:lnTo>
                  <a:lnTo>
                    <a:pt x="2024537" y="15650338"/>
                  </a:lnTo>
                  <a:lnTo>
                    <a:pt x="1998565" y="15632823"/>
                  </a:lnTo>
                  <a:lnTo>
                    <a:pt x="1978101" y="15619223"/>
                  </a:lnTo>
                  <a:lnTo>
                    <a:pt x="1945878" y="15618842"/>
                  </a:lnTo>
                  <a:lnTo>
                    <a:pt x="1926476" y="15600176"/>
                  </a:lnTo>
                  <a:lnTo>
                    <a:pt x="1906223" y="15560734"/>
                  </a:lnTo>
                  <a:lnTo>
                    <a:pt x="1894129" y="15440357"/>
                  </a:lnTo>
                  <a:lnTo>
                    <a:pt x="2069362" y="15488769"/>
                  </a:lnTo>
                  <a:lnTo>
                    <a:pt x="2039375" y="15397510"/>
                  </a:lnTo>
                  <a:lnTo>
                    <a:pt x="2008088" y="15355472"/>
                  </a:lnTo>
                  <a:lnTo>
                    <a:pt x="1982691" y="15318405"/>
                  </a:lnTo>
                  <a:lnTo>
                    <a:pt x="2001289" y="15262848"/>
                  </a:lnTo>
                  <a:lnTo>
                    <a:pt x="2019795" y="15243256"/>
                  </a:lnTo>
                  <a:lnTo>
                    <a:pt x="2061138" y="15241085"/>
                  </a:lnTo>
                  <a:lnTo>
                    <a:pt x="2175797" y="15221961"/>
                  </a:lnTo>
                  <a:lnTo>
                    <a:pt x="2169229" y="15315639"/>
                  </a:lnTo>
                  <a:lnTo>
                    <a:pt x="2227080" y="15363506"/>
                  </a:lnTo>
                  <a:lnTo>
                    <a:pt x="2258662" y="15371328"/>
                  </a:lnTo>
                  <a:lnTo>
                    <a:pt x="2282912" y="15341526"/>
                  </a:lnTo>
                  <a:lnTo>
                    <a:pt x="2315490" y="15351258"/>
                  </a:lnTo>
                  <a:lnTo>
                    <a:pt x="2347542" y="15360783"/>
                  </a:lnTo>
                  <a:lnTo>
                    <a:pt x="2368176" y="15414597"/>
                  </a:lnTo>
                  <a:lnTo>
                    <a:pt x="2393026" y="15436952"/>
                  </a:lnTo>
                  <a:lnTo>
                    <a:pt x="2441183" y="15480308"/>
                  </a:lnTo>
                  <a:lnTo>
                    <a:pt x="2540178" y="15525623"/>
                  </a:lnTo>
                  <a:lnTo>
                    <a:pt x="2584813" y="15458715"/>
                  </a:lnTo>
                  <a:lnTo>
                    <a:pt x="2624362" y="15399336"/>
                  </a:lnTo>
                  <a:lnTo>
                    <a:pt x="2602751" y="15318451"/>
                  </a:lnTo>
                  <a:lnTo>
                    <a:pt x="2644662" y="15260132"/>
                  </a:lnTo>
                  <a:lnTo>
                    <a:pt x="2669676" y="15253838"/>
                  </a:lnTo>
                  <a:lnTo>
                    <a:pt x="2771713" y="15260349"/>
                  </a:lnTo>
                  <a:lnTo>
                    <a:pt x="2825144" y="15247423"/>
                  </a:lnTo>
                  <a:lnTo>
                    <a:pt x="2827584" y="15162284"/>
                  </a:lnTo>
                  <a:lnTo>
                    <a:pt x="2882699" y="15139076"/>
                  </a:lnTo>
                  <a:lnTo>
                    <a:pt x="2903669" y="15130230"/>
                  </a:lnTo>
                  <a:lnTo>
                    <a:pt x="2928367" y="15134695"/>
                  </a:lnTo>
                  <a:lnTo>
                    <a:pt x="2949346" y="15121393"/>
                  </a:lnTo>
                  <a:lnTo>
                    <a:pt x="2986007" y="15098185"/>
                  </a:lnTo>
                  <a:lnTo>
                    <a:pt x="3013382" y="15054442"/>
                  </a:lnTo>
                  <a:lnTo>
                    <a:pt x="3052721" y="15038425"/>
                  </a:lnTo>
                  <a:lnTo>
                    <a:pt x="3115229" y="15012876"/>
                  </a:lnTo>
                  <a:lnTo>
                    <a:pt x="3136647" y="15039572"/>
                  </a:lnTo>
                  <a:lnTo>
                    <a:pt x="3199623" y="14989451"/>
                  </a:lnTo>
                  <a:lnTo>
                    <a:pt x="3228608" y="14956383"/>
                  </a:lnTo>
                  <a:lnTo>
                    <a:pt x="3272371" y="14935088"/>
                  </a:lnTo>
                  <a:lnTo>
                    <a:pt x="3338511" y="14949717"/>
                  </a:lnTo>
                  <a:lnTo>
                    <a:pt x="3354682" y="14929600"/>
                  </a:lnTo>
                  <a:lnTo>
                    <a:pt x="3373727" y="14910563"/>
                  </a:lnTo>
                  <a:lnTo>
                    <a:pt x="3392412" y="14885870"/>
                  </a:lnTo>
                  <a:lnTo>
                    <a:pt x="3401763" y="14858839"/>
                  </a:lnTo>
                  <a:lnTo>
                    <a:pt x="3418613" y="14841196"/>
                  </a:lnTo>
                  <a:lnTo>
                    <a:pt x="3437297" y="14821681"/>
                  </a:lnTo>
                  <a:lnTo>
                    <a:pt x="3458994" y="14805958"/>
                  </a:lnTo>
                  <a:lnTo>
                    <a:pt x="3475744" y="14784071"/>
                  </a:lnTo>
                  <a:lnTo>
                    <a:pt x="3490175" y="14765322"/>
                  </a:lnTo>
                  <a:lnTo>
                    <a:pt x="3511490" y="14738843"/>
                  </a:lnTo>
                  <a:lnTo>
                    <a:pt x="3517912" y="14716057"/>
                  </a:lnTo>
                  <a:lnTo>
                    <a:pt x="3541396" y="14701016"/>
                  </a:lnTo>
                  <a:lnTo>
                    <a:pt x="3571556" y="14701562"/>
                  </a:lnTo>
                  <a:lnTo>
                    <a:pt x="3596801" y="14711983"/>
                  </a:lnTo>
                  <a:lnTo>
                    <a:pt x="3624512" y="14710110"/>
                  </a:lnTo>
                  <a:lnTo>
                    <a:pt x="3827504" y="14803499"/>
                  </a:lnTo>
                  <a:lnTo>
                    <a:pt x="3790987" y="14658721"/>
                  </a:lnTo>
                  <a:lnTo>
                    <a:pt x="3874281" y="14641252"/>
                  </a:lnTo>
                  <a:lnTo>
                    <a:pt x="3895643" y="14636787"/>
                  </a:lnTo>
                  <a:lnTo>
                    <a:pt x="3971155" y="14669182"/>
                  </a:lnTo>
                  <a:lnTo>
                    <a:pt x="4002143" y="14673898"/>
                  </a:lnTo>
                  <a:lnTo>
                    <a:pt x="4102756" y="14691841"/>
                  </a:lnTo>
                  <a:lnTo>
                    <a:pt x="4173783" y="14646356"/>
                  </a:lnTo>
                  <a:lnTo>
                    <a:pt x="4238814" y="14663015"/>
                  </a:lnTo>
                  <a:lnTo>
                    <a:pt x="4261007" y="14667861"/>
                  </a:lnTo>
                  <a:lnTo>
                    <a:pt x="4296243" y="14695962"/>
                  </a:lnTo>
                  <a:lnTo>
                    <a:pt x="4314986" y="14709266"/>
                  </a:lnTo>
                  <a:lnTo>
                    <a:pt x="4357298" y="14739317"/>
                  </a:lnTo>
                  <a:lnTo>
                    <a:pt x="4400528" y="14761887"/>
                  </a:lnTo>
                  <a:lnTo>
                    <a:pt x="4455088" y="14763672"/>
                  </a:lnTo>
                  <a:lnTo>
                    <a:pt x="4505776" y="14761418"/>
                  </a:lnTo>
                  <a:lnTo>
                    <a:pt x="4613081" y="14820884"/>
                  </a:lnTo>
                  <a:lnTo>
                    <a:pt x="4652316" y="14850725"/>
                  </a:lnTo>
                  <a:lnTo>
                    <a:pt x="4685685" y="14855316"/>
                  </a:lnTo>
                  <a:lnTo>
                    <a:pt x="4734587" y="14879842"/>
                  </a:lnTo>
                  <a:lnTo>
                    <a:pt x="4781555" y="14889110"/>
                  </a:lnTo>
                  <a:lnTo>
                    <a:pt x="4819621" y="14920097"/>
                  </a:lnTo>
                  <a:lnTo>
                    <a:pt x="5025310" y="15150393"/>
                  </a:lnTo>
                  <a:lnTo>
                    <a:pt x="5033170" y="15182614"/>
                  </a:lnTo>
                  <a:lnTo>
                    <a:pt x="5084454" y="15308089"/>
                  </a:lnTo>
                  <a:lnTo>
                    <a:pt x="5137673" y="15471868"/>
                  </a:lnTo>
                  <a:lnTo>
                    <a:pt x="5099817" y="15606998"/>
                  </a:lnTo>
                  <a:lnTo>
                    <a:pt x="5084860" y="15634199"/>
                  </a:lnTo>
                  <a:lnTo>
                    <a:pt x="5070867" y="15806651"/>
                  </a:lnTo>
                  <a:lnTo>
                    <a:pt x="5071255" y="15835511"/>
                  </a:lnTo>
                  <a:lnTo>
                    <a:pt x="5099712" y="15845752"/>
                  </a:lnTo>
                  <a:lnTo>
                    <a:pt x="5131509" y="15842605"/>
                  </a:lnTo>
                  <a:lnTo>
                    <a:pt x="5155507" y="15805122"/>
                  </a:lnTo>
                  <a:lnTo>
                    <a:pt x="5167832" y="15786543"/>
                  </a:lnTo>
                  <a:lnTo>
                    <a:pt x="5202562" y="15801888"/>
                  </a:lnTo>
                  <a:lnTo>
                    <a:pt x="5220201" y="15815698"/>
                  </a:lnTo>
                  <a:lnTo>
                    <a:pt x="5239921" y="15827353"/>
                  </a:lnTo>
                  <a:lnTo>
                    <a:pt x="5259560" y="15795042"/>
                  </a:lnTo>
                  <a:lnTo>
                    <a:pt x="5278582" y="15767372"/>
                  </a:lnTo>
                  <a:lnTo>
                    <a:pt x="5301452" y="15768861"/>
                  </a:lnTo>
                  <a:lnTo>
                    <a:pt x="5351759" y="15729840"/>
                  </a:lnTo>
                  <a:lnTo>
                    <a:pt x="5296348" y="15671738"/>
                  </a:lnTo>
                  <a:lnTo>
                    <a:pt x="5301129" y="15628761"/>
                  </a:lnTo>
                  <a:lnTo>
                    <a:pt x="5311395" y="15607081"/>
                  </a:lnTo>
                  <a:lnTo>
                    <a:pt x="5342082" y="15518538"/>
                  </a:lnTo>
                  <a:lnTo>
                    <a:pt x="5355920" y="15433529"/>
                  </a:lnTo>
                  <a:lnTo>
                    <a:pt x="5381382" y="15354002"/>
                  </a:lnTo>
                  <a:lnTo>
                    <a:pt x="5393325" y="15316684"/>
                  </a:lnTo>
                  <a:lnTo>
                    <a:pt x="5422595" y="15284583"/>
                  </a:lnTo>
                  <a:lnTo>
                    <a:pt x="5423550" y="15243823"/>
                  </a:lnTo>
                  <a:lnTo>
                    <a:pt x="5424545" y="15202207"/>
                  </a:lnTo>
                  <a:lnTo>
                    <a:pt x="5395747" y="15195283"/>
                  </a:lnTo>
                  <a:lnTo>
                    <a:pt x="5390904" y="15163574"/>
                  </a:lnTo>
                  <a:lnTo>
                    <a:pt x="5397790" y="15137473"/>
                  </a:lnTo>
                  <a:lnTo>
                    <a:pt x="5412046" y="15109379"/>
                  </a:lnTo>
                  <a:lnTo>
                    <a:pt x="5409944" y="15081963"/>
                  </a:lnTo>
                  <a:lnTo>
                    <a:pt x="5407265" y="15047361"/>
                  </a:lnTo>
                  <a:lnTo>
                    <a:pt x="5382827" y="15015059"/>
                  </a:lnTo>
                  <a:lnTo>
                    <a:pt x="5380024" y="14978586"/>
                  </a:lnTo>
                  <a:lnTo>
                    <a:pt x="5377959" y="14951760"/>
                  </a:lnTo>
                  <a:lnTo>
                    <a:pt x="5383868" y="14874487"/>
                  </a:lnTo>
                  <a:lnTo>
                    <a:pt x="5364195" y="14829089"/>
                  </a:lnTo>
                  <a:lnTo>
                    <a:pt x="5329552" y="14820757"/>
                  </a:lnTo>
                  <a:lnTo>
                    <a:pt x="5312015" y="14799035"/>
                  </a:lnTo>
                  <a:lnTo>
                    <a:pt x="5331952" y="14788753"/>
                  </a:lnTo>
                  <a:lnTo>
                    <a:pt x="5360437" y="14811790"/>
                  </a:lnTo>
                  <a:lnTo>
                    <a:pt x="5381388" y="14804482"/>
                  </a:lnTo>
                  <a:lnTo>
                    <a:pt x="5404174" y="14768863"/>
                  </a:lnTo>
                  <a:lnTo>
                    <a:pt x="5405808" y="14591776"/>
                  </a:lnTo>
                  <a:lnTo>
                    <a:pt x="5393635" y="14567805"/>
                  </a:lnTo>
                  <a:lnTo>
                    <a:pt x="5352081" y="14539032"/>
                  </a:lnTo>
                  <a:lnTo>
                    <a:pt x="5344668" y="14480753"/>
                  </a:lnTo>
                  <a:lnTo>
                    <a:pt x="5323348" y="14465154"/>
                  </a:lnTo>
                  <a:lnTo>
                    <a:pt x="5298847" y="14485600"/>
                  </a:lnTo>
                  <a:lnTo>
                    <a:pt x="5285412" y="14522577"/>
                  </a:lnTo>
                  <a:lnTo>
                    <a:pt x="5268449" y="14646272"/>
                  </a:lnTo>
                  <a:lnTo>
                    <a:pt x="5249452" y="14658941"/>
                  </a:lnTo>
                  <a:lnTo>
                    <a:pt x="5230920" y="14637004"/>
                  </a:lnTo>
                  <a:lnTo>
                    <a:pt x="5250639" y="14565086"/>
                  </a:lnTo>
                  <a:lnTo>
                    <a:pt x="5226328" y="14531079"/>
                  </a:lnTo>
                  <a:lnTo>
                    <a:pt x="5161786" y="14525473"/>
                  </a:lnTo>
                  <a:lnTo>
                    <a:pt x="5168604" y="14574518"/>
                  </a:lnTo>
                  <a:lnTo>
                    <a:pt x="5142001" y="14599090"/>
                  </a:lnTo>
                  <a:lnTo>
                    <a:pt x="5103771" y="14563892"/>
                  </a:lnTo>
                  <a:lnTo>
                    <a:pt x="5135722" y="14482704"/>
                  </a:lnTo>
                  <a:lnTo>
                    <a:pt x="5103907" y="14450823"/>
                  </a:lnTo>
                  <a:lnTo>
                    <a:pt x="5082144" y="14448101"/>
                  </a:lnTo>
                  <a:lnTo>
                    <a:pt x="5011903" y="14472884"/>
                  </a:lnTo>
                  <a:lnTo>
                    <a:pt x="5037874" y="14595298"/>
                  </a:lnTo>
                  <a:lnTo>
                    <a:pt x="5025013" y="14650774"/>
                  </a:lnTo>
                  <a:lnTo>
                    <a:pt x="4997176" y="14646818"/>
                  </a:lnTo>
                  <a:lnTo>
                    <a:pt x="4978771" y="14631730"/>
                  </a:lnTo>
                  <a:lnTo>
                    <a:pt x="4949997" y="14593308"/>
                  </a:lnTo>
                  <a:lnTo>
                    <a:pt x="4936990" y="14563545"/>
                  </a:lnTo>
                  <a:lnTo>
                    <a:pt x="4920287" y="14533795"/>
                  </a:lnTo>
                  <a:lnTo>
                    <a:pt x="4906384" y="14509012"/>
                  </a:lnTo>
                  <a:lnTo>
                    <a:pt x="4884212" y="14489333"/>
                  </a:lnTo>
                  <a:lnTo>
                    <a:pt x="4868594" y="14467139"/>
                  </a:lnTo>
                  <a:lnTo>
                    <a:pt x="4860213" y="14440622"/>
                  </a:lnTo>
                  <a:lnTo>
                    <a:pt x="4871314" y="14419538"/>
                  </a:lnTo>
                  <a:lnTo>
                    <a:pt x="4957324" y="14406659"/>
                  </a:lnTo>
                  <a:lnTo>
                    <a:pt x="4943638" y="14287640"/>
                  </a:lnTo>
                  <a:lnTo>
                    <a:pt x="5004614" y="14239993"/>
                  </a:lnTo>
                  <a:lnTo>
                    <a:pt x="5055429" y="14216357"/>
                  </a:lnTo>
                  <a:lnTo>
                    <a:pt x="5082057" y="14184027"/>
                  </a:lnTo>
                  <a:lnTo>
                    <a:pt x="5087697" y="14149338"/>
                  </a:lnTo>
                  <a:lnTo>
                    <a:pt x="5101191" y="14118937"/>
                  </a:lnTo>
                  <a:lnTo>
                    <a:pt x="5069838" y="14129131"/>
                  </a:lnTo>
                  <a:lnTo>
                    <a:pt x="5046776" y="14105331"/>
                  </a:lnTo>
                  <a:lnTo>
                    <a:pt x="5026991" y="14097936"/>
                  </a:lnTo>
                  <a:lnTo>
                    <a:pt x="5005209" y="14103973"/>
                  </a:lnTo>
                  <a:lnTo>
                    <a:pt x="4955305" y="14103973"/>
                  </a:lnTo>
                  <a:lnTo>
                    <a:pt x="4860496" y="14070778"/>
                  </a:lnTo>
                  <a:lnTo>
                    <a:pt x="4842751" y="14045487"/>
                  </a:lnTo>
                  <a:lnTo>
                    <a:pt x="4833952" y="14018239"/>
                  </a:lnTo>
                  <a:lnTo>
                    <a:pt x="4838897" y="13914521"/>
                  </a:lnTo>
                  <a:lnTo>
                    <a:pt x="4878712" y="13792786"/>
                  </a:lnTo>
                  <a:lnTo>
                    <a:pt x="4876758" y="13713594"/>
                  </a:lnTo>
                  <a:lnTo>
                    <a:pt x="4873884" y="13597003"/>
                  </a:lnTo>
                  <a:lnTo>
                    <a:pt x="4821177" y="13442153"/>
                  </a:lnTo>
                  <a:lnTo>
                    <a:pt x="4848189" y="13332743"/>
                  </a:lnTo>
                  <a:lnTo>
                    <a:pt x="4866061" y="13260267"/>
                  </a:lnTo>
                  <a:lnTo>
                    <a:pt x="4945932" y="13260992"/>
                  </a:lnTo>
                  <a:lnTo>
                    <a:pt x="4988292" y="13215764"/>
                  </a:lnTo>
                  <a:lnTo>
                    <a:pt x="4985576" y="13194001"/>
                  </a:lnTo>
                  <a:lnTo>
                    <a:pt x="4974820" y="13175937"/>
                  </a:lnTo>
                  <a:lnTo>
                    <a:pt x="4951296" y="13170067"/>
                  </a:lnTo>
                  <a:lnTo>
                    <a:pt x="4894354" y="13089688"/>
                  </a:lnTo>
                  <a:lnTo>
                    <a:pt x="4948341" y="12951802"/>
                  </a:lnTo>
                  <a:lnTo>
                    <a:pt x="4984209" y="12892032"/>
                  </a:lnTo>
                  <a:lnTo>
                    <a:pt x="5014350" y="12858288"/>
                  </a:lnTo>
                  <a:lnTo>
                    <a:pt x="5032268" y="12836010"/>
                  </a:lnTo>
                  <a:lnTo>
                    <a:pt x="5013116" y="12755848"/>
                  </a:lnTo>
                  <a:lnTo>
                    <a:pt x="4952270" y="12701315"/>
                  </a:lnTo>
                  <a:lnTo>
                    <a:pt x="4977409" y="12632240"/>
                  </a:lnTo>
                  <a:lnTo>
                    <a:pt x="5005981" y="12628156"/>
                  </a:lnTo>
                  <a:lnTo>
                    <a:pt x="5019664" y="12644996"/>
                  </a:lnTo>
                  <a:lnTo>
                    <a:pt x="5033862" y="12668920"/>
                  </a:lnTo>
                  <a:lnTo>
                    <a:pt x="5044060" y="12704328"/>
                  </a:lnTo>
                  <a:lnTo>
                    <a:pt x="5068650" y="12728854"/>
                  </a:lnTo>
                  <a:lnTo>
                    <a:pt x="5110285" y="12708706"/>
                  </a:lnTo>
                  <a:lnTo>
                    <a:pt x="5139276" y="12719292"/>
                  </a:lnTo>
                  <a:lnTo>
                    <a:pt x="5159206" y="12754958"/>
                  </a:lnTo>
                  <a:lnTo>
                    <a:pt x="5154623" y="12780290"/>
                  </a:lnTo>
                  <a:lnTo>
                    <a:pt x="5162397" y="12804986"/>
                  </a:lnTo>
                  <a:lnTo>
                    <a:pt x="5187201" y="12828615"/>
                  </a:lnTo>
                  <a:lnTo>
                    <a:pt x="5213593" y="12880386"/>
                  </a:lnTo>
                  <a:lnTo>
                    <a:pt x="5156595" y="12913888"/>
                  </a:lnTo>
                  <a:lnTo>
                    <a:pt x="5150159" y="12957330"/>
                  </a:lnTo>
                  <a:lnTo>
                    <a:pt x="5145719" y="12987297"/>
                  </a:lnTo>
                  <a:lnTo>
                    <a:pt x="5124464" y="13060152"/>
                  </a:lnTo>
                  <a:lnTo>
                    <a:pt x="5128396" y="13083825"/>
                  </a:lnTo>
                  <a:lnTo>
                    <a:pt x="5133136" y="13112176"/>
                  </a:lnTo>
                  <a:lnTo>
                    <a:pt x="5165293" y="13120632"/>
                  </a:lnTo>
                  <a:lnTo>
                    <a:pt x="5169196" y="13158639"/>
                  </a:lnTo>
                  <a:lnTo>
                    <a:pt x="5173490" y="13200425"/>
                  </a:lnTo>
                  <a:lnTo>
                    <a:pt x="5138894" y="13237270"/>
                  </a:lnTo>
                  <a:lnTo>
                    <a:pt x="5137911" y="13278337"/>
                  </a:lnTo>
                  <a:lnTo>
                    <a:pt x="5146946" y="13317351"/>
                  </a:lnTo>
                  <a:lnTo>
                    <a:pt x="5174597" y="13341542"/>
                  </a:lnTo>
                  <a:lnTo>
                    <a:pt x="5196084" y="13352549"/>
                  </a:lnTo>
                  <a:lnTo>
                    <a:pt x="5212722" y="13368105"/>
                  </a:lnTo>
                  <a:lnTo>
                    <a:pt x="5260208" y="13412608"/>
                  </a:lnTo>
                  <a:lnTo>
                    <a:pt x="5316865" y="13502977"/>
                  </a:lnTo>
                  <a:lnTo>
                    <a:pt x="5339226" y="13563975"/>
                  </a:lnTo>
                  <a:lnTo>
                    <a:pt x="5363622" y="13630535"/>
                  </a:lnTo>
                  <a:lnTo>
                    <a:pt x="5316396" y="13686476"/>
                  </a:lnTo>
                  <a:lnTo>
                    <a:pt x="5335152" y="13744885"/>
                  </a:lnTo>
                  <a:lnTo>
                    <a:pt x="5364862" y="13735230"/>
                  </a:lnTo>
                  <a:lnTo>
                    <a:pt x="5367156" y="13706918"/>
                  </a:lnTo>
                  <a:lnTo>
                    <a:pt x="5407154" y="13659107"/>
                  </a:lnTo>
                  <a:lnTo>
                    <a:pt x="5471230" y="13667436"/>
                  </a:lnTo>
                  <a:lnTo>
                    <a:pt x="5505176" y="13633348"/>
                  </a:lnTo>
                  <a:lnTo>
                    <a:pt x="5514019" y="13610943"/>
                  </a:lnTo>
                  <a:lnTo>
                    <a:pt x="5502286" y="13578424"/>
                  </a:lnTo>
                  <a:lnTo>
                    <a:pt x="5505176" y="13553092"/>
                  </a:lnTo>
                  <a:lnTo>
                    <a:pt x="5520942" y="13536730"/>
                  </a:lnTo>
                  <a:lnTo>
                    <a:pt x="5543852" y="13541704"/>
                  </a:lnTo>
                  <a:lnTo>
                    <a:pt x="5582619" y="13564654"/>
                  </a:lnTo>
                  <a:lnTo>
                    <a:pt x="5642256" y="13549440"/>
                  </a:lnTo>
                  <a:lnTo>
                    <a:pt x="5672480" y="13502766"/>
                  </a:lnTo>
                  <a:lnTo>
                    <a:pt x="5704695" y="13475689"/>
                  </a:lnTo>
                  <a:lnTo>
                    <a:pt x="5779977" y="13459451"/>
                  </a:lnTo>
                  <a:lnTo>
                    <a:pt x="5789456" y="13412992"/>
                  </a:lnTo>
                  <a:lnTo>
                    <a:pt x="5779193" y="13336054"/>
                  </a:lnTo>
                  <a:lnTo>
                    <a:pt x="5688374" y="13374821"/>
                  </a:lnTo>
                  <a:lnTo>
                    <a:pt x="5647995" y="13342262"/>
                  </a:lnTo>
                  <a:lnTo>
                    <a:pt x="5558264" y="13223373"/>
                  </a:lnTo>
                  <a:lnTo>
                    <a:pt x="5540181" y="13178148"/>
                  </a:lnTo>
                  <a:lnTo>
                    <a:pt x="5545489" y="13111029"/>
                  </a:lnTo>
                  <a:lnTo>
                    <a:pt x="5563665" y="13086544"/>
                  </a:lnTo>
                  <a:lnTo>
                    <a:pt x="5585422" y="13070219"/>
                  </a:lnTo>
                  <a:lnTo>
                    <a:pt x="5612118" y="13055944"/>
                  </a:lnTo>
                  <a:lnTo>
                    <a:pt x="5644445" y="13052158"/>
                  </a:lnTo>
                  <a:lnTo>
                    <a:pt x="5672480" y="13041660"/>
                  </a:lnTo>
                  <a:lnTo>
                    <a:pt x="5698404" y="13031924"/>
                  </a:lnTo>
                  <a:lnTo>
                    <a:pt x="5720062" y="13007907"/>
                  </a:lnTo>
                  <a:lnTo>
                    <a:pt x="5745927" y="13000850"/>
                  </a:lnTo>
                  <a:lnTo>
                    <a:pt x="5769051" y="12994525"/>
                  </a:lnTo>
                  <a:lnTo>
                    <a:pt x="5807880" y="13009054"/>
                  </a:lnTo>
                  <a:lnTo>
                    <a:pt x="5833556" y="12992224"/>
                  </a:lnTo>
                  <a:lnTo>
                    <a:pt x="5853173" y="12952223"/>
                  </a:lnTo>
                  <a:lnTo>
                    <a:pt x="5875150" y="12930125"/>
                  </a:lnTo>
                  <a:lnTo>
                    <a:pt x="5905071" y="12949172"/>
                  </a:lnTo>
                  <a:lnTo>
                    <a:pt x="5898442" y="13049737"/>
                  </a:lnTo>
                  <a:lnTo>
                    <a:pt x="5939416" y="13008632"/>
                  </a:lnTo>
                  <a:lnTo>
                    <a:pt x="5982601" y="13057987"/>
                  </a:lnTo>
                  <a:lnTo>
                    <a:pt x="6003365" y="13081704"/>
                  </a:lnTo>
                  <a:lnTo>
                    <a:pt x="5998711" y="13112772"/>
                  </a:lnTo>
                  <a:lnTo>
                    <a:pt x="6013886" y="13138234"/>
                  </a:lnTo>
                  <a:lnTo>
                    <a:pt x="6044045" y="13126377"/>
                  </a:lnTo>
                  <a:lnTo>
                    <a:pt x="6038055" y="13102701"/>
                  </a:lnTo>
                  <a:lnTo>
                    <a:pt x="6035649" y="13081109"/>
                  </a:lnTo>
                  <a:lnTo>
                    <a:pt x="6039342" y="13045700"/>
                  </a:lnTo>
                  <a:lnTo>
                    <a:pt x="6037773" y="13018030"/>
                  </a:lnTo>
                  <a:lnTo>
                    <a:pt x="6014115" y="12978578"/>
                  </a:lnTo>
                  <a:lnTo>
                    <a:pt x="5996727" y="12938500"/>
                  </a:lnTo>
                  <a:lnTo>
                    <a:pt x="5976217" y="12897098"/>
                  </a:lnTo>
                  <a:lnTo>
                    <a:pt x="5971712" y="12868917"/>
                  </a:lnTo>
                  <a:lnTo>
                    <a:pt x="5963297" y="12816250"/>
                  </a:lnTo>
                  <a:lnTo>
                    <a:pt x="5988653" y="12696679"/>
                  </a:lnTo>
                  <a:lnTo>
                    <a:pt x="6016596" y="12649929"/>
                  </a:lnTo>
                  <a:lnTo>
                    <a:pt x="6057681" y="12707863"/>
                  </a:lnTo>
                  <a:lnTo>
                    <a:pt x="6018937" y="12780039"/>
                  </a:lnTo>
                  <a:lnTo>
                    <a:pt x="6034284" y="12809069"/>
                  </a:lnTo>
                  <a:lnTo>
                    <a:pt x="6079063" y="12842652"/>
                  </a:lnTo>
                  <a:lnTo>
                    <a:pt x="6084610" y="12890680"/>
                  </a:lnTo>
                  <a:lnTo>
                    <a:pt x="6103189" y="12864071"/>
                  </a:lnTo>
                  <a:lnTo>
                    <a:pt x="6156640" y="12740376"/>
                  </a:lnTo>
                  <a:lnTo>
                    <a:pt x="6153790" y="12703181"/>
                  </a:lnTo>
                  <a:lnTo>
                    <a:pt x="6129513" y="12688184"/>
                  </a:lnTo>
                  <a:lnTo>
                    <a:pt x="6125411" y="12663525"/>
                  </a:lnTo>
                  <a:lnTo>
                    <a:pt x="6120862" y="12636236"/>
                  </a:lnTo>
                  <a:lnTo>
                    <a:pt x="6125380" y="12611326"/>
                  </a:lnTo>
                  <a:lnTo>
                    <a:pt x="6130858" y="12584630"/>
                  </a:lnTo>
                  <a:lnTo>
                    <a:pt x="6149812" y="12492270"/>
                  </a:lnTo>
                  <a:lnTo>
                    <a:pt x="6200225" y="12502511"/>
                  </a:lnTo>
                  <a:lnTo>
                    <a:pt x="6275039" y="12526147"/>
                  </a:lnTo>
                  <a:lnTo>
                    <a:pt x="6296591" y="12532947"/>
                  </a:lnTo>
                  <a:lnTo>
                    <a:pt x="6323709" y="12538050"/>
                  </a:lnTo>
                  <a:lnTo>
                    <a:pt x="6343050" y="12549268"/>
                  </a:lnTo>
                  <a:lnTo>
                    <a:pt x="6385593" y="12574008"/>
                  </a:lnTo>
                  <a:lnTo>
                    <a:pt x="6411954" y="12650053"/>
                  </a:lnTo>
                  <a:lnTo>
                    <a:pt x="6435544" y="12692087"/>
                  </a:lnTo>
                  <a:lnTo>
                    <a:pt x="6461830" y="12727459"/>
                  </a:lnTo>
                  <a:lnTo>
                    <a:pt x="6473622" y="12745138"/>
                  </a:lnTo>
                  <a:lnTo>
                    <a:pt x="6498129" y="12716873"/>
                  </a:lnTo>
                  <a:lnTo>
                    <a:pt x="6499620" y="12661404"/>
                  </a:lnTo>
                  <a:lnTo>
                    <a:pt x="6525315" y="12647203"/>
                  </a:lnTo>
                  <a:lnTo>
                    <a:pt x="6545506" y="12655454"/>
                  </a:lnTo>
                  <a:lnTo>
                    <a:pt x="6555025" y="12681127"/>
                  </a:lnTo>
                  <a:lnTo>
                    <a:pt x="6576999" y="12692087"/>
                  </a:lnTo>
                  <a:lnTo>
                    <a:pt x="6607375" y="12669177"/>
                  </a:lnTo>
                  <a:lnTo>
                    <a:pt x="6599084" y="12645588"/>
                  </a:lnTo>
                  <a:lnTo>
                    <a:pt x="6606370" y="12606527"/>
                  </a:lnTo>
                  <a:lnTo>
                    <a:pt x="6624205" y="12592797"/>
                  </a:lnTo>
                  <a:lnTo>
                    <a:pt x="6609986" y="12546890"/>
                  </a:lnTo>
                  <a:lnTo>
                    <a:pt x="6595940" y="12519521"/>
                  </a:lnTo>
                  <a:lnTo>
                    <a:pt x="6589246" y="12492146"/>
                  </a:lnTo>
                  <a:lnTo>
                    <a:pt x="6594895" y="12460982"/>
                  </a:lnTo>
                  <a:lnTo>
                    <a:pt x="6628564" y="12428550"/>
                  </a:lnTo>
                  <a:lnTo>
                    <a:pt x="6639572" y="12395569"/>
                  </a:lnTo>
                  <a:lnTo>
                    <a:pt x="6649075" y="12367047"/>
                  </a:lnTo>
                  <a:lnTo>
                    <a:pt x="6653003" y="12270392"/>
                  </a:lnTo>
                  <a:lnTo>
                    <a:pt x="6672215" y="12247308"/>
                  </a:lnTo>
                  <a:lnTo>
                    <a:pt x="6700483" y="12268473"/>
                  </a:lnTo>
                  <a:lnTo>
                    <a:pt x="6720332" y="12311233"/>
                  </a:lnTo>
                  <a:lnTo>
                    <a:pt x="6734102" y="12341194"/>
                  </a:lnTo>
                  <a:lnTo>
                    <a:pt x="6745661" y="12375164"/>
                  </a:lnTo>
                  <a:lnTo>
                    <a:pt x="6742247" y="12408443"/>
                  </a:lnTo>
                  <a:lnTo>
                    <a:pt x="6704820" y="12423366"/>
                  </a:lnTo>
                  <a:lnTo>
                    <a:pt x="6710302" y="12462216"/>
                  </a:lnTo>
                  <a:lnTo>
                    <a:pt x="6719548" y="12481812"/>
                  </a:lnTo>
                  <a:lnTo>
                    <a:pt x="6740586" y="12489033"/>
                  </a:lnTo>
                  <a:lnTo>
                    <a:pt x="6749745" y="12511184"/>
                  </a:lnTo>
                  <a:lnTo>
                    <a:pt x="6774463" y="12571071"/>
                  </a:lnTo>
                  <a:lnTo>
                    <a:pt x="6740248" y="12599126"/>
                  </a:lnTo>
                  <a:lnTo>
                    <a:pt x="6744303" y="12652645"/>
                  </a:lnTo>
                  <a:lnTo>
                    <a:pt x="6773613" y="12629688"/>
                  </a:lnTo>
                  <a:lnTo>
                    <a:pt x="6804517" y="12610009"/>
                  </a:lnTo>
                  <a:lnTo>
                    <a:pt x="6834081" y="12588714"/>
                  </a:lnTo>
                  <a:lnTo>
                    <a:pt x="6864708" y="12566693"/>
                  </a:lnTo>
                  <a:lnTo>
                    <a:pt x="6892629" y="12535281"/>
                  </a:lnTo>
                  <a:lnTo>
                    <a:pt x="6919768" y="12509819"/>
                  </a:lnTo>
                  <a:lnTo>
                    <a:pt x="6957239" y="12484019"/>
                  </a:lnTo>
                  <a:lnTo>
                    <a:pt x="6994437" y="12451460"/>
                  </a:lnTo>
                  <a:lnTo>
                    <a:pt x="7015452" y="12430206"/>
                  </a:lnTo>
                  <a:lnTo>
                    <a:pt x="7038108" y="12411884"/>
                  </a:lnTo>
                  <a:lnTo>
                    <a:pt x="7066566" y="12388934"/>
                  </a:lnTo>
                  <a:lnTo>
                    <a:pt x="7105568" y="12377880"/>
                  </a:lnTo>
                  <a:lnTo>
                    <a:pt x="7131960" y="12352037"/>
                  </a:lnTo>
                  <a:lnTo>
                    <a:pt x="7148282" y="12330274"/>
                  </a:lnTo>
                  <a:lnTo>
                    <a:pt x="7164222" y="12303708"/>
                  </a:lnTo>
                  <a:lnTo>
                    <a:pt x="7180292" y="12272039"/>
                  </a:lnTo>
                  <a:lnTo>
                    <a:pt x="7198613" y="12247302"/>
                  </a:lnTo>
                  <a:lnTo>
                    <a:pt x="7219077" y="12219670"/>
                  </a:lnTo>
                  <a:lnTo>
                    <a:pt x="7244245" y="12194682"/>
                  </a:lnTo>
                  <a:lnTo>
                    <a:pt x="7262544" y="12165692"/>
                  </a:lnTo>
                  <a:lnTo>
                    <a:pt x="7279607" y="12138658"/>
                  </a:lnTo>
                  <a:lnTo>
                    <a:pt x="7299820" y="12095125"/>
                  </a:lnTo>
                  <a:lnTo>
                    <a:pt x="7311512" y="12065031"/>
                  </a:lnTo>
                  <a:lnTo>
                    <a:pt x="7342667" y="11965958"/>
                  </a:lnTo>
                  <a:lnTo>
                    <a:pt x="7440918" y="11823092"/>
                  </a:lnTo>
                  <a:lnTo>
                    <a:pt x="7511456" y="11749472"/>
                  </a:lnTo>
                  <a:lnTo>
                    <a:pt x="7548099" y="11711254"/>
                  </a:lnTo>
                  <a:lnTo>
                    <a:pt x="7656598" y="11621101"/>
                  </a:lnTo>
                  <a:lnTo>
                    <a:pt x="7674680" y="11576726"/>
                  </a:lnTo>
                  <a:lnTo>
                    <a:pt x="7727961" y="11544253"/>
                  </a:lnTo>
                  <a:lnTo>
                    <a:pt x="7756675" y="11517347"/>
                  </a:lnTo>
                  <a:lnTo>
                    <a:pt x="7775338" y="11488307"/>
                  </a:lnTo>
                  <a:lnTo>
                    <a:pt x="7822392" y="11424766"/>
                  </a:lnTo>
                  <a:lnTo>
                    <a:pt x="7903854" y="11342641"/>
                  </a:lnTo>
                  <a:lnTo>
                    <a:pt x="7968483" y="11297881"/>
                  </a:lnTo>
                  <a:lnTo>
                    <a:pt x="8003910" y="11270636"/>
                  </a:lnTo>
                  <a:lnTo>
                    <a:pt x="8058406" y="11184561"/>
                  </a:lnTo>
                  <a:lnTo>
                    <a:pt x="8070625" y="11042678"/>
                  </a:lnTo>
                  <a:lnTo>
                    <a:pt x="8096345" y="11004076"/>
                  </a:lnTo>
                  <a:lnTo>
                    <a:pt x="8119698" y="10969011"/>
                  </a:lnTo>
                  <a:lnTo>
                    <a:pt x="8160766" y="10969479"/>
                  </a:lnTo>
                  <a:lnTo>
                    <a:pt x="8186116" y="10933348"/>
                  </a:lnTo>
                  <a:lnTo>
                    <a:pt x="8243564" y="10851524"/>
                  </a:lnTo>
                  <a:lnTo>
                    <a:pt x="8258229" y="10744792"/>
                  </a:lnTo>
                  <a:lnTo>
                    <a:pt x="8318058" y="10664031"/>
                  </a:lnTo>
                  <a:lnTo>
                    <a:pt x="8342692" y="10640653"/>
                  </a:lnTo>
                  <a:lnTo>
                    <a:pt x="8379543" y="10588157"/>
                  </a:lnTo>
                  <a:lnTo>
                    <a:pt x="8401135" y="10543273"/>
                  </a:lnTo>
                  <a:lnTo>
                    <a:pt x="8429593" y="10504891"/>
                  </a:lnTo>
                  <a:lnTo>
                    <a:pt x="8462363" y="10460599"/>
                  </a:lnTo>
                  <a:lnTo>
                    <a:pt x="8512313" y="10428291"/>
                  </a:lnTo>
                  <a:lnTo>
                    <a:pt x="8545207" y="10383834"/>
                  </a:lnTo>
                  <a:lnTo>
                    <a:pt x="8587335" y="10326957"/>
                  </a:lnTo>
                  <a:lnTo>
                    <a:pt x="8688408" y="10068564"/>
                  </a:lnTo>
                  <a:lnTo>
                    <a:pt x="8674427" y="10005693"/>
                  </a:lnTo>
                  <a:lnTo>
                    <a:pt x="8662437" y="9981338"/>
                  </a:lnTo>
                  <a:lnTo>
                    <a:pt x="8618403" y="9965103"/>
                  </a:lnTo>
                  <a:lnTo>
                    <a:pt x="8514666" y="9908183"/>
                  </a:lnTo>
                  <a:lnTo>
                    <a:pt x="8552007" y="9854710"/>
                  </a:lnTo>
                  <a:lnTo>
                    <a:pt x="8621637" y="9829552"/>
                  </a:lnTo>
                  <a:lnTo>
                    <a:pt x="8695576" y="9930203"/>
                  </a:lnTo>
                  <a:lnTo>
                    <a:pt x="8751957" y="9924083"/>
                  </a:lnTo>
                  <a:lnTo>
                    <a:pt x="8763309" y="9906146"/>
                  </a:lnTo>
                  <a:lnTo>
                    <a:pt x="8770028" y="9869205"/>
                  </a:lnTo>
                  <a:lnTo>
                    <a:pt x="8775085" y="9847911"/>
                  </a:lnTo>
                  <a:lnTo>
                    <a:pt x="8794659" y="9823385"/>
                  </a:lnTo>
                  <a:lnTo>
                    <a:pt x="8814701" y="9804769"/>
                  </a:lnTo>
                  <a:lnTo>
                    <a:pt x="8836293" y="9796221"/>
                  </a:lnTo>
                  <a:lnTo>
                    <a:pt x="8871166" y="9773825"/>
                  </a:lnTo>
                  <a:lnTo>
                    <a:pt x="8906022" y="9744794"/>
                  </a:lnTo>
                  <a:lnTo>
                    <a:pt x="8935586" y="9715974"/>
                  </a:lnTo>
                  <a:lnTo>
                    <a:pt x="8946811" y="9678950"/>
                  </a:lnTo>
                  <a:lnTo>
                    <a:pt x="8963768" y="9640311"/>
                  </a:lnTo>
                  <a:lnTo>
                    <a:pt x="8972313" y="9598992"/>
                  </a:lnTo>
                  <a:lnTo>
                    <a:pt x="8981367" y="9555172"/>
                  </a:lnTo>
                  <a:lnTo>
                    <a:pt x="8984514" y="9506415"/>
                  </a:lnTo>
                  <a:lnTo>
                    <a:pt x="9000875" y="9464331"/>
                  </a:lnTo>
                  <a:lnTo>
                    <a:pt x="9011737" y="9436450"/>
                  </a:lnTo>
                  <a:lnTo>
                    <a:pt x="9032439" y="9407971"/>
                  </a:lnTo>
                  <a:lnTo>
                    <a:pt x="9040321" y="9380004"/>
                  </a:lnTo>
                  <a:lnTo>
                    <a:pt x="9045034" y="9348974"/>
                  </a:lnTo>
                  <a:lnTo>
                    <a:pt x="9032241" y="9319304"/>
                  </a:lnTo>
                  <a:lnTo>
                    <a:pt x="9008314" y="9300180"/>
                  </a:lnTo>
                  <a:lnTo>
                    <a:pt x="8983912" y="9245256"/>
                  </a:lnTo>
                  <a:lnTo>
                    <a:pt x="9011157" y="9201817"/>
                  </a:lnTo>
                  <a:lnTo>
                    <a:pt x="8994070" y="9162371"/>
                  </a:lnTo>
                  <a:lnTo>
                    <a:pt x="8976027" y="9120718"/>
                  </a:lnTo>
                  <a:lnTo>
                    <a:pt x="8903384" y="9125049"/>
                  </a:lnTo>
                  <a:lnTo>
                    <a:pt x="8883897" y="9053556"/>
                  </a:lnTo>
                  <a:lnTo>
                    <a:pt x="8881580" y="9028773"/>
                  </a:lnTo>
                  <a:lnTo>
                    <a:pt x="8901635" y="8986651"/>
                  </a:lnTo>
                  <a:lnTo>
                    <a:pt x="8932731" y="8964464"/>
                  </a:lnTo>
                  <a:lnTo>
                    <a:pt x="8953260" y="8936574"/>
                  </a:lnTo>
                  <a:lnTo>
                    <a:pt x="8985159" y="8893265"/>
                  </a:lnTo>
                  <a:lnTo>
                    <a:pt x="9012363" y="8800554"/>
                  </a:lnTo>
                  <a:lnTo>
                    <a:pt x="9066158" y="8782875"/>
                  </a:lnTo>
                  <a:lnTo>
                    <a:pt x="9125138" y="8763536"/>
                  </a:lnTo>
                  <a:lnTo>
                    <a:pt x="9145543" y="8836775"/>
                  </a:lnTo>
                  <a:lnTo>
                    <a:pt x="9234824" y="8803280"/>
                  </a:lnTo>
                  <a:lnTo>
                    <a:pt x="9295199" y="8780624"/>
                  </a:lnTo>
                  <a:lnTo>
                    <a:pt x="9377392" y="8744319"/>
                  </a:lnTo>
                  <a:lnTo>
                    <a:pt x="9429333" y="8705345"/>
                  </a:lnTo>
                  <a:lnTo>
                    <a:pt x="9458832" y="8683200"/>
                  </a:lnTo>
                  <a:lnTo>
                    <a:pt x="9486592" y="8649196"/>
                  </a:lnTo>
                  <a:lnTo>
                    <a:pt x="9521827" y="8635972"/>
                  </a:lnTo>
                  <a:lnTo>
                    <a:pt x="9566922" y="8619055"/>
                  </a:lnTo>
                  <a:lnTo>
                    <a:pt x="9588133" y="8650256"/>
                  </a:lnTo>
                  <a:lnTo>
                    <a:pt x="9618397" y="8641414"/>
                  </a:lnTo>
                  <a:lnTo>
                    <a:pt x="9669281" y="8601797"/>
                  </a:lnTo>
                  <a:lnTo>
                    <a:pt x="9758268" y="8539358"/>
                  </a:lnTo>
                  <a:lnTo>
                    <a:pt x="9818348" y="8518999"/>
                  </a:lnTo>
                  <a:lnTo>
                    <a:pt x="9856222" y="8506160"/>
                  </a:lnTo>
                  <a:lnTo>
                    <a:pt x="9898151" y="8498039"/>
                  </a:lnTo>
                  <a:lnTo>
                    <a:pt x="9935327" y="8483631"/>
                  </a:lnTo>
                  <a:lnTo>
                    <a:pt x="9956709" y="8475340"/>
                  </a:lnTo>
                  <a:lnTo>
                    <a:pt x="9978769" y="8466122"/>
                  </a:lnTo>
                  <a:lnTo>
                    <a:pt x="10001974" y="8463232"/>
                  </a:lnTo>
                  <a:lnTo>
                    <a:pt x="10061825" y="8455747"/>
                  </a:lnTo>
                  <a:lnTo>
                    <a:pt x="10122609" y="8475169"/>
                  </a:lnTo>
                  <a:lnTo>
                    <a:pt x="10182887" y="8461874"/>
                  </a:lnTo>
                  <a:lnTo>
                    <a:pt x="10276850" y="8441193"/>
                  </a:lnTo>
                  <a:lnTo>
                    <a:pt x="10321586" y="8395590"/>
                  </a:lnTo>
                  <a:lnTo>
                    <a:pt x="10424999" y="8406101"/>
                  </a:lnTo>
                  <a:lnTo>
                    <a:pt x="10422531" y="8375619"/>
                  </a:lnTo>
                  <a:lnTo>
                    <a:pt x="10420172" y="8340672"/>
                  </a:lnTo>
                  <a:lnTo>
                    <a:pt x="10408697" y="8291137"/>
                  </a:lnTo>
                  <a:lnTo>
                    <a:pt x="10399212" y="8262984"/>
                  </a:lnTo>
                  <a:lnTo>
                    <a:pt x="10393711" y="8241519"/>
                  </a:lnTo>
                  <a:lnTo>
                    <a:pt x="10388022" y="8219287"/>
                  </a:lnTo>
                  <a:lnTo>
                    <a:pt x="10386273" y="8191106"/>
                  </a:lnTo>
                  <a:lnTo>
                    <a:pt x="10381473" y="8168066"/>
                  </a:lnTo>
                  <a:lnTo>
                    <a:pt x="10355627" y="8042926"/>
                  </a:lnTo>
                  <a:lnTo>
                    <a:pt x="10362076" y="8008060"/>
                  </a:lnTo>
                  <a:lnTo>
                    <a:pt x="10373310" y="7987159"/>
                  </a:lnTo>
                  <a:lnTo>
                    <a:pt x="10384546" y="7966261"/>
                  </a:lnTo>
                  <a:lnTo>
                    <a:pt x="10397373" y="7944523"/>
                  </a:lnTo>
                  <a:lnTo>
                    <a:pt x="10395020" y="7894541"/>
                  </a:lnTo>
                  <a:lnTo>
                    <a:pt x="10383588" y="7869011"/>
                  </a:lnTo>
                  <a:lnTo>
                    <a:pt x="10373310" y="7841624"/>
                  </a:lnTo>
                  <a:lnTo>
                    <a:pt x="10363034" y="7814227"/>
                  </a:lnTo>
                  <a:lnTo>
                    <a:pt x="10352988" y="7784787"/>
                  </a:lnTo>
                  <a:lnTo>
                    <a:pt x="10355627" y="7747766"/>
                  </a:lnTo>
                  <a:lnTo>
                    <a:pt x="10361912" y="7709126"/>
                  </a:lnTo>
                  <a:lnTo>
                    <a:pt x="10371105" y="7672155"/>
                  </a:lnTo>
                  <a:lnTo>
                    <a:pt x="10378748" y="7634867"/>
                  </a:lnTo>
                  <a:lnTo>
                    <a:pt x="10378748" y="7607663"/>
                  </a:lnTo>
                  <a:lnTo>
                    <a:pt x="10370438" y="7560912"/>
                  </a:lnTo>
                  <a:lnTo>
                    <a:pt x="10359710" y="7506035"/>
                  </a:lnTo>
                  <a:lnTo>
                    <a:pt x="10359710" y="7458044"/>
                  </a:lnTo>
                  <a:lnTo>
                    <a:pt x="10363785" y="7436281"/>
                  </a:lnTo>
                  <a:lnTo>
                    <a:pt x="10356591" y="7395775"/>
                  </a:lnTo>
                  <a:lnTo>
                    <a:pt x="10345187" y="7364350"/>
                  </a:lnTo>
                  <a:lnTo>
                    <a:pt x="10320258" y="7338346"/>
                  </a:lnTo>
                  <a:lnTo>
                    <a:pt x="10290198" y="7315448"/>
                  </a:lnTo>
                  <a:lnTo>
                    <a:pt x="10241634" y="7286200"/>
                  </a:lnTo>
                  <a:lnTo>
                    <a:pt x="10209413" y="7269978"/>
                  </a:lnTo>
                  <a:lnTo>
                    <a:pt x="10197838" y="7247210"/>
                  </a:lnTo>
                  <a:lnTo>
                    <a:pt x="10180230" y="7212567"/>
                  </a:lnTo>
                  <a:lnTo>
                    <a:pt x="10171499" y="7179534"/>
                  </a:lnTo>
                  <a:lnTo>
                    <a:pt x="10158392" y="7149278"/>
                  </a:lnTo>
                  <a:lnTo>
                    <a:pt x="10145296" y="7119026"/>
                  </a:lnTo>
                  <a:lnTo>
                    <a:pt x="10127139" y="7090702"/>
                  </a:lnTo>
                  <a:lnTo>
                    <a:pt x="10091745" y="7066307"/>
                  </a:lnTo>
                  <a:lnTo>
                    <a:pt x="10055149" y="7037152"/>
                  </a:lnTo>
                  <a:lnTo>
                    <a:pt x="10034614" y="7032303"/>
                  </a:lnTo>
                  <a:lnTo>
                    <a:pt x="10001804" y="7003272"/>
                  </a:lnTo>
                  <a:lnTo>
                    <a:pt x="9970754" y="6988091"/>
                  </a:lnTo>
                  <a:lnTo>
                    <a:pt x="9951642" y="6971091"/>
                  </a:lnTo>
                  <a:lnTo>
                    <a:pt x="9924893" y="6947300"/>
                  </a:lnTo>
                  <a:lnTo>
                    <a:pt x="9908051" y="6908332"/>
                  </a:lnTo>
                  <a:lnTo>
                    <a:pt x="9895875" y="6867714"/>
                  </a:lnTo>
                  <a:lnTo>
                    <a:pt x="9883696" y="6827103"/>
                  </a:lnTo>
                  <a:lnTo>
                    <a:pt x="9876258" y="6784894"/>
                  </a:lnTo>
                  <a:lnTo>
                    <a:pt x="9868674" y="6750741"/>
                  </a:lnTo>
                  <a:lnTo>
                    <a:pt x="9868212" y="6717119"/>
                  </a:lnTo>
                  <a:lnTo>
                    <a:pt x="9865948" y="6688175"/>
                  </a:lnTo>
                  <a:lnTo>
                    <a:pt x="9979039" y="6676185"/>
                  </a:lnTo>
                  <a:lnTo>
                    <a:pt x="10046821" y="6666920"/>
                  </a:lnTo>
                  <a:lnTo>
                    <a:pt x="10074156" y="6673348"/>
                  </a:lnTo>
                  <a:lnTo>
                    <a:pt x="10112051" y="6656750"/>
                  </a:lnTo>
                  <a:lnTo>
                    <a:pt x="10121489" y="6634612"/>
                  </a:lnTo>
                  <a:lnTo>
                    <a:pt x="10143435" y="6569835"/>
                  </a:lnTo>
                  <a:lnTo>
                    <a:pt x="10204340" y="6560992"/>
                  </a:lnTo>
                  <a:lnTo>
                    <a:pt x="10235923" y="6599755"/>
                  </a:lnTo>
                  <a:lnTo>
                    <a:pt x="10269834" y="6590978"/>
                  </a:lnTo>
                  <a:lnTo>
                    <a:pt x="10292409" y="6584330"/>
                  </a:lnTo>
                  <a:lnTo>
                    <a:pt x="10314817" y="6580718"/>
                  </a:lnTo>
                  <a:lnTo>
                    <a:pt x="10337228" y="6577102"/>
                  </a:lnTo>
                  <a:lnTo>
                    <a:pt x="10359841" y="6576913"/>
                  </a:lnTo>
                  <a:lnTo>
                    <a:pt x="10385396" y="6576575"/>
                  </a:lnTo>
                  <a:lnTo>
                    <a:pt x="10417784" y="6578975"/>
                  </a:lnTo>
                  <a:lnTo>
                    <a:pt x="10543693" y="6572092"/>
                  </a:lnTo>
                  <a:lnTo>
                    <a:pt x="10566538" y="6542376"/>
                  </a:lnTo>
                  <a:lnTo>
                    <a:pt x="10561416" y="6516191"/>
                  </a:lnTo>
                  <a:lnTo>
                    <a:pt x="10575976" y="6489582"/>
                  </a:lnTo>
                  <a:lnTo>
                    <a:pt x="10656250" y="6453922"/>
                  </a:lnTo>
                  <a:lnTo>
                    <a:pt x="10690010" y="6421444"/>
                  </a:lnTo>
                  <a:lnTo>
                    <a:pt x="10703739" y="6387328"/>
                  </a:lnTo>
                  <a:lnTo>
                    <a:pt x="10711996" y="6350846"/>
                  </a:lnTo>
                  <a:lnTo>
                    <a:pt x="10720253" y="6314356"/>
                  </a:lnTo>
                  <a:lnTo>
                    <a:pt x="10723682" y="6275880"/>
                  </a:lnTo>
                  <a:lnTo>
                    <a:pt x="10725595" y="6243386"/>
                  </a:lnTo>
                  <a:lnTo>
                    <a:pt x="10747358" y="6231148"/>
                  </a:lnTo>
                  <a:lnTo>
                    <a:pt x="10770485" y="6221623"/>
                  </a:lnTo>
                  <a:lnTo>
                    <a:pt x="10795718" y="6205634"/>
                  </a:lnTo>
                  <a:lnTo>
                    <a:pt x="10807813" y="6185926"/>
                  </a:lnTo>
                  <a:lnTo>
                    <a:pt x="10809931" y="6163134"/>
                  </a:lnTo>
                  <a:lnTo>
                    <a:pt x="10810452" y="6139861"/>
                  </a:lnTo>
                  <a:lnTo>
                    <a:pt x="10802272" y="6113125"/>
                  </a:lnTo>
                  <a:lnTo>
                    <a:pt x="10797684" y="6085604"/>
                  </a:lnTo>
                  <a:lnTo>
                    <a:pt x="10788444" y="6040844"/>
                  </a:lnTo>
                  <a:lnTo>
                    <a:pt x="10807404" y="6018535"/>
                  </a:lnTo>
                  <a:lnTo>
                    <a:pt x="10842450" y="5999147"/>
                  </a:lnTo>
                  <a:lnTo>
                    <a:pt x="10856096" y="5968116"/>
                  </a:lnTo>
                  <a:lnTo>
                    <a:pt x="10851228" y="5945932"/>
                  </a:lnTo>
                  <a:lnTo>
                    <a:pt x="10841830" y="5908644"/>
                  </a:lnTo>
                  <a:lnTo>
                    <a:pt x="10826259" y="5889737"/>
                  </a:lnTo>
                  <a:lnTo>
                    <a:pt x="10806486" y="5880906"/>
                  </a:lnTo>
                  <a:lnTo>
                    <a:pt x="10771936" y="5878823"/>
                  </a:lnTo>
                  <a:lnTo>
                    <a:pt x="10744701" y="5884763"/>
                  </a:lnTo>
                  <a:lnTo>
                    <a:pt x="10716086" y="5876137"/>
                  </a:lnTo>
                  <a:lnTo>
                    <a:pt x="10698437" y="5850139"/>
                  </a:lnTo>
                  <a:lnTo>
                    <a:pt x="10692924" y="5809642"/>
                  </a:lnTo>
                  <a:lnTo>
                    <a:pt x="10692509" y="5788385"/>
                  </a:lnTo>
                  <a:lnTo>
                    <a:pt x="10675158" y="5753122"/>
                  </a:lnTo>
                  <a:lnTo>
                    <a:pt x="10661506" y="5735061"/>
                  </a:lnTo>
                  <a:lnTo>
                    <a:pt x="10645355" y="5719719"/>
                  </a:lnTo>
                  <a:lnTo>
                    <a:pt x="10629198" y="5704374"/>
                  </a:lnTo>
                  <a:lnTo>
                    <a:pt x="10611100" y="5691705"/>
                  </a:lnTo>
                  <a:lnTo>
                    <a:pt x="10592304" y="5676193"/>
                  </a:lnTo>
                  <a:lnTo>
                    <a:pt x="10570563" y="5638102"/>
                  </a:lnTo>
                  <a:lnTo>
                    <a:pt x="10571576" y="5615152"/>
                  </a:lnTo>
                  <a:lnTo>
                    <a:pt x="10576556" y="5584037"/>
                  </a:lnTo>
                  <a:lnTo>
                    <a:pt x="10550136" y="5560572"/>
                  </a:lnTo>
                  <a:lnTo>
                    <a:pt x="10521567" y="5556554"/>
                  </a:lnTo>
                  <a:lnTo>
                    <a:pt x="10497628" y="5566789"/>
                  </a:lnTo>
                  <a:lnTo>
                    <a:pt x="10473973" y="5579616"/>
                  </a:lnTo>
                  <a:lnTo>
                    <a:pt x="10450309" y="5592437"/>
                  </a:lnTo>
                  <a:lnTo>
                    <a:pt x="10427570" y="5607118"/>
                  </a:lnTo>
                  <a:lnTo>
                    <a:pt x="10401878" y="5610904"/>
                  </a:lnTo>
                  <a:lnTo>
                    <a:pt x="10357546" y="5574243"/>
                  </a:lnTo>
                  <a:lnTo>
                    <a:pt x="10336648" y="5557794"/>
                  </a:lnTo>
                  <a:lnTo>
                    <a:pt x="10312107" y="5546973"/>
                  </a:lnTo>
                  <a:lnTo>
                    <a:pt x="10287560" y="5536158"/>
                  </a:lnTo>
                  <a:lnTo>
                    <a:pt x="10258907" y="5531296"/>
                  </a:lnTo>
                  <a:lnTo>
                    <a:pt x="10218255" y="5522494"/>
                  </a:lnTo>
                  <a:lnTo>
                    <a:pt x="10195820" y="5517632"/>
                  </a:lnTo>
                  <a:lnTo>
                    <a:pt x="10174723" y="5495289"/>
                  </a:lnTo>
                  <a:lnTo>
                    <a:pt x="10164705" y="5466231"/>
                  </a:lnTo>
                  <a:lnTo>
                    <a:pt x="10166197" y="5414665"/>
                  </a:lnTo>
                  <a:lnTo>
                    <a:pt x="10177616" y="5375170"/>
                  </a:lnTo>
                  <a:lnTo>
                    <a:pt x="10174723" y="5345664"/>
                  </a:lnTo>
                  <a:lnTo>
                    <a:pt x="10200408" y="5321771"/>
                  </a:lnTo>
                  <a:lnTo>
                    <a:pt x="10223691" y="5315744"/>
                  </a:lnTo>
                  <a:lnTo>
                    <a:pt x="10246976" y="5309713"/>
                  </a:lnTo>
                  <a:lnTo>
                    <a:pt x="10273257" y="5306178"/>
                  </a:lnTo>
                  <a:lnTo>
                    <a:pt x="10304411" y="5283479"/>
                  </a:lnTo>
                  <a:lnTo>
                    <a:pt x="10318287" y="5265319"/>
                  </a:lnTo>
                  <a:lnTo>
                    <a:pt x="10332512" y="5247735"/>
                  </a:lnTo>
                  <a:lnTo>
                    <a:pt x="10346738" y="5230146"/>
                  </a:lnTo>
                  <a:lnTo>
                    <a:pt x="10361689" y="5212959"/>
                  </a:lnTo>
                  <a:lnTo>
                    <a:pt x="10380115" y="5200126"/>
                  </a:lnTo>
                  <a:lnTo>
                    <a:pt x="10370069" y="5138576"/>
                  </a:lnTo>
                  <a:lnTo>
                    <a:pt x="10333383" y="5037621"/>
                  </a:lnTo>
                  <a:lnTo>
                    <a:pt x="10308024" y="5005617"/>
                  </a:lnTo>
                  <a:lnTo>
                    <a:pt x="10283585" y="5007623"/>
                  </a:lnTo>
                  <a:lnTo>
                    <a:pt x="10108761" y="5042991"/>
                  </a:lnTo>
                  <a:lnTo>
                    <a:pt x="10055493" y="5052554"/>
                  </a:lnTo>
                  <a:lnTo>
                    <a:pt x="10019071" y="5066060"/>
                  </a:lnTo>
                  <a:lnTo>
                    <a:pt x="9982943" y="5081795"/>
                  </a:lnTo>
                  <a:lnTo>
                    <a:pt x="9946815" y="5097524"/>
                  </a:lnTo>
                  <a:lnTo>
                    <a:pt x="9911394" y="5114953"/>
                  </a:lnTo>
                  <a:lnTo>
                    <a:pt x="9872770" y="5132121"/>
                  </a:lnTo>
                  <a:lnTo>
                    <a:pt x="9844198" y="5123963"/>
                  </a:lnTo>
                  <a:lnTo>
                    <a:pt x="9832406" y="5035550"/>
                  </a:lnTo>
                  <a:lnTo>
                    <a:pt x="9795639" y="5019353"/>
                  </a:lnTo>
                  <a:lnTo>
                    <a:pt x="9737593" y="5018767"/>
                  </a:lnTo>
                  <a:lnTo>
                    <a:pt x="9686415" y="5022459"/>
                  </a:lnTo>
                  <a:lnTo>
                    <a:pt x="9640173" y="5017870"/>
                  </a:lnTo>
                  <a:lnTo>
                    <a:pt x="9598092" y="5002780"/>
                  </a:lnTo>
                  <a:lnTo>
                    <a:pt x="9513120" y="4985224"/>
                  </a:lnTo>
                  <a:lnTo>
                    <a:pt x="9442966" y="4980465"/>
                  </a:lnTo>
                  <a:lnTo>
                    <a:pt x="9376291" y="4967545"/>
                  </a:lnTo>
                  <a:lnTo>
                    <a:pt x="9270199" y="4590759"/>
                  </a:lnTo>
                  <a:lnTo>
                    <a:pt x="9164106" y="4212620"/>
                  </a:lnTo>
                  <a:lnTo>
                    <a:pt x="9193208" y="4154559"/>
                  </a:lnTo>
                  <a:lnTo>
                    <a:pt x="9211715" y="4102444"/>
                  </a:lnTo>
                  <a:lnTo>
                    <a:pt x="9230207" y="4050333"/>
                  </a:lnTo>
                  <a:lnTo>
                    <a:pt x="9247564" y="3997006"/>
                  </a:lnTo>
                  <a:lnTo>
                    <a:pt x="9252748" y="3963832"/>
                  </a:lnTo>
                  <a:lnTo>
                    <a:pt x="9257068" y="3942993"/>
                  </a:lnTo>
                  <a:lnTo>
                    <a:pt x="9264283" y="3902804"/>
                  </a:lnTo>
                  <a:lnTo>
                    <a:pt x="9267482" y="3864409"/>
                  </a:lnTo>
                  <a:lnTo>
                    <a:pt x="9260677" y="3837205"/>
                  </a:lnTo>
                  <a:lnTo>
                    <a:pt x="9262035" y="3810000"/>
                  </a:lnTo>
                  <a:lnTo>
                    <a:pt x="9285162" y="3797760"/>
                  </a:lnTo>
                  <a:lnTo>
                    <a:pt x="9308283" y="3785521"/>
                  </a:lnTo>
                  <a:lnTo>
                    <a:pt x="9316000" y="3751174"/>
                  </a:lnTo>
                  <a:lnTo>
                    <a:pt x="9322608" y="3585530"/>
                  </a:lnTo>
                  <a:lnTo>
                    <a:pt x="9308283" y="3544760"/>
                  </a:lnTo>
                  <a:lnTo>
                    <a:pt x="9229395" y="3517556"/>
                  </a:lnTo>
                  <a:lnTo>
                    <a:pt x="9213793" y="3469816"/>
                  </a:lnTo>
                  <a:lnTo>
                    <a:pt x="9204910" y="3438668"/>
                  </a:lnTo>
                  <a:lnTo>
                    <a:pt x="9196026" y="3407521"/>
                  </a:lnTo>
                  <a:lnTo>
                    <a:pt x="9185863" y="3378140"/>
                  </a:lnTo>
                  <a:lnTo>
                    <a:pt x="9121727" y="3367212"/>
                  </a:lnTo>
                  <a:lnTo>
                    <a:pt x="9060407" y="3361686"/>
                  </a:lnTo>
                  <a:lnTo>
                    <a:pt x="9009039" y="3372013"/>
                  </a:lnTo>
                  <a:lnTo>
                    <a:pt x="9004556" y="3336117"/>
                  </a:lnTo>
                  <a:lnTo>
                    <a:pt x="9018859" y="3320052"/>
                  </a:lnTo>
                  <a:lnTo>
                    <a:pt x="9034886" y="3305366"/>
                  </a:lnTo>
                  <a:lnTo>
                    <a:pt x="9050910" y="3290678"/>
                  </a:lnTo>
                  <a:lnTo>
                    <a:pt x="9068909" y="3277205"/>
                  </a:lnTo>
                  <a:lnTo>
                    <a:pt x="9074654" y="3254657"/>
                  </a:lnTo>
                  <a:lnTo>
                    <a:pt x="9051440" y="3221030"/>
                  </a:lnTo>
                  <a:lnTo>
                    <a:pt x="9047133" y="3199267"/>
                  </a:lnTo>
                  <a:lnTo>
                    <a:pt x="9042225" y="3171937"/>
                  </a:lnTo>
                  <a:lnTo>
                    <a:pt x="9022626" y="3137934"/>
                  </a:lnTo>
                  <a:lnTo>
                    <a:pt x="9022645" y="3112213"/>
                  </a:lnTo>
                  <a:lnTo>
                    <a:pt x="8975293" y="3105882"/>
                  </a:lnTo>
                  <a:lnTo>
                    <a:pt x="8939782" y="3117529"/>
                  </a:lnTo>
                  <a:lnTo>
                    <a:pt x="8904314" y="3124460"/>
                  </a:lnTo>
                  <a:lnTo>
                    <a:pt x="8862397" y="3132618"/>
                  </a:lnTo>
                  <a:lnTo>
                    <a:pt x="8818400" y="3139253"/>
                  </a:lnTo>
                  <a:lnTo>
                    <a:pt x="8779168" y="3157105"/>
                  </a:lnTo>
                  <a:lnTo>
                    <a:pt x="8766394" y="3204147"/>
                  </a:lnTo>
                  <a:lnTo>
                    <a:pt x="8760127" y="3241435"/>
                  </a:lnTo>
                  <a:lnTo>
                    <a:pt x="8752391" y="3279138"/>
                  </a:lnTo>
                  <a:lnTo>
                    <a:pt x="8737943" y="3317994"/>
                  </a:lnTo>
                  <a:lnTo>
                    <a:pt x="8727410" y="3337455"/>
                  </a:lnTo>
                  <a:lnTo>
                    <a:pt x="8712521" y="3354332"/>
                  </a:lnTo>
                  <a:lnTo>
                    <a:pt x="8678756" y="3340027"/>
                  </a:lnTo>
                  <a:lnTo>
                    <a:pt x="8660837" y="3323047"/>
                  </a:lnTo>
                  <a:lnTo>
                    <a:pt x="8642919" y="3306065"/>
                  </a:lnTo>
                  <a:lnTo>
                    <a:pt x="8627794" y="3286193"/>
                  </a:lnTo>
                  <a:lnTo>
                    <a:pt x="8662664" y="3263540"/>
                  </a:lnTo>
                  <a:lnTo>
                    <a:pt x="8671711" y="3231911"/>
                  </a:lnTo>
                  <a:lnTo>
                    <a:pt x="8636349" y="3151665"/>
                  </a:lnTo>
                  <a:lnTo>
                    <a:pt x="8609098" y="3146013"/>
                  </a:lnTo>
                  <a:lnTo>
                    <a:pt x="8560000" y="3148037"/>
                  </a:lnTo>
                  <a:lnTo>
                    <a:pt x="8513928" y="3148947"/>
                  </a:lnTo>
                  <a:lnTo>
                    <a:pt x="8467857" y="3149857"/>
                  </a:lnTo>
                  <a:lnTo>
                    <a:pt x="8425035" y="3149409"/>
                  </a:lnTo>
                  <a:lnTo>
                    <a:pt x="8407836" y="3135342"/>
                  </a:lnTo>
                  <a:lnTo>
                    <a:pt x="8392978" y="3112853"/>
                  </a:lnTo>
                  <a:lnTo>
                    <a:pt x="8385539" y="3090114"/>
                  </a:lnTo>
                  <a:lnTo>
                    <a:pt x="8348428" y="3082213"/>
                  </a:lnTo>
                  <a:lnTo>
                    <a:pt x="8318058" y="3087740"/>
                  </a:lnTo>
                  <a:lnTo>
                    <a:pt x="8313956" y="3109246"/>
                  </a:lnTo>
                  <a:lnTo>
                    <a:pt x="8290537" y="3131781"/>
                  </a:lnTo>
                  <a:lnTo>
                    <a:pt x="8263652" y="3151665"/>
                  </a:lnTo>
                  <a:lnTo>
                    <a:pt x="8236764" y="3171555"/>
                  </a:lnTo>
                  <a:lnTo>
                    <a:pt x="8206670" y="3188201"/>
                  </a:lnTo>
                  <a:lnTo>
                    <a:pt x="8152118" y="3182950"/>
                  </a:lnTo>
                  <a:lnTo>
                    <a:pt x="8123549" y="3140782"/>
                  </a:lnTo>
                  <a:lnTo>
                    <a:pt x="8047061" y="3147496"/>
                  </a:lnTo>
                  <a:lnTo>
                    <a:pt x="7984429" y="3147034"/>
                  </a:lnTo>
                  <a:lnTo>
                    <a:pt x="7927679" y="3172068"/>
                  </a:lnTo>
                  <a:lnTo>
                    <a:pt x="7903311" y="3157322"/>
                  </a:lnTo>
                  <a:lnTo>
                    <a:pt x="7878600" y="3124243"/>
                  </a:lnTo>
                  <a:lnTo>
                    <a:pt x="7865782" y="3105533"/>
                  </a:lnTo>
                  <a:lnTo>
                    <a:pt x="7826014" y="3084238"/>
                  </a:lnTo>
                  <a:lnTo>
                    <a:pt x="7735849" y="3058023"/>
                  </a:lnTo>
                  <a:lnTo>
                    <a:pt x="7709007" y="3023888"/>
                  </a:lnTo>
                  <a:lnTo>
                    <a:pt x="7715924" y="2971274"/>
                  </a:lnTo>
                  <a:lnTo>
                    <a:pt x="7705965" y="2947637"/>
                  </a:lnTo>
                  <a:lnTo>
                    <a:pt x="7689873" y="2909506"/>
                  </a:lnTo>
                  <a:lnTo>
                    <a:pt x="7681486" y="2889148"/>
                  </a:lnTo>
                  <a:lnTo>
                    <a:pt x="7673096" y="2868789"/>
                  </a:lnTo>
                  <a:lnTo>
                    <a:pt x="7666079" y="2848595"/>
                  </a:lnTo>
                  <a:lnTo>
                    <a:pt x="7663487" y="2794042"/>
                  </a:lnTo>
                  <a:lnTo>
                    <a:pt x="7683703" y="2766284"/>
                  </a:lnTo>
                  <a:lnTo>
                    <a:pt x="7700533" y="2738163"/>
                  </a:lnTo>
                  <a:lnTo>
                    <a:pt x="7715971" y="2710610"/>
                  </a:lnTo>
                  <a:lnTo>
                    <a:pt x="7723167" y="2678664"/>
                  </a:lnTo>
                  <a:lnTo>
                    <a:pt x="7715497" y="2640230"/>
                  </a:lnTo>
                  <a:lnTo>
                    <a:pt x="7665211" y="2587648"/>
                  </a:lnTo>
                  <a:lnTo>
                    <a:pt x="7637966" y="2572223"/>
                  </a:lnTo>
                  <a:lnTo>
                    <a:pt x="7614138" y="2566189"/>
                  </a:lnTo>
                  <a:lnTo>
                    <a:pt x="7597032" y="2546931"/>
                  </a:lnTo>
                  <a:lnTo>
                    <a:pt x="7583557" y="2527337"/>
                  </a:lnTo>
                  <a:lnTo>
                    <a:pt x="7579666" y="2490617"/>
                  </a:lnTo>
                  <a:lnTo>
                    <a:pt x="7594440" y="2457966"/>
                  </a:lnTo>
                  <a:lnTo>
                    <a:pt x="7617561" y="2438088"/>
                  </a:lnTo>
                  <a:lnTo>
                    <a:pt x="7642041" y="2417995"/>
                  </a:lnTo>
                  <a:lnTo>
                    <a:pt x="7658365" y="2377712"/>
                  </a:lnTo>
                  <a:lnTo>
                    <a:pt x="7662815" y="2351050"/>
                  </a:lnTo>
                  <a:lnTo>
                    <a:pt x="7660052" y="2310372"/>
                  </a:lnTo>
                  <a:lnTo>
                    <a:pt x="7646124" y="2247134"/>
                  </a:lnTo>
                  <a:lnTo>
                    <a:pt x="7605764" y="2242035"/>
                  </a:lnTo>
                  <a:lnTo>
                    <a:pt x="7572823" y="2218142"/>
                  </a:lnTo>
                  <a:lnTo>
                    <a:pt x="7535951" y="2203607"/>
                  </a:lnTo>
                  <a:lnTo>
                    <a:pt x="7514188" y="2200884"/>
                  </a:lnTo>
                  <a:lnTo>
                    <a:pt x="7482525" y="2181527"/>
                  </a:lnTo>
                  <a:lnTo>
                    <a:pt x="7459925" y="2166400"/>
                  </a:lnTo>
                  <a:lnTo>
                    <a:pt x="7443457" y="2153275"/>
                  </a:lnTo>
                  <a:lnTo>
                    <a:pt x="7426990" y="2140158"/>
                  </a:lnTo>
                  <a:lnTo>
                    <a:pt x="7409453" y="2115189"/>
                  </a:lnTo>
                  <a:lnTo>
                    <a:pt x="7398136" y="2086456"/>
                  </a:lnTo>
                  <a:lnTo>
                    <a:pt x="7390850" y="2045990"/>
                  </a:lnTo>
                  <a:lnTo>
                    <a:pt x="7386912" y="2020889"/>
                  </a:lnTo>
                  <a:lnTo>
                    <a:pt x="7380891" y="1987334"/>
                  </a:lnTo>
                  <a:lnTo>
                    <a:pt x="7367093" y="1910483"/>
                  </a:lnTo>
                  <a:lnTo>
                    <a:pt x="7363633" y="1833541"/>
                  </a:lnTo>
                  <a:lnTo>
                    <a:pt x="7350964" y="1757456"/>
                  </a:lnTo>
                  <a:lnTo>
                    <a:pt x="7343842" y="1714781"/>
                  </a:lnTo>
                  <a:lnTo>
                    <a:pt x="7332689" y="1670021"/>
                  </a:lnTo>
                  <a:lnTo>
                    <a:pt x="7326475" y="1626884"/>
                  </a:lnTo>
                  <a:lnTo>
                    <a:pt x="7320277" y="1583607"/>
                  </a:lnTo>
                  <a:lnTo>
                    <a:pt x="7319037" y="1493152"/>
                  </a:lnTo>
                  <a:lnTo>
                    <a:pt x="7304719" y="1452770"/>
                  </a:lnTo>
                  <a:lnTo>
                    <a:pt x="7283452" y="1421629"/>
                  </a:lnTo>
                  <a:lnTo>
                    <a:pt x="7258839" y="1400341"/>
                  </a:lnTo>
                  <a:lnTo>
                    <a:pt x="7239429" y="1376600"/>
                  </a:lnTo>
                  <a:lnTo>
                    <a:pt x="7221855" y="1351434"/>
                  </a:lnTo>
                  <a:lnTo>
                    <a:pt x="7205308" y="1325601"/>
                  </a:lnTo>
                  <a:lnTo>
                    <a:pt x="7187740" y="1300429"/>
                  </a:lnTo>
                  <a:lnTo>
                    <a:pt x="7169127" y="1276773"/>
                  </a:lnTo>
                  <a:lnTo>
                    <a:pt x="7148229" y="1257661"/>
                  </a:lnTo>
                  <a:lnTo>
                    <a:pt x="7126531" y="1248744"/>
                  </a:lnTo>
                  <a:lnTo>
                    <a:pt x="7103218" y="1243640"/>
                  </a:lnTo>
                  <a:lnTo>
                    <a:pt x="7079107" y="1240250"/>
                  </a:lnTo>
                  <a:lnTo>
                    <a:pt x="7054436" y="1235139"/>
                  </a:lnTo>
                  <a:lnTo>
                    <a:pt x="7032140" y="1227970"/>
                  </a:lnTo>
                  <a:lnTo>
                    <a:pt x="7018758" y="1210507"/>
                  </a:lnTo>
                  <a:lnTo>
                    <a:pt x="7015691" y="1179967"/>
                  </a:lnTo>
                  <a:lnTo>
                    <a:pt x="7016358" y="1158968"/>
                  </a:lnTo>
                  <a:lnTo>
                    <a:pt x="7017294" y="1137989"/>
                  </a:lnTo>
                  <a:lnTo>
                    <a:pt x="7018593" y="1106103"/>
                  </a:lnTo>
                  <a:lnTo>
                    <a:pt x="7025002" y="1085013"/>
                  </a:lnTo>
                  <a:lnTo>
                    <a:pt x="7040369" y="1064561"/>
                  </a:lnTo>
                  <a:lnTo>
                    <a:pt x="7055143" y="1037272"/>
                  </a:lnTo>
                  <a:lnTo>
                    <a:pt x="7050362" y="999826"/>
                  </a:lnTo>
                  <a:lnTo>
                    <a:pt x="7048216" y="968415"/>
                  </a:lnTo>
                  <a:lnTo>
                    <a:pt x="7055186" y="939555"/>
                  </a:lnTo>
                  <a:lnTo>
                    <a:pt x="7058526" y="908692"/>
                  </a:lnTo>
                  <a:lnTo>
                    <a:pt x="7047643" y="876047"/>
                  </a:lnTo>
                  <a:lnTo>
                    <a:pt x="6998077" y="878514"/>
                  </a:lnTo>
                  <a:lnTo>
                    <a:pt x="6978270" y="854290"/>
                  </a:lnTo>
                  <a:lnTo>
                    <a:pt x="6994613" y="823768"/>
                  </a:lnTo>
                  <a:lnTo>
                    <a:pt x="7021778" y="800475"/>
                  </a:lnTo>
                  <a:lnTo>
                    <a:pt x="7055800" y="782194"/>
                  </a:lnTo>
                  <a:lnTo>
                    <a:pt x="7091525" y="766789"/>
                  </a:lnTo>
                  <a:lnTo>
                    <a:pt x="7126174" y="751357"/>
                  </a:lnTo>
                  <a:lnTo>
                    <a:pt x="7155094" y="733228"/>
                  </a:lnTo>
                  <a:lnTo>
                    <a:pt x="7198561" y="743258"/>
                  </a:lnTo>
                  <a:lnTo>
                    <a:pt x="7227188" y="744110"/>
                  </a:lnTo>
                  <a:lnTo>
                    <a:pt x="7246170" y="704751"/>
                  </a:lnTo>
                  <a:lnTo>
                    <a:pt x="7285296" y="688639"/>
                  </a:lnTo>
                  <a:lnTo>
                    <a:pt x="7314244" y="699309"/>
                  </a:lnTo>
                  <a:lnTo>
                    <a:pt x="7337365" y="715547"/>
                  </a:lnTo>
                  <a:lnTo>
                    <a:pt x="7368650" y="697866"/>
                  </a:lnTo>
                  <a:lnTo>
                    <a:pt x="7379533" y="629859"/>
                  </a:lnTo>
                  <a:lnTo>
                    <a:pt x="7296561" y="604014"/>
                  </a:lnTo>
                  <a:lnTo>
                    <a:pt x="7289755" y="580892"/>
                  </a:lnTo>
                  <a:lnTo>
                    <a:pt x="7292471" y="550971"/>
                  </a:lnTo>
                  <a:lnTo>
                    <a:pt x="7297913" y="522402"/>
                  </a:lnTo>
                  <a:lnTo>
                    <a:pt x="7304719" y="499280"/>
                  </a:lnTo>
                  <a:lnTo>
                    <a:pt x="7273679" y="474667"/>
                  </a:lnTo>
                  <a:lnTo>
                    <a:pt x="7242146" y="467993"/>
                  </a:lnTo>
                  <a:lnTo>
                    <a:pt x="7218206" y="468587"/>
                  </a:lnTo>
                  <a:lnTo>
                    <a:pt x="7192099" y="479020"/>
                  </a:lnTo>
                  <a:lnTo>
                    <a:pt x="7152377" y="487034"/>
                  </a:lnTo>
                  <a:lnTo>
                    <a:pt x="7080540" y="476323"/>
                  </a:lnTo>
                  <a:lnTo>
                    <a:pt x="7011465" y="439339"/>
                  </a:lnTo>
                  <a:lnTo>
                    <a:pt x="6940186" y="431267"/>
                  </a:lnTo>
                  <a:lnTo>
                    <a:pt x="6859273" y="478789"/>
                  </a:lnTo>
                  <a:lnTo>
                    <a:pt x="6810901" y="466372"/>
                  </a:lnTo>
                  <a:lnTo>
                    <a:pt x="6774707" y="454045"/>
                  </a:lnTo>
                  <a:lnTo>
                    <a:pt x="6741593" y="448948"/>
                  </a:lnTo>
                  <a:lnTo>
                    <a:pt x="6697763" y="456236"/>
                  </a:lnTo>
                  <a:lnTo>
                    <a:pt x="6674946" y="465269"/>
                  </a:lnTo>
                  <a:lnTo>
                    <a:pt x="6652120" y="474304"/>
                  </a:lnTo>
                  <a:lnTo>
                    <a:pt x="6629857" y="481612"/>
                  </a:lnTo>
                  <a:lnTo>
                    <a:pt x="6584207" y="463779"/>
                  </a:lnTo>
                  <a:lnTo>
                    <a:pt x="6545515" y="452726"/>
                  </a:lnTo>
                  <a:lnTo>
                    <a:pt x="6507639" y="439424"/>
                  </a:lnTo>
                  <a:lnTo>
                    <a:pt x="6469771" y="426123"/>
                  </a:lnTo>
                  <a:lnTo>
                    <a:pt x="6433466" y="410756"/>
                  </a:lnTo>
                  <a:lnTo>
                    <a:pt x="6409706" y="393181"/>
                  </a:lnTo>
                  <a:lnTo>
                    <a:pt x="6393661" y="355023"/>
                  </a:lnTo>
                  <a:lnTo>
                    <a:pt x="6387943" y="334691"/>
                  </a:lnTo>
                  <a:lnTo>
                    <a:pt x="6382223" y="314359"/>
                  </a:lnTo>
                  <a:lnTo>
                    <a:pt x="6364819" y="278924"/>
                  </a:lnTo>
                  <a:lnTo>
                    <a:pt x="6340517" y="255558"/>
                  </a:lnTo>
                  <a:lnTo>
                    <a:pt x="6315669" y="234277"/>
                  </a:lnTo>
                  <a:lnTo>
                    <a:pt x="6295450" y="204112"/>
                  </a:lnTo>
                  <a:lnTo>
                    <a:pt x="6295779" y="174296"/>
                  </a:lnTo>
                  <a:lnTo>
                    <a:pt x="6299226" y="149664"/>
                  </a:lnTo>
                  <a:lnTo>
                    <a:pt x="6296808" y="127941"/>
                  </a:lnTo>
                  <a:lnTo>
                    <a:pt x="6294393" y="106217"/>
                  </a:lnTo>
                  <a:lnTo>
                    <a:pt x="6261446" y="68092"/>
                  </a:lnTo>
                  <a:lnTo>
                    <a:pt x="6243382" y="40249"/>
                  </a:lnTo>
                  <a:lnTo>
                    <a:pt x="6227296" y="24730"/>
                  </a:lnTo>
                  <a:lnTo>
                    <a:pt x="6201589" y="39529"/>
                  </a:lnTo>
                  <a:lnTo>
                    <a:pt x="6176794" y="58088"/>
                  </a:lnTo>
                  <a:lnTo>
                    <a:pt x="6152938" y="75380"/>
                  </a:lnTo>
                  <a:lnTo>
                    <a:pt x="6129500" y="85773"/>
                  </a:lnTo>
                  <a:lnTo>
                    <a:pt x="6105291" y="88029"/>
                  </a:lnTo>
                  <a:lnTo>
                    <a:pt x="6087273" y="73882"/>
                  </a:lnTo>
                  <a:lnTo>
                    <a:pt x="6076452" y="55852"/>
                  </a:lnTo>
                  <a:lnTo>
                    <a:pt x="6066459" y="35058"/>
                  </a:lnTo>
                  <a:lnTo>
                    <a:pt x="6053812" y="1679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10" name="Dnipropetrovsk¬0" descr="Dnipropetrovsk¬0">
              <a:extLst>
                <a:ext uri="{FF2B5EF4-FFF2-40B4-BE49-F238E27FC236}">
                  <a16:creationId xmlns:a16="http://schemas.microsoft.com/office/drawing/2014/main" id="{BCCFE56F-4F52-418E-A047-0CC1CD6D128F}"/>
                </a:ext>
              </a:extLst>
            </p:cNvPr>
            <p:cNvSpPr/>
            <p:nvPr/>
          </p:nvSpPr>
          <p:spPr>
            <a:xfrm>
              <a:off x="4596865" y="2631800"/>
              <a:ext cx="1355766" cy="776330"/>
            </a:xfrm>
            <a:custGeom>
              <a:avLst/>
              <a:gdLst/>
              <a:ahLst/>
              <a:cxnLst/>
              <a:rect l="0" t="0" r="0" b="0"/>
              <a:pathLst>
                <a:path w="13834844" h="8992798">
                  <a:moveTo>
                    <a:pt x="3283530" y="1665939"/>
                  </a:moveTo>
                  <a:lnTo>
                    <a:pt x="3237747" y="1725253"/>
                  </a:lnTo>
                  <a:lnTo>
                    <a:pt x="3214731" y="1749106"/>
                  </a:lnTo>
                  <a:lnTo>
                    <a:pt x="3200558" y="1777471"/>
                  </a:lnTo>
                  <a:lnTo>
                    <a:pt x="3186379" y="1805842"/>
                  </a:lnTo>
                  <a:lnTo>
                    <a:pt x="3180960" y="1837973"/>
                  </a:lnTo>
                  <a:lnTo>
                    <a:pt x="3176073" y="1893092"/>
                  </a:lnTo>
                  <a:lnTo>
                    <a:pt x="3173100" y="1923140"/>
                  </a:lnTo>
                  <a:lnTo>
                    <a:pt x="3157922" y="1945925"/>
                  </a:lnTo>
                  <a:lnTo>
                    <a:pt x="3123875" y="1947455"/>
                  </a:lnTo>
                  <a:lnTo>
                    <a:pt x="3098326" y="1952704"/>
                  </a:lnTo>
                  <a:lnTo>
                    <a:pt x="3091737" y="1988303"/>
                  </a:lnTo>
                  <a:lnTo>
                    <a:pt x="3089179" y="2028948"/>
                  </a:lnTo>
                  <a:lnTo>
                    <a:pt x="3071338" y="2045429"/>
                  </a:lnTo>
                  <a:lnTo>
                    <a:pt x="3033254" y="2037265"/>
                  </a:lnTo>
                  <a:lnTo>
                    <a:pt x="3020889" y="2100766"/>
                  </a:lnTo>
                  <a:lnTo>
                    <a:pt x="3004685" y="2147438"/>
                  </a:lnTo>
                  <a:lnTo>
                    <a:pt x="2988488" y="2194117"/>
                  </a:lnTo>
                  <a:lnTo>
                    <a:pt x="2968387" y="2239009"/>
                  </a:lnTo>
                  <a:lnTo>
                    <a:pt x="2940379" y="2243355"/>
                  </a:lnTo>
                  <a:lnTo>
                    <a:pt x="2912322" y="2232771"/>
                  </a:lnTo>
                  <a:lnTo>
                    <a:pt x="2908920" y="2198126"/>
                  </a:lnTo>
                  <a:lnTo>
                    <a:pt x="2909770" y="2164124"/>
                  </a:lnTo>
                  <a:lnTo>
                    <a:pt x="2899957" y="2140640"/>
                  </a:lnTo>
                  <a:lnTo>
                    <a:pt x="2879914" y="2116858"/>
                  </a:lnTo>
                  <a:lnTo>
                    <a:pt x="2884993" y="2078073"/>
                  </a:lnTo>
                  <a:lnTo>
                    <a:pt x="2889945" y="2040773"/>
                  </a:lnTo>
                  <a:lnTo>
                    <a:pt x="2863236" y="2023666"/>
                  </a:lnTo>
                  <a:lnTo>
                    <a:pt x="2833737" y="2060854"/>
                  </a:lnTo>
                  <a:lnTo>
                    <a:pt x="2824854" y="2132647"/>
                  </a:lnTo>
                  <a:lnTo>
                    <a:pt x="2804747" y="2150162"/>
                  </a:lnTo>
                  <a:lnTo>
                    <a:pt x="2782984" y="2148804"/>
                  </a:lnTo>
                  <a:lnTo>
                    <a:pt x="2760244" y="2115519"/>
                  </a:lnTo>
                  <a:lnTo>
                    <a:pt x="2768244" y="2087082"/>
                  </a:lnTo>
                  <a:lnTo>
                    <a:pt x="2774826" y="2059028"/>
                  </a:lnTo>
                  <a:lnTo>
                    <a:pt x="2781393" y="2030978"/>
                  </a:lnTo>
                  <a:lnTo>
                    <a:pt x="2787489" y="2003796"/>
                  </a:lnTo>
                  <a:lnTo>
                    <a:pt x="2767934" y="1987176"/>
                  </a:lnTo>
                  <a:lnTo>
                    <a:pt x="2731294" y="1978780"/>
                  </a:lnTo>
                  <a:lnTo>
                    <a:pt x="2696143" y="1972007"/>
                  </a:lnTo>
                  <a:lnTo>
                    <a:pt x="2666517" y="1989517"/>
                  </a:lnTo>
                  <a:lnTo>
                    <a:pt x="2653175" y="2007284"/>
                  </a:lnTo>
                  <a:lnTo>
                    <a:pt x="2632587" y="2042771"/>
                  </a:lnTo>
                  <a:lnTo>
                    <a:pt x="2615676" y="2075356"/>
                  </a:lnTo>
                  <a:lnTo>
                    <a:pt x="2596896" y="2101419"/>
                  </a:lnTo>
                  <a:lnTo>
                    <a:pt x="2563729" y="2111865"/>
                  </a:lnTo>
                  <a:lnTo>
                    <a:pt x="2540686" y="2111423"/>
                  </a:lnTo>
                  <a:lnTo>
                    <a:pt x="2506861" y="2101202"/>
                  </a:lnTo>
                  <a:lnTo>
                    <a:pt x="2492974" y="2070384"/>
                  </a:lnTo>
                  <a:lnTo>
                    <a:pt x="2489182" y="2046794"/>
                  </a:lnTo>
                  <a:lnTo>
                    <a:pt x="2485390" y="2023204"/>
                  </a:lnTo>
                  <a:lnTo>
                    <a:pt x="2481055" y="1998875"/>
                  </a:lnTo>
                  <a:lnTo>
                    <a:pt x="2464693" y="1985580"/>
                  </a:lnTo>
                  <a:lnTo>
                    <a:pt x="2437867" y="1980079"/>
                  </a:lnTo>
                  <a:lnTo>
                    <a:pt x="2401751" y="1974771"/>
                  </a:lnTo>
                  <a:lnTo>
                    <a:pt x="2374925" y="1974704"/>
                  </a:lnTo>
                  <a:lnTo>
                    <a:pt x="2343169" y="2033175"/>
                  </a:lnTo>
                  <a:lnTo>
                    <a:pt x="2324590" y="2054958"/>
                  </a:lnTo>
                  <a:lnTo>
                    <a:pt x="2289231" y="2053593"/>
                  </a:lnTo>
                  <a:lnTo>
                    <a:pt x="2272314" y="2068365"/>
                  </a:lnTo>
                  <a:lnTo>
                    <a:pt x="2269846" y="2105983"/>
                  </a:lnTo>
                  <a:lnTo>
                    <a:pt x="2256585" y="2127041"/>
                  </a:lnTo>
                  <a:lnTo>
                    <a:pt x="2233951" y="2119106"/>
                  </a:lnTo>
                  <a:lnTo>
                    <a:pt x="2210343" y="2105278"/>
                  </a:lnTo>
                  <a:lnTo>
                    <a:pt x="2186534" y="2094633"/>
                  </a:lnTo>
                  <a:lnTo>
                    <a:pt x="2168891" y="2082729"/>
                  </a:lnTo>
                  <a:lnTo>
                    <a:pt x="2166808" y="2054952"/>
                  </a:lnTo>
                  <a:lnTo>
                    <a:pt x="2131188" y="2040093"/>
                  </a:lnTo>
                  <a:lnTo>
                    <a:pt x="2105602" y="2045429"/>
                  </a:lnTo>
                  <a:lnTo>
                    <a:pt x="2085197" y="2067192"/>
                  </a:lnTo>
                  <a:lnTo>
                    <a:pt x="2077256" y="2087834"/>
                  </a:lnTo>
                  <a:lnTo>
                    <a:pt x="2075799" y="2118381"/>
                  </a:lnTo>
                  <a:lnTo>
                    <a:pt x="2057993" y="2147446"/>
                  </a:lnTo>
                  <a:lnTo>
                    <a:pt x="2022630" y="2154252"/>
                  </a:lnTo>
                  <a:lnTo>
                    <a:pt x="2009487" y="2180941"/>
                  </a:lnTo>
                  <a:lnTo>
                    <a:pt x="2016088" y="2206825"/>
                  </a:lnTo>
                  <a:lnTo>
                    <a:pt x="2025346" y="2231780"/>
                  </a:lnTo>
                  <a:lnTo>
                    <a:pt x="2034608" y="2256735"/>
                  </a:lnTo>
                  <a:lnTo>
                    <a:pt x="2047389" y="2280141"/>
                  </a:lnTo>
                  <a:lnTo>
                    <a:pt x="2092080" y="2298218"/>
                  </a:lnTo>
                  <a:lnTo>
                    <a:pt x="2108752" y="2312977"/>
                  </a:lnTo>
                  <a:lnTo>
                    <a:pt x="2119201" y="2332433"/>
                  </a:lnTo>
                  <a:lnTo>
                    <a:pt x="2129647" y="2351894"/>
                  </a:lnTo>
                  <a:lnTo>
                    <a:pt x="2132760" y="2376506"/>
                  </a:lnTo>
                  <a:lnTo>
                    <a:pt x="2136881" y="2404528"/>
                  </a:lnTo>
                  <a:lnTo>
                    <a:pt x="2157286" y="2423567"/>
                  </a:lnTo>
                  <a:lnTo>
                    <a:pt x="2173992" y="2436329"/>
                  </a:lnTo>
                  <a:lnTo>
                    <a:pt x="2268820" y="2449413"/>
                  </a:lnTo>
                  <a:lnTo>
                    <a:pt x="2358594" y="2461653"/>
                  </a:lnTo>
                  <a:lnTo>
                    <a:pt x="2385799" y="2465220"/>
                  </a:lnTo>
                  <a:lnTo>
                    <a:pt x="2410073" y="2486450"/>
                  </a:lnTo>
                  <a:lnTo>
                    <a:pt x="2434766" y="2506545"/>
                  </a:lnTo>
                  <a:lnTo>
                    <a:pt x="2459456" y="2526632"/>
                  </a:lnTo>
                  <a:lnTo>
                    <a:pt x="2484478" y="2545302"/>
                  </a:lnTo>
                  <a:lnTo>
                    <a:pt x="2512297" y="2544623"/>
                  </a:lnTo>
                  <a:lnTo>
                    <a:pt x="2548239" y="2543746"/>
                  </a:lnTo>
                  <a:lnTo>
                    <a:pt x="2582618" y="2543845"/>
                  </a:lnTo>
                  <a:lnTo>
                    <a:pt x="2617037" y="2544623"/>
                  </a:lnTo>
                  <a:lnTo>
                    <a:pt x="2651448" y="2545407"/>
                  </a:lnTo>
                  <a:lnTo>
                    <a:pt x="2686066" y="2546483"/>
                  </a:lnTo>
                  <a:lnTo>
                    <a:pt x="2721769" y="2550065"/>
                  </a:lnTo>
                  <a:lnTo>
                    <a:pt x="2747014" y="2587496"/>
                  </a:lnTo>
                  <a:lnTo>
                    <a:pt x="2742128" y="2626302"/>
                  </a:lnTo>
                  <a:lnTo>
                    <a:pt x="2757131" y="2648004"/>
                  </a:lnTo>
                  <a:lnTo>
                    <a:pt x="2786829" y="2653367"/>
                  </a:lnTo>
                  <a:lnTo>
                    <a:pt x="2819459" y="2657917"/>
                  </a:lnTo>
                  <a:lnTo>
                    <a:pt x="2850989" y="2664321"/>
                  </a:lnTo>
                  <a:lnTo>
                    <a:pt x="2882513" y="2670732"/>
                  </a:lnTo>
                  <a:lnTo>
                    <a:pt x="2912601" y="2678829"/>
                  </a:lnTo>
                  <a:lnTo>
                    <a:pt x="2940760" y="2690166"/>
                  </a:lnTo>
                  <a:lnTo>
                    <a:pt x="2946326" y="2725066"/>
                  </a:lnTo>
                  <a:lnTo>
                    <a:pt x="2935319" y="2754097"/>
                  </a:lnTo>
                  <a:lnTo>
                    <a:pt x="2925552" y="2776796"/>
                  </a:lnTo>
                  <a:lnTo>
                    <a:pt x="2909844" y="2795850"/>
                  </a:lnTo>
                  <a:lnTo>
                    <a:pt x="2884993" y="2804423"/>
                  </a:lnTo>
                  <a:lnTo>
                    <a:pt x="2861866" y="2803065"/>
                  </a:lnTo>
                  <a:lnTo>
                    <a:pt x="2834668" y="2801705"/>
                  </a:lnTo>
                  <a:lnTo>
                    <a:pt x="2812061" y="2802603"/>
                  </a:lnTo>
                  <a:lnTo>
                    <a:pt x="2786537" y="2806243"/>
                  </a:lnTo>
                  <a:lnTo>
                    <a:pt x="2757131" y="2813946"/>
                  </a:lnTo>
                  <a:lnTo>
                    <a:pt x="2737480" y="2838630"/>
                  </a:lnTo>
                  <a:lnTo>
                    <a:pt x="2727211" y="2857472"/>
                  </a:lnTo>
                  <a:lnTo>
                    <a:pt x="2716941" y="2876307"/>
                  </a:lnTo>
                  <a:lnTo>
                    <a:pt x="2706517" y="2896474"/>
                  </a:lnTo>
                  <a:lnTo>
                    <a:pt x="2690993" y="2911188"/>
                  </a:lnTo>
                  <a:lnTo>
                    <a:pt x="2672935" y="2924885"/>
                  </a:lnTo>
                  <a:lnTo>
                    <a:pt x="2655122" y="2939084"/>
                  </a:lnTo>
                  <a:lnTo>
                    <a:pt x="2637303" y="2953283"/>
                  </a:lnTo>
                  <a:lnTo>
                    <a:pt x="2618864" y="2967673"/>
                  </a:lnTo>
                  <a:lnTo>
                    <a:pt x="2575338" y="2997502"/>
                  </a:lnTo>
                  <a:lnTo>
                    <a:pt x="2534763" y="3019654"/>
                  </a:lnTo>
                  <a:lnTo>
                    <a:pt x="2493256" y="3039742"/>
                  </a:lnTo>
                  <a:lnTo>
                    <a:pt x="2451748" y="3059824"/>
                  </a:lnTo>
                  <a:lnTo>
                    <a:pt x="2409773" y="3078876"/>
                  </a:lnTo>
                  <a:lnTo>
                    <a:pt x="2368119" y="3096867"/>
                  </a:lnTo>
                  <a:lnTo>
                    <a:pt x="2337886" y="3109925"/>
                  </a:lnTo>
                  <a:lnTo>
                    <a:pt x="2243612" y="3141521"/>
                  </a:lnTo>
                  <a:lnTo>
                    <a:pt x="2221217" y="3162157"/>
                  </a:lnTo>
                  <a:lnTo>
                    <a:pt x="2175480" y="3194314"/>
                  </a:lnTo>
                  <a:lnTo>
                    <a:pt x="2156303" y="3229629"/>
                  </a:lnTo>
                  <a:lnTo>
                    <a:pt x="2142328" y="3258733"/>
                  </a:lnTo>
                  <a:lnTo>
                    <a:pt x="2128348" y="3287837"/>
                  </a:lnTo>
                  <a:lnTo>
                    <a:pt x="2119353" y="3311209"/>
                  </a:lnTo>
                  <a:lnTo>
                    <a:pt x="2097075" y="3317915"/>
                  </a:lnTo>
                  <a:lnTo>
                    <a:pt x="2075108" y="3312699"/>
                  </a:lnTo>
                  <a:lnTo>
                    <a:pt x="2055400" y="3297834"/>
                  </a:lnTo>
                  <a:lnTo>
                    <a:pt x="2053562" y="3269357"/>
                  </a:lnTo>
                  <a:lnTo>
                    <a:pt x="2026035" y="3265895"/>
                  </a:lnTo>
                  <a:lnTo>
                    <a:pt x="1999543" y="3279197"/>
                  </a:lnTo>
                  <a:lnTo>
                    <a:pt x="1968215" y="3291377"/>
                  </a:lnTo>
                  <a:lnTo>
                    <a:pt x="1936896" y="3303558"/>
                  </a:lnTo>
                  <a:lnTo>
                    <a:pt x="1901463" y="3314875"/>
                  </a:lnTo>
                  <a:lnTo>
                    <a:pt x="1863483" y="3328104"/>
                  </a:lnTo>
                  <a:lnTo>
                    <a:pt x="1825501" y="3341326"/>
                  </a:lnTo>
                  <a:lnTo>
                    <a:pt x="1786189" y="3355888"/>
                  </a:lnTo>
                  <a:lnTo>
                    <a:pt x="1747869" y="3374348"/>
                  </a:lnTo>
                  <a:lnTo>
                    <a:pt x="1709539" y="3392807"/>
                  </a:lnTo>
                  <a:lnTo>
                    <a:pt x="1671405" y="3415830"/>
                  </a:lnTo>
                  <a:lnTo>
                    <a:pt x="1639051" y="3443720"/>
                  </a:lnTo>
                  <a:lnTo>
                    <a:pt x="1609803" y="3465226"/>
                  </a:lnTo>
                  <a:lnTo>
                    <a:pt x="1601664" y="3497244"/>
                  </a:lnTo>
                  <a:lnTo>
                    <a:pt x="1604888" y="3519410"/>
                  </a:lnTo>
                  <a:lnTo>
                    <a:pt x="1610488" y="3541654"/>
                  </a:lnTo>
                  <a:lnTo>
                    <a:pt x="1616075" y="3563899"/>
                  </a:lnTo>
                  <a:lnTo>
                    <a:pt x="1623790" y="3586223"/>
                  </a:lnTo>
                  <a:lnTo>
                    <a:pt x="1663533" y="3598785"/>
                  </a:lnTo>
                  <a:lnTo>
                    <a:pt x="1693460" y="3597427"/>
                  </a:lnTo>
                  <a:lnTo>
                    <a:pt x="1678648" y="3626689"/>
                  </a:lnTo>
                  <a:lnTo>
                    <a:pt x="1676670" y="3658008"/>
                  </a:lnTo>
                  <a:lnTo>
                    <a:pt x="1682577" y="3689914"/>
                  </a:lnTo>
                  <a:lnTo>
                    <a:pt x="1688486" y="3721827"/>
                  </a:lnTo>
                  <a:lnTo>
                    <a:pt x="1701986" y="3753594"/>
                  </a:lnTo>
                  <a:lnTo>
                    <a:pt x="1716581" y="3783772"/>
                  </a:lnTo>
                  <a:lnTo>
                    <a:pt x="1731175" y="3813950"/>
                  </a:lnTo>
                  <a:lnTo>
                    <a:pt x="1747512" y="3842685"/>
                  </a:lnTo>
                  <a:lnTo>
                    <a:pt x="1758749" y="3866742"/>
                  </a:lnTo>
                  <a:lnTo>
                    <a:pt x="1769985" y="3890801"/>
                  </a:lnTo>
                  <a:lnTo>
                    <a:pt x="1772348" y="3923875"/>
                  </a:lnTo>
                  <a:lnTo>
                    <a:pt x="1712500" y="3956520"/>
                  </a:lnTo>
                  <a:lnTo>
                    <a:pt x="1709378" y="3985161"/>
                  </a:lnTo>
                  <a:lnTo>
                    <a:pt x="1720664" y="4016369"/>
                  </a:lnTo>
                  <a:lnTo>
                    <a:pt x="1726593" y="4048327"/>
                  </a:lnTo>
                  <a:lnTo>
                    <a:pt x="1740508" y="4069404"/>
                  </a:lnTo>
                  <a:lnTo>
                    <a:pt x="1772004" y="4073131"/>
                  </a:lnTo>
                  <a:lnTo>
                    <a:pt x="1777169" y="4111131"/>
                  </a:lnTo>
                  <a:lnTo>
                    <a:pt x="1781448" y="4142166"/>
                  </a:lnTo>
                  <a:lnTo>
                    <a:pt x="1787305" y="4172786"/>
                  </a:lnTo>
                  <a:lnTo>
                    <a:pt x="1793162" y="4203405"/>
                  </a:lnTo>
                  <a:lnTo>
                    <a:pt x="1800349" y="4232971"/>
                  </a:lnTo>
                  <a:lnTo>
                    <a:pt x="1803627" y="4265279"/>
                  </a:lnTo>
                  <a:lnTo>
                    <a:pt x="1807248" y="4300899"/>
                  </a:lnTo>
                  <a:lnTo>
                    <a:pt x="1809102" y="4337586"/>
                  </a:lnTo>
                  <a:lnTo>
                    <a:pt x="1810432" y="4374096"/>
                  </a:lnTo>
                  <a:lnTo>
                    <a:pt x="1811753" y="4410611"/>
                  </a:lnTo>
                  <a:lnTo>
                    <a:pt x="1812755" y="4447082"/>
                  </a:lnTo>
                  <a:lnTo>
                    <a:pt x="1814504" y="4482911"/>
                  </a:lnTo>
                  <a:lnTo>
                    <a:pt x="1815598" y="4505124"/>
                  </a:lnTo>
                  <a:lnTo>
                    <a:pt x="1815031" y="4526820"/>
                  </a:lnTo>
                  <a:lnTo>
                    <a:pt x="1815868" y="4548202"/>
                  </a:lnTo>
                  <a:lnTo>
                    <a:pt x="1816693" y="4569582"/>
                  </a:lnTo>
                  <a:lnTo>
                    <a:pt x="1818683" y="4591239"/>
                  </a:lnTo>
                  <a:lnTo>
                    <a:pt x="1824025" y="4613491"/>
                  </a:lnTo>
                  <a:lnTo>
                    <a:pt x="1856070" y="4619321"/>
                  </a:lnTo>
                  <a:lnTo>
                    <a:pt x="1892632" y="4632147"/>
                  </a:lnTo>
                  <a:lnTo>
                    <a:pt x="1913797" y="4655659"/>
                  </a:lnTo>
                  <a:lnTo>
                    <a:pt x="1905769" y="4760610"/>
                  </a:lnTo>
                  <a:lnTo>
                    <a:pt x="1893398" y="4842004"/>
                  </a:lnTo>
                  <a:lnTo>
                    <a:pt x="1881017" y="4923405"/>
                  </a:lnTo>
                  <a:lnTo>
                    <a:pt x="1865192" y="5002082"/>
                  </a:lnTo>
                  <a:lnTo>
                    <a:pt x="1843389" y="5007398"/>
                  </a:lnTo>
                  <a:lnTo>
                    <a:pt x="1813077" y="5004891"/>
                  </a:lnTo>
                  <a:lnTo>
                    <a:pt x="1783222" y="5003870"/>
                  </a:lnTo>
                  <a:lnTo>
                    <a:pt x="1753366" y="5002847"/>
                  </a:lnTo>
                  <a:lnTo>
                    <a:pt x="1724608" y="5003276"/>
                  </a:lnTo>
                  <a:lnTo>
                    <a:pt x="1691237" y="5032009"/>
                  </a:lnTo>
                  <a:lnTo>
                    <a:pt x="1695274" y="5079783"/>
                  </a:lnTo>
                  <a:lnTo>
                    <a:pt x="1666243" y="5114043"/>
                  </a:lnTo>
                  <a:lnTo>
                    <a:pt x="1647770" y="5135852"/>
                  </a:lnTo>
                  <a:lnTo>
                    <a:pt x="1620534" y="5150341"/>
                  </a:lnTo>
                  <a:lnTo>
                    <a:pt x="1595512" y="5163010"/>
                  </a:lnTo>
                  <a:lnTo>
                    <a:pt x="1570491" y="5175686"/>
                  </a:lnTo>
                  <a:lnTo>
                    <a:pt x="1548120" y="5185949"/>
                  </a:lnTo>
                  <a:lnTo>
                    <a:pt x="1535900" y="5212341"/>
                  </a:lnTo>
                  <a:lnTo>
                    <a:pt x="1524782" y="5237823"/>
                  </a:lnTo>
                  <a:lnTo>
                    <a:pt x="1513517" y="5262733"/>
                  </a:lnTo>
                  <a:lnTo>
                    <a:pt x="1486697" y="5306403"/>
                  </a:lnTo>
                  <a:lnTo>
                    <a:pt x="1462289" y="5324250"/>
                  </a:lnTo>
                  <a:lnTo>
                    <a:pt x="1435004" y="5327593"/>
                  </a:lnTo>
                  <a:lnTo>
                    <a:pt x="1407728" y="5330951"/>
                  </a:lnTo>
                  <a:lnTo>
                    <a:pt x="1378434" y="5319792"/>
                  </a:lnTo>
                  <a:lnTo>
                    <a:pt x="1349316" y="5293590"/>
                  </a:lnTo>
                  <a:lnTo>
                    <a:pt x="1331209" y="5265113"/>
                  </a:lnTo>
                  <a:lnTo>
                    <a:pt x="1313954" y="5242446"/>
                  </a:lnTo>
                  <a:lnTo>
                    <a:pt x="1284034" y="5233735"/>
                  </a:lnTo>
                  <a:lnTo>
                    <a:pt x="1250795" y="5260595"/>
                  </a:lnTo>
                  <a:lnTo>
                    <a:pt x="1267377" y="5295331"/>
                  </a:lnTo>
                  <a:lnTo>
                    <a:pt x="1254107" y="5319429"/>
                  </a:lnTo>
                  <a:lnTo>
                    <a:pt x="1222471" y="5346395"/>
                  </a:lnTo>
                  <a:lnTo>
                    <a:pt x="1190176" y="5375196"/>
                  </a:lnTo>
                  <a:lnTo>
                    <a:pt x="1157892" y="5403996"/>
                  </a:lnTo>
                  <a:lnTo>
                    <a:pt x="1121129" y="5440927"/>
                  </a:lnTo>
                  <a:lnTo>
                    <a:pt x="1099046" y="5479929"/>
                  </a:lnTo>
                  <a:lnTo>
                    <a:pt x="1081934" y="5510154"/>
                  </a:lnTo>
                  <a:lnTo>
                    <a:pt x="1068143" y="5553765"/>
                  </a:lnTo>
                  <a:lnTo>
                    <a:pt x="1055520" y="5594186"/>
                  </a:lnTo>
                  <a:lnTo>
                    <a:pt x="1042898" y="5634613"/>
                  </a:lnTo>
                  <a:lnTo>
                    <a:pt x="1031609" y="5672229"/>
                  </a:lnTo>
                  <a:lnTo>
                    <a:pt x="1017430" y="5693479"/>
                  </a:lnTo>
                  <a:lnTo>
                    <a:pt x="983959" y="5697336"/>
                  </a:lnTo>
                  <a:lnTo>
                    <a:pt x="969674" y="5660174"/>
                  </a:lnTo>
                  <a:lnTo>
                    <a:pt x="961669" y="5621383"/>
                  </a:lnTo>
                  <a:lnTo>
                    <a:pt x="953663" y="5582591"/>
                  </a:lnTo>
                  <a:lnTo>
                    <a:pt x="951626" y="5541742"/>
                  </a:lnTo>
                  <a:lnTo>
                    <a:pt x="966760" y="5515152"/>
                  </a:lnTo>
                  <a:lnTo>
                    <a:pt x="990231" y="5488081"/>
                  </a:lnTo>
                  <a:lnTo>
                    <a:pt x="952996" y="5310619"/>
                  </a:lnTo>
                  <a:lnTo>
                    <a:pt x="935143" y="5295530"/>
                  </a:lnTo>
                  <a:lnTo>
                    <a:pt x="906370" y="5298846"/>
                  </a:lnTo>
                  <a:lnTo>
                    <a:pt x="895530" y="5326196"/>
                  </a:lnTo>
                  <a:lnTo>
                    <a:pt x="892296" y="5362942"/>
                  </a:lnTo>
                  <a:lnTo>
                    <a:pt x="887531" y="5398581"/>
                  </a:lnTo>
                  <a:lnTo>
                    <a:pt x="880790" y="5433185"/>
                  </a:lnTo>
                  <a:lnTo>
                    <a:pt x="867817" y="5470399"/>
                  </a:lnTo>
                  <a:lnTo>
                    <a:pt x="855576" y="5506994"/>
                  </a:lnTo>
                  <a:lnTo>
                    <a:pt x="855576" y="5549281"/>
                  </a:lnTo>
                  <a:lnTo>
                    <a:pt x="859659" y="5586014"/>
                  </a:lnTo>
                  <a:lnTo>
                    <a:pt x="862732" y="5616958"/>
                  </a:lnTo>
                  <a:lnTo>
                    <a:pt x="864732" y="5647565"/>
                  </a:lnTo>
                  <a:lnTo>
                    <a:pt x="862376" y="5682590"/>
                  </a:lnTo>
                  <a:lnTo>
                    <a:pt x="854398" y="5723999"/>
                  </a:lnTo>
                  <a:lnTo>
                    <a:pt x="844690" y="5751962"/>
                  </a:lnTo>
                  <a:lnTo>
                    <a:pt x="835165" y="5772361"/>
                  </a:lnTo>
                  <a:lnTo>
                    <a:pt x="820201" y="5790040"/>
                  </a:lnTo>
                  <a:lnTo>
                    <a:pt x="801545" y="5801232"/>
                  </a:lnTo>
                  <a:lnTo>
                    <a:pt x="778114" y="5805723"/>
                  </a:lnTo>
                  <a:lnTo>
                    <a:pt x="752196" y="5806363"/>
                  </a:lnTo>
                  <a:lnTo>
                    <a:pt x="726285" y="5807030"/>
                  </a:lnTo>
                  <a:lnTo>
                    <a:pt x="698355" y="5804450"/>
                  </a:lnTo>
                  <a:lnTo>
                    <a:pt x="671941" y="5800930"/>
                  </a:lnTo>
                  <a:lnTo>
                    <a:pt x="645536" y="5797401"/>
                  </a:lnTo>
                  <a:lnTo>
                    <a:pt x="619993" y="5792712"/>
                  </a:lnTo>
                  <a:lnTo>
                    <a:pt x="579711" y="5790093"/>
                  </a:lnTo>
                  <a:lnTo>
                    <a:pt x="557690" y="5798206"/>
                  </a:lnTo>
                  <a:lnTo>
                    <a:pt x="548392" y="5820015"/>
                  </a:lnTo>
                  <a:lnTo>
                    <a:pt x="542491" y="5844409"/>
                  </a:lnTo>
                  <a:lnTo>
                    <a:pt x="525047" y="5866213"/>
                  </a:lnTo>
                  <a:lnTo>
                    <a:pt x="486789" y="5867901"/>
                  </a:lnTo>
                  <a:lnTo>
                    <a:pt x="461767" y="5873914"/>
                  </a:lnTo>
                  <a:lnTo>
                    <a:pt x="430535" y="5893878"/>
                  </a:lnTo>
                  <a:lnTo>
                    <a:pt x="418948" y="5923344"/>
                  </a:lnTo>
                  <a:lnTo>
                    <a:pt x="412025" y="5958013"/>
                  </a:lnTo>
                  <a:lnTo>
                    <a:pt x="401393" y="5997490"/>
                  </a:lnTo>
                  <a:lnTo>
                    <a:pt x="393071" y="6019121"/>
                  </a:lnTo>
                  <a:lnTo>
                    <a:pt x="375422" y="6040324"/>
                  </a:lnTo>
                  <a:lnTo>
                    <a:pt x="346860" y="6055282"/>
                  </a:lnTo>
                  <a:lnTo>
                    <a:pt x="281571" y="6049840"/>
                  </a:lnTo>
                  <a:lnTo>
                    <a:pt x="266877" y="6064844"/>
                  </a:lnTo>
                  <a:lnTo>
                    <a:pt x="255455" y="6086528"/>
                  </a:lnTo>
                  <a:lnTo>
                    <a:pt x="246202" y="6113771"/>
                  </a:lnTo>
                  <a:lnTo>
                    <a:pt x="238603" y="6143330"/>
                  </a:lnTo>
                  <a:lnTo>
                    <a:pt x="232036" y="6176707"/>
                  </a:lnTo>
                  <a:lnTo>
                    <a:pt x="225797" y="6213064"/>
                  </a:lnTo>
                  <a:lnTo>
                    <a:pt x="221491" y="6248526"/>
                  </a:lnTo>
                  <a:lnTo>
                    <a:pt x="216505" y="6283703"/>
                  </a:lnTo>
                  <a:lnTo>
                    <a:pt x="210840" y="6316439"/>
                  </a:lnTo>
                  <a:lnTo>
                    <a:pt x="206031" y="6347772"/>
                  </a:lnTo>
                  <a:lnTo>
                    <a:pt x="200137" y="6371586"/>
                  </a:lnTo>
                  <a:lnTo>
                    <a:pt x="190435" y="6395334"/>
                  </a:lnTo>
                  <a:lnTo>
                    <a:pt x="217255" y="6400096"/>
                  </a:lnTo>
                  <a:lnTo>
                    <a:pt x="233236" y="6415350"/>
                  </a:lnTo>
                  <a:lnTo>
                    <a:pt x="231388" y="6445231"/>
                  </a:lnTo>
                  <a:lnTo>
                    <a:pt x="210918" y="6489898"/>
                  </a:lnTo>
                  <a:lnTo>
                    <a:pt x="193151" y="6534071"/>
                  </a:lnTo>
                  <a:lnTo>
                    <a:pt x="175385" y="6578243"/>
                  </a:lnTo>
                  <a:lnTo>
                    <a:pt x="160527" y="6622483"/>
                  </a:lnTo>
                  <a:lnTo>
                    <a:pt x="163739" y="6646712"/>
                  </a:lnTo>
                  <a:lnTo>
                    <a:pt x="188119" y="6665403"/>
                  </a:lnTo>
                  <a:lnTo>
                    <a:pt x="226752" y="6675064"/>
                  </a:lnTo>
                  <a:lnTo>
                    <a:pt x="249306" y="6671073"/>
                  </a:lnTo>
                  <a:lnTo>
                    <a:pt x="270688" y="6666009"/>
                  </a:lnTo>
                  <a:lnTo>
                    <a:pt x="292063" y="6660950"/>
                  </a:lnTo>
                  <a:lnTo>
                    <a:pt x="313253" y="6655938"/>
                  </a:lnTo>
                  <a:lnTo>
                    <a:pt x="335977" y="6657851"/>
                  </a:lnTo>
                  <a:lnTo>
                    <a:pt x="349365" y="6687824"/>
                  </a:lnTo>
                  <a:lnTo>
                    <a:pt x="356382" y="6714976"/>
                  </a:lnTo>
                  <a:lnTo>
                    <a:pt x="363386" y="6742128"/>
                  </a:lnTo>
                  <a:lnTo>
                    <a:pt x="368623" y="6770320"/>
                  </a:lnTo>
                  <a:lnTo>
                    <a:pt x="349377" y="6797987"/>
                  </a:lnTo>
                  <a:lnTo>
                    <a:pt x="325295" y="6825118"/>
                  </a:lnTo>
                  <a:lnTo>
                    <a:pt x="311491" y="6845556"/>
                  </a:lnTo>
                  <a:lnTo>
                    <a:pt x="303662" y="6866679"/>
                  </a:lnTo>
                  <a:lnTo>
                    <a:pt x="305734" y="6891733"/>
                  </a:lnTo>
                  <a:lnTo>
                    <a:pt x="308775" y="6916286"/>
                  </a:lnTo>
                  <a:lnTo>
                    <a:pt x="311808" y="6940838"/>
                  </a:lnTo>
                  <a:lnTo>
                    <a:pt x="316214" y="6964725"/>
                  </a:lnTo>
                  <a:lnTo>
                    <a:pt x="312849" y="6987015"/>
                  </a:lnTo>
                  <a:lnTo>
                    <a:pt x="307033" y="7025655"/>
                  </a:lnTo>
                  <a:lnTo>
                    <a:pt x="287003" y="7057746"/>
                  </a:lnTo>
                  <a:lnTo>
                    <a:pt x="271705" y="7100680"/>
                  </a:lnTo>
                  <a:lnTo>
                    <a:pt x="276123" y="7162487"/>
                  </a:lnTo>
                  <a:lnTo>
                    <a:pt x="280197" y="7222336"/>
                  </a:lnTo>
                  <a:lnTo>
                    <a:pt x="285639" y="7280819"/>
                  </a:lnTo>
                  <a:lnTo>
                    <a:pt x="288370" y="7318865"/>
                  </a:lnTo>
                  <a:lnTo>
                    <a:pt x="265069" y="7430022"/>
                  </a:lnTo>
                  <a:lnTo>
                    <a:pt x="276123" y="7449483"/>
                  </a:lnTo>
                  <a:lnTo>
                    <a:pt x="305113" y="7477882"/>
                  </a:lnTo>
                  <a:lnTo>
                    <a:pt x="348469" y="7500745"/>
                  </a:lnTo>
                  <a:lnTo>
                    <a:pt x="383574" y="7520214"/>
                  </a:lnTo>
                  <a:lnTo>
                    <a:pt x="384851" y="7608585"/>
                  </a:lnTo>
                  <a:lnTo>
                    <a:pt x="391738" y="7637194"/>
                  </a:lnTo>
                  <a:lnTo>
                    <a:pt x="357417" y="7650021"/>
                  </a:lnTo>
                  <a:lnTo>
                    <a:pt x="329171" y="7652158"/>
                  </a:lnTo>
                  <a:lnTo>
                    <a:pt x="300918" y="7654296"/>
                  </a:lnTo>
                  <a:lnTo>
                    <a:pt x="272232" y="7654348"/>
                  </a:lnTo>
                  <a:lnTo>
                    <a:pt x="229193" y="7654829"/>
                  </a:lnTo>
                  <a:lnTo>
                    <a:pt x="206388" y="7660092"/>
                  </a:lnTo>
                  <a:lnTo>
                    <a:pt x="154738" y="7671304"/>
                  </a:lnTo>
                  <a:lnTo>
                    <a:pt x="104735" y="7687514"/>
                  </a:lnTo>
                  <a:lnTo>
                    <a:pt x="79732" y="7695625"/>
                  </a:lnTo>
                  <a:lnTo>
                    <a:pt x="55780" y="7704798"/>
                  </a:lnTo>
                  <a:lnTo>
                    <a:pt x="36727" y="7714717"/>
                  </a:lnTo>
                  <a:lnTo>
                    <a:pt x="17667" y="7724643"/>
                  </a:lnTo>
                  <a:lnTo>
                    <a:pt x="0" y="7746003"/>
                  </a:lnTo>
                  <a:lnTo>
                    <a:pt x="19996" y="7806493"/>
                  </a:lnTo>
                  <a:lnTo>
                    <a:pt x="56676" y="7867199"/>
                  </a:lnTo>
                  <a:lnTo>
                    <a:pt x="88410" y="7928274"/>
                  </a:lnTo>
                  <a:lnTo>
                    <a:pt x="104279" y="7958807"/>
                  </a:lnTo>
                  <a:lnTo>
                    <a:pt x="118564" y="7989250"/>
                  </a:lnTo>
                  <a:lnTo>
                    <a:pt x="129214" y="8020768"/>
                  </a:lnTo>
                  <a:lnTo>
                    <a:pt x="139865" y="8052278"/>
                  </a:lnTo>
                  <a:lnTo>
                    <a:pt x="146903" y="8084290"/>
                  </a:lnTo>
                  <a:lnTo>
                    <a:pt x="146903" y="8117336"/>
                  </a:lnTo>
                  <a:lnTo>
                    <a:pt x="139338" y="8152223"/>
                  </a:lnTo>
                  <a:lnTo>
                    <a:pt x="116375" y="8183107"/>
                  </a:lnTo>
                  <a:lnTo>
                    <a:pt x="100862" y="8197320"/>
                  </a:lnTo>
                  <a:lnTo>
                    <a:pt x="85694" y="8212553"/>
                  </a:lnTo>
                  <a:lnTo>
                    <a:pt x="70520" y="8227788"/>
                  </a:lnTo>
                  <a:lnTo>
                    <a:pt x="55950" y="8243787"/>
                  </a:lnTo>
                  <a:lnTo>
                    <a:pt x="33818" y="8279248"/>
                  </a:lnTo>
                  <a:lnTo>
                    <a:pt x="27205" y="8321370"/>
                  </a:lnTo>
                  <a:lnTo>
                    <a:pt x="42407" y="8348046"/>
                  </a:lnTo>
                  <a:lnTo>
                    <a:pt x="71853" y="8365417"/>
                  </a:lnTo>
                  <a:lnTo>
                    <a:pt x="102016" y="8373053"/>
                  </a:lnTo>
                  <a:lnTo>
                    <a:pt x="148010" y="8378837"/>
                  </a:lnTo>
                  <a:lnTo>
                    <a:pt x="195520" y="8383474"/>
                  </a:lnTo>
                  <a:lnTo>
                    <a:pt x="242119" y="8389376"/>
                  </a:lnTo>
                  <a:lnTo>
                    <a:pt x="288711" y="8395278"/>
                  </a:lnTo>
                  <a:lnTo>
                    <a:pt x="334402" y="8402810"/>
                  </a:lnTo>
                  <a:lnTo>
                    <a:pt x="379497" y="8413863"/>
                  </a:lnTo>
                  <a:lnTo>
                    <a:pt x="425274" y="8422918"/>
                  </a:lnTo>
                  <a:lnTo>
                    <a:pt x="470924" y="8432862"/>
                  </a:lnTo>
                  <a:lnTo>
                    <a:pt x="515516" y="8445150"/>
                  </a:lnTo>
                  <a:lnTo>
                    <a:pt x="560106" y="8457430"/>
                  </a:lnTo>
                  <a:lnTo>
                    <a:pt x="604013" y="8471971"/>
                  </a:lnTo>
                  <a:lnTo>
                    <a:pt x="647455" y="8488676"/>
                  </a:lnTo>
                  <a:lnTo>
                    <a:pt x="672483" y="8503698"/>
                  </a:lnTo>
                  <a:lnTo>
                    <a:pt x="693158" y="8525337"/>
                  </a:lnTo>
                  <a:lnTo>
                    <a:pt x="712744" y="8547159"/>
                  </a:lnTo>
                  <a:lnTo>
                    <a:pt x="728960" y="8561774"/>
                  </a:lnTo>
                  <a:lnTo>
                    <a:pt x="750038" y="8571078"/>
                  </a:lnTo>
                  <a:lnTo>
                    <a:pt x="772592" y="8577087"/>
                  </a:lnTo>
                  <a:lnTo>
                    <a:pt x="795142" y="8583089"/>
                  </a:lnTo>
                  <a:lnTo>
                    <a:pt x="819550" y="8584684"/>
                  </a:lnTo>
                  <a:lnTo>
                    <a:pt x="844684" y="8585245"/>
                  </a:lnTo>
                  <a:lnTo>
                    <a:pt x="894957" y="8586372"/>
                  </a:lnTo>
                  <a:lnTo>
                    <a:pt x="946718" y="8580081"/>
                  </a:lnTo>
                  <a:lnTo>
                    <a:pt x="984784" y="8578445"/>
                  </a:lnTo>
                  <a:lnTo>
                    <a:pt x="1012990" y="8577238"/>
                  </a:lnTo>
                  <a:lnTo>
                    <a:pt x="1033726" y="8584440"/>
                  </a:lnTo>
                  <a:lnTo>
                    <a:pt x="1066428" y="8610536"/>
                  </a:lnTo>
                  <a:lnTo>
                    <a:pt x="1079060" y="8629608"/>
                  </a:lnTo>
                  <a:lnTo>
                    <a:pt x="1088160" y="8650534"/>
                  </a:lnTo>
                  <a:lnTo>
                    <a:pt x="1106361" y="8692392"/>
                  </a:lnTo>
                  <a:lnTo>
                    <a:pt x="1113557" y="8743338"/>
                  </a:lnTo>
                  <a:lnTo>
                    <a:pt x="1130328" y="8778396"/>
                  </a:lnTo>
                  <a:lnTo>
                    <a:pt x="1139692" y="8797982"/>
                  </a:lnTo>
                  <a:lnTo>
                    <a:pt x="1186350" y="8839307"/>
                  </a:lnTo>
                  <a:lnTo>
                    <a:pt x="1203775" y="8851844"/>
                  </a:lnTo>
                  <a:lnTo>
                    <a:pt x="1231488" y="8871398"/>
                  </a:lnTo>
                  <a:lnTo>
                    <a:pt x="1263117" y="8883980"/>
                  </a:lnTo>
                  <a:lnTo>
                    <a:pt x="1296268" y="8884489"/>
                  </a:lnTo>
                  <a:lnTo>
                    <a:pt x="1310072" y="8848784"/>
                  </a:lnTo>
                  <a:lnTo>
                    <a:pt x="1317008" y="8800457"/>
                  </a:lnTo>
                  <a:lnTo>
                    <a:pt x="1332995" y="8779754"/>
                  </a:lnTo>
                  <a:lnTo>
                    <a:pt x="1527504" y="8738952"/>
                  </a:lnTo>
                  <a:lnTo>
                    <a:pt x="1548734" y="8735160"/>
                  </a:lnTo>
                  <a:lnTo>
                    <a:pt x="1615133" y="8727860"/>
                  </a:lnTo>
                  <a:lnTo>
                    <a:pt x="1677123" y="8711747"/>
                  </a:lnTo>
                  <a:lnTo>
                    <a:pt x="1708119" y="8703689"/>
                  </a:lnTo>
                  <a:lnTo>
                    <a:pt x="1737612" y="8693197"/>
                  </a:lnTo>
                  <a:lnTo>
                    <a:pt x="1760094" y="8680462"/>
                  </a:lnTo>
                  <a:lnTo>
                    <a:pt x="1782583" y="8667727"/>
                  </a:lnTo>
                  <a:lnTo>
                    <a:pt x="1798049" y="8652691"/>
                  </a:lnTo>
                  <a:lnTo>
                    <a:pt x="1801115" y="8614829"/>
                  </a:lnTo>
                  <a:lnTo>
                    <a:pt x="1792741" y="8577087"/>
                  </a:lnTo>
                  <a:lnTo>
                    <a:pt x="1784819" y="8538829"/>
                  </a:lnTo>
                  <a:lnTo>
                    <a:pt x="1792297" y="8505889"/>
                  </a:lnTo>
                  <a:lnTo>
                    <a:pt x="1868516" y="8480934"/>
                  </a:lnTo>
                  <a:lnTo>
                    <a:pt x="1945088" y="8465547"/>
                  </a:lnTo>
                  <a:lnTo>
                    <a:pt x="1983371" y="8457857"/>
                  </a:lnTo>
                  <a:lnTo>
                    <a:pt x="2021055" y="8452258"/>
                  </a:lnTo>
                  <a:lnTo>
                    <a:pt x="2051181" y="8451948"/>
                  </a:lnTo>
                  <a:lnTo>
                    <a:pt x="2081300" y="8451619"/>
                  </a:lnTo>
                  <a:lnTo>
                    <a:pt x="2103518" y="8457416"/>
                  </a:lnTo>
                  <a:lnTo>
                    <a:pt x="2113350" y="8482496"/>
                  </a:lnTo>
                  <a:lnTo>
                    <a:pt x="2140357" y="8539040"/>
                  </a:lnTo>
                  <a:lnTo>
                    <a:pt x="2125440" y="8563099"/>
                  </a:lnTo>
                  <a:lnTo>
                    <a:pt x="2110014" y="8584895"/>
                  </a:lnTo>
                  <a:lnTo>
                    <a:pt x="2097429" y="8608372"/>
                  </a:lnTo>
                  <a:lnTo>
                    <a:pt x="2084841" y="8631844"/>
                  </a:lnTo>
                  <a:lnTo>
                    <a:pt x="2074618" y="8656872"/>
                  </a:lnTo>
                  <a:lnTo>
                    <a:pt x="2083231" y="8682625"/>
                  </a:lnTo>
                  <a:lnTo>
                    <a:pt x="2096065" y="8700866"/>
                  </a:lnTo>
                  <a:lnTo>
                    <a:pt x="2105503" y="8729469"/>
                  </a:lnTo>
                  <a:lnTo>
                    <a:pt x="2111543" y="8761434"/>
                  </a:lnTo>
                  <a:lnTo>
                    <a:pt x="2119186" y="8790636"/>
                  </a:lnTo>
                  <a:lnTo>
                    <a:pt x="2144868" y="8807467"/>
                  </a:lnTo>
                  <a:lnTo>
                    <a:pt x="2231532" y="8781199"/>
                  </a:lnTo>
                  <a:lnTo>
                    <a:pt x="2252489" y="8775672"/>
                  </a:lnTo>
                  <a:lnTo>
                    <a:pt x="2278289" y="8797522"/>
                  </a:lnTo>
                  <a:lnTo>
                    <a:pt x="2288127" y="8835983"/>
                  </a:lnTo>
                  <a:lnTo>
                    <a:pt x="2300099" y="8869532"/>
                  </a:lnTo>
                  <a:lnTo>
                    <a:pt x="2313090" y="8901530"/>
                  </a:lnTo>
                  <a:lnTo>
                    <a:pt x="2327908" y="8924579"/>
                  </a:lnTo>
                  <a:lnTo>
                    <a:pt x="2392208" y="8931701"/>
                  </a:lnTo>
                  <a:lnTo>
                    <a:pt x="2447553" y="8934393"/>
                  </a:lnTo>
                  <a:lnTo>
                    <a:pt x="2501407" y="8933456"/>
                  </a:lnTo>
                  <a:lnTo>
                    <a:pt x="2555255" y="8932518"/>
                  </a:lnTo>
                  <a:lnTo>
                    <a:pt x="2607816" y="8927916"/>
                  </a:lnTo>
                  <a:lnTo>
                    <a:pt x="2653748" y="8913051"/>
                  </a:lnTo>
                  <a:lnTo>
                    <a:pt x="2699082" y="8898384"/>
                  </a:lnTo>
                  <a:lnTo>
                    <a:pt x="2798673" y="8866281"/>
                  </a:lnTo>
                  <a:lnTo>
                    <a:pt x="2898586" y="8836879"/>
                  </a:lnTo>
                  <a:lnTo>
                    <a:pt x="2998484" y="8807486"/>
                  </a:lnTo>
                  <a:lnTo>
                    <a:pt x="3099340" y="8780692"/>
                  </a:lnTo>
                  <a:lnTo>
                    <a:pt x="3148862" y="8775672"/>
                  </a:lnTo>
                  <a:lnTo>
                    <a:pt x="3186863" y="8771827"/>
                  </a:lnTo>
                  <a:lnTo>
                    <a:pt x="3227540" y="8773035"/>
                  </a:lnTo>
                  <a:lnTo>
                    <a:pt x="3265835" y="8771596"/>
                  </a:lnTo>
                  <a:lnTo>
                    <a:pt x="3291424" y="8770640"/>
                  </a:lnTo>
                  <a:lnTo>
                    <a:pt x="3327050" y="8790643"/>
                  </a:lnTo>
                  <a:lnTo>
                    <a:pt x="3360012" y="8815868"/>
                  </a:lnTo>
                  <a:lnTo>
                    <a:pt x="3380092" y="8826006"/>
                  </a:lnTo>
                  <a:lnTo>
                    <a:pt x="3533199" y="8885729"/>
                  </a:lnTo>
                  <a:lnTo>
                    <a:pt x="3672623" y="8931722"/>
                  </a:lnTo>
                  <a:lnTo>
                    <a:pt x="3792532" y="8958669"/>
                  </a:lnTo>
                  <a:lnTo>
                    <a:pt x="3920096" y="8974265"/>
                  </a:lnTo>
                  <a:lnTo>
                    <a:pt x="3940495" y="8981064"/>
                  </a:lnTo>
                  <a:lnTo>
                    <a:pt x="3994600" y="8984388"/>
                  </a:lnTo>
                  <a:lnTo>
                    <a:pt x="4052503" y="8992797"/>
                  </a:lnTo>
                  <a:lnTo>
                    <a:pt x="4106441" y="8991954"/>
                  </a:lnTo>
                  <a:lnTo>
                    <a:pt x="4141199" y="8991423"/>
                  </a:lnTo>
                  <a:lnTo>
                    <a:pt x="4268729" y="8959348"/>
                  </a:lnTo>
                  <a:lnTo>
                    <a:pt x="4293131" y="8957646"/>
                  </a:lnTo>
                  <a:lnTo>
                    <a:pt x="4413508" y="8912847"/>
                  </a:lnTo>
                  <a:lnTo>
                    <a:pt x="4534651" y="8857120"/>
                  </a:lnTo>
                  <a:lnTo>
                    <a:pt x="4635559" y="8831445"/>
                  </a:lnTo>
                  <a:lnTo>
                    <a:pt x="4659366" y="8825365"/>
                  </a:lnTo>
                  <a:lnTo>
                    <a:pt x="4686483" y="8825919"/>
                  </a:lnTo>
                  <a:lnTo>
                    <a:pt x="4709006" y="8820564"/>
                  </a:lnTo>
                  <a:lnTo>
                    <a:pt x="4743140" y="8812406"/>
                  </a:lnTo>
                  <a:lnTo>
                    <a:pt x="4779234" y="8802072"/>
                  </a:lnTo>
                  <a:lnTo>
                    <a:pt x="4813747" y="8796083"/>
                  </a:lnTo>
                  <a:lnTo>
                    <a:pt x="4861769" y="8787727"/>
                  </a:lnTo>
                  <a:lnTo>
                    <a:pt x="4908851" y="8782524"/>
                  </a:lnTo>
                  <a:lnTo>
                    <a:pt x="4956566" y="8775678"/>
                  </a:lnTo>
                  <a:lnTo>
                    <a:pt x="5004287" y="8768828"/>
                  </a:lnTo>
                  <a:lnTo>
                    <a:pt x="5051757" y="8761137"/>
                  </a:lnTo>
                  <a:lnTo>
                    <a:pt x="5098024" y="8744393"/>
                  </a:lnTo>
                  <a:lnTo>
                    <a:pt x="5161871" y="8721271"/>
                  </a:lnTo>
                  <a:lnTo>
                    <a:pt x="5216364" y="8677745"/>
                  </a:lnTo>
                  <a:lnTo>
                    <a:pt x="5280156" y="8640127"/>
                  </a:lnTo>
                  <a:lnTo>
                    <a:pt x="5352821" y="8620713"/>
                  </a:lnTo>
                  <a:lnTo>
                    <a:pt x="5417673" y="8586609"/>
                  </a:lnTo>
                  <a:lnTo>
                    <a:pt x="5439950" y="8574891"/>
                  </a:lnTo>
                  <a:lnTo>
                    <a:pt x="5474813" y="8550021"/>
                  </a:lnTo>
                  <a:lnTo>
                    <a:pt x="5511527" y="8528120"/>
                  </a:lnTo>
                  <a:lnTo>
                    <a:pt x="5548238" y="8506217"/>
                  </a:lnTo>
                  <a:lnTo>
                    <a:pt x="5587064" y="8487318"/>
                  </a:lnTo>
                  <a:lnTo>
                    <a:pt x="5613543" y="8487318"/>
                  </a:lnTo>
                  <a:lnTo>
                    <a:pt x="5665899" y="8487318"/>
                  </a:lnTo>
                  <a:lnTo>
                    <a:pt x="5721344" y="8491511"/>
                  </a:lnTo>
                  <a:lnTo>
                    <a:pt x="5775409" y="8502281"/>
                  </a:lnTo>
                  <a:lnTo>
                    <a:pt x="5829468" y="8513043"/>
                  </a:lnTo>
                  <a:lnTo>
                    <a:pt x="5881362" y="8530033"/>
                  </a:lnTo>
                  <a:lnTo>
                    <a:pt x="5929108" y="8551249"/>
                  </a:lnTo>
                  <a:lnTo>
                    <a:pt x="5994438" y="8580272"/>
                  </a:lnTo>
                  <a:lnTo>
                    <a:pt x="6058164" y="8625506"/>
                  </a:lnTo>
                  <a:lnTo>
                    <a:pt x="6127695" y="8645100"/>
                  </a:lnTo>
                  <a:lnTo>
                    <a:pt x="6203398" y="8666395"/>
                  </a:lnTo>
                  <a:lnTo>
                    <a:pt x="6306279" y="8688225"/>
                  </a:lnTo>
                  <a:lnTo>
                    <a:pt x="6410617" y="8704949"/>
                  </a:lnTo>
                  <a:lnTo>
                    <a:pt x="6514961" y="8721674"/>
                  </a:lnTo>
                  <a:lnTo>
                    <a:pt x="6619668" y="8732661"/>
                  </a:lnTo>
                  <a:lnTo>
                    <a:pt x="6698977" y="8733512"/>
                  </a:lnTo>
                  <a:lnTo>
                    <a:pt x="6747570" y="8727728"/>
                  </a:lnTo>
                  <a:lnTo>
                    <a:pt x="6786433" y="8684927"/>
                  </a:lnTo>
                  <a:lnTo>
                    <a:pt x="6797123" y="8665544"/>
                  </a:lnTo>
                  <a:lnTo>
                    <a:pt x="6811349" y="8618153"/>
                  </a:lnTo>
                  <a:lnTo>
                    <a:pt x="6820040" y="8570288"/>
                  </a:lnTo>
                  <a:lnTo>
                    <a:pt x="6828734" y="8522421"/>
                  </a:lnTo>
                  <a:lnTo>
                    <a:pt x="6832994" y="8474497"/>
                  </a:lnTo>
                  <a:lnTo>
                    <a:pt x="6817048" y="8441086"/>
                  </a:lnTo>
                  <a:lnTo>
                    <a:pt x="6795514" y="8421539"/>
                  </a:lnTo>
                  <a:lnTo>
                    <a:pt x="6772440" y="8402982"/>
                  </a:lnTo>
                  <a:lnTo>
                    <a:pt x="6749337" y="8384429"/>
                  </a:lnTo>
                  <a:lnTo>
                    <a:pt x="6723531" y="8367046"/>
                  </a:lnTo>
                  <a:lnTo>
                    <a:pt x="6703061" y="8340415"/>
                  </a:lnTo>
                  <a:lnTo>
                    <a:pt x="6713606" y="8280310"/>
                  </a:lnTo>
                  <a:lnTo>
                    <a:pt x="6747353" y="8221904"/>
                  </a:lnTo>
                  <a:lnTo>
                    <a:pt x="6768350" y="8164945"/>
                  </a:lnTo>
                  <a:lnTo>
                    <a:pt x="6797263" y="8086525"/>
                  </a:lnTo>
                  <a:lnTo>
                    <a:pt x="6796702" y="7999090"/>
                  </a:lnTo>
                  <a:lnTo>
                    <a:pt x="6814598" y="7918751"/>
                  </a:lnTo>
                  <a:lnTo>
                    <a:pt x="6820086" y="7893842"/>
                  </a:lnTo>
                  <a:lnTo>
                    <a:pt x="6837127" y="7865450"/>
                  </a:lnTo>
                  <a:lnTo>
                    <a:pt x="6844522" y="7839863"/>
                  </a:lnTo>
                  <a:lnTo>
                    <a:pt x="6868158" y="7757610"/>
                  </a:lnTo>
                  <a:lnTo>
                    <a:pt x="6887288" y="7637280"/>
                  </a:lnTo>
                  <a:lnTo>
                    <a:pt x="6886690" y="7551500"/>
                  </a:lnTo>
                  <a:lnTo>
                    <a:pt x="6870750" y="7536582"/>
                  </a:lnTo>
                  <a:lnTo>
                    <a:pt x="6849626" y="7531596"/>
                  </a:lnTo>
                  <a:lnTo>
                    <a:pt x="6828197" y="7529737"/>
                  </a:lnTo>
                  <a:lnTo>
                    <a:pt x="6806772" y="7527877"/>
                  </a:lnTo>
                  <a:lnTo>
                    <a:pt x="6784653" y="7528207"/>
                  </a:lnTo>
                  <a:lnTo>
                    <a:pt x="6737025" y="7518388"/>
                  </a:lnTo>
                  <a:lnTo>
                    <a:pt x="6706754" y="7507888"/>
                  </a:lnTo>
                  <a:lnTo>
                    <a:pt x="6678579" y="7499809"/>
                  </a:lnTo>
                  <a:lnTo>
                    <a:pt x="6675763" y="7471755"/>
                  </a:lnTo>
                  <a:lnTo>
                    <a:pt x="6682656" y="7441326"/>
                  </a:lnTo>
                  <a:lnTo>
                    <a:pt x="6696993" y="7383897"/>
                  </a:lnTo>
                  <a:lnTo>
                    <a:pt x="6686783" y="7332339"/>
                  </a:lnTo>
                  <a:lnTo>
                    <a:pt x="6670040" y="7308920"/>
                  </a:lnTo>
                  <a:lnTo>
                    <a:pt x="6677214" y="7263138"/>
                  </a:lnTo>
                  <a:lnTo>
                    <a:pt x="6690392" y="7245074"/>
                  </a:lnTo>
                  <a:lnTo>
                    <a:pt x="6707557" y="7222342"/>
                  </a:lnTo>
                  <a:lnTo>
                    <a:pt x="6720740" y="7197849"/>
                  </a:lnTo>
                  <a:lnTo>
                    <a:pt x="6733930" y="7173354"/>
                  </a:lnTo>
                  <a:lnTo>
                    <a:pt x="6742457" y="7147220"/>
                  </a:lnTo>
                  <a:lnTo>
                    <a:pt x="6739794" y="7123037"/>
                  </a:lnTo>
                  <a:lnTo>
                    <a:pt x="6725807" y="7103146"/>
                  </a:lnTo>
                  <a:lnTo>
                    <a:pt x="6703107" y="7078619"/>
                  </a:lnTo>
                  <a:lnTo>
                    <a:pt x="6681298" y="7067269"/>
                  </a:lnTo>
                  <a:lnTo>
                    <a:pt x="6622635" y="7036662"/>
                  </a:lnTo>
                  <a:lnTo>
                    <a:pt x="6563038" y="7009557"/>
                  </a:lnTo>
                  <a:lnTo>
                    <a:pt x="6508549" y="6972052"/>
                  </a:lnTo>
                  <a:lnTo>
                    <a:pt x="6467252" y="6943627"/>
                  </a:lnTo>
                  <a:lnTo>
                    <a:pt x="6437886" y="6928315"/>
                  </a:lnTo>
                  <a:lnTo>
                    <a:pt x="6420139" y="6906763"/>
                  </a:lnTo>
                  <a:lnTo>
                    <a:pt x="6405352" y="6883423"/>
                  </a:lnTo>
                  <a:lnTo>
                    <a:pt x="6399541" y="6851214"/>
                  </a:lnTo>
                  <a:lnTo>
                    <a:pt x="6402459" y="6804746"/>
                  </a:lnTo>
                  <a:lnTo>
                    <a:pt x="6405550" y="6778735"/>
                  </a:lnTo>
                  <a:lnTo>
                    <a:pt x="6411981" y="6744905"/>
                  </a:lnTo>
                  <a:lnTo>
                    <a:pt x="6428423" y="6717271"/>
                  </a:lnTo>
                  <a:lnTo>
                    <a:pt x="6451433" y="6702737"/>
                  </a:lnTo>
                  <a:lnTo>
                    <a:pt x="6489511" y="6698653"/>
                  </a:lnTo>
                  <a:lnTo>
                    <a:pt x="6504323" y="6673362"/>
                  </a:lnTo>
                  <a:lnTo>
                    <a:pt x="6520942" y="6642334"/>
                  </a:lnTo>
                  <a:lnTo>
                    <a:pt x="6541195" y="6623841"/>
                  </a:lnTo>
                  <a:lnTo>
                    <a:pt x="6576377" y="6612201"/>
                  </a:lnTo>
                  <a:lnTo>
                    <a:pt x="6611622" y="6603087"/>
                  </a:lnTo>
                  <a:lnTo>
                    <a:pt x="6647294" y="6596638"/>
                  </a:lnTo>
                  <a:lnTo>
                    <a:pt x="6682966" y="6590187"/>
                  </a:lnTo>
                  <a:lnTo>
                    <a:pt x="6720213" y="6586350"/>
                  </a:lnTo>
                  <a:lnTo>
                    <a:pt x="6757467" y="6584397"/>
                  </a:lnTo>
                  <a:lnTo>
                    <a:pt x="6769252" y="6561632"/>
                  </a:lnTo>
                  <a:lnTo>
                    <a:pt x="6778328" y="6525544"/>
                  </a:lnTo>
                  <a:lnTo>
                    <a:pt x="6783313" y="6498703"/>
                  </a:lnTo>
                  <a:lnTo>
                    <a:pt x="6786848" y="6476354"/>
                  </a:lnTo>
                  <a:lnTo>
                    <a:pt x="6783313" y="6442937"/>
                  </a:lnTo>
                  <a:lnTo>
                    <a:pt x="6774774" y="6416525"/>
                  </a:lnTo>
                  <a:lnTo>
                    <a:pt x="6751421" y="6389657"/>
                  </a:lnTo>
                  <a:lnTo>
                    <a:pt x="6727394" y="6382073"/>
                  </a:lnTo>
                  <a:lnTo>
                    <a:pt x="6700336" y="6376288"/>
                  </a:lnTo>
                  <a:lnTo>
                    <a:pt x="6673292" y="6370498"/>
                  </a:lnTo>
                  <a:lnTo>
                    <a:pt x="6643409" y="6366943"/>
                  </a:lnTo>
                  <a:lnTo>
                    <a:pt x="6616009" y="6358601"/>
                  </a:lnTo>
                  <a:lnTo>
                    <a:pt x="6588606" y="6350259"/>
                  </a:lnTo>
                  <a:lnTo>
                    <a:pt x="6564620" y="6336561"/>
                  </a:lnTo>
                  <a:lnTo>
                    <a:pt x="6548001" y="6310999"/>
                  </a:lnTo>
                  <a:lnTo>
                    <a:pt x="6529298" y="6282252"/>
                  </a:lnTo>
                  <a:lnTo>
                    <a:pt x="6532014" y="6219224"/>
                  </a:lnTo>
                  <a:lnTo>
                    <a:pt x="6527596" y="6183137"/>
                  </a:lnTo>
                  <a:lnTo>
                    <a:pt x="6432380" y="6172256"/>
                  </a:lnTo>
                  <a:lnTo>
                    <a:pt x="6416744" y="6155082"/>
                  </a:lnTo>
                  <a:lnTo>
                    <a:pt x="6413761" y="6106201"/>
                  </a:lnTo>
                  <a:lnTo>
                    <a:pt x="6416055" y="6085202"/>
                  </a:lnTo>
                  <a:lnTo>
                    <a:pt x="6496311" y="6053916"/>
                  </a:lnTo>
                  <a:lnTo>
                    <a:pt x="6518033" y="5999601"/>
                  </a:lnTo>
                  <a:lnTo>
                    <a:pt x="6520796" y="5957340"/>
                  </a:lnTo>
                  <a:lnTo>
                    <a:pt x="6523534" y="5915087"/>
                  </a:lnTo>
                  <a:lnTo>
                    <a:pt x="6523711" y="5870994"/>
                  </a:lnTo>
                  <a:lnTo>
                    <a:pt x="6525413" y="5842747"/>
                  </a:lnTo>
                  <a:lnTo>
                    <a:pt x="6537270" y="5823959"/>
                  </a:lnTo>
                  <a:lnTo>
                    <a:pt x="6529245" y="5774906"/>
                  </a:lnTo>
                  <a:lnTo>
                    <a:pt x="6511894" y="5739247"/>
                  </a:lnTo>
                  <a:lnTo>
                    <a:pt x="6499039" y="5702988"/>
                  </a:lnTo>
                  <a:lnTo>
                    <a:pt x="6486194" y="5666722"/>
                  </a:lnTo>
                  <a:lnTo>
                    <a:pt x="6476579" y="5629858"/>
                  </a:lnTo>
                  <a:lnTo>
                    <a:pt x="6482718" y="5591449"/>
                  </a:lnTo>
                  <a:lnTo>
                    <a:pt x="6520613" y="5576742"/>
                  </a:lnTo>
                  <a:lnTo>
                    <a:pt x="6546643" y="5575126"/>
                  </a:lnTo>
                  <a:lnTo>
                    <a:pt x="6572684" y="5573511"/>
                  </a:lnTo>
                  <a:lnTo>
                    <a:pt x="6599784" y="5574401"/>
                  </a:lnTo>
                  <a:lnTo>
                    <a:pt x="6624173" y="5590090"/>
                  </a:lnTo>
                  <a:lnTo>
                    <a:pt x="6618145" y="5620908"/>
                  </a:lnTo>
                  <a:lnTo>
                    <a:pt x="6617041" y="5653672"/>
                  </a:lnTo>
                  <a:lnTo>
                    <a:pt x="6620089" y="5686659"/>
                  </a:lnTo>
                  <a:lnTo>
                    <a:pt x="6623137" y="5719654"/>
                  </a:lnTo>
                  <a:lnTo>
                    <a:pt x="6630337" y="5753294"/>
                  </a:lnTo>
                  <a:lnTo>
                    <a:pt x="6637772" y="5783235"/>
                  </a:lnTo>
                  <a:lnTo>
                    <a:pt x="6666031" y="5798285"/>
                  </a:lnTo>
                  <a:lnTo>
                    <a:pt x="6779924" y="5797361"/>
                  </a:lnTo>
                  <a:lnTo>
                    <a:pt x="6846513" y="5798397"/>
                  </a:lnTo>
                  <a:lnTo>
                    <a:pt x="6890764" y="5795476"/>
                  </a:lnTo>
                  <a:lnTo>
                    <a:pt x="6935016" y="5792574"/>
                  </a:lnTo>
                  <a:lnTo>
                    <a:pt x="6957030" y="5786585"/>
                  </a:lnTo>
                  <a:lnTo>
                    <a:pt x="6973742" y="5773713"/>
                  </a:lnTo>
                  <a:lnTo>
                    <a:pt x="6990439" y="5760839"/>
                  </a:lnTo>
                  <a:lnTo>
                    <a:pt x="7001282" y="5740533"/>
                  </a:lnTo>
                  <a:lnTo>
                    <a:pt x="7022710" y="5709782"/>
                  </a:lnTo>
                  <a:lnTo>
                    <a:pt x="7044122" y="5679036"/>
                  </a:lnTo>
                  <a:lnTo>
                    <a:pt x="7075844" y="5637085"/>
                  </a:lnTo>
                  <a:lnTo>
                    <a:pt x="7134235" y="5580566"/>
                  </a:lnTo>
                  <a:lnTo>
                    <a:pt x="7182821" y="5600201"/>
                  </a:lnTo>
                  <a:lnTo>
                    <a:pt x="7220567" y="5602706"/>
                  </a:lnTo>
                  <a:lnTo>
                    <a:pt x="7258022" y="5598247"/>
                  </a:lnTo>
                  <a:lnTo>
                    <a:pt x="7295474" y="5593790"/>
                  </a:lnTo>
                  <a:lnTo>
                    <a:pt x="7333757" y="5582836"/>
                  </a:lnTo>
                  <a:lnTo>
                    <a:pt x="7384517" y="5575126"/>
                  </a:lnTo>
                  <a:lnTo>
                    <a:pt x="7424939" y="5569006"/>
                  </a:lnTo>
                  <a:lnTo>
                    <a:pt x="7469578" y="5578517"/>
                  </a:lnTo>
                  <a:lnTo>
                    <a:pt x="7509650" y="5583284"/>
                  </a:lnTo>
                  <a:lnTo>
                    <a:pt x="7541965" y="5588554"/>
                  </a:lnTo>
                  <a:lnTo>
                    <a:pt x="7606398" y="5589490"/>
                  </a:lnTo>
                  <a:lnTo>
                    <a:pt x="7656981" y="5590256"/>
                  </a:lnTo>
                  <a:lnTo>
                    <a:pt x="7709607" y="5581926"/>
                  </a:lnTo>
                  <a:lnTo>
                    <a:pt x="7731581" y="5571426"/>
                  </a:lnTo>
                  <a:lnTo>
                    <a:pt x="7938120" y="5532958"/>
                  </a:lnTo>
                  <a:lnTo>
                    <a:pt x="7962668" y="5537806"/>
                  </a:lnTo>
                  <a:lnTo>
                    <a:pt x="7987299" y="5540015"/>
                  </a:lnTo>
                  <a:lnTo>
                    <a:pt x="8018671" y="5548305"/>
                  </a:lnTo>
                  <a:lnTo>
                    <a:pt x="8038778" y="5558803"/>
                  </a:lnTo>
                  <a:lnTo>
                    <a:pt x="8113024" y="5597609"/>
                  </a:lnTo>
                  <a:lnTo>
                    <a:pt x="8188397" y="5642625"/>
                  </a:lnTo>
                  <a:lnTo>
                    <a:pt x="8264569" y="5677136"/>
                  </a:lnTo>
                  <a:lnTo>
                    <a:pt x="8305667" y="5695753"/>
                  </a:lnTo>
                  <a:lnTo>
                    <a:pt x="8534912" y="5713823"/>
                  </a:lnTo>
                  <a:lnTo>
                    <a:pt x="8595097" y="5724745"/>
                  </a:lnTo>
                  <a:lnTo>
                    <a:pt x="8663996" y="5737289"/>
                  </a:lnTo>
                  <a:lnTo>
                    <a:pt x="8732655" y="5754415"/>
                  </a:lnTo>
                  <a:lnTo>
                    <a:pt x="8801848" y="5766913"/>
                  </a:lnTo>
                  <a:lnTo>
                    <a:pt x="8824739" y="5778626"/>
                  </a:lnTo>
                  <a:lnTo>
                    <a:pt x="8870501" y="5805506"/>
                  </a:lnTo>
                  <a:lnTo>
                    <a:pt x="8893774" y="5810630"/>
                  </a:lnTo>
                  <a:lnTo>
                    <a:pt x="8917465" y="5807715"/>
                  </a:lnTo>
                  <a:lnTo>
                    <a:pt x="8941154" y="5804801"/>
                  </a:lnTo>
                  <a:lnTo>
                    <a:pt x="8964994" y="5794209"/>
                  </a:lnTo>
                  <a:lnTo>
                    <a:pt x="9000434" y="5781877"/>
                  </a:lnTo>
                  <a:lnTo>
                    <a:pt x="9030875" y="5755912"/>
                  </a:lnTo>
                  <a:lnTo>
                    <a:pt x="9041244" y="5735627"/>
                  </a:lnTo>
                  <a:lnTo>
                    <a:pt x="9051603" y="5715341"/>
                  </a:lnTo>
                  <a:lnTo>
                    <a:pt x="9061590" y="5694276"/>
                  </a:lnTo>
                  <a:lnTo>
                    <a:pt x="9122718" y="5645547"/>
                  </a:lnTo>
                  <a:lnTo>
                    <a:pt x="9161060" y="5623085"/>
                  </a:lnTo>
                  <a:lnTo>
                    <a:pt x="9203110" y="5606407"/>
                  </a:lnTo>
                  <a:lnTo>
                    <a:pt x="9245145" y="5589727"/>
                  </a:lnTo>
                  <a:lnTo>
                    <a:pt x="9289812" y="5578649"/>
                  </a:lnTo>
                  <a:lnTo>
                    <a:pt x="9344571" y="5565603"/>
                  </a:lnTo>
                  <a:lnTo>
                    <a:pt x="9396407" y="5553252"/>
                  </a:lnTo>
                  <a:lnTo>
                    <a:pt x="9432519" y="5549063"/>
                  </a:lnTo>
                  <a:lnTo>
                    <a:pt x="9458828" y="5551998"/>
                  </a:lnTo>
                  <a:lnTo>
                    <a:pt x="9485127" y="5554940"/>
                  </a:lnTo>
                  <a:lnTo>
                    <a:pt x="9515950" y="5579202"/>
                  </a:lnTo>
                  <a:lnTo>
                    <a:pt x="9541446" y="5612586"/>
                  </a:lnTo>
                  <a:lnTo>
                    <a:pt x="9556753" y="5634975"/>
                  </a:lnTo>
                  <a:lnTo>
                    <a:pt x="9572061" y="5657359"/>
                  </a:lnTo>
                  <a:lnTo>
                    <a:pt x="9592209" y="5683230"/>
                  </a:lnTo>
                  <a:lnTo>
                    <a:pt x="9622042" y="5709782"/>
                  </a:lnTo>
                  <a:lnTo>
                    <a:pt x="9673326" y="5727133"/>
                  </a:lnTo>
                  <a:lnTo>
                    <a:pt x="9715910" y="5734269"/>
                  </a:lnTo>
                  <a:lnTo>
                    <a:pt x="9758471" y="5741403"/>
                  </a:lnTo>
                  <a:lnTo>
                    <a:pt x="9801511" y="5747339"/>
                  </a:lnTo>
                  <a:lnTo>
                    <a:pt x="9829624" y="5751658"/>
                  </a:lnTo>
                  <a:lnTo>
                    <a:pt x="9853281" y="5776435"/>
                  </a:lnTo>
                  <a:lnTo>
                    <a:pt x="9872709" y="5808797"/>
                  </a:lnTo>
                  <a:lnTo>
                    <a:pt x="9890984" y="5844725"/>
                  </a:lnTo>
                  <a:lnTo>
                    <a:pt x="9911771" y="5875728"/>
                  </a:lnTo>
                  <a:lnTo>
                    <a:pt x="9937121" y="5899931"/>
                  </a:lnTo>
                  <a:lnTo>
                    <a:pt x="9980910" y="5896344"/>
                  </a:lnTo>
                  <a:lnTo>
                    <a:pt x="10015147" y="5868929"/>
                  </a:lnTo>
                  <a:lnTo>
                    <a:pt x="10044962" y="5851861"/>
                  </a:lnTo>
                  <a:lnTo>
                    <a:pt x="10075264" y="5834616"/>
                  </a:lnTo>
                  <a:lnTo>
                    <a:pt x="10107641" y="5818597"/>
                  </a:lnTo>
                  <a:lnTo>
                    <a:pt x="10140002" y="5802584"/>
                  </a:lnTo>
                  <a:lnTo>
                    <a:pt x="10174201" y="5787476"/>
                  </a:lnTo>
                  <a:lnTo>
                    <a:pt x="10208286" y="5775071"/>
                  </a:lnTo>
                  <a:lnTo>
                    <a:pt x="10242386" y="5762665"/>
                  </a:lnTo>
                  <a:lnTo>
                    <a:pt x="10276660" y="5752753"/>
                  </a:lnTo>
                  <a:lnTo>
                    <a:pt x="10311659" y="5746508"/>
                  </a:lnTo>
                  <a:lnTo>
                    <a:pt x="10346671" y="5740236"/>
                  </a:lnTo>
                  <a:lnTo>
                    <a:pt x="10382660" y="5738600"/>
                  </a:lnTo>
                  <a:lnTo>
                    <a:pt x="10417764" y="5741067"/>
                  </a:lnTo>
                  <a:lnTo>
                    <a:pt x="10446532" y="5747728"/>
                  </a:lnTo>
                  <a:lnTo>
                    <a:pt x="10473327" y="5767051"/>
                  </a:lnTo>
                  <a:lnTo>
                    <a:pt x="10480325" y="5795476"/>
                  </a:lnTo>
                  <a:lnTo>
                    <a:pt x="10471842" y="5835625"/>
                  </a:lnTo>
                  <a:lnTo>
                    <a:pt x="10461086" y="5867076"/>
                  </a:lnTo>
                  <a:lnTo>
                    <a:pt x="10458568" y="5897491"/>
                  </a:lnTo>
                  <a:lnTo>
                    <a:pt x="10456035" y="5927900"/>
                  </a:lnTo>
                  <a:lnTo>
                    <a:pt x="10461008" y="5957407"/>
                  </a:lnTo>
                  <a:lnTo>
                    <a:pt x="10484412" y="5992702"/>
                  </a:lnTo>
                  <a:lnTo>
                    <a:pt x="10480799" y="6024015"/>
                  </a:lnTo>
                  <a:lnTo>
                    <a:pt x="10479857" y="6059331"/>
                  </a:lnTo>
                  <a:lnTo>
                    <a:pt x="10485763" y="6090636"/>
                  </a:lnTo>
                  <a:lnTo>
                    <a:pt x="10519470" y="6099000"/>
                  </a:lnTo>
                  <a:lnTo>
                    <a:pt x="10558156" y="6087715"/>
                  </a:lnTo>
                  <a:lnTo>
                    <a:pt x="10579082" y="6076807"/>
                  </a:lnTo>
                  <a:lnTo>
                    <a:pt x="10598662" y="6063433"/>
                  </a:lnTo>
                  <a:lnTo>
                    <a:pt x="10637816" y="6036677"/>
                  </a:lnTo>
                  <a:lnTo>
                    <a:pt x="10673107" y="6001573"/>
                  </a:lnTo>
                  <a:lnTo>
                    <a:pt x="10692507" y="5983179"/>
                  </a:lnTo>
                  <a:lnTo>
                    <a:pt x="10719461" y="5975483"/>
                  </a:lnTo>
                  <a:lnTo>
                    <a:pt x="10747912" y="6012210"/>
                  </a:lnTo>
                  <a:lnTo>
                    <a:pt x="10749217" y="6042659"/>
                  </a:lnTo>
                  <a:lnTo>
                    <a:pt x="10730595" y="6072956"/>
                  </a:lnTo>
                  <a:lnTo>
                    <a:pt x="10706680" y="6100642"/>
                  </a:lnTo>
                  <a:lnTo>
                    <a:pt x="10681072" y="6126876"/>
                  </a:lnTo>
                  <a:lnTo>
                    <a:pt x="10659864" y="6154567"/>
                  </a:lnTo>
                  <a:lnTo>
                    <a:pt x="10645354" y="6184852"/>
                  </a:lnTo>
                  <a:lnTo>
                    <a:pt x="10656013" y="6217707"/>
                  </a:lnTo>
                  <a:lnTo>
                    <a:pt x="10680539" y="6219930"/>
                  </a:lnTo>
                  <a:lnTo>
                    <a:pt x="10704755" y="6222574"/>
                  </a:lnTo>
                  <a:lnTo>
                    <a:pt x="10728970" y="6225219"/>
                  </a:lnTo>
                  <a:lnTo>
                    <a:pt x="10753189" y="6228398"/>
                  </a:lnTo>
                  <a:lnTo>
                    <a:pt x="10770633" y="6259843"/>
                  </a:lnTo>
                  <a:lnTo>
                    <a:pt x="10777826" y="6298916"/>
                  </a:lnTo>
                  <a:lnTo>
                    <a:pt x="10782291" y="6339554"/>
                  </a:lnTo>
                  <a:lnTo>
                    <a:pt x="10786750" y="6380186"/>
                  </a:lnTo>
                  <a:lnTo>
                    <a:pt x="10787646" y="6422163"/>
                  </a:lnTo>
                  <a:lnTo>
                    <a:pt x="10784989" y="6444289"/>
                  </a:lnTo>
                  <a:lnTo>
                    <a:pt x="10774403" y="6465201"/>
                  </a:lnTo>
                  <a:lnTo>
                    <a:pt x="10804978" y="6482975"/>
                  </a:lnTo>
                  <a:lnTo>
                    <a:pt x="10833950" y="6494614"/>
                  </a:lnTo>
                  <a:lnTo>
                    <a:pt x="10852935" y="6512703"/>
                  </a:lnTo>
                  <a:lnTo>
                    <a:pt x="10865368" y="6548211"/>
                  </a:lnTo>
                  <a:lnTo>
                    <a:pt x="10864162" y="6575672"/>
                  </a:lnTo>
                  <a:lnTo>
                    <a:pt x="10904113" y="6575230"/>
                  </a:lnTo>
                  <a:lnTo>
                    <a:pt x="10916928" y="6551746"/>
                  </a:lnTo>
                  <a:lnTo>
                    <a:pt x="10942092" y="6533828"/>
                  </a:lnTo>
                  <a:lnTo>
                    <a:pt x="10991739" y="6536782"/>
                  </a:lnTo>
                  <a:lnTo>
                    <a:pt x="10982071" y="6577096"/>
                  </a:lnTo>
                  <a:lnTo>
                    <a:pt x="10975436" y="6611595"/>
                  </a:lnTo>
                  <a:lnTo>
                    <a:pt x="10976915" y="6639734"/>
                  </a:lnTo>
                  <a:lnTo>
                    <a:pt x="10988778" y="6669557"/>
                  </a:lnTo>
                  <a:lnTo>
                    <a:pt x="10994483" y="6697283"/>
                  </a:lnTo>
                  <a:lnTo>
                    <a:pt x="10962556" y="6770354"/>
                  </a:lnTo>
                  <a:lnTo>
                    <a:pt x="10944402" y="6827056"/>
                  </a:lnTo>
                  <a:lnTo>
                    <a:pt x="10927826" y="6905397"/>
                  </a:lnTo>
                  <a:lnTo>
                    <a:pt x="10904184" y="6933479"/>
                  </a:lnTo>
                  <a:lnTo>
                    <a:pt x="10882936" y="6928520"/>
                  </a:lnTo>
                  <a:lnTo>
                    <a:pt x="10864643" y="6911333"/>
                  </a:lnTo>
                  <a:lnTo>
                    <a:pt x="10846836" y="6888561"/>
                  </a:lnTo>
                  <a:lnTo>
                    <a:pt x="10827175" y="6870029"/>
                  </a:lnTo>
                  <a:lnTo>
                    <a:pt x="10804550" y="6858594"/>
                  </a:lnTo>
                  <a:lnTo>
                    <a:pt x="10789084" y="6880910"/>
                  </a:lnTo>
                  <a:lnTo>
                    <a:pt x="10783057" y="6945350"/>
                  </a:lnTo>
                  <a:lnTo>
                    <a:pt x="10836706" y="6969322"/>
                  </a:lnTo>
                  <a:lnTo>
                    <a:pt x="10844309" y="6994910"/>
                  </a:lnTo>
                  <a:lnTo>
                    <a:pt x="10840142" y="7029256"/>
                  </a:lnTo>
                  <a:lnTo>
                    <a:pt x="10862916" y="7040480"/>
                  </a:lnTo>
                  <a:lnTo>
                    <a:pt x="10895862" y="7046601"/>
                  </a:lnTo>
                  <a:lnTo>
                    <a:pt x="10908783" y="7076779"/>
                  </a:lnTo>
                  <a:lnTo>
                    <a:pt x="10940548" y="7092508"/>
                  </a:lnTo>
                  <a:lnTo>
                    <a:pt x="10985969" y="7092745"/>
                  </a:lnTo>
                  <a:lnTo>
                    <a:pt x="11031197" y="7089026"/>
                  </a:lnTo>
                  <a:lnTo>
                    <a:pt x="11076431" y="7085299"/>
                  </a:lnTo>
                  <a:lnTo>
                    <a:pt x="11120723" y="7077782"/>
                  </a:lnTo>
                  <a:lnTo>
                    <a:pt x="11141376" y="7067263"/>
                  </a:lnTo>
                  <a:lnTo>
                    <a:pt x="11160714" y="7035310"/>
                  </a:lnTo>
                  <a:lnTo>
                    <a:pt x="11168581" y="7011490"/>
                  </a:lnTo>
                  <a:lnTo>
                    <a:pt x="11176434" y="6987676"/>
                  </a:lnTo>
                  <a:lnTo>
                    <a:pt x="11182682" y="6962654"/>
                  </a:lnTo>
                  <a:lnTo>
                    <a:pt x="11211803" y="6936842"/>
                  </a:lnTo>
                  <a:lnTo>
                    <a:pt x="11266172" y="6936856"/>
                  </a:lnTo>
                  <a:lnTo>
                    <a:pt x="11295078" y="6938042"/>
                  </a:lnTo>
                  <a:lnTo>
                    <a:pt x="11312501" y="6986581"/>
                  </a:lnTo>
                  <a:lnTo>
                    <a:pt x="11318451" y="7024033"/>
                  </a:lnTo>
                  <a:lnTo>
                    <a:pt x="11322283" y="7060457"/>
                  </a:lnTo>
                  <a:lnTo>
                    <a:pt x="11320978" y="7098886"/>
                  </a:lnTo>
                  <a:lnTo>
                    <a:pt x="11363000" y="7135777"/>
                  </a:lnTo>
                  <a:lnTo>
                    <a:pt x="11406960" y="7127230"/>
                  </a:lnTo>
                  <a:lnTo>
                    <a:pt x="11446068" y="7131186"/>
                  </a:lnTo>
                  <a:lnTo>
                    <a:pt x="11469310" y="7133541"/>
                  </a:lnTo>
                  <a:lnTo>
                    <a:pt x="11481879" y="7156419"/>
                  </a:lnTo>
                  <a:lnTo>
                    <a:pt x="11503193" y="7177438"/>
                  </a:lnTo>
                  <a:lnTo>
                    <a:pt x="11527325" y="7198323"/>
                  </a:lnTo>
                  <a:lnTo>
                    <a:pt x="11560675" y="7213676"/>
                  </a:lnTo>
                  <a:lnTo>
                    <a:pt x="11607934" y="7218240"/>
                  </a:lnTo>
                  <a:lnTo>
                    <a:pt x="11640639" y="7212693"/>
                  </a:lnTo>
                  <a:lnTo>
                    <a:pt x="11675867" y="7204746"/>
                  </a:lnTo>
                  <a:lnTo>
                    <a:pt x="11709943" y="7196477"/>
                  </a:lnTo>
                  <a:lnTo>
                    <a:pt x="11726590" y="7167545"/>
                  </a:lnTo>
                  <a:lnTo>
                    <a:pt x="11739541" y="7130205"/>
                  </a:lnTo>
                  <a:lnTo>
                    <a:pt x="11746669" y="7097184"/>
                  </a:lnTo>
                  <a:lnTo>
                    <a:pt x="11769998" y="7078151"/>
                  </a:lnTo>
                  <a:lnTo>
                    <a:pt x="11796784" y="7067255"/>
                  </a:lnTo>
                  <a:lnTo>
                    <a:pt x="11825567" y="7063181"/>
                  </a:lnTo>
                  <a:lnTo>
                    <a:pt x="11852973" y="7061783"/>
                  </a:lnTo>
                  <a:lnTo>
                    <a:pt x="11882692" y="7068621"/>
                  </a:lnTo>
                  <a:lnTo>
                    <a:pt x="11901280" y="7078566"/>
                  </a:lnTo>
                  <a:lnTo>
                    <a:pt x="11914873" y="7101781"/>
                  </a:lnTo>
                  <a:lnTo>
                    <a:pt x="11917288" y="7122733"/>
                  </a:lnTo>
                  <a:lnTo>
                    <a:pt x="11945262" y="7143434"/>
                  </a:lnTo>
                  <a:lnTo>
                    <a:pt x="11973483" y="7135546"/>
                  </a:lnTo>
                  <a:lnTo>
                    <a:pt x="12000831" y="7134504"/>
                  </a:lnTo>
                  <a:lnTo>
                    <a:pt x="12028234" y="7133910"/>
                  </a:lnTo>
                  <a:lnTo>
                    <a:pt x="12055621" y="7133318"/>
                  </a:lnTo>
                  <a:lnTo>
                    <a:pt x="12082199" y="7132777"/>
                  </a:lnTo>
                  <a:lnTo>
                    <a:pt x="12109844" y="7128470"/>
                  </a:lnTo>
                  <a:lnTo>
                    <a:pt x="12141126" y="7123584"/>
                  </a:lnTo>
                  <a:lnTo>
                    <a:pt x="12172622" y="7116170"/>
                  </a:lnTo>
                  <a:lnTo>
                    <a:pt x="12203699" y="7108065"/>
                  </a:lnTo>
                  <a:lnTo>
                    <a:pt x="12234773" y="7099967"/>
                  </a:lnTo>
                  <a:lnTo>
                    <a:pt x="12266244" y="7091314"/>
                  </a:lnTo>
                  <a:lnTo>
                    <a:pt x="12297550" y="7086302"/>
                  </a:lnTo>
                  <a:lnTo>
                    <a:pt x="12348785" y="7078104"/>
                  </a:lnTo>
                  <a:lnTo>
                    <a:pt x="12398657" y="7075447"/>
                  </a:lnTo>
                  <a:lnTo>
                    <a:pt x="12448534" y="7069979"/>
                  </a:lnTo>
                  <a:lnTo>
                    <a:pt x="12473475" y="7067249"/>
                  </a:lnTo>
                  <a:lnTo>
                    <a:pt x="12498410" y="7063814"/>
                  </a:lnTo>
                  <a:lnTo>
                    <a:pt x="12523344" y="7059098"/>
                  </a:lnTo>
                  <a:lnTo>
                    <a:pt x="12573025" y="7047286"/>
                  </a:lnTo>
                  <a:lnTo>
                    <a:pt x="12598152" y="7040059"/>
                  </a:lnTo>
                  <a:lnTo>
                    <a:pt x="12605677" y="7019846"/>
                  </a:lnTo>
                  <a:lnTo>
                    <a:pt x="12602874" y="6993347"/>
                  </a:lnTo>
                  <a:lnTo>
                    <a:pt x="12596800" y="6967964"/>
                  </a:lnTo>
                  <a:lnTo>
                    <a:pt x="12590745" y="6942586"/>
                  </a:lnTo>
                  <a:lnTo>
                    <a:pt x="12581375" y="6918145"/>
                  </a:lnTo>
                  <a:lnTo>
                    <a:pt x="12565522" y="6886352"/>
                  </a:lnTo>
                  <a:lnTo>
                    <a:pt x="12453981" y="6865953"/>
                  </a:lnTo>
                  <a:lnTo>
                    <a:pt x="12437387" y="6821187"/>
                  </a:lnTo>
                  <a:lnTo>
                    <a:pt x="12437660" y="6789783"/>
                  </a:lnTo>
                  <a:lnTo>
                    <a:pt x="12438119" y="6758370"/>
                  </a:lnTo>
                  <a:lnTo>
                    <a:pt x="12443297" y="6725977"/>
                  </a:lnTo>
                  <a:lnTo>
                    <a:pt x="12475744" y="6687765"/>
                  </a:lnTo>
                  <a:lnTo>
                    <a:pt x="12504226" y="6693503"/>
                  </a:lnTo>
                  <a:lnTo>
                    <a:pt x="12543328" y="6697672"/>
                  </a:lnTo>
                  <a:lnTo>
                    <a:pt x="12572327" y="6691841"/>
                  </a:lnTo>
                  <a:lnTo>
                    <a:pt x="12588649" y="6653755"/>
                  </a:lnTo>
                  <a:lnTo>
                    <a:pt x="12615187" y="6653822"/>
                  </a:lnTo>
                  <a:lnTo>
                    <a:pt x="12636249" y="6653755"/>
                  </a:lnTo>
                  <a:lnTo>
                    <a:pt x="12657315" y="6653690"/>
                  </a:lnTo>
                  <a:lnTo>
                    <a:pt x="12682501" y="6653360"/>
                  </a:lnTo>
                  <a:lnTo>
                    <a:pt x="12706980" y="6652397"/>
                  </a:lnTo>
                  <a:lnTo>
                    <a:pt x="12731462" y="6651428"/>
                  </a:lnTo>
                  <a:lnTo>
                    <a:pt x="12755823" y="6649904"/>
                  </a:lnTo>
                  <a:lnTo>
                    <a:pt x="12794159" y="6644002"/>
                  </a:lnTo>
                  <a:lnTo>
                    <a:pt x="12813072" y="6633352"/>
                  </a:lnTo>
                  <a:lnTo>
                    <a:pt x="12782783" y="6586520"/>
                  </a:lnTo>
                  <a:lnTo>
                    <a:pt x="12768629" y="6551989"/>
                  </a:lnTo>
                  <a:lnTo>
                    <a:pt x="12760025" y="6524535"/>
                  </a:lnTo>
                  <a:lnTo>
                    <a:pt x="12751451" y="6497087"/>
                  </a:lnTo>
                  <a:lnTo>
                    <a:pt x="12742342" y="6463328"/>
                  </a:lnTo>
                  <a:lnTo>
                    <a:pt x="12727695" y="6440207"/>
                  </a:lnTo>
                  <a:lnTo>
                    <a:pt x="12705615" y="6433400"/>
                  </a:lnTo>
                  <a:lnTo>
                    <a:pt x="12683561" y="6426602"/>
                  </a:lnTo>
                  <a:lnTo>
                    <a:pt x="12648617" y="6422611"/>
                  </a:lnTo>
                  <a:lnTo>
                    <a:pt x="12591365" y="6417078"/>
                  </a:lnTo>
                  <a:lnTo>
                    <a:pt x="12591241" y="6380311"/>
                  </a:lnTo>
                  <a:lnTo>
                    <a:pt x="12613847" y="6310728"/>
                  </a:lnTo>
                  <a:lnTo>
                    <a:pt x="12599656" y="6282165"/>
                  </a:lnTo>
                  <a:lnTo>
                    <a:pt x="12575254" y="6250076"/>
                  </a:lnTo>
                  <a:lnTo>
                    <a:pt x="12593669" y="6198741"/>
                  </a:lnTo>
                  <a:lnTo>
                    <a:pt x="12602577" y="6161717"/>
                  </a:lnTo>
                  <a:lnTo>
                    <a:pt x="12604970" y="6124640"/>
                  </a:lnTo>
                  <a:lnTo>
                    <a:pt x="12607364" y="6087557"/>
                  </a:lnTo>
                  <a:lnTo>
                    <a:pt x="12603578" y="6051648"/>
                  </a:lnTo>
                  <a:lnTo>
                    <a:pt x="12599529" y="6015824"/>
                  </a:lnTo>
                  <a:lnTo>
                    <a:pt x="12595442" y="5980001"/>
                  </a:lnTo>
                  <a:lnTo>
                    <a:pt x="12590819" y="5944758"/>
                  </a:lnTo>
                  <a:lnTo>
                    <a:pt x="12591365" y="5912448"/>
                  </a:lnTo>
                  <a:lnTo>
                    <a:pt x="12591960" y="5880140"/>
                  </a:lnTo>
                  <a:lnTo>
                    <a:pt x="12596866" y="5850569"/>
                  </a:lnTo>
                  <a:lnTo>
                    <a:pt x="12613128" y="5824038"/>
                  </a:lnTo>
                  <a:lnTo>
                    <a:pt x="12633211" y="5810538"/>
                  </a:lnTo>
                  <a:lnTo>
                    <a:pt x="12666179" y="5794110"/>
                  </a:lnTo>
                  <a:lnTo>
                    <a:pt x="12701442" y="5786757"/>
                  </a:lnTo>
                  <a:lnTo>
                    <a:pt x="12726027" y="5790034"/>
                  </a:lnTo>
                  <a:lnTo>
                    <a:pt x="12754589" y="5794110"/>
                  </a:lnTo>
                  <a:lnTo>
                    <a:pt x="12792590" y="5787944"/>
                  </a:lnTo>
                  <a:lnTo>
                    <a:pt x="12831617" y="5764485"/>
                  </a:lnTo>
                  <a:lnTo>
                    <a:pt x="12871571" y="5757384"/>
                  </a:lnTo>
                  <a:lnTo>
                    <a:pt x="12897653" y="5752773"/>
                  </a:lnTo>
                  <a:lnTo>
                    <a:pt x="12919423" y="5758504"/>
                  </a:lnTo>
                  <a:lnTo>
                    <a:pt x="12940934" y="5766905"/>
                  </a:lnTo>
                  <a:lnTo>
                    <a:pt x="12962462" y="5775308"/>
                  </a:lnTo>
                  <a:lnTo>
                    <a:pt x="12983487" y="5786631"/>
                  </a:lnTo>
                  <a:lnTo>
                    <a:pt x="13007591" y="5794110"/>
                  </a:lnTo>
                  <a:lnTo>
                    <a:pt x="13035738" y="5802868"/>
                  </a:lnTo>
                  <a:lnTo>
                    <a:pt x="13062915" y="5805058"/>
                  </a:lnTo>
                  <a:lnTo>
                    <a:pt x="13087837" y="5811791"/>
                  </a:lnTo>
                  <a:lnTo>
                    <a:pt x="13112760" y="5818532"/>
                  </a:lnTo>
                  <a:lnTo>
                    <a:pt x="13135341" y="5829472"/>
                  </a:lnTo>
                  <a:lnTo>
                    <a:pt x="13154490" y="5858041"/>
                  </a:lnTo>
                  <a:lnTo>
                    <a:pt x="13164009" y="5912448"/>
                  </a:lnTo>
                  <a:lnTo>
                    <a:pt x="13176973" y="5934318"/>
                  </a:lnTo>
                  <a:lnTo>
                    <a:pt x="13210574" y="5948656"/>
                  </a:lnTo>
                  <a:lnTo>
                    <a:pt x="13246984" y="5958692"/>
                  </a:lnTo>
                  <a:lnTo>
                    <a:pt x="13283382" y="5968736"/>
                  </a:lnTo>
                  <a:lnTo>
                    <a:pt x="13322096" y="5975167"/>
                  </a:lnTo>
                  <a:lnTo>
                    <a:pt x="13343555" y="5983179"/>
                  </a:lnTo>
                  <a:lnTo>
                    <a:pt x="13365746" y="5991468"/>
                  </a:lnTo>
                  <a:lnTo>
                    <a:pt x="13388743" y="6011571"/>
                  </a:lnTo>
                  <a:lnTo>
                    <a:pt x="13410208" y="6022623"/>
                  </a:lnTo>
                  <a:lnTo>
                    <a:pt x="13434207" y="6034988"/>
                  </a:lnTo>
                  <a:lnTo>
                    <a:pt x="13460323" y="6044216"/>
                  </a:lnTo>
                  <a:lnTo>
                    <a:pt x="13485016" y="6055268"/>
                  </a:lnTo>
                  <a:lnTo>
                    <a:pt x="13511461" y="6055730"/>
                  </a:lnTo>
                  <a:lnTo>
                    <a:pt x="13529906" y="6045746"/>
                  </a:lnTo>
                  <a:lnTo>
                    <a:pt x="13548333" y="6035740"/>
                  </a:lnTo>
                  <a:lnTo>
                    <a:pt x="13569336" y="6020177"/>
                  </a:lnTo>
                  <a:lnTo>
                    <a:pt x="13589754" y="6003584"/>
                  </a:lnTo>
                  <a:lnTo>
                    <a:pt x="13630585" y="5970392"/>
                  </a:lnTo>
                  <a:lnTo>
                    <a:pt x="13669811" y="5932894"/>
                  </a:lnTo>
                  <a:lnTo>
                    <a:pt x="13693729" y="5911856"/>
                  </a:lnTo>
                  <a:lnTo>
                    <a:pt x="13705372" y="5875722"/>
                  </a:lnTo>
                  <a:lnTo>
                    <a:pt x="13711136" y="5833197"/>
                  </a:lnTo>
                  <a:lnTo>
                    <a:pt x="13710810" y="5810433"/>
                  </a:lnTo>
                  <a:lnTo>
                    <a:pt x="13710153" y="5764901"/>
                  </a:lnTo>
                  <a:lnTo>
                    <a:pt x="13702962" y="5718789"/>
                  </a:lnTo>
                  <a:lnTo>
                    <a:pt x="13697205" y="5694817"/>
                  </a:lnTo>
                  <a:lnTo>
                    <a:pt x="13691850" y="5672626"/>
                  </a:lnTo>
                  <a:lnTo>
                    <a:pt x="13676207" y="5652649"/>
                  </a:lnTo>
                  <a:lnTo>
                    <a:pt x="13670003" y="5632245"/>
                  </a:lnTo>
                  <a:lnTo>
                    <a:pt x="13643397" y="5544724"/>
                  </a:lnTo>
                  <a:lnTo>
                    <a:pt x="13633829" y="5457420"/>
                  </a:lnTo>
                  <a:lnTo>
                    <a:pt x="13619668" y="5367010"/>
                  </a:lnTo>
                  <a:lnTo>
                    <a:pt x="13624834" y="5335256"/>
                  </a:lnTo>
                  <a:lnTo>
                    <a:pt x="13644492" y="5313856"/>
                  </a:lnTo>
                  <a:lnTo>
                    <a:pt x="13682247" y="5303079"/>
                  </a:lnTo>
                  <a:lnTo>
                    <a:pt x="13723426" y="5298278"/>
                  </a:lnTo>
                  <a:lnTo>
                    <a:pt x="13763476" y="5291551"/>
                  </a:lnTo>
                  <a:lnTo>
                    <a:pt x="13797859" y="5273153"/>
                  </a:lnTo>
                  <a:lnTo>
                    <a:pt x="13823538" y="5241200"/>
                  </a:lnTo>
                  <a:lnTo>
                    <a:pt x="13827786" y="5209222"/>
                  </a:lnTo>
                  <a:lnTo>
                    <a:pt x="13834843" y="5156476"/>
                  </a:lnTo>
                  <a:lnTo>
                    <a:pt x="13819966" y="5086635"/>
                  </a:lnTo>
                  <a:lnTo>
                    <a:pt x="13811464" y="5033758"/>
                  </a:lnTo>
                  <a:lnTo>
                    <a:pt x="13804835" y="4992697"/>
                  </a:lnTo>
                  <a:lnTo>
                    <a:pt x="13793772" y="4950701"/>
                  </a:lnTo>
                  <a:lnTo>
                    <a:pt x="13788334" y="4909984"/>
                  </a:lnTo>
                  <a:lnTo>
                    <a:pt x="13785122" y="4885286"/>
                  </a:lnTo>
                  <a:lnTo>
                    <a:pt x="13787422" y="4858169"/>
                  </a:lnTo>
                  <a:lnTo>
                    <a:pt x="13782902" y="4833814"/>
                  </a:lnTo>
                  <a:lnTo>
                    <a:pt x="13777724" y="4805290"/>
                  </a:lnTo>
                  <a:lnTo>
                    <a:pt x="13762475" y="4778804"/>
                  </a:lnTo>
                  <a:lnTo>
                    <a:pt x="13759777" y="4749478"/>
                  </a:lnTo>
                  <a:lnTo>
                    <a:pt x="13750256" y="4654266"/>
                  </a:lnTo>
                  <a:lnTo>
                    <a:pt x="13709328" y="4623957"/>
                  </a:lnTo>
                  <a:lnTo>
                    <a:pt x="13654913" y="4620560"/>
                  </a:lnTo>
                  <a:lnTo>
                    <a:pt x="13619668" y="4621622"/>
                  </a:lnTo>
                  <a:lnTo>
                    <a:pt x="13620803" y="4599812"/>
                  </a:lnTo>
                  <a:lnTo>
                    <a:pt x="13616366" y="4571633"/>
                  </a:lnTo>
                  <a:lnTo>
                    <a:pt x="13606072" y="4552251"/>
                  </a:lnTo>
                  <a:lnTo>
                    <a:pt x="13564047" y="4539898"/>
                  </a:lnTo>
                  <a:lnTo>
                    <a:pt x="13536706" y="4546809"/>
                  </a:lnTo>
                  <a:lnTo>
                    <a:pt x="13509356" y="4553721"/>
                  </a:lnTo>
                  <a:lnTo>
                    <a:pt x="13482008" y="4566661"/>
                  </a:lnTo>
                  <a:lnTo>
                    <a:pt x="13448296" y="4574014"/>
                  </a:lnTo>
                  <a:lnTo>
                    <a:pt x="13433329" y="4549533"/>
                  </a:lnTo>
                  <a:lnTo>
                    <a:pt x="13417898" y="4507108"/>
                  </a:lnTo>
                  <a:lnTo>
                    <a:pt x="13421268" y="4476152"/>
                  </a:lnTo>
                  <a:lnTo>
                    <a:pt x="13429236" y="4444800"/>
                  </a:lnTo>
                  <a:lnTo>
                    <a:pt x="13437227" y="4413441"/>
                  </a:lnTo>
                  <a:lnTo>
                    <a:pt x="13449638" y="4381911"/>
                  </a:lnTo>
                  <a:lnTo>
                    <a:pt x="13449638" y="4341425"/>
                  </a:lnTo>
                  <a:lnTo>
                    <a:pt x="13449638" y="4303933"/>
                  </a:lnTo>
                  <a:lnTo>
                    <a:pt x="13437856" y="4210292"/>
                  </a:lnTo>
                  <a:lnTo>
                    <a:pt x="13431965" y="4174119"/>
                  </a:lnTo>
                  <a:lnTo>
                    <a:pt x="13424737" y="4129781"/>
                  </a:lnTo>
                  <a:lnTo>
                    <a:pt x="13401536" y="4091570"/>
                  </a:lnTo>
                  <a:lnTo>
                    <a:pt x="13404760" y="4046257"/>
                  </a:lnTo>
                  <a:lnTo>
                    <a:pt x="13412760" y="4019118"/>
                  </a:lnTo>
                  <a:lnTo>
                    <a:pt x="13443347" y="4011436"/>
                  </a:lnTo>
                  <a:lnTo>
                    <a:pt x="13476843" y="3998647"/>
                  </a:lnTo>
                  <a:lnTo>
                    <a:pt x="13510280" y="3984600"/>
                  </a:lnTo>
                  <a:lnTo>
                    <a:pt x="13541341" y="3963735"/>
                  </a:lnTo>
                  <a:lnTo>
                    <a:pt x="13563895" y="3933365"/>
                  </a:lnTo>
                  <a:lnTo>
                    <a:pt x="13539527" y="3916271"/>
                  </a:lnTo>
                  <a:lnTo>
                    <a:pt x="13509362" y="3904208"/>
                  </a:lnTo>
                  <a:lnTo>
                    <a:pt x="13489084" y="3878957"/>
                  </a:lnTo>
                  <a:lnTo>
                    <a:pt x="13507399" y="3836491"/>
                  </a:lnTo>
                  <a:lnTo>
                    <a:pt x="13506435" y="3797609"/>
                  </a:lnTo>
                  <a:lnTo>
                    <a:pt x="13502689" y="3766059"/>
                  </a:lnTo>
                  <a:lnTo>
                    <a:pt x="13498903" y="3734502"/>
                  </a:lnTo>
                  <a:lnTo>
                    <a:pt x="13491143" y="3710332"/>
                  </a:lnTo>
                  <a:lnTo>
                    <a:pt x="13588371" y="3649078"/>
                  </a:lnTo>
                  <a:lnTo>
                    <a:pt x="13587056" y="3613288"/>
                  </a:lnTo>
                  <a:lnTo>
                    <a:pt x="13558971" y="3529743"/>
                  </a:lnTo>
                  <a:lnTo>
                    <a:pt x="13563420" y="3495673"/>
                  </a:lnTo>
                  <a:lnTo>
                    <a:pt x="13677460" y="3456401"/>
                  </a:lnTo>
                  <a:lnTo>
                    <a:pt x="13707836" y="3443033"/>
                  </a:lnTo>
                  <a:lnTo>
                    <a:pt x="13708438" y="3386443"/>
                  </a:lnTo>
                  <a:lnTo>
                    <a:pt x="13703992" y="3325354"/>
                  </a:lnTo>
                  <a:lnTo>
                    <a:pt x="13699533" y="3264266"/>
                  </a:lnTo>
                  <a:lnTo>
                    <a:pt x="13689053" y="3198620"/>
                  </a:lnTo>
                  <a:lnTo>
                    <a:pt x="13676787" y="3173013"/>
                  </a:lnTo>
                  <a:lnTo>
                    <a:pt x="13637977" y="3158700"/>
                  </a:lnTo>
                  <a:lnTo>
                    <a:pt x="13584322" y="3159176"/>
                  </a:lnTo>
                  <a:lnTo>
                    <a:pt x="13532604" y="3163489"/>
                  </a:lnTo>
                  <a:lnTo>
                    <a:pt x="13480898" y="3167802"/>
                  </a:lnTo>
                  <a:lnTo>
                    <a:pt x="13430777" y="3175696"/>
                  </a:lnTo>
                  <a:lnTo>
                    <a:pt x="13407867" y="3192453"/>
                  </a:lnTo>
                  <a:lnTo>
                    <a:pt x="13406906" y="3252547"/>
                  </a:lnTo>
                  <a:lnTo>
                    <a:pt x="13397942" y="3311748"/>
                  </a:lnTo>
                  <a:lnTo>
                    <a:pt x="13393465" y="3341346"/>
                  </a:lnTo>
                  <a:lnTo>
                    <a:pt x="13386988" y="3371366"/>
                  </a:lnTo>
                  <a:lnTo>
                    <a:pt x="13377543" y="3393360"/>
                  </a:lnTo>
                  <a:lnTo>
                    <a:pt x="13368080" y="3415354"/>
                  </a:lnTo>
                  <a:lnTo>
                    <a:pt x="13338095" y="3430088"/>
                  </a:lnTo>
                  <a:lnTo>
                    <a:pt x="13294693" y="3431704"/>
                  </a:lnTo>
                  <a:lnTo>
                    <a:pt x="13249260" y="3430893"/>
                  </a:lnTo>
                  <a:lnTo>
                    <a:pt x="13207514" y="3445052"/>
                  </a:lnTo>
                  <a:lnTo>
                    <a:pt x="13196085" y="3421126"/>
                  </a:lnTo>
                  <a:lnTo>
                    <a:pt x="13191905" y="3376076"/>
                  </a:lnTo>
                  <a:lnTo>
                    <a:pt x="13191192" y="3333513"/>
                  </a:lnTo>
                  <a:lnTo>
                    <a:pt x="13190494" y="3290948"/>
                  </a:lnTo>
                  <a:lnTo>
                    <a:pt x="13193105" y="3250389"/>
                  </a:lnTo>
                  <a:lnTo>
                    <a:pt x="13267364" y="3223338"/>
                  </a:lnTo>
                  <a:lnTo>
                    <a:pt x="13267364" y="3191511"/>
                  </a:lnTo>
                  <a:lnTo>
                    <a:pt x="13271714" y="3169233"/>
                  </a:lnTo>
                  <a:lnTo>
                    <a:pt x="13284786" y="3138698"/>
                  </a:lnTo>
                  <a:lnTo>
                    <a:pt x="13304084" y="3124045"/>
                  </a:lnTo>
                  <a:lnTo>
                    <a:pt x="13323466" y="3112227"/>
                  </a:lnTo>
                  <a:lnTo>
                    <a:pt x="13345803" y="3113032"/>
                  </a:lnTo>
                  <a:lnTo>
                    <a:pt x="13358497" y="3095476"/>
                  </a:lnTo>
                  <a:lnTo>
                    <a:pt x="13353942" y="3071247"/>
                  </a:lnTo>
                  <a:lnTo>
                    <a:pt x="13344017" y="3048981"/>
                  </a:lnTo>
                  <a:lnTo>
                    <a:pt x="13324496" y="3035627"/>
                  </a:lnTo>
                  <a:lnTo>
                    <a:pt x="13298181" y="3036953"/>
                  </a:lnTo>
                  <a:lnTo>
                    <a:pt x="13271683" y="3045479"/>
                  </a:lnTo>
                  <a:lnTo>
                    <a:pt x="13244240" y="3053314"/>
                  </a:lnTo>
                  <a:lnTo>
                    <a:pt x="13216812" y="3061150"/>
                  </a:lnTo>
                  <a:lnTo>
                    <a:pt x="13189490" y="3067678"/>
                  </a:lnTo>
                  <a:lnTo>
                    <a:pt x="13163988" y="3064196"/>
                  </a:lnTo>
                  <a:lnTo>
                    <a:pt x="13131732" y="3020986"/>
                  </a:lnTo>
                  <a:lnTo>
                    <a:pt x="13135617" y="2943944"/>
                  </a:lnTo>
                  <a:lnTo>
                    <a:pt x="13119999" y="2929277"/>
                  </a:lnTo>
                  <a:lnTo>
                    <a:pt x="13095381" y="2934903"/>
                  </a:lnTo>
                  <a:lnTo>
                    <a:pt x="13053399" y="2946609"/>
                  </a:lnTo>
                  <a:lnTo>
                    <a:pt x="13008949" y="2948574"/>
                  </a:lnTo>
                  <a:lnTo>
                    <a:pt x="12954481" y="2950987"/>
                  </a:lnTo>
                  <a:lnTo>
                    <a:pt x="12897666" y="2950501"/>
                  </a:lnTo>
                  <a:lnTo>
                    <a:pt x="12847083" y="3031545"/>
                  </a:lnTo>
                  <a:lnTo>
                    <a:pt x="12819878" y="3051942"/>
                  </a:lnTo>
                  <a:lnTo>
                    <a:pt x="12626733" y="3065548"/>
                  </a:lnTo>
                  <a:lnTo>
                    <a:pt x="12596773" y="3047254"/>
                  </a:lnTo>
                  <a:lnTo>
                    <a:pt x="12583214" y="3026104"/>
                  </a:lnTo>
                  <a:lnTo>
                    <a:pt x="12569636" y="3004947"/>
                  </a:lnTo>
                  <a:lnTo>
                    <a:pt x="12558279" y="2981417"/>
                  </a:lnTo>
                  <a:lnTo>
                    <a:pt x="12515209" y="2946873"/>
                  </a:lnTo>
                  <a:lnTo>
                    <a:pt x="12481871" y="2916371"/>
                  </a:lnTo>
                  <a:lnTo>
                    <a:pt x="12444466" y="2896884"/>
                  </a:lnTo>
                  <a:lnTo>
                    <a:pt x="12417946" y="2887215"/>
                  </a:lnTo>
                  <a:lnTo>
                    <a:pt x="12362185" y="2855309"/>
                  </a:lnTo>
                  <a:lnTo>
                    <a:pt x="12321794" y="2821048"/>
                  </a:lnTo>
                  <a:lnTo>
                    <a:pt x="12274442" y="2801672"/>
                  </a:lnTo>
                  <a:lnTo>
                    <a:pt x="12221056" y="2843788"/>
                  </a:lnTo>
                  <a:lnTo>
                    <a:pt x="12170256" y="2861601"/>
                  </a:lnTo>
                  <a:lnTo>
                    <a:pt x="12135703" y="2903683"/>
                  </a:lnTo>
                  <a:lnTo>
                    <a:pt x="12093411" y="2955241"/>
                  </a:lnTo>
                  <a:lnTo>
                    <a:pt x="12054626" y="3010309"/>
                  </a:lnTo>
                  <a:lnTo>
                    <a:pt x="12011924" y="3061466"/>
                  </a:lnTo>
                  <a:lnTo>
                    <a:pt x="11997138" y="3079167"/>
                  </a:lnTo>
                  <a:lnTo>
                    <a:pt x="11978078" y="3092963"/>
                  </a:lnTo>
                  <a:lnTo>
                    <a:pt x="11962957" y="3110433"/>
                  </a:lnTo>
                  <a:lnTo>
                    <a:pt x="11921983" y="3157804"/>
                  </a:lnTo>
                  <a:lnTo>
                    <a:pt x="11891535" y="3214737"/>
                  </a:lnTo>
                  <a:lnTo>
                    <a:pt x="11859583" y="3268216"/>
                  </a:lnTo>
                  <a:lnTo>
                    <a:pt x="11852756" y="3304943"/>
                  </a:lnTo>
                  <a:lnTo>
                    <a:pt x="11882425" y="3321622"/>
                  </a:lnTo>
                  <a:lnTo>
                    <a:pt x="11917794" y="3340840"/>
                  </a:lnTo>
                  <a:lnTo>
                    <a:pt x="11942533" y="3364792"/>
                  </a:lnTo>
                  <a:lnTo>
                    <a:pt x="11877244" y="3389272"/>
                  </a:lnTo>
                  <a:lnTo>
                    <a:pt x="11851094" y="3408127"/>
                  </a:lnTo>
                  <a:lnTo>
                    <a:pt x="11821775" y="3432983"/>
                  </a:lnTo>
                  <a:lnTo>
                    <a:pt x="11791541" y="3440964"/>
                  </a:lnTo>
                  <a:lnTo>
                    <a:pt x="11760051" y="3413238"/>
                  </a:lnTo>
                  <a:lnTo>
                    <a:pt x="11743941" y="3397436"/>
                  </a:lnTo>
                  <a:lnTo>
                    <a:pt x="11727836" y="3381629"/>
                  </a:lnTo>
                  <a:lnTo>
                    <a:pt x="11711592" y="3367878"/>
                  </a:lnTo>
                  <a:lnTo>
                    <a:pt x="11679430" y="3376840"/>
                  </a:lnTo>
                  <a:lnTo>
                    <a:pt x="11664544" y="3400450"/>
                  </a:lnTo>
                  <a:lnTo>
                    <a:pt x="11648731" y="3421917"/>
                  </a:lnTo>
                  <a:lnTo>
                    <a:pt x="11632915" y="3443384"/>
                  </a:lnTo>
                  <a:lnTo>
                    <a:pt x="11616144" y="3462403"/>
                  </a:lnTo>
                  <a:lnTo>
                    <a:pt x="11591649" y="3457832"/>
                  </a:lnTo>
                  <a:lnTo>
                    <a:pt x="11531362" y="3406398"/>
                  </a:lnTo>
                  <a:lnTo>
                    <a:pt x="11541563" y="3361725"/>
                  </a:lnTo>
                  <a:lnTo>
                    <a:pt x="11565800" y="3334263"/>
                  </a:lnTo>
                  <a:lnTo>
                    <a:pt x="11591597" y="3307660"/>
                  </a:lnTo>
                  <a:lnTo>
                    <a:pt x="11617403" y="3281056"/>
                  </a:lnTo>
                  <a:lnTo>
                    <a:pt x="11644524" y="3254625"/>
                  </a:lnTo>
                  <a:lnTo>
                    <a:pt x="11663695" y="3224690"/>
                  </a:lnTo>
                  <a:lnTo>
                    <a:pt x="11643116" y="3188833"/>
                  </a:lnTo>
                  <a:lnTo>
                    <a:pt x="11541814" y="3102572"/>
                  </a:lnTo>
                  <a:lnTo>
                    <a:pt x="11511350" y="3081863"/>
                  </a:lnTo>
                  <a:lnTo>
                    <a:pt x="11528286" y="3005844"/>
                  </a:lnTo>
                  <a:lnTo>
                    <a:pt x="11570506" y="2959258"/>
                  </a:lnTo>
                  <a:lnTo>
                    <a:pt x="11590220" y="2902317"/>
                  </a:lnTo>
                  <a:lnTo>
                    <a:pt x="11571564" y="2867602"/>
                  </a:lnTo>
                  <a:lnTo>
                    <a:pt x="11547708" y="2837160"/>
                  </a:lnTo>
                  <a:lnTo>
                    <a:pt x="11520847" y="2809824"/>
                  </a:lnTo>
                  <a:lnTo>
                    <a:pt x="11493987" y="2782495"/>
                  </a:lnTo>
                  <a:lnTo>
                    <a:pt x="11464559" y="2758687"/>
                  </a:lnTo>
                  <a:lnTo>
                    <a:pt x="11433795" y="2735018"/>
                  </a:lnTo>
                  <a:lnTo>
                    <a:pt x="11372277" y="2687673"/>
                  </a:lnTo>
                  <a:lnTo>
                    <a:pt x="11306988" y="2643223"/>
                  </a:lnTo>
                  <a:lnTo>
                    <a:pt x="11255614" y="2588116"/>
                  </a:lnTo>
                  <a:lnTo>
                    <a:pt x="11214984" y="2544570"/>
                  </a:lnTo>
                  <a:lnTo>
                    <a:pt x="11173700" y="2501064"/>
                  </a:lnTo>
                  <a:lnTo>
                    <a:pt x="11122311" y="2469778"/>
                  </a:lnTo>
                  <a:lnTo>
                    <a:pt x="11094567" y="2452901"/>
                  </a:lnTo>
                  <a:lnTo>
                    <a:pt x="11063734" y="2443358"/>
                  </a:lnTo>
                  <a:lnTo>
                    <a:pt x="11039342" y="2420810"/>
                  </a:lnTo>
                  <a:lnTo>
                    <a:pt x="11031302" y="2400598"/>
                  </a:lnTo>
                  <a:lnTo>
                    <a:pt x="11053704" y="2335757"/>
                  </a:lnTo>
                  <a:lnTo>
                    <a:pt x="11092536" y="2313815"/>
                  </a:lnTo>
                  <a:lnTo>
                    <a:pt x="11127495" y="2295111"/>
                  </a:lnTo>
                  <a:lnTo>
                    <a:pt x="11153599" y="2271185"/>
                  </a:lnTo>
                  <a:lnTo>
                    <a:pt x="11177228" y="2246316"/>
                  </a:lnTo>
                  <a:lnTo>
                    <a:pt x="11189810" y="2217173"/>
                  </a:lnTo>
                  <a:lnTo>
                    <a:pt x="11186217" y="2184140"/>
                  </a:lnTo>
                  <a:lnTo>
                    <a:pt x="11172295" y="2165733"/>
                  </a:lnTo>
                  <a:lnTo>
                    <a:pt x="11142697" y="2147412"/>
                  </a:lnTo>
                  <a:lnTo>
                    <a:pt x="11111924" y="2136208"/>
                  </a:lnTo>
                  <a:lnTo>
                    <a:pt x="11083677" y="2131413"/>
                  </a:lnTo>
                  <a:lnTo>
                    <a:pt x="11059719" y="2125649"/>
                  </a:lnTo>
                  <a:lnTo>
                    <a:pt x="11036598" y="2103886"/>
                  </a:lnTo>
                  <a:lnTo>
                    <a:pt x="11029054" y="2083462"/>
                  </a:lnTo>
                  <a:lnTo>
                    <a:pt x="11022155" y="2058428"/>
                  </a:lnTo>
                  <a:lnTo>
                    <a:pt x="11010758" y="2037238"/>
                  </a:lnTo>
                  <a:lnTo>
                    <a:pt x="10999341" y="2016041"/>
                  </a:lnTo>
                  <a:lnTo>
                    <a:pt x="10983699" y="1998149"/>
                  </a:lnTo>
                  <a:lnTo>
                    <a:pt x="10959062" y="1990987"/>
                  </a:lnTo>
                  <a:lnTo>
                    <a:pt x="10944204" y="1962339"/>
                  </a:lnTo>
                  <a:lnTo>
                    <a:pt x="10921083" y="1960770"/>
                  </a:lnTo>
                  <a:lnTo>
                    <a:pt x="10897847" y="1958343"/>
                  </a:lnTo>
                  <a:lnTo>
                    <a:pt x="10874614" y="1955916"/>
                  </a:lnTo>
                  <a:lnTo>
                    <a:pt x="10850699" y="1952744"/>
                  </a:lnTo>
                  <a:lnTo>
                    <a:pt x="10836641" y="1936580"/>
                  </a:lnTo>
                  <a:lnTo>
                    <a:pt x="10835466" y="1910945"/>
                  </a:lnTo>
                  <a:lnTo>
                    <a:pt x="10860739" y="1874093"/>
                  </a:lnTo>
                  <a:lnTo>
                    <a:pt x="10850237" y="1853609"/>
                  </a:lnTo>
                  <a:lnTo>
                    <a:pt x="10801363" y="1842418"/>
                  </a:lnTo>
                  <a:lnTo>
                    <a:pt x="10769985" y="1838646"/>
                  </a:lnTo>
                  <a:lnTo>
                    <a:pt x="10738613" y="1834873"/>
                  </a:lnTo>
                  <a:lnTo>
                    <a:pt x="10708692" y="1829933"/>
                  </a:lnTo>
                  <a:lnTo>
                    <a:pt x="10690148" y="1809846"/>
                  </a:lnTo>
                  <a:lnTo>
                    <a:pt x="10670369" y="1786255"/>
                  </a:lnTo>
                  <a:lnTo>
                    <a:pt x="10648922" y="1765198"/>
                  </a:lnTo>
                  <a:lnTo>
                    <a:pt x="10627497" y="1744134"/>
                  </a:lnTo>
                  <a:lnTo>
                    <a:pt x="10604962" y="1726341"/>
                  </a:lnTo>
                  <a:lnTo>
                    <a:pt x="10569994" y="1731465"/>
                  </a:lnTo>
                  <a:lnTo>
                    <a:pt x="10459055" y="1752510"/>
                  </a:lnTo>
                  <a:lnTo>
                    <a:pt x="10434021" y="1731187"/>
                  </a:lnTo>
                  <a:lnTo>
                    <a:pt x="10442985" y="1700040"/>
                  </a:lnTo>
                  <a:lnTo>
                    <a:pt x="10468580" y="1675290"/>
                  </a:lnTo>
                  <a:lnTo>
                    <a:pt x="10503393" y="1655017"/>
                  </a:lnTo>
                  <a:lnTo>
                    <a:pt x="10539658" y="1635793"/>
                  </a:lnTo>
                  <a:lnTo>
                    <a:pt x="10579776" y="1621588"/>
                  </a:lnTo>
                  <a:lnTo>
                    <a:pt x="10593161" y="1604691"/>
                  </a:lnTo>
                  <a:lnTo>
                    <a:pt x="10618921" y="1572132"/>
                  </a:lnTo>
                  <a:lnTo>
                    <a:pt x="10645112" y="1527498"/>
                  </a:lnTo>
                  <a:lnTo>
                    <a:pt x="10662540" y="1489077"/>
                  </a:lnTo>
                  <a:lnTo>
                    <a:pt x="10646653" y="1465974"/>
                  </a:lnTo>
                  <a:lnTo>
                    <a:pt x="10544392" y="1360878"/>
                  </a:lnTo>
                  <a:lnTo>
                    <a:pt x="10553719" y="1295924"/>
                  </a:lnTo>
                  <a:lnTo>
                    <a:pt x="10558717" y="1264262"/>
                  </a:lnTo>
                  <a:lnTo>
                    <a:pt x="10584998" y="1229277"/>
                  </a:lnTo>
                  <a:lnTo>
                    <a:pt x="10564000" y="1207777"/>
                  </a:lnTo>
                  <a:lnTo>
                    <a:pt x="10516034" y="1171023"/>
                  </a:lnTo>
                  <a:lnTo>
                    <a:pt x="10468025" y="1139507"/>
                  </a:lnTo>
                  <a:lnTo>
                    <a:pt x="10420022" y="1107984"/>
                  </a:lnTo>
                  <a:lnTo>
                    <a:pt x="10371857" y="1081162"/>
                  </a:lnTo>
                  <a:lnTo>
                    <a:pt x="10348327" y="1076934"/>
                  </a:lnTo>
                  <a:lnTo>
                    <a:pt x="10310407" y="1110983"/>
                  </a:lnTo>
                  <a:lnTo>
                    <a:pt x="10261188" y="1135207"/>
                  </a:lnTo>
                  <a:lnTo>
                    <a:pt x="10224595" y="1138569"/>
                  </a:lnTo>
                  <a:lnTo>
                    <a:pt x="10190544" y="1149023"/>
                  </a:lnTo>
                  <a:lnTo>
                    <a:pt x="10139329" y="1164752"/>
                  </a:lnTo>
                  <a:lnTo>
                    <a:pt x="10097496" y="1189957"/>
                  </a:lnTo>
                  <a:lnTo>
                    <a:pt x="10051799" y="1217036"/>
                  </a:lnTo>
                  <a:lnTo>
                    <a:pt x="10020263" y="1243594"/>
                  </a:lnTo>
                  <a:lnTo>
                    <a:pt x="10001474" y="1256480"/>
                  </a:lnTo>
                  <a:lnTo>
                    <a:pt x="9982700" y="1269368"/>
                  </a:lnTo>
                  <a:lnTo>
                    <a:pt x="9961985" y="1277736"/>
                  </a:lnTo>
                  <a:lnTo>
                    <a:pt x="9941626" y="1268721"/>
                  </a:lnTo>
                  <a:lnTo>
                    <a:pt x="9858471" y="1321809"/>
                  </a:lnTo>
                  <a:lnTo>
                    <a:pt x="9840975" y="1334010"/>
                  </a:lnTo>
                  <a:lnTo>
                    <a:pt x="9809687" y="1297290"/>
                  </a:lnTo>
                  <a:lnTo>
                    <a:pt x="9790649" y="1282333"/>
                  </a:lnTo>
                  <a:lnTo>
                    <a:pt x="9757873" y="1267475"/>
                  </a:lnTo>
                  <a:lnTo>
                    <a:pt x="9720585" y="1252807"/>
                  </a:lnTo>
                  <a:lnTo>
                    <a:pt x="9699619" y="1254581"/>
                  </a:lnTo>
                  <a:lnTo>
                    <a:pt x="9658598" y="1255655"/>
                  </a:lnTo>
                  <a:lnTo>
                    <a:pt x="9620619" y="1241523"/>
                  </a:lnTo>
                  <a:lnTo>
                    <a:pt x="9591291" y="1218659"/>
                  </a:lnTo>
                  <a:lnTo>
                    <a:pt x="9566257" y="1202950"/>
                  </a:lnTo>
                  <a:lnTo>
                    <a:pt x="9536290" y="1203438"/>
                  </a:lnTo>
                  <a:lnTo>
                    <a:pt x="9483583" y="1258926"/>
                  </a:lnTo>
                  <a:lnTo>
                    <a:pt x="9445591" y="1254832"/>
                  </a:lnTo>
                  <a:lnTo>
                    <a:pt x="9427481" y="1221118"/>
                  </a:lnTo>
                  <a:lnTo>
                    <a:pt x="9412089" y="1186937"/>
                  </a:lnTo>
                  <a:lnTo>
                    <a:pt x="9357252" y="1175462"/>
                  </a:lnTo>
                  <a:lnTo>
                    <a:pt x="9330563" y="1179063"/>
                  </a:lnTo>
                  <a:lnTo>
                    <a:pt x="9306412" y="1183033"/>
                  </a:lnTo>
                  <a:lnTo>
                    <a:pt x="9282268" y="1187010"/>
                  </a:lnTo>
                  <a:lnTo>
                    <a:pt x="9260734" y="1192490"/>
                  </a:lnTo>
                  <a:lnTo>
                    <a:pt x="9232965" y="1187109"/>
                  </a:lnTo>
                  <a:lnTo>
                    <a:pt x="9202542" y="1162918"/>
                  </a:lnTo>
                  <a:lnTo>
                    <a:pt x="9182646" y="1139507"/>
                  </a:lnTo>
                  <a:lnTo>
                    <a:pt x="9162728" y="1116089"/>
                  </a:lnTo>
                  <a:lnTo>
                    <a:pt x="9139811" y="1090144"/>
                  </a:lnTo>
                  <a:lnTo>
                    <a:pt x="9114625" y="1078292"/>
                  </a:lnTo>
                  <a:lnTo>
                    <a:pt x="9092710" y="1085501"/>
                  </a:lnTo>
                  <a:lnTo>
                    <a:pt x="9055370" y="1121080"/>
                  </a:lnTo>
                  <a:lnTo>
                    <a:pt x="8875229" y="1086458"/>
                  </a:lnTo>
                  <a:lnTo>
                    <a:pt x="8847572" y="1080996"/>
                  </a:lnTo>
                  <a:lnTo>
                    <a:pt x="8817326" y="1091529"/>
                  </a:lnTo>
                  <a:lnTo>
                    <a:pt x="8788177" y="1101415"/>
                  </a:lnTo>
                  <a:lnTo>
                    <a:pt x="8759047" y="1111307"/>
                  </a:lnTo>
                  <a:lnTo>
                    <a:pt x="8730776" y="1120302"/>
                  </a:lnTo>
                  <a:lnTo>
                    <a:pt x="8706567" y="1109579"/>
                  </a:lnTo>
                  <a:lnTo>
                    <a:pt x="8681312" y="1098401"/>
                  </a:lnTo>
                  <a:lnTo>
                    <a:pt x="8662110" y="1079506"/>
                  </a:lnTo>
                  <a:lnTo>
                    <a:pt x="8644006" y="1059253"/>
                  </a:lnTo>
                  <a:lnTo>
                    <a:pt x="8625877" y="1038994"/>
                  </a:lnTo>
                  <a:lnTo>
                    <a:pt x="8608731" y="1016828"/>
                  </a:lnTo>
                  <a:lnTo>
                    <a:pt x="8589597" y="998040"/>
                  </a:lnTo>
                  <a:lnTo>
                    <a:pt x="8566172" y="975049"/>
                  </a:lnTo>
                  <a:lnTo>
                    <a:pt x="8485954" y="913968"/>
                  </a:lnTo>
                  <a:lnTo>
                    <a:pt x="8459019" y="900111"/>
                  </a:lnTo>
                  <a:lnTo>
                    <a:pt x="8421824" y="880960"/>
                  </a:lnTo>
                  <a:lnTo>
                    <a:pt x="8375269" y="879621"/>
                  </a:lnTo>
                  <a:lnTo>
                    <a:pt x="8342031" y="851137"/>
                  </a:lnTo>
                  <a:lnTo>
                    <a:pt x="8317229" y="829869"/>
                  </a:lnTo>
                  <a:lnTo>
                    <a:pt x="8293004" y="792952"/>
                  </a:lnTo>
                  <a:lnTo>
                    <a:pt x="8268590" y="758644"/>
                  </a:lnTo>
                  <a:lnTo>
                    <a:pt x="8244158" y="724343"/>
                  </a:lnTo>
                  <a:lnTo>
                    <a:pt x="8218785" y="692102"/>
                  </a:lnTo>
                  <a:lnTo>
                    <a:pt x="8195131" y="679755"/>
                  </a:lnTo>
                  <a:lnTo>
                    <a:pt x="8101391" y="636738"/>
                  </a:lnTo>
                  <a:lnTo>
                    <a:pt x="8107009" y="599225"/>
                  </a:lnTo>
                  <a:lnTo>
                    <a:pt x="8108091" y="574870"/>
                  </a:lnTo>
                  <a:lnTo>
                    <a:pt x="8109437" y="553259"/>
                  </a:lnTo>
                  <a:lnTo>
                    <a:pt x="8062851" y="526180"/>
                  </a:lnTo>
                  <a:lnTo>
                    <a:pt x="8011211" y="513491"/>
                  </a:lnTo>
                  <a:lnTo>
                    <a:pt x="7978856" y="494768"/>
                  </a:lnTo>
                  <a:lnTo>
                    <a:pt x="7957093" y="474365"/>
                  </a:lnTo>
                  <a:lnTo>
                    <a:pt x="7924878" y="443612"/>
                  </a:lnTo>
                  <a:lnTo>
                    <a:pt x="7842145" y="387226"/>
                  </a:lnTo>
                  <a:lnTo>
                    <a:pt x="7827885" y="365548"/>
                  </a:lnTo>
                  <a:lnTo>
                    <a:pt x="7815836" y="292886"/>
                  </a:lnTo>
                  <a:lnTo>
                    <a:pt x="7769523" y="257220"/>
                  </a:lnTo>
                  <a:lnTo>
                    <a:pt x="7736278" y="230043"/>
                  </a:lnTo>
                  <a:lnTo>
                    <a:pt x="7700017" y="206408"/>
                  </a:lnTo>
                  <a:lnTo>
                    <a:pt x="7663781" y="182770"/>
                  </a:lnTo>
                  <a:lnTo>
                    <a:pt x="7624400" y="163144"/>
                  </a:lnTo>
                  <a:lnTo>
                    <a:pt x="7584402" y="156080"/>
                  </a:lnTo>
                  <a:lnTo>
                    <a:pt x="7559750" y="151723"/>
                  </a:lnTo>
                  <a:lnTo>
                    <a:pt x="7529442" y="160156"/>
                  </a:lnTo>
                  <a:lnTo>
                    <a:pt x="7504156" y="157440"/>
                  </a:lnTo>
                  <a:lnTo>
                    <a:pt x="7481339" y="154994"/>
                  </a:lnTo>
                  <a:lnTo>
                    <a:pt x="7457610" y="142838"/>
                  </a:lnTo>
                  <a:lnTo>
                    <a:pt x="7434784" y="139753"/>
                  </a:lnTo>
                  <a:lnTo>
                    <a:pt x="7400311" y="135077"/>
                  </a:lnTo>
                  <a:lnTo>
                    <a:pt x="7343552" y="158330"/>
                  </a:lnTo>
                  <a:lnTo>
                    <a:pt x="7311011" y="168322"/>
                  </a:lnTo>
                  <a:lnTo>
                    <a:pt x="7281835" y="154921"/>
                  </a:lnTo>
                  <a:lnTo>
                    <a:pt x="7266199" y="126166"/>
                  </a:lnTo>
                  <a:lnTo>
                    <a:pt x="7248972" y="100447"/>
                  </a:lnTo>
                  <a:lnTo>
                    <a:pt x="7201418" y="98679"/>
                  </a:lnTo>
                  <a:lnTo>
                    <a:pt x="7184554" y="111249"/>
                  </a:lnTo>
                  <a:lnTo>
                    <a:pt x="7169622" y="126166"/>
                  </a:lnTo>
                  <a:lnTo>
                    <a:pt x="7154674" y="141084"/>
                  </a:lnTo>
                  <a:lnTo>
                    <a:pt x="7117932" y="166970"/>
                  </a:lnTo>
                  <a:lnTo>
                    <a:pt x="7078204" y="159576"/>
                  </a:lnTo>
                  <a:lnTo>
                    <a:pt x="7043391" y="136283"/>
                  </a:lnTo>
                  <a:lnTo>
                    <a:pt x="7028657" y="121154"/>
                  </a:lnTo>
                  <a:lnTo>
                    <a:pt x="6987183" y="82575"/>
                  </a:lnTo>
                  <a:lnTo>
                    <a:pt x="6940101" y="45735"/>
                  </a:lnTo>
                  <a:lnTo>
                    <a:pt x="6890777" y="22791"/>
                  </a:lnTo>
                  <a:lnTo>
                    <a:pt x="6866118" y="11323"/>
                  </a:lnTo>
                  <a:lnTo>
                    <a:pt x="6841719" y="2057"/>
                  </a:lnTo>
                  <a:lnTo>
                    <a:pt x="6817330" y="1028"/>
                  </a:lnTo>
                  <a:lnTo>
                    <a:pt x="6792941" y="0"/>
                  </a:lnTo>
                  <a:lnTo>
                    <a:pt x="6768911" y="6463"/>
                  </a:lnTo>
                  <a:lnTo>
                    <a:pt x="6747951" y="22791"/>
                  </a:lnTo>
                  <a:lnTo>
                    <a:pt x="6735474" y="47120"/>
                  </a:lnTo>
                  <a:lnTo>
                    <a:pt x="6724501" y="96438"/>
                  </a:lnTo>
                  <a:lnTo>
                    <a:pt x="6720753" y="136289"/>
                  </a:lnTo>
                  <a:lnTo>
                    <a:pt x="6707157" y="166970"/>
                  </a:lnTo>
                  <a:lnTo>
                    <a:pt x="6690358" y="196073"/>
                  </a:lnTo>
                  <a:lnTo>
                    <a:pt x="6664105" y="214044"/>
                  </a:lnTo>
                  <a:lnTo>
                    <a:pt x="6624179" y="217302"/>
                  </a:lnTo>
                  <a:lnTo>
                    <a:pt x="6601210" y="214010"/>
                  </a:lnTo>
                  <a:lnTo>
                    <a:pt x="6577757" y="192168"/>
                  </a:lnTo>
                  <a:lnTo>
                    <a:pt x="6568827" y="158330"/>
                  </a:lnTo>
                  <a:lnTo>
                    <a:pt x="6583375" y="130242"/>
                  </a:lnTo>
                  <a:lnTo>
                    <a:pt x="6608905" y="108736"/>
                  </a:lnTo>
                  <a:lnTo>
                    <a:pt x="6626901" y="97597"/>
                  </a:lnTo>
                  <a:lnTo>
                    <a:pt x="6630991" y="75840"/>
                  </a:lnTo>
                  <a:lnTo>
                    <a:pt x="6581642" y="43163"/>
                  </a:lnTo>
                  <a:lnTo>
                    <a:pt x="6545291" y="28232"/>
                  </a:lnTo>
                  <a:lnTo>
                    <a:pt x="6508946" y="13302"/>
                  </a:lnTo>
                  <a:lnTo>
                    <a:pt x="6472008" y="2525"/>
                  </a:lnTo>
                  <a:lnTo>
                    <a:pt x="6456161" y="18565"/>
                  </a:lnTo>
                  <a:lnTo>
                    <a:pt x="6432268" y="60772"/>
                  </a:lnTo>
                  <a:lnTo>
                    <a:pt x="6400751" y="68177"/>
                  </a:lnTo>
                  <a:lnTo>
                    <a:pt x="6368467" y="54071"/>
                  </a:lnTo>
                  <a:lnTo>
                    <a:pt x="6336714" y="38916"/>
                  </a:lnTo>
                  <a:lnTo>
                    <a:pt x="6274417" y="59320"/>
                  </a:lnTo>
                  <a:lnTo>
                    <a:pt x="6244642" y="74462"/>
                  </a:lnTo>
                  <a:lnTo>
                    <a:pt x="6225648" y="88081"/>
                  </a:lnTo>
                  <a:lnTo>
                    <a:pt x="6206660" y="101699"/>
                  </a:lnTo>
                  <a:lnTo>
                    <a:pt x="6191638" y="126166"/>
                  </a:lnTo>
                  <a:lnTo>
                    <a:pt x="6184234" y="150752"/>
                  </a:lnTo>
                  <a:lnTo>
                    <a:pt x="6174557" y="172310"/>
                  </a:lnTo>
                  <a:lnTo>
                    <a:pt x="6150837" y="191457"/>
                  </a:lnTo>
                  <a:lnTo>
                    <a:pt x="6118641" y="208919"/>
                  </a:lnTo>
                  <a:lnTo>
                    <a:pt x="6083338" y="216945"/>
                  </a:lnTo>
                  <a:lnTo>
                    <a:pt x="6047461" y="224101"/>
                  </a:lnTo>
                  <a:lnTo>
                    <a:pt x="6011584" y="231249"/>
                  </a:lnTo>
                  <a:lnTo>
                    <a:pt x="5974581" y="236427"/>
                  </a:lnTo>
                  <a:lnTo>
                    <a:pt x="5940010" y="245864"/>
                  </a:lnTo>
                  <a:lnTo>
                    <a:pt x="5887687" y="260122"/>
                  </a:lnTo>
                  <a:lnTo>
                    <a:pt x="5840540" y="289899"/>
                  </a:lnTo>
                  <a:lnTo>
                    <a:pt x="5786301" y="294832"/>
                  </a:lnTo>
                  <a:lnTo>
                    <a:pt x="5747240" y="298360"/>
                  </a:lnTo>
                  <a:lnTo>
                    <a:pt x="5710092" y="293109"/>
                  </a:lnTo>
                  <a:lnTo>
                    <a:pt x="5670681" y="305713"/>
                  </a:lnTo>
                  <a:lnTo>
                    <a:pt x="5642645" y="314682"/>
                  </a:lnTo>
                  <a:lnTo>
                    <a:pt x="5622866" y="340415"/>
                  </a:lnTo>
                  <a:lnTo>
                    <a:pt x="5598598" y="353321"/>
                  </a:lnTo>
                  <a:lnTo>
                    <a:pt x="5547804" y="380335"/>
                  </a:lnTo>
                  <a:lnTo>
                    <a:pt x="5490450" y="396294"/>
                  </a:lnTo>
                  <a:lnTo>
                    <a:pt x="5439457" y="425410"/>
                  </a:lnTo>
                  <a:lnTo>
                    <a:pt x="5395206" y="450683"/>
                  </a:lnTo>
                  <a:lnTo>
                    <a:pt x="5351891" y="482285"/>
                  </a:lnTo>
                  <a:lnTo>
                    <a:pt x="5308876" y="509739"/>
                  </a:lnTo>
                  <a:lnTo>
                    <a:pt x="5274664" y="531575"/>
                  </a:lnTo>
                  <a:lnTo>
                    <a:pt x="5243733" y="557902"/>
                  </a:lnTo>
                  <a:lnTo>
                    <a:pt x="5210938" y="575029"/>
                  </a:lnTo>
                  <a:lnTo>
                    <a:pt x="5178010" y="589552"/>
                  </a:lnTo>
                  <a:lnTo>
                    <a:pt x="5140511" y="593158"/>
                  </a:lnTo>
                  <a:lnTo>
                    <a:pt x="5119570" y="590514"/>
                  </a:lnTo>
                  <a:lnTo>
                    <a:pt x="5096688" y="581828"/>
                  </a:lnTo>
                  <a:lnTo>
                    <a:pt x="5062293" y="568796"/>
                  </a:lnTo>
                  <a:lnTo>
                    <a:pt x="5036409" y="547568"/>
                  </a:lnTo>
                  <a:lnTo>
                    <a:pt x="4997388" y="547826"/>
                  </a:lnTo>
                  <a:lnTo>
                    <a:pt x="4976614" y="566356"/>
                  </a:lnTo>
                  <a:lnTo>
                    <a:pt x="4998753" y="640319"/>
                  </a:lnTo>
                  <a:lnTo>
                    <a:pt x="4996663" y="678272"/>
                  </a:lnTo>
                  <a:lnTo>
                    <a:pt x="4982338" y="710369"/>
                  </a:lnTo>
                  <a:lnTo>
                    <a:pt x="4962026" y="738253"/>
                  </a:lnTo>
                  <a:lnTo>
                    <a:pt x="4941708" y="766142"/>
                  </a:lnTo>
                  <a:lnTo>
                    <a:pt x="4915564" y="789687"/>
                  </a:lnTo>
                  <a:lnTo>
                    <a:pt x="4888570" y="811707"/>
                  </a:lnTo>
                  <a:lnTo>
                    <a:pt x="4861586" y="833727"/>
                  </a:lnTo>
                  <a:lnTo>
                    <a:pt x="4834539" y="853922"/>
                  </a:lnTo>
                  <a:lnTo>
                    <a:pt x="4812401" y="874272"/>
                  </a:lnTo>
                  <a:lnTo>
                    <a:pt x="4790269" y="894631"/>
                  </a:lnTo>
                  <a:lnTo>
                    <a:pt x="4773259" y="915313"/>
                  </a:lnTo>
                  <a:lnTo>
                    <a:pt x="4767508" y="938203"/>
                  </a:lnTo>
                  <a:lnTo>
                    <a:pt x="4789066" y="970894"/>
                  </a:lnTo>
                  <a:lnTo>
                    <a:pt x="4843686" y="965408"/>
                  </a:lnTo>
                  <a:lnTo>
                    <a:pt x="4864085" y="973572"/>
                  </a:lnTo>
                  <a:lnTo>
                    <a:pt x="4867309" y="997993"/>
                  </a:lnTo>
                  <a:lnTo>
                    <a:pt x="4858135" y="1025322"/>
                  </a:lnTo>
                  <a:lnTo>
                    <a:pt x="4839612" y="1041578"/>
                  </a:lnTo>
                  <a:lnTo>
                    <a:pt x="4788012" y="1039561"/>
                  </a:lnTo>
                  <a:lnTo>
                    <a:pt x="4749062" y="1044659"/>
                  </a:lnTo>
                  <a:lnTo>
                    <a:pt x="4719914" y="1055184"/>
                  </a:lnTo>
                  <a:lnTo>
                    <a:pt x="4690765" y="1065702"/>
                  </a:lnTo>
                  <a:lnTo>
                    <a:pt x="4671690" y="1082005"/>
                  </a:lnTo>
                  <a:lnTo>
                    <a:pt x="4655989" y="1104151"/>
                  </a:lnTo>
                  <a:lnTo>
                    <a:pt x="4640266" y="1126291"/>
                  </a:lnTo>
                  <a:lnTo>
                    <a:pt x="4627848" y="1154266"/>
                  </a:lnTo>
                  <a:lnTo>
                    <a:pt x="4616537" y="1187121"/>
                  </a:lnTo>
                  <a:lnTo>
                    <a:pt x="4605229" y="1219971"/>
                  </a:lnTo>
                  <a:lnTo>
                    <a:pt x="4594380" y="1257378"/>
                  </a:lnTo>
                  <a:lnTo>
                    <a:pt x="4578453" y="1300020"/>
                  </a:lnTo>
                  <a:lnTo>
                    <a:pt x="4569331" y="1324422"/>
                  </a:lnTo>
                  <a:lnTo>
                    <a:pt x="4553108" y="1347919"/>
                  </a:lnTo>
                  <a:lnTo>
                    <a:pt x="4543090" y="1372109"/>
                  </a:lnTo>
                  <a:lnTo>
                    <a:pt x="4528313" y="1425837"/>
                  </a:lnTo>
                  <a:lnTo>
                    <a:pt x="4525405" y="1463244"/>
                  </a:lnTo>
                  <a:lnTo>
                    <a:pt x="4522496" y="1500643"/>
                  </a:lnTo>
                  <a:lnTo>
                    <a:pt x="4525436" y="1537832"/>
                  </a:lnTo>
                  <a:lnTo>
                    <a:pt x="4555152" y="1571064"/>
                  </a:lnTo>
                  <a:lnTo>
                    <a:pt x="4573988" y="1583297"/>
                  </a:lnTo>
                  <a:lnTo>
                    <a:pt x="4590694" y="1599264"/>
                  </a:lnTo>
                  <a:lnTo>
                    <a:pt x="4606091" y="1613970"/>
                  </a:lnTo>
                  <a:lnTo>
                    <a:pt x="4626192" y="1630155"/>
                  </a:lnTo>
                  <a:lnTo>
                    <a:pt x="4642377" y="1648231"/>
                  </a:lnTo>
                  <a:lnTo>
                    <a:pt x="4658581" y="1666294"/>
                  </a:lnTo>
                  <a:lnTo>
                    <a:pt x="4671743" y="1686824"/>
                  </a:lnTo>
                  <a:lnTo>
                    <a:pt x="4672310" y="1710796"/>
                  </a:lnTo>
                  <a:lnTo>
                    <a:pt x="4669566" y="1732559"/>
                  </a:lnTo>
                  <a:lnTo>
                    <a:pt x="4681808" y="1826413"/>
                  </a:lnTo>
                  <a:lnTo>
                    <a:pt x="4675008" y="1846816"/>
                  </a:lnTo>
                  <a:lnTo>
                    <a:pt x="4631305" y="1853577"/>
                  </a:lnTo>
                  <a:lnTo>
                    <a:pt x="4600197" y="1845458"/>
                  </a:lnTo>
                  <a:lnTo>
                    <a:pt x="4599735" y="1869272"/>
                  </a:lnTo>
                  <a:lnTo>
                    <a:pt x="4589314" y="1894425"/>
                  </a:lnTo>
                  <a:lnTo>
                    <a:pt x="4575519" y="1913082"/>
                  </a:lnTo>
                  <a:lnTo>
                    <a:pt x="4559592" y="1927459"/>
                  </a:lnTo>
                  <a:lnTo>
                    <a:pt x="4544424" y="1947475"/>
                  </a:lnTo>
                  <a:lnTo>
                    <a:pt x="4533435" y="1976486"/>
                  </a:lnTo>
                  <a:lnTo>
                    <a:pt x="4532189" y="2003241"/>
                  </a:lnTo>
                  <a:lnTo>
                    <a:pt x="4531094" y="2031890"/>
                  </a:lnTo>
                  <a:lnTo>
                    <a:pt x="4549633" y="2053230"/>
                  </a:lnTo>
                  <a:lnTo>
                    <a:pt x="4603105" y="2081944"/>
                  </a:lnTo>
                  <a:lnTo>
                    <a:pt x="4611058" y="2114781"/>
                  </a:lnTo>
                  <a:lnTo>
                    <a:pt x="4596095" y="2141542"/>
                  </a:lnTo>
                  <a:lnTo>
                    <a:pt x="4570769" y="2169446"/>
                  </a:lnTo>
                  <a:lnTo>
                    <a:pt x="4543044" y="2195027"/>
                  </a:lnTo>
                  <a:lnTo>
                    <a:pt x="4515319" y="2220609"/>
                  </a:lnTo>
                  <a:lnTo>
                    <a:pt x="4485094" y="2244759"/>
                  </a:lnTo>
                  <a:lnTo>
                    <a:pt x="4460075" y="2261676"/>
                  </a:lnTo>
                  <a:lnTo>
                    <a:pt x="4441503" y="2274240"/>
                  </a:lnTo>
                  <a:lnTo>
                    <a:pt x="4420038" y="2281593"/>
                  </a:lnTo>
                  <a:lnTo>
                    <a:pt x="4401583" y="2294320"/>
                  </a:lnTo>
                  <a:lnTo>
                    <a:pt x="4383137" y="2307016"/>
                  </a:lnTo>
                  <a:lnTo>
                    <a:pt x="4366816" y="2323503"/>
                  </a:lnTo>
                  <a:lnTo>
                    <a:pt x="4347177" y="2336488"/>
                  </a:lnTo>
                  <a:lnTo>
                    <a:pt x="4322400" y="2333065"/>
                  </a:lnTo>
                  <a:lnTo>
                    <a:pt x="4294086" y="2306270"/>
                  </a:lnTo>
                  <a:lnTo>
                    <a:pt x="4273894" y="2283208"/>
                  </a:lnTo>
                  <a:lnTo>
                    <a:pt x="4251958" y="2265758"/>
                  </a:lnTo>
                  <a:lnTo>
                    <a:pt x="4218813" y="2239366"/>
                  </a:lnTo>
                  <a:lnTo>
                    <a:pt x="4178728" y="2221275"/>
                  </a:lnTo>
                  <a:lnTo>
                    <a:pt x="4145865" y="2192310"/>
                  </a:lnTo>
                  <a:lnTo>
                    <a:pt x="4120583" y="2170040"/>
                  </a:lnTo>
                  <a:lnTo>
                    <a:pt x="4101272" y="2144108"/>
                  </a:lnTo>
                  <a:lnTo>
                    <a:pt x="4072418" y="2125656"/>
                  </a:lnTo>
                  <a:lnTo>
                    <a:pt x="4006912" y="2083811"/>
                  </a:lnTo>
                  <a:lnTo>
                    <a:pt x="3938188" y="2049914"/>
                  </a:lnTo>
                  <a:lnTo>
                    <a:pt x="3871110" y="2011406"/>
                  </a:lnTo>
                  <a:lnTo>
                    <a:pt x="3760124" y="1947771"/>
                  </a:lnTo>
                  <a:lnTo>
                    <a:pt x="3652416" y="1879296"/>
                  </a:lnTo>
                  <a:lnTo>
                    <a:pt x="3539214" y="1819613"/>
                  </a:lnTo>
                  <a:lnTo>
                    <a:pt x="3458248" y="1775915"/>
                  </a:lnTo>
                  <a:lnTo>
                    <a:pt x="3399120" y="1739365"/>
                  </a:lnTo>
                  <a:lnTo>
                    <a:pt x="3339976" y="1702811"/>
                  </a:lnTo>
                  <a:lnTo>
                    <a:pt x="3283881" y="1664157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11" name="Kirovohrad¬0" descr="Kirovohrad¬0">
              <a:extLst>
                <a:ext uri="{FF2B5EF4-FFF2-40B4-BE49-F238E27FC236}">
                  <a16:creationId xmlns:a16="http://schemas.microsoft.com/office/drawing/2014/main" id="{1B2A5811-6826-426F-847E-E066A492CCD4}"/>
                </a:ext>
              </a:extLst>
            </p:cNvPr>
            <p:cNvSpPr/>
            <p:nvPr/>
          </p:nvSpPr>
          <p:spPr>
            <a:xfrm>
              <a:off x="3482791" y="2597133"/>
              <a:ext cx="1435183" cy="686458"/>
            </a:xfrm>
            <a:custGeom>
              <a:avLst/>
              <a:gdLst/>
              <a:ahLst/>
              <a:cxnLst/>
              <a:rect l="0" t="0" r="0" b="0"/>
              <a:pathLst>
                <a:path w="14645250" h="7951741">
                  <a:moveTo>
                    <a:pt x="10691704" y="10942"/>
                  </a:moveTo>
                  <a:lnTo>
                    <a:pt x="10686898" y="36986"/>
                  </a:lnTo>
                  <a:lnTo>
                    <a:pt x="10680257" y="63931"/>
                  </a:lnTo>
                  <a:lnTo>
                    <a:pt x="10673615" y="90879"/>
                  </a:lnTo>
                  <a:lnTo>
                    <a:pt x="10665687" y="118406"/>
                  </a:lnTo>
                  <a:lnTo>
                    <a:pt x="10657133" y="140103"/>
                  </a:lnTo>
                  <a:lnTo>
                    <a:pt x="10644888" y="157785"/>
                  </a:lnTo>
                  <a:lnTo>
                    <a:pt x="10618580" y="220455"/>
                  </a:lnTo>
                  <a:lnTo>
                    <a:pt x="10605489" y="298776"/>
                  </a:lnTo>
                  <a:lnTo>
                    <a:pt x="10579606" y="360451"/>
                  </a:lnTo>
                  <a:lnTo>
                    <a:pt x="10566000" y="378132"/>
                  </a:lnTo>
                  <a:lnTo>
                    <a:pt x="10563362" y="406062"/>
                  </a:lnTo>
                  <a:lnTo>
                    <a:pt x="10575522" y="426770"/>
                  </a:lnTo>
                  <a:lnTo>
                    <a:pt x="10605449" y="448863"/>
                  </a:lnTo>
                  <a:lnTo>
                    <a:pt x="10633016" y="472908"/>
                  </a:lnTo>
                  <a:lnTo>
                    <a:pt x="10666893" y="513750"/>
                  </a:lnTo>
                  <a:lnTo>
                    <a:pt x="10689937" y="567070"/>
                  </a:lnTo>
                  <a:lnTo>
                    <a:pt x="10706100" y="622969"/>
                  </a:lnTo>
                  <a:lnTo>
                    <a:pt x="10722273" y="678874"/>
                  </a:lnTo>
                  <a:lnTo>
                    <a:pt x="10732771" y="737872"/>
                  </a:lnTo>
                  <a:lnTo>
                    <a:pt x="10733305" y="776675"/>
                  </a:lnTo>
                  <a:lnTo>
                    <a:pt x="10732778" y="810745"/>
                  </a:lnTo>
                  <a:lnTo>
                    <a:pt x="10731088" y="845975"/>
                  </a:lnTo>
                  <a:lnTo>
                    <a:pt x="10729231" y="881410"/>
                  </a:lnTo>
                  <a:lnTo>
                    <a:pt x="10727101" y="911673"/>
                  </a:lnTo>
                  <a:lnTo>
                    <a:pt x="10730635" y="935092"/>
                  </a:lnTo>
                  <a:lnTo>
                    <a:pt x="10731181" y="957561"/>
                  </a:lnTo>
                  <a:lnTo>
                    <a:pt x="10738238" y="983288"/>
                  </a:lnTo>
                  <a:lnTo>
                    <a:pt x="10760438" y="1045478"/>
                  </a:lnTo>
                  <a:lnTo>
                    <a:pt x="10783643" y="1107199"/>
                  </a:lnTo>
                  <a:lnTo>
                    <a:pt x="10806844" y="1168921"/>
                  </a:lnTo>
                  <a:lnTo>
                    <a:pt x="10831820" y="1230088"/>
                  </a:lnTo>
                  <a:lnTo>
                    <a:pt x="10931904" y="1247301"/>
                  </a:lnTo>
                  <a:lnTo>
                    <a:pt x="10925957" y="1340198"/>
                  </a:lnTo>
                  <a:lnTo>
                    <a:pt x="10894241" y="1346766"/>
                  </a:lnTo>
                  <a:lnTo>
                    <a:pt x="10850761" y="1354119"/>
                  </a:lnTo>
                  <a:lnTo>
                    <a:pt x="10826787" y="1378732"/>
                  </a:lnTo>
                  <a:lnTo>
                    <a:pt x="10823299" y="1412886"/>
                  </a:lnTo>
                  <a:lnTo>
                    <a:pt x="10812205" y="1441812"/>
                  </a:lnTo>
                  <a:lnTo>
                    <a:pt x="10721923" y="1464314"/>
                  </a:lnTo>
                  <a:lnTo>
                    <a:pt x="10674828" y="1577831"/>
                  </a:lnTo>
                  <a:lnTo>
                    <a:pt x="10647834" y="1589584"/>
                  </a:lnTo>
                  <a:lnTo>
                    <a:pt x="10594786" y="1576941"/>
                  </a:lnTo>
                  <a:lnTo>
                    <a:pt x="10568729" y="1568308"/>
                  </a:lnTo>
                  <a:lnTo>
                    <a:pt x="10549301" y="1552732"/>
                  </a:lnTo>
                  <a:lnTo>
                    <a:pt x="10532173" y="1539153"/>
                  </a:lnTo>
                  <a:lnTo>
                    <a:pt x="10507523" y="1524782"/>
                  </a:lnTo>
                  <a:lnTo>
                    <a:pt x="10463870" y="1488483"/>
                  </a:lnTo>
                  <a:lnTo>
                    <a:pt x="10433816" y="1463522"/>
                  </a:lnTo>
                  <a:lnTo>
                    <a:pt x="10397341" y="1447253"/>
                  </a:lnTo>
                  <a:lnTo>
                    <a:pt x="10370434" y="1435249"/>
                  </a:lnTo>
                  <a:lnTo>
                    <a:pt x="10337499" y="1426848"/>
                  </a:lnTo>
                  <a:lnTo>
                    <a:pt x="10314158" y="1429011"/>
                  </a:lnTo>
                  <a:lnTo>
                    <a:pt x="10294401" y="1451090"/>
                  </a:lnTo>
                  <a:lnTo>
                    <a:pt x="10290597" y="1481791"/>
                  </a:lnTo>
                  <a:lnTo>
                    <a:pt x="10272210" y="1524782"/>
                  </a:lnTo>
                  <a:lnTo>
                    <a:pt x="10256928" y="1560501"/>
                  </a:lnTo>
                  <a:lnTo>
                    <a:pt x="10220223" y="1591793"/>
                  </a:lnTo>
                  <a:lnTo>
                    <a:pt x="10191955" y="1615917"/>
                  </a:lnTo>
                  <a:lnTo>
                    <a:pt x="10171761" y="1633110"/>
                  </a:lnTo>
                  <a:lnTo>
                    <a:pt x="10151576" y="1661916"/>
                  </a:lnTo>
                  <a:lnTo>
                    <a:pt x="10123944" y="1668967"/>
                  </a:lnTo>
                  <a:lnTo>
                    <a:pt x="10093983" y="1676610"/>
                  </a:lnTo>
                  <a:lnTo>
                    <a:pt x="10069680" y="1671835"/>
                  </a:lnTo>
                  <a:lnTo>
                    <a:pt x="10047771" y="1662161"/>
                  </a:lnTo>
                  <a:lnTo>
                    <a:pt x="10025869" y="1652486"/>
                  </a:lnTo>
                  <a:lnTo>
                    <a:pt x="10006791" y="1637535"/>
                  </a:lnTo>
                  <a:lnTo>
                    <a:pt x="9989282" y="1622717"/>
                  </a:lnTo>
                  <a:lnTo>
                    <a:pt x="9971779" y="1607904"/>
                  </a:lnTo>
                  <a:lnTo>
                    <a:pt x="9955734" y="1593765"/>
                  </a:lnTo>
                  <a:lnTo>
                    <a:pt x="9922185" y="1578220"/>
                  </a:lnTo>
                  <a:lnTo>
                    <a:pt x="9884547" y="1588707"/>
                  </a:lnTo>
                  <a:lnTo>
                    <a:pt x="9868998" y="1606850"/>
                  </a:lnTo>
                  <a:lnTo>
                    <a:pt x="9864738" y="1635860"/>
                  </a:lnTo>
                  <a:lnTo>
                    <a:pt x="9866868" y="1670319"/>
                  </a:lnTo>
                  <a:lnTo>
                    <a:pt x="9867875" y="1704513"/>
                  </a:lnTo>
                  <a:lnTo>
                    <a:pt x="9863135" y="1734059"/>
                  </a:lnTo>
                  <a:lnTo>
                    <a:pt x="9846469" y="1753295"/>
                  </a:lnTo>
                  <a:lnTo>
                    <a:pt x="9820716" y="1755822"/>
                  </a:lnTo>
                  <a:lnTo>
                    <a:pt x="9785170" y="1753479"/>
                  </a:lnTo>
                  <a:lnTo>
                    <a:pt x="9758050" y="1750579"/>
                  </a:lnTo>
                  <a:lnTo>
                    <a:pt x="9733564" y="1731532"/>
                  </a:lnTo>
                  <a:lnTo>
                    <a:pt x="9729165" y="1701723"/>
                  </a:lnTo>
                  <a:lnTo>
                    <a:pt x="9728017" y="1658006"/>
                  </a:lnTo>
                  <a:lnTo>
                    <a:pt x="9724042" y="1615917"/>
                  </a:lnTo>
                  <a:lnTo>
                    <a:pt x="9720064" y="1573822"/>
                  </a:lnTo>
                  <a:lnTo>
                    <a:pt x="9713463" y="1532353"/>
                  </a:lnTo>
                  <a:lnTo>
                    <a:pt x="9696838" y="1505736"/>
                  </a:lnTo>
                  <a:lnTo>
                    <a:pt x="9682268" y="1482423"/>
                  </a:lnTo>
                  <a:lnTo>
                    <a:pt x="9638538" y="1430033"/>
                  </a:lnTo>
                  <a:lnTo>
                    <a:pt x="9598897" y="1377881"/>
                  </a:lnTo>
                  <a:lnTo>
                    <a:pt x="9559268" y="1325729"/>
                  </a:lnTo>
                  <a:lnTo>
                    <a:pt x="9523509" y="1274684"/>
                  </a:lnTo>
                  <a:lnTo>
                    <a:pt x="9518570" y="1230406"/>
                  </a:lnTo>
                  <a:lnTo>
                    <a:pt x="9519466" y="1200445"/>
                  </a:lnTo>
                  <a:lnTo>
                    <a:pt x="9521373" y="1171130"/>
                  </a:lnTo>
                  <a:lnTo>
                    <a:pt x="9523292" y="1141816"/>
                  </a:lnTo>
                  <a:lnTo>
                    <a:pt x="9525918" y="1112410"/>
                  </a:lnTo>
                  <a:lnTo>
                    <a:pt x="9526814" y="1086795"/>
                  </a:lnTo>
                  <a:lnTo>
                    <a:pt x="9519317" y="1063548"/>
                  </a:lnTo>
                  <a:lnTo>
                    <a:pt x="9495337" y="1049870"/>
                  </a:lnTo>
                  <a:lnTo>
                    <a:pt x="9463714" y="1064425"/>
                  </a:lnTo>
                  <a:lnTo>
                    <a:pt x="9448143" y="1087309"/>
                  </a:lnTo>
                  <a:lnTo>
                    <a:pt x="9430243" y="1108558"/>
                  </a:lnTo>
                  <a:lnTo>
                    <a:pt x="9412340" y="1129814"/>
                  </a:lnTo>
                  <a:lnTo>
                    <a:pt x="9392580" y="1150026"/>
                  </a:lnTo>
                  <a:lnTo>
                    <a:pt x="9358148" y="1160249"/>
                  </a:lnTo>
                  <a:lnTo>
                    <a:pt x="9306148" y="1150930"/>
                  </a:lnTo>
                  <a:lnTo>
                    <a:pt x="9271096" y="1141202"/>
                  </a:lnTo>
                  <a:lnTo>
                    <a:pt x="9236044" y="1131482"/>
                  </a:lnTo>
                  <a:lnTo>
                    <a:pt x="9203110" y="1118979"/>
                  </a:lnTo>
                  <a:lnTo>
                    <a:pt x="9191607" y="1094024"/>
                  </a:lnTo>
                  <a:lnTo>
                    <a:pt x="9194772" y="1064411"/>
                  </a:lnTo>
                  <a:lnTo>
                    <a:pt x="9193566" y="1043269"/>
                  </a:lnTo>
                  <a:lnTo>
                    <a:pt x="9173394" y="1029367"/>
                  </a:lnTo>
                  <a:lnTo>
                    <a:pt x="9151175" y="1016374"/>
                  </a:lnTo>
                  <a:lnTo>
                    <a:pt x="9128277" y="1005182"/>
                  </a:lnTo>
                  <a:lnTo>
                    <a:pt x="9131865" y="972412"/>
                  </a:lnTo>
                  <a:lnTo>
                    <a:pt x="9138289" y="934584"/>
                  </a:lnTo>
                  <a:lnTo>
                    <a:pt x="9131009" y="904531"/>
                  </a:lnTo>
                  <a:lnTo>
                    <a:pt x="9111962" y="895008"/>
                  </a:lnTo>
                  <a:lnTo>
                    <a:pt x="9087473" y="886850"/>
                  </a:lnTo>
                  <a:lnTo>
                    <a:pt x="9058911" y="919488"/>
                  </a:lnTo>
                  <a:lnTo>
                    <a:pt x="9037148" y="949417"/>
                  </a:lnTo>
                  <a:lnTo>
                    <a:pt x="9000428" y="949409"/>
                  </a:lnTo>
                  <a:lnTo>
                    <a:pt x="8978665" y="943969"/>
                  </a:lnTo>
                  <a:lnTo>
                    <a:pt x="8966030" y="971859"/>
                  </a:lnTo>
                  <a:lnTo>
                    <a:pt x="8951454" y="987495"/>
                  </a:lnTo>
                  <a:lnTo>
                    <a:pt x="8936887" y="1003139"/>
                  </a:lnTo>
                  <a:lnTo>
                    <a:pt x="8922938" y="1019282"/>
                  </a:lnTo>
                  <a:lnTo>
                    <a:pt x="8928677" y="1039945"/>
                  </a:lnTo>
                  <a:lnTo>
                    <a:pt x="8939216" y="1069107"/>
                  </a:lnTo>
                  <a:lnTo>
                    <a:pt x="8947591" y="1097538"/>
                  </a:lnTo>
                  <a:lnTo>
                    <a:pt x="8933781" y="1118081"/>
                  </a:lnTo>
                  <a:lnTo>
                    <a:pt x="8894462" y="1125091"/>
                  </a:lnTo>
                  <a:lnTo>
                    <a:pt x="8869223" y="1113432"/>
                  </a:lnTo>
                  <a:lnTo>
                    <a:pt x="8845361" y="1101752"/>
                  </a:lnTo>
                  <a:lnTo>
                    <a:pt x="8821508" y="1090080"/>
                  </a:lnTo>
                  <a:lnTo>
                    <a:pt x="8798527" y="1078941"/>
                  </a:lnTo>
                  <a:lnTo>
                    <a:pt x="8771914" y="1084071"/>
                  </a:lnTo>
                  <a:lnTo>
                    <a:pt x="8758309" y="1104469"/>
                  </a:lnTo>
                  <a:lnTo>
                    <a:pt x="8734118" y="1134878"/>
                  </a:lnTo>
                  <a:lnTo>
                    <a:pt x="8724491" y="1155428"/>
                  </a:lnTo>
                  <a:lnTo>
                    <a:pt x="8714783" y="1176558"/>
                  </a:lnTo>
                  <a:lnTo>
                    <a:pt x="8705075" y="1197695"/>
                  </a:lnTo>
                  <a:lnTo>
                    <a:pt x="8695553" y="1219662"/>
                  </a:lnTo>
                  <a:lnTo>
                    <a:pt x="8683498" y="1239131"/>
                  </a:lnTo>
                  <a:lnTo>
                    <a:pt x="8665815" y="1262252"/>
                  </a:lnTo>
                  <a:lnTo>
                    <a:pt x="8648136" y="1284015"/>
                  </a:lnTo>
                  <a:lnTo>
                    <a:pt x="8634062" y="1315506"/>
                  </a:lnTo>
                  <a:lnTo>
                    <a:pt x="8623648" y="1337065"/>
                  </a:lnTo>
                  <a:lnTo>
                    <a:pt x="8613236" y="1358623"/>
                  </a:lnTo>
                  <a:lnTo>
                    <a:pt x="8601444" y="1378592"/>
                  </a:lnTo>
                  <a:lnTo>
                    <a:pt x="8565902" y="1400330"/>
                  </a:lnTo>
                  <a:lnTo>
                    <a:pt x="8546244" y="1415043"/>
                  </a:lnTo>
                  <a:lnTo>
                    <a:pt x="8524354" y="1425476"/>
                  </a:lnTo>
                  <a:lnTo>
                    <a:pt x="8502467" y="1435916"/>
                  </a:lnTo>
                  <a:lnTo>
                    <a:pt x="8479383" y="1441984"/>
                  </a:lnTo>
                  <a:lnTo>
                    <a:pt x="8446827" y="1444522"/>
                  </a:lnTo>
                  <a:lnTo>
                    <a:pt x="8418265" y="1509812"/>
                  </a:lnTo>
                  <a:lnTo>
                    <a:pt x="8391054" y="1573735"/>
                  </a:lnTo>
                  <a:lnTo>
                    <a:pt x="8402858" y="1592241"/>
                  </a:lnTo>
                  <a:lnTo>
                    <a:pt x="8428221" y="1615086"/>
                  </a:lnTo>
                  <a:lnTo>
                    <a:pt x="8448185" y="1636308"/>
                  </a:lnTo>
                  <a:lnTo>
                    <a:pt x="8435991" y="1699309"/>
                  </a:lnTo>
                  <a:lnTo>
                    <a:pt x="8423697" y="1743765"/>
                  </a:lnTo>
                  <a:lnTo>
                    <a:pt x="8411412" y="1788221"/>
                  </a:lnTo>
                  <a:lnTo>
                    <a:pt x="8396988" y="1830627"/>
                  </a:lnTo>
                  <a:lnTo>
                    <a:pt x="8368655" y="1851877"/>
                  </a:lnTo>
                  <a:lnTo>
                    <a:pt x="8337172" y="1859420"/>
                  </a:lnTo>
                  <a:lnTo>
                    <a:pt x="8308082" y="1858022"/>
                  </a:lnTo>
                  <a:lnTo>
                    <a:pt x="8279935" y="1853735"/>
                  </a:lnTo>
                  <a:lnTo>
                    <a:pt x="8257347" y="1843263"/>
                  </a:lnTo>
                  <a:lnTo>
                    <a:pt x="8245516" y="1824013"/>
                  </a:lnTo>
                  <a:lnTo>
                    <a:pt x="8244533" y="1797666"/>
                  </a:lnTo>
                  <a:lnTo>
                    <a:pt x="8227228" y="1777717"/>
                  </a:lnTo>
                  <a:lnTo>
                    <a:pt x="8201990" y="1787285"/>
                  </a:lnTo>
                  <a:lnTo>
                    <a:pt x="8173960" y="1804630"/>
                  </a:lnTo>
                  <a:lnTo>
                    <a:pt x="8145683" y="1824350"/>
                  </a:lnTo>
                  <a:lnTo>
                    <a:pt x="8117660" y="1836253"/>
                  </a:lnTo>
                  <a:lnTo>
                    <a:pt x="8090080" y="1836846"/>
                  </a:lnTo>
                  <a:lnTo>
                    <a:pt x="8074134" y="1815848"/>
                  </a:lnTo>
                  <a:lnTo>
                    <a:pt x="8083659" y="1792727"/>
                  </a:lnTo>
                  <a:lnTo>
                    <a:pt x="8079423" y="1766201"/>
                  </a:lnTo>
                  <a:lnTo>
                    <a:pt x="8051013" y="1750559"/>
                  </a:lnTo>
                  <a:lnTo>
                    <a:pt x="8023808" y="1736960"/>
                  </a:lnTo>
                  <a:lnTo>
                    <a:pt x="7987252" y="1781450"/>
                  </a:lnTo>
                  <a:lnTo>
                    <a:pt x="7959034" y="1808898"/>
                  </a:lnTo>
                  <a:lnTo>
                    <a:pt x="7928592" y="1826729"/>
                  </a:lnTo>
                  <a:lnTo>
                    <a:pt x="7898157" y="1844562"/>
                  </a:lnTo>
                  <a:lnTo>
                    <a:pt x="7864323" y="1853717"/>
                  </a:lnTo>
                  <a:lnTo>
                    <a:pt x="7833383" y="1859375"/>
                  </a:lnTo>
                  <a:lnTo>
                    <a:pt x="7802439" y="1865032"/>
                  </a:lnTo>
                  <a:lnTo>
                    <a:pt x="7773526" y="1866366"/>
                  </a:lnTo>
                  <a:lnTo>
                    <a:pt x="7750405" y="1871615"/>
                  </a:lnTo>
                  <a:lnTo>
                    <a:pt x="7727296" y="1876864"/>
                  </a:lnTo>
                  <a:lnTo>
                    <a:pt x="7704159" y="1901536"/>
                  </a:lnTo>
                  <a:lnTo>
                    <a:pt x="7694210" y="1925337"/>
                  </a:lnTo>
                  <a:lnTo>
                    <a:pt x="7686545" y="1944924"/>
                  </a:lnTo>
                  <a:lnTo>
                    <a:pt x="7667368" y="1980569"/>
                  </a:lnTo>
                  <a:lnTo>
                    <a:pt x="7636154" y="2014434"/>
                  </a:lnTo>
                  <a:lnTo>
                    <a:pt x="7615644" y="2027308"/>
                  </a:lnTo>
                  <a:lnTo>
                    <a:pt x="7591249" y="2053317"/>
                  </a:lnTo>
                  <a:lnTo>
                    <a:pt x="7584899" y="2073874"/>
                  </a:lnTo>
                  <a:lnTo>
                    <a:pt x="7564990" y="2107343"/>
                  </a:lnTo>
                  <a:lnTo>
                    <a:pt x="7519172" y="2127333"/>
                  </a:lnTo>
                  <a:lnTo>
                    <a:pt x="7494916" y="2117546"/>
                  </a:lnTo>
                  <a:lnTo>
                    <a:pt x="7472707" y="2099034"/>
                  </a:lnTo>
                  <a:lnTo>
                    <a:pt x="7460683" y="2075647"/>
                  </a:lnTo>
                  <a:lnTo>
                    <a:pt x="7453976" y="2039778"/>
                  </a:lnTo>
                  <a:lnTo>
                    <a:pt x="7448780" y="1994135"/>
                  </a:lnTo>
                  <a:lnTo>
                    <a:pt x="7437562" y="1950509"/>
                  </a:lnTo>
                  <a:lnTo>
                    <a:pt x="7431956" y="1928694"/>
                  </a:lnTo>
                  <a:lnTo>
                    <a:pt x="7425249" y="1906951"/>
                  </a:lnTo>
                  <a:lnTo>
                    <a:pt x="7415799" y="1887936"/>
                  </a:lnTo>
                  <a:lnTo>
                    <a:pt x="7406348" y="1868924"/>
                  </a:lnTo>
                  <a:lnTo>
                    <a:pt x="7379072" y="1838970"/>
                  </a:lnTo>
                  <a:lnTo>
                    <a:pt x="7323305" y="1802242"/>
                  </a:lnTo>
                  <a:lnTo>
                    <a:pt x="7267538" y="1764158"/>
                  </a:lnTo>
                  <a:lnTo>
                    <a:pt x="7237729" y="1750480"/>
                  </a:lnTo>
                  <a:lnTo>
                    <a:pt x="7205526" y="1740330"/>
                  </a:lnTo>
                  <a:lnTo>
                    <a:pt x="7172322" y="1730154"/>
                  </a:lnTo>
                  <a:lnTo>
                    <a:pt x="7139115" y="1719985"/>
                  </a:lnTo>
                  <a:lnTo>
                    <a:pt x="7105461" y="1710146"/>
                  </a:lnTo>
                  <a:lnTo>
                    <a:pt x="7074387" y="1698867"/>
                  </a:lnTo>
                  <a:lnTo>
                    <a:pt x="7046938" y="1687479"/>
                  </a:lnTo>
                  <a:lnTo>
                    <a:pt x="7020229" y="1674901"/>
                  </a:lnTo>
                  <a:lnTo>
                    <a:pt x="6994141" y="1664865"/>
                  </a:lnTo>
                  <a:lnTo>
                    <a:pt x="6969370" y="1661020"/>
                  </a:lnTo>
                  <a:lnTo>
                    <a:pt x="6929128" y="1655110"/>
                  </a:lnTo>
                  <a:lnTo>
                    <a:pt x="6903005" y="1652624"/>
                  </a:lnTo>
                  <a:lnTo>
                    <a:pt x="6874443" y="1656699"/>
                  </a:lnTo>
                  <a:lnTo>
                    <a:pt x="6845880" y="1660775"/>
                  </a:lnTo>
                  <a:lnTo>
                    <a:pt x="6822350" y="1659938"/>
                  </a:lnTo>
                  <a:lnTo>
                    <a:pt x="6795951" y="1661626"/>
                  </a:lnTo>
                  <a:lnTo>
                    <a:pt x="6773785" y="1671657"/>
                  </a:lnTo>
                  <a:lnTo>
                    <a:pt x="6767196" y="1713271"/>
                  </a:lnTo>
                  <a:lnTo>
                    <a:pt x="6766986" y="1735587"/>
                  </a:lnTo>
                  <a:lnTo>
                    <a:pt x="6766787" y="1757899"/>
                  </a:lnTo>
                  <a:lnTo>
                    <a:pt x="6765646" y="1779227"/>
                  </a:lnTo>
                  <a:lnTo>
                    <a:pt x="6730687" y="1812617"/>
                  </a:lnTo>
                  <a:lnTo>
                    <a:pt x="6705467" y="1815558"/>
                  </a:lnTo>
                  <a:lnTo>
                    <a:pt x="6679934" y="1813118"/>
                  </a:lnTo>
                  <a:lnTo>
                    <a:pt x="6654397" y="1810677"/>
                  </a:lnTo>
                  <a:lnTo>
                    <a:pt x="6627444" y="1802356"/>
                  </a:lnTo>
                  <a:lnTo>
                    <a:pt x="6602403" y="1800878"/>
                  </a:lnTo>
                  <a:lnTo>
                    <a:pt x="6568313" y="1801537"/>
                  </a:lnTo>
                  <a:lnTo>
                    <a:pt x="6533112" y="1802955"/>
                  </a:lnTo>
                  <a:lnTo>
                    <a:pt x="6499027" y="1798160"/>
                  </a:lnTo>
                  <a:lnTo>
                    <a:pt x="6477375" y="1791724"/>
                  </a:lnTo>
                  <a:lnTo>
                    <a:pt x="6454744" y="1784298"/>
                  </a:lnTo>
                  <a:lnTo>
                    <a:pt x="6432374" y="1775032"/>
                  </a:lnTo>
                  <a:lnTo>
                    <a:pt x="6410009" y="1765773"/>
                  </a:lnTo>
                  <a:lnTo>
                    <a:pt x="6389111" y="1754410"/>
                  </a:lnTo>
                  <a:lnTo>
                    <a:pt x="6369807" y="1742387"/>
                  </a:lnTo>
                  <a:lnTo>
                    <a:pt x="6335796" y="1745105"/>
                  </a:lnTo>
                  <a:lnTo>
                    <a:pt x="6310263" y="1757022"/>
                  </a:lnTo>
                  <a:lnTo>
                    <a:pt x="6296022" y="1782650"/>
                  </a:lnTo>
                  <a:lnTo>
                    <a:pt x="6288196" y="1814476"/>
                  </a:lnTo>
                  <a:lnTo>
                    <a:pt x="6280361" y="1846303"/>
                  </a:lnTo>
                  <a:lnTo>
                    <a:pt x="6279484" y="1885536"/>
                  </a:lnTo>
                  <a:lnTo>
                    <a:pt x="6281397" y="1926016"/>
                  </a:lnTo>
                  <a:lnTo>
                    <a:pt x="6285207" y="2006968"/>
                  </a:lnTo>
                  <a:lnTo>
                    <a:pt x="6300034" y="2092901"/>
                  </a:lnTo>
                  <a:lnTo>
                    <a:pt x="6294996" y="2140924"/>
                  </a:lnTo>
                  <a:lnTo>
                    <a:pt x="6292698" y="2162774"/>
                  </a:lnTo>
                  <a:lnTo>
                    <a:pt x="6289554" y="2190512"/>
                  </a:lnTo>
                  <a:lnTo>
                    <a:pt x="6282755" y="2215736"/>
                  </a:lnTo>
                  <a:lnTo>
                    <a:pt x="6275955" y="2240963"/>
                  </a:lnTo>
                  <a:lnTo>
                    <a:pt x="6265984" y="2263715"/>
                  </a:lnTo>
                  <a:lnTo>
                    <a:pt x="6248751" y="2279667"/>
                  </a:lnTo>
                  <a:lnTo>
                    <a:pt x="6224265" y="2294625"/>
                  </a:lnTo>
                  <a:lnTo>
                    <a:pt x="6199777" y="2308230"/>
                  </a:lnTo>
                  <a:lnTo>
                    <a:pt x="6171537" y="2331219"/>
                  </a:lnTo>
                  <a:lnTo>
                    <a:pt x="6153535" y="2349032"/>
                  </a:lnTo>
                  <a:lnTo>
                    <a:pt x="6135530" y="2366853"/>
                  </a:lnTo>
                  <a:lnTo>
                    <a:pt x="6117692" y="2385866"/>
                  </a:lnTo>
                  <a:lnTo>
                    <a:pt x="6105826" y="2407226"/>
                  </a:lnTo>
                  <a:lnTo>
                    <a:pt x="6097318" y="2428593"/>
                  </a:lnTo>
                  <a:lnTo>
                    <a:pt x="6091390" y="2450786"/>
                  </a:lnTo>
                  <a:lnTo>
                    <a:pt x="6086885" y="2487777"/>
                  </a:lnTo>
                  <a:lnTo>
                    <a:pt x="6080972" y="2525572"/>
                  </a:lnTo>
                  <a:lnTo>
                    <a:pt x="6067887" y="2565551"/>
                  </a:lnTo>
                  <a:lnTo>
                    <a:pt x="6060393" y="2585559"/>
                  </a:lnTo>
                  <a:lnTo>
                    <a:pt x="6052877" y="2606116"/>
                  </a:lnTo>
                  <a:lnTo>
                    <a:pt x="6045365" y="2626665"/>
                  </a:lnTo>
                  <a:lnTo>
                    <a:pt x="6038478" y="2647459"/>
                  </a:lnTo>
                  <a:lnTo>
                    <a:pt x="6032479" y="2668681"/>
                  </a:lnTo>
                  <a:lnTo>
                    <a:pt x="5987830" y="2689027"/>
                  </a:lnTo>
                  <a:lnTo>
                    <a:pt x="5961748" y="2701325"/>
                  </a:lnTo>
                  <a:lnTo>
                    <a:pt x="5935666" y="2713632"/>
                  </a:lnTo>
                  <a:lnTo>
                    <a:pt x="5910111" y="2724850"/>
                  </a:lnTo>
                  <a:lnTo>
                    <a:pt x="5877242" y="2710216"/>
                  </a:lnTo>
                  <a:lnTo>
                    <a:pt x="5847491" y="2704049"/>
                  </a:lnTo>
                  <a:lnTo>
                    <a:pt x="5818929" y="2708046"/>
                  </a:lnTo>
                  <a:lnTo>
                    <a:pt x="5778106" y="2728702"/>
                  </a:lnTo>
                  <a:lnTo>
                    <a:pt x="5752945" y="2752800"/>
                  </a:lnTo>
                  <a:lnTo>
                    <a:pt x="5730509" y="2774780"/>
                  </a:lnTo>
                  <a:lnTo>
                    <a:pt x="5703234" y="2779409"/>
                  </a:lnTo>
                  <a:lnTo>
                    <a:pt x="5676181" y="2775584"/>
                  </a:lnTo>
                  <a:lnTo>
                    <a:pt x="5654347" y="2758451"/>
                  </a:lnTo>
                  <a:lnTo>
                    <a:pt x="5632577" y="2758451"/>
                  </a:lnTo>
                  <a:lnTo>
                    <a:pt x="5620811" y="2779225"/>
                  </a:lnTo>
                  <a:lnTo>
                    <a:pt x="5614427" y="2805690"/>
                  </a:lnTo>
                  <a:lnTo>
                    <a:pt x="5598573" y="2830539"/>
                  </a:lnTo>
                  <a:lnTo>
                    <a:pt x="5576810" y="2823741"/>
                  </a:lnTo>
                  <a:lnTo>
                    <a:pt x="5565171" y="2803290"/>
                  </a:lnTo>
                  <a:lnTo>
                    <a:pt x="5550976" y="2767974"/>
                  </a:lnTo>
                  <a:lnTo>
                    <a:pt x="5535123" y="2733575"/>
                  </a:lnTo>
                  <a:lnTo>
                    <a:pt x="5511726" y="2717338"/>
                  </a:lnTo>
                  <a:lnTo>
                    <a:pt x="5486729" y="2705541"/>
                  </a:lnTo>
                  <a:lnTo>
                    <a:pt x="5461202" y="2697244"/>
                  </a:lnTo>
                  <a:lnTo>
                    <a:pt x="5435672" y="2688954"/>
                  </a:lnTo>
                  <a:lnTo>
                    <a:pt x="5409069" y="2684226"/>
                  </a:lnTo>
                  <a:lnTo>
                    <a:pt x="5379709" y="2689376"/>
                  </a:lnTo>
                  <a:lnTo>
                    <a:pt x="5350762" y="2698431"/>
                  </a:lnTo>
                  <a:lnTo>
                    <a:pt x="5308873" y="2689100"/>
                  </a:lnTo>
                  <a:lnTo>
                    <a:pt x="5287510" y="2679384"/>
                  </a:lnTo>
                  <a:lnTo>
                    <a:pt x="5265332" y="2671399"/>
                  </a:lnTo>
                  <a:lnTo>
                    <a:pt x="5243153" y="2663411"/>
                  </a:lnTo>
                  <a:lnTo>
                    <a:pt x="5220851" y="2657430"/>
                  </a:lnTo>
                  <a:lnTo>
                    <a:pt x="5197326" y="2659157"/>
                  </a:lnTo>
                  <a:lnTo>
                    <a:pt x="5172838" y="2664599"/>
                  </a:lnTo>
                  <a:lnTo>
                    <a:pt x="5151075" y="2668675"/>
                  </a:lnTo>
                  <a:lnTo>
                    <a:pt x="5117421" y="2666828"/>
                  </a:lnTo>
                  <a:lnTo>
                    <a:pt x="5084078" y="2665081"/>
                  </a:lnTo>
                  <a:lnTo>
                    <a:pt x="5049066" y="2671399"/>
                  </a:lnTo>
                  <a:lnTo>
                    <a:pt x="5010432" y="2684054"/>
                  </a:lnTo>
                  <a:lnTo>
                    <a:pt x="4979495" y="2708646"/>
                  </a:lnTo>
                  <a:lnTo>
                    <a:pt x="4948408" y="2733972"/>
                  </a:lnTo>
                  <a:lnTo>
                    <a:pt x="4917319" y="2759296"/>
                  </a:lnTo>
                  <a:lnTo>
                    <a:pt x="4887017" y="2785965"/>
                  </a:lnTo>
                  <a:lnTo>
                    <a:pt x="4850473" y="2801978"/>
                  </a:lnTo>
                  <a:lnTo>
                    <a:pt x="4810978" y="2804206"/>
                  </a:lnTo>
                  <a:lnTo>
                    <a:pt x="4782459" y="2800619"/>
                  </a:lnTo>
                  <a:lnTo>
                    <a:pt x="4753949" y="2797025"/>
                  </a:lnTo>
                  <a:lnTo>
                    <a:pt x="4723805" y="2791630"/>
                  </a:lnTo>
                  <a:lnTo>
                    <a:pt x="4690970" y="2790568"/>
                  </a:lnTo>
                  <a:lnTo>
                    <a:pt x="4664128" y="2799261"/>
                  </a:lnTo>
                  <a:lnTo>
                    <a:pt x="4635531" y="2803646"/>
                  </a:lnTo>
                  <a:lnTo>
                    <a:pt x="4610103" y="2793140"/>
                  </a:lnTo>
                  <a:lnTo>
                    <a:pt x="4589314" y="2773416"/>
                  </a:lnTo>
                  <a:lnTo>
                    <a:pt x="4571132" y="2752885"/>
                  </a:lnTo>
                  <a:lnTo>
                    <a:pt x="4538483" y="2735784"/>
                  </a:lnTo>
                  <a:lnTo>
                    <a:pt x="4511009" y="2721400"/>
                  </a:lnTo>
                  <a:lnTo>
                    <a:pt x="4483224" y="2709491"/>
                  </a:lnTo>
                  <a:lnTo>
                    <a:pt x="4455424" y="2697574"/>
                  </a:lnTo>
                  <a:lnTo>
                    <a:pt x="4426251" y="2688650"/>
                  </a:lnTo>
                  <a:lnTo>
                    <a:pt x="4394805" y="2683644"/>
                  </a:lnTo>
                  <a:lnTo>
                    <a:pt x="4366103" y="2680928"/>
                  </a:lnTo>
                  <a:lnTo>
                    <a:pt x="4336461" y="2680928"/>
                  </a:lnTo>
                  <a:lnTo>
                    <a:pt x="4307753" y="2678204"/>
                  </a:lnTo>
                  <a:lnTo>
                    <a:pt x="4276322" y="2667191"/>
                  </a:lnTo>
                  <a:lnTo>
                    <a:pt x="4246696" y="2651132"/>
                  </a:lnTo>
                  <a:lnTo>
                    <a:pt x="4209818" y="2645560"/>
                  </a:lnTo>
                  <a:lnTo>
                    <a:pt x="4188312" y="2646819"/>
                  </a:lnTo>
                  <a:lnTo>
                    <a:pt x="4147251" y="2655083"/>
                  </a:lnTo>
                  <a:lnTo>
                    <a:pt x="4126071" y="2659113"/>
                  </a:lnTo>
                  <a:lnTo>
                    <a:pt x="4102472" y="2663221"/>
                  </a:lnTo>
                  <a:lnTo>
                    <a:pt x="4072440" y="2661881"/>
                  </a:lnTo>
                  <a:lnTo>
                    <a:pt x="4050677" y="2672763"/>
                  </a:lnTo>
                  <a:lnTo>
                    <a:pt x="4019398" y="2653513"/>
                  </a:lnTo>
                  <a:lnTo>
                    <a:pt x="3989462" y="2640323"/>
                  </a:lnTo>
                  <a:lnTo>
                    <a:pt x="3956825" y="2642842"/>
                  </a:lnTo>
                  <a:lnTo>
                    <a:pt x="3940296" y="2658849"/>
                  </a:lnTo>
                  <a:lnTo>
                    <a:pt x="3903734" y="2674729"/>
                  </a:lnTo>
                  <a:lnTo>
                    <a:pt x="3867048" y="2685010"/>
                  </a:lnTo>
                  <a:lnTo>
                    <a:pt x="3830362" y="2695292"/>
                  </a:lnTo>
                  <a:lnTo>
                    <a:pt x="3794259" y="2699380"/>
                  </a:lnTo>
                  <a:lnTo>
                    <a:pt x="3771296" y="2684140"/>
                  </a:lnTo>
                  <a:lnTo>
                    <a:pt x="3752791" y="2657806"/>
                  </a:lnTo>
                  <a:lnTo>
                    <a:pt x="3736904" y="2629277"/>
                  </a:lnTo>
                  <a:lnTo>
                    <a:pt x="3711988" y="2618362"/>
                  </a:lnTo>
                  <a:lnTo>
                    <a:pt x="3694649" y="2635212"/>
                  </a:lnTo>
                  <a:lnTo>
                    <a:pt x="3669472" y="2645031"/>
                  </a:lnTo>
                  <a:lnTo>
                    <a:pt x="3645334" y="2646924"/>
                  </a:lnTo>
                  <a:lnTo>
                    <a:pt x="3624269" y="2637368"/>
                  </a:lnTo>
                  <a:lnTo>
                    <a:pt x="3603833" y="2621119"/>
                  </a:lnTo>
                  <a:lnTo>
                    <a:pt x="3584126" y="2606122"/>
                  </a:lnTo>
                  <a:lnTo>
                    <a:pt x="3563730" y="2592727"/>
                  </a:lnTo>
                  <a:lnTo>
                    <a:pt x="3529720" y="2597958"/>
                  </a:lnTo>
                  <a:lnTo>
                    <a:pt x="3497734" y="2609796"/>
                  </a:lnTo>
                  <a:lnTo>
                    <a:pt x="3473404" y="2602865"/>
                  </a:lnTo>
                  <a:lnTo>
                    <a:pt x="3452190" y="2592517"/>
                  </a:lnTo>
                  <a:lnTo>
                    <a:pt x="3431614" y="2583982"/>
                  </a:lnTo>
                  <a:lnTo>
                    <a:pt x="3399780" y="2595372"/>
                  </a:lnTo>
                  <a:lnTo>
                    <a:pt x="3380095" y="2606868"/>
                  </a:lnTo>
                  <a:lnTo>
                    <a:pt x="3361054" y="2616997"/>
                  </a:lnTo>
                  <a:lnTo>
                    <a:pt x="3342013" y="2627133"/>
                  </a:lnTo>
                  <a:lnTo>
                    <a:pt x="3302571" y="2640126"/>
                  </a:lnTo>
                  <a:lnTo>
                    <a:pt x="3265844" y="2649642"/>
                  </a:lnTo>
                  <a:lnTo>
                    <a:pt x="3238559" y="2663136"/>
                  </a:lnTo>
                  <a:lnTo>
                    <a:pt x="3228628" y="2682201"/>
                  </a:lnTo>
                  <a:lnTo>
                    <a:pt x="3213283" y="2720451"/>
                  </a:lnTo>
                  <a:lnTo>
                    <a:pt x="3192388" y="2754375"/>
                  </a:lnTo>
                  <a:lnTo>
                    <a:pt x="3140243" y="2777556"/>
                  </a:lnTo>
                  <a:lnTo>
                    <a:pt x="3105336" y="2796543"/>
                  </a:lnTo>
                  <a:lnTo>
                    <a:pt x="3070430" y="2815523"/>
                  </a:lnTo>
                  <a:lnTo>
                    <a:pt x="3037052" y="2836297"/>
                  </a:lnTo>
                  <a:lnTo>
                    <a:pt x="3029173" y="2865909"/>
                  </a:lnTo>
                  <a:lnTo>
                    <a:pt x="3030873" y="2890350"/>
                  </a:lnTo>
                  <a:lnTo>
                    <a:pt x="3050440" y="2907186"/>
                  </a:lnTo>
                  <a:lnTo>
                    <a:pt x="3060933" y="2929925"/>
                  </a:lnTo>
                  <a:lnTo>
                    <a:pt x="3066064" y="2960941"/>
                  </a:lnTo>
                  <a:lnTo>
                    <a:pt x="3063922" y="2992379"/>
                  </a:lnTo>
                  <a:lnTo>
                    <a:pt x="3054549" y="3032845"/>
                  </a:lnTo>
                  <a:lnTo>
                    <a:pt x="3045489" y="3072659"/>
                  </a:lnTo>
                  <a:lnTo>
                    <a:pt x="3036420" y="3112479"/>
                  </a:lnTo>
                  <a:lnTo>
                    <a:pt x="3027722" y="3150419"/>
                  </a:lnTo>
                  <a:lnTo>
                    <a:pt x="3014201" y="3170593"/>
                  </a:lnTo>
                  <a:lnTo>
                    <a:pt x="2992121" y="3197718"/>
                  </a:lnTo>
                  <a:lnTo>
                    <a:pt x="2969317" y="3200521"/>
                  </a:lnTo>
                  <a:lnTo>
                    <a:pt x="2946723" y="3202017"/>
                  </a:lnTo>
                  <a:lnTo>
                    <a:pt x="2898521" y="3237142"/>
                  </a:lnTo>
                  <a:lnTo>
                    <a:pt x="2871382" y="3267168"/>
                  </a:lnTo>
                  <a:lnTo>
                    <a:pt x="2844245" y="3297196"/>
                  </a:lnTo>
                  <a:lnTo>
                    <a:pt x="2818374" y="3327624"/>
                  </a:lnTo>
                  <a:lnTo>
                    <a:pt x="2809885" y="3346875"/>
                  </a:lnTo>
                  <a:lnTo>
                    <a:pt x="2817754" y="3376170"/>
                  </a:lnTo>
                  <a:lnTo>
                    <a:pt x="2840695" y="3392122"/>
                  </a:lnTo>
                  <a:lnTo>
                    <a:pt x="2871388" y="3404548"/>
                  </a:lnTo>
                  <a:lnTo>
                    <a:pt x="2902142" y="3415997"/>
                  </a:lnTo>
                  <a:lnTo>
                    <a:pt x="2934556" y="3425190"/>
                  </a:lnTo>
                  <a:lnTo>
                    <a:pt x="2946202" y="3443998"/>
                  </a:lnTo>
                  <a:lnTo>
                    <a:pt x="2950112" y="3473925"/>
                  </a:lnTo>
                  <a:lnTo>
                    <a:pt x="2947724" y="3514722"/>
                  </a:lnTo>
                  <a:lnTo>
                    <a:pt x="2944844" y="3535523"/>
                  </a:lnTo>
                  <a:lnTo>
                    <a:pt x="2944844" y="3580836"/>
                  </a:lnTo>
                  <a:lnTo>
                    <a:pt x="2944512" y="3607196"/>
                  </a:lnTo>
                  <a:lnTo>
                    <a:pt x="2939731" y="3648051"/>
                  </a:lnTo>
                  <a:lnTo>
                    <a:pt x="2925803" y="3673869"/>
                  </a:lnTo>
                  <a:lnTo>
                    <a:pt x="2903665" y="3690152"/>
                  </a:lnTo>
                  <a:lnTo>
                    <a:pt x="2863615" y="3698390"/>
                  </a:lnTo>
                  <a:lnTo>
                    <a:pt x="2837288" y="3700223"/>
                  </a:lnTo>
                  <a:lnTo>
                    <a:pt x="2802025" y="3701074"/>
                  </a:lnTo>
                  <a:lnTo>
                    <a:pt x="2768107" y="3701892"/>
                  </a:lnTo>
                  <a:lnTo>
                    <a:pt x="2734196" y="3704061"/>
                  </a:lnTo>
                  <a:lnTo>
                    <a:pt x="2700006" y="3706515"/>
                  </a:lnTo>
                  <a:lnTo>
                    <a:pt x="2665825" y="3708968"/>
                  </a:lnTo>
                  <a:lnTo>
                    <a:pt x="2631756" y="3712543"/>
                  </a:lnTo>
                  <a:lnTo>
                    <a:pt x="2597997" y="3716037"/>
                  </a:lnTo>
                  <a:lnTo>
                    <a:pt x="2575778" y="3681923"/>
                  </a:lnTo>
                  <a:lnTo>
                    <a:pt x="2565354" y="3661630"/>
                  </a:lnTo>
                  <a:lnTo>
                    <a:pt x="2554926" y="3641330"/>
                  </a:lnTo>
                  <a:lnTo>
                    <a:pt x="2543749" y="3623458"/>
                  </a:lnTo>
                  <a:lnTo>
                    <a:pt x="2503227" y="3617470"/>
                  </a:lnTo>
                  <a:lnTo>
                    <a:pt x="2456926" y="3611971"/>
                  </a:lnTo>
                  <a:lnTo>
                    <a:pt x="2413010" y="3612662"/>
                  </a:lnTo>
                  <a:lnTo>
                    <a:pt x="2391048" y="3612992"/>
                  </a:lnTo>
                  <a:lnTo>
                    <a:pt x="2369992" y="3615050"/>
                  </a:lnTo>
                  <a:lnTo>
                    <a:pt x="2333607" y="3623874"/>
                  </a:lnTo>
                  <a:lnTo>
                    <a:pt x="2310994" y="3641225"/>
                  </a:lnTo>
                  <a:lnTo>
                    <a:pt x="2301116" y="3665653"/>
                  </a:lnTo>
                  <a:lnTo>
                    <a:pt x="2297851" y="3691155"/>
                  </a:lnTo>
                  <a:lnTo>
                    <a:pt x="2296031" y="3717397"/>
                  </a:lnTo>
                  <a:lnTo>
                    <a:pt x="2294211" y="3743637"/>
                  </a:lnTo>
                  <a:lnTo>
                    <a:pt x="2293116" y="3770941"/>
                  </a:lnTo>
                  <a:lnTo>
                    <a:pt x="2287873" y="3796285"/>
                  </a:lnTo>
                  <a:lnTo>
                    <a:pt x="2281027" y="3819623"/>
                  </a:lnTo>
                  <a:lnTo>
                    <a:pt x="2267515" y="3846400"/>
                  </a:lnTo>
                  <a:lnTo>
                    <a:pt x="2251143" y="3864298"/>
                  </a:lnTo>
                  <a:lnTo>
                    <a:pt x="2231135" y="3878675"/>
                  </a:lnTo>
                  <a:lnTo>
                    <a:pt x="2191969" y="3890236"/>
                  </a:lnTo>
                  <a:lnTo>
                    <a:pt x="2151853" y="3899660"/>
                  </a:lnTo>
                  <a:lnTo>
                    <a:pt x="2111735" y="3909090"/>
                  </a:lnTo>
                  <a:lnTo>
                    <a:pt x="2070082" y="3916385"/>
                  </a:lnTo>
                  <a:lnTo>
                    <a:pt x="2047113" y="3924147"/>
                  </a:lnTo>
                  <a:lnTo>
                    <a:pt x="2021154" y="3933545"/>
                  </a:lnTo>
                  <a:lnTo>
                    <a:pt x="1994189" y="3944670"/>
                  </a:lnTo>
                  <a:lnTo>
                    <a:pt x="1966866" y="3956791"/>
                  </a:lnTo>
                  <a:lnTo>
                    <a:pt x="1929836" y="3974783"/>
                  </a:lnTo>
                  <a:lnTo>
                    <a:pt x="1904293" y="3989436"/>
                  </a:lnTo>
                  <a:lnTo>
                    <a:pt x="1878757" y="4004089"/>
                  </a:lnTo>
                  <a:lnTo>
                    <a:pt x="1854495" y="4018836"/>
                  </a:lnTo>
                  <a:lnTo>
                    <a:pt x="1832816" y="4036478"/>
                  </a:lnTo>
                  <a:lnTo>
                    <a:pt x="1817359" y="4074668"/>
                  </a:lnTo>
                  <a:lnTo>
                    <a:pt x="1794117" y="4103693"/>
                  </a:lnTo>
                  <a:lnTo>
                    <a:pt x="1768305" y="4130705"/>
                  </a:lnTo>
                  <a:lnTo>
                    <a:pt x="1735594" y="4141969"/>
                  </a:lnTo>
                  <a:lnTo>
                    <a:pt x="1694824" y="4128173"/>
                  </a:lnTo>
                  <a:lnTo>
                    <a:pt x="1669619" y="4102460"/>
                  </a:lnTo>
                  <a:lnTo>
                    <a:pt x="1659456" y="4083288"/>
                  </a:lnTo>
                  <a:lnTo>
                    <a:pt x="1649301" y="4064117"/>
                  </a:lnTo>
                  <a:lnTo>
                    <a:pt x="1639289" y="4043533"/>
                  </a:lnTo>
                  <a:lnTo>
                    <a:pt x="1592808" y="4027528"/>
                  </a:lnTo>
                  <a:lnTo>
                    <a:pt x="1560165" y="4023452"/>
                  </a:lnTo>
                  <a:lnTo>
                    <a:pt x="1531621" y="4030753"/>
                  </a:lnTo>
                  <a:lnTo>
                    <a:pt x="1500011" y="4059605"/>
                  </a:lnTo>
                  <a:lnTo>
                    <a:pt x="1473110" y="4087383"/>
                  </a:lnTo>
                  <a:lnTo>
                    <a:pt x="1446210" y="4115154"/>
                  </a:lnTo>
                  <a:lnTo>
                    <a:pt x="1423116" y="4141811"/>
                  </a:lnTo>
                  <a:lnTo>
                    <a:pt x="1391624" y="4173315"/>
                  </a:lnTo>
                  <a:lnTo>
                    <a:pt x="1371095" y="4196192"/>
                  </a:lnTo>
                  <a:lnTo>
                    <a:pt x="1350566" y="4219084"/>
                  </a:lnTo>
                  <a:lnTo>
                    <a:pt x="1328874" y="4241421"/>
                  </a:lnTo>
                  <a:lnTo>
                    <a:pt x="1254122" y="4243802"/>
                  </a:lnTo>
                  <a:lnTo>
                    <a:pt x="1187466" y="4239726"/>
                  </a:lnTo>
                  <a:lnTo>
                    <a:pt x="1180958" y="4261165"/>
                  </a:lnTo>
                  <a:lnTo>
                    <a:pt x="1172251" y="4280693"/>
                  </a:lnTo>
                  <a:lnTo>
                    <a:pt x="1158903" y="4298216"/>
                  </a:lnTo>
                  <a:lnTo>
                    <a:pt x="1143676" y="4318205"/>
                  </a:lnTo>
                  <a:lnTo>
                    <a:pt x="1124939" y="4337343"/>
                  </a:lnTo>
                  <a:lnTo>
                    <a:pt x="1108578" y="4355341"/>
                  </a:lnTo>
                  <a:lnTo>
                    <a:pt x="1092876" y="4372620"/>
                  </a:lnTo>
                  <a:lnTo>
                    <a:pt x="1059374" y="4377315"/>
                  </a:lnTo>
                  <a:lnTo>
                    <a:pt x="1022884" y="4379821"/>
                  </a:lnTo>
                  <a:lnTo>
                    <a:pt x="986402" y="4382327"/>
                  </a:lnTo>
                  <a:lnTo>
                    <a:pt x="947834" y="4382183"/>
                  </a:lnTo>
                  <a:lnTo>
                    <a:pt x="923590" y="4389345"/>
                  </a:lnTo>
                  <a:lnTo>
                    <a:pt x="899083" y="4417920"/>
                  </a:lnTo>
                  <a:lnTo>
                    <a:pt x="896578" y="4449154"/>
                  </a:lnTo>
                  <a:lnTo>
                    <a:pt x="893431" y="4481904"/>
                  </a:lnTo>
                  <a:lnTo>
                    <a:pt x="886852" y="4513137"/>
                  </a:lnTo>
                  <a:lnTo>
                    <a:pt x="858131" y="4555674"/>
                  </a:lnTo>
                  <a:lnTo>
                    <a:pt x="829726" y="4585226"/>
                  </a:lnTo>
                  <a:lnTo>
                    <a:pt x="801316" y="4614778"/>
                  </a:lnTo>
                  <a:lnTo>
                    <a:pt x="770741" y="4643756"/>
                  </a:lnTo>
                  <a:lnTo>
                    <a:pt x="748410" y="4659860"/>
                  </a:lnTo>
                  <a:lnTo>
                    <a:pt x="726582" y="4663151"/>
                  </a:lnTo>
                  <a:lnTo>
                    <a:pt x="701542" y="4642391"/>
                  </a:lnTo>
                  <a:lnTo>
                    <a:pt x="688588" y="4606950"/>
                  </a:lnTo>
                  <a:lnTo>
                    <a:pt x="684929" y="4585443"/>
                  </a:lnTo>
                  <a:lnTo>
                    <a:pt x="680101" y="4563463"/>
                  </a:lnTo>
                  <a:lnTo>
                    <a:pt x="675274" y="4541475"/>
                  </a:lnTo>
                  <a:lnTo>
                    <a:pt x="669913" y="4519897"/>
                  </a:lnTo>
                  <a:lnTo>
                    <a:pt x="654922" y="4481883"/>
                  </a:lnTo>
                  <a:lnTo>
                    <a:pt x="629776" y="4457364"/>
                  </a:lnTo>
                  <a:lnTo>
                    <a:pt x="624716" y="4435475"/>
                  </a:lnTo>
                  <a:lnTo>
                    <a:pt x="631720" y="4413619"/>
                  </a:lnTo>
                  <a:lnTo>
                    <a:pt x="637933" y="4392075"/>
                  </a:lnTo>
                  <a:lnTo>
                    <a:pt x="644153" y="4370529"/>
                  </a:lnTo>
                  <a:lnTo>
                    <a:pt x="649942" y="4348568"/>
                  </a:lnTo>
                  <a:lnTo>
                    <a:pt x="644733" y="4328144"/>
                  </a:lnTo>
                  <a:lnTo>
                    <a:pt x="616294" y="4306744"/>
                  </a:lnTo>
                  <a:lnTo>
                    <a:pt x="575243" y="4314182"/>
                  </a:lnTo>
                  <a:lnTo>
                    <a:pt x="552140" y="4326811"/>
                  </a:lnTo>
                  <a:lnTo>
                    <a:pt x="529115" y="4341749"/>
                  </a:lnTo>
                  <a:lnTo>
                    <a:pt x="483078" y="4371611"/>
                  </a:lnTo>
                  <a:lnTo>
                    <a:pt x="439446" y="4412922"/>
                  </a:lnTo>
                  <a:lnTo>
                    <a:pt x="417175" y="4441570"/>
                  </a:lnTo>
                  <a:lnTo>
                    <a:pt x="405250" y="4463049"/>
                  </a:lnTo>
                  <a:lnTo>
                    <a:pt x="394457" y="4481845"/>
                  </a:lnTo>
                  <a:lnTo>
                    <a:pt x="383667" y="4500647"/>
                  </a:lnTo>
                  <a:lnTo>
                    <a:pt x="369975" y="4522653"/>
                  </a:lnTo>
                  <a:lnTo>
                    <a:pt x="351768" y="4546396"/>
                  </a:lnTo>
                  <a:lnTo>
                    <a:pt x="333775" y="4569642"/>
                  </a:lnTo>
                  <a:lnTo>
                    <a:pt x="315569" y="4592026"/>
                  </a:lnTo>
                  <a:lnTo>
                    <a:pt x="289958" y="4621010"/>
                  </a:lnTo>
                  <a:lnTo>
                    <a:pt x="255653" y="4647238"/>
                  </a:lnTo>
                  <a:lnTo>
                    <a:pt x="224433" y="4674996"/>
                  </a:lnTo>
                  <a:lnTo>
                    <a:pt x="193219" y="4702760"/>
                  </a:lnTo>
                  <a:lnTo>
                    <a:pt x="163826" y="4730954"/>
                  </a:lnTo>
                  <a:lnTo>
                    <a:pt x="146903" y="4766131"/>
                  </a:lnTo>
                  <a:lnTo>
                    <a:pt x="142736" y="4815804"/>
                  </a:lnTo>
                  <a:lnTo>
                    <a:pt x="144187" y="4853183"/>
                  </a:lnTo>
                  <a:lnTo>
                    <a:pt x="145638" y="4890564"/>
                  </a:lnTo>
                  <a:lnTo>
                    <a:pt x="145768" y="4930924"/>
                  </a:lnTo>
                  <a:lnTo>
                    <a:pt x="137387" y="4959276"/>
                  </a:lnTo>
                  <a:lnTo>
                    <a:pt x="120405" y="5016724"/>
                  </a:lnTo>
                  <a:lnTo>
                    <a:pt x="97783" y="5054769"/>
                  </a:lnTo>
                  <a:lnTo>
                    <a:pt x="73456" y="5089856"/>
                  </a:lnTo>
                  <a:lnTo>
                    <a:pt x="49126" y="5124940"/>
                  </a:lnTo>
                  <a:lnTo>
                    <a:pt x="23946" y="5156675"/>
                  </a:lnTo>
                  <a:lnTo>
                    <a:pt x="0" y="5202753"/>
                  </a:lnTo>
                  <a:lnTo>
                    <a:pt x="10381" y="5232055"/>
                  </a:lnTo>
                  <a:lnTo>
                    <a:pt x="35871" y="5249616"/>
                  </a:lnTo>
                  <a:lnTo>
                    <a:pt x="70731" y="5259884"/>
                  </a:lnTo>
                  <a:lnTo>
                    <a:pt x="106726" y="5269025"/>
                  </a:lnTo>
                  <a:lnTo>
                    <a:pt x="146599" y="5273781"/>
                  </a:lnTo>
                  <a:lnTo>
                    <a:pt x="168666" y="5288447"/>
                  </a:lnTo>
                  <a:lnTo>
                    <a:pt x="175506" y="5311186"/>
                  </a:lnTo>
                  <a:lnTo>
                    <a:pt x="166759" y="5339789"/>
                  </a:lnTo>
                  <a:lnTo>
                    <a:pt x="160474" y="5360087"/>
                  </a:lnTo>
                  <a:lnTo>
                    <a:pt x="172997" y="5380176"/>
                  </a:lnTo>
                  <a:lnTo>
                    <a:pt x="179546" y="5402703"/>
                  </a:lnTo>
                  <a:lnTo>
                    <a:pt x="175137" y="5436154"/>
                  </a:lnTo>
                  <a:lnTo>
                    <a:pt x="149619" y="5467994"/>
                  </a:lnTo>
                  <a:lnTo>
                    <a:pt x="126200" y="5499597"/>
                  </a:lnTo>
                  <a:lnTo>
                    <a:pt x="129254" y="5524572"/>
                  </a:lnTo>
                  <a:lnTo>
                    <a:pt x="135499" y="5551049"/>
                  </a:lnTo>
                  <a:lnTo>
                    <a:pt x="161221" y="5554531"/>
                  </a:lnTo>
                  <a:lnTo>
                    <a:pt x="186339" y="5561845"/>
                  </a:lnTo>
                  <a:lnTo>
                    <a:pt x="209885" y="5554657"/>
                  </a:lnTo>
                  <a:lnTo>
                    <a:pt x="231912" y="5540650"/>
                  </a:lnTo>
                  <a:lnTo>
                    <a:pt x="255771" y="5525573"/>
                  </a:lnTo>
                  <a:lnTo>
                    <a:pt x="280107" y="5513504"/>
                  </a:lnTo>
                  <a:lnTo>
                    <a:pt x="317274" y="5510656"/>
                  </a:lnTo>
                  <a:lnTo>
                    <a:pt x="337806" y="5520192"/>
                  </a:lnTo>
                  <a:lnTo>
                    <a:pt x="356369" y="5536007"/>
                  </a:lnTo>
                  <a:lnTo>
                    <a:pt x="374929" y="5551815"/>
                  </a:lnTo>
                  <a:lnTo>
                    <a:pt x="391344" y="5574099"/>
                  </a:lnTo>
                  <a:lnTo>
                    <a:pt x="408053" y="5595856"/>
                  </a:lnTo>
                  <a:lnTo>
                    <a:pt x="424765" y="5617605"/>
                  </a:lnTo>
                  <a:lnTo>
                    <a:pt x="441828" y="5638735"/>
                  </a:lnTo>
                  <a:lnTo>
                    <a:pt x="458378" y="5655705"/>
                  </a:lnTo>
                  <a:lnTo>
                    <a:pt x="474939" y="5672673"/>
                  </a:lnTo>
                  <a:lnTo>
                    <a:pt x="491967" y="5685532"/>
                  </a:lnTo>
                  <a:lnTo>
                    <a:pt x="528154" y="5673570"/>
                  </a:lnTo>
                  <a:lnTo>
                    <a:pt x="542637" y="5653514"/>
                  </a:lnTo>
                  <a:lnTo>
                    <a:pt x="556314" y="5631218"/>
                  </a:lnTo>
                  <a:lnTo>
                    <a:pt x="569993" y="5608926"/>
                  </a:lnTo>
                  <a:lnTo>
                    <a:pt x="582715" y="5583570"/>
                  </a:lnTo>
                  <a:lnTo>
                    <a:pt x="594401" y="5559128"/>
                  </a:lnTo>
                  <a:lnTo>
                    <a:pt x="606093" y="5534687"/>
                  </a:lnTo>
                  <a:lnTo>
                    <a:pt x="617646" y="5510973"/>
                  </a:lnTo>
                  <a:lnTo>
                    <a:pt x="629770" y="5491115"/>
                  </a:lnTo>
                  <a:lnTo>
                    <a:pt x="641890" y="5471265"/>
                  </a:lnTo>
                  <a:lnTo>
                    <a:pt x="669212" y="5447589"/>
                  </a:lnTo>
                  <a:lnTo>
                    <a:pt x="691933" y="5442076"/>
                  </a:lnTo>
                  <a:lnTo>
                    <a:pt x="715938" y="5458859"/>
                  </a:lnTo>
                  <a:lnTo>
                    <a:pt x="728585" y="5477134"/>
                  </a:lnTo>
                  <a:lnTo>
                    <a:pt x="738585" y="5497921"/>
                  </a:lnTo>
                  <a:lnTo>
                    <a:pt x="749406" y="5515952"/>
                  </a:lnTo>
                  <a:lnTo>
                    <a:pt x="767417" y="5530097"/>
                  </a:lnTo>
                  <a:lnTo>
                    <a:pt x="791633" y="5527849"/>
                  </a:lnTo>
                  <a:lnTo>
                    <a:pt x="815064" y="5517448"/>
                  </a:lnTo>
                  <a:lnTo>
                    <a:pt x="838926" y="5500156"/>
                  </a:lnTo>
                  <a:lnTo>
                    <a:pt x="863721" y="5481599"/>
                  </a:lnTo>
                  <a:lnTo>
                    <a:pt x="889428" y="5466806"/>
                  </a:lnTo>
                  <a:lnTo>
                    <a:pt x="905508" y="5482325"/>
                  </a:lnTo>
                  <a:lnTo>
                    <a:pt x="917814" y="5507319"/>
                  </a:lnTo>
                  <a:lnTo>
                    <a:pt x="948302" y="5529122"/>
                  </a:lnTo>
                  <a:lnTo>
                    <a:pt x="958940" y="5570011"/>
                  </a:lnTo>
                  <a:lnTo>
                    <a:pt x="961352" y="5591740"/>
                  </a:lnTo>
                  <a:lnTo>
                    <a:pt x="957929" y="5616366"/>
                  </a:lnTo>
                  <a:lnTo>
                    <a:pt x="957582" y="5646181"/>
                  </a:lnTo>
                  <a:lnTo>
                    <a:pt x="977801" y="5676347"/>
                  </a:lnTo>
                  <a:lnTo>
                    <a:pt x="1002649" y="5697628"/>
                  </a:lnTo>
                  <a:lnTo>
                    <a:pt x="1026952" y="5720994"/>
                  </a:lnTo>
                  <a:lnTo>
                    <a:pt x="1044358" y="5756429"/>
                  </a:lnTo>
                  <a:lnTo>
                    <a:pt x="1050076" y="5776761"/>
                  </a:lnTo>
                  <a:lnTo>
                    <a:pt x="1055793" y="5797099"/>
                  </a:lnTo>
                  <a:lnTo>
                    <a:pt x="1062004" y="5818078"/>
                  </a:lnTo>
                  <a:lnTo>
                    <a:pt x="1095592" y="5852826"/>
                  </a:lnTo>
                  <a:lnTo>
                    <a:pt x="1131897" y="5868199"/>
                  </a:lnTo>
                  <a:lnTo>
                    <a:pt x="1169771" y="5881494"/>
                  </a:lnTo>
                  <a:lnTo>
                    <a:pt x="1207641" y="5894796"/>
                  </a:lnTo>
                  <a:lnTo>
                    <a:pt x="1246333" y="5905855"/>
                  </a:lnTo>
                  <a:lnTo>
                    <a:pt x="1274505" y="5916863"/>
                  </a:lnTo>
                  <a:lnTo>
                    <a:pt x="1314252" y="5916401"/>
                  </a:lnTo>
                  <a:lnTo>
                    <a:pt x="1337072" y="5907339"/>
                  </a:lnTo>
                  <a:lnTo>
                    <a:pt x="1359896" y="5898304"/>
                  </a:lnTo>
                  <a:lnTo>
                    <a:pt x="1383987" y="5887957"/>
                  </a:lnTo>
                  <a:lnTo>
                    <a:pt x="1436840" y="5896121"/>
                  </a:lnTo>
                  <a:lnTo>
                    <a:pt x="1473033" y="5908448"/>
                  </a:lnTo>
                  <a:lnTo>
                    <a:pt x="1505735" y="5916863"/>
                  </a:lnTo>
                  <a:lnTo>
                    <a:pt x="1587032" y="5881454"/>
                  </a:lnTo>
                  <a:lnTo>
                    <a:pt x="1673597" y="5881415"/>
                  </a:lnTo>
                  <a:lnTo>
                    <a:pt x="1742672" y="5918393"/>
                  </a:lnTo>
                  <a:lnTo>
                    <a:pt x="1814503" y="5929102"/>
                  </a:lnTo>
                  <a:lnTo>
                    <a:pt x="1842418" y="5933271"/>
                  </a:lnTo>
                  <a:lnTo>
                    <a:pt x="1871635" y="5914139"/>
                  </a:lnTo>
                  <a:lnTo>
                    <a:pt x="1904281" y="5910063"/>
                  </a:lnTo>
                  <a:lnTo>
                    <a:pt x="1935805" y="5916737"/>
                  </a:lnTo>
                  <a:lnTo>
                    <a:pt x="1960045" y="5927750"/>
                  </a:lnTo>
                  <a:lnTo>
                    <a:pt x="1987770" y="5931331"/>
                  </a:lnTo>
                  <a:lnTo>
                    <a:pt x="2022612" y="5930468"/>
                  </a:lnTo>
                  <a:lnTo>
                    <a:pt x="2048365" y="5925113"/>
                  </a:lnTo>
                  <a:lnTo>
                    <a:pt x="2073123" y="5904451"/>
                  </a:lnTo>
                  <a:lnTo>
                    <a:pt x="2080890" y="5878843"/>
                  </a:lnTo>
                  <a:lnTo>
                    <a:pt x="2101506" y="5839332"/>
                  </a:lnTo>
                  <a:lnTo>
                    <a:pt x="2115639" y="5812235"/>
                  </a:lnTo>
                  <a:lnTo>
                    <a:pt x="2141386" y="5780677"/>
                  </a:lnTo>
                  <a:lnTo>
                    <a:pt x="2172237" y="5757720"/>
                  </a:lnTo>
                  <a:lnTo>
                    <a:pt x="2205363" y="5736762"/>
                  </a:lnTo>
                  <a:lnTo>
                    <a:pt x="2239761" y="5726995"/>
                  </a:lnTo>
                  <a:lnTo>
                    <a:pt x="2274252" y="5731875"/>
                  </a:lnTo>
                  <a:lnTo>
                    <a:pt x="2291085" y="5745013"/>
                  </a:lnTo>
                  <a:lnTo>
                    <a:pt x="2306852" y="5769704"/>
                  </a:lnTo>
                  <a:lnTo>
                    <a:pt x="2361748" y="5782162"/>
                  </a:lnTo>
                  <a:lnTo>
                    <a:pt x="2382218" y="5755551"/>
                  </a:lnTo>
                  <a:lnTo>
                    <a:pt x="2417071" y="5757720"/>
                  </a:lnTo>
                  <a:lnTo>
                    <a:pt x="2466997" y="5760827"/>
                  </a:lnTo>
                  <a:lnTo>
                    <a:pt x="2516795" y="5772513"/>
                  </a:lnTo>
                  <a:lnTo>
                    <a:pt x="2566690" y="5775401"/>
                  </a:lnTo>
                  <a:lnTo>
                    <a:pt x="2601209" y="5777353"/>
                  </a:lnTo>
                  <a:lnTo>
                    <a:pt x="2624693" y="5769954"/>
                  </a:lnTo>
                  <a:lnTo>
                    <a:pt x="2663267" y="5775401"/>
                  </a:lnTo>
                  <a:lnTo>
                    <a:pt x="2691830" y="5784925"/>
                  </a:lnTo>
                  <a:lnTo>
                    <a:pt x="2736193" y="5761863"/>
                  </a:lnTo>
                  <a:lnTo>
                    <a:pt x="2781632" y="5781634"/>
                  </a:lnTo>
                  <a:lnTo>
                    <a:pt x="2865072" y="5816666"/>
                  </a:lnTo>
                  <a:lnTo>
                    <a:pt x="2944831" y="5842056"/>
                  </a:lnTo>
                  <a:lnTo>
                    <a:pt x="2984708" y="5854745"/>
                  </a:lnTo>
                  <a:lnTo>
                    <a:pt x="3023416" y="5864525"/>
                  </a:lnTo>
                  <a:lnTo>
                    <a:pt x="3055004" y="5867895"/>
                  </a:lnTo>
                  <a:lnTo>
                    <a:pt x="3086599" y="5871271"/>
                  </a:lnTo>
                  <a:lnTo>
                    <a:pt x="3110818" y="5868489"/>
                  </a:lnTo>
                  <a:lnTo>
                    <a:pt x="3135679" y="5831215"/>
                  </a:lnTo>
                  <a:lnTo>
                    <a:pt x="3132770" y="5805032"/>
                  </a:lnTo>
                  <a:lnTo>
                    <a:pt x="3143421" y="5782207"/>
                  </a:lnTo>
                  <a:lnTo>
                    <a:pt x="3153491" y="5760610"/>
                  </a:lnTo>
                  <a:lnTo>
                    <a:pt x="3179912" y="5743272"/>
                  </a:lnTo>
                  <a:lnTo>
                    <a:pt x="3180144" y="5716912"/>
                  </a:lnTo>
                  <a:lnTo>
                    <a:pt x="3191756" y="5698023"/>
                  </a:lnTo>
                  <a:lnTo>
                    <a:pt x="3218306" y="5690076"/>
                  </a:lnTo>
                  <a:lnTo>
                    <a:pt x="3246791" y="5686990"/>
                  </a:lnTo>
                  <a:lnTo>
                    <a:pt x="3275279" y="5683897"/>
                  </a:lnTo>
                  <a:lnTo>
                    <a:pt x="3305836" y="5686529"/>
                  </a:lnTo>
                  <a:lnTo>
                    <a:pt x="3344612" y="5684663"/>
                  </a:lnTo>
                  <a:lnTo>
                    <a:pt x="3362412" y="5667951"/>
                  </a:lnTo>
                  <a:lnTo>
                    <a:pt x="3392091" y="5655559"/>
                  </a:lnTo>
                  <a:lnTo>
                    <a:pt x="3433143" y="5661151"/>
                  </a:lnTo>
                  <a:lnTo>
                    <a:pt x="3460387" y="5673220"/>
                  </a:lnTo>
                  <a:lnTo>
                    <a:pt x="3484789" y="5689879"/>
                  </a:lnTo>
                  <a:lnTo>
                    <a:pt x="3521553" y="5697873"/>
                  </a:lnTo>
                  <a:lnTo>
                    <a:pt x="3550394" y="5697885"/>
                  </a:lnTo>
                  <a:lnTo>
                    <a:pt x="3573240" y="5696513"/>
                  </a:lnTo>
                  <a:lnTo>
                    <a:pt x="3596091" y="5695141"/>
                  </a:lnTo>
                  <a:lnTo>
                    <a:pt x="3617959" y="5693025"/>
                  </a:lnTo>
                  <a:lnTo>
                    <a:pt x="3645880" y="5685824"/>
                  </a:lnTo>
                  <a:lnTo>
                    <a:pt x="3669268" y="5677290"/>
                  </a:lnTo>
                  <a:lnTo>
                    <a:pt x="3692935" y="5674756"/>
                  </a:lnTo>
                  <a:lnTo>
                    <a:pt x="3720139" y="5696519"/>
                  </a:lnTo>
                  <a:lnTo>
                    <a:pt x="3724526" y="5728103"/>
                  </a:lnTo>
                  <a:lnTo>
                    <a:pt x="3726635" y="5760148"/>
                  </a:lnTo>
                  <a:lnTo>
                    <a:pt x="3740544" y="5787655"/>
                  </a:lnTo>
                  <a:lnTo>
                    <a:pt x="3763811" y="5796769"/>
                  </a:lnTo>
                  <a:lnTo>
                    <a:pt x="3790733" y="5800310"/>
                  </a:lnTo>
                  <a:lnTo>
                    <a:pt x="3815358" y="5791731"/>
                  </a:lnTo>
                  <a:lnTo>
                    <a:pt x="3822148" y="5764850"/>
                  </a:lnTo>
                  <a:lnTo>
                    <a:pt x="3829503" y="5729652"/>
                  </a:lnTo>
                  <a:lnTo>
                    <a:pt x="3843921" y="5699237"/>
                  </a:lnTo>
                  <a:lnTo>
                    <a:pt x="3860162" y="5669600"/>
                  </a:lnTo>
                  <a:lnTo>
                    <a:pt x="3882086" y="5647270"/>
                  </a:lnTo>
                  <a:lnTo>
                    <a:pt x="3911932" y="5635312"/>
                  </a:lnTo>
                  <a:lnTo>
                    <a:pt x="3945812" y="5642890"/>
                  </a:lnTo>
                  <a:lnTo>
                    <a:pt x="3963616" y="5654353"/>
                  </a:lnTo>
                  <a:lnTo>
                    <a:pt x="3981422" y="5665820"/>
                  </a:lnTo>
                  <a:lnTo>
                    <a:pt x="3996262" y="5695161"/>
                  </a:lnTo>
                  <a:lnTo>
                    <a:pt x="3997620" y="5735963"/>
                  </a:lnTo>
                  <a:lnTo>
                    <a:pt x="4000339" y="5776773"/>
                  </a:lnTo>
                  <a:lnTo>
                    <a:pt x="4016199" y="5796743"/>
                  </a:lnTo>
                  <a:lnTo>
                    <a:pt x="4041608" y="5805765"/>
                  </a:lnTo>
                  <a:lnTo>
                    <a:pt x="4072428" y="5805330"/>
                  </a:lnTo>
                  <a:lnTo>
                    <a:pt x="4103080" y="5802910"/>
                  </a:lnTo>
                  <a:lnTo>
                    <a:pt x="4134340" y="5791196"/>
                  </a:lnTo>
                  <a:lnTo>
                    <a:pt x="4149964" y="5776767"/>
                  </a:lnTo>
                  <a:lnTo>
                    <a:pt x="4163039" y="5754147"/>
                  </a:lnTo>
                  <a:lnTo>
                    <a:pt x="4172248" y="5720493"/>
                  </a:lnTo>
                  <a:lnTo>
                    <a:pt x="4175807" y="5695155"/>
                  </a:lnTo>
                  <a:lnTo>
                    <a:pt x="4188681" y="5676710"/>
                  </a:lnTo>
                  <a:lnTo>
                    <a:pt x="4214283" y="5673174"/>
                  </a:lnTo>
                  <a:lnTo>
                    <a:pt x="4241090" y="5674750"/>
                  </a:lnTo>
                  <a:lnTo>
                    <a:pt x="4267907" y="5676327"/>
                  </a:lnTo>
                  <a:lnTo>
                    <a:pt x="4296079" y="5683700"/>
                  </a:lnTo>
                  <a:lnTo>
                    <a:pt x="4327643" y="5687267"/>
                  </a:lnTo>
                  <a:lnTo>
                    <a:pt x="4348547" y="5666593"/>
                  </a:lnTo>
                  <a:lnTo>
                    <a:pt x="4363920" y="5636289"/>
                  </a:lnTo>
                  <a:lnTo>
                    <a:pt x="4379010" y="5580299"/>
                  </a:lnTo>
                  <a:lnTo>
                    <a:pt x="4381996" y="5539600"/>
                  </a:lnTo>
                  <a:lnTo>
                    <a:pt x="4386424" y="5509317"/>
                  </a:lnTo>
                  <a:lnTo>
                    <a:pt x="4398960" y="5487428"/>
                  </a:lnTo>
                  <a:lnTo>
                    <a:pt x="4452029" y="5478671"/>
                  </a:lnTo>
                  <a:lnTo>
                    <a:pt x="4539912" y="5454909"/>
                  </a:lnTo>
                  <a:lnTo>
                    <a:pt x="4577891" y="5450570"/>
                  </a:lnTo>
                  <a:lnTo>
                    <a:pt x="4636278" y="5438758"/>
                  </a:lnTo>
                  <a:lnTo>
                    <a:pt x="4654591" y="5450313"/>
                  </a:lnTo>
                  <a:lnTo>
                    <a:pt x="4655304" y="5483314"/>
                  </a:lnTo>
                  <a:lnTo>
                    <a:pt x="4677721" y="5508802"/>
                  </a:lnTo>
                  <a:lnTo>
                    <a:pt x="4711142" y="5514586"/>
                  </a:lnTo>
                  <a:lnTo>
                    <a:pt x="4733485" y="5508802"/>
                  </a:lnTo>
                  <a:lnTo>
                    <a:pt x="4755831" y="5503020"/>
                  </a:lnTo>
                  <a:lnTo>
                    <a:pt x="4780983" y="5493456"/>
                  </a:lnTo>
                  <a:lnTo>
                    <a:pt x="4806935" y="5485681"/>
                  </a:lnTo>
                  <a:lnTo>
                    <a:pt x="4832893" y="5477906"/>
                  </a:lnTo>
                  <a:lnTo>
                    <a:pt x="4859713" y="5471601"/>
                  </a:lnTo>
                  <a:lnTo>
                    <a:pt x="4884471" y="5473442"/>
                  </a:lnTo>
                  <a:lnTo>
                    <a:pt x="4907645" y="5475162"/>
                  </a:lnTo>
                  <a:lnTo>
                    <a:pt x="4918472" y="5499286"/>
                  </a:lnTo>
                  <a:lnTo>
                    <a:pt x="4953841" y="5511526"/>
                  </a:lnTo>
                  <a:lnTo>
                    <a:pt x="5002557" y="5514296"/>
                  </a:lnTo>
                  <a:lnTo>
                    <a:pt x="5044970" y="5510168"/>
                  </a:lnTo>
                  <a:lnTo>
                    <a:pt x="5066733" y="5521049"/>
                  </a:lnTo>
                  <a:lnTo>
                    <a:pt x="5078974" y="5542812"/>
                  </a:lnTo>
                  <a:lnTo>
                    <a:pt x="5082344" y="5607793"/>
                  </a:lnTo>
                  <a:lnTo>
                    <a:pt x="5085780" y="5654345"/>
                  </a:lnTo>
                  <a:lnTo>
                    <a:pt x="5089209" y="5700899"/>
                  </a:lnTo>
                  <a:lnTo>
                    <a:pt x="5094675" y="5745764"/>
                  </a:lnTo>
                  <a:lnTo>
                    <a:pt x="5122196" y="5767132"/>
                  </a:lnTo>
                  <a:lnTo>
                    <a:pt x="5155276" y="5764738"/>
                  </a:lnTo>
                  <a:lnTo>
                    <a:pt x="5183715" y="5767244"/>
                  </a:lnTo>
                  <a:lnTo>
                    <a:pt x="5211167" y="5770950"/>
                  </a:lnTo>
                  <a:lnTo>
                    <a:pt x="5229700" y="5782578"/>
                  </a:lnTo>
                  <a:lnTo>
                    <a:pt x="5234040" y="5808046"/>
                  </a:lnTo>
                  <a:lnTo>
                    <a:pt x="5228599" y="5915504"/>
                  </a:lnTo>
                  <a:lnTo>
                    <a:pt x="5240291" y="5938626"/>
                  </a:lnTo>
                  <a:lnTo>
                    <a:pt x="5256727" y="5962038"/>
                  </a:lnTo>
                  <a:lnTo>
                    <a:pt x="5289804" y="5984875"/>
                  </a:lnTo>
                  <a:lnTo>
                    <a:pt x="5327185" y="5998910"/>
                  </a:lnTo>
                  <a:lnTo>
                    <a:pt x="5386434" y="6005775"/>
                  </a:lnTo>
                  <a:lnTo>
                    <a:pt x="5428674" y="6001132"/>
                  </a:lnTo>
                  <a:lnTo>
                    <a:pt x="5470711" y="6006638"/>
                  </a:lnTo>
                  <a:lnTo>
                    <a:pt x="5521939" y="6018748"/>
                  </a:lnTo>
                  <a:lnTo>
                    <a:pt x="5559128" y="6028401"/>
                  </a:lnTo>
                  <a:lnTo>
                    <a:pt x="5596316" y="6038057"/>
                  </a:lnTo>
                  <a:lnTo>
                    <a:pt x="5632642" y="6045977"/>
                  </a:lnTo>
                  <a:lnTo>
                    <a:pt x="5666302" y="6031231"/>
                  </a:lnTo>
                  <a:lnTo>
                    <a:pt x="5692812" y="6008327"/>
                  </a:lnTo>
                  <a:lnTo>
                    <a:pt x="5718271" y="5987593"/>
                  </a:lnTo>
                  <a:lnTo>
                    <a:pt x="5743721" y="5966866"/>
                  </a:lnTo>
                  <a:lnTo>
                    <a:pt x="5768247" y="5949065"/>
                  </a:lnTo>
                  <a:lnTo>
                    <a:pt x="5799869" y="5970123"/>
                  </a:lnTo>
                  <a:lnTo>
                    <a:pt x="5805553" y="6002767"/>
                  </a:lnTo>
                  <a:lnTo>
                    <a:pt x="5817565" y="6028401"/>
                  </a:lnTo>
                  <a:lnTo>
                    <a:pt x="5831381" y="6051676"/>
                  </a:lnTo>
                  <a:lnTo>
                    <a:pt x="5852713" y="6064977"/>
                  </a:lnTo>
                  <a:lnTo>
                    <a:pt x="5884212" y="6063764"/>
                  </a:lnTo>
                  <a:lnTo>
                    <a:pt x="5910322" y="6040029"/>
                  </a:lnTo>
                  <a:lnTo>
                    <a:pt x="5934280" y="6014052"/>
                  </a:lnTo>
                  <a:lnTo>
                    <a:pt x="5965822" y="6001198"/>
                  </a:lnTo>
                  <a:lnTo>
                    <a:pt x="6034819" y="5996087"/>
                  </a:lnTo>
                  <a:lnTo>
                    <a:pt x="6085654" y="5991253"/>
                  </a:lnTo>
                  <a:lnTo>
                    <a:pt x="6123614" y="5990317"/>
                  </a:lnTo>
                  <a:lnTo>
                    <a:pt x="6161565" y="5989381"/>
                  </a:lnTo>
                  <a:lnTo>
                    <a:pt x="6186106" y="5993331"/>
                  </a:lnTo>
                  <a:lnTo>
                    <a:pt x="6216173" y="6017224"/>
                  </a:lnTo>
                  <a:lnTo>
                    <a:pt x="6221540" y="6070569"/>
                  </a:lnTo>
                  <a:lnTo>
                    <a:pt x="6221738" y="6104124"/>
                  </a:lnTo>
                  <a:lnTo>
                    <a:pt x="6217143" y="6150850"/>
                  </a:lnTo>
                  <a:lnTo>
                    <a:pt x="6210666" y="6214748"/>
                  </a:lnTo>
                  <a:lnTo>
                    <a:pt x="6199923" y="6241503"/>
                  </a:lnTo>
                  <a:lnTo>
                    <a:pt x="6180600" y="6275045"/>
                  </a:lnTo>
                  <a:lnTo>
                    <a:pt x="6170337" y="6296129"/>
                  </a:lnTo>
                  <a:lnTo>
                    <a:pt x="6168498" y="6326287"/>
                  </a:lnTo>
                  <a:lnTo>
                    <a:pt x="6259634" y="6333087"/>
                  </a:lnTo>
                  <a:lnTo>
                    <a:pt x="6283328" y="6262231"/>
                  </a:lnTo>
                  <a:lnTo>
                    <a:pt x="6271345" y="6202594"/>
                  </a:lnTo>
                  <a:lnTo>
                    <a:pt x="6285471" y="6145382"/>
                  </a:lnTo>
                  <a:lnTo>
                    <a:pt x="6322898" y="6126851"/>
                  </a:lnTo>
                  <a:lnTo>
                    <a:pt x="6352121" y="6138582"/>
                  </a:lnTo>
                  <a:lnTo>
                    <a:pt x="6369801" y="6192991"/>
                  </a:lnTo>
                  <a:lnTo>
                    <a:pt x="6408763" y="6191421"/>
                  </a:lnTo>
                  <a:lnTo>
                    <a:pt x="6458812" y="6183383"/>
                  </a:lnTo>
                  <a:lnTo>
                    <a:pt x="6493579" y="6164423"/>
                  </a:lnTo>
                  <a:lnTo>
                    <a:pt x="6492280" y="6123639"/>
                  </a:lnTo>
                  <a:lnTo>
                    <a:pt x="6486736" y="6082790"/>
                  </a:lnTo>
                  <a:lnTo>
                    <a:pt x="6496311" y="6043366"/>
                  </a:lnTo>
                  <a:lnTo>
                    <a:pt x="6528448" y="6019328"/>
                  </a:lnTo>
                  <a:lnTo>
                    <a:pt x="6546636" y="6006638"/>
                  </a:lnTo>
                  <a:lnTo>
                    <a:pt x="6564824" y="5993951"/>
                  </a:lnTo>
                  <a:lnTo>
                    <a:pt x="6599684" y="5986241"/>
                  </a:lnTo>
                  <a:lnTo>
                    <a:pt x="6697384" y="6089912"/>
                  </a:lnTo>
                  <a:lnTo>
                    <a:pt x="6719382" y="6108655"/>
                  </a:lnTo>
                  <a:lnTo>
                    <a:pt x="6742398" y="6089669"/>
                  </a:lnTo>
                  <a:lnTo>
                    <a:pt x="6769813" y="6075958"/>
                  </a:lnTo>
                  <a:lnTo>
                    <a:pt x="6798271" y="6078735"/>
                  </a:lnTo>
                  <a:lnTo>
                    <a:pt x="6818676" y="6126343"/>
                  </a:lnTo>
                  <a:lnTo>
                    <a:pt x="6845899" y="6137982"/>
                  </a:lnTo>
                  <a:lnTo>
                    <a:pt x="6867643" y="6135866"/>
                  </a:lnTo>
                  <a:lnTo>
                    <a:pt x="6889387" y="6133748"/>
                  </a:lnTo>
                  <a:lnTo>
                    <a:pt x="6915206" y="6126746"/>
                  </a:lnTo>
                  <a:lnTo>
                    <a:pt x="6941090" y="6119543"/>
                  </a:lnTo>
                  <a:lnTo>
                    <a:pt x="6992866" y="6105141"/>
                  </a:lnTo>
                  <a:lnTo>
                    <a:pt x="7044361" y="6088007"/>
                  </a:lnTo>
                  <a:lnTo>
                    <a:pt x="7075838" y="6099996"/>
                  </a:lnTo>
                  <a:lnTo>
                    <a:pt x="7085056" y="6118963"/>
                  </a:lnTo>
                  <a:lnTo>
                    <a:pt x="7092076" y="6139948"/>
                  </a:lnTo>
                  <a:lnTo>
                    <a:pt x="7099099" y="6160927"/>
                  </a:lnTo>
                  <a:lnTo>
                    <a:pt x="7103067" y="6184345"/>
                  </a:lnTo>
                  <a:lnTo>
                    <a:pt x="7110118" y="6215032"/>
                  </a:lnTo>
                  <a:lnTo>
                    <a:pt x="7126077" y="6251481"/>
                  </a:lnTo>
                  <a:lnTo>
                    <a:pt x="7140606" y="6289376"/>
                  </a:lnTo>
                  <a:lnTo>
                    <a:pt x="7139289" y="6318300"/>
                  </a:lnTo>
                  <a:lnTo>
                    <a:pt x="7131525" y="6354856"/>
                  </a:lnTo>
                  <a:lnTo>
                    <a:pt x="7120914" y="6388207"/>
                  </a:lnTo>
                  <a:lnTo>
                    <a:pt x="7092932" y="6411395"/>
                  </a:lnTo>
                  <a:lnTo>
                    <a:pt x="7052922" y="6434938"/>
                  </a:lnTo>
                  <a:lnTo>
                    <a:pt x="7011827" y="6455515"/>
                  </a:lnTo>
                  <a:lnTo>
                    <a:pt x="6970728" y="6476084"/>
                  </a:lnTo>
                  <a:lnTo>
                    <a:pt x="6927788" y="6494404"/>
                  </a:lnTo>
                  <a:lnTo>
                    <a:pt x="6900289" y="6501757"/>
                  </a:lnTo>
                  <a:lnTo>
                    <a:pt x="6904732" y="6522802"/>
                  </a:lnTo>
                  <a:lnTo>
                    <a:pt x="6914756" y="6542581"/>
                  </a:lnTo>
                  <a:lnTo>
                    <a:pt x="6926133" y="6562966"/>
                  </a:lnTo>
                  <a:lnTo>
                    <a:pt x="6937509" y="6583357"/>
                  </a:lnTo>
                  <a:lnTo>
                    <a:pt x="6951226" y="6604283"/>
                  </a:lnTo>
                  <a:lnTo>
                    <a:pt x="6961495" y="6622813"/>
                  </a:lnTo>
                  <a:lnTo>
                    <a:pt x="6976511" y="6649912"/>
                  </a:lnTo>
                  <a:lnTo>
                    <a:pt x="6991068" y="6677717"/>
                  </a:lnTo>
                  <a:lnTo>
                    <a:pt x="7006379" y="6705785"/>
                  </a:lnTo>
                  <a:lnTo>
                    <a:pt x="7021699" y="6733859"/>
                  </a:lnTo>
                  <a:lnTo>
                    <a:pt x="7036678" y="6761690"/>
                  </a:lnTo>
                  <a:lnTo>
                    <a:pt x="7053988" y="6787403"/>
                  </a:lnTo>
                  <a:lnTo>
                    <a:pt x="7085248" y="6833824"/>
                  </a:lnTo>
                  <a:lnTo>
                    <a:pt x="7126461" y="6875010"/>
                  </a:lnTo>
                  <a:lnTo>
                    <a:pt x="7150565" y="6926140"/>
                  </a:lnTo>
                  <a:lnTo>
                    <a:pt x="7184489" y="6913129"/>
                  </a:lnTo>
                  <a:lnTo>
                    <a:pt x="7258320" y="6885503"/>
                  </a:lnTo>
                  <a:lnTo>
                    <a:pt x="7281143" y="6888048"/>
                  </a:lnTo>
                  <a:lnTo>
                    <a:pt x="7331686" y="6952407"/>
                  </a:lnTo>
                  <a:lnTo>
                    <a:pt x="7339338" y="6992023"/>
                  </a:lnTo>
                  <a:lnTo>
                    <a:pt x="7340926" y="7037264"/>
                  </a:lnTo>
                  <a:lnTo>
                    <a:pt x="7358674" y="7058078"/>
                  </a:lnTo>
                  <a:lnTo>
                    <a:pt x="7373197" y="7075072"/>
                  </a:lnTo>
                  <a:lnTo>
                    <a:pt x="7388396" y="7091197"/>
                  </a:lnTo>
                  <a:lnTo>
                    <a:pt x="7403564" y="7108404"/>
                  </a:lnTo>
                  <a:lnTo>
                    <a:pt x="7418726" y="7125609"/>
                  </a:lnTo>
                  <a:lnTo>
                    <a:pt x="7433671" y="7143633"/>
                  </a:lnTo>
                  <a:lnTo>
                    <a:pt x="7447084" y="7161453"/>
                  </a:lnTo>
                  <a:lnTo>
                    <a:pt x="7466738" y="7187549"/>
                  </a:lnTo>
                  <a:lnTo>
                    <a:pt x="7470834" y="7213698"/>
                  </a:lnTo>
                  <a:lnTo>
                    <a:pt x="7466131" y="7238982"/>
                  </a:lnTo>
                  <a:lnTo>
                    <a:pt x="7461427" y="7264267"/>
                  </a:lnTo>
                  <a:lnTo>
                    <a:pt x="7447877" y="7288997"/>
                  </a:lnTo>
                  <a:lnTo>
                    <a:pt x="7432126" y="7312430"/>
                  </a:lnTo>
                  <a:lnTo>
                    <a:pt x="7416372" y="7335875"/>
                  </a:lnTo>
                  <a:lnTo>
                    <a:pt x="7398045" y="7357150"/>
                  </a:lnTo>
                  <a:lnTo>
                    <a:pt x="7384520" y="7377725"/>
                  </a:lnTo>
                  <a:lnTo>
                    <a:pt x="7370992" y="7398295"/>
                  </a:lnTo>
                  <a:lnTo>
                    <a:pt x="7362128" y="7418158"/>
                  </a:lnTo>
                  <a:lnTo>
                    <a:pt x="7367076" y="7459779"/>
                  </a:lnTo>
                  <a:lnTo>
                    <a:pt x="7381181" y="7476992"/>
                  </a:lnTo>
                  <a:lnTo>
                    <a:pt x="7394036" y="7494700"/>
                  </a:lnTo>
                  <a:lnTo>
                    <a:pt x="7406903" y="7512407"/>
                  </a:lnTo>
                  <a:lnTo>
                    <a:pt x="7418989" y="7529600"/>
                  </a:lnTo>
                  <a:lnTo>
                    <a:pt x="7417163" y="7555907"/>
                  </a:lnTo>
                  <a:lnTo>
                    <a:pt x="7410807" y="7598991"/>
                  </a:lnTo>
                  <a:lnTo>
                    <a:pt x="7407641" y="7626637"/>
                  </a:lnTo>
                  <a:lnTo>
                    <a:pt x="7404475" y="7654290"/>
                  </a:lnTo>
                  <a:lnTo>
                    <a:pt x="7402562" y="7680307"/>
                  </a:lnTo>
                  <a:lnTo>
                    <a:pt x="7420264" y="7698389"/>
                  </a:lnTo>
                  <a:lnTo>
                    <a:pt x="7449803" y="7701450"/>
                  </a:lnTo>
                  <a:lnTo>
                    <a:pt x="7564996" y="7692863"/>
                  </a:lnTo>
                  <a:lnTo>
                    <a:pt x="7678189" y="7700856"/>
                  </a:lnTo>
                  <a:lnTo>
                    <a:pt x="7793937" y="7696010"/>
                  </a:lnTo>
                  <a:lnTo>
                    <a:pt x="7811024" y="7643686"/>
                  </a:lnTo>
                  <a:lnTo>
                    <a:pt x="7817080" y="7614878"/>
                  </a:lnTo>
                  <a:lnTo>
                    <a:pt x="7834741" y="7599433"/>
                  </a:lnTo>
                  <a:lnTo>
                    <a:pt x="7852402" y="7583995"/>
                  </a:lnTo>
                  <a:lnTo>
                    <a:pt x="7881457" y="7582886"/>
                  </a:lnTo>
                  <a:lnTo>
                    <a:pt x="7925873" y="7593999"/>
                  </a:lnTo>
                  <a:lnTo>
                    <a:pt x="7958414" y="7601741"/>
                  </a:lnTo>
                  <a:lnTo>
                    <a:pt x="7991264" y="7610737"/>
                  </a:lnTo>
                  <a:lnTo>
                    <a:pt x="8022450" y="7622561"/>
                  </a:lnTo>
                  <a:lnTo>
                    <a:pt x="8043658" y="7632421"/>
                  </a:lnTo>
                  <a:lnTo>
                    <a:pt x="8054541" y="7656862"/>
                  </a:lnTo>
                  <a:lnTo>
                    <a:pt x="8071418" y="7671529"/>
                  </a:lnTo>
                  <a:lnTo>
                    <a:pt x="8088886" y="7686723"/>
                  </a:lnTo>
                  <a:lnTo>
                    <a:pt x="8127185" y="7700092"/>
                  </a:lnTo>
                  <a:lnTo>
                    <a:pt x="8164286" y="7716968"/>
                  </a:lnTo>
                  <a:lnTo>
                    <a:pt x="8182952" y="7739536"/>
                  </a:lnTo>
                  <a:lnTo>
                    <a:pt x="8202650" y="7763350"/>
                  </a:lnTo>
                  <a:lnTo>
                    <a:pt x="8214414" y="7795125"/>
                  </a:lnTo>
                  <a:lnTo>
                    <a:pt x="8225117" y="7826588"/>
                  </a:lnTo>
                  <a:lnTo>
                    <a:pt x="8235823" y="7858053"/>
                  </a:lnTo>
                  <a:lnTo>
                    <a:pt x="8245984" y="7888435"/>
                  </a:lnTo>
                  <a:lnTo>
                    <a:pt x="8263204" y="7909558"/>
                  </a:lnTo>
                  <a:lnTo>
                    <a:pt x="8304021" y="7935147"/>
                  </a:lnTo>
                  <a:lnTo>
                    <a:pt x="8335293" y="7942210"/>
                  </a:lnTo>
                  <a:lnTo>
                    <a:pt x="8366572" y="7949267"/>
                  </a:lnTo>
                  <a:lnTo>
                    <a:pt x="8399990" y="7951740"/>
                  </a:lnTo>
                  <a:lnTo>
                    <a:pt x="8448626" y="7948086"/>
                  </a:lnTo>
                  <a:lnTo>
                    <a:pt x="8472612" y="7938965"/>
                  </a:lnTo>
                  <a:lnTo>
                    <a:pt x="8493076" y="7924523"/>
                  </a:lnTo>
                  <a:lnTo>
                    <a:pt x="8513540" y="7910087"/>
                  </a:lnTo>
                  <a:lnTo>
                    <a:pt x="8530614" y="7890638"/>
                  </a:lnTo>
                  <a:lnTo>
                    <a:pt x="8544766" y="7868756"/>
                  </a:lnTo>
                  <a:lnTo>
                    <a:pt x="8573065" y="7824985"/>
                  </a:lnTo>
                  <a:lnTo>
                    <a:pt x="8592263" y="7771106"/>
                  </a:lnTo>
                  <a:lnTo>
                    <a:pt x="8616854" y="7725937"/>
                  </a:lnTo>
                  <a:lnTo>
                    <a:pt x="8630863" y="7700209"/>
                  </a:lnTo>
                  <a:lnTo>
                    <a:pt x="8649711" y="7674417"/>
                  </a:lnTo>
                  <a:lnTo>
                    <a:pt x="8665822" y="7649766"/>
                  </a:lnTo>
                  <a:lnTo>
                    <a:pt x="8678320" y="7630634"/>
                  </a:lnTo>
                  <a:lnTo>
                    <a:pt x="8688772" y="7603944"/>
                  </a:lnTo>
                  <a:lnTo>
                    <a:pt x="8706625" y="7588551"/>
                  </a:lnTo>
                  <a:lnTo>
                    <a:pt x="8723291" y="7574188"/>
                  </a:lnTo>
                  <a:lnTo>
                    <a:pt x="8767877" y="7562112"/>
                  </a:lnTo>
                  <a:lnTo>
                    <a:pt x="8856250" y="7539585"/>
                  </a:lnTo>
                  <a:lnTo>
                    <a:pt x="8877855" y="7536142"/>
                  </a:lnTo>
                  <a:lnTo>
                    <a:pt x="8903748" y="7539782"/>
                  </a:lnTo>
                  <a:lnTo>
                    <a:pt x="8931064" y="7549107"/>
                  </a:lnTo>
                  <a:lnTo>
                    <a:pt x="8958371" y="7558440"/>
                  </a:lnTo>
                  <a:lnTo>
                    <a:pt x="8986863" y="7572605"/>
                  </a:lnTo>
                  <a:lnTo>
                    <a:pt x="9014033" y="7589917"/>
                  </a:lnTo>
                  <a:lnTo>
                    <a:pt x="9068377" y="7624540"/>
                  </a:lnTo>
                  <a:lnTo>
                    <a:pt x="9116368" y="7670400"/>
                  </a:lnTo>
                  <a:lnTo>
                    <a:pt x="9135089" y="7708249"/>
                  </a:lnTo>
                  <a:lnTo>
                    <a:pt x="9222867" y="7661412"/>
                  </a:lnTo>
                  <a:lnTo>
                    <a:pt x="9256145" y="7653842"/>
                  </a:lnTo>
                  <a:lnTo>
                    <a:pt x="9326026" y="7697862"/>
                  </a:lnTo>
                  <a:lnTo>
                    <a:pt x="9385365" y="7723213"/>
                  </a:lnTo>
                  <a:lnTo>
                    <a:pt x="9444707" y="7748557"/>
                  </a:lnTo>
                  <a:lnTo>
                    <a:pt x="9506170" y="7770901"/>
                  </a:lnTo>
                  <a:lnTo>
                    <a:pt x="9526826" y="7774898"/>
                  </a:lnTo>
                  <a:lnTo>
                    <a:pt x="9559386" y="7781143"/>
                  </a:lnTo>
                  <a:lnTo>
                    <a:pt x="9589393" y="7766060"/>
                  </a:lnTo>
                  <a:lnTo>
                    <a:pt x="9619320" y="7759933"/>
                  </a:lnTo>
                  <a:lnTo>
                    <a:pt x="9762139" y="7730012"/>
                  </a:lnTo>
                  <a:lnTo>
                    <a:pt x="9809622" y="7720318"/>
                  </a:lnTo>
                  <a:lnTo>
                    <a:pt x="9859057" y="7714330"/>
                  </a:lnTo>
                  <a:lnTo>
                    <a:pt x="9907684" y="7705525"/>
                  </a:lnTo>
                  <a:lnTo>
                    <a:pt x="9944237" y="7693075"/>
                  </a:lnTo>
                  <a:lnTo>
                    <a:pt x="10077714" y="7685127"/>
                  </a:lnTo>
                  <a:lnTo>
                    <a:pt x="10194687" y="7676963"/>
                  </a:lnTo>
                  <a:lnTo>
                    <a:pt x="10207554" y="7621203"/>
                  </a:lnTo>
                  <a:lnTo>
                    <a:pt x="10206928" y="7579029"/>
                  </a:lnTo>
                  <a:lnTo>
                    <a:pt x="10206332" y="7536861"/>
                  </a:lnTo>
                  <a:lnTo>
                    <a:pt x="10204010" y="7492213"/>
                  </a:lnTo>
                  <a:lnTo>
                    <a:pt x="10211002" y="7471571"/>
                  </a:lnTo>
                  <a:lnTo>
                    <a:pt x="10237394" y="7461838"/>
                  </a:lnTo>
                  <a:lnTo>
                    <a:pt x="10259969" y="7459331"/>
                  </a:lnTo>
                  <a:lnTo>
                    <a:pt x="10282545" y="7456824"/>
                  </a:lnTo>
                  <a:lnTo>
                    <a:pt x="10306087" y="7454846"/>
                  </a:lnTo>
                  <a:lnTo>
                    <a:pt x="10325897" y="7442797"/>
                  </a:lnTo>
                  <a:lnTo>
                    <a:pt x="10326623" y="7414446"/>
                  </a:lnTo>
                  <a:lnTo>
                    <a:pt x="10284455" y="7381801"/>
                  </a:lnTo>
                  <a:lnTo>
                    <a:pt x="10281522" y="7346354"/>
                  </a:lnTo>
                  <a:lnTo>
                    <a:pt x="10294315" y="7280292"/>
                  </a:lnTo>
                  <a:lnTo>
                    <a:pt x="10283090" y="7259381"/>
                  </a:lnTo>
                  <a:lnTo>
                    <a:pt x="10272387" y="7239424"/>
                  </a:lnTo>
                  <a:lnTo>
                    <a:pt x="10255920" y="7218327"/>
                  </a:lnTo>
                  <a:lnTo>
                    <a:pt x="10247728" y="7196814"/>
                  </a:lnTo>
                  <a:lnTo>
                    <a:pt x="10241905" y="7175203"/>
                  </a:lnTo>
                  <a:lnTo>
                    <a:pt x="10245393" y="7153130"/>
                  </a:lnTo>
                  <a:lnTo>
                    <a:pt x="10261334" y="7130167"/>
                  </a:lnTo>
                  <a:lnTo>
                    <a:pt x="10277187" y="7114016"/>
                  </a:lnTo>
                  <a:lnTo>
                    <a:pt x="10317181" y="7111859"/>
                  </a:lnTo>
                  <a:lnTo>
                    <a:pt x="10355185" y="7109762"/>
                  </a:lnTo>
                  <a:lnTo>
                    <a:pt x="10393192" y="7107664"/>
                  </a:lnTo>
                  <a:lnTo>
                    <a:pt x="10428871" y="7105574"/>
                  </a:lnTo>
                  <a:lnTo>
                    <a:pt x="10442240" y="6985982"/>
                  </a:lnTo>
                  <a:lnTo>
                    <a:pt x="10360627" y="6975100"/>
                  </a:lnTo>
                  <a:lnTo>
                    <a:pt x="10330185" y="6961937"/>
                  </a:lnTo>
                  <a:lnTo>
                    <a:pt x="10317615" y="6928415"/>
                  </a:lnTo>
                  <a:lnTo>
                    <a:pt x="10317002" y="6906368"/>
                  </a:lnTo>
                  <a:lnTo>
                    <a:pt x="10319823" y="6883965"/>
                  </a:lnTo>
                  <a:lnTo>
                    <a:pt x="10322641" y="6861569"/>
                  </a:lnTo>
                  <a:lnTo>
                    <a:pt x="10330074" y="6837940"/>
                  </a:lnTo>
                  <a:lnTo>
                    <a:pt x="10338864" y="6818676"/>
                  </a:lnTo>
                  <a:lnTo>
                    <a:pt x="10347660" y="6799419"/>
                  </a:lnTo>
                  <a:lnTo>
                    <a:pt x="10370158" y="6777874"/>
                  </a:lnTo>
                  <a:lnTo>
                    <a:pt x="10393040" y="6761834"/>
                  </a:lnTo>
                  <a:lnTo>
                    <a:pt x="10417997" y="6744945"/>
                  </a:lnTo>
                  <a:lnTo>
                    <a:pt x="10442240" y="6731624"/>
                  </a:lnTo>
                  <a:lnTo>
                    <a:pt x="10485667" y="6713440"/>
                  </a:lnTo>
                  <a:lnTo>
                    <a:pt x="10517163" y="6715353"/>
                  </a:lnTo>
                  <a:lnTo>
                    <a:pt x="10549697" y="6712583"/>
                  </a:lnTo>
                  <a:lnTo>
                    <a:pt x="10581655" y="6708152"/>
                  </a:lnTo>
                  <a:lnTo>
                    <a:pt x="10618388" y="6695252"/>
                  </a:lnTo>
                  <a:lnTo>
                    <a:pt x="10638920" y="6685155"/>
                  </a:lnTo>
                  <a:lnTo>
                    <a:pt x="10662596" y="6667699"/>
                  </a:lnTo>
                  <a:lnTo>
                    <a:pt x="10701149" y="6709010"/>
                  </a:lnTo>
                  <a:lnTo>
                    <a:pt x="10719396" y="6747939"/>
                  </a:lnTo>
                  <a:lnTo>
                    <a:pt x="10741490" y="6779232"/>
                  </a:lnTo>
                  <a:lnTo>
                    <a:pt x="10768543" y="6803132"/>
                  </a:lnTo>
                  <a:lnTo>
                    <a:pt x="10806919" y="6815188"/>
                  </a:lnTo>
                  <a:lnTo>
                    <a:pt x="10839422" y="6802354"/>
                  </a:lnTo>
                  <a:lnTo>
                    <a:pt x="10856379" y="6773066"/>
                  </a:lnTo>
                  <a:lnTo>
                    <a:pt x="10866534" y="6734433"/>
                  </a:lnTo>
                  <a:lnTo>
                    <a:pt x="10873426" y="6701701"/>
                  </a:lnTo>
                  <a:lnTo>
                    <a:pt x="10898120" y="6692397"/>
                  </a:lnTo>
                  <a:lnTo>
                    <a:pt x="10929029" y="6689105"/>
                  </a:lnTo>
                  <a:lnTo>
                    <a:pt x="10959120" y="6682656"/>
                  </a:lnTo>
                  <a:lnTo>
                    <a:pt x="10989209" y="6676219"/>
                  </a:lnTo>
                  <a:lnTo>
                    <a:pt x="11018397" y="6666189"/>
                  </a:lnTo>
                  <a:lnTo>
                    <a:pt x="11036511" y="6644148"/>
                  </a:lnTo>
                  <a:lnTo>
                    <a:pt x="11033928" y="6613291"/>
                  </a:lnTo>
                  <a:lnTo>
                    <a:pt x="11023203" y="6577883"/>
                  </a:lnTo>
                  <a:lnTo>
                    <a:pt x="11014729" y="6537160"/>
                  </a:lnTo>
                  <a:lnTo>
                    <a:pt x="11013272" y="6514446"/>
                  </a:lnTo>
                  <a:lnTo>
                    <a:pt x="11020329" y="6490869"/>
                  </a:lnTo>
                  <a:lnTo>
                    <a:pt x="11027386" y="6467292"/>
                  </a:lnTo>
                  <a:lnTo>
                    <a:pt x="11042948" y="6442423"/>
                  </a:lnTo>
                  <a:lnTo>
                    <a:pt x="11073371" y="6416057"/>
                  </a:lnTo>
                  <a:lnTo>
                    <a:pt x="11108851" y="6412615"/>
                  </a:lnTo>
                  <a:lnTo>
                    <a:pt x="11138548" y="6419500"/>
                  </a:lnTo>
                  <a:lnTo>
                    <a:pt x="11164506" y="6432386"/>
                  </a:lnTo>
                  <a:lnTo>
                    <a:pt x="11189764" y="6444857"/>
                  </a:lnTo>
                  <a:lnTo>
                    <a:pt x="11213644" y="6457321"/>
                  </a:lnTo>
                  <a:lnTo>
                    <a:pt x="11243401" y="6450067"/>
                  </a:lnTo>
                  <a:lnTo>
                    <a:pt x="11271904" y="6433738"/>
                  </a:lnTo>
                  <a:lnTo>
                    <a:pt x="11288285" y="6418781"/>
                  </a:lnTo>
                  <a:lnTo>
                    <a:pt x="11304668" y="6403823"/>
                  </a:lnTo>
                  <a:lnTo>
                    <a:pt x="11321418" y="6386538"/>
                  </a:lnTo>
                  <a:lnTo>
                    <a:pt x="11346777" y="6379330"/>
                  </a:lnTo>
                  <a:lnTo>
                    <a:pt x="11368624" y="6394630"/>
                  </a:lnTo>
                  <a:lnTo>
                    <a:pt x="11372615" y="6424214"/>
                  </a:lnTo>
                  <a:lnTo>
                    <a:pt x="11373703" y="6455033"/>
                  </a:lnTo>
                  <a:lnTo>
                    <a:pt x="11388719" y="6503571"/>
                  </a:lnTo>
                  <a:lnTo>
                    <a:pt x="11414724" y="6534930"/>
                  </a:lnTo>
                  <a:lnTo>
                    <a:pt x="11439262" y="6562958"/>
                  </a:lnTo>
                  <a:lnTo>
                    <a:pt x="11463809" y="6590980"/>
                  </a:lnTo>
                  <a:lnTo>
                    <a:pt x="11487122" y="6614986"/>
                  </a:lnTo>
                  <a:lnTo>
                    <a:pt x="11492313" y="6637764"/>
                  </a:lnTo>
                  <a:lnTo>
                    <a:pt x="11493079" y="6674116"/>
                  </a:lnTo>
                  <a:lnTo>
                    <a:pt x="11486105" y="6710236"/>
                  </a:lnTo>
                  <a:lnTo>
                    <a:pt x="11485519" y="6745221"/>
                  </a:lnTo>
                  <a:lnTo>
                    <a:pt x="11537125" y="6776680"/>
                  </a:lnTo>
                  <a:lnTo>
                    <a:pt x="11558975" y="6796913"/>
                  </a:lnTo>
                  <a:lnTo>
                    <a:pt x="11568680" y="6773164"/>
                  </a:lnTo>
                  <a:lnTo>
                    <a:pt x="11574565" y="6749350"/>
                  </a:lnTo>
                  <a:lnTo>
                    <a:pt x="11579371" y="6718018"/>
                  </a:lnTo>
                  <a:lnTo>
                    <a:pt x="11585036" y="6685281"/>
                  </a:lnTo>
                  <a:lnTo>
                    <a:pt x="11590028" y="6650103"/>
                  </a:lnTo>
                  <a:lnTo>
                    <a:pt x="11594334" y="6614643"/>
                  </a:lnTo>
                  <a:lnTo>
                    <a:pt x="11600576" y="6578286"/>
                  </a:lnTo>
                  <a:lnTo>
                    <a:pt x="11607143" y="6544908"/>
                  </a:lnTo>
                  <a:lnTo>
                    <a:pt x="11614739" y="6515350"/>
                  </a:lnTo>
                  <a:lnTo>
                    <a:pt x="11623992" y="6488107"/>
                  </a:lnTo>
                  <a:lnTo>
                    <a:pt x="11635414" y="6466423"/>
                  </a:lnTo>
                  <a:lnTo>
                    <a:pt x="11650108" y="6451419"/>
                  </a:lnTo>
                  <a:lnTo>
                    <a:pt x="11715391" y="6456859"/>
                  </a:lnTo>
                  <a:lnTo>
                    <a:pt x="11743953" y="6441889"/>
                  </a:lnTo>
                  <a:lnTo>
                    <a:pt x="11761602" y="6420686"/>
                  </a:lnTo>
                  <a:lnTo>
                    <a:pt x="11769917" y="6399055"/>
                  </a:lnTo>
                  <a:lnTo>
                    <a:pt x="11780556" y="6359584"/>
                  </a:lnTo>
                  <a:lnTo>
                    <a:pt x="11787479" y="6324909"/>
                  </a:lnTo>
                  <a:lnTo>
                    <a:pt x="11799060" y="6295449"/>
                  </a:lnTo>
                  <a:lnTo>
                    <a:pt x="11830308" y="6275487"/>
                  </a:lnTo>
                  <a:lnTo>
                    <a:pt x="11855323" y="6269472"/>
                  </a:lnTo>
                  <a:lnTo>
                    <a:pt x="11893572" y="6267784"/>
                  </a:lnTo>
                  <a:lnTo>
                    <a:pt x="11911028" y="6245974"/>
                  </a:lnTo>
                  <a:lnTo>
                    <a:pt x="11916926" y="6221580"/>
                  </a:lnTo>
                  <a:lnTo>
                    <a:pt x="11926218" y="6199777"/>
                  </a:lnTo>
                  <a:lnTo>
                    <a:pt x="11948245" y="6191666"/>
                  </a:lnTo>
                  <a:lnTo>
                    <a:pt x="11988527" y="6194284"/>
                  </a:lnTo>
                  <a:lnTo>
                    <a:pt x="12014067" y="6198972"/>
                  </a:lnTo>
                  <a:lnTo>
                    <a:pt x="12040481" y="6202495"/>
                  </a:lnTo>
                  <a:lnTo>
                    <a:pt x="12066885" y="6206015"/>
                  </a:lnTo>
                  <a:lnTo>
                    <a:pt x="12094815" y="6208581"/>
                  </a:lnTo>
                  <a:lnTo>
                    <a:pt x="12120727" y="6207935"/>
                  </a:lnTo>
                  <a:lnTo>
                    <a:pt x="12146645" y="6207276"/>
                  </a:lnTo>
                  <a:lnTo>
                    <a:pt x="12170076" y="6202797"/>
                  </a:lnTo>
                  <a:lnTo>
                    <a:pt x="12188742" y="6191613"/>
                  </a:lnTo>
                  <a:lnTo>
                    <a:pt x="12203699" y="6173932"/>
                  </a:lnTo>
                  <a:lnTo>
                    <a:pt x="12213221" y="6153527"/>
                  </a:lnTo>
                  <a:lnTo>
                    <a:pt x="12222929" y="6125564"/>
                  </a:lnTo>
                  <a:lnTo>
                    <a:pt x="12228014" y="6103056"/>
                  </a:lnTo>
                  <a:lnTo>
                    <a:pt x="12233790" y="6065255"/>
                  </a:lnTo>
                  <a:lnTo>
                    <a:pt x="12232261" y="6033829"/>
                  </a:lnTo>
                  <a:lnTo>
                    <a:pt x="12230156" y="6004739"/>
                  </a:lnTo>
                  <a:lnTo>
                    <a:pt x="12226218" y="5970427"/>
                  </a:lnTo>
                  <a:lnTo>
                    <a:pt x="12224110" y="5926372"/>
                  </a:lnTo>
                  <a:lnTo>
                    <a:pt x="12229886" y="5890232"/>
                  </a:lnTo>
                  <a:lnTo>
                    <a:pt x="12242819" y="5853704"/>
                  </a:lnTo>
                  <a:lnTo>
                    <a:pt x="12252679" y="5817557"/>
                  </a:lnTo>
                  <a:lnTo>
                    <a:pt x="12258846" y="5782754"/>
                  </a:lnTo>
                  <a:lnTo>
                    <a:pt x="12262827" y="5746265"/>
                  </a:lnTo>
                  <a:lnTo>
                    <a:pt x="12266278" y="5710106"/>
                  </a:lnTo>
                  <a:lnTo>
                    <a:pt x="12303683" y="5697095"/>
                  </a:lnTo>
                  <a:lnTo>
                    <a:pt x="12321537" y="5712190"/>
                  </a:lnTo>
                  <a:lnTo>
                    <a:pt x="12358607" y="5871332"/>
                  </a:lnTo>
                  <a:lnTo>
                    <a:pt x="12349293" y="5902485"/>
                  </a:lnTo>
                  <a:lnTo>
                    <a:pt x="12327490" y="5930454"/>
                  </a:lnTo>
                  <a:lnTo>
                    <a:pt x="12322209" y="5984156"/>
                  </a:lnTo>
                  <a:lnTo>
                    <a:pt x="12330209" y="6022948"/>
                  </a:lnTo>
                  <a:lnTo>
                    <a:pt x="12338215" y="6061739"/>
                  </a:lnTo>
                  <a:lnTo>
                    <a:pt x="12352499" y="6098909"/>
                  </a:lnTo>
                  <a:lnTo>
                    <a:pt x="12377809" y="6099126"/>
                  </a:lnTo>
                  <a:lnTo>
                    <a:pt x="12400146" y="6073794"/>
                  </a:lnTo>
                  <a:lnTo>
                    <a:pt x="12411432" y="6036178"/>
                  </a:lnTo>
                  <a:lnTo>
                    <a:pt x="12424054" y="5995757"/>
                  </a:lnTo>
                  <a:lnTo>
                    <a:pt x="12436683" y="5955330"/>
                  </a:lnTo>
                  <a:lnTo>
                    <a:pt x="12450474" y="5911719"/>
                  </a:lnTo>
                  <a:lnTo>
                    <a:pt x="12467587" y="5881500"/>
                  </a:lnTo>
                  <a:lnTo>
                    <a:pt x="12489666" y="5842498"/>
                  </a:lnTo>
                  <a:lnTo>
                    <a:pt x="12526433" y="5805561"/>
                  </a:lnTo>
                  <a:lnTo>
                    <a:pt x="12558722" y="5776761"/>
                  </a:lnTo>
                  <a:lnTo>
                    <a:pt x="12591002" y="5747967"/>
                  </a:lnTo>
                  <a:lnTo>
                    <a:pt x="12619125" y="5727398"/>
                  </a:lnTo>
                  <a:lnTo>
                    <a:pt x="12635914" y="5696896"/>
                  </a:lnTo>
                  <a:lnTo>
                    <a:pt x="12619329" y="5662168"/>
                  </a:lnTo>
                  <a:lnTo>
                    <a:pt x="12637610" y="5640740"/>
                  </a:lnTo>
                  <a:lnTo>
                    <a:pt x="12663457" y="5636184"/>
                  </a:lnTo>
                  <a:lnTo>
                    <a:pt x="12689294" y="5652981"/>
                  </a:lnTo>
                  <a:lnTo>
                    <a:pt x="12704437" y="5683066"/>
                  </a:lnTo>
                  <a:lnTo>
                    <a:pt x="12746987" y="5721343"/>
                  </a:lnTo>
                  <a:lnTo>
                    <a:pt x="12776275" y="5732495"/>
                  </a:lnTo>
                  <a:lnTo>
                    <a:pt x="12803551" y="5729151"/>
                  </a:lnTo>
                  <a:lnTo>
                    <a:pt x="12830833" y="5725808"/>
                  </a:lnTo>
                  <a:lnTo>
                    <a:pt x="12855240" y="5707962"/>
                  </a:lnTo>
                  <a:lnTo>
                    <a:pt x="12875639" y="5674744"/>
                  </a:lnTo>
                  <a:lnTo>
                    <a:pt x="12887952" y="5651826"/>
                  </a:lnTo>
                  <a:lnTo>
                    <a:pt x="12898695" y="5626924"/>
                  </a:lnTo>
                  <a:lnTo>
                    <a:pt x="12909643" y="5602648"/>
                  </a:lnTo>
                  <a:lnTo>
                    <a:pt x="12939037" y="5577238"/>
                  </a:lnTo>
                  <a:lnTo>
                    <a:pt x="12964059" y="5564563"/>
                  </a:lnTo>
                  <a:lnTo>
                    <a:pt x="12989077" y="5551894"/>
                  </a:lnTo>
                  <a:lnTo>
                    <a:pt x="13016316" y="5537405"/>
                  </a:lnTo>
                  <a:lnTo>
                    <a:pt x="13034789" y="5515596"/>
                  </a:lnTo>
                  <a:lnTo>
                    <a:pt x="13063820" y="5481342"/>
                  </a:lnTo>
                  <a:lnTo>
                    <a:pt x="13059777" y="5433562"/>
                  </a:lnTo>
                  <a:lnTo>
                    <a:pt x="13083754" y="5408145"/>
                  </a:lnTo>
                  <a:lnTo>
                    <a:pt x="13121906" y="5404399"/>
                  </a:lnTo>
                  <a:lnTo>
                    <a:pt x="13151762" y="5405427"/>
                  </a:lnTo>
                  <a:lnTo>
                    <a:pt x="13181617" y="5406456"/>
                  </a:lnTo>
                  <a:lnTo>
                    <a:pt x="13211935" y="5408956"/>
                  </a:lnTo>
                  <a:lnTo>
                    <a:pt x="13233735" y="5403641"/>
                  </a:lnTo>
                  <a:lnTo>
                    <a:pt x="13249564" y="5324956"/>
                  </a:lnTo>
                  <a:lnTo>
                    <a:pt x="13261944" y="5243556"/>
                  </a:lnTo>
                  <a:lnTo>
                    <a:pt x="13274316" y="5162161"/>
                  </a:lnTo>
                  <a:lnTo>
                    <a:pt x="13283872" y="5077529"/>
                  </a:lnTo>
                  <a:lnTo>
                    <a:pt x="13277770" y="5042886"/>
                  </a:lnTo>
                  <a:lnTo>
                    <a:pt x="13242897" y="5027289"/>
                  </a:lnTo>
                  <a:lnTo>
                    <a:pt x="13204428" y="5017364"/>
                  </a:lnTo>
                  <a:lnTo>
                    <a:pt x="13187236" y="4992792"/>
                  </a:lnTo>
                  <a:lnTo>
                    <a:pt x="13185239" y="4971134"/>
                  </a:lnTo>
                  <a:lnTo>
                    <a:pt x="13184408" y="4949753"/>
                  </a:lnTo>
                  <a:lnTo>
                    <a:pt x="13183583" y="4928379"/>
                  </a:lnTo>
                  <a:lnTo>
                    <a:pt x="13184141" y="4906675"/>
                  </a:lnTo>
                  <a:lnTo>
                    <a:pt x="13183047" y="4884464"/>
                  </a:lnTo>
                  <a:lnTo>
                    <a:pt x="13181286" y="4848633"/>
                  </a:lnTo>
                  <a:lnTo>
                    <a:pt x="13180290" y="4812164"/>
                  </a:lnTo>
                  <a:lnTo>
                    <a:pt x="13178973" y="4775655"/>
                  </a:lnTo>
                  <a:lnTo>
                    <a:pt x="13177646" y="4739137"/>
                  </a:lnTo>
                  <a:lnTo>
                    <a:pt x="13175788" y="4702458"/>
                  </a:lnTo>
                  <a:lnTo>
                    <a:pt x="13172173" y="4666832"/>
                  </a:lnTo>
                  <a:lnTo>
                    <a:pt x="13168889" y="4634530"/>
                  </a:lnTo>
                  <a:lnTo>
                    <a:pt x="13161705" y="4604964"/>
                  </a:lnTo>
                  <a:lnTo>
                    <a:pt x="13155851" y="4574338"/>
                  </a:lnTo>
                  <a:lnTo>
                    <a:pt x="13149994" y="4543718"/>
                  </a:lnTo>
                  <a:lnTo>
                    <a:pt x="13145716" y="4512689"/>
                  </a:lnTo>
                  <a:lnTo>
                    <a:pt x="13149052" y="4479127"/>
                  </a:lnTo>
                  <a:lnTo>
                    <a:pt x="13119125" y="4472327"/>
                  </a:lnTo>
                  <a:lnTo>
                    <a:pt x="13093279" y="4462806"/>
                  </a:lnTo>
                  <a:lnTo>
                    <a:pt x="13093409" y="4433860"/>
                  </a:lnTo>
                  <a:lnTo>
                    <a:pt x="13084994" y="4401980"/>
                  </a:lnTo>
                  <a:lnTo>
                    <a:pt x="13071516" y="4375752"/>
                  </a:lnTo>
                  <a:lnTo>
                    <a:pt x="13130005" y="4340384"/>
                  </a:lnTo>
                  <a:lnTo>
                    <a:pt x="13145043" y="4311867"/>
                  </a:lnTo>
                  <a:lnTo>
                    <a:pt x="13127289" y="4268295"/>
                  </a:lnTo>
                  <a:lnTo>
                    <a:pt x="13116043" y="4244236"/>
                  </a:lnTo>
                  <a:lnTo>
                    <a:pt x="13099715" y="4215503"/>
                  </a:lnTo>
                  <a:lnTo>
                    <a:pt x="13085121" y="4185325"/>
                  </a:lnTo>
                  <a:lnTo>
                    <a:pt x="13070526" y="4155147"/>
                  </a:lnTo>
                  <a:lnTo>
                    <a:pt x="13057020" y="4123384"/>
                  </a:lnTo>
                  <a:lnTo>
                    <a:pt x="13051111" y="4091472"/>
                  </a:lnTo>
                  <a:lnTo>
                    <a:pt x="13045201" y="4059559"/>
                  </a:lnTo>
                  <a:lnTo>
                    <a:pt x="13047185" y="4028240"/>
                  </a:lnTo>
                  <a:lnTo>
                    <a:pt x="13062000" y="3998978"/>
                  </a:lnTo>
                  <a:lnTo>
                    <a:pt x="13032070" y="4000338"/>
                  </a:lnTo>
                  <a:lnTo>
                    <a:pt x="13002143" y="4001696"/>
                  </a:lnTo>
                  <a:lnTo>
                    <a:pt x="12984622" y="3965450"/>
                  </a:lnTo>
                  <a:lnTo>
                    <a:pt x="12979022" y="3943206"/>
                  </a:lnTo>
                  <a:lnTo>
                    <a:pt x="12973429" y="3920961"/>
                  </a:lnTo>
                  <a:lnTo>
                    <a:pt x="12970204" y="3898795"/>
                  </a:lnTo>
                  <a:lnTo>
                    <a:pt x="12978343" y="3866777"/>
                  </a:lnTo>
                  <a:lnTo>
                    <a:pt x="13007591" y="3845271"/>
                  </a:lnTo>
                  <a:lnTo>
                    <a:pt x="13039939" y="3817381"/>
                  </a:lnTo>
                  <a:lnTo>
                    <a:pt x="13078076" y="3794358"/>
                  </a:lnTo>
                  <a:lnTo>
                    <a:pt x="13116400" y="3775900"/>
                  </a:lnTo>
                  <a:lnTo>
                    <a:pt x="13154729" y="3757441"/>
                  </a:lnTo>
                  <a:lnTo>
                    <a:pt x="13194041" y="3742879"/>
                  </a:lnTo>
                  <a:lnTo>
                    <a:pt x="13232020" y="3729656"/>
                  </a:lnTo>
                  <a:lnTo>
                    <a:pt x="13270003" y="3716426"/>
                  </a:lnTo>
                  <a:lnTo>
                    <a:pt x="13305436" y="3705109"/>
                  </a:lnTo>
                  <a:lnTo>
                    <a:pt x="13336755" y="3692928"/>
                  </a:lnTo>
                  <a:lnTo>
                    <a:pt x="13368074" y="3680748"/>
                  </a:lnTo>
                  <a:lnTo>
                    <a:pt x="13394572" y="3667446"/>
                  </a:lnTo>
                  <a:lnTo>
                    <a:pt x="13412927" y="3652120"/>
                  </a:lnTo>
                  <a:lnTo>
                    <a:pt x="13423941" y="3699392"/>
                  </a:lnTo>
                  <a:lnTo>
                    <a:pt x="13443645" y="3714257"/>
                  </a:lnTo>
                  <a:lnTo>
                    <a:pt x="13465612" y="3719466"/>
                  </a:lnTo>
                  <a:lnTo>
                    <a:pt x="13487890" y="3712754"/>
                  </a:lnTo>
                  <a:lnTo>
                    <a:pt x="13496879" y="3689381"/>
                  </a:lnTo>
                  <a:lnTo>
                    <a:pt x="13510859" y="3660284"/>
                  </a:lnTo>
                  <a:lnTo>
                    <a:pt x="13524843" y="3631180"/>
                  </a:lnTo>
                  <a:lnTo>
                    <a:pt x="13544014" y="3595865"/>
                  </a:lnTo>
                  <a:lnTo>
                    <a:pt x="13581590" y="3566426"/>
                  </a:lnTo>
                  <a:lnTo>
                    <a:pt x="13612152" y="3543073"/>
                  </a:lnTo>
                  <a:lnTo>
                    <a:pt x="13706426" y="3511478"/>
                  </a:lnTo>
                  <a:lnTo>
                    <a:pt x="13736650" y="3498419"/>
                  </a:lnTo>
                  <a:lnTo>
                    <a:pt x="13778303" y="3480428"/>
                  </a:lnTo>
                  <a:lnTo>
                    <a:pt x="13820288" y="3461375"/>
                  </a:lnTo>
                  <a:lnTo>
                    <a:pt x="13861796" y="3441294"/>
                  </a:lnTo>
                  <a:lnTo>
                    <a:pt x="13903297" y="3421206"/>
                  </a:lnTo>
                  <a:lnTo>
                    <a:pt x="13943875" y="3399053"/>
                  </a:lnTo>
                  <a:lnTo>
                    <a:pt x="13981485" y="3373281"/>
                  </a:lnTo>
                  <a:lnTo>
                    <a:pt x="14005834" y="3354834"/>
                  </a:lnTo>
                  <a:lnTo>
                    <a:pt x="14023653" y="3340635"/>
                  </a:lnTo>
                  <a:lnTo>
                    <a:pt x="14041475" y="3326438"/>
                  </a:lnTo>
                  <a:lnTo>
                    <a:pt x="14059523" y="3312745"/>
                  </a:lnTo>
                  <a:lnTo>
                    <a:pt x="14075048" y="3298027"/>
                  </a:lnTo>
                  <a:lnTo>
                    <a:pt x="14085475" y="3277865"/>
                  </a:lnTo>
                  <a:lnTo>
                    <a:pt x="14095751" y="3259025"/>
                  </a:lnTo>
                  <a:lnTo>
                    <a:pt x="14106017" y="3240189"/>
                  </a:lnTo>
                  <a:lnTo>
                    <a:pt x="14125671" y="3215497"/>
                  </a:lnTo>
                  <a:lnTo>
                    <a:pt x="14155077" y="3207802"/>
                  </a:lnTo>
                  <a:lnTo>
                    <a:pt x="14180598" y="3204155"/>
                  </a:lnTo>
                  <a:lnTo>
                    <a:pt x="14203202" y="3203264"/>
                  </a:lnTo>
                  <a:lnTo>
                    <a:pt x="14230403" y="3204623"/>
                  </a:lnTo>
                  <a:lnTo>
                    <a:pt x="14253527" y="3205981"/>
                  </a:lnTo>
                  <a:lnTo>
                    <a:pt x="14278381" y="3197408"/>
                  </a:lnTo>
                  <a:lnTo>
                    <a:pt x="14294092" y="3178349"/>
                  </a:lnTo>
                  <a:lnTo>
                    <a:pt x="14303859" y="3155650"/>
                  </a:lnTo>
                  <a:lnTo>
                    <a:pt x="14314866" y="3126619"/>
                  </a:lnTo>
                  <a:lnTo>
                    <a:pt x="14314739" y="3099883"/>
                  </a:lnTo>
                  <a:lnTo>
                    <a:pt x="14281138" y="3080381"/>
                  </a:lnTo>
                  <a:lnTo>
                    <a:pt x="14251053" y="3072283"/>
                  </a:lnTo>
                  <a:lnTo>
                    <a:pt x="14219523" y="3065878"/>
                  </a:lnTo>
                  <a:lnTo>
                    <a:pt x="14187999" y="3059469"/>
                  </a:lnTo>
                  <a:lnTo>
                    <a:pt x="14155359" y="3054926"/>
                  </a:lnTo>
                  <a:lnTo>
                    <a:pt x="14125671" y="3049557"/>
                  </a:lnTo>
                  <a:lnTo>
                    <a:pt x="14110668" y="3027853"/>
                  </a:lnTo>
                  <a:lnTo>
                    <a:pt x="14115554" y="2989049"/>
                  </a:lnTo>
                  <a:lnTo>
                    <a:pt x="14103908" y="2962503"/>
                  </a:lnTo>
                  <a:lnTo>
                    <a:pt x="14054603" y="2948041"/>
                  </a:lnTo>
                  <a:lnTo>
                    <a:pt x="14019988" y="2946960"/>
                  </a:lnTo>
                  <a:lnTo>
                    <a:pt x="13985568" y="2946182"/>
                  </a:lnTo>
                  <a:lnTo>
                    <a:pt x="13951155" y="2945404"/>
                  </a:lnTo>
                  <a:lnTo>
                    <a:pt x="13916769" y="2945304"/>
                  </a:lnTo>
                  <a:lnTo>
                    <a:pt x="13880834" y="2946182"/>
                  </a:lnTo>
                  <a:lnTo>
                    <a:pt x="13853018" y="2946855"/>
                  </a:lnTo>
                  <a:lnTo>
                    <a:pt x="13827997" y="2928184"/>
                  </a:lnTo>
                  <a:lnTo>
                    <a:pt x="13803307" y="2908096"/>
                  </a:lnTo>
                  <a:lnTo>
                    <a:pt x="13778613" y="2888009"/>
                  </a:lnTo>
                  <a:lnTo>
                    <a:pt x="13754339" y="2866779"/>
                  </a:lnTo>
                  <a:lnTo>
                    <a:pt x="13727134" y="2863204"/>
                  </a:lnTo>
                  <a:lnTo>
                    <a:pt x="13637351" y="2850978"/>
                  </a:lnTo>
                  <a:lnTo>
                    <a:pt x="13548941" y="2838737"/>
                  </a:lnTo>
                  <a:lnTo>
                    <a:pt x="13525817" y="2825132"/>
                  </a:lnTo>
                  <a:lnTo>
                    <a:pt x="13508980" y="2810827"/>
                  </a:lnTo>
                  <a:lnTo>
                    <a:pt x="13501291" y="2778065"/>
                  </a:lnTo>
                  <a:lnTo>
                    <a:pt x="13498178" y="2753459"/>
                  </a:lnTo>
                  <a:lnTo>
                    <a:pt x="13487732" y="2733998"/>
                  </a:lnTo>
                  <a:lnTo>
                    <a:pt x="13477286" y="2714535"/>
                  </a:lnTo>
                  <a:lnTo>
                    <a:pt x="13460614" y="2699783"/>
                  </a:lnTo>
                  <a:lnTo>
                    <a:pt x="13430601" y="2693194"/>
                  </a:lnTo>
                  <a:lnTo>
                    <a:pt x="13403139" y="2658294"/>
                  </a:lnTo>
                  <a:lnTo>
                    <a:pt x="13393874" y="2633345"/>
                  </a:lnTo>
                  <a:lnTo>
                    <a:pt x="13384616" y="2608390"/>
                  </a:lnTo>
                  <a:lnTo>
                    <a:pt x="13378027" y="2582506"/>
                  </a:lnTo>
                  <a:lnTo>
                    <a:pt x="13391158" y="2555809"/>
                  </a:lnTo>
                  <a:lnTo>
                    <a:pt x="13412921" y="2557168"/>
                  </a:lnTo>
                  <a:lnTo>
                    <a:pt x="13444330" y="2519946"/>
                  </a:lnTo>
                  <a:lnTo>
                    <a:pt x="13445790" y="2489393"/>
                  </a:lnTo>
                  <a:lnTo>
                    <a:pt x="13453722" y="2468757"/>
                  </a:lnTo>
                  <a:lnTo>
                    <a:pt x="13474127" y="2446994"/>
                  </a:lnTo>
                  <a:lnTo>
                    <a:pt x="13499716" y="2441651"/>
                  </a:lnTo>
                  <a:lnTo>
                    <a:pt x="13523094" y="2445636"/>
                  </a:lnTo>
                  <a:lnTo>
                    <a:pt x="13534107" y="2467056"/>
                  </a:lnTo>
                  <a:lnTo>
                    <a:pt x="13543499" y="2493244"/>
                  </a:lnTo>
                  <a:lnTo>
                    <a:pt x="13566747" y="2500795"/>
                  </a:lnTo>
                  <a:lnTo>
                    <a:pt x="13590982" y="2512890"/>
                  </a:lnTo>
                  <a:lnTo>
                    <a:pt x="13611514" y="2528606"/>
                  </a:lnTo>
                  <a:lnTo>
                    <a:pt x="13638374" y="2507548"/>
                  </a:lnTo>
                  <a:lnTo>
                    <a:pt x="13640839" y="2469924"/>
                  </a:lnTo>
                  <a:lnTo>
                    <a:pt x="13657756" y="2455158"/>
                  </a:lnTo>
                  <a:lnTo>
                    <a:pt x="13693124" y="2456523"/>
                  </a:lnTo>
                  <a:lnTo>
                    <a:pt x="13711697" y="2434734"/>
                  </a:lnTo>
                  <a:lnTo>
                    <a:pt x="13729001" y="2381968"/>
                  </a:lnTo>
                  <a:lnTo>
                    <a:pt x="13752057" y="2373961"/>
                  </a:lnTo>
                  <a:lnTo>
                    <a:pt x="13788334" y="2378987"/>
                  </a:lnTo>
                  <a:lnTo>
                    <a:pt x="13824508" y="2385232"/>
                  </a:lnTo>
                  <a:lnTo>
                    <a:pt x="13849583" y="2400440"/>
                  </a:lnTo>
                  <a:lnTo>
                    <a:pt x="13853914" y="2424769"/>
                  </a:lnTo>
                  <a:lnTo>
                    <a:pt x="13857706" y="2448359"/>
                  </a:lnTo>
                  <a:lnTo>
                    <a:pt x="13861498" y="2471949"/>
                  </a:lnTo>
                  <a:lnTo>
                    <a:pt x="13864084" y="2495084"/>
                  </a:lnTo>
                  <a:lnTo>
                    <a:pt x="13909213" y="2512988"/>
                  </a:lnTo>
                  <a:lnTo>
                    <a:pt x="13932257" y="2513430"/>
                  </a:lnTo>
                  <a:lnTo>
                    <a:pt x="13965421" y="2502984"/>
                  </a:lnTo>
                  <a:lnTo>
                    <a:pt x="13984204" y="2476921"/>
                  </a:lnTo>
                  <a:lnTo>
                    <a:pt x="14001112" y="2444336"/>
                  </a:lnTo>
                  <a:lnTo>
                    <a:pt x="14021703" y="2408849"/>
                  </a:lnTo>
                  <a:lnTo>
                    <a:pt x="14035044" y="2391082"/>
                  </a:lnTo>
                  <a:lnTo>
                    <a:pt x="14056293" y="2376263"/>
                  </a:lnTo>
                  <a:lnTo>
                    <a:pt x="14081829" y="2376666"/>
                  </a:lnTo>
                  <a:lnTo>
                    <a:pt x="14117808" y="2384046"/>
                  </a:lnTo>
                  <a:lnTo>
                    <a:pt x="14144703" y="2391220"/>
                  </a:lnTo>
                  <a:lnTo>
                    <a:pt x="14149921" y="2432543"/>
                  </a:lnTo>
                  <a:lnTo>
                    <a:pt x="14143351" y="2460593"/>
                  </a:lnTo>
                  <a:lnTo>
                    <a:pt x="14136768" y="2488647"/>
                  </a:lnTo>
                  <a:lnTo>
                    <a:pt x="14128769" y="2517084"/>
                  </a:lnTo>
                  <a:lnTo>
                    <a:pt x="14137903" y="2536763"/>
                  </a:lnTo>
                  <a:lnTo>
                    <a:pt x="14173272" y="2551727"/>
                  </a:lnTo>
                  <a:lnTo>
                    <a:pt x="14193382" y="2534212"/>
                  </a:lnTo>
                  <a:lnTo>
                    <a:pt x="14202265" y="2462419"/>
                  </a:lnTo>
                  <a:lnTo>
                    <a:pt x="14216798" y="2433388"/>
                  </a:lnTo>
                  <a:lnTo>
                    <a:pt x="14249444" y="2433388"/>
                  </a:lnTo>
                  <a:lnTo>
                    <a:pt x="14256172" y="2460632"/>
                  </a:lnTo>
                  <a:lnTo>
                    <a:pt x="14250876" y="2498639"/>
                  </a:lnTo>
                  <a:lnTo>
                    <a:pt x="14254879" y="2531322"/>
                  </a:lnTo>
                  <a:lnTo>
                    <a:pt x="14278298" y="2565689"/>
                  </a:lnTo>
                  <a:lnTo>
                    <a:pt x="14277445" y="2599691"/>
                  </a:lnTo>
                  <a:lnTo>
                    <a:pt x="14269836" y="2623815"/>
                  </a:lnTo>
                  <a:lnTo>
                    <a:pt x="14308904" y="2644920"/>
                  </a:lnTo>
                  <a:lnTo>
                    <a:pt x="14336911" y="2640574"/>
                  </a:lnTo>
                  <a:lnTo>
                    <a:pt x="14357012" y="2595682"/>
                  </a:lnTo>
                  <a:lnTo>
                    <a:pt x="14373210" y="2549003"/>
                  </a:lnTo>
                  <a:lnTo>
                    <a:pt x="14389413" y="2502325"/>
                  </a:lnTo>
                  <a:lnTo>
                    <a:pt x="14401800" y="2453291"/>
                  </a:lnTo>
                  <a:lnTo>
                    <a:pt x="14422177" y="2437470"/>
                  </a:lnTo>
                  <a:lnTo>
                    <a:pt x="14453462" y="2442918"/>
                  </a:lnTo>
                  <a:lnTo>
                    <a:pt x="14457967" y="2408849"/>
                  </a:lnTo>
                  <a:lnTo>
                    <a:pt x="14462566" y="2370888"/>
                  </a:lnTo>
                  <a:lnTo>
                    <a:pt x="14480667" y="2347701"/>
                  </a:lnTo>
                  <a:lnTo>
                    <a:pt x="14526450" y="2347504"/>
                  </a:lnTo>
                  <a:lnTo>
                    <a:pt x="14541624" y="2324705"/>
                  </a:lnTo>
                  <a:lnTo>
                    <a:pt x="14544598" y="2294657"/>
                  </a:lnTo>
                  <a:lnTo>
                    <a:pt x="14549484" y="2239538"/>
                  </a:lnTo>
                  <a:lnTo>
                    <a:pt x="14554907" y="2207407"/>
                  </a:lnTo>
                  <a:lnTo>
                    <a:pt x="14569086" y="2179036"/>
                  </a:lnTo>
                  <a:lnTo>
                    <a:pt x="14583259" y="2150671"/>
                  </a:lnTo>
                  <a:lnTo>
                    <a:pt x="14606275" y="2126818"/>
                  </a:lnTo>
                  <a:lnTo>
                    <a:pt x="14643891" y="2085185"/>
                  </a:lnTo>
                  <a:lnTo>
                    <a:pt x="14645249" y="2048457"/>
                  </a:lnTo>
                  <a:lnTo>
                    <a:pt x="14566572" y="1999872"/>
                  </a:lnTo>
                  <a:lnTo>
                    <a:pt x="14548681" y="1984532"/>
                  </a:lnTo>
                  <a:lnTo>
                    <a:pt x="14531634" y="1969885"/>
                  </a:lnTo>
                  <a:lnTo>
                    <a:pt x="14512206" y="1959901"/>
                  </a:lnTo>
                  <a:lnTo>
                    <a:pt x="14494272" y="1946447"/>
                  </a:lnTo>
                  <a:lnTo>
                    <a:pt x="14423752" y="1893524"/>
                  </a:lnTo>
                  <a:lnTo>
                    <a:pt x="14385181" y="1864829"/>
                  </a:lnTo>
                  <a:lnTo>
                    <a:pt x="14343289" y="1843065"/>
                  </a:lnTo>
                  <a:lnTo>
                    <a:pt x="14301391" y="1821316"/>
                  </a:lnTo>
                  <a:lnTo>
                    <a:pt x="14255108" y="1805343"/>
                  </a:lnTo>
                  <a:lnTo>
                    <a:pt x="14167824" y="1776418"/>
                  </a:lnTo>
                  <a:lnTo>
                    <a:pt x="14142046" y="1768286"/>
                  </a:lnTo>
                  <a:lnTo>
                    <a:pt x="14103828" y="1760068"/>
                  </a:lnTo>
                  <a:lnTo>
                    <a:pt x="14076691" y="1764176"/>
                  </a:lnTo>
                  <a:lnTo>
                    <a:pt x="14047019" y="1791810"/>
                  </a:lnTo>
                  <a:lnTo>
                    <a:pt x="14017951" y="1855379"/>
                  </a:lnTo>
                  <a:lnTo>
                    <a:pt x="14004603" y="1893398"/>
                  </a:lnTo>
                  <a:lnTo>
                    <a:pt x="13976586" y="1872657"/>
                  </a:lnTo>
                  <a:lnTo>
                    <a:pt x="13931575" y="1843322"/>
                  </a:lnTo>
                  <a:lnTo>
                    <a:pt x="13895785" y="1838989"/>
                  </a:lnTo>
                  <a:lnTo>
                    <a:pt x="13865278" y="1862896"/>
                  </a:lnTo>
                  <a:lnTo>
                    <a:pt x="13856630" y="1886473"/>
                  </a:lnTo>
                  <a:lnTo>
                    <a:pt x="13850894" y="1911079"/>
                  </a:lnTo>
                  <a:lnTo>
                    <a:pt x="13845155" y="1935684"/>
                  </a:lnTo>
                  <a:lnTo>
                    <a:pt x="13842445" y="1962274"/>
                  </a:lnTo>
                  <a:lnTo>
                    <a:pt x="13838653" y="1985892"/>
                  </a:lnTo>
                  <a:lnTo>
                    <a:pt x="13834867" y="2009501"/>
                  </a:lnTo>
                  <a:lnTo>
                    <a:pt x="13830675" y="2030255"/>
                  </a:lnTo>
                  <a:lnTo>
                    <a:pt x="13816713" y="2061225"/>
                  </a:lnTo>
                  <a:lnTo>
                    <a:pt x="13791044" y="2071579"/>
                  </a:lnTo>
                  <a:lnTo>
                    <a:pt x="13770654" y="2062056"/>
                  </a:lnTo>
                  <a:lnTo>
                    <a:pt x="13772750" y="2026153"/>
                  </a:lnTo>
                  <a:lnTo>
                    <a:pt x="13764252" y="1987033"/>
                  </a:lnTo>
                  <a:lnTo>
                    <a:pt x="13748885" y="1950523"/>
                  </a:lnTo>
                  <a:lnTo>
                    <a:pt x="13733519" y="1914014"/>
                  </a:lnTo>
                  <a:lnTo>
                    <a:pt x="13710819" y="1880557"/>
                  </a:lnTo>
                  <a:lnTo>
                    <a:pt x="13683593" y="1856670"/>
                  </a:lnTo>
                  <a:lnTo>
                    <a:pt x="13643133" y="1832355"/>
                  </a:lnTo>
                  <a:lnTo>
                    <a:pt x="13620053" y="1807512"/>
                  </a:lnTo>
                  <a:lnTo>
                    <a:pt x="13591102" y="1795463"/>
                  </a:lnTo>
                  <a:lnTo>
                    <a:pt x="13556075" y="1780901"/>
                  </a:lnTo>
                  <a:lnTo>
                    <a:pt x="13528278" y="1778349"/>
                  </a:lnTo>
                  <a:lnTo>
                    <a:pt x="13497248" y="1753295"/>
                  </a:lnTo>
                  <a:lnTo>
                    <a:pt x="13475823" y="1768720"/>
                  </a:lnTo>
                  <a:lnTo>
                    <a:pt x="13460865" y="1799308"/>
                  </a:lnTo>
                  <a:lnTo>
                    <a:pt x="13450913" y="1830634"/>
                  </a:lnTo>
                  <a:lnTo>
                    <a:pt x="13437400" y="1849864"/>
                  </a:lnTo>
                  <a:lnTo>
                    <a:pt x="13406351" y="1882134"/>
                  </a:lnTo>
                  <a:lnTo>
                    <a:pt x="13385710" y="1890674"/>
                  </a:lnTo>
                  <a:lnTo>
                    <a:pt x="13365067" y="1899215"/>
                  </a:lnTo>
                  <a:lnTo>
                    <a:pt x="13343226" y="1898793"/>
                  </a:lnTo>
                  <a:lnTo>
                    <a:pt x="13325866" y="1882517"/>
                  </a:lnTo>
                  <a:lnTo>
                    <a:pt x="13331816" y="1832546"/>
                  </a:lnTo>
                  <a:lnTo>
                    <a:pt x="13329949" y="1802262"/>
                  </a:lnTo>
                  <a:lnTo>
                    <a:pt x="13297613" y="1783777"/>
                  </a:lnTo>
                  <a:lnTo>
                    <a:pt x="13275534" y="1779141"/>
                  </a:lnTo>
                  <a:lnTo>
                    <a:pt x="13253455" y="1774498"/>
                  </a:lnTo>
                  <a:lnTo>
                    <a:pt x="13228749" y="1772901"/>
                  </a:lnTo>
                  <a:lnTo>
                    <a:pt x="13204804" y="1770976"/>
                  </a:lnTo>
                  <a:lnTo>
                    <a:pt x="13156918" y="1767119"/>
                  </a:lnTo>
                  <a:lnTo>
                    <a:pt x="13110974" y="1765086"/>
                  </a:lnTo>
                  <a:lnTo>
                    <a:pt x="13097347" y="1747855"/>
                  </a:lnTo>
                  <a:lnTo>
                    <a:pt x="13094209" y="1687260"/>
                  </a:lnTo>
                  <a:lnTo>
                    <a:pt x="13082687" y="1661831"/>
                  </a:lnTo>
                  <a:lnTo>
                    <a:pt x="13047021" y="1652638"/>
                  </a:lnTo>
                  <a:lnTo>
                    <a:pt x="13009978" y="1645680"/>
                  </a:lnTo>
                  <a:lnTo>
                    <a:pt x="12952239" y="1628092"/>
                  </a:lnTo>
                  <a:lnTo>
                    <a:pt x="12911345" y="1611301"/>
                  </a:lnTo>
                  <a:lnTo>
                    <a:pt x="12871559" y="1596870"/>
                  </a:lnTo>
                  <a:lnTo>
                    <a:pt x="12848990" y="1595579"/>
                  </a:lnTo>
                  <a:lnTo>
                    <a:pt x="12834277" y="1611762"/>
                  </a:lnTo>
                  <a:lnTo>
                    <a:pt x="12825307" y="1639038"/>
                  </a:lnTo>
                  <a:lnTo>
                    <a:pt x="12817804" y="1667139"/>
                  </a:lnTo>
                  <a:lnTo>
                    <a:pt x="12815810" y="1699982"/>
                  </a:lnTo>
                  <a:lnTo>
                    <a:pt x="12789892" y="1711925"/>
                  </a:lnTo>
                  <a:lnTo>
                    <a:pt x="12766824" y="1698887"/>
                  </a:lnTo>
                  <a:lnTo>
                    <a:pt x="12752044" y="1678087"/>
                  </a:lnTo>
                  <a:lnTo>
                    <a:pt x="12740788" y="1651675"/>
                  </a:lnTo>
                  <a:lnTo>
                    <a:pt x="12728740" y="1625433"/>
                  </a:lnTo>
                  <a:lnTo>
                    <a:pt x="12714731" y="1603050"/>
                  </a:lnTo>
                  <a:lnTo>
                    <a:pt x="12663447" y="1599588"/>
                  </a:lnTo>
                  <a:lnTo>
                    <a:pt x="12630634" y="1547402"/>
                  </a:lnTo>
                  <a:lnTo>
                    <a:pt x="12604682" y="1511685"/>
                  </a:lnTo>
                  <a:lnTo>
                    <a:pt x="12575037" y="1479890"/>
                  </a:lnTo>
                  <a:lnTo>
                    <a:pt x="12545386" y="1448097"/>
                  </a:lnTo>
                  <a:lnTo>
                    <a:pt x="12511739" y="1420476"/>
                  </a:lnTo>
                  <a:lnTo>
                    <a:pt x="12474380" y="1390120"/>
                  </a:lnTo>
                  <a:lnTo>
                    <a:pt x="12502053" y="1375783"/>
                  </a:lnTo>
                  <a:lnTo>
                    <a:pt x="12524073" y="1365516"/>
                  </a:lnTo>
                  <a:lnTo>
                    <a:pt x="12552549" y="1335832"/>
                  </a:lnTo>
                  <a:lnTo>
                    <a:pt x="12558880" y="1315591"/>
                  </a:lnTo>
                  <a:lnTo>
                    <a:pt x="12555990" y="1282663"/>
                  </a:lnTo>
                  <a:lnTo>
                    <a:pt x="12545452" y="1246213"/>
                  </a:lnTo>
                  <a:lnTo>
                    <a:pt x="12557628" y="1217492"/>
                  </a:lnTo>
                  <a:lnTo>
                    <a:pt x="12596800" y="1217374"/>
                  </a:lnTo>
                  <a:lnTo>
                    <a:pt x="12636798" y="1212909"/>
                  </a:lnTo>
                  <a:lnTo>
                    <a:pt x="12652567" y="1198327"/>
                  </a:lnTo>
                  <a:lnTo>
                    <a:pt x="12648999" y="1138697"/>
                  </a:lnTo>
                  <a:lnTo>
                    <a:pt x="12627059" y="1127801"/>
                  </a:lnTo>
                  <a:lnTo>
                    <a:pt x="12599011" y="1128263"/>
                  </a:lnTo>
                  <a:lnTo>
                    <a:pt x="12572315" y="1124881"/>
                  </a:lnTo>
                  <a:lnTo>
                    <a:pt x="12545610" y="1121498"/>
                  </a:lnTo>
                  <a:lnTo>
                    <a:pt x="12520095" y="1114487"/>
                  </a:lnTo>
                  <a:lnTo>
                    <a:pt x="12499969" y="1078341"/>
                  </a:lnTo>
                  <a:lnTo>
                    <a:pt x="12494106" y="1014659"/>
                  </a:lnTo>
                  <a:lnTo>
                    <a:pt x="12494785" y="990219"/>
                  </a:lnTo>
                  <a:lnTo>
                    <a:pt x="12436255" y="986202"/>
                  </a:lnTo>
                  <a:lnTo>
                    <a:pt x="12381207" y="986922"/>
                  </a:lnTo>
                  <a:lnTo>
                    <a:pt x="12327477" y="984778"/>
                  </a:lnTo>
                  <a:lnTo>
                    <a:pt x="12299786" y="983671"/>
                  </a:lnTo>
                  <a:lnTo>
                    <a:pt x="12261463" y="976680"/>
                  </a:lnTo>
                  <a:lnTo>
                    <a:pt x="12224104" y="971180"/>
                  </a:lnTo>
                  <a:lnTo>
                    <a:pt x="12186748" y="965673"/>
                  </a:lnTo>
                  <a:lnTo>
                    <a:pt x="12150273" y="961847"/>
                  </a:lnTo>
                  <a:lnTo>
                    <a:pt x="12126169" y="967104"/>
                  </a:lnTo>
                  <a:lnTo>
                    <a:pt x="12100198" y="950228"/>
                  </a:lnTo>
                  <a:lnTo>
                    <a:pt x="12070401" y="899091"/>
                  </a:lnTo>
                  <a:lnTo>
                    <a:pt x="12060027" y="878857"/>
                  </a:lnTo>
                  <a:lnTo>
                    <a:pt x="12056288" y="854034"/>
                  </a:lnTo>
                  <a:lnTo>
                    <a:pt x="12045916" y="833801"/>
                  </a:lnTo>
                  <a:lnTo>
                    <a:pt x="12022324" y="787980"/>
                  </a:lnTo>
                  <a:lnTo>
                    <a:pt x="11999541" y="753443"/>
                  </a:lnTo>
                  <a:lnTo>
                    <a:pt x="11972466" y="723626"/>
                  </a:lnTo>
                  <a:lnTo>
                    <a:pt x="11945395" y="693811"/>
                  </a:lnTo>
                  <a:lnTo>
                    <a:pt x="11914597" y="668250"/>
                  </a:lnTo>
                  <a:lnTo>
                    <a:pt x="11873167" y="640656"/>
                  </a:lnTo>
                  <a:lnTo>
                    <a:pt x="11839975" y="616254"/>
                  </a:lnTo>
                  <a:lnTo>
                    <a:pt x="11787225" y="567143"/>
                  </a:lnTo>
                  <a:lnTo>
                    <a:pt x="11745953" y="524336"/>
                  </a:lnTo>
                  <a:lnTo>
                    <a:pt x="11701785" y="486949"/>
                  </a:lnTo>
                  <a:lnTo>
                    <a:pt x="11652464" y="445203"/>
                  </a:lnTo>
                  <a:lnTo>
                    <a:pt x="11591683" y="416166"/>
                  </a:lnTo>
                  <a:lnTo>
                    <a:pt x="11529045" y="390380"/>
                  </a:lnTo>
                  <a:lnTo>
                    <a:pt x="11466401" y="364587"/>
                  </a:lnTo>
                  <a:lnTo>
                    <a:pt x="11401376" y="341696"/>
                  </a:lnTo>
                  <a:lnTo>
                    <a:pt x="11344052" y="312850"/>
                  </a:lnTo>
                  <a:lnTo>
                    <a:pt x="11285950" y="283622"/>
                  </a:lnTo>
                  <a:lnTo>
                    <a:pt x="11234980" y="243689"/>
                  </a:lnTo>
                  <a:lnTo>
                    <a:pt x="11174028" y="220356"/>
                  </a:lnTo>
                  <a:lnTo>
                    <a:pt x="11139854" y="207259"/>
                  </a:lnTo>
                  <a:lnTo>
                    <a:pt x="11100963" y="200565"/>
                  </a:lnTo>
                  <a:lnTo>
                    <a:pt x="11067939" y="187705"/>
                  </a:lnTo>
                  <a:lnTo>
                    <a:pt x="11036480" y="175446"/>
                  </a:lnTo>
                  <a:lnTo>
                    <a:pt x="11001493" y="164438"/>
                  </a:lnTo>
                  <a:lnTo>
                    <a:pt x="10971362" y="149619"/>
                  </a:lnTo>
                  <a:lnTo>
                    <a:pt x="10950020" y="130580"/>
                  </a:lnTo>
                  <a:lnTo>
                    <a:pt x="10917585" y="107992"/>
                  </a:lnTo>
                  <a:lnTo>
                    <a:pt x="10873864" y="79099"/>
                  </a:lnTo>
                  <a:lnTo>
                    <a:pt x="10828542" y="53050"/>
                  </a:lnTo>
                  <a:lnTo>
                    <a:pt x="10783215" y="27000"/>
                  </a:lnTo>
                  <a:lnTo>
                    <a:pt x="10735962" y="4347"/>
                  </a:lnTo>
                  <a:lnTo>
                    <a:pt x="10703403" y="0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12" name="Poltava¬0" descr="Poltava¬0">
              <a:extLst>
                <a:ext uri="{FF2B5EF4-FFF2-40B4-BE49-F238E27FC236}">
                  <a16:creationId xmlns:a16="http://schemas.microsoft.com/office/drawing/2014/main" id="{06FED24B-165D-4ABA-90CF-20E9D1D8D40B}"/>
                </a:ext>
              </a:extLst>
            </p:cNvPr>
            <p:cNvSpPr/>
            <p:nvPr/>
          </p:nvSpPr>
          <p:spPr>
            <a:xfrm>
              <a:off x="4284158" y="2012131"/>
              <a:ext cx="1170461" cy="821543"/>
            </a:xfrm>
            <a:custGeom>
              <a:avLst/>
              <a:gdLst/>
              <a:ahLst/>
              <a:cxnLst/>
              <a:rect l="0" t="0" r="0" b="0"/>
              <a:pathLst>
                <a:path w="11943911" h="9516532">
                  <a:moveTo>
                    <a:pt x="10216369" y="7272543"/>
                  </a:moveTo>
                  <a:lnTo>
                    <a:pt x="10227317" y="7249856"/>
                  </a:lnTo>
                  <a:lnTo>
                    <a:pt x="10231233" y="7214349"/>
                  </a:lnTo>
                  <a:lnTo>
                    <a:pt x="10227751" y="7153558"/>
                  </a:lnTo>
                  <a:lnTo>
                    <a:pt x="10219107" y="7111923"/>
                  </a:lnTo>
                  <a:lnTo>
                    <a:pt x="10205250" y="7066841"/>
                  </a:lnTo>
                  <a:lnTo>
                    <a:pt x="10189381" y="7033629"/>
                  </a:lnTo>
                  <a:lnTo>
                    <a:pt x="10177010" y="7002297"/>
                  </a:lnTo>
                  <a:lnTo>
                    <a:pt x="10165922" y="6978324"/>
                  </a:lnTo>
                  <a:lnTo>
                    <a:pt x="10144702" y="6945890"/>
                  </a:lnTo>
                  <a:lnTo>
                    <a:pt x="10119587" y="6913543"/>
                  </a:lnTo>
                  <a:lnTo>
                    <a:pt x="10106279" y="6885323"/>
                  </a:lnTo>
                  <a:lnTo>
                    <a:pt x="10094745" y="6851927"/>
                  </a:lnTo>
                  <a:lnTo>
                    <a:pt x="10096057" y="6815338"/>
                  </a:lnTo>
                  <a:lnTo>
                    <a:pt x="10107638" y="6776506"/>
                  </a:lnTo>
                  <a:lnTo>
                    <a:pt x="10122133" y="6737334"/>
                  </a:lnTo>
                  <a:lnTo>
                    <a:pt x="10147703" y="6696260"/>
                  </a:lnTo>
                  <a:lnTo>
                    <a:pt x="10178368" y="6656810"/>
                  </a:lnTo>
                  <a:lnTo>
                    <a:pt x="10239701" y="6577908"/>
                  </a:lnTo>
                  <a:lnTo>
                    <a:pt x="10320251" y="6504599"/>
                  </a:lnTo>
                  <a:lnTo>
                    <a:pt x="10364719" y="6463657"/>
                  </a:lnTo>
                  <a:lnTo>
                    <a:pt x="10385171" y="6457222"/>
                  </a:lnTo>
                  <a:lnTo>
                    <a:pt x="10427333" y="6456859"/>
                  </a:lnTo>
                  <a:lnTo>
                    <a:pt x="10449049" y="6477263"/>
                  </a:lnTo>
                  <a:lnTo>
                    <a:pt x="10464019" y="6506755"/>
                  </a:lnTo>
                  <a:lnTo>
                    <a:pt x="10481695" y="6524872"/>
                  </a:lnTo>
                  <a:lnTo>
                    <a:pt x="10502785" y="6546477"/>
                  </a:lnTo>
                  <a:lnTo>
                    <a:pt x="10529044" y="6566485"/>
                  </a:lnTo>
                  <a:lnTo>
                    <a:pt x="10557864" y="6576556"/>
                  </a:lnTo>
                  <a:lnTo>
                    <a:pt x="10592507" y="6588637"/>
                  </a:lnTo>
                  <a:lnTo>
                    <a:pt x="10663049" y="6596908"/>
                  </a:lnTo>
                  <a:lnTo>
                    <a:pt x="10733330" y="6602401"/>
                  </a:lnTo>
                  <a:lnTo>
                    <a:pt x="10803617" y="6607895"/>
                  </a:lnTo>
                  <a:lnTo>
                    <a:pt x="10872797" y="6610903"/>
                  </a:lnTo>
                  <a:lnTo>
                    <a:pt x="10907434" y="6610560"/>
                  </a:lnTo>
                  <a:lnTo>
                    <a:pt x="10965074" y="6610031"/>
                  </a:lnTo>
                  <a:lnTo>
                    <a:pt x="10999295" y="6592660"/>
                  </a:lnTo>
                  <a:lnTo>
                    <a:pt x="11048895" y="6575198"/>
                  </a:lnTo>
                  <a:lnTo>
                    <a:pt x="11108361" y="6554266"/>
                  </a:lnTo>
                  <a:lnTo>
                    <a:pt x="11167136" y="6522629"/>
                  </a:lnTo>
                  <a:lnTo>
                    <a:pt x="11218925" y="6482704"/>
                  </a:lnTo>
                  <a:lnTo>
                    <a:pt x="11270714" y="6442778"/>
                  </a:lnTo>
                  <a:lnTo>
                    <a:pt x="11315613" y="6395434"/>
                  </a:lnTo>
                  <a:lnTo>
                    <a:pt x="11350864" y="6342601"/>
                  </a:lnTo>
                  <a:lnTo>
                    <a:pt x="11375092" y="6306284"/>
                  </a:lnTo>
                  <a:lnTo>
                    <a:pt x="11390862" y="6263990"/>
                  </a:lnTo>
                  <a:lnTo>
                    <a:pt x="11417511" y="6228345"/>
                  </a:lnTo>
                  <a:lnTo>
                    <a:pt x="11454067" y="6179510"/>
                  </a:lnTo>
                  <a:lnTo>
                    <a:pt x="11492837" y="6132264"/>
                  </a:lnTo>
                  <a:lnTo>
                    <a:pt x="11530410" y="6084167"/>
                  </a:lnTo>
                  <a:lnTo>
                    <a:pt x="11541721" y="6056132"/>
                  </a:lnTo>
                  <a:lnTo>
                    <a:pt x="11540288" y="6034000"/>
                  </a:lnTo>
                  <a:lnTo>
                    <a:pt x="11514088" y="6010713"/>
                  </a:lnTo>
                  <a:lnTo>
                    <a:pt x="11483501" y="5990302"/>
                  </a:lnTo>
                  <a:lnTo>
                    <a:pt x="11475988" y="5968545"/>
                  </a:lnTo>
                  <a:lnTo>
                    <a:pt x="11497243" y="5949822"/>
                  </a:lnTo>
                  <a:lnTo>
                    <a:pt x="11509812" y="5928633"/>
                  </a:lnTo>
                  <a:lnTo>
                    <a:pt x="11514073" y="5900538"/>
                  </a:lnTo>
                  <a:lnTo>
                    <a:pt x="11490952" y="5875840"/>
                  </a:lnTo>
                  <a:lnTo>
                    <a:pt x="11435739" y="5867557"/>
                  </a:lnTo>
                  <a:lnTo>
                    <a:pt x="11407974" y="5850213"/>
                  </a:lnTo>
                  <a:lnTo>
                    <a:pt x="11413415" y="5806687"/>
                  </a:lnTo>
                  <a:lnTo>
                    <a:pt x="11402501" y="5770256"/>
                  </a:lnTo>
                  <a:lnTo>
                    <a:pt x="11369046" y="5751955"/>
                  </a:lnTo>
                  <a:lnTo>
                    <a:pt x="11353574" y="5720993"/>
                  </a:lnTo>
                  <a:lnTo>
                    <a:pt x="11383665" y="5609967"/>
                  </a:lnTo>
                  <a:lnTo>
                    <a:pt x="11405720" y="5584057"/>
                  </a:lnTo>
                  <a:lnTo>
                    <a:pt x="11449801" y="5583844"/>
                  </a:lnTo>
                  <a:lnTo>
                    <a:pt x="11485426" y="5577527"/>
                  </a:lnTo>
                  <a:lnTo>
                    <a:pt x="11514073" y="5559128"/>
                  </a:lnTo>
                  <a:lnTo>
                    <a:pt x="11557034" y="5560136"/>
                  </a:lnTo>
                  <a:lnTo>
                    <a:pt x="11597460" y="5573530"/>
                  </a:lnTo>
                  <a:lnTo>
                    <a:pt x="11637854" y="5587691"/>
                  </a:lnTo>
                  <a:lnTo>
                    <a:pt x="11678249" y="5601856"/>
                  </a:lnTo>
                  <a:lnTo>
                    <a:pt x="11718488" y="5617790"/>
                  </a:lnTo>
                  <a:lnTo>
                    <a:pt x="11760268" y="5623059"/>
                  </a:lnTo>
                  <a:lnTo>
                    <a:pt x="11773266" y="5598736"/>
                  </a:lnTo>
                  <a:lnTo>
                    <a:pt x="11782645" y="5571209"/>
                  </a:lnTo>
                  <a:lnTo>
                    <a:pt x="11798359" y="5555052"/>
                  </a:lnTo>
                  <a:lnTo>
                    <a:pt x="11822841" y="5549775"/>
                  </a:lnTo>
                  <a:lnTo>
                    <a:pt x="11881923" y="5558731"/>
                  </a:lnTo>
                  <a:lnTo>
                    <a:pt x="11908957" y="5539025"/>
                  </a:lnTo>
                  <a:lnTo>
                    <a:pt x="11914774" y="5502299"/>
                  </a:lnTo>
                  <a:lnTo>
                    <a:pt x="11906939" y="5461852"/>
                  </a:lnTo>
                  <a:lnTo>
                    <a:pt x="11886236" y="5444606"/>
                  </a:lnTo>
                  <a:lnTo>
                    <a:pt x="11860926" y="5432630"/>
                  </a:lnTo>
                  <a:lnTo>
                    <a:pt x="11835616" y="5420654"/>
                  </a:lnTo>
                  <a:lnTo>
                    <a:pt x="11805819" y="5414027"/>
                  </a:lnTo>
                  <a:lnTo>
                    <a:pt x="11782038" y="5408143"/>
                  </a:lnTo>
                  <a:lnTo>
                    <a:pt x="11763329" y="5390020"/>
                  </a:lnTo>
                  <a:lnTo>
                    <a:pt x="11773961" y="5352510"/>
                  </a:lnTo>
                  <a:lnTo>
                    <a:pt x="11754833" y="5326531"/>
                  </a:lnTo>
                  <a:lnTo>
                    <a:pt x="11723437" y="5315842"/>
                  </a:lnTo>
                  <a:lnTo>
                    <a:pt x="11700427" y="5314292"/>
                  </a:lnTo>
                  <a:lnTo>
                    <a:pt x="11677408" y="5312741"/>
                  </a:lnTo>
                  <a:lnTo>
                    <a:pt x="11652331" y="5310242"/>
                  </a:lnTo>
                  <a:lnTo>
                    <a:pt x="11633771" y="5297969"/>
                  </a:lnTo>
                  <a:lnTo>
                    <a:pt x="11623173" y="5277387"/>
                  </a:lnTo>
                  <a:lnTo>
                    <a:pt x="11617173" y="5253263"/>
                  </a:lnTo>
                  <a:lnTo>
                    <a:pt x="11624261" y="5232680"/>
                  </a:lnTo>
                  <a:lnTo>
                    <a:pt x="11706349" y="5230471"/>
                  </a:lnTo>
                  <a:lnTo>
                    <a:pt x="11782044" y="5228604"/>
                  </a:lnTo>
                  <a:lnTo>
                    <a:pt x="11819886" y="5227668"/>
                  </a:lnTo>
                  <a:lnTo>
                    <a:pt x="11858393" y="5225438"/>
                  </a:lnTo>
                  <a:lnTo>
                    <a:pt x="11888137" y="5219087"/>
                  </a:lnTo>
                  <a:lnTo>
                    <a:pt x="11917880" y="5212737"/>
                  </a:lnTo>
                  <a:lnTo>
                    <a:pt x="11938995" y="5202633"/>
                  </a:lnTo>
                  <a:lnTo>
                    <a:pt x="11943910" y="5166039"/>
                  </a:lnTo>
                  <a:lnTo>
                    <a:pt x="11910876" y="5115336"/>
                  </a:lnTo>
                  <a:lnTo>
                    <a:pt x="11852734" y="5023410"/>
                  </a:lnTo>
                  <a:lnTo>
                    <a:pt x="11802449" y="4930718"/>
                  </a:lnTo>
                  <a:lnTo>
                    <a:pt x="11777303" y="4884377"/>
                  </a:lnTo>
                  <a:lnTo>
                    <a:pt x="11754042" y="4838443"/>
                  </a:lnTo>
                  <a:lnTo>
                    <a:pt x="11737160" y="4796065"/>
                  </a:lnTo>
                  <a:lnTo>
                    <a:pt x="11720271" y="4753686"/>
                  </a:lnTo>
                  <a:lnTo>
                    <a:pt x="11710200" y="4714657"/>
                  </a:lnTo>
                  <a:lnTo>
                    <a:pt x="11709949" y="4685884"/>
                  </a:lnTo>
                  <a:lnTo>
                    <a:pt x="11722531" y="4665631"/>
                  </a:lnTo>
                  <a:lnTo>
                    <a:pt x="11755224" y="4673241"/>
                  </a:lnTo>
                  <a:lnTo>
                    <a:pt x="11772522" y="4657321"/>
                  </a:lnTo>
                  <a:lnTo>
                    <a:pt x="11759899" y="4542154"/>
                  </a:lnTo>
                  <a:lnTo>
                    <a:pt x="11729845" y="4518689"/>
                  </a:lnTo>
                  <a:lnTo>
                    <a:pt x="11608144" y="4526207"/>
                  </a:lnTo>
                  <a:lnTo>
                    <a:pt x="11582093" y="4526741"/>
                  </a:lnTo>
                  <a:lnTo>
                    <a:pt x="11558240" y="4560448"/>
                  </a:lnTo>
                  <a:lnTo>
                    <a:pt x="11553531" y="4582509"/>
                  </a:lnTo>
                  <a:lnTo>
                    <a:pt x="11548815" y="4604574"/>
                  </a:lnTo>
                  <a:lnTo>
                    <a:pt x="11545664" y="4626687"/>
                  </a:lnTo>
                  <a:lnTo>
                    <a:pt x="11437308" y="4625526"/>
                  </a:lnTo>
                  <a:lnTo>
                    <a:pt x="11354172" y="4579388"/>
                  </a:lnTo>
                  <a:lnTo>
                    <a:pt x="11262445" y="4568909"/>
                  </a:lnTo>
                  <a:lnTo>
                    <a:pt x="11257043" y="4539258"/>
                  </a:lnTo>
                  <a:lnTo>
                    <a:pt x="11258311" y="4493074"/>
                  </a:lnTo>
                  <a:lnTo>
                    <a:pt x="11209344" y="4478196"/>
                  </a:lnTo>
                  <a:lnTo>
                    <a:pt x="11131253" y="4473481"/>
                  </a:lnTo>
                  <a:lnTo>
                    <a:pt x="11096492" y="4454647"/>
                  </a:lnTo>
                  <a:lnTo>
                    <a:pt x="11087271" y="4403985"/>
                  </a:lnTo>
                  <a:lnTo>
                    <a:pt x="11101719" y="4348343"/>
                  </a:lnTo>
                  <a:lnTo>
                    <a:pt x="11085603" y="4299586"/>
                  </a:lnTo>
                  <a:lnTo>
                    <a:pt x="11070769" y="4276068"/>
                  </a:lnTo>
                  <a:lnTo>
                    <a:pt x="11043528" y="4273002"/>
                  </a:lnTo>
                  <a:lnTo>
                    <a:pt x="11016236" y="4260142"/>
                  </a:lnTo>
                  <a:lnTo>
                    <a:pt x="10989593" y="4243900"/>
                  </a:lnTo>
                  <a:lnTo>
                    <a:pt x="10966711" y="4213807"/>
                  </a:lnTo>
                  <a:lnTo>
                    <a:pt x="10956640" y="4193388"/>
                  </a:lnTo>
                  <a:lnTo>
                    <a:pt x="10950947" y="4162209"/>
                  </a:lnTo>
                  <a:lnTo>
                    <a:pt x="10938740" y="4095323"/>
                  </a:lnTo>
                  <a:lnTo>
                    <a:pt x="10931131" y="4038191"/>
                  </a:lnTo>
                  <a:lnTo>
                    <a:pt x="10933262" y="3970416"/>
                  </a:lnTo>
                  <a:lnTo>
                    <a:pt x="10935482" y="3900687"/>
                  </a:lnTo>
                  <a:lnTo>
                    <a:pt x="10948256" y="3849656"/>
                  </a:lnTo>
                  <a:lnTo>
                    <a:pt x="10944148" y="3804474"/>
                  </a:lnTo>
                  <a:lnTo>
                    <a:pt x="10942104" y="3781880"/>
                  </a:lnTo>
                  <a:lnTo>
                    <a:pt x="10935516" y="3761469"/>
                  </a:lnTo>
                  <a:lnTo>
                    <a:pt x="10922385" y="3740543"/>
                  </a:lnTo>
                  <a:lnTo>
                    <a:pt x="10909247" y="3719625"/>
                  </a:lnTo>
                  <a:lnTo>
                    <a:pt x="10888982" y="3697485"/>
                  </a:lnTo>
                  <a:lnTo>
                    <a:pt x="10858447" y="3675254"/>
                  </a:lnTo>
                  <a:lnTo>
                    <a:pt x="10809123" y="3642016"/>
                  </a:lnTo>
                  <a:lnTo>
                    <a:pt x="10788284" y="3639259"/>
                  </a:lnTo>
                  <a:lnTo>
                    <a:pt x="10754519" y="3651406"/>
                  </a:lnTo>
                  <a:lnTo>
                    <a:pt x="10725160" y="3676612"/>
                  </a:lnTo>
                  <a:lnTo>
                    <a:pt x="10686821" y="3696014"/>
                  </a:lnTo>
                  <a:lnTo>
                    <a:pt x="10650345" y="3690217"/>
                  </a:lnTo>
                  <a:lnTo>
                    <a:pt x="10613864" y="3684421"/>
                  </a:lnTo>
                  <a:lnTo>
                    <a:pt x="10563393" y="3665592"/>
                  </a:lnTo>
                  <a:lnTo>
                    <a:pt x="10487115" y="3620846"/>
                  </a:lnTo>
                  <a:lnTo>
                    <a:pt x="10450435" y="3604015"/>
                  </a:lnTo>
                  <a:lnTo>
                    <a:pt x="10429990" y="3593642"/>
                  </a:lnTo>
                  <a:lnTo>
                    <a:pt x="10409545" y="3583275"/>
                  </a:lnTo>
                  <a:lnTo>
                    <a:pt x="10389906" y="3570032"/>
                  </a:lnTo>
                  <a:lnTo>
                    <a:pt x="10384616" y="3542729"/>
                  </a:lnTo>
                  <a:lnTo>
                    <a:pt x="10383742" y="3517471"/>
                  </a:lnTo>
                  <a:lnTo>
                    <a:pt x="10375370" y="3493511"/>
                  </a:lnTo>
                  <a:lnTo>
                    <a:pt x="10320350" y="3471234"/>
                  </a:lnTo>
                  <a:lnTo>
                    <a:pt x="10278142" y="3471412"/>
                  </a:lnTo>
                  <a:lnTo>
                    <a:pt x="10235487" y="3472586"/>
                  </a:lnTo>
                  <a:lnTo>
                    <a:pt x="10192823" y="3473759"/>
                  </a:lnTo>
                  <a:lnTo>
                    <a:pt x="10149238" y="3475283"/>
                  </a:lnTo>
                  <a:lnTo>
                    <a:pt x="10104900" y="3465786"/>
                  </a:lnTo>
                  <a:lnTo>
                    <a:pt x="10071327" y="3458591"/>
                  </a:lnTo>
                  <a:lnTo>
                    <a:pt x="10049061" y="3435687"/>
                  </a:lnTo>
                  <a:lnTo>
                    <a:pt x="10030089" y="3412737"/>
                  </a:lnTo>
                  <a:lnTo>
                    <a:pt x="10011122" y="3389780"/>
                  </a:lnTo>
                  <a:lnTo>
                    <a:pt x="9995492" y="3367014"/>
                  </a:lnTo>
                  <a:lnTo>
                    <a:pt x="9961166" y="3357762"/>
                  </a:lnTo>
                  <a:lnTo>
                    <a:pt x="9923996" y="3352887"/>
                  </a:lnTo>
                  <a:lnTo>
                    <a:pt x="9887508" y="3341868"/>
                  </a:lnTo>
                  <a:lnTo>
                    <a:pt x="9871184" y="3317077"/>
                  </a:lnTo>
                  <a:lnTo>
                    <a:pt x="9849718" y="3276143"/>
                  </a:lnTo>
                  <a:lnTo>
                    <a:pt x="9836944" y="3249512"/>
                  </a:lnTo>
                  <a:lnTo>
                    <a:pt x="9812924" y="3232551"/>
                  </a:lnTo>
                  <a:lnTo>
                    <a:pt x="9782535" y="3227749"/>
                  </a:lnTo>
                  <a:lnTo>
                    <a:pt x="9794683" y="3190745"/>
                  </a:lnTo>
                  <a:lnTo>
                    <a:pt x="9801557" y="3159763"/>
                  </a:lnTo>
                  <a:lnTo>
                    <a:pt x="9769655" y="3040718"/>
                  </a:lnTo>
                  <a:lnTo>
                    <a:pt x="9745222" y="2981443"/>
                  </a:lnTo>
                  <a:lnTo>
                    <a:pt x="9730851" y="2929951"/>
                  </a:lnTo>
                  <a:lnTo>
                    <a:pt x="9709082" y="2883622"/>
                  </a:lnTo>
                  <a:lnTo>
                    <a:pt x="9711125" y="2857433"/>
                  </a:lnTo>
                  <a:lnTo>
                    <a:pt x="9728833" y="2830202"/>
                  </a:lnTo>
                  <a:lnTo>
                    <a:pt x="9753966" y="2802009"/>
                  </a:lnTo>
                  <a:lnTo>
                    <a:pt x="9779112" y="2773810"/>
                  </a:lnTo>
                  <a:lnTo>
                    <a:pt x="9811944" y="2744046"/>
                  </a:lnTo>
                  <a:lnTo>
                    <a:pt x="9845102" y="2714957"/>
                  </a:lnTo>
                  <a:lnTo>
                    <a:pt x="9878269" y="2685860"/>
                  </a:lnTo>
                  <a:lnTo>
                    <a:pt x="9911479" y="2656770"/>
                  </a:lnTo>
                  <a:lnTo>
                    <a:pt x="9937601" y="2627904"/>
                  </a:lnTo>
                  <a:lnTo>
                    <a:pt x="9963718" y="2599031"/>
                  </a:lnTo>
                  <a:lnTo>
                    <a:pt x="9982554" y="2571102"/>
                  </a:lnTo>
                  <a:lnTo>
                    <a:pt x="9986569" y="2543568"/>
                  </a:lnTo>
                  <a:lnTo>
                    <a:pt x="9974672" y="2524087"/>
                  </a:lnTo>
                  <a:lnTo>
                    <a:pt x="9972443" y="2496243"/>
                  </a:lnTo>
                  <a:lnTo>
                    <a:pt x="9972964" y="2468755"/>
                  </a:lnTo>
                  <a:lnTo>
                    <a:pt x="9973491" y="2441275"/>
                  </a:lnTo>
                  <a:lnTo>
                    <a:pt x="9977515" y="2413556"/>
                  </a:lnTo>
                  <a:lnTo>
                    <a:pt x="9975661" y="2392585"/>
                  </a:lnTo>
                  <a:lnTo>
                    <a:pt x="9973748" y="2370465"/>
                  </a:lnTo>
                  <a:lnTo>
                    <a:pt x="9963420" y="2338177"/>
                  </a:lnTo>
                  <a:lnTo>
                    <a:pt x="9957743" y="2305664"/>
                  </a:lnTo>
                  <a:lnTo>
                    <a:pt x="9963420" y="2281051"/>
                  </a:lnTo>
                  <a:lnTo>
                    <a:pt x="9969410" y="2254949"/>
                  </a:lnTo>
                  <a:lnTo>
                    <a:pt x="9987908" y="2223537"/>
                  </a:lnTo>
                  <a:lnTo>
                    <a:pt x="9982461" y="2195357"/>
                  </a:lnTo>
                  <a:lnTo>
                    <a:pt x="9971215" y="2171438"/>
                  </a:lnTo>
                  <a:lnTo>
                    <a:pt x="9952897" y="2145823"/>
                  </a:lnTo>
                  <a:lnTo>
                    <a:pt x="9944376" y="2123269"/>
                  </a:lnTo>
                  <a:lnTo>
                    <a:pt x="9915364" y="2100041"/>
                  </a:lnTo>
                  <a:lnTo>
                    <a:pt x="9888609" y="2087900"/>
                  </a:lnTo>
                  <a:lnTo>
                    <a:pt x="9861854" y="2075758"/>
                  </a:lnTo>
                  <a:lnTo>
                    <a:pt x="9828839" y="2063585"/>
                  </a:lnTo>
                  <a:lnTo>
                    <a:pt x="9794757" y="2052538"/>
                  </a:lnTo>
                  <a:lnTo>
                    <a:pt x="9760673" y="2041492"/>
                  </a:lnTo>
                  <a:lnTo>
                    <a:pt x="9726098" y="2030821"/>
                  </a:lnTo>
                  <a:lnTo>
                    <a:pt x="9695458" y="2022611"/>
                  </a:lnTo>
                  <a:lnTo>
                    <a:pt x="9664830" y="2014406"/>
                  </a:lnTo>
                  <a:lnTo>
                    <a:pt x="9638404" y="2008556"/>
                  </a:lnTo>
                  <a:lnTo>
                    <a:pt x="9601585" y="2000412"/>
                  </a:lnTo>
                  <a:lnTo>
                    <a:pt x="9580408" y="2010080"/>
                  </a:lnTo>
                  <a:lnTo>
                    <a:pt x="9562161" y="2023976"/>
                  </a:lnTo>
                  <a:lnTo>
                    <a:pt x="9543914" y="2037865"/>
                  </a:lnTo>
                  <a:lnTo>
                    <a:pt x="9528836" y="2055881"/>
                  </a:lnTo>
                  <a:lnTo>
                    <a:pt x="9506018" y="2070879"/>
                  </a:lnTo>
                  <a:lnTo>
                    <a:pt x="9480978" y="2092635"/>
                  </a:lnTo>
                  <a:lnTo>
                    <a:pt x="9459305" y="2112090"/>
                  </a:lnTo>
                  <a:lnTo>
                    <a:pt x="9435663" y="2128703"/>
                  </a:lnTo>
                  <a:lnTo>
                    <a:pt x="9412015" y="2145315"/>
                  </a:lnTo>
                  <a:lnTo>
                    <a:pt x="9386525" y="2159435"/>
                  </a:lnTo>
                  <a:lnTo>
                    <a:pt x="9356769" y="2168147"/>
                  </a:lnTo>
                  <a:lnTo>
                    <a:pt x="9310908" y="2132825"/>
                  </a:lnTo>
                  <a:lnTo>
                    <a:pt x="9271924" y="2106088"/>
                  </a:lnTo>
                  <a:lnTo>
                    <a:pt x="9239796" y="2082453"/>
                  </a:lnTo>
                  <a:lnTo>
                    <a:pt x="9218033" y="2079729"/>
                  </a:lnTo>
                  <a:lnTo>
                    <a:pt x="9192779" y="2102382"/>
                  </a:lnTo>
                  <a:lnTo>
                    <a:pt x="9180717" y="2138694"/>
                  </a:lnTo>
                  <a:lnTo>
                    <a:pt x="9178330" y="2160200"/>
                  </a:lnTo>
                  <a:lnTo>
                    <a:pt x="9174507" y="2181746"/>
                  </a:lnTo>
                  <a:lnTo>
                    <a:pt x="9170675" y="2203291"/>
                  </a:lnTo>
                  <a:lnTo>
                    <a:pt x="9164852" y="2224790"/>
                  </a:lnTo>
                  <a:lnTo>
                    <a:pt x="9146074" y="2261122"/>
                  </a:lnTo>
                  <a:lnTo>
                    <a:pt x="9109215" y="2283762"/>
                  </a:lnTo>
                  <a:lnTo>
                    <a:pt x="9071527" y="2278671"/>
                  </a:lnTo>
                  <a:lnTo>
                    <a:pt x="9032649" y="2277992"/>
                  </a:lnTo>
                  <a:lnTo>
                    <a:pt x="8993600" y="2279680"/>
                  </a:lnTo>
                  <a:lnTo>
                    <a:pt x="8953575" y="2281869"/>
                  </a:lnTo>
                  <a:lnTo>
                    <a:pt x="8913921" y="2282924"/>
                  </a:lnTo>
                  <a:lnTo>
                    <a:pt x="8875263" y="2281038"/>
                  </a:lnTo>
                  <a:lnTo>
                    <a:pt x="8850220" y="2273586"/>
                  </a:lnTo>
                  <a:lnTo>
                    <a:pt x="8829567" y="2258563"/>
                  </a:lnTo>
                  <a:lnTo>
                    <a:pt x="8809971" y="2240229"/>
                  </a:lnTo>
                  <a:lnTo>
                    <a:pt x="8789560" y="2223518"/>
                  </a:lnTo>
                  <a:lnTo>
                    <a:pt x="8765093" y="2213428"/>
                  </a:lnTo>
                  <a:lnTo>
                    <a:pt x="8733802" y="2214390"/>
                  </a:lnTo>
                  <a:lnTo>
                    <a:pt x="8701757" y="2220253"/>
                  </a:lnTo>
                  <a:lnTo>
                    <a:pt x="8680751" y="2223907"/>
                  </a:lnTo>
                  <a:lnTo>
                    <a:pt x="8659748" y="2227560"/>
                  </a:lnTo>
                  <a:lnTo>
                    <a:pt x="8637259" y="2232711"/>
                  </a:lnTo>
                  <a:lnTo>
                    <a:pt x="8614104" y="2237512"/>
                  </a:lnTo>
                  <a:lnTo>
                    <a:pt x="8590949" y="2242306"/>
                  </a:lnTo>
                  <a:lnTo>
                    <a:pt x="8567096" y="2247787"/>
                  </a:lnTo>
                  <a:lnTo>
                    <a:pt x="8527808" y="2259875"/>
                  </a:lnTo>
                  <a:lnTo>
                    <a:pt x="8501205" y="2272874"/>
                  </a:lnTo>
                  <a:lnTo>
                    <a:pt x="8473322" y="2292520"/>
                  </a:lnTo>
                  <a:lnTo>
                    <a:pt x="8455807" y="2326286"/>
                  </a:lnTo>
                  <a:lnTo>
                    <a:pt x="8420953" y="2336805"/>
                  </a:lnTo>
                  <a:lnTo>
                    <a:pt x="8397832" y="2309601"/>
                  </a:lnTo>
                  <a:lnTo>
                    <a:pt x="8405989" y="2285121"/>
                  </a:lnTo>
                  <a:lnTo>
                    <a:pt x="8415511" y="2260634"/>
                  </a:lnTo>
                  <a:lnTo>
                    <a:pt x="8419601" y="2234788"/>
                  </a:lnTo>
                  <a:lnTo>
                    <a:pt x="8412801" y="2211666"/>
                  </a:lnTo>
                  <a:lnTo>
                    <a:pt x="8387556" y="2204122"/>
                  </a:lnTo>
                  <a:lnTo>
                    <a:pt x="8363834" y="2203509"/>
                  </a:lnTo>
                  <a:lnTo>
                    <a:pt x="8368844" y="2045811"/>
                  </a:lnTo>
                  <a:lnTo>
                    <a:pt x="8376075" y="2023962"/>
                  </a:lnTo>
                  <a:lnTo>
                    <a:pt x="8433799" y="2024457"/>
                  </a:lnTo>
                  <a:lnTo>
                    <a:pt x="8466119" y="2019755"/>
                  </a:lnTo>
                  <a:lnTo>
                    <a:pt x="8490332" y="2004916"/>
                  </a:lnTo>
                  <a:lnTo>
                    <a:pt x="8514541" y="1990078"/>
                  </a:lnTo>
                  <a:lnTo>
                    <a:pt x="8530183" y="1965466"/>
                  </a:lnTo>
                  <a:lnTo>
                    <a:pt x="8537938" y="1938268"/>
                  </a:lnTo>
                  <a:lnTo>
                    <a:pt x="8545668" y="1911078"/>
                  </a:lnTo>
                  <a:lnTo>
                    <a:pt x="8545872" y="1880985"/>
                  </a:lnTo>
                  <a:lnTo>
                    <a:pt x="8539290" y="1853939"/>
                  </a:lnTo>
                  <a:lnTo>
                    <a:pt x="8532717" y="1826894"/>
                  </a:lnTo>
                  <a:lnTo>
                    <a:pt x="8518643" y="1803046"/>
                  </a:lnTo>
                  <a:lnTo>
                    <a:pt x="8499847" y="1788650"/>
                  </a:lnTo>
                  <a:lnTo>
                    <a:pt x="8477278" y="1773297"/>
                  </a:lnTo>
                  <a:lnTo>
                    <a:pt x="8451670" y="1760476"/>
                  </a:lnTo>
                  <a:lnTo>
                    <a:pt x="8425033" y="1749199"/>
                  </a:lnTo>
                  <a:lnTo>
                    <a:pt x="8396716" y="1739755"/>
                  </a:lnTo>
                  <a:lnTo>
                    <a:pt x="8369030" y="1731445"/>
                  </a:lnTo>
                  <a:lnTo>
                    <a:pt x="8342065" y="1724719"/>
                  </a:lnTo>
                  <a:lnTo>
                    <a:pt x="8335693" y="1690926"/>
                  </a:lnTo>
                  <a:lnTo>
                    <a:pt x="8337975" y="1666228"/>
                  </a:lnTo>
                  <a:lnTo>
                    <a:pt x="8340282" y="1641537"/>
                  </a:lnTo>
                  <a:lnTo>
                    <a:pt x="8341938" y="1617393"/>
                  </a:lnTo>
                  <a:lnTo>
                    <a:pt x="8319911" y="1606340"/>
                  </a:lnTo>
                  <a:lnTo>
                    <a:pt x="8287181" y="1595076"/>
                  </a:lnTo>
                  <a:lnTo>
                    <a:pt x="8278152" y="1503004"/>
                  </a:lnTo>
                  <a:lnTo>
                    <a:pt x="8263908" y="1464365"/>
                  </a:lnTo>
                  <a:lnTo>
                    <a:pt x="8249075" y="1442906"/>
                  </a:lnTo>
                  <a:lnTo>
                    <a:pt x="8227907" y="1434220"/>
                  </a:lnTo>
                  <a:lnTo>
                    <a:pt x="8197109" y="1423721"/>
                  </a:lnTo>
                  <a:lnTo>
                    <a:pt x="8176131" y="1429557"/>
                  </a:lnTo>
                  <a:lnTo>
                    <a:pt x="8159629" y="1444455"/>
                  </a:lnTo>
                  <a:lnTo>
                    <a:pt x="8143860" y="1477284"/>
                  </a:lnTo>
                  <a:lnTo>
                    <a:pt x="8138617" y="1504423"/>
                  </a:lnTo>
                  <a:lnTo>
                    <a:pt x="8112206" y="1516610"/>
                  </a:lnTo>
                  <a:lnTo>
                    <a:pt x="8085054" y="1505709"/>
                  </a:lnTo>
                  <a:lnTo>
                    <a:pt x="8063238" y="1477159"/>
                  </a:lnTo>
                  <a:lnTo>
                    <a:pt x="8047773" y="1445939"/>
                  </a:lnTo>
                  <a:lnTo>
                    <a:pt x="8037035" y="1392712"/>
                  </a:lnTo>
                  <a:lnTo>
                    <a:pt x="8038691" y="1352937"/>
                  </a:lnTo>
                  <a:lnTo>
                    <a:pt x="8037398" y="1316659"/>
                  </a:lnTo>
                  <a:lnTo>
                    <a:pt x="8034049" y="1292661"/>
                  </a:lnTo>
                  <a:lnTo>
                    <a:pt x="8029867" y="1267210"/>
                  </a:lnTo>
                  <a:lnTo>
                    <a:pt x="8027870" y="1240488"/>
                  </a:lnTo>
                  <a:lnTo>
                    <a:pt x="8027870" y="1210837"/>
                  </a:lnTo>
                  <a:lnTo>
                    <a:pt x="8043894" y="1187372"/>
                  </a:lnTo>
                  <a:lnTo>
                    <a:pt x="8059155" y="1162958"/>
                  </a:lnTo>
                  <a:lnTo>
                    <a:pt x="8074416" y="1138544"/>
                  </a:lnTo>
                  <a:lnTo>
                    <a:pt x="8089770" y="1114327"/>
                  </a:lnTo>
                  <a:lnTo>
                    <a:pt x="8089075" y="1085422"/>
                  </a:lnTo>
                  <a:lnTo>
                    <a:pt x="8077758" y="1042786"/>
                  </a:lnTo>
                  <a:lnTo>
                    <a:pt x="8064590" y="1020139"/>
                  </a:lnTo>
                  <a:lnTo>
                    <a:pt x="8051419" y="997486"/>
                  </a:lnTo>
                  <a:lnTo>
                    <a:pt x="8035857" y="976725"/>
                  </a:lnTo>
                  <a:lnTo>
                    <a:pt x="7978388" y="917885"/>
                  </a:lnTo>
                  <a:lnTo>
                    <a:pt x="7916159" y="881758"/>
                  </a:lnTo>
                  <a:lnTo>
                    <a:pt x="7867362" y="837869"/>
                  </a:lnTo>
                  <a:lnTo>
                    <a:pt x="7846709" y="819291"/>
                  </a:lnTo>
                  <a:lnTo>
                    <a:pt x="7831448" y="790115"/>
                  </a:lnTo>
                  <a:lnTo>
                    <a:pt x="7812956" y="769862"/>
                  </a:lnTo>
                  <a:lnTo>
                    <a:pt x="7781293" y="735219"/>
                  </a:lnTo>
                  <a:lnTo>
                    <a:pt x="7745496" y="705529"/>
                  </a:lnTo>
                  <a:lnTo>
                    <a:pt x="7717737" y="667846"/>
                  </a:lnTo>
                  <a:lnTo>
                    <a:pt x="7697701" y="640629"/>
                  </a:lnTo>
                  <a:lnTo>
                    <a:pt x="7679268" y="614183"/>
                  </a:lnTo>
                  <a:lnTo>
                    <a:pt x="7664695" y="586234"/>
                  </a:lnTo>
                  <a:lnTo>
                    <a:pt x="7650113" y="558284"/>
                  </a:lnTo>
                  <a:lnTo>
                    <a:pt x="7638923" y="528423"/>
                  </a:lnTo>
                  <a:lnTo>
                    <a:pt x="7637484" y="493740"/>
                  </a:lnTo>
                  <a:lnTo>
                    <a:pt x="7634880" y="429737"/>
                  </a:lnTo>
                  <a:lnTo>
                    <a:pt x="7632564" y="362937"/>
                  </a:lnTo>
                  <a:lnTo>
                    <a:pt x="7633401" y="296514"/>
                  </a:lnTo>
                  <a:lnTo>
                    <a:pt x="7634219" y="230083"/>
                  </a:lnTo>
                  <a:lnTo>
                    <a:pt x="7639180" y="163698"/>
                  </a:lnTo>
                  <a:lnTo>
                    <a:pt x="7651084" y="100638"/>
                  </a:lnTo>
                  <a:lnTo>
                    <a:pt x="7617244" y="66787"/>
                  </a:lnTo>
                  <a:lnTo>
                    <a:pt x="7531683" y="49594"/>
                  </a:lnTo>
                  <a:lnTo>
                    <a:pt x="7482418" y="21750"/>
                  </a:lnTo>
                  <a:lnTo>
                    <a:pt x="7464481" y="45722"/>
                  </a:lnTo>
                  <a:lnTo>
                    <a:pt x="7467665" y="88061"/>
                  </a:lnTo>
                  <a:lnTo>
                    <a:pt x="7451133" y="116960"/>
                  </a:lnTo>
                  <a:lnTo>
                    <a:pt x="7420623" y="111638"/>
                  </a:lnTo>
                  <a:lnTo>
                    <a:pt x="7380982" y="100533"/>
                  </a:lnTo>
                  <a:lnTo>
                    <a:pt x="7354702" y="97519"/>
                  </a:lnTo>
                  <a:lnTo>
                    <a:pt x="7313752" y="108803"/>
                  </a:lnTo>
                  <a:lnTo>
                    <a:pt x="7290631" y="168651"/>
                  </a:lnTo>
                  <a:lnTo>
                    <a:pt x="7269463" y="175431"/>
                  </a:lnTo>
                  <a:lnTo>
                    <a:pt x="7243279" y="169614"/>
                  </a:lnTo>
                  <a:lnTo>
                    <a:pt x="7219901" y="164576"/>
                  </a:lnTo>
                  <a:lnTo>
                    <a:pt x="7196516" y="159537"/>
                  </a:lnTo>
                  <a:lnTo>
                    <a:pt x="7175544" y="154387"/>
                  </a:lnTo>
                  <a:lnTo>
                    <a:pt x="7155963" y="181577"/>
                  </a:lnTo>
                  <a:lnTo>
                    <a:pt x="7165336" y="210027"/>
                  </a:lnTo>
                  <a:lnTo>
                    <a:pt x="7170933" y="238037"/>
                  </a:lnTo>
                  <a:lnTo>
                    <a:pt x="7175150" y="265596"/>
                  </a:lnTo>
                  <a:lnTo>
                    <a:pt x="7172155" y="292081"/>
                  </a:lnTo>
                  <a:lnTo>
                    <a:pt x="7157309" y="315566"/>
                  </a:lnTo>
                  <a:lnTo>
                    <a:pt x="7118242" y="303365"/>
                  </a:lnTo>
                  <a:lnTo>
                    <a:pt x="7084238" y="269850"/>
                  </a:lnTo>
                  <a:lnTo>
                    <a:pt x="7045769" y="262516"/>
                  </a:lnTo>
                  <a:lnTo>
                    <a:pt x="6983369" y="301730"/>
                  </a:lnTo>
                  <a:lnTo>
                    <a:pt x="6963305" y="328017"/>
                  </a:lnTo>
                  <a:lnTo>
                    <a:pt x="6975019" y="363175"/>
                  </a:lnTo>
                  <a:lnTo>
                    <a:pt x="6986423" y="397593"/>
                  </a:lnTo>
                  <a:lnTo>
                    <a:pt x="6966592" y="421124"/>
                  </a:lnTo>
                  <a:lnTo>
                    <a:pt x="6942361" y="421665"/>
                  </a:lnTo>
                  <a:lnTo>
                    <a:pt x="6917162" y="416185"/>
                  </a:lnTo>
                  <a:lnTo>
                    <a:pt x="6878495" y="395892"/>
                  </a:lnTo>
                  <a:lnTo>
                    <a:pt x="6854121" y="376259"/>
                  </a:lnTo>
                  <a:lnTo>
                    <a:pt x="6788026" y="345625"/>
                  </a:lnTo>
                  <a:lnTo>
                    <a:pt x="6742181" y="329237"/>
                  </a:lnTo>
                  <a:lnTo>
                    <a:pt x="6698891" y="310125"/>
                  </a:lnTo>
                  <a:lnTo>
                    <a:pt x="6655588" y="291013"/>
                  </a:lnTo>
                  <a:lnTo>
                    <a:pt x="6613600" y="268980"/>
                  </a:lnTo>
                  <a:lnTo>
                    <a:pt x="6569664" y="232596"/>
                  </a:lnTo>
                  <a:lnTo>
                    <a:pt x="6547201" y="213985"/>
                  </a:lnTo>
                  <a:lnTo>
                    <a:pt x="6524272" y="189023"/>
                  </a:lnTo>
                  <a:lnTo>
                    <a:pt x="6503023" y="163223"/>
                  </a:lnTo>
                  <a:lnTo>
                    <a:pt x="6481766" y="137424"/>
                  </a:lnTo>
                  <a:lnTo>
                    <a:pt x="6462787" y="109996"/>
                  </a:lnTo>
                  <a:lnTo>
                    <a:pt x="6448614" y="84329"/>
                  </a:lnTo>
                  <a:lnTo>
                    <a:pt x="6407826" y="75393"/>
                  </a:lnTo>
                  <a:lnTo>
                    <a:pt x="6338426" y="98673"/>
                  </a:lnTo>
                  <a:lnTo>
                    <a:pt x="6269063" y="125138"/>
                  </a:lnTo>
                  <a:lnTo>
                    <a:pt x="6199696" y="151603"/>
                  </a:lnTo>
                  <a:lnTo>
                    <a:pt x="6129387" y="181287"/>
                  </a:lnTo>
                  <a:lnTo>
                    <a:pt x="6104480" y="194510"/>
                  </a:lnTo>
                  <a:lnTo>
                    <a:pt x="6073660" y="224431"/>
                  </a:lnTo>
                  <a:lnTo>
                    <a:pt x="6077276" y="252994"/>
                  </a:lnTo>
                  <a:lnTo>
                    <a:pt x="6103628" y="272270"/>
                  </a:lnTo>
                  <a:lnTo>
                    <a:pt x="6200586" y="317861"/>
                  </a:lnTo>
                  <a:lnTo>
                    <a:pt x="6213547" y="347426"/>
                  </a:lnTo>
                  <a:lnTo>
                    <a:pt x="6202623" y="381832"/>
                  </a:lnTo>
                  <a:lnTo>
                    <a:pt x="6153829" y="382300"/>
                  </a:lnTo>
                  <a:lnTo>
                    <a:pt x="6105628" y="375158"/>
                  </a:lnTo>
                  <a:lnTo>
                    <a:pt x="6060951" y="371332"/>
                  </a:lnTo>
                  <a:lnTo>
                    <a:pt x="5971177" y="363175"/>
                  </a:lnTo>
                  <a:lnTo>
                    <a:pt x="5949749" y="362647"/>
                  </a:lnTo>
                  <a:lnTo>
                    <a:pt x="5916774" y="378138"/>
                  </a:lnTo>
                  <a:lnTo>
                    <a:pt x="5890903" y="401564"/>
                  </a:lnTo>
                  <a:lnTo>
                    <a:pt x="5858331" y="441450"/>
                  </a:lnTo>
                  <a:lnTo>
                    <a:pt x="5841197" y="469161"/>
                  </a:lnTo>
                  <a:lnTo>
                    <a:pt x="5816117" y="473349"/>
                  </a:lnTo>
                  <a:lnTo>
                    <a:pt x="5779303" y="469195"/>
                  </a:lnTo>
                  <a:lnTo>
                    <a:pt x="5747919" y="455892"/>
                  </a:lnTo>
                  <a:lnTo>
                    <a:pt x="5718181" y="439346"/>
                  </a:lnTo>
                  <a:lnTo>
                    <a:pt x="5688453" y="422799"/>
                  </a:lnTo>
                  <a:lnTo>
                    <a:pt x="5659528" y="403430"/>
                  </a:lnTo>
                  <a:lnTo>
                    <a:pt x="5628413" y="387655"/>
                  </a:lnTo>
                  <a:lnTo>
                    <a:pt x="5607289" y="376951"/>
                  </a:lnTo>
                  <a:lnTo>
                    <a:pt x="5586199" y="372374"/>
                  </a:lnTo>
                  <a:lnTo>
                    <a:pt x="5564482" y="360451"/>
                  </a:lnTo>
                  <a:lnTo>
                    <a:pt x="5541361" y="347742"/>
                  </a:lnTo>
                  <a:lnTo>
                    <a:pt x="5505351" y="323513"/>
                  </a:lnTo>
                  <a:lnTo>
                    <a:pt x="5478788" y="318290"/>
                  </a:lnTo>
                  <a:lnTo>
                    <a:pt x="5393389" y="301453"/>
                  </a:lnTo>
                  <a:lnTo>
                    <a:pt x="5306681" y="299560"/>
                  </a:lnTo>
                  <a:lnTo>
                    <a:pt x="5221706" y="285644"/>
                  </a:lnTo>
                  <a:lnTo>
                    <a:pt x="5147711" y="273550"/>
                  </a:lnTo>
                  <a:lnTo>
                    <a:pt x="5072298" y="256673"/>
                  </a:lnTo>
                  <a:lnTo>
                    <a:pt x="4998632" y="242118"/>
                  </a:lnTo>
                  <a:lnTo>
                    <a:pt x="4932797" y="229107"/>
                  </a:lnTo>
                  <a:lnTo>
                    <a:pt x="4865185" y="228810"/>
                  </a:lnTo>
                  <a:lnTo>
                    <a:pt x="4797329" y="228513"/>
                  </a:lnTo>
                  <a:lnTo>
                    <a:pt x="4729476" y="228184"/>
                  </a:lnTo>
                  <a:lnTo>
                    <a:pt x="4661328" y="228250"/>
                  </a:lnTo>
                  <a:lnTo>
                    <a:pt x="4594656" y="217632"/>
                  </a:lnTo>
                  <a:lnTo>
                    <a:pt x="4552361" y="210885"/>
                  </a:lnTo>
                  <a:lnTo>
                    <a:pt x="4529048" y="197563"/>
                  </a:lnTo>
                  <a:lnTo>
                    <a:pt x="4507601" y="179546"/>
                  </a:lnTo>
                  <a:lnTo>
                    <a:pt x="4486170" y="161529"/>
                  </a:lnTo>
                  <a:lnTo>
                    <a:pt x="4467883" y="139067"/>
                  </a:lnTo>
                  <a:lnTo>
                    <a:pt x="4438232" y="114256"/>
                  </a:lnTo>
                  <a:lnTo>
                    <a:pt x="4403747" y="107734"/>
                  </a:lnTo>
                  <a:lnTo>
                    <a:pt x="4381106" y="112898"/>
                  </a:lnTo>
                  <a:lnTo>
                    <a:pt x="4358466" y="118055"/>
                  </a:lnTo>
                  <a:lnTo>
                    <a:pt x="4335540" y="124320"/>
                  </a:lnTo>
                  <a:lnTo>
                    <a:pt x="4306655" y="95850"/>
                  </a:lnTo>
                  <a:lnTo>
                    <a:pt x="4297521" y="67057"/>
                  </a:lnTo>
                  <a:lnTo>
                    <a:pt x="4283171" y="43526"/>
                  </a:lnTo>
                  <a:lnTo>
                    <a:pt x="4267144" y="20992"/>
                  </a:lnTo>
                  <a:lnTo>
                    <a:pt x="4244795" y="6212"/>
                  </a:lnTo>
                  <a:lnTo>
                    <a:pt x="4213805" y="1358"/>
                  </a:lnTo>
                  <a:lnTo>
                    <a:pt x="4043775" y="0"/>
                  </a:lnTo>
                  <a:lnTo>
                    <a:pt x="4030005" y="31246"/>
                  </a:lnTo>
                  <a:lnTo>
                    <a:pt x="4024105" y="62889"/>
                  </a:lnTo>
                  <a:lnTo>
                    <a:pt x="4015212" y="93858"/>
                  </a:lnTo>
                  <a:lnTo>
                    <a:pt x="4006323" y="124822"/>
                  </a:lnTo>
                  <a:lnTo>
                    <a:pt x="3995133" y="154043"/>
                  </a:lnTo>
                  <a:lnTo>
                    <a:pt x="3956599" y="179335"/>
                  </a:lnTo>
                  <a:lnTo>
                    <a:pt x="3934538" y="173749"/>
                  </a:lnTo>
                  <a:lnTo>
                    <a:pt x="3907755" y="172747"/>
                  </a:lnTo>
                  <a:lnTo>
                    <a:pt x="3861386" y="179032"/>
                  </a:lnTo>
                  <a:lnTo>
                    <a:pt x="3835351" y="162373"/>
                  </a:lnTo>
                  <a:lnTo>
                    <a:pt x="3816620" y="145549"/>
                  </a:lnTo>
                  <a:lnTo>
                    <a:pt x="3798175" y="128007"/>
                  </a:lnTo>
                  <a:lnTo>
                    <a:pt x="3764000" y="109145"/>
                  </a:lnTo>
                  <a:lnTo>
                    <a:pt x="3736659" y="109244"/>
                  </a:lnTo>
                  <a:lnTo>
                    <a:pt x="3710530" y="115628"/>
                  </a:lnTo>
                  <a:lnTo>
                    <a:pt x="3684399" y="122012"/>
                  </a:lnTo>
                  <a:lnTo>
                    <a:pt x="3658754" y="135604"/>
                  </a:lnTo>
                  <a:lnTo>
                    <a:pt x="3638432" y="149632"/>
                  </a:lnTo>
                  <a:lnTo>
                    <a:pt x="3603988" y="135664"/>
                  </a:lnTo>
                  <a:lnTo>
                    <a:pt x="3584033" y="119704"/>
                  </a:lnTo>
                  <a:lnTo>
                    <a:pt x="3564077" y="103744"/>
                  </a:lnTo>
                  <a:lnTo>
                    <a:pt x="3544686" y="86215"/>
                  </a:lnTo>
                  <a:lnTo>
                    <a:pt x="3520740" y="74588"/>
                  </a:lnTo>
                  <a:lnTo>
                    <a:pt x="3501061" y="66655"/>
                  </a:lnTo>
                  <a:lnTo>
                    <a:pt x="3472492" y="55779"/>
                  </a:lnTo>
                  <a:lnTo>
                    <a:pt x="3472492" y="81618"/>
                  </a:lnTo>
                  <a:lnTo>
                    <a:pt x="3466458" y="108334"/>
                  </a:lnTo>
                  <a:lnTo>
                    <a:pt x="3449827" y="130625"/>
                  </a:lnTo>
                  <a:lnTo>
                    <a:pt x="3431692" y="152349"/>
                  </a:lnTo>
                  <a:lnTo>
                    <a:pt x="3413547" y="174072"/>
                  </a:lnTo>
                  <a:lnTo>
                    <a:pt x="3393902" y="195400"/>
                  </a:lnTo>
                  <a:lnTo>
                    <a:pt x="3379999" y="219004"/>
                  </a:lnTo>
                  <a:lnTo>
                    <a:pt x="3367416" y="240404"/>
                  </a:lnTo>
                  <a:lnTo>
                    <a:pt x="3361038" y="263169"/>
                  </a:lnTo>
                  <a:lnTo>
                    <a:pt x="3354155" y="285651"/>
                  </a:lnTo>
                  <a:lnTo>
                    <a:pt x="3347275" y="308127"/>
                  </a:lnTo>
                  <a:lnTo>
                    <a:pt x="3339809" y="330813"/>
                  </a:lnTo>
                  <a:lnTo>
                    <a:pt x="3321509" y="350941"/>
                  </a:lnTo>
                  <a:lnTo>
                    <a:pt x="3294819" y="369328"/>
                  </a:lnTo>
                  <a:lnTo>
                    <a:pt x="3269487" y="377908"/>
                  </a:lnTo>
                  <a:lnTo>
                    <a:pt x="3246704" y="383586"/>
                  </a:lnTo>
                  <a:lnTo>
                    <a:pt x="3223918" y="389264"/>
                  </a:lnTo>
                  <a:lnTo>
                    <a:pt x="3202682" y="391288"/>
                  </a:lnTo>
                  <a:lnTo>
                    <a:pt x="3165587" y="405811"/>
                  </a:lnTo>
                  <a:lnTo>
                    <a:pt x="3136522" y="440711"/>
                  </a:lnTo>
                  <a:lnTo>
                    <a:pt x="3122541" y="463859"/>
                  </a:lnTo>
                  <a:lnTo>
                    <a:pt x="3110254" y="498917"/>
                  </a:lnTo>
                  <a:lnTo>
                    <a:pt x="3101160" y="552251"/>
                  </a:lnTo>
                  <a:lnTo>
                    <a:pt x="3046282" y="579006"/>
                  </a:lnTo>
                  <a:lnTo>
                    <a:pt x="2983164" y="579982"/>
                  </a:lnTo>
                  <a:lnTo>
                    <a:pt x="2928414" y="610734"/>
                  </a:lnTo>
                  <a:lnTo>
                    <a:pt x="2905891" y="630532"/>
                  </a:lnTo>
                  <a:lnTo>
                    <a:pt x="2891086" y="661673"/>
                  </a:lnTo>
                  <a:lnTo>
                    <a:pt x="2880804" y="699152"/>
                  </a:lnTo>
                  <a:lnTo>
                    <a:pt x="2871571" y="736782"/>
                  </a:lnTo>
                  <a:lnTo>
                    <a:pt x="2865332" y="775904"/>
                  </a:lnTo>
                  <a:lnTo>
                    <a:pt x="2846800" y="798445"/>
                  </a:lnTo>
                  <a:lnTo>
                    <a:pt x="2818113" y="818038"/>
                  </a:lnTo>
                  <a:lnTo>
                    <a:pt x="2785554" y="823809"/>
                  </a:lnTo>
                  <a:lnTo>
                    <a:pt x="2752948" y="825649"/>
                  </a:lnTo>
                  <a:lnTo>
                    <a:pt x="2720343" y="827489"/>
                  </a:lnTo>
                  <a:lnTo>
                    <a:pt x="2686704" y="825912"/>
                  </a:lnTo>
                  <a:lnTo>
                    <a:pt x="2655013" y="831089"/>
                  </a:lnTo>
                  <a:lnTo>
                    <a:pt x="2621183" y="836616"/>
                  </a:lnTo>
                  <a:lnTo>
                    <a:pt x="2582162" y="852404"/>
                  </a:lnTo>
                  <a:lnTo>
                    <a:pt x="2548924" y="862376"/>
                  </a:lnTo>
                  <a:lnTo>
                    <a:pt x="2516699" y="885009"/>
                  </a:lnTo>
                  <a:lnTo>
                    <a:pt x="2479381" y="900777"/>
                  </a:lnTo>
                  <a:lnTo>
                    <a:pt x="2454325" y="907669"/>
                  </a:lnTo>
                  <a:lnTo>
                    <a:pt x="2431942" y="918142"/>
                  </a:lnTo>
                  <a:lnTo>
                    <a:pt x="2409559" y="928615"/>
                  </a:lnTo>
                  <a:lnTo>
                    <a:pt x="2389498" y="943005"/>
                  </a:lnTo>
                  <a:lnTo>
                    <a:pt x="2374816" y="965751"/>
                  </a:lnTo>
                  <a:lnTo>
                    <a:pt x="2366098" y="1001627"/>
                  </a:lnTo>
                  <a:lnTo>
                    <a:pt x="2317335" y="1006797"/>
                  </a:lnTo>
                  <a:lnTo>
                    <a:pt x="2267359" y="1007919"/>
                  </a:lnTo>
                  <a:lnTo>
                    <a:pt x="2217384" y="1009033"/>
                  </a:lnTo>
                  <a:lnTo>
                    <a:pt x="2165852" y="1004904"/>
                  </a:lnTo>
                  <a:lnTo>
                    <a:pt x="2150129" y="985602"/>
                  </a:lnTo>
                  <a:lnTo>
                    <a:pt x="2148514" y="960521"/>
                  </a:lnTo>
                  <a:lnTo>
                    <a:pt x="2113614" y="931365"/>
                  </a:lnTo>
                  <a:lnTo>
                    <a:pt x="2055255" y="932618"/>
                  </a:lnTo>
                  <a:lnTo>
                    <a:pt x="2027966" y="933106"/>
                  </a:lnTo>
                  <a:lnTo>
                    <a:pt x="2011642" y="972550"/>
                  </a:lnTo>
                  <a:lnTo>
                    <a:pt x="1978252" y="988088"/>
                  </a:lnTo>
                  <a:lnTo>
                    <a:pt x="1871905" y="988108"/>
                  </a:lnTo>
                  <a:lnTo>
                    <a:pt x="1764082" y="980708"/>
                  </a:lnTo>
                  <a:lnTo>
                    <a:pt x="1656262" y="973315"/>
                  </a:lnTo>
                  <a:lnTo>
                    <a:pt x="1546727" y="957863"/>
                  </a:lnTo>
                  <a:lnTo>
                    <a:pt x="1511089" y="941264"/>
                  </a:lnTo>
                  <a:lnTo>
                    <a:pt x="1488898" y="912022"/>
                  </a:lnTo>
                  <a:lnTo>
                    <a:pt x="1476592" y="884350"/>
                  </a:lnTo>
                  <a:lnTo>
                    <a:pt x="1471011" y="850307"/>
                  </a:lnTo>
                  <a:lnTo>
                    <a:pt x="1462116" y="817491"/>
                  </a:lnTo>
                  <a:lnTo>
                    <a:pt x="1453226" y="784668"/>
                  </a:lnTo>
                  <a:lnTo>
                    <a:pt x="1440505" y="753837"/>
                  </a:lnTo>
                  <a:lnTo>
                    <a:pt x="1376428" y="737237"/>
                  </a:lnTo>
                  <a:lnTo>
                    <a:pt x="1330093" y="729205"/>
                  </a:lnTo>
                  <a:lnTo>
                    <a:pt x="1309775" y="734514"/>
                  </a:lnTo>
                  <a:lnTo>
                    <a:pt x="1294520" y="751028"/>
                  </a:lnTo>
                  <a:lnTo>
                    <a:pt x="1275901" y="776319"/>
                  </a:lnTo>
                  <a:lnTo>
                    <a:pt x="1254944" y="779715"/>
                  </a:lnTo>
                  <a:lnTo>
                    <a:pt x="1224211" y="804373"/>
                  </a:lnTo>
                  <a:lnTo>
                    <a:pt x="1211799" y="828683"/>
                  </a:lnTo>
                  <a:lnTo>
                    <a:pt x="1190076" y="837889"/>
                  </a:lnTo>
                  <a:lnTo>
                    <a:pt x="1166788" y="818084"/>
                  </a:lnTo>
                  <a:lnTo>
                    <a:pt x="1138476" y="794343"/>
                  </a:lnTo>
                  <a:lnTo>
                    <a:pt x="1118502" y="769816"/>
                  </a:lnTo>
                  <a:lnTo>
                    <a:pt x="1093592" y="742658"/>
                  </a:lnTo>
                  <a:lnTo>
                    <a:pt x="1057827" y="730141"/>
                  </a:lnTo>
                  <a:lnTo>
                    <a:pt x="1017420" y="733135"/>
                  </a:lnTo>
                  <a:lnTo>
                    <a:pt x="952131" y="737211"/>
                  </a:lnTo>
                  <a:lnTo>
                    <a:pt x="938064" y="753237"/>
                  </a:lnTo>
                  <a:lnTo>
                    <a:pt x="922679" y="793743"/>
                  </a:lnTo>
                  <a:lnTo>
                    <a:pt x="913451" y="814167"/>
                  </a:lnTo>
                  <a:lnTo>
                    <a:pt x="879488" y="818493"/>
                  </a:lnTo>
                  <a:lnTo>
                    <a:pt x="858245" y="816930"/>
                  </a:lnTo>
                  <a:lnTo>
                    <a:pt x="817504" y="817992"/>
                  </a:lnTo>
                  <a:lnTo>
                    <a:pt x="779385" y="831069"/>
                  </a:lnTo>
                  <a:lnTo>
                    <a:pt x="754013" y="844141"/>
                  </a:lnTo>
                  <a:lnTo>
                    <a:pt x="731289" y="869742"/>
                  </a:lnTo>
                  <a:lnTo>
                    <a:pt x="710013" y="900435"/>
                  </a:lnTo>
                  <a:lnTo>
                    <a:pt x="688746" y="931128"/>
                  </a:lnTo>
                  <a:lnTo>
                    <a:pt x="668676" y="966635"/>
                  </a:lnTo>
                  <a:lnTo>
                    <a:pt x="647446" y="998369"/>
                  </a:lnTo>
                  <a:lnTo>
                    <a:pt x="626226" y="1030111"/>
                  </a:lnTo>
                  <a:lnTo>
                    <a:pt x="603315" y="1058337"/>
                  </a:lnTo>
                  <a:lnTo>
                    <a:pt x="578077" y="1074540"/>
                  </a:lnTo>
                  <a:lnTo>
                    <a:pt x="553015" y="1088396"/>
                  </a:lnTo>
                  <a:lnTo>
                    <a:pt x="524253" y="1090612"/>
                  </a:lnTo>
                  <a:lnTo>
                    <a:pt x="492389" y="1078622"/>
                  </a:lnTo>
                  <a:lnTo>
                    <a:pt x="459743" y="1037820"/>
                  </a:lnTo>
                  <a:lnTo>
                    <a:pt x="436615" y="1033745"/>
                  </a:lnTo>
                  <a:lnTo>
                    <a:pt x="385998" y="1049025"/>
                  </a:lnTo>
                  <a:lnTo>
                    <a:pt x="345486" y="1048702"/>
                  </a:lnTo>
                  <a:lnTo>
                    <a:pt x="304974" y="1048372"/>
                  </a:lnTo>
                  <a:lnTo>
                    <a:pt x="264105" y="1043683"/>
                  </a:lnTo>
                  <a:lnTo>
                    <a:pt x="240745" y="1047343"/>
                  </a:lnTo>
                  <a:lnTo>
                    <a:pt x="240686" y="1075675"/>
                  </a:lnTo>
                  <a:lnTo>
                    <a:pt x="229428" y="1099086"/>
                  </a:lnTo>
                  <a:lnTo>
                    <a:pt x="216266" y="1122155"/>
                  </a:lnTo>
                  <a:lnTo>
                    <a:pt x="203101" y="1145225"/>
                  </a:lnTo>
                  <a:lnTo>
                    <a:pt x="189127" y="1167786"/>
                  </a:lnTo>
                  <a:lnTo>
                    <a:pt x="183620" y="1194244"/>
                  </a:lnTo>
                  <a:lnTo>
                    <a:pt x="171763" y="1222345"/>
                  </a:lnTo>
                  <a:lnTo>
                    <a:pt x="161218" y="1300040"/>
                  </a:lnTo>
                  <a:lnTo>
                    <a:pt x="140649" y="1329051"/>
                  </a:lnTo>
                  <a:lnTo>
                    <a:pt x="119962" y="1340816"/>
                  </a:lnTo>
                  <a:lnTo>
                    <a:pt x="102009" y="1353386"/>
                  </a:lnTo>
                  <a:lnTo>
                    <a:pt x="84057" y="1365962"/>
                  </a:lnTo>
                  <a:lnTo>
                    <a:pt x="68238" y="1380069"/>
                  </a:lnTo>
                  <a:lnTo>
                    <a:pt x="68005" y="1402353"/>
                  </a:lnTo>
                  <a:lnTo>
                    <a:pt x="89914" y="1411982"/>
                  </a:lnTo>
                  <a:lnTo>
                    <a:pt x="107451" y="1434998"/>
                  </a:lnTo>
                  <a:lnTo>
                    <a:pt x="111209" y="1460659"/>
                  </a:lnTo>
                  <a:lnTo>
                    <a:pt x="95842" y="1502022"/>
                  </a:lnTo>
                  <a:lnTo>
                    <a:pt x="70895" y="1530934"/>
                  </a:lnTo>
                  <a:lnTo>
                    <a:pt x="54400" y="1554696"/>
                  </a:lnTo>
                  <a:lnTo>
                    <a:pt x="39582" y="1580238"/>
                  </a:lnTo>
                  <a:lnTo>
                    <a:pt x="22982" y="1605331"/>
                  </a:lnTo>
                  <a:lnTo>
                    <a:pt x="0" y="1622709"/>
                  </a:lnTo>
                  <a:lnTo>
                    <a:pt x="12238" y="1648554"/>
                  </a:lnTo>
                  <a:lnTo>
                    <a:pt x="41040" y="1636763"/>
                  </a:lnTo>
                  <a:lnTo>
                    <a:pt x="73208" y="1633142"/>
                  </a:lnTo>
                  <a:lnTo>
                    <a:pt x="102009" y="1647189"/>
                  </a:lnTo>
                  <a:lnTo>
                    <a:pt x="113984" y="1667191"/>
                  </a:lnTo>
                  <a:lnTo>
                    <a:pt x="126557" y="1688783"/>
                  </a:lnTo>
                  <a:lnTo>
                    <a:pt x="133294" y="1719284"/>
                  </a:lnTo>
                  <a:lnTo>
                    <a:pt x="137787" y="1750538"/>
                  </a:lnTo>
                  <a:lnTo>
                    <a:pt x="150363" y="1782827"/>
                  </a:lnTo>
                  <a:lnTo>
                    <a:pt x="169199" y="1795218"/>
                  </a:lnTo>
                  <a:lnTo>
                    <a:pt x="186345" y="1807696"/>
                  </a:lnTo>
                  <a:lnTo>
                    <a:pt x="203492" y="1820173"/>
                  </a:lnTo>
                  <a:lnTo>
                    <a:pt x="228513" y="1851222"/>
                  </a:lnTo>
                  <a:lnTo>
                    <a:pt x="232780" y="1883616"/>
                  </a:lnTo>
                  <a:lnTo>
                    <a:pt x="232389" y="1916762"/>
                  </a:lnTo>
                  <a:lnTo>
                    <a:pt x="246193" y="1943715"/>
                  </a:lnTo>
                  <a:lnTo>
                    <a:pt x="267100" y="1963329"/>
                  </a:lnTo>
                  <a:lnTo>
                    <a:pt x="288379" y="1970755"/>
                  </a:lnTo>
                  <a:lnTo>
                    <a:pt x="310118" y="1975002"/>
                  </a:lnTo>
                  <a:lnTo>
                    <a:pt x="331862" y="1979243"/>
                  </a:lnTo>
                  <a:lnTo>
                    <a:pt x="354072" y="1979512"/>
                  </a:lnTo>
                  <a:lnTo>
                    <a:pt x="394026" y="1986813"/>
                  </a:lnTo>
                  <a:lnTo>
                    <a:pt x="427100" y="2011722"/>
                  </a:lnTo>
                  <a:lnTo>
                    <a:pt x="442714" y="2029561"/>
                  </a:lnTo>
                  <a:lnTo>
                    <a:pt x="456499" y="2058777"/>
                  </a:lnTo>
                  <a:lnTo>
                    <a:pt x="465184" y="2105581"/>
                  </a:lnTo>
                  <a:lnTo>
                    <a:pt x="484647" y="2124179"/>
                  </a:lnTo>
                  <a:lnTo>
                    <a:pt x="520145" y="2128802"/>
                  </a:lnTo>
                  <a:lnTo>
                    <a:pt x="552928" y="2102442"/>
                  </a:lnTo>
                  <a:lnTo>
                    <a:pt x="583524" y="2077012"/>
                  </a:lnTo>
                  <a:lnTo>
                    <a:pt x="614108" y="2051582"/>
                  </a:lnTo>
                  <a:lnTo>
                    <a:pt x="643518" y="2026772"/>
                  </a:lnTo>
                  <a:lnTo>
                    <a:pt x="714096" y="2075653"/>
                  </a:lnTo>
                  <a:lnTo>
                    <a:pt x="729019" y="2107216"/>
                  </a:lnTo>
                  <a:lnTo>
                    <a:pt x="732969" y="2151679"/>
                  </a:lnTo>
                  <a:lnTo>
                    <a:pt x="735865" y="2185828"/>
                  </a:lnTo>
                  <a:lnTo>
                    <a:pt x="701347" y="2210189"/>
                  </a:lnTo>
                  <a:lnTo>
                    <a:pt x="571150" y="2258813"/>
                  </a:lnTo>
                  <a:lnTo>
                    <a:pt x="546776" y="2278876"/>
                  </a:lnTo>
                  <a:lnTo>
                    <a:pt x="569925" y="2323292"/>
                  </a:lnTo>
                  <a:lnTo>
                    <a:pt x="593040" y="2377621"/>
                  </a:lnTo>
                  <a:lnTo>
                    <a:pt x="604599" y="2404785"/>
                  </a:lnTo>
                  <a:lnTo>
                    <a:pt x="616524" y="2434231"/>
                  </a:lnTo>
                  <a:lnTo>
                    <a:pt x="624325" y="2464673"/>
                  </a:lnTo>
                  <a:lnTo>
                    <a:pt x="632126" y="2495109"/>
                  </a:lnTo>
                  <a:lnTo>
                    <a:pt x="636163" y="2526599"/>
                  </a:lnTo>
                  <a:lnTo>
                    <a:pt x="632483" y="2557167"/>
                  </a:lnTo>
                  <a:lnTo>
                    <a:pt x="658838" y="2578119"/>
                  </a:lnTo>
                  <a:lnTo>
                    <a:pt x="799790" y="2629256"/>
                  </a:lnTo>
                  <a:lnTo>
                    <a:pt x="822068" y="2637440"/>
                  </a:lnTo>
                  <a:lnTo>
                    <a:pt x="877795" y="2595338"/>
                  </a:lnTo>
                  <a:lnTo>
                    <a:pt x="908605" y="2600693"/>
                  </a:lnTo>
                  <a:lnTo>
                    <a:pt x="946699" y="2678223"/>
                  </a:lnTo>
                  <a:lnTo>
                    <a:pt x="969563" y="2724849"/>
                  </a:lnTo>
                  <a:lnTo>
                    <a:pt x="979764" y="2781578"/>
                  </a:lnTo>
                  <a:lnTo>
                    <a:pt x="995657" y="2830565"/>
                  </a:lnTo>
                  <a:lnTo>
                    <a:pt x="1003421" y="2854525"/>
                  </a:lnTo>
                  <a:lnTo>
                    <a:pt x="1014955" y="2876736"/>
                  </a:lnTo>
                  <a:lnTo>
                    <a:pt x="1029668" y="2895855"/>
                  </a:lnTo>
                  <a:lnTo>
                    <a:pt x="1044367" y="2914973"/>
                  </a:lnTo>
                  <a:lnTo>
                    <a:pt x="1062227" y="2932120"/>
                  </a:lnTo>
                  <a:lnTo>
                    <a:pt x="1081351" y="2947539"/>
                  </a:lnTo>
                  <a:lnTo>
                    <a:pt x="1119597" y="2978383"/>
                  </a:lnTo>
                  <a:lnTo>
                    <a:pt x="1163049" y="3002152"/>
                  </a:lnTo>
                  <a:lnTo>
                    <a:pt x="1203765" y="3025075"/>
                  </a:lnTo>
                  <a:lnTo>
                    <a:pt x="1216779" y="3044860"/>
                  </a:lnTo>
                  <a:lnTo>
                    <a:pt x="1225129" y="3064658"/>
                  </a:lnTo>
                  <a:lnTo>
                    <a:pt x="1220090" y="3109405"/>
                  </a:lnTo>
                  <a:lnTo>
                    <a:pt x="1216100" y="3133885"/>
                  </a:lnTo>
                  <a:lnTo>
                    <a:pt x="1208919" y="3161682"/>
                  </a:lnTo>
                  <a:lnTo>
                    <a:pt x="1201049" y="3189657"/>
                  </a:lnTo>
                  <a:lnTo>
                    <a:pt x="1185301" y="3245603"/>
                  </a:lnTo>
                  <a:lnTo>
                    <a:pt x="1168865" y="3303269"/>
                  </a:lnTo>
                  <a:lnTo>
                    <a:pt x="1176564" y="3337918"/>
                  </a:lnTo>
                  <a:lnTo>
                    <a:pt x="1182427" y="3364231"/>
                  </a:lnTo>
                  <a:lnTo>
                    <a:pt x="1209036" y="3385698"/>
                  </a:lnTo>
                  <a:lnTo>
                    <a:pt x="1217371" y="3414088"/>
                  </a:lnTo>
                  <a:lnTo>
                    <a:pt x="1203173" y="3444848"/>
                  </a:lnTo>
                  <a:lnTo>
                    <a:pt x="1171721" y="3470383"/>
                  </a:lnTo>
                  <a:lnTo>
                    <a:pt x="1142560" y="3487543"/>
                  </a:lnTo>
                  <a:lnTo>
                    <a:pt x="1106730" y="3469051"/>
                  </a:lnTo>
                  <a:lnTo>
                    <a:pt x="1085481" y="3456864"/>
                  </a:lnTo>
                  <a:lnTo>
                    <a:pt x="1063666" y="3463056"/>
                  </a:lnTo>
                  <a:lnTo>
                    <a:pt x="1044637" y="3475058"/>
                  </a:lnTo>
                  <a:lnTo>
                    <a:pt x="1024195" y="3504334"/>
                  </a:lnTo>
                  <a:lnTo>
                    <a:pt x="1017758" y="3531914"/>
                  </a:lnTo>
                  <a:lnTo>
                    <a:pt x="1025587" y="3552826"/>
                  </a:lnTo>
                  <a:lnTo>
                    <a:pt x="1036117" y="3580987"/>
                  </a:lnTo>
                  <a:lnTo>
                    <a:pt x="1052448" y="3605855"/>
                  </a:lnTo>
                  <a:lnTo>
                    <a:pt x="1066388" y="3631720"/>
                  </a:lnTo>
                  <a:lnTo>
                    <a:pt x="1084176" y="3664768"/>
                  </a:lnTo>
                  <a:lnTo>
                    <a:pt x="1126000" y="3737754"/>
                  </a:lnTo>
                  <a:lnTo>
                    <a:pt x="1171123" y="3803102"/>
                  </a:lnTo>
                  <a:lnTo>
                    <a:pt x="1193682" y="3835780"/>
                  </a:lnTo>
                  <a:lnTo>
                    <a:pt x="1217259" y="3865985"/>
                  </a:lnTo>
                  <a:lnTo>
                    <a:pt x="1239134" y="3888796"/>
                  </a:lnTo>
                  <a:lnTo>
                    <a:pt x="1261005" y="3911608"/>
                  </a:lnTo>
                  <a:lnTo>
                    <a:pt x="1281448" y="3927251"/>
                  </a:lnTo>
                  <a:lnTo>
                    <a:pt x="1307037" y="3921843"/>
                  </a:lnTo>
                  <a:lnTo>
                    <a:pt x="1326623" y="3907849"/>
                  </a:lnTo>
                  <a:lnTo>
                    <a:pt x="1346594" y="3899679"/>
                  </a:lnTo>
                  <a:lnTo>
                    <a:pt x="1366549" y="3891507"/>
                  </a:lnTo>
                  <a:lnTo>
                    <a:pt x="1398278" y="3901037"/>
                  </a:lnTo>
                  <a:lnTo>
                    <a:pt x="1425526" y="3930027"/>
                  </a:lnTo>
                  <a:lnTo>
                    <a:pt x="1457790" y="3959968"/>
                  </a:lnTo>
                  <a:lnTo>
                    <a:pt x="1482614" y="3990807"/>
                  </a:lnTo>
                  <a:lnTo>
                    <a:pt x="1498678" y="4030745"/>
                  </a:lnTo>
                  <a:lnTo>
                    <a:pt x="1513892" y="4047938"/>
                  </a:lnTo>
                  <a:lnTo>
                    <a:pt x="1545838" y="4042042"/>
                  </a:lnTo>
                  <a:lnTo>
                    <a:pt x="1569005" y="4023907"/>
                  </a:lnTo>
                  <a:lnTo>
                    <a:pt x="1594145" y="4015294"/>
                  </a:lnTo>
                  <a:lnTo>
                    <a:pt x="1719753" y="4111078"/>
                  </a:lnTo>
                  <a:lnTo>
                    <a:pt x="1738331" y="4124109"/>
                  </a:lnTo>
                  <a:lnTo>
                    <a:pt x="1753828" y="4153662"/>
                  </a:lnTo>
                  <a:lnTo>
                    <a:pt x="1754653" y="4182600"/>
                  </a:lnTo>
                  <a:lnTo>
                    <a:pt x="1755471" y="4211531"/>
                  </a:lnTo>
                  <a:lnTo>
                    <a:pt x="1752278" y="4248318"/>
                  </a:lnTo>
                  <a:lnTo>
                    <a:pt x="1749211" y="4284609"/>
                  </a:lnTo>
                  <a:lnTo>
                    <a:pt x="1743072" y="4357206"/>
                  </a:lnTo>
                  <a:lnTo>
                    <a:pt x="1735262" y="4430462"/>
                  </a:lnTo>
                  <a:lnTo>
                    <a:pt x="1749211" y="4447833"/>
                  </a:lnTo>
                  <a:lnTo>
                    <a:pt x="1802895" y="4478487"/>
                  </a:lnTo>
                  <a:lnTo>
                    <a:pt x="1868482" y="4503349"/>
                  </a:lnTo>
                  <a:lnTo>
                    <a:pt x="1934192" y="4526727"/>
                  </a:lnTo>
                  <a:lnTo>
                    <a:pt x="1999909" y="4550101"/>
                  </a:lnTo>
                  <a:lnTo>
                    <a:pt x="2065666" y="4571646"/>
                  </a:lnTo>
                  <a:lnTo>
                    <a:pt x="2121902" y="4592018"/>
                  </a:lnTo>
                  <a:lnTo>
                    <a:pt x="2155782" y="4604304"/>
                  </a:lnTo>
                  <a:lnTo>
                    <a:pt x="2184134" y="4609995"/>
                  </a:lnTo>
                  <a:lnTo>
                    <a:pt x="2214395" y="4632820"/>
                  </a:lnTo>
                  <a:lnTo>
                    <a:pt x="2225871" y="4658527"/>
                  </a:lnTo>
                  <a:lnTo>
                    <a:pt x="2222243" y="4698024"/>
                  </a:lnTo>
                  <a:lnTo>
                    <a:pt x="2218473" y="4738919"/>
                  </a:lnTo>
                  <a:lnTo>
                    <a:pt x="2214705" y="4779814"/>
                  </a:lnTo>
                  <a:lnTo>
                    <a:pt x="2210808" y="4821897"/>
                  </a:lnTo>
                  <a:lnTo>
                    <a:pt x="2221189" y="4854534"/>
                  </a:lnTo>
                  <a:lnTo>
                    <a:pt x="2227625" y="4874774"/>
                  </a:lnTo>
                  <a:lnTo>
                    <a:pt x="2252477" y="4904859"/>
                  </a:lnTo>
                  <a:lnTo>
                    <a:pt x="2282081" y="4928430"/>
                  </a:lnTo>
                  <a:lnTo>
                    <a:pt x="2332004" y="4959743"/>
                  </a:lnTo>
                  <a:lnTo>
                    <a:pt x="2367496" y="4978697"/>
                  </a:lnTo>
                  <a:lnTo>
                    <a:pt x="2389854" y="5010958"/>
                  </a:lnTo>
                  <a:lnTo>
                    <a:pt x="2392108" y="5059490"/>
                  </a:lnTo>
                  <a:lnTo>
                    <a:pt x="2412203" y="5111293"/>
                  </a:lnTo>
                  <a:lnTo>
                    <a:pt x="2419775" y="5161943"/>
                  </a:lnTo>
                  <a:lnTo>
                    <a:pt x="2423567" y="5187267"/>
                  </a:lnTo>
                  <a:lnTo>
                    <a:pt x="2424742" y="5212855"/>
                  </a:lnTo>
                  <a:lnTo>
                    <a:pt x="2418423" y="5236749"/>
                  </a:lnTo>
                  <a:lnTo>
                    <a:pt x="2412098" y="5260649"/>
                  </a:lnTo>
                  <a:lnTo>
                    <a:pt x="2398942" y="5283593"/>
                  </a:lnTo>
                  <a:lnTo>
                    <a:pt x="2374897" y="5304762"/>
                  </a:lnTo>
                  <a:lnTo>
                    <a:pt x="2335520" y="5320346"/>
                  </a:lnTo>
                  <a:lnTo>
                    <a:pt x="2312324" y="5336049"/>
                  </a:lnTo>
                  <a:lnTo>
                    <a:pt x="2289129" y="5351744"/>
                  </a:lnTo>
                  <a:lnTo>
                    <a:pt x="2267282" y="5370250"/>
                  </a:lnTo>
                  <a:lnTo>
                    <a:pt x="2255066" y="5396939"/>
                  </a:lnTo>
                  <a:lnTo>
                    <a:pt x="2207800" y="5476381"/>
                  </a:lnTo>
                  <a:lnTo>
                    <a:pt x="2146719" y="5547428"/>
                  </a:lnTo>
                  <a:lnTo>
                    <a:pt x="2112374" y="5627127"/>
                  </a:lnTo>
                  <a:lnTo>
                    <a:pt x="2111654" y="5655142"/>
                  </a:lnTo>
                  <a:lnTo>
                    <a:pt x="2133458" y="5704511"/>
                  </a:lnTo>
                  <a:lnTo>
                    <a:pt x="2151822" y="5725062"/>
                  </a:lnTo>
                  <a:lnTo>
                    <a:pt x="2225653" y="5807649"/>
                  </a:lnTo>
                  <a:lnTo>
                    <a:pt x="2291498" y="5888945"/>
                  </a:lnTo>
                  <a:lnTo>
                    <a:pt x="2357208" y="5978062"/>
                  </a:lnTo>
                  <a:lnTo>
                    <a:pt x="2390704" y="6023475"/>
                  </a:lnTo>
                  <a:lnTo>
                    <a:pt x="2404337" y="6088052"/>
                  </a:lnTo>
                  <a:lnTo>
                    <a:pt x="2425217" y="6139920"/>
                  </a:lnTo>
                  <a:lnTo>
                    <a:pt x="2466414" y="6242234"/>
                  </a:lnTo>
                  <a:lnTo>
                    <a:pt x="2501392" y="6323523"/>
                  </a:lnTo>
                  <a:lnTo>
                    <a:pt x="2521797" y="6409244"/>
                  </a:lnTo>
                  <a:lnTo>
                    <a:pt x="2531994" y="6452103"/>
                  </a:lnTo>
                  <a:lnTo>
                    <a:pt x="2538831" y="6496137"/>
                  </a:lnTo>
                  <a:lnTo>
                    <a:pt x="2540837" y="6543905"/>
                  </a:lnTo>
                  <a:lnTo>
                    <a:pt x="2542843" y="6591665"/>
                  </a:lnTo>
                  <a:lnTo>
                    <a:pt x="2540878" y="6642986"/>
                  </a:lnTo>
                  <a:lnTo>
                    <a:pt x="2532674" y="6701688"/>
                  </a:lnTo>
                  <a:lnTo>
                    <a:pt x="2526857" y="6756182"/>
                  </a:lnTo>
                  <a:lnTo>
                    <a:pt x="2558433" y="6780839"/>
                  </a:lnTo>
                  <a:lnTo>
                    <a:pt x="2605692" y="6803494"/>
                  </a:lnTo>
                  <a:lnTo>
                    <a:pt x="2651004" y="6829543"/>
                  </a:lnTo>
                  <a:lnTo>
                    <a:pt x="2696332" y="6855593"/>
                  </a:lnTo>
                  <a:lnTo>
                    <a:pt x="2740056" y="6884486"/>
                  </a:lnTo>
                  <a:lnTo>
                    <a:pt x="2766628" y="6902998"/>
                  </a:lnTo>
                  <a:lnTo>
                    <a:pt x="2789117" y="6923804"/>
                  </a:lnTo>
                  <a:lnTo>
                    <a:pt x="2823970" y="6940930"/>
                  </a:lnTo>
                  <a:lnTo>
                    <a:pt x="2858948" y="6951938"/>
                  </a:lnTo>
                  <a:lnTo>
                    <a:pt x="2890407" y="6964205"/>
                  </a:lnTo>
                  <a:lnTo>
                    <a:pt x="2923428" y="6977065"/>
                  </a:lnTo>
                  <a:lnTo>
                    <a:pt x="2962325" y="6983759"/>
                  </a:lnTo>
                  <a:lnTo>
                    <a:pt x="2996499" y="6996850"/>
                  </a:lnTo>
                  <a:lnTo>
                    <a:pt x="3057457" y="7020181"/>
                  </a:lnTo>
                  <a:lnTo>
                    <a:pt x="3108421" y="7060120"/>
                  </a:lnTo>
                  <a:lnTo>
                    <a:pt x="3166523" y="7089343"/>
                  </a:lnTo>
                  <a:lnTo>
                    <a:pt x="3223844" y="7118196"/>
                  </a:lnTo>
                  <a:lnTo>
                    <a:pt x="3288863" y="7141080"/>
                  </a:lnTo>
                  <a:lnTo>
                    <a:pt x="3351510" y="7166872"/>
                  </a:lnTo>
                  <a:lnTo>
                    <a:pt x="3414155" y="7192666"/>
                  </a:lnTo>
                  <a:lnTo>
                    <a:pt x="3474926" y="7221696"/>
                  </a:lnTo>
                  <a:lnTo>
                    <a:pt x="3524256" y="7263449"/>
                  </a:lnTo>
                  <a:lnTo>
                    <a:pt x="3568421" y="7300828"/>
                  </a:lnTo>
                  <a:lnTo>
                    <a:pt x="3609693" y="7343636"/>
                  </a:lnTo>
                  <a:lnTo>
                    <a:pt x="3652118" y="7383145"/>
                  </a:lnTo>
                  <a:lnTo>
                    <a:pt x="3683530" y="7409071"/>
                  </a:lnTo>
                  <a:lnTo>
                    <a:pt x="3737068" y="7444749"/>
                  </a:lnTo>
                  <a:lnTo>
                    <a:pt x="3767866" y="7470304"/>
                  </a:lnTo>
                  <a:lnTo>
                    <a:pt x="3794938" y="7500120"/>
                  </a:lnTo>
                  <a:lnTo>
                    <a:pt x="3822009" y="7529935"/>
                  </a:lnTo>
                  <a:lnTo>
                    <a:pt x="3844795" y="7564478"/>
                  </a:lnTo>
                  <a:lnTo>
                    <a:pt x="3868390" y="7610300"/>
                  </a:lnTo>
                  <a:lnTo>
                    <a:pt x="3878759" y="7630527"/>
                  </a:lnTo>
                  <a:lnTo>
                    <a:pt x="3882498" y="7655357"/>
                  </a:lnTo>
                  <a:lnTo>
                    <a:pt x="3892873" y="7675590"/>
                  </a:lnTo>
                  <a:lnTo>
                    <a:pt x="3911402" y="7711657"/>
                  </a:lnTo>
                  <a:lnTo>
                    <a:pt x="3948637" y="7743596"/>
                  </a:lnTo>
                  <a:lnTo>
                    <a:pt x="3972734" y="7738347"/>
                  </a:lnTo>
                  <a:lnTo>
                    <a:pt x="4009213" y="7742171"/>
                  </a:lnTo>
                  <a:lnTo>
                    <a:pt x="4046572" y="7747672"/>
                  </a:lnTo>
                  <a:lnTo>
                    <a:pt x="4083934" y="7753179"/>
                  </a:lnTo>
                  <a:lnTo>
                    <a:pt x="4122254" y="7760170"/>
                  </a:lnTo>
                  <a:lnTo>
                    <a:pt x="4149948" y="7761277"/>
                  </a:lnTo>
                  <a:lnTo>
                    <a:pt x="4203675" y="7763421"/>
                  </a:lnTo>
                  <a:lnTo>
                    <a:pt x="4258723" y="7762702"/>
                  </a:lnTo>
                  <a:lnTo>
                    <a:pt x="4317253" y="7766719"/>
                  </a:lnTo>
                  <a:lnTo>
                    <a:pt x="4316574" y="7791159"/>
                  </a:lnTo>
                  <a:lnTo>
                    <a:pt x="4322437" y="7854833"/>
                  </a:lnTo>
                  <a:lnTo>
                    <a:pt x="4329494" y="7878252"/>
                  </a:lnTo>
                  <a:lnTo>
                    <a:pt x="4368087" y="7897996"/>
                  </a:lnTo>
                  <a:lnTo>
                    <a:pt x="4394783" y="7901380"/>
                  </a:lnTo>
                  <a:lnTo>
                    <a:pt x="4421485" y="7904763"/>
                  </a:lnTo>
                  <a:lnTo>
                    <a:pt x="4449533" y="7904295"/>
                  </a:lnTo>
                  <a:lnTo>
                    <a:pt x="4471464" y="7915189"/>
                  </a:lnTo>
                  <a:lnTo>
                    <a:pt x="4482905" y="7960780"/>
                  </a:lnTo>
                  <a:lnTo>
                    <a:pt x="4459269" y="7989409"/>
                  </a:lnTo>
                  <a:lnTo>
                    <a:pt x="4419262" y="7993866"/>
                  </a:lnTo>
                  <a:lnTo>
                    <a:pt x="4380096" y="7993998"/>
                  </a:lnTo>
                  <a:lnTo>
                    <a:pt x="4367923" y="8022713"/>
                  </a:lnTo>
                  <a:lnTo>
                    <a:pt x="4378462" y="8059157"/>
                  </a:lnTo>
                  <a:lnTo>
                    <a:pt x="4381348" y="8092091"/>
                  </a:lnTo>
                  <a:lnTo>
                    <a:pt x="4375017" y="8112330"/>
                  </a:lnTo>
                  <a:lnTo>
                    <a:pt x="4346541" y="8142008"/>
                  </a:lnTo>
                  <a:lnTo>
                    <a:pt x="4324521" y="8152283"/>
                  </a:lnTo>
                  <a:lnTo>
                    <a:pt x="4296848" y="8166614"/>
                  </a:lnTo>
                  <a:lnTo>
                    <a:pt x="4334216" y="8196976"/>
                  </a:lnTo>
                  <a:lnTo>
                    <a:pt x="4367858" y="8224596"/>
                  </a:lnTo>
                  <a:lnTo>
                    <a:pt x="4397509" y="8256390"/>
                  </a:lnTo>
                  <a:lnTo>
                    <a:pt x="4427150" y="8288185"/>
                  </a:lnTo>
                  <a:lnTo>
                    <a:pt x="4453102" y="8323902"/>
                  </a:lnTo>
                  <a:lnTo>
                    <a:pt x="4472313" y="8369288"/>
                  </a:lnTo>
                  <a:lnTo>
                    <a:pt x="4525361" y="8374728"/>
                  </a:lnTo>
                  <a:lnTo>
                    <a:pt x="4544765" y="8389951"/>
                  </a:lnTo>
                  <a:lnTo>
                    <a:pt x="4557651" y="8413909"/>
                  </a:lnTo>
                  <a:lnTo>
                    <a:pt x="4568887" y="8441377"/>
                  </a:lnTo>
                  <a:lnTo>
                    <a:pt x="4579904" y="8466885"/>
                  </a:lnTo>
                  <a:lnTo>
                    <a:pt x="4598684" y="8483875"/>
                  </a:lnTo>
                  <a:lnTo>
                    <a:pt x="4630096" y="8486263"/>
                  </a:lnTo>
                  <a:lnTo>
                    <a:pt x="4640272" y="8443633"/>
                  </a:lnTo>
                  <a:lnTo>
                    <a:pt x="4647785" y="8415532"/>
                  </a:lnTo>
                  <a:lnTo>
                    <a:pt x="4656745" y="8388262"/>
                  </a:lnTo>
                  <a:lnTo>
                    <a:pt x="4671461" y="8372071"/>
                  </a:lnTo>
                  <a:lnTo>
                    <a:pt x="4694027" y="8373364"/>
                  </a:lnTo>
                  <a:lnTo>
                    <a:pt x="4733814" y="8387800"/>
                  </a:lnTo>
                  <a:lnTo>
                    <a:pt x="4774701" y="8404590"/>
                  </a:lnTo>
                  <a:lnTo>
                    <a:pt x="4815083" y="8416890"/>
                  </a:lnTo>
                  <a:lnTo>
                    <a:pt x="4851223" y="8425200"/>
                  </a:lnTo>
                  <a:lnTo>
                    <a:pt x="4887767" y="8433067"/>
                  </a:lnTo>
                  <a:lnTo>
                    <a:pt x="4919824" y="8450900"/>
                  </a:lnTo>
                  <a:lnTo>
                    <a:pt x="4908730" y="8513638"/>
                  </a:lnTo>
                  <a:lnTo>
                    <a:pt x="4933442" y="8541586"/>
                  </a:lnTo>
                  <a:lnTo>
                    <a:pt x="4979389" y="8543617"/>
                  </a:lnTo>
                  <a:lnTo>
                    <a:pt x="5027281" y="8547470"/>
                  </a:lnTo>
                  <a:lnTo>
                    <a:pt x="5051221" y="8549395"/>
                  </a:lnTo>
                  <a:lnTo>
                    <a:pt x="5075926" y="8550990"/>
                  </a:lnTo>
                  <a:lnTo>
                    <a:pt x="5098005" y="8555633"/>
                  </a:lnTo>
                  <a:lnTo>
                    <a:pt x="5120091" y="8560277"/>
                  </a:lnTo>
                  <a:lnTo>
                    <a:pt x="5152411" y="8578756"/>
                  </a:lnTo>
                  <a:lnTo>
                    <a:pt x="5154278" y="8609046"/>
                  </a:lnTo>
                  <a:lnTo>
                    <a:pt x="5144170" y="8643873"/>
                  </a:lnTo>
                  <a:lnTo>
                    <a:pt x="5165694" y="8675285"/>
                  </a:lnTo>
                  <a:lnTo>
                    <a:pt x="5187544" y="8675707"/>
                  </a:lnTo>
                  <a:lnTo>
                    <a:pt x="5208185" y="8667166"/>
                  </a:lnTo>
                  <a:lnTo>
                    <a:pt x="5228828" y="8658633"/>
                  </a:lnTo>
                  <a:lnTo>
                    <a:pt x="5248864" y="8642067"/>
                  </a:lnTo>
                  <a:lnTo>
                    <a:pt x="5273390" y="8607126"/>
                  </a:lnTo>
                  <a:lnTo>
                    <a:pt x="5283334" y="8575801"/>
                  </a:lnTo>
                  <a:lnTo>
                    <a:pt x="5293872" y="8554269"/>
                  </a:lnTo>
                  <a:lnTo>
                    <a:pt x="5310625" y="8534128"/>
                  </a:lnTo>
                  <a:lnTo>
                    <a:pt x="5350746" y="8554849"/>
                  </a:lnTo>
                  <a:lnTo>
                    <a:pt x="5378546" y="8557395"/>
                  </a:lnTo>
                  <a:lnTo>
                    <a:pt x="5413577" y="8571957"/>
                  </a:lnTo>
                  <a:lnTo>
                    <a:pt x="5442521" y="8584005"/>
                  </a:lnTo>
                  <a:lnTo>
                    <a:pt x="5465598" y="8608855"/>
                  </a:lnTo>
                  <a:lnTo>
                    <a:pt x="5489743" y="8626364"/>
                  </a:lnTo>
                  <a:lnTo>
                    <a:pt x="5533293" y="8657051"/>
                  </a:lnTo>
                  <a:lnTo>
                    <a:pt x="5555987" y="8690506"/>
                  </a:lnTo>
                  <a:lnTo>
                    <a:pt x="5571359" y="8727015"/>
                  </a:lnTo>
                  <a:lnTo>
                    <a:pt x="5586720" y="8763525"/>
                  </a:lnTo>
                  <a:lnTo>
                    <a:pt x="5595221" y="8802646"/>
                  </a:lnTo>
                  <a:lnTo>
                    <a:pt x="5593116" y="8838556"/>
                  </a:lnTo>
                  <a:lnTo>
                    <a:pt x="5613521" y="8848078"/>
                  </a:lnTo>
                  <a:lnTo>
                    <a:pt x="5639188" y="8837717"/>
                  </a:lnTo>
                  <a:lnTo>
                    <a:pt x="5653144" y="8806748"/>
                  </a:lnTo>
                  <a:lnTo>
                    <a:pt x="5657339" y="8785993"/>
                  </a:lnTo>
                  <a:lnTo>
                    <a:pt x="5661131" y="8762384"/>
                  </a:lnTo>
                  <a:lnTo>
                    <a:pt x="5664916" y="8738774"/>
                  </a:lnTo>
                  <a:lnTo>
                    <a:pt x="5667633" y="8712184"/>
                  </a:lnTo>
                  <a:lnTo>
                    <a:pt x="5673372" y="8687571"/>
                  </a:lnTo>
                  <a:lnTo>
                    <a:pt x="5679108" y="8662966"/>
                  </a:lnTo>
                  <a:lnTo>
                    <a:pt x="5687752" y="8639396"/>
                  </a:lnTo>
                  <a:lnTo>
                    <a:pt x="5700573" y="8620924"/>
                  </a:lnTo>
                  <a:lnTo>
                    <a:pt x="5754052" y="8619816"/>
                  </a:lnTo>
                  <a:lnTo>
                    <a:pt x="5799063" y="8649150"/>
                  </a:lnTo>
                  <a:lnTo>
                    <a:pt x="5827077" y="8669890"/>
                  </a:lnTo>
                  <a:lnTo>
                    <a:pt x="5840419" y="8631871"/>
                  </a:lnTo>
                  <a:lnTo>
                    <a:pt x="5869496" y="8568302"/>
                  </a:lnTo>
                  <a:lnTo>
                    <a:pt x="5899160" y="8540670"/>
                  </a:lnTo>
                  <a:lnTo>
                    <a:pt x="5926299" y="8536562"/>
                  </a:lnTo>
                  <a:lnTo>
                    <a:pt x="5964523" y="8544778"/>
                  </a:lnTo>
                  <a:lnTo>
                    <a:pt x="5990295" y="8552910"/>
                  </a:lnTo>
                  <a:lnTo>
                    <a:pt x="6077586" y="8581835"/>
                  </a:lnTo>
                  <a:lnTo>
                    <a:pt x="6123868" y="8597801"/>
                  </a:lnTo>
                  <a:lnTo>
                    <a:pt x="6165766" y="8619564"/>
                  </a:lnTo>
                  <a:lnTo>
                    <a:pt x="6207655" y="8641321"/>
                  </a:lnTo>
                  <a:lnTo>
                    <a:pt x="6246230" y="8670016"/>
                  </a:lnTo>
                  <a:lnTo>
                    <a:pt x="6316750" y="8722940"/>
                  </a:lnTo>
                  <a:lnTo>
                    <a:pt x="6334680" y="8736387"/>
                  </a:lnTo>
                  <a:lnTo>
                    <a:pt x="6354108" y="8746378"/>
                  </a:lnTo>
                  <a:lnTo>
                    <a:pt x="6371159" y="8761026"/>
                  </a:lnTo>
                  <a:lnTo>
                    <a:pt x="6389049" y="8776372"/>
                  </a:lnTo>
                  <a:lnTo>
                    <a:pt x="6447387" y="8822529"/>
                  </a:lnTo>
                  <a:lnTo>
                    <a:pt x="6474907" y="8842242"/>
                  </a:lnTo>
                  <a:lnTo>
                    <a:pt x="6531003" y="8880894"/>
                  </a:lnTo>
                  <a:lnTo>
                    <a:pt x="6590147" y="8917444"/>
                  </a:lnTo>
                  <a:lnTo>
                    <a:pt x="6649284" y="8953998"/>
                  </a:lnTo>
                  <a:lnTo>
                    <a:pt x="6711823" y="8987976"/>
                  </a:lnTo>
                  <a:lnTo>
                    <a:pt x="6843437" y="9057373"/>
                  </a:lnTo>
                  <a:lnTo>
                    <a:pt x="6951151" y="9125856"/>
                  </a:lnTo>
                  <a:lnTo>
                    <a:pt x="7062130" y="9189483"/>
                  </a:lnTo>
                  <a:lnTo>
                    <a:pt x="7129215" y="9227997"/>
                  </a:lnTo>
                  <a:lnTo>
                    <a:pt x="7197939" y="9261896"/>
                  </a:lnTo>
                  <a:lnTo>
                    <a:pt x="7263448" y="9303746"/>
                  </a:lnTo>
                  <a:lnTo>
                    <a:pt x="7292305" y="9322193"/>
                  </a:lnTo>
                  <a:lnTo>
                    <a:pt x="7311610" y="9348117"/>
                  </a:lnTo>
                  <a:lnTo>
                    <a:pt x="7336895" y="9370388"/>
                  </a:lnTo>
                  <a:lnTo>
                    <a:pt x="7369752" y="9399359"/>
                  </a:lnTo>
                  <a:lnTo>
                    <a:pt x="7409833" y="9417443"/>
                  </a:lnTo>
                  <a:lnTo>
                    <a:pt x="7442994" y="9443841"/>
                  </a:lnTo>
                  <a:lnTo>
                    <a:pt x="7464927" y="9461291"/>
                  </a:lnTo>
                  <a:lnTo>
                    <a:pt x="7485115" y="9484347"/>
                  </a:lnTo>
                  <a:lnTo>
                    <a:pt x="7505561" y="9503690"/>
                  </a:lnTo>
                  <a:lnTo>
                    <a:pt x="7527159" y="9516531"/>
                  </a:lnTo>
                  <a:lnTo>
                    <a:pt x="7557837" y="9501587"/>
                  </a:lnTo>
                  <a:lnTo>
                    <a:pt x="7574167" y="9485093"/>
                  </a:lnTo>
                  <a:lnTo>
                    <a:pt x="7592613" y="9472412"/>
                  </a:lnTo>
                  <a:lnTo>
                    <a:pt x="7611064" y="9459676"/>
                  </a:lnTo>
                  <a:lnTo>
                    <a:pt x="7632533" y="9452323"/>
                  </a:lnTo>
                  <a:lnTo>
                    <a:pt x="7651102" y="9439766"/>
                  </a:lnTo>
                  <a:lnTo>
                    <a:pt x="7676130" y="9422844"/>
                  </a:lnTo>
                  <a:lnTo>
                    <a:pt x="7706348" y="9398694"/>
                  </a:lnTo>
                  <a:lnTo>
                    <a:pt x="7734074" y="9373112"/>
                  </a:lnTo>
                  <a:lnTo>
                    <a:pt x="7761799" y="9347529"/>
                  </a:lnTo>
                  <a:lnTo>
                    <a:pt x="7787122" y="9319627"/>
                  </a:lnTo>
                  <a:lnTo>
                    <a:pt x="7802085" y="9292858"/>
                  </a:lnTo>
                  <a:lnTo>
                    <a:pt x="7794132" y="9260029"/>
                  </a:lnTo>
                  <a:lnTo>
                    <a:pt x="7740663" y="9231315"/>
                  </a:lnTo>
                  <a:lnTo>
                    <a:pt x="7722078" y="9209973"/>
                  </a:lnTo>
                  <a:lnTo>
                    <a:pt x="7723219" y="9181326"/>
                  </a:lnTo>
                  <a:lnTo>
                    <a:pt x="7724478" y="9154569"/>
                  </a:lnTo>
                  <a:lnTo>
                    <a:pt x="7735457" y="9125558"/>
                  </a:lnTo>
                  <a:lnTo>
                    <a:pt x="7750612" y="9105543"/>
                  </a:lnTo>
                  <a:lnTo>
                    <a:pt x="7766546" y="9091167"/>
                  </a:lnTo>
                  <a:lnTo>
                    <a:pt x="7780344" y="9072509"/>
                  </a:lnTo>
                  <a:lnTo>
                    <a:pt x="7790743" y="9047357"/>
                  </a:lnTo>
                  <a:lnTo>
                    <a:pt x="7791224" y="9023543"/>
                  </a:lnTo>
                  <a:lnTo>
                    <a:pt x="7822332" y="9031660"/>
                  </a:lnTo>
                  <a:lnTo>
                    <a:pt x="7851205" y="9034299"/>
                  </a:lnTo>
                  <a:lnTo>
                    <a:pt x="7872837" y="9005710"/>
                  </a:lnTo>
                  <a:lnTo>
                    <a:pt x="7860596" y="8910644"/>
                  </a:lnTo>
                  <a:lnTo>
                    <a:pt x="7863340" y="8888881"/>
                  </a:lnTo>
                  <a:lnTo>
                    <a:pt x="7862745" y="8864908"/>
                  </a:lnTo>
                  <a:lnTo>
                    <a:pt x="7849608" y="8844385"/>
                  </a:lnTo>
                  <a:lnTo>
                    <a:pt x="7833414" y="8826308"/>
                  </a:lnTo>
                  <a:lnTo>
                    <a:pt x="7817216" y="8808238"/>
                  </a:lnTo>
                  <a:lnTo>
                    <a:pt x="7797127" y="8792049"/>
                  </a:lnTo>
                  <a:lnTo>
                    <a:pt x="7781727" y="8777347"/>
                  </a:lnTo>
                  <a:lnTo>
                    <a:pt x="7765024" y="8761382"/>
                  </a:lnTo>
                  <a:lnTo>
                    <a:pt x="7746182" y="8749141"/>
                  </a:lnTo>
                  <a:lnTo>
                    <a:pt x="7730037" y="8731097"/>
                  </a:lnTo>
                  <a:lnTo>
                    <a:pt x="7713511" y="8678728"/>
                  </a:lnTo>
                  <a:lnTo>
                    <a:pt x="7716438" y="8641327"/>
                  </a:lnTo>
                  <a:lnTo>
                    <a:pt x="7719352" y="8603922"/>
                  </a:lnTo>
                  <a:lnTo>
                    <a:pt x="7727386" y="8566442"/>
                  </a:lnTo>
                  <a:lnTo>
                    <a:pt x="7744138" y="8525997"/>
                  </a:lnTo>
                  <a:lnTo>
                    <a:pt x="7760361" y="8502505"/>
                  </a:lnTo>
                  <a:lnTo>
                    <a:pt x="7769483" y="8478097"/>
                  </a:lnTo>
                  <a:lnTo>
                    <a:pt x="7785413" y="8435461"/>
                  </a:lnTo>
                  <a:lnTo>
                    <a:pt x="7796262" y="8398055"/>
                  </a:lnTo>
                  <a:lnTo>
                    <a:pt x="7807567" y="8365206"/>
                  </a:lnTo>
                  <a:lnTo>
                    <a:pt x="7818878" y="8332349"/>
                  </a:lnTo>
                  <a:lnTo>
                    <a:pt x="7831296" y="8304374"/>
                  </a:lnTo>
                  <a:lnTo>
                    <a:pt x="7847016" y="8282228"/>
                  </a:lnTo>
                  <a:lnTo>
                    <a:pt x="7862726" y="8260090"/>
                  </a:lnTo>
                  <a:lnTo>
                    <a:pt x="7881786" y="8243787"/>
                  </a:lnTo>
                  <a:lnTo>
                    <a:pt x="7910941" y="8233269"/>
                  </a:lnTo>
                  <a:lnTo>
                    <a:pt x="7940092" y="8222742"/>
                  </a:lnTo>
                  <a:lnTo>
                    <a:pt x="7979042" y="8217645"/>
                  </a:lnTo>
                  <a:lnTo>
                    <a:pt x="8030639" y="8219663"/>
                  </a:lnTo>
                  <a:lnTo>
                    <a:pt x="8049159" y="8203407"/>
                  </a:lnTo>
                  <a:lnTo>
                    <a:pt x="8058364" y="8176071"/>
                  </a:lnTo>
                  <a:lnTo>
                    <a:pt x="8055121" y="8151650"/>
                  </a:lnTo>
                  <a:lnTo>
                    <a:pt x="8034716" y="8143491"/>
                  </a:lnTo>
                  <a:lnTo>
                    <a:pt x="7997986" y="8151650"/>
                  </a:lnTo>
                  <a:lnTo>
                    <a:pt x="7960720" y="8135690"/>
                  </a:lnTo>
                  <a:lnTo>
                    <a:pt x="7964295" y="8093397"/>
                  </a:lnTo>
                  <a:lnTo>
                    <a:pt x="7981290" y="8072709"/>
                  </a:lnTo>
                  <a:lnTo>
                    <a:pt x="8003428" y="8052357"/>
                  </a:lnTo>
                  <a:lnTo>
                    <a:pt x="8025569" y="8032005"/>
                  </a:lnTo>
                  <a:lnTo>
                    <a:pt x="8052606" y="8011811"/>
                  </a:lnTo>
                  <a:lnTo>
                    <a:pt x="8079600" y="7989790"/>
                  </a:lnTo>
                  <a:lnTo>
                    <a:pt x="8106594" y="7967770"/>
                  </a:lnTo>
                  <a:lnTo>
                    <a:pt x="8132735" y="7944220"/>
                  </a:lnTo>
                  <a:lnTo>
                    <a:pt x="8153053" y="7916338"/>
                  </a:lnTo>
                  <a:lnTo>
                    <a:pt x="8173365" y="7888454"/>
                  </a:lnTo>
                  <a:lnTo>
                    <a:pt x="8187671" y="7856357"/>
                  </a:lnTo>
                  <a:lnTo>
                    <a:pt x="8189773" y="7818403"/>
                  </a:lnTo>
                  <a:lnTo>
                    <a:pt x="8165294" y="7754472"/>
                  </a:lnTo>
                  <a:lnTo>
                    <a:pt x="8178555" y="7729523"/>
                  </a:lnTo>
                  <a:lnTo>
                    <a:pt x="8227439" y="7725645"/>
                  </a:lnTo>
                  <a:lnTo>
                    <a:pt x="8253323" y="7746875"/>
                  </a:lnTo>
                  <a:lnTo>
                    <a:pt x="8287714" y="7759913"/>
                  </a:lnTo>
                  <a:lnTo>
                    <a:pt x="8310606" y="7768598"/>
                  </a:lnTo>
                  <a:lnTo>
                    <a:pt x="8331532" y="7771243"/>
                  </a:lnTo>
                  <a:lnTo>
                    <a:pt x="8369030" y="7767629"/>
                  </a:lnTo>
                  <a:lnTo>
                    <a:pt x="8401971" y="7753113"/>
                  </a:lnTo>
                  <a:lnTo>
                    <a:pt x="8434769" y="7735986"/>
                  </a:lnTo>
                  <a:lnTo>
                    <a:pt x="8465691" y="7709659"/>
                  </a:lnTo>
                  <a:lnTo>
                    <a:pt x="8499906" y="7687823"/>
                  </a:lnTo>
                  <a:lnTo>
                    <a:pt x="8542918" y="7660369"/>
                  </a:lnTo>
                  <a:lnTo>
                    <a:pt x="8586233" y="7628766"/>
                  </a:lnTo>
                  <a:lnTo>
                    <a:pt x="8630484" y="7603495"/>
                  </a:lnTo>
                  <a:lnTo>
                    <a:pt x="8681483" y="7574379"/>
                  </a:lnTo>
                  <a:lnTo>
                    <a:pt x="8738825" y="7558412"/>
                  </a:lnTo>
                  <a:lnTo>
                    <a:pt x="8789628" y="7531400"/>
                  </a:lnTo>
                  <a:lnTo>
                    <a:pt x="8813896" y="7518500"/>
                  </a:lnTo>
                  <a:lnTo>
                    <a:pt x="8833669" y="7492767"/>
                  </a:lnTo>
                  <a:lnTo>
                    <a:pt x="8861717" y="7483797"/>
                  </a:lnTo>
                  <a:lnTo>
                    <a:pt x="8901113" y="7471188"/>
                  </a:lnTo>
                  <a:lnTo>
                    <a:pt x="8938270" y="7476444"/>
                  </a:lnTo>
                  <a:lnTo>
                    <a:pt x="8977331" y="7472915"/>
                  </a:lnTo>
                  <a:lnTo>
                    <a:pt x="9031567" y="7467982"/>
                  </a:lnTo>
                  <a:lnTo>
                    <a:pt x="9078714" y="7438207"/>
                  </a:lnTo>
                  <a:lnTo>
                    <a:pt x="9131040" y="7423949"/>
                  </a:lnTo>
                  <a:lnTo>
                    <a:pt x="9165608" y="7414511"/>
                  </a:lnTo>
                  <a:lnTo>
                    <a:pt x="9202620" y="7409334"/>
                  </a:lnTo>
                  <a:lnTo>
                    <a:pt x="9238491" y="7402185"/>
                  </a:lnTo>
                  <a:lnTo>
                    <a:pt x="9274364" y="7395030"/>
                  </a:lnTo>
                  <a:lnTo>
                    <a:pt x="9309668" y="7387004"/>
                  </a:lnTo>
                  <a:lnTo>
                    <a:pt x="9341864" y="7369540"/>
                  </a:lnTo>
                  <a:lnTo>
                    <a:pt x="9365587" y="7350389"/>
                  </a:lnTo>
                  <a:lnTo>
                    <a:pt x="9375267" y="7328837"/>
                  </a:lnTo>
                  <a:lnTo>
                    <a:pt x="9382674" y="7304251"/>
                  </a:lnTo>
                  <a:lnTo>
                    <a:pt x="9397690" y="7279776"/>
                  </a:lnTo>
                  <a:lnTo>
                    <a:pt x="9416669" y="7266165"/>
                  </a:lnTo>
                  <a:lnTo>
                    <a:pt x="9435669" y="7252547"/>
                  </a:lnTo>
                  <a:lnTo>
                    <a:pt x="9465453" y="7237405"/>
                  </a:lnTo>
                  <a:lnTo>
                    <a:pt x="9510530" y="7222639"/>
                  </a:lnTo>
                  <a:lnTo>
                    <a:pt x="9543405" y="7224848"/>
                  </a:lnTo>
                  <a:lnTo>
                    <a:pt x="9575596" y="7239469"/>
                  </a:lnTo>
                  <a:lnTo>
                    <a:pt x="9608462" y="7241678"/>
                  </a:lnTo>
                  <a:lnTo>
                    <a:pt x="9647188" y="7196642"/>
                  </a:lnTo>
                  <a:lnTo>
                    <a:pt x="9663035" y="7180609"/>
                  </a:lnTo>
                  <a:lnTo>
                    <a:pt x="9699976" y="7191379"/>
                  </a:lnTo>
                  <a:lnTo>
                    <a:pt x="9736324" y="7206316"/>
                  </a:lnTo>
                  <a:lnTo>
                    <a:pt x="9772669" y="7221247"/>
                  </a:lnTo>
                  <a:lnTo>
                    <a:pt x="9809715" y="7241084"/>
                  </a:lnTo>
                  <a:lnTo>
                    <a:pt x="9817931" y="7275682"/>
                  </a:lnTo>
                  <a:lnTo>
                    <a:pt x="9799926" y="7286821"/>
                  </a:lnTo>
                  <a:lnTo>
                    <a:pt x="9774405" y="7308327"/>
                  </a:lnTo>
                  <a:lnTo>
                    <a:pt x="9759870" y="7336415"/>
                  </a:lnTo>
                  <a:lnTo>
                    <a:pt x="9762164" y="7358658"/>
                  </a:lnTo>
                  <a:lnTo>
                    <a:pt x="9775605" y="7379631"/>
                  </a:lnTo>
                  <a:lnTo>
                    <a:pt x="9801312" y="7394892"/>
                  </a:lnTo>
                  <a:lnTo>
                    <a:pt x="9837800" y="7396183"/>
                  </a:lnTo>
                  <a:lnTo>
                    <a:pt x="9868257" y="7383139"/>
                  </a:lnTo>
                  <a:lnTo>
                    <a:pt x="9891378" y="7360393"/>
                  </a:lnTo>
                  <a:lnTo>
                    <a:pt x="9911783" y="7314374"/>
                  </a:lnTo>
                  <a:lnTo>
                    <a:pt x="9915528" y="7274521"/>
                  </a:lnTo>
                  <a:lnTo>
                    <a:pt x="9922663" y="7238962"/>
                  </a:lnTo>
                  <a:lnTo>
                    <a:pt x="9929462" y="7218557"/>
                  </a:lnTo>
                  <a:lnTo>
                    <a:pt x="9959944" y="7184547"/>
                  </a:lnTo>
                  <a:lnTo>
                    <a:pt x="9983971" y="7178083"/>
                  </a:lnTo>
                  <a:lnTo>
                    <a:pt x="10008351" y="7179113"/>
                  </a:lnTo>
                  <a:lnTo>
                    <a:pt x="10032746" y="7180141"/>
                  </a:lnTo>
                  <a:lnTo>
                    <a:pt x="10057141" y="7189401"/>
                  </a:lnTo>
                  <a:lnTo>
                    <a:pt x="10081807" y="7200876"/>
                  </a:lnTo>
                  <a:lnTo>
                    <a:pt x="10130523" y="7223536"/>
                  </a:lnTo>
                  <a:lnTo>
                    <a:pt x="10176864" y="7259254"/>
                  </a:lnTo>
                  <a:lnTo>
                    <a:pt x="10208310" y="7282488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13" name="Kharkiv¬0" descr="Kharkiv¬0">
              <a:extLst>
                <a:ext uri="{FF2B5EF4-FFF2-40B4-BE49-F238E27FC236}">
                  <a16:creationId xmlns:a16="http://schemas.microsoft.com/office/drawing/2014/main" id="{89F96EC3-0265-4932-BDE5-054338F84BDD}"/>
                </a:ext>
              </a:extLst>
            </p:cNvPr>
            <p:cNvSpPr/>
            <p:nvPr/>
          </p:nvSpPr>
          <p:spPr>
            <a:xfrm>
              <a:off x="5235621" y="2061745"/>
              <a:ext cx="1113157" cy="868958"/>
            </a:xfrm>
            <a:custGeom>
              <a:avLst/>
              <a:gdLst/>
              <a:ahLst/>
              <a:cxnLst/>
              <a:rect l="0" t="0" r="0" b="0"/>
              <a:pathLst>
                <a:path w="11359155" h="10065770">
                  <a:moveTo>
                    <a:pt x="2980546" y="499801"/>
                  </a:moveTo>
                  <a:lnTo>
                    <a:pt x="2980066" y="526108"/>
                  </a:lnTo>
                  <a:lnTo>
                    <a:pt x="2971446" y="560151"/>
                  </a:lnTo>
                  <a:lnTo>
                    <a:pt x="2958383" y="588246"/>
                  </a:lnTo>
                  <a:lnTo>
                    <a:pt x="2934692" y="619585"/>
                  </a:lnTo>
                  <a:lnTo>
                    <a:pt x="2908610" y="638518"/>
                  </a:lnTo>
                  <a:lnTo>
                    <a:pt x="2880847" y="646736"/>
                  </a:lnTo>
                  <a:lnTo>
                    <a:pt x="2850430" y="649822"/>
                  </a:lnTo>
                  <a:lnTo>
                    <a:pt x="2818773" y="646373"/>
                  </a:lnTo>
                  <a:lnTo>
                    <a:pt x="2785634" y="638571"/>
                  </a:lnTo>
                  <a:lnTo>
                    <a:pt x="2753075" y="627881"/>
                  </a:lnTo>
                  <a:lnTo>
                    <a:pt x="2720261" y="616617"/>
                  </a:lnTo>
                  <a:lnTo>
                    <a:pt x="2687702" y="607285"/>
                  </a:lnTo>
                  <a:lnTo>
                    <a:pt x="2656250" y="597314"/>
                  </a:lnTo>
                  <a:lnTo>
                    <a:pt x="2626664" y="592776"/>
                  </a:lnTo>
                  <a:lnTo>
                    <a:pt x="2600647" y="595045"/>
                  </a:lnTo>
                  <a:lnTo>
                    <a:pt x="2580065" y="610662"/>
                  </a:lnTo>
                  <a:lnTo>
                    <a:pt x="2564100" y="628396"/>
                  </a:lnTo>
                  <a:lnTo>
                    <a:pt x="2547599" y="642654"/>
                  </a:lnTo>
                  <a:lnTo>
                    <a:pt x="2515232" y="657835"/>
                  </a:lnTo>
                  <a:lnTo>
                    <a:pt x="2476593" y="660117"/>
                  </a:lnTo>
                  <a:lnTo>
                    <a:pt x="2455561" y="657644"/>
                  </a:lnTo>
                  <a:lnTo>
                    <a:pt x="2434701" y="653535"/>
                  </a:lnTo>
                  <a:lnTo>
                    <a:pt x="2392982" y="645318"/>
                  </a:lnTo>
                  <a:lnTo>
                    <a:pt x="2350727" y="629840"/>
                  </a:lnTo>
                  <a:lnTo>
                    <a:pt x="2320444" y="622249"/>
                  </a:lnTo>
                  <a:lnTo>
                    <a:pt x="2295965" y="623608"/>
                  </a:lnTo>
                  <a:lnTo>
                    <a:pt x="2274202" y="634489"/>
                  </a:lnTo>
                  <a:lnTo>
                    <a:pt x="2290576" y="661832"/>
                  </a:lnTo>
                  <a:lnTo>
                    <a:pt x="2308203" y="678015"/>
                  </a:lnTo>
                  <a:lnTo>
                    <a:pt x="2325833" y="694206"/>
                  </a:lnTo>
                  <a:lnTo>
                    <a:pt x="2343388" y="712593"/>
                  </a:lnTo>
                  <a:lnTo>
                    <a:pt x="2342207" y="733782"/>
                  </a:lnTo>
                  <a:lnTo>
                    <a:pt x="2314733" y="748099"/>
                  </a:lnTo>
                  <a:lnTo>
                    <a:pt x="2289072" y="735661"/>
                  </a:lnTo>
                  <a:lnTo>
                    <a:pt x="2257877" y="714742"/>
                  </a:lnTo>
                  <a:lnTo>
                    <a:pt x="2226685" y="693824"/>
                  </a:lnTo>
                  <a:lnTo>
                    <a:pt x="2189286" y="664304"/>
                  </a:lnTo>
                  <a:lnTo>
                    <a:pt x="2150420" y="637213"/>
                  </a:lnTo>
                  <a:lnTo>
                    <a:pt x="2111551" y="610115"/>
                  </a:lnTo>
                  <a:lnTo>
                    <a:pt x="2070344" y="585647"/>
                  </a:lnTo>
                  <a:lnTo>
                    <a:pt x="2032083" y="570558"/>
                  </a:lnTo>
                  <a:lnTo>
                    <a:pt x="1995096" y="558094"/>
                  </a:lnTo>
                  <a:lnTo>
                    <a:pt x="1960258" y="555825"/>
                  </a:lnTo>
                  <a:lnTo>
                    <a:pt x="1928707" y="565118"/>
                  </a:lnTo>
                  <a:lnTo>
                    <a:pt x="1917365" y="594999"/>
                  </a:lnTo>
                  <a:lnTo>
                    <a:pt x="1920543" y="631772"/>
                  </a:lnTo>
                  <a:lnTo>
                    <a:pt x="1927004" y="669726"/>
                  </a:lnTo>
                  <a:lnTo>
                    <a:pt x="1930403" y="708068"/>
                  </a:lnTo>
                  <a:lnTo>
                    <a:pt x="1926009" y="743305"/>
                  </a:lnTo>
                  <a:lnTo>
                    <a:pt x="1913129" y="773543"/>
                  </a:lnTo>
                  <a:lnTo>
                    <a:pt x="1880663" y="783521"/>
                  </a:lnTo>
                  <a:lnTo>
                    <a:pt x="1845750" y="769151"/>
                  </a:lnTo>
                  <a:lnTo>
                    <a:pt x="1811356" y="747572"/>
                  </a:lnTo>
                  <a:lnTo>
                    <a:pt x="1776775" y="725433"/>
                  </a:lnTo>
                  <a:lnTo>
                    <a:pt x="1742374" y="707943"/>
                  </a:lnTo>
                  <a:lnTo>
                    <a:pt x="1710962" y="697926"/>
                  </a:lnTo>
                  <a:lnTo>
                    <a:pt x="1686101" y="712362"/>
                  </a:lnTo>
                  <a:lnTo>
                    <a:pt x="1664831" y="726184"/>
                  </a:lnTo>
                  <a:lnTo>
                    <a:pt x="1645806" y="740588"/>
                  </a:lnTo>
                  <a:lnTo>
                    <a:pt x="1626778" y="754985"/>
                  </a:lnTo>
                  <a:lnTo>
                    <a:pt x="1608801" y="769903"/>
                  </a:lnTo>
                  <a:lnTo>
                    <a:pt x="1653970" y="835799"/>
                  </a:lnTo>
                  <a:lnTo>
                    <a:pt x="1613160" y="883407"/>
                  </a:lnTo>
                  <a:lnTo>
                    <a:pt x="1579413" y="872803"/>
                  </a:lnTo>
                  <a:lnTo>
                    <a:pt x="1545149" y="858921"/>
                  </a:lnTo>
                  <a:lnTo>
                    <a:pt x="1521193" y="851600"/>
                  </a:lnTo>
                  <a:lnTo>
                    <a:pt x="1489388" y="846680"/>
                  </a:lnTo>
                  <a:lnTo>
                    <a:pt x="1460258" y="857727"/>
                  </a:lnTo>
                  <a:lnTo>
                    <a:pt x="1444494" y="879325"/>
                  </a:lnTo>
                  <a:lnTo>
                    <a:pt x="1424527" y="910631"/>
                  </a:lnTo>
                  <a:lnTo>
                    <a:pt x="1423637" y="941172"/>
                  </a:lnTo>
                  <a:lnTo>
                    <a:pt x="1434479" y="963937"/>
                  </a:lnTo>
                  <a:lnTo>
                    <a:pt x="1443130" y="986782"/>
                  </a:lnTo>
                  <a:lnTo>
                    <a:pt x="1451771" y="1009627"/>
                  </a:lnTo>
                  <a:lnTo>
                    <a:pt x="1457653" y="1032307"/>
                  </a:lnTo>
                  <a:lnTo>
                    <a:pt x="1433549" y="1059735"/>
                  </a:lnTo>
                  <a:lnTo>
                    <a:pt x="1405064" y="1076552"/>
                  </a:lnTo>
                  <a:lnTo>
                    <a:pt x="1374272" y="1090830"/>
                  </a:lnTo>
                  <a:lnTo>
                    <a:pt x="1341924" y="1103658"/>
                  </a:lnTo>
                  <a:lnTo>
                    <a:pt x="1316654" y="1117361"/>
                  </a:lnTo>
                  <a:lnTo>
                    <a:pt x="1289918" y="1126937"/>
                  </a:lnTo>
                  <a:lnTo>
                    <a:pt x="1256803" y="1124530"/>
                  </a:lnTo>
                  <a:lnTo>
                    <a:pt x="1239124" y="1107839"/>
                  </a:lnTo>
                  <a:lnTo>
                    <a:pt x="1223271" y="1088575"/>
                  </a:lnTo>
                  <a:lnTo>
                    <a:pt x="1168393" y="1058871"/>
                  </a:lnTo>
                  <a:lnTo>
                    <a:pt x="1123503" y="1035749"/>
                  </a:lnTo>
                  <a:lnTo>
                    <a:pt x="1060936" y="1026227"/>
                  </a:lnTo>
                  <a:lnTo>
                    <a:pt x="1037347" y="1022863"/>
                  </a:lnTo>
                  <a:lnTo>
                    <a:pt x="1013671" y="1020469"/>
                  </a:lnTo>
                  <a:lnTo>
                    <a:pt x="990206" y="1027585"/>
                  </a:lnTo>
                  <a:lnTo>
                    <a:pt x="967156" y="1034576"/>
                  </a:lnTo>
                  <a:lnTo>
                    <a:pt x="941238" y="1064312"/>
                  </a:lnTo>
                  <a:lnTo>
                    <a:pt x="924600" y="1100834"/>
                  </a:lnTo>
                  <a:lnTo>
                    <a:pt x="919475" y="1121437"/>
                  </a:lnTo>
                  <a:lnTo>
                    <a:pt x="914350" y="1142040"/>
                  </a:lnTo>
                  <a:lnTo>
                    <a:pt x="910691" y="1162728"/>
                  </a:lnTo>
                  <a:lnTo>
                    <a:pt x="898338" y="1202568"/>
                  </a:lnTo>
                  <a:lnTo>
                    <a:pt x="875949" y="1235694"/>
                  </a:lnTo>
                  <a:lnTo>
                    <a:pt x="836795" y="1212625"/>
                  </a:lnTo>
                  <a:lnTo>
                    <a:pt x="819537" y="1195465"/>
                  </a:lnTo>
                  <a:lnTo>
                    <a:pt x="793625" y="1175265"/>
                  </a:lnTo>
                  <a:lnTo>
                    <a:pt x="767813" y="1176234"/>
                  </a:lnTo>
                  <a:lnTo>
                    <a:pt x="746729" y="1190803"/>
                  </a:lnTo>
                  <a:lnTo>
                    <a:pt x="719801" y="1209460"/>
                  </a:lnTo>
                  <a:lnTo>
                    <a:pt x="697762" y="1219371"/>
                  </a:lnTo>
                  <a:lnTo>
                    <a:pt x="676895" y="1227905"/>
                  </a:lnTo>
                  <a:lnTo>
                    <a:pt x="656068" y="1240752"/>
                  </a:lnTo>
                  <a:lnTo>
                    <a:pt x="646078" y="1261532"/>
                  </a:lnTo>
                  <a:lnTo>
                    <a:pt x="659010" y="1293010"/>
                  </a:lnTo>
                  <a:lnTo>
                    <a:pt x="676678" y="1322555"/>
                  </a:lnTo>
                  <a:lnTo>
                    <a:pt x="690962" y="1355391"/>
                  </a:lnTo>
                  <a:lnTo>
                    <a:pt x="683648" y="1377973"/>
                  </a:lnTo>
                  <a:lnTo>
                    <a:pt x="671072" y="1408982"/>
                  </a:lnTo>
                  <a:lnTo>
                    <a:pt x="656958" y="1426122"/>
                  </a:lnTo>
                  <a:lnTo>
                    <a:pt x="605209" y="1409799"/>
                  </a:lnTo>
                  <a:lnTo>
                    <a:pt x="572622" y="1386671"/>
                  </a:lnTo>
                  <a:lnTo>
                    <a:pt x="540038" y="1363549"/>
                  </a:lnTo>
                  <a:lnTo>
                    <a:pt x="509984" y="1337915"/>
                  </a:lnTo>
                  <a:lnTo>
                    <a:pt x="495185" y="1316508"/>
                  </a:lnTo>
                  <a:lnTo>
                    <a:pt x="488887" y="1295602"/>
                  </a:lnTo>
                  <a:lnTo>
                    <a:pt x="454291" y="1295536"/>
                  </a:lnTo>
                  <a:lnTo>
                    <a:pt x="435319" y="1335805"/>
                  </a:lnTo>
                  <a:lnTo>
                    <a:pt x="427087" y="1364907"/>
                  </a:lnTo>
                  <a:lnTo>
                    <a:pt x="419379" y="1394268"/>
                  </a:lnTo>
                  <a:lnTo>
                    <a:pt x="413025" y="1419870"/>
                  </a:lnTo>
                  <a:lnTo>
                    <a:pt x="403860" y="1453135"/>
                  </a:lnTo>
                  <a:lnTo>
                    <a:pt x="380835" y="1477799"/>
                  </a:lnTo>
                  <a:lnTo>
                    <a:pt x="350772" y="1496021"/>
                  </a:lnTo>
                  <a:lnTo>
                    <a:pt x="315686" y="1511268"/>
                  </a:lnTo>
                  <a:lnTo>
                    <a:pt x="280184" y="1525408"/>
                  </a:lnTo>
                  <a:lnTo>
                    <a:pt x="251404" y="1538308"/>
                  </a:lnTo>
                  <a:lnTo>
                    <a:pt x="234503" y="1557703"/>
                  </a:lnTo>
                  <a:lnTo>
                    <a:pt x="252973" y="1583898"/>
                  </a:lnTo>
                  <a:lnTo>
                    <a:pt x="271012" y="1608358"/>
                  </a:lnTo>
                  <a:lnTo>
                    <a:pt x="278820" y="1648799"/>
                  </a:lnTo>
                  <a:lnTo>
                    <a:pt x="260322" y="1680217"/>
                  </a:lnTo>
                  <a:lnTo>
                    <a:pt x="254341" y="1706313"/>
                  </a:lnTo>
                  <a:lnTo>
                    <a:pt x="248654" y="1730925"/>
                  </a:lnTo>
                  <a:lnTo>
                    <a:pt x="254341" y="1763444"/>
                  </a:lnTo>
                  <a:lnTo>
                    <a:pt x="264662" y="1795726"/>
                  </a:lnTo>
                  <a:lnTo>
                    <a:pt x="266572" y="1817853"/>
                  </a:lnTo>
                  <a:lnTo>
                    <a:pt x="268402" y="1838817"/>
                  </a:lnTo>
                  <a:lnTo>
                    <a:pt x="264352" y="1866536"/>
                  </a:lnTo>
                  <a:lnTo>
                    <a:pt x="263875" y="1894023"/>
                  </a:lnTo>
                  <a:lnTo>
                    <a:pt x="263348" y="1921504"/>
                  </a:lnTo>
                  <a:lnTo>
                    <a:pt x="265571" y="1949355"/>
                  </a:lnTo>
                  <a:lnTo>
                    <a:pt x="277480" y="1968830"/>
                  </a:lnTo>
                  <a:lnTo>
                    <a:pt x="273477" y="1996363"/>
                  </a:lnTo>
                  <a:lnTo>
                    <a:pt x="254629" y="2024293"/>
                  </a:lnTo>
                  <a:lnTo>
                    <a:pt x="228513" y="2053165"/>
                  </a:lnTo>
                  <a:lnTo>
                    <a:pt x="202393" y="2082037"/>
                  </a:lnTo>
                  <a:lnTo>
                    <a:pt x="169180" y="2111121"/>
                  </a:lnTo>
                  <a:lnTo>
                    <a:pt x="136022" y="2140217"/>
                  </a:lnTo>
                  <a:lnTo>
                    <a:pt x="102855" y="2169308"/>
                  </a:lnTo>
                  <a:lnTo>
                    <a:pt x="70026" y="2199070"/>
                  </a:lnTo>
                  <a:lnTo>
                    <a:pt x="44880" y="2227270"/>
                  </a:lnTo>
                  <a:lnTo>
                    <a:pt x="19753" y="2255470"/>
                  </a:lnTo>
                  <a:lnTo>
                    <a:pt x="2052" y="2282701"/>
                  </a:lnTo>
                  <a:lnTo>
                    <a:pt x="0" y="2308882"/>
                  </a:lnTo>
                  <a:lnTo>
                    <a:pt x="21763" y="2355211"/>
                  </a:lnTo>
                  <a:lnTo>
                    <a:pt x="36140" y="2406711"/>
                  </a:lnTo>
                  <a:lnTo>
                    <a:pt x="55767" y="2454425"/>
                  </a:lnTo>
                  <a:lnTo>
                    <a:pt x="92493" y="2585024"/>
                  </a:lnTo>
                  <a:lnTo>
                    <a:pt x="85597" y="2616008"/>
                  </a:lnTo>
                  <a:lnTo>
                    <a:pt x="72683" y="2633055"/>
                  </a:lnTo>
                  <a:lnTo>
                    <a:pt x="103838" y="2657811"/>
                  </a:lnTo>
                  <a:lnTo>
                    <a:pt x="127855" y="2674775"/>
                  </a:lnTo>
                  <a:lnTo>
                    <a:pt x="140630" y="2701404"/>
                  </a:lnTo>
                  <a:lnTo>
                    <a:pt x="150986" y="2727824"/>
                  </a:lnTo>
                  <a:lnTo>
                    <a:pt x="164576" y="2753669"/>
                  </a:lnTo>
                  <a:lnTo>
                    <a:pt x="196397" y="2774279"/>
                  </a:lnTo>
                  <a:lnTo>
                    <a:pt x="233421" y="2782021"/>
                  </a:lnTo>
                  <a:lnTo>
                    <a:pt x="269316" y="2787672"/>
                  </a:lnTo>
                  <a:lnTo>
                    <a:pt x="302034" y="2815048"/>
                  </a:lnTo>
                  <a:lnTo>
                    <a:pt x="321006" y="2837997"/>
                  </a:lnTo>
                  <a:lnTo>
                    <a:pt x="339976" y="2860956"/>
                  </a:lnTo>
                  <a:lnTo>
                    <a:pt x="362238" y="2883852"/>
                  </a:lnTo>
                  <a:lnTo>
                    <a:pt x="395820" y="2891047"/>
                  </a:lnTo>
                  <a:lnTo>
                    <a:pt x="440143" y="2900544"/>
                  </a:lnTo>
                  <a:lnTo>
                    <a:pt x="483737" y="2899020"/>
                  </a:lnTo>
                  <a:lnTo>
                    <a:pt x="526398" y="2897846"/>
                  </a:lnTo>
                  <a:lnTo>
                    <a:pt x="569050" y="2896673"/>
                  </a:lnTo>
                  <a:lnTo>
                    <a:pt x="611261" y="2896495"/>
                  </a:lnTo>
                  <a:lnTo>
                    <a:pt x="655612" y="2911452"/>
                  </a:lnTo>
                  <a:lnTo>
                    <a:pt x="672247" y="2930268"/>
                  </a:lnTo>
                  <a:lnTo>
                    <a:pt x="677053" y="2955203"/>
                  </a:lnTo>
                  <a:lnTo>
                    <a:pt x="674659" y="2979459"/>
                  </a:lnTo>
                  <a:lnTo>
                    <a:pt x="700459" y="3008536"/>
                  </a:lnTo>
                  <a:lnTo>
                    <a:pt x="720904" y="3018903"/>
                  </a:lnTo>
                  <a:lnTo>
                    <a:pt x="741347" y="3029277"/>
                  </a:lnTo>
                  <a:lnTo>
                    <a:pt x="763795" y="3037757"/>
                  </a:lnTo>
                  <a:lnTo>
                    <a:pt x="854304" y="3090859"/>
                  </a:lnTo>
                  <a:lnTo>
                    <a:pt x="904781" y="3109682"/>
                  </a:lnTo>
                  <a:lnTo>
                    <a:pt x="941260" y="3115478"/>
                  </a:lnTo>
                  <a:lnTo>
                    <a:pt x="977735" y="3121276"/>
                  </a:lnTo>
                  <a:lnTo>
                    <a:pt x="999387" y="3113019"/>
                  </a:lnTo>
                  <a:lnTo>
                    <a:pt x="1032743" y="3090734"/>
                  </a:lnTo>
                  <a:lnTo>
                    <a:pt x="1062313" y="3070594"/>
                  </a:lnTo>
                  <a:lnTo>
                    <a:pt x="1100038" y="3067283"/>
                  </a:lnTo>
                  <a:lnTo>
                    <a:pt x="1137127" y="3088275"/>
                  </a:lnTo>
                  <a:lnTo>
                    <a:pt x="1179896" y="3122746"/>
                  </a:lnTo>
                  <a:lnTo>
                    <a:pt x="1200168" y="3144886"/>
                  </a:lnTo>
                  <a:lnTo>
                    <a:pt x="1213299" y="3165804"/>
                  </a:lnTo>
                  <a:lnTo>
                    <a:pt x="1226430" y="3186730"/>
                  </a:lnTo>
                  <a:lnTo>
                    <a:pt x="1233003" y="3207141"/>
                  </a:lnTo>
                  <a:lnTo>
                    <a:pt x="1235062" y="3229735"/>
                  </a:lnTo>
                  <a:lnTo>
                    <a:pt x="1239149" y="3274924"/>
                  </a:lnTo>
                  <a:lnTo>
                    <a:pt x="1226408" y="3325949"/>
                  </a:lnTo>
                  <a:lnTo>
                    <a:pt x="1224179" y="3395683"/>
                  </a:lnTo>
                  <a:lnTo>
                    <a:pt x="1222049" y="3463458"/>
                  </a:lnTo>
                  <a:lnTo>
                    <a:pt x="1229661" y="3520584"/>
                  </a:lnTo>
                  <a:lnTo>
                    <a:pt x="1241862" y="3587469"/>
                  </a:lnTo>
                  <a:lnTo>
                    <a:pt x="1247551" y="3618651"/>
                  </a:lnTo>
                  <a:lnTo>
                    <a:pt x="1257628" y="3639074"/>
                  </a:lnTo>
                  <a:lnTo>
                    <a:pt x="1280507" y="3669167"/>
                  </a:lnTo>
                  <a:lnTo>
                    <a:pt x="1307151" y="3685403"/>
                  </a:lnTo>
                  <a:lnTo>
                    <a:pt x="1334439" y="3698264"/>
                  </a:lnTo>
                  <a:lnTo>
                    <a:pt x="1361684" y="3701331"/>
                  </a:lnTo>
                  <a:lnTo>
                    <a:pt x="1376523" y="3724847"/>
                  </a:lnTo>
                  <a:lnTo>
                    <a:pt x="1392634" y="3773604"/>
                  </a:lnTo>
                  <a:lnTo>
                    <a:pt x="1378176" y="3829245"/>
                  </a:lnTo>
                  <a:lnTo>
                    <a:pt x="1387403" y="3879914"/>
                  </a:lnTo>
                  <a:lnTo>
                    <a:pt x="1422173" y="3898742"/>
                  </a:lnTo>
                  <a:lnTo>
                    <a:pt x="1500255" y="3903458"/>
                  </a:lnTo>
                  <a:lnTo>
                    <a:pt x="1538386" y="3904394"/>
                  </a:lnTo>
                  <a:lnTo>
                    <a:pt x="1547942" y="3964519"/>
                  </a:lnTo>
                  <a:lnTo>
                    <a:pt x="1553343" y="3994170"/>
                  </a:lnTo>
                  <a:lnTo>
                    <a:pt x="1645080" y="4004642"/>
                  </a:lnTo>
                  <a:lnTo>
                    <a:pt x="1728216" y="4050787"/>
                  </a:lnTo>
                  <a:lnTo>
                    <a:pt x="1822660" y="4060819"/>
                  </a:lnTo>
                  <a:lnTo>
                    <a:pt x="1839714" y="4029829"/>
                  </a:lnTo>
                  <a:lnTo>
                    <a:pt x="1844430" y="4007769"/>
                  </a:lnTo>
                  <a:lnTo>
                    <a:pt x="1849146" y="3985709"/>
                  </a:lnTo>
                  <a:lnTo>
                    <a:pt x="1855167" y="3962871"/>
                  </a:lnTo>
                  <a:lnTo>
                    <a:pt x="1899049" y="3951475"/>
                  </a:lnTo>
                  <a:lnTo>
                    <a:pt x="2020744" y="3943944"/>
                  </a:lnTo>
                  <a:lnTo>
                    <a:pt x="2037574" y="3957444"/>
                  </a:lnTo>
                  <a:lnTo>
                    <a:pt x="2060320" y="4062923"/>
                  </a:lnTo>
                  <a:lnTo>
                    <a:pt x="2046129" y="4098502"/>
                  </a:lnTo>
                  <a:lnTo>
                    <a:pt x="2013430" y="4090891"/>
                  </a:lnTo>
                  <a:lnTo>
                    <a:pt x="2000854" y="4111144"/>
                  </a:lnTo>
                  <a:lnTo>
                    <a:pt x="2001316" y="4139918"/>
                  </a:lnTo>
                  <a:lnTo>
                    <a:pt x="2011170" y="4178940"/>
                  </a:lnTo>
                  <a:lnTo>
                    <a:pt x="2028059" y="4221319"/>
                  </a:lnTo>
                  <a:lnTo>
                    <a:pt x="2044935" y="4263698"/>
                  </a:lnTo>
                  <a:lnTo>
                    <a:pt x="2068202" y="4309638"/>
                  </a:lnTo>
                  <a:lnTo>
                    <a:pt x="2093348" y="4355981"/>
                  </a:lnTo>
                  <a:lnTo>
                    <a:pt x="2143627" y="4448671"/>
                  </a:lnTo>
                  <a:lnTo>
                    <a:pt x="2201781" y="4540597"/>
                  </a:lnTo>
                  <a:lnTo>
                    <a:pt x="2234809" y="4591293"/>
                  </a:lnTo>
                  <a:lnTo>
                    <a:pt x="2229904" y="4627894"/>
                  </a:lnTo>
                  <a:lnTo>
                    <a:pt x="2208779" y="4637991"/>
                  </a:lnTo>
                  <a:lnTo>
                    <a:pt x="2179042" y="4644341"/>
                  </a:lnTo>
                  <a:lnTo>
                    <a:pt x="2149301" y="4650693"/>
                  </a:lnTo>
                  <a:lnTo>
                    <a:pt x="2110785" y="4652928"/>
                  </a:lnTo>
                  <a:lnTo>
                    <a:pt x="2072943" y="4653865"/>
                  </a:lnTo>
                  <a:lnTo>
                    <a:pt x="1997248" y="4655731"/>
                  </a:lnTo>
                  <a:lnTo>
                    <a:pt x="1922896" y="4651220"/>
                  </a:lnTo>
                  <a:lnTo>
                    <a:pt x="1908829" y="4666943"/>
                  </a:lnTo>
                  <a:lnTo>
                    <a:pt x="1911070" y="4690585"/>
                  </a:lnTo>
                  <a:lnTo>
                    <a:pt x="1920614" y="4714782"/>
                  </a:lnTo>
                  <a:lnTo>
                    <a:pt x="1943224" y="4735503"/>
                  </a:lnTo>
                  <a:lnTo>
                    <a:pt x="1968310" y="4738002"/>
                  </a:lnTo>
                  <a:lnTo>
                    <a:pt x="1991326" y="4739553"/>
                  </a:lnTo>
                  <a:lnTo>
                    <a:pt x="2014335" y="4741103"/>
                  </a:lnTo>
                  <a:lnTo>
                    <a:pt x="2035618" y="4742475"/>
                  </a:lnTo>
                  <a:lnTo>
                    <a:pt x="2064860" y="4777764"/>
                  </a:lnTo>
                  <a:lnTo>
                    <a:pt x="2054234" y="4815275"/>
                  </a:lnTo>
                  <a:lnTo>
                    <a:pt x="2072937" y="4833404"/>
                  </a:lnTo>
                  <a:lnTo>
                    <a:pt x="2096718" y="4839281"/>
                  </a:lnTo>
                  <a:lnTo>
                    <a:pt x="2126521" y="4845915"/>
                  </a:lnTo>
                  <a:lnTo>
                    <a:pt x="2151831" y="4857891"/>
                  </a:lnTo>
                  <a:lnTo>
                    <a:pt x="2177144" y="4869861"/>
                  </a:lnTo>
                  <a:lnTo>
                    <a:pt x="2197844" y="4887114"/>
                  </a:lnTo>
                  <a:lnTo>
                    <a:pt x="2206234" y="4913658"/>
                  </a:lnTo>
                  <a:lnTo>
                    <a:pt x="2199856" y="4964280"/>
                  </a:lnTo>
                  <a:lnTo>
                    <a:pt x="2172825" y="4983986"/>
                  </a:lnTo>
                  <a:lnTo>
                    <a:pt x="2113740" y="4975037"/>
                  </a:lnTo>
                  <a:lnTo>
                    <a:pt x="2089261" y="4980307"/>
                  </a:lnTo>
                  <a:lnTo>
                    <a:pt x="2073544" y="4996464"/>
                  </a:lnTo>
                  <a:lnTo>
                    <a:pt x="2064171" y="5023997"/>
                  </a:lnTo>
                  <a:lnTo>
                    <a:pt x="2051174" y="5048320"/>
                  </a:lnTo>
                  <a:lnTo>
                    <a:pt x="2009396" y="5043050"/>
                  </a:lnTo>
                  <a:lnTo>
                    <a:pt x="1969154" y="5027116"/>
                  </a:lnTo>
                  <a:lnTo>
                    <a:pt x="1928759" y="5012951"/>
                  </a:lnTo>
                  <a:lnTo>
                    <a:pt x="1888359" y="4998791"/>
                  </a:lnTo>
                  <a:lnTo>
                    <a:pt x="1847927" y="4985398"/>
                  </a:lnTo>
                  <a:lnTo>
                    <a:pt x="1804981" y="4984389"/>
                  </a:lnTo>
                  <a:lnTo>
                    <a:pt x="1776325" y="5002795"/>
                  </a:lnTo>
                  <a:lnTo>
                    <a:pt x="1740706" y="5009107"/>
                  </a:lnTo>
                  <a:lnTo>
                    <a:pt x="1696625" y="5009318"/>
                  </a:lnTo>
                  <a:lnTo>
                    <a:pt x="1674564" y="5035229"/>
                  </a:lnTo>
                  <a:lnTo>
                    <a:pt x="1643629" y="5128718"/>
                  </a:lnTo>
                  <a:lnTo>
                    <a:pt x="1659945" y="5177217"/>
                  </a:lnTo>
                  <a:lnTo>
                    <a:pt x="1693400" y="5195517"/>
                  </a:lnTo>
                  <a:lnTo>
                    <a:pt x="1704320" y="5231941"/>
                  </a:lnTo>
                  <a:lnTo>
                    <a:pt x="1698882" y="5275467"/>
                  </a:lnTo>
                  <a:lnTo>
                    <a:pt x="1726644" y="5292812"/>
                  </a:lnTo>
                  <a:lnTo>
                    <a:pt x="1781857" y="5301103"/>
                  </a:lnTo>
                  <a:lnTo>
                    <a:pt x="1804981" y="5325801"/>
                  </a:lnTo>
                  <a:lnTo>
                    <a:pt x="1800711" y="5353895"/>
                  </a:lnTo>
                  <a:lnTo>
                    <a:pt x="1788142" y="5375084"/>
                  </a:lnTo>
                  <a:lnTo>
                    <a:pt x="1766893" y="5393807"/>
                  </a:lnTo>
                  <a:lnTo>
                    <a:pt x="1774406" y="5415556"/>
                  </a:lnTo>
                  <a:lnTo>
                    <a:pt x="1804987" y="5435975"/>
                  </a:lnTo>
                  <a:lnTo>
                    <a:pt x="1831215" y="5459254"/>
                  </a:lnTo>
                  <a:lnTo>
                    <a:pt x="1832650" y="5481394"/>
                  </a:lnTo>
                  <a:lnTo>
                    <a:pt x="1821308" y="5509422"/>
                  </a:lnTo>
                  <a:lnTo>
                    <a:pt x="1783739" y="5557518"/>
                  </a:lnTo>
                  <a:lnTo>
                    <a:pt x="1744972" y="5604765"/>
                  </a:lnTo>
                  <a:lnTo>
                    <a:pt x="1708410" y="5653607"/>
                  </a:lnTo>
                  <a:lnTo>
                    <a:pt x="1681760" y="5689245"/>
                  </a:lnTo>
                  <a:lnTo>
                    <a:pt x="1665991" y="5731545"/>
                  </a:lnTo>
                  <a:lnTo>
                    <a:pt x="1641769" y="5767864"/>
                  </a:lnTo>
                  <a:lnTo>
                    <a:pt x="1606512" y="5820694"/>
                  </a:lnTo>
                  <a:lnTo>
                    <a:pt x="1561616" y="5868040"/>
                  </a:lnTo>
                  <a:lnTo>
                    <a:pt x="1509824" y="5907965"/>
                  </a:lnTo>
                  <a:lnTo>
                    <a:pt x="1458035" y="5947884"/>
                  </a:lnTo>
                  <a:lnTo>
                    <a:pt x="1399260" y="5979527"/>
                  </a:lnTo>
                  <a:lnTo>
                    <a:pt x="1339794" y="6000459"/>
                  </a:lnTo>
                  <a:lnTo>
                    <a:pt x="1290200" y="6017915"/>
                  </a:lnTo>
                  <a:lnTo>
                    <a:pt x="1255972" y="6035267"/>
                  </a:lnTo>
                  <a:lnTo>
                    <a:pt x="1198342" y="6035821"/>
                  </a:lnTo>
                  <a:lnTo>
                    <a:pt x="1163705" y="6036151"/>
                  </a:lnTo>
                  <a:lnTo>
                    <a:pt x="1094519" y="6033150"/>
                  </a:lnTo>
                  <a:lnTo>
                    <a:pt x="1024228" y="6027663"/>
                  </a:lnTo>
                  <a:lnTo>
                    <a:pt x="953954" y="6022169"/>
                  </a:lnTo>
                  <a:lnTo>
                    <a:pt x="883409" y="6013900"/>
                  </a:lnTo>
                  <a:lnTo>
                    <a:pt x="848773" y="6001817"/>
                  </a:lnTo>
                  <a:lnTo>
                    <a:pt x="819946" y="5991740"/>
                  </a:lnTo>
                  <a:lnTo>
                    <a:pt x="793684" y="5971738"/>
                  </a:lnTo>
                  <a:lnTo>
                    <a:pt x="772594" y="5950127"/>
                  </a:lnTo>
                  <a:lnTo>
                    <a:pt x="754921" y="5932016"/>
                  </a:lnTo>
                  <a:lnTo>
                    <a:pt x="739948" y="5902525"/>
                  </a:lnTo>
                  <a:lnTo>
                    <a:pt x="718232" y="5882120"/>
                  </a:lnTo>
                  <a:lnTo>
                    <a:pt x="685548" y="5882120"/>
                  </a:lnTo>
                  <a:lnTo>
                    <a:pt x="659268" y="5885556"/>
                  </a:lnTo>
                  <a:lnTo>
                    <a:pt x="611150" y="5929854"/>
                  </a:lnTo>
                  <a:lnTo>
                    <a:pt x="530606" y="6003162"/>
                  </a:lnTo>
                  <a:lnTo>
                    <a:pt x="469273" y="6082064"/>
                  </a:lnTo>
                  <a:lnTo>
                    <a:pt x="438615" y="6121515"/>
                  </a:lnTo>
                  <a:lnTo>
                    <a:pt x="413032" y="6162594"/>
                  </a:lnTo>
                  <a:lnTo>
                    <a:pt x="398543" y="6201761"/>
                  </a:lnTo>
                  <a:lnTo>
                    <a:pt x="386956" y="6240599"/>
                  </a:lnTo>
                  <a:lnTo>
                    <a:pt x="385638" y="6277187"/>
                  </a:lnTo>
                  <a:lnTo>
                    <a:pt x="397178" y="6310578"/>
                  </a:lnTo>
                  <a:lnTo>
                    <a:pt x="410495" y="6338804"/>
                  </a:lnTo>
                  <a:lnTo>
                    <a:pt x="435613" y="6371152"/>
                  </a:lnTo>
                  <a:lnTo>
                    <a:pt x="452952" y="6397630"/>
                  </a:lnTo>
                  <a:lnTo>
                    <a:pt x="465277" y="6420884"/>
                  </a:lnTo>
                  <a:lnTo>
                    <a:pt x="480280" y="6458883"/>
                  </a:lnTo>
                  <a:lnTo>
                    <a:pt x="496155" y="6492095"/>
                  </a:lnTo>
                  <a:lnTo>
                    <a:pt x="505993" y="6524134"/>
                  </a:lnTo>
                  <a:lnTo>
                    <a:pt x="518644" y="6578812"/>
                  </a:lnTo>
                  <a:lnTo>
                    <a:pt x="520966" y="6619345"/>
                  </a:lnTo>
                  <a:lnTo>
                    <a:pt x="521419" y="6658980"/>
                  </a:lnTo>
                  <a:lnTo>
                    <a:pt x="516132" y="6686474"/>
                  </a:lnTo>
                  <a:lnTo>
                    <a:pt x="499181" y="6707755"/>
                  </a:lnTo>
                  <a:lnTo>
                    <a:pt x="525285" y="6739635"/>
                  </a:lnTo>
                  <a:lnTo>
                    <a:pt x="560105" y="6762928"/>
                  </a:lnTo>
                  <a:lnTo>
                    <a:pt x="580497" y="6770150"/>
                  </a:lnTo>
                  <a:lnTo>
                    <a:pt x="623952" y="6760977"/>
                  </a:lnTo>
                  <a:lnTo>
                    <a:pt x="651519" y="6729518"/>
                  </a:lnTo>
                  <a:lnTo>
                    <a:pt x="666449" y="6714601"/>
                  </a:lnTo>
                  <a:lnTo>
                    <a:pt x="683307" y="6702037"/>
                  </a:lnTo>
                  <a:lnTo>
                    <a:pt x="718160" y="6700955"/>
                  </a:lnTo>
                  <a:lnTo>
                    <a:pt x="739855" y="6715768"/>
                  </a:lnTo>
                  <a:lnTo>
                    <a:pt x="756325" y="6743269"/>
                  </a:lnTo>
                  <a:lnTo>
                    <a:pt x="772573" y="6767604"/>
                  </a:lnTo>
                  <a:lnTo>
                    <a:pt x="825524" y="6761688"/>
                  </a:lnTo>
                  <a:lnTo>
                    <a:pt x="882281" y="6738441"/>
                  </a:lnTo>
                  <a:lnTo>
                    <a:pt x="916753" y="6743117"/>
                  </a:lnTo>
                  <a:lnTo>
                    <a:pt x="939576" y="6746198"/>
                  </a:lnTo>
                  <a:lnTo>
                    <a:pt x="963311" y="6758352"/>
                  </a:lnTo>
                  <a:lnTo>
                    <a:pt x="986122" y="6760798"/>
                  </a:lnTo>
                  <a:lnTo>
                    <a:pt x="1011414" y="6763516"/>
                  </a:lnTo>
                  <a:lnTo>
                    <a:pt x="1041719" y="6755081"/>
                  </a:lnTo>
                  <a:lnTo>
                    <a:pt x="1066378" y="6759440"/>
                  </a:lnTo>
                  <a:lnTo>
                    <a:pt x="1106369" y="6766510"/>
                  </a:lnTo>
                  <a:lnTo>
                    <a:pt x="1145747" y="6786130"/>
                  </a:lnTo>
                  <a:lnTo>
                    <a:pt x="1181992" y="6809766"/>
                  </a:lnTo>
                  <a:lnTo>
                    <a:pt x="1218245" y="6833402"/>
                  </a:lnTo>
                  <a:lnTo>
                    <a:pt x="1251489" y="6860586"/>
                  </a:lnTo>
                  <a:lnTo>
                    <a:pt x="1282650" y="6884578"/>
                  </a:lnTo>
                  <a:lnTo>
                    <a:pt x="1307374" y="6953799"/>
                  </a:lnTo>
                  <a:lnTo>
                    <a:pt x="1324120" y="6990590"/>
                  </a:lnTo>
                  <a:lnTo>
                    <a:pt x="1406853" y="7046971"/>
                  </a:lnTo>
                  <a:lnTo>
                    <a:pt x="1439068" y="7077729"/>
                  </a:lnTo>
                  <a:lnTo>
                    <a:pt x="1460831" y="7098128"/>
                  </a:lnTo>
                  <a:lnTo>
                    <a:pt x="1493180" y="7116851"/>
                  </a:lnTo>
                  <a:lnTo>
                    <a:pt x="1544823" y="7129546"/>
                  </a:lnTo>
                  <a:lnTo>
                    <a:pt x="1580529" y="7143018"/>
                  </a:lnTo>
                  <a:lnTo>
                    <a:pt x="1590057" y="7178236"/>
                  </a:lnTo>
                  <a:lnTo>
                    <a:pt x="1588969" y="7202591"/>
                  </a:lnTo>
                  <a:lnTo>
                    <a:pt x="1581894" y="7223266"/>
                  </a:lnTo>
                  <a:lnTo>
                    <a:pt x="1661473" y="7274930"/>
                  </a:lnTo>
                  <a:lnTo>
                    <a:pt x="1700761" y="7295466"/>
                  </a:lnTo>
                  <a:lnTo>
                    <a:pt x="1726130" y="7327709"/>
                  </a:lnTo>
                  <a:lnTo>
                    <a:pt x="1750559" y="7362010"/>
                  </a:lnTo>
                  <a:lnTo>
                    <a:pt x="1774967" y="7396310"/>
                  </a:lnTo>
                  <a:lnTo>
                    <a:pt x="1799195" y="7433229"/>
                  </a:lnTo>
                  <a:lnTo>
                    <a:pt x="1824006" y="7454503"/>
                  </a:lnTo>
                  <a:lnTo>
                    <a:pt x="1857244" y="7482981"/>
                  </a:lnTo>
                  <a:lnTo>
                    <a:pt x="1903790" y="7484318"/>
                  </a:lnTo>
                  <a:lnTo>
                    <a:pt x="1940985" y="7503471"/>
                  </a:lnTo>
                  <a:lnTo>
                    <a:pt x="1967920" y="7517326"/>
                  </a:lnTo>
                  <a:lnTo>
                    <a:pt x="2048147" y="7578407"/>
                  </a:lnTo>
                  <a:lnTo>
                    <a:pt x="2071566" y="7601404"/>
                  </a:lnTo>
                  <a:lnTo>
                    <a:pt x="2090703" y="7620194"/>
                  </a:lnTo>
                  <a:lnTo>
                    <a:pt x="2107849" y="7642358"/>
                  </a:lnTo>
                  <a:lnTo>
                    <a:pt x="2125972" y="7662611"/>
                  </a:lnTo>
                  <a:lnTo>
                    <a:pt x="2144083" y="7682864"/>
                  </a:lnTo>
                  <a:lnTo>
                    <a:pt x="2163275" y="7701759"/>
                  </a:lnTo>
                  <a:lnTo>
                    <a:pt x="2188533" y="7712945"/>
                  </a:lnTo>
                  <a:lnTo>
                    <a:pt x="2212748" y="7723660"/>
                  </a:lnTo>
                  <a:lnTo>
                    <a:pt x="2241016" y="7714666"/>
                  </a:lnTo>
                  <a:lnTo>
                    <a:pt x="2270152" y="7704779"/>
                  </a:lnTo>
                  <a:lnTo>
                    <a:pt x="2299295" y="7694887"/>
                  </a:lnTo>
                  <a:lnTo>
                    <a:pt x="2329538" y="7684356"/>
                  </a:lnTo>
                  <a:lnTo>
                    <a:pt x="2357198" y="7689816"/>
                  </a:lnTo>
                  <a:lnTo>
                    <a:pt x="2520429" y="7721102"/>
                  </a:lnTo>
                  <a:lnTo>
                    <a:pt x="2574676" y="7688859"/>
                  </a:lnTo>
                  <a:lnTo>
                    <a:pt x="2596591" y="7681658"/>
                  </a:lnTo>
                  <a:lnTo>
                    <a:pt x="2621777" y="7693503"/>
                  </a:lnTo>
                  <a:lnTo>
                    <a:pt x="2644688" y="7719447"/>
                  </a:lnTo>
                  <a:lnTo>
                    <a:pt x="2664612" y="7742865"/>
                  </a:lnTo>
                  <a:lnTo>
                    <a:pt x="2684515" y="7766276"/>
                  </a:lnTo>
                  <a:lnTo>
                    <a:pt x="2701906" y="7787954"/>
                  </a:lnTo>
                  <a:lnTo>
                    <a:pt x="2742710" y="7795848"/>
                  </a:lnTo>
                  <a:lnTo>
                    <a:pt x="2764234" y="7790408"/>
                  </a:lnTo>
                  <a:lnTo>
                    <a:pt x="2788384" y="7786398"/>
                  </a:lnTo>
                  <a:lnTo>
                    <a:pt x="2812535" y="7782415"/>
                  </a:lnTo>
                  <a:lnTo>
                    <a:pt x="2839225" y="7778820"/>
                  </a:lnTo>
                  <a:lnTo>
                    <a:pt x="2875439" y="7786398"/>
                  </a:lnTo>
                  <a:lnTo>
                    <a:pt x="2901038" y="7807581"/>
                  </a:lnTo>
                  <a:lnTo>
                    <a:pt x="2917843" y="7841380"/>
                  </a:lnTo>
                  <a:lnTo>
                    <a:pt x="2950250" y="7861210"/>
                  </a:lnTo>
                  <a:lnTo>
                    <a:pt x="3007041" y="7817275"/>
                  </a:lnTo>
                  <a:lnTo>
                    <a:pt x="3028788" y="7802015"/>
                  </a:lnTo>
                  <a:lnTo>
                    <a:pt x="3057707" y="7812236"/>
                  </a:lnTo>
                  <a:lnTo>
                    <a:pt x="3087386" y="7834494"/>
                  </a:lnTo>
                  <a:lnTo>
                    <a:pt x="3120866" y="7857327"/>
                  </a:lnTo>
                  <a:lnTo>
                    <a:pt x="3161084" y="7858486"/>
                  </a:lnTo>
                  <a:lnTo>
                    <a:pt x="3202558" y="7856172"/>
                  </a:lnTo>
                  <a:lnTo>
                    <a:pt x="3222290" y="7863928"/>
                  </a:lnTo>
                  <a:lnTo>
                    <a:pt x="3257317" y="7874532"/>
                  </a:lnTo>
                  <a:lnTo>
                    <a:pt x="3282140" y="7893848"/>
                  </a:lnTo>
                  <a:lnTo>
                    <a:pt x="3303903" y="7933299"/>
                  </a:lnTo>
                  <a:lnTo>
                    <a:pt x="3340444" y="7925175"/>
                  </a:lnTo>
                  <a:lnTo>
                    <a:pt x="3406347" y="7875957"/>
                  </a:lnTo>
                  <a:lnTo>
                    <a:pt x="3443957" y="7881094"/>
                  </a:lnTo>
                  <a:lnTo>
                    <a:pt x="3464666" y="7872738"/>
                  </a:lnTo>
                  <a:lnTo>
                    <a:pt x="3483449" y="7859838"/>
                  </a:lnTo>
                  <a:lnTo>
                    <a:pt x="3502238" y="7846958"/>
                  </a:lnTo>
                  <a:lnTo>
                    <a:pt x="3519372" y="7828942"/>
                  </a:lnTo>
                  <a:lnTo>
                    <a:pt x="3579471" y="7793323"/>
                  </a:lnTo>
                  <a:lnTo>
                    <a:pt x="3621295" y="7768110"/>
                  </a:lnTo>
                  <a:lnTo>
                    <a:pt x="3672516" y="7752389"/>
                  </a:lnTo>
                  <a:lnTo>
                    <a:pt x="3706561" y="7741929"/>
                  </a:lnTo>
                  <a:lnTo>
                    <a:pt x="3743163" y="7738571"/>
                  </a:lnTo>
                  <a:lnTo>
                    <a:pt x="3775893" y="7722460"/>
                  </a:lnTo>
                  <a:lnTo>
                    <a:pt x="3812995" y="7691115"/>
                  </a:lnTo>
                  <a:lnTo>
                    <a:pt x="3853826" y="7684520"/>
                  </a:lnTo>
                  <a:lnTo>
                    <a:pt x="3901988" y="7711342"/>
                  </a:lnTo>
                  <a:lnTo>
                    <a:pt x="3949997" y="7742865"/>
                  </a:lnTo>
                  <a:lnTo>
                    <a:pt x="3998004" y="7774389"/>
                  </a:lnTo>
                  <a:lnTo>
                    <a:pt x="4045973" y="7811142"/>
                  </a:lnTo>
                  <a:lnTo>
                    <a:pt x="4066973" y="7832641"/>
                  </a:lnTo>
                  <a:lnTo>
                    <a:pt x="4045684" y="7857505"/>
                  </a:lnTo>
                  <a:lnTo>
                    <a:pt x="4035691" y="7899290"/>
                  </a:lnTo>
                  <a:lnTo>
                    <a:pt x="4027527" y="7944174"/>
                  </a:lnTo>
                  <a:lnTo>
                    <a:pt x="4128622" y="8069332"/>
                  </a:lnTo>
                  <a:lnTo>
                    <a:pt x="4142327" y="8088847"/>
                  </a:lnTo>
                  <a:lnTo>
                    <a:pt x="4127078" y="8130863"/>
                  </a:lnTo>
                  <a:lnTo>
                    <a:pt x="4100890" y="8175490"/>
                  </a:lnTo>
                  <a:lnTo>
                    <a:pt x="4075137" y="8208049"/>
                  </a:lnTo>
                  <a:lnTo>
                    <a:pt x="4061748" y="8224952"/>
                  </a:lnTo>
                  <a:lnTo>
                    <a:pt x="4021627" y="8239151"/>
                  </a:lnTo>
                  <a:lnTo>
                    <a:pt x="3985359" y="8258383"/>
                  </a:lnTo>
                  <a:lnTo>
                    <a:pt x="3950552" y="8278648"/>
                  </a:lnTo>
                  <a:lnTo>
                    <a:pt x="3924951" y="8303399"/>
                  </a:lnTo>
                  <a:lnTo>
                    <a:pt x="3915996" y="8334547"/>
                  </a:lnTo>
                  <a:lnTo>
                    <a:pt x="3941030" y="8355868"/>
                  </a:lnTo>
                  <a:lnTo>
                    <a:pt x="4051969" y="8334823"/>
                  </a:lnTo>
                  <a:lnTo>
                    <a:pt x="4086928" y="8329699"/>
                  </a:lnTo>
                  <a:lnTo>
                    <a:pt x="4109470" y="8347492"/>
                  </a:lnTo>
                  <a:lnTo>
                    <a:pt x="4130904" y="8368556"/>
                  </a:lnTo>
                  <a:lnTo>
                    <a:pt x="4152351" y="8389621"/>
                  </a:lnTo>
                  <a:lnTo>
                    <a:pt x="4172120" y="8413211"/>
                  </a:lnTo>
                  <a:lnTo>
                    <a:pt x="4190665" y="8433292"/>
                  </a:lnTo>
                  <a:lnTo>
                    <a:pt x="4220582" y="8438238"/>
                  </a:lnTo>
                  <a:lnTo>
                    <a:pt x="4251960" y="8442004"/>
                  </a:lnTo>
                  <a:lnTo>
                    <a:pt x="4283338" y="8445776"/>
                  </a:lnTo>
                  <a:lnTo>
                    <a:pt x="4316716" y="8448691"/>
                  </a:lnTo>
                  <a:lnTo>
                    <a:pt x="4342711" y="8477458"/>
                  </a:lnTo>
                  <a:lnTo>
                    <a:pt x="4317432" y="8514310"/>
                  </a:lnTo>
                  <a:lnTo>
                    <a:pt x="4318613" y="8539938"/>
                  </a:lnTo>
                  <a:lnTo>
                    <a:pt x="4332675" y="8556103"/>
                  </a:lnTo>
                  <a:lnTo>
                    <a:pt x="4356586" y="8559281"/>
                  </a:lnTo>
                  <a:lnTo>
                    <a:pt x="4379822" y="8561701"/>
                  </a:lnTo>
                  <a:lnTo>
                    <a:pt x="4403055" y="8564135"/>
                  </a:lnTo>
                  <a:lnTo>
                    <a:pt x="4426176" y="8565705"/>
                  </a:lnTo>
                  <a:lnTo>
                    <a:pt x="4441034" y="8594347"/>
                  </a:lnTo>
                  <a:lnTo>
                    <a:pt x="4465674" y="8601515"/>
                  </a:lnTo>
                  <a:lnTo>
                    <a:pt x="4481317" y="8619400"/>
                  </a:lnTo>
                  <a:lnTo>
                    <a:pt x="4492733" y="8640597"/>
                  </a:lnTo>
                  <a:lnTo>
                    <a:pt x="4504128" y="8661792"/>
                  </a:lnTo>
                  <a:lnTo>
                    <a:pt x="4511026" y="8686820"/>
                  </a:lnTo>
                  <a:lnTo>
                    <a:pt x="4518570" y="8707244"/>
                  </a:lnTo>
                  <a:lnTo>
                    <a:pt x="4531140" y="8724945"/>
                  </a:lnTo>
                  <a:lnTo>
                    <a:pt x="4552233" y="8733070"/>
                  </a:lnTo>
                  <a:lnTo>
                    <a:pt x="4579779" y="8737172"/>
                  </a:lnTo>
                  <a:lnTo>
                    <a:pt x="4609408" y="8743603"/>
                  </a:lnTo>
                  <a:lnTo>
                    <a:pt x="4639918" y="8757946"/>
                  </a:lnTo>
                  <a:lnTo>
                    <a:pt x="4668189" y="8787498"/>
                  </a:lnTo>
                  <a:lnTo>
                    <a:pt x="4671758" y="8820531"/>
                  </a:lnTo>
                  <a:lnTo>
                    <a:pt x="4659207" y="8849674"/>
                  </a:lnTo>
                  <a:lnTo>
                    <a:pt x="4635571" y="8874550"/>
                  </a:lnTo>
                  <a:lnTo>
                    <a:pt x="4609470" y="8898471"/>
                  </a:lnTo>
                  <a:lnTo>
                    <a:pt x="4574508" y="8917174"/>
                  </a:lnTo>
                  <a:lnTo>
                    <a:pt x="4551235" y="8930317"/>
                  </a:lnTo>
                  <a:lnTo>
                    <a:pt x="4513284" y="9003962"/>
                  </a:lnTo>
                  <a:lnTo>
                    <a:pt x="4521314" y="9024169"/>
                  </a:lnTo>
                  <a:lnTo>
                    <a:pt x="4545710" y="9046718"/>
                  </a:lnTo>
                  <a:lnTo>
                    <a:pt x="4576542" y="9056266"/>
                  </a:lnTo>
                  <a:lnTo>
                    <a:pt x="4604286" y="9073142"/>
                  </a:lnTo>
                  <a:lnTo>
                    <a:pt x="4655672" y="9104423"/>
                  </a:lnTo>
                  <a:lnTo>
                    <a:pt x="4696956" y="9147929"/>
                  </a:lnTo>
                  <a:lnTo>
                    <a:pt x="4737589" y="9191475"/>
                  </a:lnTo>
                  <a:lnTo>
                    <a:pt x="4788963" y="9246589"/>
                  </a:lnTo>
                  <a:lnTo>
                    <a:pt x="4854252" y="9291031"/>
                  </a:lnTo>
                  <a:lnTo>
                    <a:pt x="4915768" y="9338377"/>
                  </a:lnTo>
                  <a:lnTo>
                    <a:pt x="4946535" y="9362046"/>
                  </a:lnTo>
                  <a:lnTo>
                    <a:pt x="4975969" y="9385860"/>
                  </a:lnTo>
                  <a:lnTo>
                    <a:pt x="5002823" y="9413190"/>
                  </a:lnTo>
                  <a:lnTo>
                    <a:pt x="5029683" y="9440518"/>
                  </a:lnTo>
                  <a:lnTo>
                    <a:pt x="5053530" y="9470960"/>
                  </a:lnTo>
                  <a:lnTo>
                    <a:pt x="5072192" y="9505683"/>
                  </a:lnTo>
                  <a:lnTo>
                    <a:pt x="5052482" y="9562616"/>
                  </a:lnTo>
                  <a:lnTo>
                    <a:pt x="5010261" y="9609209"/>
                  </a:lnTo>
                  <a:lnTo>
                    <a:pt x="4990582" y="9666184"/>
                  </a:lnTo>
                  <a:lnTo>
                    <a:pt x="5023786" y="9705930"/>
                  </a:lnTo>
                  <a:lnTo>
                    <a:pt x="5125091" y="9792192"/>
                  </a:lnTo>
                  <a:lnTo>
                    <a:pt x="5145661" y="9828048"/>
                  </a:lnTo>
                  <a:lnTo>
                    <a:pt x="5126490" y="9857983"/>
                  </a:lnTo>
                  <a:lnTo>
                    <a:pt x="5099372" y="9884415"/>
                  </a:lnTo>
                  <a:lnTo>
                    <a:pt x="5073572" y="9911018"/>
                  </a:lnTo>
                  <a:lnTo>
                    <a:pt x="5047772" y="9937629"/>
                  </a:lnTo>
                  <a:lnTo>
                    <a:pt x="5023538" y="9965091"/>
                  </a:lnTo>
                  <a:lnTo>
                    <a:pt x="5009641" y="9998072"/>
                  </a:lnTo>
                  <a:lnTo>
                    <a:pt x="5073625" y="10061198"/>
                  </a:lnTo>
                  <a:lnTo>
                    <a:pt x="5098119" y="10065769"/>
                  </a:lnTo>
                  <a:lnTo>
                    <a:pt x="5114881" y="10046742"/>
                  </a:lnTo>
                  <a:lnTo>
                    <a:pt x="5130703" y="10025283"/>
                  </a:lnTo>
                  <a:lnTo>
                    <a:pt x="5146519" y="10003816"/>
                  </a:lnTo>
                  <a:lnTo>
                    <a:pt x="5161402" y="9980199"/>
                  </a:lnTo>
                  <a:lnTo>
                    <a:pt x="5193568" y="9971243"/>
                  </a:lnTo>
                  <a:lnTo>
                    <a:pt x="5209802" y="9984987"/>
                  </a:lnTo>
                  <a:lnTo>
                    <a:pt x="5225913" y="10000796"/>
                  </a:lnTo>
                  <a:lnTo>
                    <a:pt x="5242027" y="10016603"/>
                  </a:lnTo>
                  <a:lnTo>
                    <a:pt x="5257675" y="10034679"/>
                  </a:lnTo>
                  <a:lnTo>
                    <a:pt x="5287714" y="10047362"/>
                  </a:lnTo>
                  <a:lnTo>
                    <a:pt x="5318407" y="10023917"/>
                  </a:lnTo>
                  <a:lnTo>
                    <a:pt x="5347379" y="9997089"/>
                  </a:lnTo>
                  <a:lnTo>
                    <a:pt x="5424506" y="9968150"/>
                  </a:lnTo>
                  <a:lnTo>
                    <a:pt x="5399769" y="9944198"/>
                  </a:lnTo>
                  <a:lnTo>
                    <a:pt x="5364401" y="9924987"/>
                  </a:lnTo>
                  <a:lnTo>
                    <a:pt x="5334731" y="9908302"/>
                  </a:lnTo>
                  <a:lnTo>
                    <a:pt x="5334908" y="9883471"/>
                  </a:lnTo>
                  <a:lnTo>
                    <a:pt x="5373507" y="9818103"/>
                  </a:lnTo>
                  <a:lnTo>
                    <a:pt x="5403958" y="9761162"/>
                  </a:lnTo>
                  <a:lnTo>
                    <a:pt x="5444932" y="9713792"/>
                  </a:lnTo>
                  <a:lnTo>
                    <a:pt x="5460048" y="9696321"/>
                  </a:lnTo>
                  <a:lnTo>
                    <a:pt x="5479107" y="9682525"/>
                  </a:lnTo>
                  <a:lnTo>
                    <a:pt x="5493897" y="9664824"/>
                  </a:lnTo>
                  <a:lnTo>
                    <a:pt x="5536607" y="9613668"/>
                  </a:lnTo>
                  <a:lnTo>
                    <a:pt x="5575386" y="9558600"/>
                  </a:lnTo>
                  <a:lnTo>
                    <a:pt x="5617678" y="9507041"/>
                  </a:lnTo>
                  <a:lnTo>
                    <a:pt x="5652234" y="9464959"/>
                  </a:lnTo>
                  <a:lnTo>
                    <a:pt x="5703028" y="9447154"/>
                  </a:lnTo>
                  <a:lnTo>
                    <a:pt x="5737376" y="9407748"/>
                  </a:lnTo>
                  <a:lnTo>
                    <a:pt x="5803766" y="9424414"/>
                  </a:lnTo>
                  <a:lnTo>
                    <a:pt x="5844161" y="9458674"/>
                  </a:lnTo>
                  <a:lnTo>
                    <a:pt x="5888353" y="9483919"/>
                  </a:lnTo>
                  <a:lnTo>
                    <a:pt x="5914553" y="9494016"/>
                  </a:lnTo>
                  <a:lnTo>
                    <a:pt x="5963843" y="9519731"/>
                  </a:lnTo>
                  <a:lnTo>
                    <a:pt x="5997181" y="9550231"/>
                  </a:lnTo>
                  <a:lnTo>
                    <a:pt x="6029814" y="9576412"/>
                  </a:lnTo>
                  <a:lnTo>
                    <a:pt x="6051602" y="9608313"/>
                  </a:lnTo>
                  <a:lnTo>
                    <a:pt x="6065183" y="9629462"/>
                  </a:lnTo>
                  <a:lnTo>
                    <a:pt x="6078748" y="9650619"/>
                  </a:lnTo>
                  <a:lnTo>
                    <a:pt x="6093618" y="9669942"/>
                  </a:lnTo>
                  <a:lnTo>
                    <a:pt x="6301854" y="9655308"/>
                  </a:lnTo>
                  <a:lnTo>
                    <a:pt x="6329058" y="9634903"/>
                  </a:lnTo>
                  <a:lnTo>
                    <a:pt x="6361701" y="9556015"/>
                  </a:lnTo>
                  <a:lnTo>
                    <a:pt x="6436456" y="9554347"/>
                  </a:lnTo>
                  <a:lnTo>
                    <a:pt x="6490921" y="9551940"/>
                  </a:lnTo>
                  <a:lnTo>
                    <a:pt x="6535365" y="9549961"/>
                  </a:lnTo>
                  <a:lnTo>
                    <a:pt x="6577356" y="9538261"/>
                  </a:lnTo>
                  <a:lnTo>
                    <a:pt x="6599739" y="9528811"/>
                  </a:lnTo>
                  <a:lnTo>
                    <a:pt x="6582026" y="9485311"/>
                  </a:lnTo>
                  <a:lnTo>
                    <a:pt x="6568451" y="9462164"/>
                  </a:lnTo>
                  <a:lnTo>
                    <a:pt x="6553773" y="9437109"/>
                  </a:lnTo>
                  <a:lnTo>
                    <a:pt x="6539963" y="9412635"/>
                  </a:lnTo>
                  <a:lnTo>
                    <a:pt x="6546688" y="9311179"/>
                  </a:lnTo>
                  <a:lnTo>
                    <a:pt x="6551556" y="9241610"/>
                  </a:lnTo>
                  <a:lnTo>
                    <a:pt x="6560914" y="9200246"/>
                  </a:lnTo>
                  <a:lnTo>
                    <a:pt x="6561652" y="9158844"/>
                  </a:lnTo>
                  <a:lnTo>
                    <a:pt x="6562393" y="9117434"/>
                  </a:lnTo>
                  <a:lnTo>
                    <a:pt x="6554399" y="9076507"/>
                  </a:lnTo>
                  <a:lnTo>
                    <a:pt x="6529009" y="9005136"/>
                  </a:lnTo>
                  <a:lnTo>
                    <a:pt x="6508511" y="8947524"/>
                  </a:lnTo>
                  <a:lnTo>
                    <a:pt x="6497832" y="8892944"/>
                  </a:lnTo>
                  <a:lnTo>
                    <a:pt x="6485483" y="8832390"/>
                  </a:lnTo>
                  <a:lnTo>
                    <a:pt x="6477567" y="8796276"/>
                  </a:lnTo>
                  <a:lnTo>
                    <a:pt x="6474349" y="8759693"/>
                  </a:lnTo>
                  <a:lnTo>
                    <a:pt x="6478702" y="8726297"/>
                  </a:lnTo>
                  <a:lnTo>
                    <a:pt x="6489200" y="8697292"/>
                  </a:lnTo>
                  <a:lnTo>
                    <a:pt x="6514461" y="8679123"/>
                  </a:lnTo>
                  <a:lnTo>
                    <a:pt x="6557590" y="8675971"/>
                  </a:lnTo>
                  <a:lnTo>
                    <a:pt x="6607547" y="8674599"/>
                  </a:lnTo>
                  <a:lnTo>
                    <a:pt x="6665338" y="8705464"/>
                  </a:lnTo>
                  <a:lnTo>
                    <a:pt x="6699181" y="8732886"/>
                  </a:lnTo>
                  <a:lnTo>
                    <a:pt x="6746661" y="8749420"/>
                  </a:lnTo>
                  <a:lnTo>
                    <a:pt x="6802849" y="8768973"/>
                  </a:lnTo>
                  <a:lnTo>
                    <a:pt x="6878299" y="8763552"/>
                  </a:lnTo>
                  <a:lnTo>
                    <a:pt x="6937086" y="8767099"/>
                  </a:lnTo>
                  <a:lnTo>
                    <a:pt x="6983893" y="8742237"/>
                  </a:lnTo>
                  <a:lnTo>
                    <a:pt x="6998903" y="8708010"/>
                  </a:lnTo>
                  <a:lnTo>
                    <a:pt x="7022780" y="8682771"/>
                  </a:lnTo>
                  <a:lnTo>
                    <a:pt x="7053578" y="8650212"/>
                  </a:lnTo>
                  <a:lnTo>
                    <a:pt x="7083970" y="8632334"/>
                  </a:lnTo>
                  <a:lnTo>
                    <a:pt x="7113916" y="8622922"/>
                  </a:lnTo>
                  <a:lnTo>
                    <a:pt x="7143858" y="8613518"/>
                  </a:lnTo>
                  <a:lnTo>
                    <a:pt x="7173751" y="8613603"/>
                  </a:lnTo>
                  <a:lnTo>
                    <a:pt x="7203687" y="8620198"/>
                  </a:lnTo>
                  <a:lnTo>
                    <a:pt x="7233620" y="8626799"/>
                  </a:lnTo>
                  <a:lnTo>
                    <a:pt x="7264049" y="8638763"/>
                  </a:lnTo>
                  <a:lnTo>
                    <a:pt x="7294819" y="8654208"/>
                  </a:lnTo>
                  <a:lnTo>
                    <a:pt x="7325571" y="8669654"/>
                  </a:lnTo>
                  <a:lnTo>
                    <a:pt x="7356211" y="8688772"/>
                  </a:lnTo>
                  <a:lnTo>
                    <a:pt x="7388674" y="8705892"/>
                  </a:lnTo>
                  <a:lnTo>
                    <a:pt x="7423984" y="8724523"/>
                  </a:lnTo>
                  <a:lnTo>
                    <a:pt x="7491173" y="8762812"/>
                  </a:lnTo>
                  <a:lnTo>
                    <a:pt x="7526049" y="8775264"/>
                  </a:lnTo>
                  <a:lnTo>
                    <a:pt x="7553253" y="8786146"/>
                  </a:lnTo>
                  <a:lnTo>
                    <a:pt x="7579354" y="8806036"/>
                  </a:lnTo>
                  <a:lnTo>
                    <a:pt x="7605728" y="8836346"/>
                  </a:lnTo>
                  <a:lnTo>
                    <a:pt x="7629428" y="8859593"/>
                  </a:lnTo>
                  <a:lnTo>
                    <a:pt x="7663671" y="8844576"/>
                  </a:lnTo>
                  <a:lnTo>
                    <a:pt x="7678393" y="8816073"/>
                  </a:lnTo>
                  <a:lnTo>
                    <a:pt x="7686746" y="8784338"/>
                  </a:lnTo>
                  <a:lnTo>
                    <a:pt x="7677345" y="8745291"/>
                  </a:lnTo>
                  <a:lnTo>
                    <a:pt x="7648832" y="8736585"/>
                  </a:lnTo>
                  <a:lnTo>
                    <a:pt x="7621268" y="8727663"/>
                  </a:lnTo>
                  <a:lnTo>
                    <a:pt x="7593319" y="8719300"/>
                  </a:lnTo>
                  <a:lnTo>
                    <a:pt x="7570325" y="8706097"/>
                  </a:lnTo>
                  <a:lnTo>
                    <a:pt x="7555982" y="8685495"/>
                  </a:lnTo>
                  <a:lnTo>
                    <a:pt x="7555982" y="8646044"/>
                  </a:lnTo>
                  <a:lnTo>
                    <a:pt x="7578895" y="8601653"/>
                  </a:lnTo>
                  <a:lnTo>
                    <a:pt x="7594063" y="8578038"/>
                  </a:lnTo>
                  <a:lnTo>
                    <a:pt x="7609213" y="8554427"/>
                  </a:lnTo>
                  <a:lnTo>
                    <a:pt x="7627134" y="8534313"/>
                  </a:lnTo>
                  <a:lnTo>
                    <a:pt x="7649830" y="8534510"/>
                  </a:lnTo>
                  <a:lnTo>
                    <a:pt x="7689195" y="8556565"/>
                  </a:lnTo>
                  <a:lnTo>
                    <a:pt x="7713764" y="8568514"/>
                  </a:lnTo>
                  <a:lnTo>
                    <a:pt x="7738315" y="8580470"/>
                  </a:lnTo>
                  <a:lnTo>
                    <a:pt x="7762884" y="8587732"/>
                  </a:lnTo>
                  <a:lnTo>
                    <a:pt x="7799713" y="8557540"/>
                  </a:lnTo>
                  <a:lnTo>
                    <a:pt x="7803843" y="8529869"/>
                  </a:lnTo>
                  <a:lnTo>
                    <a:pt x="7806255" y="8500508"/>
                  </a:lnTo>
                  <a:lnTo>
                    <a:pt x="7808648" y="8471140"/>
                  </a:lnTo>
                  <a:lnTo>
                    <a:pt x="7810261" y="8440190"/>
                  </a:lnTo>
                  <a:lnTo>
                    <a:pt x="7826663" y="8416178"/>
                  </a:lnTo>
                  <a:lnTo>
                    <a:pt x="7842556" y="8402066"/>
                  </a:lnTo>
                  <a:lnTo>
                    <a:pt x="7882430" y="8394409"/>
                  </a:lnTo>
                  <a:lnTo>
                    <a:pt x="7903297" y="8391263"/>
                  </a:lnTo>
                  <a:lnTo>
                    <a:pt x="7930036" y="8401214"/>
                  </a:lnTo>
                  <a:lnTo>
                    <a:pt x="7949601" y="8418051"/>
                  </a:lnTo>
                  <a:lnTo>
                    <a:pt x="7964868" y="8441503"/>
                  </a:lnTo>
                  <a:lnTo>
                    <a:pt x="7980359" y="8466503"/>
                  </a:lnTo>
                  <a:lnTo>
                    <a:pt x="7999917" y="8489962"/>
                  </a:lnTo>
                  <a:lnTo>
                    <a:pt x="8025789" y="8503969"/>
                  </a:lnTo>
                  <a:lnTo>
                    <a:pt x="8053812" y="8507307"/>
                  </a:lnTo>
                  <a:lnTo>
                    <a:pt x="8083205" y="8507175"/>
                  </a:lnTo>
                  <a:lnTo>
                    <a:pt x="8114193" y="8501979"/>
                  </a:lnTo>
                  <a:lnTo>
                    <a:pt x="8144944" y="8493702"/>
                  </a:lnTo>
                  <a:lnTo>
                    <a:pt x="8171746" y="8485873"/>
                  </a:lnTo>
                  <a:lnTo>
                    <a:pt x="8196898" y="8479061"/>
                  </a:lnTo>
                  <a:lnTo>
                    <a:pt x="8200711" y="8442017"/>
                  </a:lnTo>
                  <a:lnTo>
                    <a:pt x="8200711" y="8420037"/>
                  </a:lnTo>
                  <a:lnTo>
                    <a:pt x="8197183" y="8391105"/>
                  </a:lnTo>
                  <a:lnTo>
                    <a:pt x="8193909" y="8363122"/>
                  </a:lnTo>
                  <a:lnTo>
                    <a:pt x="8190647" y="8335147"/>
                  </a:lnTo>
                  <a:lnTo>
                    <a:pt x="8187925" y="8307349"/>
                  </a:lnTo>
                  <a:lnTo>
                    <a:pt x="8192557" y="8285592"/>
                  </a:lnTo>
                  <a:lnTo>
                    <a:pt x="8198448" y="8265420"/>
                  </a:lnTo>
                  <a:lnTo>
                    <a:pt x="8220245" y="8246439"/>
                  </a:lnTo>
                  <a:lnTo>
                    <a:pt x="8275528" y="8255665"/>
                  </a:lnTo>
                  <a:lnTo>
                    <a:pt x="8298479" y="8212462"/>
                  </a:lnTo>
                  <a:lnTo>
                    <a:pt x="8311278" y="8159564"/>
                  </a:lnTo>
                  <a:lnTo>
                    <a:pt x="8324499" y="8112846"/>
                  </a:lnTo>
                  <a:lnTo>
                    <a:pt x="8403434" y="8076738"/>
                  </a:lnTo>
                  <a:lnTo>
                    <a:pt x="8454966" y="8014529"/>
                  </a:lnTo>
                  <a:lnTo>
                    <a:pt x="8494523" y="7997231"/>
                  </a:lnTo>
                  <a:lnTo>
                    <a:pt x="8537578" y="8004854"/>
                  </a:lnTo>
                  <a:lnTo>
                    <a:pt x="8566618" y="8006753"/>
                  </a:lnTo>
                  <a:lnTo>
                    <a:pt x="8595639" y="8008640"/>
                  </a:lnTo>
                  <a:lnTo>
                    <a:pt x="8624233" y="8007347"/>
                  </a:lnTo>
                  <a:lnTo>
                    <a:pt x="8655524" y="7986514"/>
                  </a:lnTo>
                  <a:lnTo>
                    <a:pt x="8668627" y="7960503"/>
                  </a:lnTo>
                  <a:lnTo>
                    <a:pt x="8671021" y="7935113"/>
                  </a:lnTo>
                  <a:lnTo>
                    <a:pt x="8660820" y="7909723"/>
                  </a:lnTo>
                  <a:lnTo>
                    <a:pt x="8644163" y="7884333"/>
                  </a:lnTo>
                  <a:lnTo>
                    <a:pt x="8628791" y="7857400"/>
                  </a:lnTo>
                  <a:lnTo>
                    <a:pt x="8624344" y="7813391"/>
                  </a:lnTo>
                  <a:lnTo>
                    <a:pt x="8641422" y="7786503"/>
                  </a:lnTo>
                  <a:lnTo>
                    <a:pt x="8644163" y="7756471"/>
                  </a:lnTo>
                  <a:lnTo>
                    <a:pt x="8621473" y="7736370"/>
                  </a:lnTo>
                  <a:lnTo>
                    <a:pt x="8593394" y="7722171"/>
                  </a:lnTo>
                  <a:lnTo>
                    <a:pt x="8578877" y="7695264"/>
                  </a:lnTo>
                  <a:lnTo>
                    <a:pt x="8635327" y="7587707"/>
                  </a:lnTo>
                  <a:lnTo>
                    <a:pt x="8652640" y="7555900"/>
                  </a:lnTo>
                  <a:lnTo>
                    <a:pt x="8675442" y="7540203"/>
                  </a:lnTo>
                  <a:lnTo>
                    <a:pt x="8702591" y="7531221"/>
                  </a:lnTo>
                  <a:lnTo>
                    <a:pt x="8729913" y="7527423"/>
                  </a:lnTo>
                  <a:lnTo>
                    <a:pt x="8755698" y="7522522"/>
                  </a:lnTo>
                  <a:lnTo>
                    <a:pt x="8776837" y="7514517"/>
                  </a:lnTo>
                  <a:lnTo>
                    <a:pt x="8800923" y="7483145"/>
                  </a:lnTo>
                  <a:lnTo>
                    <a:pt x="8804662" y="7447710"/>
                  </a:lnTo>
                  <a:lnTo>
                    <a:pt x="8799658" y="7413549"/>
                  </a:lnTo>
                  <a:lnTo>
                    <a:pt x="8798759" y="7378497"/>
                  </a:lnTo>
                  <a:lnTo>
                    <a:pt x="8819619" y="7337535"/>
                  </a:lnTo>
                  <a:lnTo>
                    <a:pt x="8836741" y="7315812"/>
                  </a:lnTo>
                  <a:lnTo>
                    <a:pt x="8867083" y="7291470"/>
                  </a:lnTo>
                  <a:lnTo>
                    <a:pt x="8918919" y="7261365"/>
                  </a:lnTo>
                  <a:lnTo>
                    <a:pt x="8954960" y="7240433"/>
                  </a:lnTo>
                  <a:lnTo>
                    <a:pt x="8991584" y="7225739"/>
                  </a:lnTo>
                  <a:lnTo>
                    <a:pt x="9027737" y="7206957"/>
                  </a:lnTo>
                  <a:lnTo>
                    <a:pt x="9057323" y="7191611"/>
                  </a:lnTo>
                  <a:lnTo>
                    <a:pt x="9079430" y="7161788"/>
                  </a:lnTo>
                  <a:lnTo>
                    <a:pt x="9105270" y="7141666"/>
                  </a:lnTo>
                  <a:lnTo>
                    <a:pt x="9132003" y="7120900"/>
                  </a:lnTo>
                  <a:lnTo>
                    <a:pt x="9172019" y="7118987"/>
                  </a:lnTo>
                  <a:lnTo>
                    <a:pt x="9201835" y="7102222"/>
                  </a:lnTo>
                  <a:lnTo>
                    <a:pt x="9261651" y="7068576"/>
                  </a:lnTo>
                  <a:lnTo>
                    <a:pt x="9319837" y="7031532"/>
                  </a:lnTo>
                  <a:lnTo>
                    <a:pt x="9378674" y="6996125"/>
                  </a:lnTo>
                  <a:lnTo>
                    <a:pt x="9420166" y="6975106"/>
                  </a:lnTo>
                  <a:lnTo>
                    <a:pt x="9501041" y="6927247"/>
                  </a:lnTo>
                  <a:lnTo>
                    <a:pt x="9575902" y="6879145"/>
                  </a:lnTo>
                  <a:lnTo>
                    <a:pt x="9650750" y="6831040"/>
                  </a:lnTo>
                  <a:lnTo>
                    <a:pt x="9719936" y="6782687"/>
                  </a:lnTo>
                  <a:lnTo>
                    <a:pt x="9697346" y="6726083"/>
                  </a:lnTo>
                  <a:lnTo>
                    <a:pt x="9669112" y="6681448"/>
                  </a:lnTo>
                  <a:lnTo>
                    <a:pt x="9637107" y="6642472"/>
                  </a:lnTo>
                  <a:lnTo>
                    <a:pt x="9614126" y="6634142"/>
                  </a:lnTo>
                  <a:lnTo>
                    <a:pt x="9582785" y="6645401"/>
                  </a:lnTo>
                  <a:lnTo>
                    <a:pt x="9559574" y="6647914"/>
                  </a:lnTo>
                  <a:lnTo>
                    <a:pt x="9525579" y="6648684"/>
                  </a:lnTo>
                  <a:lnTo>
                    <a:pt x="9502443" y="6646554"/>
                  </a:lnTo>
                  <a:lnTo>
                    <a:pt x="9479325" y="6644424"/>
                  </a:lnTo>
                  <a:lnTo>
                    <a:pt x="9454266" y="6640771"/>
                  </a:lnTo>
                  <a:lnTo>
                    <a:pt x="9428996" y="6635673"/>
                  </a:lnTo>
                  <a:lnTo>
                    <a:pt x="9403726" y="6630575"/>
                  </a:lnTo>
                  <a:lnTo>
                    <a:pt x="9378264" y="6624066"/>
                  </a:lnTo>
                  <a:lnTo>
                    <a:pt x="9358265" y="6616633"/>
                  </a:lnTo>
                  <a:lnTo>
                    <a:pt x="9338261" y="6609195"/>
                  </a:lnTo>
                  <a:lnTo>
                    <a:pt x="9316098" y="6592147"/>
                  </a:lnTo>
                  <a:lnTo>
                    <a:pt x="9347810" y="6567258"/>
                  </a:lnTo>
                  <a:lnTo>
                    <a:pt x="9439755" y="6413681"/>
                  </a:lnTo>
                  <a:lnTo>
                    <a:pt x="9449404" y="6381314"/>
                  </a:lnTo>
                  <a:lnTo>
                    <a:pt x="9492955" y="6366272"/>
                  </a:lnTo>
                  <a:lnTo>
                    <a:pt x="9535470" y="6374172"/>
                  </a:lnTo>
                  <a:lnTo>
                    <a:pt x="9579982" y="6371791"/>
                  </a:lnTo>
                  <a:lnTo>
                    <a:pt x="9617599" y="6364075"/>
                  </a:lnTo>
                  <a:lnTo>
                    <a:pt x="9688075" y="6362334"/>
                  </a:lnTo>
                  <a:lnTo>
                    <a:pt x="9767220" y="6357843"/>
                  </a:lnTo>
                  <a:lnTo>
                    <a:pt x="9818014" y="6366351"/>
                  </a:lnTo>
                  <a:lnTo>
                    <a:pt x="9855618" y="6372655"/>
                  </a:lnTo>
                  <a:lnTo>
                    <a:pt x="9897216" y="6384493"/>
                  </a:lnTo>
                  <a:lnTo>
                    <a:pt x="9940425" y="6398996"/>
                  </a:lnTo>
                  <a:lnTo>
                    <a:pt x="9983641" y="6413497"/>
                  </a:lnTo>
                  <a:lnTo>
                    <a:pt x="10028606" y="6430947"/>
                  </a:lnTo>
                  <a:lnTo>
                    <a:pt x="10073726" y="6446603"/>
                  </a:lnTo>
                  <a:lnTo>
                    <a:pt x="10118858" y="6462254"/>
                  </a:lnTo>
                  <a:lnTo>
                    <a:pt x="10163674" y="6476301"/>
                  </a:lnTo>
                  <a:lnTo>
                    <a:pt x="10207032" y="6486048"/>
                  </a:lnTo>
                  <a:lnTo>
                    <a:pt x="10250385" y="6495788"/>
                  </a:lnTo>
                  <a:lnTo>
                    <a:pt x="10291536" y="6501513"/>
                  </a:lnTo>
                  <a:lnTo>
                    <a:pt x="10329443" y="6498289"/>
                  </a:lnTo>
                  <a:lnTo>
                    <a:pt x="10500838" y="6483331"/>
                  </a:lnTo>
                  <a:lnTo>
                    <a:pt x="10517587" y="6442660"/>
                  </a:lnTo>
                  <a:lnTo>
                    <a:pt x="10521239" y="6418035"/>
                  </a:lnTo>
                  <a:lnTo>
                    <a:pt x="10524855" y="6393416"/>
                  </a:lnTo>
                  <a:lnTo>
                    <a:pt x="10528389" y="6369049"/>
                  </a:lnTo>
                  <a:lnTo>
                    <a:pt x="10540444" y="6335810"/>
                  </a:lnTo>
                  <a:lnTo>
                    <a:pt x="10561789" y="6300850"/>
                  </a:lnTo>
                  <a:lnTo>
                    <a:pt x="10601991" y="6286032"/>
                  </a:lnTo>
                  <a:lnTo>
                    <a:pt x="10655582" y="6263463"/>
                  </a:lnTo>
                  <a:lnTo>
                    <a:pt x="10701080" y="6233753"/>
                  </a:lnTo>
                  <a:lnTo>
                    <a:pt x="10745672" y="6208567"/>
                  </a:lnTo>
                  <a:lnTo>
                    <a:pt x="10738870" y="6150077"/>
                  </a:lnTo>
                  <a:lnTo>
                    <a:pt x="10752332" y="6131723"/>
                  </a:lnTo>
                  <a:lnTo>
                    <a:pt x="10774706" y="6116971"/>
                  </a:lnTo>
                  <a:lnTo>
                    <a:pt x="10794637" y="6101110"/>
                  </a:lnTo>
                  <a:lnTo>
                    <a:pt x="10814561" y="6085257"/>
                  </a:lnTo>
                  <a:lnTo>
                    <a:pt x="10831459" y="6068703"/>
                  </a:lnTo>
                  <a:lnTo>
                    <a:pt x="10832724" y="6045344"/>
                  </a:lnTo>
                  <a:lnTo>
                    <a:pt x="10825922" y="6019498"/>
                  </a:lnTo>
                  <a:lnTo>
                    <a:pt x="10819119" y="5993653"/>
                  </a:lnTo>
                  <a:lnTo>
                    <a:pt x="10802797" y="5973254"/>
                  </a:lnTo>
                  <a:lnTo>
                    <a:pt x="10786476" y="5952851"/>
                  </a:lnTo>
                  <a:lnTo>
                    <a:pt x="10765733" y="5940036"/>
                  </a:lnTo>
                  <a:lnTo>
                    <a:pt x="10743359" y="5939041"/>
                  </a:lnTo>
                  <a:lnTo>
                    <a:pt x="10721184" y="5937886"/>
                  </a:lnTo>
                  <a:lnTo>
                    <a:pt x="10699002" y="5936732"/>
                  </a:lnTo>
                  <a:lnTo>
                    <a:pt x="10677813" y="5935974"/>
                  </a:lnTo>
                  <a:lnTo>
                    <a:pt x="10645412" y="5913841"/>
                  </a:lnTo>
                  <a:lnTo>
                    <a:pt x="10631416" y="5880760"/>
                  </a:lnTo>
                  <a:lnTo>
                    <a:pt x="10628017" y="5844370"/>
                  </a:lnTo>
                  <a:lnTo>
                    <a:pt x="10638206" y="5786230"/>
                  </a:lnTo>
                  <a:lnTo>
                    <a:pt x="10655321" y="5746206"/>
                  </a:lnTo>
                  <a:lnTo>
                    <a:pt x="10662701" y="5717538"/>
                  </a:lnTo>
                  <a:lnTo>
                    <a:pt x="10671376" y="5683831"/>
                  </a:lnTo>
                  <a:lnTo>
                    <a:pt x="10676938" y="5629449"/>
                  </a:lnTo>
                  <a:lnTo>
                    <a:pt x="10674942" y="5574711"/>
                  </a:lnTo>
                  <a:lnTo>
                    <a:pt x="10673937" y="5547350"/>
                  </a:lnTo>
                  <a:lnTo>
                    <a:pt x="10671023" y="5519981"/>
                  </a:lnTo>
                  <a:lnTo>
                    <a:pt x="10665411" y="5495823"/>
                  </a:lnTo>
                  <a:lnTo>
                    <a:pt x="10659811" y="5471666"/>
                  </a:lnTo>
                  <a:lnTo>
                    <a:pt x="10651092" y="5449903"/>
                  </a:lnTo>
                  <a:lnTo>
                    <a:pt x="10619906" y="5408499"/>
                  </a:lnTo>
                  <a:lnTo>
                    <a:pt x="10590345" y="5382265"/>
                  </a:lnTo>
                  <a:lnTo>
                    <a:pt x="10567482" y="5358445"/>
                  </a:lnTo>
                  <a:lnTo>
                    <a:pt x="10621562" y="5261764"/>
                  </a:lnTo>
                  <a:lnTo>
                    <a:pt x="10632768" y="5238747"/>
                  </a:lnTo>
                  <a:lnTo>
                    <a:pt x="10649089" y="5225123"/>
                  </a:lnTo>
                  <a:lnTo>
                    <a:pt x="10673193" y="5219009"/>
                  </a:lnTo>
                  <a:lnTo>
                    <a:pt x="10698053" y="5214260"/>
                  </a:lnTo>
                  <a:lnTo>
                    <a:pt x="10722945" y="5209512"/>
                  </a:lnTo>
                  <a:lnTo>
                    <a:pt x="10748407" y="5206208"/>
                  </a:lnTo>
                  <a:lnTo>
                    <a:pt x="10768784" y="5197939"/>
                  </a:lnTo>
                  <a:lnTo>
                    <a:pt x="10783382" y="5165412"/>
                  </a:lnTo>
                  <a:lnTo>
                    <a:pt x="10785106" y="5143530"/>
                  </a:lnTo>
                  <a:lnTo>
                    <a:pt x="10786854" y="5121649"/>
                  </a:lnTo>
                  <a:lnTo>
                    <a:pt x="10786203" y="5096700"/>
                  </a:lnTo>
                  <a:lnTo>
                    <a:pt x="10786464" y="5071441"/>
                  </a:lnTo>
                  <a:lnTo>
                    <a:pt x="10786929" y="5046184"/>
                  </a:lnTo>
                  <a:lnTo>
                    <a:pt x="10788591" y="5019784"/>
                  </a:lnTo>
                  <a:lnTo>
                    <a:pt x="10794624" y="4995270"/>
                  </a:lnTo>
                  <a:lnTo>
                    <a:pt x="10800670" y="4970757"/>
                  </a:lnTo>
                  <a:lnTo>
                    <a:pt x="10810909" y="4948262"/>
                  </a:lnTo>
                  <a:lnTo>
                    <a:pt x="10829996" y="4928622"/>
                  </a:lnTo>
                  <a:lnTo>
                    <a:pt x="10855706" y="4902157"/>
                  </a:lnTo>
                  <a:lnTo>
                    <a:pt x="10902977" y="4883776"/>
                  </a:lnTo>
                  <a:lnTo>
                    <a:pt x="10934727" y="4866050"/>
                  </a:lnTo>
                  <a:lnTo>
                    <a:pt x="10951533" y="4841174"/>
                  </a:lnTo>
                  <a:lnTo>
                    <a:pt x="10947861" y="4801155"/>
                  </a:lnTo>
                  <a:lnTo>
                    <a:pt x="10941170" y="4777645"/>
                  </a:lnTo>
                  <a:lnTo>
                    <a:pt x="10932005" y="4753152"/>
                  </a:lnTo>
                  <a:lnTo>
                    <a:pt x="10913693" y="4704172"/>
                  </a:lnTo>
                  <a:lnTo>
                    <a:pt x="10889118" y="4654049"/>
                  </a:lnTo>
                  <a:lnTo>
                    <a:pt x="10906462" y="4631648"/>
                  </a:lnTo>
                  <a:lnTo>
                    <a:pt x="10937444" y="4638895"/>
                  </a:lnTo>
                  <a:lnTo>
                    <a:pt x="10952109" y="4603012"/>
                  </a:lnTo>
                  <a:lnTo>
                    <a:pt x="10930647" y="4576328"/>
                  </a:lnTo>
                  <a:lnTo>
                    <a:pt x="10904317" y="4552594"/>
                  </a:lnTo>
                  <a:lnTo>
                    <a:pt x="10890352" y="4504431"/>
                  </a:lnTo>
                  <a:lnTo>
                    <a:pt x="10886309" y="4464492"/>
                  </a:lnTo>
                  <a:lnTo>
                    <a:pt x="10865355" y="4437585"/>
                  </a:lnTo>
                  <a:lnTo>
                    <a:pt x="10891784" y="4388579"/>
                  </a:lnTo>
                  <a:lnTo>
                    <a:pt x="10938163" y="4381311"/>
                  </a:lnTo>
                  <a:lnTo>
                    <a:pt x="10968722" y="4354615"/>
                  </a:lnTo>
                  <a:lnTo>
                    <a:pt x="10982334" y="4335207"/>
                  </a:lnTo>
                  <a:lnTo>
                    <a:pt x="10982315" y="4311458"/>
                  </a:lnTo>
                  <a:lnTo>
                    <a:pt x="10979630" y="4282526"/>
                  </a:lnTo>
                  <a:lnTo>
                    <a:pt x="10984765" y="4248548"/>
                  </a:lnTo>
                  <a:lnTo>
                    <a:pt x="10997303" y="4228119"/>
                  </a:lnTo>
                  <a:lnTo>
                    <a:pt x="11009879" y="4207687"/>
                  </a:lnTo>
                  <a:lnTo>
                    <a:pt x="11031273" y="4184810"/>
                  </a:lnTo>
                  <a:lnTo>
                    <a:pt x="11066682" y="4158746"/>
                  </a:lnTo>
                  <a:lnTo>
                    <a:pt x="11081360" y="4130171"/>
                  </a:lnTo>
                  <a:lnTo>
                    <a:pt x="11075624" y="4092870"/>
                  </a:lnTo>
                  <a:lnTo>
                    <a:pt x="11068034" y="4055371"/>
                  </a:lnTo>
                  <a:lnTo>
                    <a:pt x="11060462" y="4017873"/>
                  </a:lnTo>
                  <a:lnTo>
                    <a:pt x="11050478" y="3979563"/>
                  </a:lnTo>
                  <a:lnTo>
                    <a:pt x="11054435" y="3947914"/>
                  </a:lnTo>
                  <a:lnTo>
                    <a:pt x="11057870" y="3920572"/>
                  </a:lnTo>
                  <a:lnTo>
                    <a:pt x="11070663" y="3895755"/>
                  </a:lnTo>
                  <a:lnTo>
                    <a:pt x="11074837" y="3869026"/>
                  </a:lnTo>
                  <a:lnTo>
                    <a:pt x="11077181" y="3842843"/>
                  </a:lnTo>
                  <a:lnTo>
                    <a:pt x="11069783" y="3813595"/>
                  </a:lnTo>
                  <a:lnTo>
                    <a:pt x="11047645" y="3780614"/>
                  </a:lnTo>
                  <a:lnTo>
                    <a:pt x="11024372" y="3769021"/>
                  </a:lnTo>
                  <a:lnTo>
                    <a:pt x="10994749" y="3770444"/>
                  </a:lnTo>
                  <a:lnTo>
                    <a:pt x="10961957" y="3780614"/>
                  </a:lnTo>
                  <a:lnTo>
                    <a:pt x="10929562" y="3792596"/>
                  </a:lnTo>
                  <a:lnTo>
                    <a:pt x="10897471" y="3811611"/>
                  </a:lnTo>
                  <a:lnTo>
                    <a:pt x="10858186" y="3809836"/>
                  </a:lnTo>
                  <a:lnTo>
                    <a:pt x="10851551" y="3784907"/>
                  </a:lnTo>
                  <a:lnTo>
                    <a:pt x="10847694" y="3762927"/>
                  </a:lnTo>
                  <a:lnTo>
                    <a:pt x="10852605" y="3739020"/>
                  </a:lnTo>
                  <a:lnTo>
                    <a:pt x="10938361" y="3617964"/>
                  </a:lnTo>
                  <a:lnTo>
                    <a:pt x="10968251" y="3600250"/>
                  </a:lnTo>
                  <a:lnTo>
                    <a:pt x="10992969" y="3608460"/>
                  </a:lnTo>
                  <a:lnTo>
                    <a:pt x="11019076" y="3617390"/>
                  </a:lnTo>
                  <a:lnTo>
                    <a:pt x="11045214" y="3626287"/>
                  </a:lnTo>
                  <a:lnTo>
                    <a:pt x="11072300" y="3636944"/>
                  </a:lnTo>
                  <a:lnTo>
                    <a:pt x="11093291" y="3609411"/>
                  </a:lnTo>
                  <a:lnTo>
                    <a:pt x="11100658" y="3582846"/>
                  </a:lnTo>
                  <a:lnTo>
                    <a:pt x="11110208" y="3558901"/>
                  </a:lnTo>
                  <a:lnTo>
                    <a:pt x="11119758" y="3534947"/>
                  </a:lnTo>
                  <a:lnTo>
                    <a:pt x="11132396" y="3513376"/>
                  </a:lnTo>
                  <a:lnTo>
                    <a:pt x="11149660" y="3496328"/>
                  </a:lnTo>
                  <a:lnTo>
                    <a:pt x="11233438" y="3457648"/>
                  </a:lnTo>
                  <a:lnTo>
                    <a:pt x="11237828" y="3423058"/>
                  </a:lnTo>
                  <a:lnTo>
                    <a:pt x="11200032" y="3389971"/>
                  </a:lnTo>
                  <a:lnTo>
                    <a:pt x="11159185" y="3358950"/>
                  </a:lnTo>
                  <a:lnTo>
                    <a:pt x="11118326" y="3327927"/>
                  </a:lnTo>
                  <a:lnTo>
                    <a:pt x="11073807" y="3298659"/>
                  </a:lnTo>
                  <a:lnTo>
                    <a:pt x="11055811" y="3286860"/>
                  </a:lnTo>
                  <a:lnTo>
                    <a:pt x="11060239" y="3252197"/>
                  </a:lnTo>
                  <a:lnTo>
                    <a:pt x="11087115" y="3225653"/>
                  </a:lnTo>
                  <a:lnTo>
                    <a:pt x="11120843" y="3203884"/>
                  </a:lnTo>
                  <a:lnTo>
                    <a:pt x="11140160" y="3195726"/>
                  </a:lnTo>
                  <a:lnTo>
                    <a:pt x="11178793" y="3179417"/>
                  </a:lnTo>
                  <a:lnTo>
                    <a:pt x="11222065" y="3170131"/>
                  </a:lnTo>
                  <a:lnTo>
                    <a:pt x="11255781" y="3167163"/>
                  </a:lnTo>
                  <a:lnTo>
                    <a:pt x="11296876" y="3169056"/>
                  </a:lnTo>
                  <a:lnTo>
                    <a:pt x="11326536" y="3163892"/>
                  </a:lnTo>
                  <a:lnTo>
                    <a:pt x="11354516" y="3149205"/>
                  </a:lnTo>
                  <a:lnTo>
                    <a:pt x="11359154" y="3118196"/>
                  </a:lnTo>
                  <a:lnTo>
                    <a:pt x="11276176" y="3066512"/>
                  </a:lnTo>
                  <a:lnTo>
                    <a:pt x="11222586" y="2999343"/>
                  </a:lnTo>
                  <a:lnTo>
                    <a:pt x="11190489" y="2938650"/>
                  </a:lnTo>
                  <a:lnTo>
                    <a:pt x="11164053" y="2888687"/>
                  </a:lnTo>
                  <a:lnTo>
                    <a:pt x="11147477" y="2850180"/>
                  </a:lnTo>
                  <a:lnTo>
                    <a:pt x="11137438" y="2825752"/>
                  </a:lnTo>
                  <a:lnTo>
                    <a:pt x="11115678" y="2829827"/>
                  </a:lnTo>
                  <a:lnTo>
                    <a:pt x="11097229" y="2768257"/>
                  </a:lnTo>
                  <a:lnTo>
                    <a:pt x="11134083" y="2705500"/>
                  </a:lnTo>
                  <a:lnTo>
                    <a:pt x="11117036" y="2657087"/>
                  </a:lnTo>
                  <a:lnTo>
                    <a:pt x="11085118" y="2614879"/>
                  </a:lnTo>
                  <a:lnTo>
                    <a:pt x="11056890" y="2577492"/>
                  </a:lnTo>
                  <a:lnTo>
                    <a:pt x="11041084" y="2536348"/>
                  </a:lnTo>
                  <a:lnTo>
                    <a:pt x="11028626" y="2508820"/>
                  </a:lnTo>
                  <a:lnTo>
                    <a:pt x="11008900" y="2465149"/>
                  </a:lnTo>
                  <a:lnTo>
                    <a:pt x="10958403" y="2412060"/>
                  </a:lnTo>
                  <a:lnTo>
                    <a:pt x="10932049" y="2368724"/>
                  </a:lnTo>
                  <a:lnTo>
                    <a:pt x="10919987" y="2348788"/>
                  </a:lnTo>
                  <a:lnTo>
                    <a:pt x="10898420" y="2331826"/>
                  </a:lnTo>
                  <a:lnTo>
                    <a:pt x="10885806" y="2311593"/>
                  </a:lnTo>
                  <a:lnTo>
                    <a:pt x="10863278" y="2275526"/>
                  </a:lnTo>
                  <a:lnTo>
                    <a:pt x="10835137" y="2238080"/>
                  </a:lnTo>
                  <a:lnTo>
                    <a:pt x="10819150" y="2194619"/>
                  </a:lnTo>
                  <a:lnTo>
                    <a:pt x="10792752" y="2167626"/>
                  </a:lnTo>
                  <a:lnTo>
                    <a:pt x="10735719" y="2132429"/>
                  </a:lnTo>
                  <a:lnTo>
                    <a:pt x="10686067" y="2116661"/>
                  </a:lnTo>
                  <a:lnTo>
                    <a:pt x="10642330" y="2096684"/>
                  </a:lnTo>
                  <a:lnTo>
                    <a:pt x="10561187" y="2059615"/>
                  </a:lnTo>
                  <a:lnTo>
                    <a:pt x="10493173" y="2004508"/>
                  </a:lnTo>
                  <a:lnTo>
                    <a:pt x="10408372" y="1971546"/>
                  </a:lnTo>
                  <a:lnTo>
                    <a:pt x="10346825" y="1947594"/>
                  </a:lnTo>
                  <a:lnTo>
                    <a:pt x="10259934" y="1933606"/>
                  </a:lnTo>
                  <a:lnTo>
                    <a:pt x="10205705" y="1908974"/>
                  </a:lnTo>
                  <a:lnTo>
                    <a:pt x="10161665" y="1878453"/>
                  </a:lnTo>
                  <a:lnTo>
                    <a:pt x="10145858" y="1864089"/>
                  </a:lnTo>
                  <a:lnTo>
                    <a:pt x="10108874" y="1830613"/>
                  </a:lnTo>
                  <a:lnTo>
                    <a:pt x="10091269" y="1751745"/>
                  </a:lnTo>
                  <a:lnTo>
                    <a:pt x="10079208" y="1704948"/>
                  </a:lnTo>
                  <a:lnTo>
                    <a:pt x="10055662" y="1613536"/>
                  </a:lnTo>
                  <a:lnTo>
                    <a:pt x="9963878" y="1519024"/>
                  </a:lnTo>
                  <a:lnTo>
                    <a:pt x="9906461" y="1445148"/>
                  </a:lnTo>
                  <a:lnTo>
                    <a:pt x="9882271" y="1414080"/>
                  </a:lnTo>
                  <a:lnTo>
                    <a:pt x="9864535" y="1376119"/>
                  </a:lnTo>
                  <a:lnTo>
                    <a:pt x="9841176" y="1344490"/>
                  </a:lnTo>
                  <a:lnTo>
                    <a:pt x="9818634" y="1318968"/>
                  </a:lnTo>
                  <a:lnTo>
                    <a:pt x="9782891" y="1265285"/>
                  </a:lnTo>
                  <a:lnTo>
                    <a:pt x="9677775" y="1198763"/>
                  </a:lnTo>
                  <a:lnTo>
                    <a:pt x="9683387" y="1155427"/>
                  </a:lnTo>
                  <a:lnTo>
                    <a:pt x="9686171" y="1133532"/>
                  </a:lnTo>
                  <a:lnTo>
                    <a:pt x="9709953" y="1100274"/>
                  </a:lnTo>
                  <a:lnTo>
                    <a:pt x="9717394" y="1076533"/>
                  </a:lnTo>
                  <a:lnTo>
                    <a:pt x="9745839" y="985444"/>
                  </a:lnTo>
                  <a:lnTo>
                    <a:pt x="9735167" y="950292"/>
                  </a:lnTo>
                  <a:lnTo>
                    <a:pt x="9743240" y="864341"/>
                  </a:lnTo>
                  <a:lnTo>
                    <a:pt x="9746068" y="834203"/>
                  </a:lnTo>
                  <a:lnTo>
                    <a:pt x="9761038" y="806854"/>
                  </a:lnTo>
                  <a:lnTo>
                    <a:pt x="9765000" y="777289"/>
                  </a:lnTo>
                  <a:lnTo>
                    <a:pt x="9767828" y="755420"/>
                  </a:lnTo>
                  <a:lnTo>
                    <a:pt x="9759388" y="726304"/>
                  </a:lnTo>
                  <a:lnTo>
                    <a:pt x="9750037" y="706558"/>
                  </a:lnTo>
                  <a:lnTo>
                    <a:pt x="9716414" y="635848"/>
                  </a:lnTo>
                  <a:lnTo>
                    <a:pt x="9627620" y="643036"/>
                  </a:lnTo>
                  <a:lnTo>
                    <a:pt x="9562327" y="629028"/>
                  </a:lnTo>
                  <a:lnTo>
                    <a:pt x="9524631" y="620950"/>
                  </a:lnTo>
                  <a:lnTo>
                    <a:pt x="9485427" y="604904"/>
                  </a:lnTo>
                  <a:lnTo>
                    <a:pt x="9449435" y="592302"/>
                  </a:lnTo>
                  <a:lnTo>
                    <a:pt x="9405184" y="576830"/>
                  </a:lnTo>
                  <a:lnTo>
                    <a:pt x="9398127" y="541383"/>
                  </a:lnTo>
                  <a:lnTo>
                    <a:pt x="9369180" y="520213"/>
                  </a:lnTo>
                  <a:lnTo>
                    <a:pt x="9327185" y="499894"/>
                  </a:lnTo>
                  <a:lnTo>
                    <a:pt x="9311242" y="480426"/>
                  </a:lnTo>
                  <a:lnTo>
                    <a:pt x="9287950" y="447082"/>
                  </a:lnTo>
                  <a:lnTo>
                    <a:pt x="9194263" y="231765"/>
                  </a:lnTo>
                  <a:lnTo>
                    <a:pt x="9188279" y="210087"/>
                  </a:lnTo>
                  <a:lnTo>
                    <a:pt x="9175021" y="162393"/>
                  </a:lnTo>
                  <a:lnTo>
                    <a:pt x="9216792" y="34069"/>
                  </a:lnTo>
                  <a:lnTo>
                    <a:pt x="9171957" y="613"/>
                  </a:lnTo>
                  <a:lnTo>
                    <a:pt x="9113896" y="613"/>
                  </a:lnTo>
                  <a:lnTo>
                    <a:pt x="9053013" y="5414"/>
                  </a:lnTo>
                  <a:lnTo>
                    <a:pt x="8996489" y="16936"/>
                  </a:lnTo>
                  <a:lnTo>
                    <a:pt x="8973365" y="21631"/>
                  </a:lnTo>
                  <a:lnTo>
                    <a:pt x="8949261" y="33772"/>
                  </a:lnTo>
                  <a:lnTo>
                    <a:pt x="8925759" y="37340"/>
                  </a:lnTo>
                  <a:lnTo>
                    <a:pt x="8864417" y="46672"/>
                  </a:lnTo>
                  <a:lnTo>
                    <a:pt x="8719985" y="40935"/>
                  </a:lnTo>
                  <a:lnTo>
                    <a:pt x="8672763" y="61827"/>
                  </a:lnTo>
                  <a:lnTo>
                    <a:pt x="8632592" y="79574"/>
                  </a:lnTo>
                  <a:lnTo>
                    <a:pt x="8551828" y="203050"/>
                  </a:lnTo>
                  <a:lnTo>
                    <a:pt x="8514974" y="241374"/>
                  </a:lnTo>
                  <a:lnTo>
                    <a:pt x="8403180" y="357688"/>
                  </a:lnTo>
                  <a:lnTo>
                    <a:pt x="8250166" y="392845"/>
                  </a:lnTo>
                  <a:lnTo>
                    <a:pt x="8102838" y="442683"/>
                  </a:lnTo>
                  <a:lnTo>
                    <a:pt x="8062128" y="456473"/>
                  </a:lnTo>
                  <a:lnTo>
                    <a:pt x="8032573" y="479258"/>
                  </a:lnTo>
                  <a:lnTo>
                    <a:pt x="7984495" y="486209"/>
                  </a:lnTo>
                  <a:lnTo>
                    <a:pt x="7954450" y="491221"/>
                  </a:lnTo>
                  <a:lnTo>
                    <a:pt x="7919550" y="492883"/>
                  </a:lnTo>
                  <a:lnTo>
                    <a:pt x="7890647" y="501166"/>
                  </a:lnTo>
                  <a:lnTo>
                    <a:pt x="7844113" y="514514"/>
                  </a:lnTo>
                  <a:lnTo>
                    <a:pt x="7777785" y="552178"/>
                  </a:lnTo>
                  <a:lnTo>
                    <a:pt x="7727419" y="537894"/>
                  </a:lnTo>
                  <a:lnTo>
                    <a:pt x="7705945" y="524401"/>
                  </a:lnTo>
                  <a:lnTo>
                    <a:pt x="7657334" y="494387"/>
                  </a:lnTo>
                  <a:lnTo>
                    <a:pt x="7611885" y="481296"/>
                  </a:lnTo>
                  <a:lnTo>
                    <a:pt x="7565563" y="475328"/>
                  </a:lnTo>
                  <a:lnTo>
                    <a:pt x="7541198" y="475328"/>
                  </a:lnTo>
                  <a:lnTo>
                    <a:pt x="7514794" y="473139"/>
                  </a:lnTo>
                  <a:lnTo>
                    <a:pt x="7490752" y="475328"/>
                  </a:lnTo>
                  <a:lnTo>
                    <a:pt x="7445396" y="479450"/>
                  </a:lnTo>
                  <a:lnTo>
                    <a:pt x="7392519" y="502974"/>
                  </a:lnTo>
                  <a:lnTo>
                    <a:pt x="7346562" y="513414"/>
                  </a:lnTo>
                  <a:lnTo>
                    <a:pt x="7298881" y="524229"/>
                  </a:lnTo>
                  <a:lnTo>
                    <a:pt x="7249359" y="522079"/>
                  </a:lnTo>
                  <a:lnTo>
                    <a:pt x="7201020" y="533812"/>
                  </a:lnTo>
                  <a:lnTo>
                    <a:pt x="7172036" y="542016"/>
                  </a:lnTo>
                  <a:lnTo>
                    <a:pt x="7128808" y="561741"/>
                  </a:lnTo>
                  <a:lnTo>
                    <a:pt x="7099396" y="582337"/>
                  </a:lnTo>
                  <a:lnTo>
                    <a:pt x="7067726" y="596384"/>
                  </a:lnTo>
                  <a:lnTo>
                    <a:pt x="7013661" y="620403"/>
                  </a:lnTo>
                  <a:lnTo>
                    <a:pt x="6957379" y="641440"/>
                  </a:lnTo>
                  <a:lnTo>
                    <a:pt x="6899061" y="661674"/>
                  </a:lnTo>
                  <a:lnTo>
                    <a:pt x="6870882" y="687855"/>
                  </a:lnTo>
                  <a:lnTo>
                    <a:pt x="6781235" y="761560"/>
                  </a:lnTo>
                  <a:lnTo>
                    <a:pt x="6746719" y="777289"/>
                  </a:lnTo>
                  <a:lnTo>
                    <a:pt x="6662126" y="815862"/>
                  </a:lnTo>
                  <a:lnTo>
                    <a:pt x="6526534" y="887404"/>
                  </a:lnTo>
                  <a:lnTo>
                    <a:pt x="6463797" y="955477"/>
                  </a:lnTo>
                  <a:lnTo>
                    <a:pt x="6402973" y="1021465"/>
                  </a:lnTo>
                  <a:lnTo>
                    <a:pt x="6353156" y="1169349"/>
                  </a:lnTo>
                  <a:lnTo>
                    <a:pt x="6269288" y="1207178"/>
                  </a:lnTo>
                  <a:lnTo>
                    <a:pt x="6190214" y="1194087"/>
                  </a:lnTo>
                  <a:lnTo>
                    <a:pt x="6119669" y="1177190"/>
                  </a:lnTo>
                  <a:lnTo>
                    <a:pt x="6097649" y="1171894"/>
                  </a:lnTo>
                  <a:lnTo>
                    <a:pt x="6066665" y="1165841"/>
                  </a:lnTo>
                  <a:lnTo>
                    <a:pt x="6047575" y="1154062"/>
                  </a:lnTo>
                  <a:lnTo>
                    <a:pt x="6005881" y="1128388"/>
                  </a:lnTo>
                  <a:lnTo>
                    <a:pt x="5967493" y="1064885"/>
                  </a:lnTo>
                  <a:lnTo>
                    <a:pt x="5976844" y="1015325"/>
                  </a:lnTo>
                  <a:lnTo>
                    <a:pt x="5986031" y="966589"/>
                  </a:lnTo>
                  <a:lnTo>
                    <a:pt x="6053311" y="925549"/>
                  </a:lnTo>
                  <a:lnTo>
                    <a:pt x="6044855" y="873865"/>
                  </a:lnTo>
                  <a:lnTo>
                    <a:pt x="6025684" y="829277"/>
                  </a:lnTo>
                  <a:lnTo>
                    <a:pt x="5915558" y="822220"/>
                  </a:lnTo>
                  <a:lnTo>
                    <a:pt x="5878909" y="841220"/>
                  </a:lnTo>
                  <a:lnTo>
                    <a:pt x="5826373" y="810468"/>
                  </a:lnTo>
                  <a:lnTo>
                    <a:pt x="5699838" y="670537"/>
                  </a:lnTo>
                  <a:lnTo>
                    <a:pt x="5678028" y="757121"/>
                  </a:lnTo>
                  <a:lnTo>
                    <a:pt x="5560624" y="684795"/>
                  </a:lnTo>
                  <a:lnTo>
                    <a:pt x="5534186" y="668472"/>
                  </a:lnTo>
                  <a:lnTo>
                    <a:pt x="5517647" y="625435"/>
                  </a:lnTo>
                  <a:lnTo>
                    <a:pt x="5439748" y="635465"/>
                  </a:lnTo>
                  <a:lnTo>
                    <a:pt x="5434499" y="700267"/>
                  </a:lnTo>
                  <a:lnTo>
                    <a:pt x="5396042" y="740562"/>
                  </a:lnTo>
                  <a:lnTo>
                    <a:pt x="5363015" y="775040"/>
                  </a:lnTo>
                  <a:lnTo>
                    <a:pt x="5235627" y="839901"/>
                  </a:lnTo>
                  <a:lnTo>
                    <a:pt x="5187934" y="838496"/>
                  </a:lnTo>
                  <a:lnTo>
                    <a:pt x="5161706" y="837711"/>
                  </a:lnTo>
                  <a:lnTo>
                    <a:pt x="5127392" y="828129"/>
                  </a:lnTo>
                  <a:lnTo>
                    <a:pt x="5102240" y="815374"/>
                  </a:lnTo>
                  <a:lnTo>
                    <a:pt x="5046169" y="774103"/>
                  </a:lnTo>
                  <a:lnTo>
                    <a:pt x="5001455" y="739012"/>
                  </a:lnTo>
                  <a:lnTo>
                    <a:pt x="4983900" y="668472"/>
                  </a:lnTo>
                  <a:lnTo>
                    <a:pt x="4978117" y="645371"/>
                  </a:lnTo>
                  <a:lnTo>
                    <a:pt x="4984942" y="616129"/>
                  </a:lnTo>
                  <a:lnTo>
                    <a:pt x="4971662" y="595025"/>
                  </a:lnTo>
                  <a:lnTo>
                    <a:pt x="4957719" y="572959"/>
                  </a:lnTo>
                  <a:lnTo>
                    <a:pt x="4911641" y="562974"/>
                  </a:lnTo>
                  <a:lnTo>
                    <a:pt x="4891406" y="541976"/>
                  </a:lnTo>
                  <a:lnTo>
                    <a:pt x="4848482" y="497513"/>
                  </a:lnTo>
                  <a:lnTo>
                    <a:pt x="4760869" y="368023"/>
                  </a:lnTo>
                  <a:lnTo>
                    <a:pt x="4740423" y="312104"/>
                  </a:lnTo>
                  <a:lnTo>
                    <a:pt x="4727981" y="277863"/>
                  </a:lnTo>
                  <a:lnTo>
                    <a:pt x="4735028" y="208241"/>
                  </a:lnTo>
                  <a:lnTo>
                    <a:pt x="4709145" y="189683"/>
                  </a:lnTo>
                  <a:lnTo>
                    <a:pt x="4685041" y="186431"/>
                  </a:lnTo>
                  <a:lnTo>
                    <a:pt x="4646941" y="200373"/>
                  </a:lnTo>
                  <a:lnTo>
                    <a:pt x="4623451" y="207363"/>
                  </a:lnTo>
                  <a:lnTo>
                    <a:pt x="4647152" y="160672"/>
                  </a:lnTo>
                  <a:lnTo>
                    <a:pt x="4632889" y="121267"/>
                  </a:lnTo>
                  <a:lnTo>
                    <a:pt x="4589447" y="94472"/>
                  </a:lnTo>
                  <a:lnTo>
                    <a:pt x="4549526" y="69860"/>
                  </a:lnTo>
                  <a:lnTo>
                    <a:pt x="4127310" y="0"/>
                  </a:lnTo>
                  <a:lnTo>
                    <a:pt x="4068489" y="3337"/>
                  </a:lnTo>
                  <a:lnTo>
                    <a:pt x="4015354" y="6351"/>
                  </a:lnTo>
                  <a:lnTo>
                    <a:pt x="3963544" y="11113"/>
                  </a:lnTo>
                  <a:lnTo>
                    <a:pt x="3912065" y="21018"/>
                  </a:lnTo>
                  <a:lnTo>
                    <a:pt x="3877381" y="27712"/>
                  </a:lnTo>
                  <a:lnTo>
                    <a:pt x="3841030" y="17365"/>
                  </a:lnTo>
                  <a:lnTo>
                    <a:pt x="3807330" y="21018"/>
                  </a:lnTo>
                  <a:lnTo>
                    <a:pt x="3717134" y="30818"/>
                  </a:lnTo>
                  <a:lnTo>
                    <a:pt x="3628293" y="45294"/>
                  </a:lnTo>
                  <a:lnTo>
                    <a:pt x="3536649" y="59103"/>
                  </a:lnTo>
                  <a:lnTo>
                    <a:pt x="3327517" y="126075"/>
                  </a:lnTo>
                  <a:lnTo>
                    <a:pt x="3398158" y="197122"/>
                  </a:lnTo>
                  <a:lnTo>
                    <a:pt x="3339424" y="240009"/>
                  </a:lnTo>
                  <a:lnTo>
                    <a:pt x="3288332" y="277270"/>
                  </a:lnTo>
                  <a:lnTo>
                    <a:pt x="3199655" y="245469"/>
                  </a:lnTo>
                  <a:lnTo>
                    <a:pt x="3147637" y="297140"/>
                  </a:lnTo>
                  <a:lnTo>
                    <a:pt x="3103212" y="389442"/>
                  </a:lnTo>
                  <a:lnTo>
                    <a:pt x="3192732" y="456368"/>
                  </a:lnTo>
                  <a:lnTo>
                    <a:pt x="3036096" y="478045"/>
                  </a:lnTo>
                  <a:lnTo>
                    <a:pt x="2998412" y="482187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14" name="Sumy¬0" descr="Sumy¬0">
              <a:extLst>
                <a:ext uri="{FF2B5EF4-FFF2-40B4-BE49-F238E27FC236}">
                  <a16:creationId xmlns:a16="http://schemas.microsoft.com/office/drawing/2014/main" id="{BD41F0D0-3888-48F8-9423-D9AD628BE03F}"/>
                </a:ext>
              </a:extLst>
            </p:cNvPr>
            <p:cNvSpPr/>
            <p:nvPr/>
          </p:nvSpPr>
          <p:spPr>
            <a:xfrm>
              <a:off x="4581269" y="1186126"/>
              <a:ext cx="946434" cy="1026829"/>
            </a:xfrm>
            <a:custGeom>
              <a:avLst/>
              <a:gdLst/>
              <a:ahLst/>
              <a:cxnLst/>
              <a:rect l="0" t="0" r="0" b="0"/>
              <a:pathLst>
                <a:path w="9657839" h="11894505">
                  <a:moveTo>
                    <a:pt x="2838530" y="7354"/>
                  </a:moveTo>
                  <a:lnTo>
                    <a:pt x="2811999" y="18257"/>
                  </a:lnTo>
                  <a:lnTo>
                    <a:pt x="2785693" y="20978"/>
                  </a:lnTo>
                  <a:lnTo>
                    <a:pt x="2667781" y="33220"/>
                  </a:lnTo>
                  <a:lnTo>
                    <a:pt x="2602235" y="69137"/>
                  </a:lnTo>
                  <a:lnTo>
                    <a:pt x="2498697" y="118912"/>
                  </a:lnTo>
                  <a:lnTo>
                    <a:pt x="2445515" y="144479"/>
                  </a:lnTo>
                  <a:lnTo>
                    <a:pt x="2381457" y="160653"/>
                  </a:lnTo>
                  <a:lnTo>
                    <a:pt x="2334105" y="197804"/>
                  </a:lnTo>
                  <a:lnTo>
                    <a:pt x="2261759" y="254549"/>
                  </a:lnTo>
                  <a:lnTo>
                    <a:pt x="2218233" y="345236"/>
                  </a:lnTo>
                  <a:lnTo>
                    <a:pt x="2140960" y="396392"/>
                  </a:lnTo>
                  <a:lnTo>
                    <a:pt x="2096585" y="403236"/>
                  </a:lnTo>
                  <a:lnTo>
                    <a:pt x="2056625" y="366469"/>
                  </a:lnTo>
                  <a:lnTo>
                    <a:pt x="2002476" y="305748"/>
                  </a:lnTo>
                  <a:lnTo>
                    <a:pt x="2020453" y="257057"/>
                  </a:lnTo>
                  <a:lnTo>
                    <a:pt x="2036223" y="180121"/>
                  </a:lnTo>
                  <a:lnTo>
                    <a:pt x="2074484" y="136361"/>
                  </a:lnTo>
                  <a:lnTo>
                    <a:pt x="2068906" y="104949"/>
                  </a:lnTo>
                  <a:lnTo>
                    <a:pt x="1988238" y="32008"/>
                  </a:lnTo>
                  <a:lnTo>
                    <a:pt x="1970940" y="15537"/>
                  </a:lnTo>
                  <a:lnTo>
                    <a:pt x="1901270" y="16281"/>
                  </a:lnTo>
                  <a:lnTo>
                    <a:pt x="1867603" y="249109"/>
                  </a:lnTo>
                  <a:lnTo>
                    <a:pt x="1692092" y="72665"/>
                  </a:lnTo>
                  <a:lnTo>
                    <a:pt x="1667005" y="88070"/>
                  </a:lnTo>
                  <a:lnTo>
                    <a:pt x="1647973" y="109570"/>
                  </a:lnTo>
                  <a:lnTo>
                    <a:pt x="1632684" y="147606"/>
                  </a:lnTo>
                  <a:lnTo>
                    <a:pt x="1624859" y="177640"/>
                  </a:lnTo>
                  <a:lnTo>
                    <a:pt x="1617281" y="208685"/>
                  </a:lnTo>
                  <a:lnTo>
                    <a:pt x="1609703" y="239731"/>
                  </a:lnTo>
                  <a:lnTo>
                    <a:pt x="1602448" y="272362"/>
                  </a:lnTo>
                  <a:lnTo>
                    <a:pt x="1595518" y="301179"/>
                  </a:lnTo>
                  <a:lnTo>
                    <a:pt x="1588585" y="329995"/>
                  </a:lnTo>
                  <a:lnTo>
                    <a:pt x="1582253" y="355342"/>
                  </a:lnTo>
                  <a:lnTo>
                    <a:pt x="1573755" y="374629"/>
                  </a:lnTo>
                  <a:lnTo>
                    <a:pt x="1561771" y="401832"/>
                  </a:lnTo>
                  <a:lnTo>
                    <a:pt x="1535583" y="428528"/>
                  </a:lnTo>
                  <a:lnTo>
                    <a:pt x="1520704" y="454881"/>
                  </a:lnTo>
                  <a:lnTo>
                    <a:pt x="1504218" y="484040"/>
                  </a:lnTo>
                  <a:lnTo>
                    <a:pt x="1490532" y="517195"/>
                  </a:lnTo>
                  <a:lnTo>
                    <a:pt x="1475820" y="547375"/>
                  </a:lnTo>
                  <a:lnTo>
                    <a:pt x="1465836" y="567884"/>
                  </a:lnTo>
                  <a:lnTo>
                    <a:pt x="1471073" y="590383"/>
                  </a:lnTo>
                  <a:lnTo>
                    <a:pt x="1477178" y="614024"/>
                  </a:lnTo>
                  <a:lnTo>
                    <a:pt x="1483292" y="637666"/>
                  </a:lnTo>
                  <a:lnTo>
                    <a:pt x="1490439" y="661195"/>
                  </a:lnTo>
                  <a:lnTo>
                    <a:pt x="1486700" y="683395"/>
                  </a:lnTo>
                  <a:lnTo>
                    <a:pt x="1465321" y="722670"/>
                  </a:lnTo>
                  <a:lnTo>
                    <a:pt x="1402860" y="757228"/>
                  </a:lnTo>
                  <a:lnTo>
                    <a:pt x="1371060" y="774932"/>
                  </a:lnTo>
                  <a:lnTo>
                    <a:pt x="1352047" y="800372"/>
                  </a:lnTo>
                  <a:lnTo>
                    <a:pt x="1333025" y="825811"/>
                  </a:lnTo>
                  <a:lnTo>
                    <a:pt x="1326756" y="858477"/>
                  </a:lnTo>
                  <a:lnTo>
                    <a:pt x="1330275" y="915988"/>
                  </a:lnTo>
                  <a:lnTo>
                    <a:pt x="1331683" y="938453"/>
                  </a:lnTo>
                  <a:lnTo>
                    <a:pt x="1326201" y="963489"/>
                  </a:lnTo>
                  <a:lnTo>
                    <a:pt x="1330275" y="985359"/>
                  </a:lnTo>
                  <a:lnTo>
                    <a:pt x="1336079" y="1016473"/>
                  </a:lnTo>
                  <a:lnTo>
                    <a:pt x="1346488" y="1040601"/>
                  </a:lnTo>
                  <a:lnTo>
                    <a:pt x="1352047" y="1065611"/>
                  </a:lnTo>
                  <a:lnTo>
                    <a:pt x="1357601" y="1090620"/>
                  </a:lnTo>
                  <a:lnTo>
                    <a:pt x="1359163" y="1116384"/>
                  </a:lnTo>
                  <a:lnTo>
                    <a:pt x="1350680" y="1149943"/>
                  </a:lnTo>
                  <a:lnTo>
                    <a:pt x="1389552" y="1155118"/>
                  </a:lnTo>
                  <a:lnTo>
                    <a:pt x="1421575" y="1162583"/>
                  </a:lnTo>
                  <a:lnTo>
                    <a:pt x="1452699" y="1168985"/>
                  </a:lnTo>
                  <a:lnTo>
                    <a:pt x="1483819" y="1175388"/>
                  </a:lnTo>
                  <a:lnTo>
                    <a:pt x="1513693" y="1181047"/>
                  </a:lnTo>
                  <a:lnTo>
                    <a:pt x="1539751" y="1194829"/>
                  </a:lnTo>
                  <a:lnTo>
                    <a:pt x="1558875" y="1212384"/>
                  </a:lnTo>
                  <a:lnTo>
                    <a:pt x="1633602" y="1279162"/>
                  </a:lnTo>
                  <a:lnTo>
                    <a:pt x="1656686" y="1304622"/>
                  </a:lnTo>
                  <a:lnTo>
                    <a:pt x="1672329" y="1340052"/>
                  </a:lnTo>
                  <a:lnTo>
                    <a:pt x="1694817" y="1366214"/>
                  </a:lnTo>
                  <a:lnTo>
                    <a:pt x="1708757" y="1382431"/>
                  </a:lnTo>
                  <a:lnTo>
                    <a:pt x="1738852" y="1393567"/>
                  </a:lnTo>
                  <a:lnTo>
                    <a:pt x="1747859" y="1413821"/>
                  </a:lnTo>
                  <a:lnTo>
                    <a:pt x="1757852" y="1436350"/>
                  </a:lnTo>
                  <a:lnTo>
                    <a:pt x="1776421" y="1477751"/>
                  </a:lnTo>
                  <a:lnTo>
                    <a:pt x="1794445" y="1490014"/>
                  </a:lnTo>
                  <a:lnTo>
                    <a:pt x="1905558" y="1489121"/>
                  </a:lnTo>
                  <a:lnTo>
                    <a:pt x="1931488" y="1489993"/>
                  </a:lnTo>
                  <a:lnTo>
                    <a:pt x="1935398" y="1521776"/>
                  </a:lnTo>
                  <a:lnTo>
                    <a:pt x="1931950" y="1550219"/>
                  </a:lnTo>
                  <a:lnTo>
                    <a:pt x="1926046" y="1578405"/>
                  </a:lnTo>
                  <a:lnTo>
                    <a:pt x="1920146" y="1606592"/>
                  </a:lnTo>
                  <a:lnTo>
                    <a:pt x="1911235" y="1634800"/>
                  </a:lnTo>
                  <a:lnTo>
                    <a:pt x="1905641" y="1665458"/>
                  </a:lnTo>
                  <a:lnTo>
                    <a:pt x="1878694" y="1685255"/>
                  </a:lnTo>
                  <a:lnTo>
                    <a:pt x="1827643" y="1698807"/>
                  </a:lnTo>
                  <a:lnTo>
                    <a:pt x="1773705" y="1706264"/>
                  </a:lnTo>
                  <a:lnTo>
                    <a:pt x="1719771" y="1713722"/>
                  </a:lnTo>
                  <a:lnTo>
                    <a:pt x="1662872" y="1714829"/>
                  </a:lnTo>
                  <a:lnTo>
                    <a:pt x="1628161" y="1708984"/>
                  </a:lnTo>
                  <a:lnTo>
                    <a:pt x="1613073" y="1674108"/>
                  </a:lnTo>
                  <a:lnTo>
                    <a:pt x="1603337" y="1646820"/>
                  </a:lnTo>
                  <a:lnTo>
                    <a:pt x="1590076" y="1630093"/>
                  </a:lnTo>
                  <a:lnTo>
                    <a:pt x="1550336" y="1642632"/>
                  </a:lnTo>
                  <a:lnTo>
                    <a:pt x="1521963" y="1670750"/>
                  </a:lnTo>
                  <a:lnTo>
                    <a:pt x="1524871" y="1721492"/>
                  </a:lnTo>
                  <a:lnTo>
                    <a:pt x="1528868" y="1776994"/>
                  </a:lnTo>
                  <a:lnTo>
                    <a:pt x="1532864" y="1832497"/>
                  </a:lnTo>
                  <a:lnTo>
                    <a:pt x="1537608" y="1892463"/>
                  </a:lnTo>
                  <a:lnTo>
                    <a:pt x="1528868" y="1933418"/>
                  </a:lnTo>
                  <a:lnTo>
                    <a:pt x="1512633" y="1955967"/>
                  </a:lnTo>
                  <a:lnTo>
                    <a:pt x="1482415" y="1976773"/>
                  </a:lnTo>
                  <a:lnTo>
                    <a:pt x="1458137" y="1989185"/>
                  </a:lnTo>
                  <a:lnTo>
                    <a:pt x="1470635" y="2015837"/>
                  </a:lnTo>
                  <a:lnTo>
                    <a:pt x="1503787" y="2071945"/>
                  </a:lnTo>
                  <a:lnTo>
                    <a:pt x="1526520" y="2100039"/>
                  </a:lnTo>
                  <a:lnTo>
                    <a:pt x="1541109" y="2129286"/>
                  </a:lnTo>
                  <a:lnTo>
                    <a:pt x="1555703" y="2158533"/>
                  </a:lnTo>
                  <a:lnTo>
                    <a:pt x="1561638" y="2188869"/>
                  </a:lnTo>
                  <a:lnTo>
                    <a:pt x="1551992" y="2234021"/>
                  </a:lnTo>
                  <a:lnTo>
                    <a:pt x="1527215" y="2253278"/>
                  </a:lnTo>
                  <a:lnTo>
                    <a:pt x="1440346" y="2250471"/>
                  </a:lnTo>
                  <a:lnTo>
                    <a:pt x="1419057" y="2252296"/>
                  </a:lnTo>
                  <a:lnTo>
                    <a:pt x="1385686" y="2267434"/>
                  </a:lnTo>
                  <a:lnTo>
                    <a:pt x="1313954" y="2303392"/>
                  </a:lnTo>
                  <a:lnTo>
                    <a:pt x="1272855" y="2318353"/>
                  </a:lnTo>
                  <a:lnTo>
                    <a:pt x="1229118" y="2330659"/>
                  </a:lnTo>
                  <a:lnTo>
                    <a:pt x="1187456" y="2344197"/>
                  </a:lnTo>
                  <a:lnTo>
                    <a:pt x="1165693" y="2372762"/>
                  </a:lnTo>
                  <a:lnTo>
                    <a:pt x="1141301" y="2385088"/>
                  </a:lnTo>
                  <a:lnTo>
                    <a:pt x="1092584" y="2370253"/>
                  </a:lnTo>
                  <a:lnTo>
                    <a:pt x="1059603" y="2379563"/>
                  </a:lnTo>
                  <a:lnTo>
                    <a:pt x="1040767" y="2424917"/>
                  </a:lnTo>
                  <a:lnTo>
                    <a:pt x="1031289" y="2449167"/>
                  </a:lnTo>
                  <a:lnTo>
                    <a:pt x="992339" y="2443986"/>
                  </a:lnTo>
                  <a:lnTo>
                    <a:pt x="946705" y="2439412"/>
                  </a:lnTo>
                  <a:lnTo>
                    <a:pt x="901067" y="2434837"/>
                  </a:lnTo>
                  <a:lnTo>
                    <a:pt x="849390" y="2430783"/>
                  </a:lnTo>
                  <a:lnTo>
                    <a:pt x="817485" y="2442132"/>
                  </a:lnTo>
                  <a:lnTo>
                    <a:pt x="793511" y="2486423"/>
                  </a:lnTo>
                  <a:lnTo>
                    <a:pt x="793167" y="2513861"/>
                  </a:lnTo>
                  <a:lnTo>
                    <a:pt x="805368" y="2535199"/>
                  </a:lnTo>
                  <a:lnTo>
                    <a:pt x="809324" y="2565910"/>
                  </a:lnTo>
                  <a:lnTo>
                    <a:pt x="774511" y="2585229"/>
                  </a:lnTo>
                  <a:lnTo>
                    <a:pt x="736432" y="2577876"/>
                  </a:lnTo>
                  <a:lnTo>
                    <a:pt x="701873" y="2599915"/>
                  </a:lnTo>
                  <a:lnTo>
                    <a:pt x="683422" y="2611690"/>
                  </a:lnTo>
                  <a:lnTo>
                    <a:pt x="678371" y="2635347"/>
                  </a:lnTo>
                  <a:lnTo>
                    <a:pt x="674672" y="2661124"/>
                  </a:lnTo>
                  <a:lnTo>
                    <a:pt x="670963" y="2686901"/>
                  </a:lnTo>
                  <a:lnTo>
                    <a:pt x="668486" y="2715117"/>
                  </a:lnTo>
                  <a:lnTo>
                    <a:pt x="656983" y="2734574"/>
                  </a:lnTo>
                  <a:lnTo>
                    <a:pt x="639303" y="2764521"/>
                  </a:lnTo>
                  <a:lnTo>
                    <a:pt x="615922" y="2768431"/>
                  </a:lnTo>
                  <a:lnTo>
                    <a:pt x="590336" y="2787622"/>
                  </a:lnTo>
                  <a:lnTo>
                    <a:pt x="555950" y="2813402"/>
                  </a:lnTo>
                  <a:lnTo>
                    <a:pt x="530829" y="2849405"/>
                  </a:lnTo>
                  <a:lnTo>
                    <a:pt x="504642" y="2882836"/>
                  </a:lnTo>
                  <a:lnTo>
                    <a:pt x="481446" y="2912436"/>
                  </a:lnTo>
                  <a:lnTo>
                    <a:pt x="467063" y="2941317"/>
                  </a:lnTo>
                  <a:lnTo>
                    <a:pt x="458396" y="2969889"/>
                  </a:lnTo>
                  <a:lnTo>
                    <a:pt x="449730" y="2998461"/>
                  </a:lnTo>
                  <a:lnTo>
                    <a:pt x="446189" y="3026752"/>
                  </a:lnTo>
                  <a:lnTo>
                    <a:pt x="447517" y="3055582"/>
                  </a:lnTo>
                  <a:lnTo>
                    <a:pt x="450168" y="3113241"/>
                  </a:lnTo>
                  <a:lnTo>
                    <a:pt x="468895" y="3172803"/>
                  </a:lnTo>
                  <a:lnTo>
                    <a:pt x="484243" y="3239208"/>
                  </a:lnTo>
                  <a:lnTo>
                    <a:pt x="493331" y="3278489"/>
                  </a:lnTo>
                  <a:lnTo>
                    <a:pt x="502753" y="3308756"/>
                  </a:lnTo>
                  <a:lnTo>
                    <a:pt x="514170" y="3333062"/>
                  </a:lnTo>
                  <a:lnTo>
                    <a:pt x="525574" y="3357369"/>
                  </a:lnTo>
                  <a:lnTo>
                    <a:pt x="539192" y="3375092"/>
                  </a:lnTo>
                  <a:lnTo>
                    <a:pt x="554974" y="3391551"/>
                  </a:lnTo>
                  <a:lnTo>
                    <a:pt x="586528" y="3424469"/>
                  </a:lnTo>
                  <a:lnTo>
                    <a:pt x="628343" y="3449274"/>
                  </a:lnTo>
                  <a:lnTo>
                    <a:pt x="689629" y="3493566"/>
                  </a:lnTo>
                  <a:lnTo>
                    <a:pt x="721084" y="3516285"/>
                  </a:lnTo>
                  <a:lnTo>
                    <a:pt x="752707" y="3538835"/>
                  </a:lnTo>
                  <a:lnTo>
                    <a:pt x="776681" y="3569736"/>
                  </a:lnTo>
                  <a:lnTo>
                    <a:pt x="781177" y="3594589"/>
                  </a:lnTo>
                  <a:lnTo>
                    <a:pt x="774907" y="3618336"/>
                  </a:lnTo>
                  <a:lnTo>
                    <a:pt x="760366" y="3640467"/>
                  </a:lnTo>
                  <a:lnTo>
                    <a:pt x="744708" y="3661938"/>
                  </a:lnTo>
                  <a:lnTo>
                    <a:pt x="723335" y="3680540"/>
                  </a:lnTo>
                  <a:lnTo>
                    <a:pt x="708673" y="3697596"/>
                  </a:lnTo>
                  <a:lnTo>
                    <a:pt x="691502" y="3710369"/>
                  </a:lnTo>
                  <a:lnTo>
                    <a:pt x="688051" y="3732046"/>
                  </a:lnTo>
                  <a:lnTo>
                    <a:pt x="688271" y="3769686"/>
                  </a:lnTo>
                  <a:lnTo>
                    <a:pt x="694686" y="3807070"/>
                  </a:lnTo>
                  <a:lnTo>
                    <a:pt x="719900" y="3819232"/>
                  </a:lnTo>
                  <a:lnTo>
                    <a:pt x="753854" y="3819102"/>
                  </a:lnTo>
                  <a:lnTo>
                    <a:pt x="783657" y="3848833"/>
                  </a:lnTo>
                  <a:lnTo>
                    <a:pt x="786435" y="3901304"/>
                  </a:lnTo>
                  <a:lnTo>
                    <a:pt x="786209" y="3954673"/>
                  </a:lnTo>
                  <a:lnTo>
                    <a:pt x="786004" y="4008042"/>
                  </a:lnTo>
                  <a:lnTo>
                    <a:pt x="783288" y="4062246"/>
                  </a:lnTo>
                  <a:lnTo>
                    <a:pt x="788928" y="4097494"/>
                  </a:lnTo>
                  <a:lnTo>
                    <a:pt x="812424" y="4106081"/>
                  </a:lnTo>
                  <a:lnTo>
                    <a:pt x="837207" y="4120256"/>
                  </a:lnTo>
                  <a:lnTo>
                    <a:pt x="856933" y="4135579"/>
                  </a:lnTo>
                  <a:lnTo>
                    <a:pt x="869432" y="4170052"/>
                  </a:lnTo>
                  <a:lnTo>
                    <a:pt x="832361" y="4199870"/>
                  </a:lnTo>
                  <a:lnTo>
                    <a:pt x="777062" y="4200933"/>
                  </a:lnTo>
                  <a:lnTo>
                    <a:pt x="745393" y="4226713"/>
                  </a:lnTo>
                  <a:lnTo>
                    <a:pt x="737573" y="4265075"/>
                  </a:lnTo>
                  <a:lnTo>
                    <a:pt x="752623" y="4320523"/>
                  </a:lnTo>
                  <a:lnTo>
                    <a:pt x="758998" y="4358652"/>
                  </a:lnTo>
                  <a:lnTo>
                    <a:pt x="840308" y="4426917"/>
                  </a:lnTo>
                  <a:lnTo>
                    <a:pt x="855575" y="4441624"/>
                  </a:lnTo>
                  <a:lnTo>
                    <a:pt x="874061" y="4475077"/>
                  </a:lnTo>
                  <a:lnTo>
                    <a:pt x="888510" y="4494906"/>
                  </a:lnTo>
                  <a:lnTo>
                    <a:pt x="821143" y="4571629"/>
                  </a:lnTo>
                  <a:lnTo>
                    <a:pt x="753513" y="4564063"/>
                  </a:lnTo>
                  <a:lnTo>
                    <a:pt x="704676" y="4527062"/>
                  </a:lnTo>
                  <a:lnTo>
                    <a:pt x="647461" y="4506914"/>
                  </a:lnTo>
                  <a:lnTo>
                    <a:pt x="650354" y="4531311"/>
                  </a:lnTo>
                  <a:lnTo>
                    <a:pt x="664403" y="4566271"/>
                  </a:lnTo>
                  <a:lnTo>
                    <a:pt x="676030" y="4602128"/>
                  </a:lnTo>
                  <a:lnTo>
                    <a:pt x="687663" y="4637984"/>
                  </a:lnTo>
                  <a:lnTo>
                    <a:pt x="696580" y="4675079"/>
                  </a:lnTo>
                  <a:lnTo>
                    <a:pt x="680836" y="4714238"/>
                  </a:lnTo>
                  <a:lnTo>
                    <a:pt x="625577" y="4739380"/>
                  </a:lnTo>
                  <a:lnTo>
                    <a:pt x="602583" y="4747669"/>
                  </a:lnTo>
                  <a:lnTo>
                    <a:pt x="590336" y="4765351"/>
                  </a:lnTo>
                  <a:lnTo>
                    <a:pt x="593601" y="4792784"/>
                  </a:lnTo>
                  <a:lnTo>
                    <a:pt x="597141" y="4817039"/>
                  </a:lnTo>
                  <a:lnTo>
                    <a:pt x="600676" y="4841294"/>
                  </a:lnTo>
                  <a:lnTo>
                    <a:pt x="602158" y="4872043"/>
                  </a:lnTo>
                  <a:lnTo>
                    <a:pt x="595783" y="4905452"/>
                  </a:lnTo>
                  <a:lnTo>
                    <a:pt x="631356" y="4926705"/>
                  </a:lnTo>
                  <a:lnTo>
                    <a:pt x="664040" y="4949489"/>
                  </a:lnTo>
                  <a:lnTo>
                    <a:pt x="685552" y="4969381"/>
                  </a:lnTo>
                  <a:lnTo>
                    <a:pt x="685750" y="5003790"/>
                  </a:lnTo>
                  <a:lnTo>
                    <a:pt x="661060" y="5026510"/>
                  </a:lnTo>
                  <a:lnTo>
                    <a:pt x="638531" y="5049612"/>
                  </a:lnTo>
                  <a:lnTo>
                    <a:pt x="637099" y="5095125"/>
                  </a:lnTo>
                  <a:lnTo>
                    <a:pt x="647169" y="5116070"/>
                  </a:lnTo>
                  <a:lnTo>
                    <a:pt x="655619" y="5138046"/>
                  </a:lnTo>
                  <a:lnTo>
                    <a:pt x="664065" y="5160021"/>
                  </a:lnTo>
                  <a:lnTo>
                    <a:pt x="669686" y="5182369"/>
                  </a:lnTo>
                  <a:lnTo>
                    <a:pt x="659693" y="5214217"/>
                  </a:lnTo>
                  <a:lnTo>
                    <a:pt x="638209" y="5233738"/>
                  </a:lnTo>
                  <a:lnTo>
                    <a:pt x="615237" y="5246549"/>
                  </a:lnTo>
                  <a:lnTo>
                    <a:pt x="590323" y="5255023"/>
                  </a:lnTo>
                  <a:lnTo>
                    <a:pt x="565407" y="5263498"/>
                  </a:lnTo>
                  <a:lnTo>
                    <a:pt x="539192" y="5267382"/>
                  </a:lnTo>
                  <a:lnTo>
                    <a:pt x="511435" y="5271345"/>
                  </a:lnTo>
                  <a:lnTo>
                    <a:pt x="472774" y="5276866"/>
                  </a:lnTo>
                  <a:lnTo>
                    <a:pt x="446791" y="5275333"/>
                  </a:lnTo>
                  <a:lnTo>
                    <a:pt x="410130" y="5259200"/>
                  </a:lnTo>
                  <a:lnTo>
                    <a:pt x="391737" y="5229182"/>
                  </a:lnTo>
                  <a:lnTo>
                    <a:pt x="376600" y="5196917"/>
                  </a:lnTo>
                  <a:lnTo>
                    <a:pt x="373645" y="5154477"/>
                  </a:lnTo>
                  <a:lnTo>
                    <a:pt x="344127" y="5123086"/>
                  </a:lnTo>
                  <a:lnTo>
                    <a:pt x="294013" y="5110655"/>
                  </a:lnTo>
                  <a:lnTo>
                    <a:pt x="262858" y="5128473"/>
                  </a:lnTo>
                  <a:lnTo>
                    <a:pt x="249339" y="5149729"/>
                  </a:lnTo>
                  <a:lnTo>
                    <a:pt x="239393" y="5172053"/>
                  </a:lnTo>
                  <a:lnTo>
                    <a:pt x="229443" y="5194377"/>
                  </a:lnTo>
                  <a:lnTo>
                    <a:pt x="222984" y="5218300"/>
                  </a:lnTo>
                  <a:lnTo>
                    <a:pt x="223071" y="5241424"/>
                  </a:lnTo>
                  <a:lnTo>
                    <a:pt x="234401" y="5268138"/>
                  </a:lnTo>
                  <a:lnTo>
                    <a:pt x="253131" y="5287242"/>
                  </a:lnTo>
                  <a:lnTo>
                    <a:pt x="267955" y="5308073"/>
                  </a:lnTo>
                  <a:lnTo>
                    <a:pt x="282789" y="5328904"/>
                  </a:lnTo>
                  <a:lnTo>
                    <a:pt x="293631" y="5351185"/>
                  </a:lnTo>
                  <a:lnTo>
                    <a:pt x="291080" y="5384244"/>
                  </a:lnTo>
                  <a:lnTo>
                    <a:pt x="310672" y="5405157"/>
                  </a:lnTo>
                  <a:lnTo>
                    <a:pt x="336134" y="5403903"/>
                  </a:lnTo>
                  <a:lnTo>
                    <a:pt x="386888" y="5395083"/>
                  </a:lnTo>
                  <a:lnTo>
                    <a:pt x="416895" y="5418996"/>
                  </a:lnTo>
                  <a:lnTo>
                    <a:pt x="428457" y="5448176"/>
                  </a:lnTo>
                  <a:lnTo>
                    <a:pt x="430026" y="5477490"/>
                  </a:lnTo>
                  <a:lnTo>
                    <a:pt x="417180" y="5520126"/>
                  </a:lnTo>
                  <a:lnTo>
                    <a:pt x="397941" y="5547311"/>
                  </a:lnTo>
                  <a:lnTo>
                    <a:pt x="386302" y="5577394"/>
                  </a:lnTo>
                  <a:lnTo>
                    <a:pt x="389018" y="5600518"/>
                  </a:lnTo>
                  <a:lnTo>
                    <a:pt x="400878" y="5619412"/>
                  </a:lnTo>
                  <a:lnTo>
                    <a:pt x="424690" y="5631511"/>
                  </a:lnTo>
                  <a:lnTo>
                    <a:pt x="446143" y="5645404"/>
                  </a:lnTo>
                  <a:lnTo>
                    <a:pt x="467590" y="5659299"/>
                  </a:lnTo>
                  <a:lnTo>
                    <a:pt x="487269" y="5675095"/>
                  </a:lnTo>
                  <a:lnTo>
                    <a:pt x="493746" y="5698453"/>
                  </a:lnTo>
                  <a:lnTo>
                    <a:pt x="446143" y="5754518"/>
                  </a:lnTo>
                  <a:lnTo>
                    <a:pt x="439191" y="5790277"/>
                  </a:lnTo>
                  <a:lnTo>
                    <a:pt x="450022" y="5810390"/>
                  </a:lnTo>
                  <a:lnTo>
                    <a:pt x="461100" y="5830391"/>
                  </a:lnTo>
                  <a:lnTo>
                    <a:pt x="472188" y="5850394"/>
                  </a:lnTo>
                  <a:lnTo>
                    <a:pt x="483483" y="5870475"/>
                  </a:lnTo>
                  <a:lnTo>
                    <a:pt x="475980" y="5903433"/>
                  </a:lnTo>
                  <a:lnTo>
                    <a:pt x="447504" y="5922886"/>
                  </a:lnTo>
                  <a:lnTo>
                    <a:pt x="413903" y="5937889"/>
                  </a:lnTo>
                  <a:lnTo>
                    <a:pt x="377722" y="5951408"/>
                  </a:lnTo>
                  <a:lnTo>
                    <a:pt x="346844" y="5967772"/>
                  </a:lnTo>
                  <a:lnTo>
                    <a:pt x="322535" y="5987154"/>
                  </a:lnTo>
                  <a:lnTo>
                    <a:pt x="334863" y="6028407"/>
                  </a:lnTo>
                  <a:lnTo>
                    <a:pt x="346251" y="6127171"/>
                  </a:lnTo>
                  <a:lnTo>
                    <a:pt x="335970" y="6158200"/>
                  </a:lnTo>
                  <a:lnTo>
                    <a:pt x="306716" y="6185827"/>
                  </a:lnTo>
                  <a:lnTo>
                    <a:pt x="282919" y="6194925"/>
                  </a:lnTo>
                  <a:lnTo>
                    <a:pt x="259125" y="6204023"/>
                  </a:lnTo>
                  <a:lnTo>
                    <a:pt x="230063" y="6210758"/>
                  </a:lnTo>
                  <a:lnTo>
                    <a:pt x="202666" y="6216688"/>
                  </a:lnTo>
                  <a:lnTo>
                    <a:pt x="175273" y="6222618"/>
                  </a:lnTo>
                  <a:lnTo>
                    <a:pt x="149029" y="6227733"/>
                  </a:lnTo>
                  <a:lnTo>
                    <a:pt x="127855" y="6234371"/>
                  </a:lnTo>
                  <a:lnTo>
                    <a:pt x="106685" y="6241009"/>
                  </a:lnTo>
                  <a:lnTo>
                    <a:pt x="85687" y="6260215"/>
                  </a:lnTo>
                  <a:lnTo>
                    <a:pt x="104942" y="6277163"/>
                  </a:lnTo>
                  <a:lnTo>
                    <a:pt x="109553" y="6300311"/>
                  </a:lnTo>
                  <a:lnTo>
                    <a:pt x="106092" y="6324145"/>
                  </a:lnTo>
                  <a:lnTo>
                    <a:pt x="102629" y="6347973"/>
                  </a:lnTo>
                  <a:lnTo>
                    <a:pt x="91873" y="6371741"/>
                  </a:lnTo>
                  <a:lnTo>
                    <a:pt x="125136" y="6438402"/>
                  </a:lnTo>
                  <a:lnTo>
                    <a:pt x="133678" y="6467519"/>
                  </a:lnTo>
                  <a:lnTo>
                    <a:pt x="113999" y="6515701"/>
                  </a:lnTo>
                  <a:lnTo>
                    <a:pt x="79737" y="6549513"/>
                  </a:lnTo>
                  <a:lnTo>
                    <a:pt x="57125" y="6586662"/>
                  </a:lnTo>
                  <a:lnTo>
                    <a:pt x="36897" y="6619841"/>
                  </a:lnTo>
                  <a:lnTo>
                    <a:pt x="19037" y="6654781"/>
                  </a:lnTo>
                  <a:lnTo>
                    <a:pt x="0" y="6688679"/>
                  </a:lnTo>
                  <a:lnTo>
                    <a:pt x="59723" y="6707844"/>
                  </a:lnTo>
                  <a:lnTo>
                    <a:pt x="117363" y="6719596"/>
                  </a:lnTo>
                  <a:lnTo>
                    <a:pt x="167304" y="6738998"/>
                  </a:lnTo>
                  <a:lnTo>
                    <a:pt x="190559" y="6748033"/>
                  </a:lnTo>
                  <a:lnTo>
                    <a:pt x="222070" y="6765720"/>
                  </a:lnTo>
                  <a:lnTo>
                    <a:pt x="254356" y="6781166"/>
                  </a:lnTo>
                  <a:lnTo>
                    <a:pt x="286652" y="6796617"/>
                  </a:lnTo>
                  <a:lnTo>
                    <a:pt x="319391" y="6809016"/>
                  </a:lnTo>
                  <a:lnTo>
                    <a:pt x="344127" y="6809728"/>
                  </a:lnTo>
                  <a:lnTo>
                    <a:pt x="417152" y="6778105"/>
                  </a:lnTo>
                  <a:lnTo>
                    <a:pt x="447510" y="6796129"/>
                  </a:lnTo>
                  <a:lnTo>
                    <a:pt x="470715" y="6843395"/>
                  </a:lnTo>
                  <a:lnTo>
                    <a:pt x="459748" y="6864136"/>
                  </a:lnTo>
                  <a:lnTo>
                    <a:pt x="431834" y="6883439"/>
                  </a:lnTo>
                  <a:lnTo>
                    <a:pt x="412142" y="6891340"/>
                  </a:lnTo>
                  <a:lnTo>
                    <a:pt x="392447" y="6899247"/>
                  </a:lnTo>
                  <a:lnTo>
                    <a:pt x="369980" y="6918544"/>
                  </a:lnTo>
                  <a:lnTo>
                    <a:pt x="368613" y="6940307"/>
                  </a:lnTo>
                  <a:lnTo>
                    <a:pt x="400757" y="6972741"/>
                  </a:lnTo>
                  <a:lnTo>
                    <a:pt x="432544" y="6989275"/>
                  </a:lnTo>
                  <a:lnTo>
                    <a:pt x="464334" y="7005815"/>
                  </a:lnTo>
                  <a:lnTo>
                    <a:pt x="504034" y="7021945"/>
                  </a:lnTo>
                  <a:lnTo>
                    <a:pt x="544084" y="7035524"/>
                  </a:lnTo>
                  <a:lnTo>
                    <a:pt x="624172" y="7062682"/>
                  </a:lnTo>
                  <a:lnTo>
                    <a:pt x="706353" y="7078668"/>
                  </a:lnTo>
                  <a:lnTo>
                    <a:pt x="727707" y="7068169"/>
                  </a:lnTo>
                  <a:lnTo>
                    <a:pt x="762338" y="7020303"/>
                  </a:lnTo>
                  <a:lnTo>
                    <a:pt x="782116" y="6978393"/>
                  </a:lnTo>
                  <a:lnTo>
                    <a:pt x="801898" y="6936489"/>
                  </a:lnTo>
                  <a:lnTo>
                    <a:pt x="821224" y="6892679"/>
                  </a:lnTo>
                  <a:lnTo>
                    <a:pt x="863516" y="6881032"/>
                  </a:lnTo>
                  <a:lnTo>
                    <a:pt x="935605" y="6915609"/>
                  </a:lnTo>
                  <a:lnTo>
                    <a:pt x="967100" y="6929425"/>
                  </a:lnTo>
                  <a:lnTo>
                    <a:pt x="871680" y="7102278"/>
                  </a:lnTo>
                  <a:lnTo>
                    <a:pt x="852211" y="7123692"/>
                  </a:lnTo>
                  <a:lnTo>
                    <a:pt x="823180" y="7145606"/>
                  </a:lnTo>
                  <a:lnTo>
                    <a:pt x="799802" y="7170186"/>
                  </a:lnTo>
                  <a:lnTo>
                    <a:pt x="778330" y="7195688"/>
                  </a:lnTo>
                  <a:lnTo>
                    <a:pt x="764151" y="7223571"/>
                  </a:lnTo>
                  <a:lnTo>
                    <a:pt x="761717" y="7254515"/>
                  </a:lnTo>
                  <a:lnTo>
                    <a:pt x="789474" y="7294743"/>
                  </a:lnTo>
                  <a:lnTo>
                    <a:pt x="820207" y="7319804"/>
                  </a:lnTo>
                  <a:lnTo>
                    <a:pt x="850924" y="7344864"/>
                  </a:lnTo>
                  <a:lnTo>
                    <a:pt x="884110" y="7368548"/>
                  </a:lnTo>
                  <a:lnTo>
                    <a:pt x="883750" y="7398079"/>
                  </a:lnTo>
                  <a:lnTo>
                    <a:pt x="865172" y="7429814"/>
                  </a:lnTo>
                  <a:lnTo>
                    <a:pt x="859643" y="7453107"/>
                  </a:lnTo>
                  <a:lnTo>
                    <a:pt x="853321" y="7479671"/>
                  </a:lnTo>
                  <a:lnTo>
                    <a:pt x="863550" y="7549531"/>
                  </a:lnTo>
                  <a:lnTo>
                    <a:pt x="867810" y="7617690"/>
                  </a:lnTo>
                  <a:lnTo>
                    <a:pt x="869940" y="7651765"/>
                  </a:lnTo>
                  <a:lnTo>
                    <a:pt x="870480" y="7685689"/>
                  </a:lnTo>
                  <a:lnTo>
                    <a:pt x="866449" y="7712900"/>
                  </a:lnTo>
                  <a:lnTo>
                    <a:pt x="862415" y="7740117"/>
                  </a:lnTo>
                  <a:lnTo>
                    <a:pt x="853966" y="7761195"/>
                  </a:lnTo>
                  <a:lnTo>
                    <a:pt x="823391" y="7775901"/>
                  </a:lnTo>
                  <a:lnTo>
                    <a:pt x="787859" y="7767460"/>
                  </a:lnTo>
                  <a:lnTo>
                    <a:pt x="731242" y="7842589"/>
                  </a:lnTo>
                  <a:lnTo>
                    <a:pt x="723630" y="7876123"/>
                  </a:lnTo>
                  <a:lnTo>
                    <a:pt x="716613" y="7906922"/>
                  </a:lnTo>
                  <a:lnTo>
                    <a:pt x="722436" y="7948707"/>
                  </a:lnTo>
                  <a:lnTo>
                    <a:pt x="711392" y="7976782"/>
                  </a:lnTo>
                  <a:lnTo>
                    <a:pt x="659693" y="8108719"/>
                  </a:lnTo>
                  <a:lnTo>
                    <a:pt x="649259" y="8135284"/>
                  </a:lnTo>
                  <a:lnTo>
                    <a:pt x="647566" y="8187601"/>
                  </a:lnTo>
                  <a:lnTo>
                    <a:pt x="648813" y="8240657"/>
                  </a:lnTo>
                  <a:lnTo>
                    <a:pt x="650065" y="8293714"/>
                  </a:lnTo>
                  <a:lnTo>
                    <a:pt x="654260" y="8346895"/>
                  </a:lnTo>
                  <a:lnTo>
                    <a:pt x="659693" y="8375319"/>
                  </a:lnTo>
                  <a:lnTo>
                    <a:pt x="676148" y="8390949"/>
                  </a:lnTo>
                  <a:lnTo>
                    <a:pt x="688395" y="8408880"/>
                  </a:lnTo>
                  <a:lnTo>
                    <a:pt x="701861" y="8425644"/>
                  </a:lnTo>
                  <a:lnTo>
                    <a:pt x="715330" y="8442408"/>
                  </a:lnTo>
                  <a:lnTo>
                    <a:pt x="731003" y="8458454"/>
                  </a:lnTo>
                  <a:lnTo>
                    <a:pt x="752186" y="8469170"/>
                  </a:lnTo>
                  <a:lnTo>
                    <a:pt x="784916" y="8468089"/>
                  </a:lnTo>
                  <a:lnTo>
                    <a:pt x="807960" y="8489575"/>
                  </a:lnTo>
                  <a:lnTo>
                    <a:pt x="815649" y="8511002"/>
                  </a:lnTo>
                  <a:lnTo>
                    <a:pt x="815823" y="8535291"/>
                  </a:lnTo>
                  <a:lnTo>
                    <a:pt x="817475" y="8557588"/>
                  </a:lnTo>
                  <a:lnTo>
                    <a:pt x="819041" y="8578738"/>
                  </a:lnTo>
                  <a:lnTo>
                    <a:pt x="805237" y="8606556"/>
                  </a:lnTo>
                  <a:lnTo>
                    <a:pt x="782076" y="8629117"/>
                  </a:lnTo>
                  <a:lnTo>
                    <a:pt x="737310" y="8655285"/>
                  </a:lnTo>
                  <a:lnTo>
                    <a:pt x="701610" y="8670592"/>
                  </a:lnTo>
                  <a:lnTo>
                    <a:pt x="677375" y="8704490"/>
                  </a:lnTo>
                  <a:lnTo>
                    <a:pt x="677375" y="8734200"/>
                  </a:lnTo>
                  <a:lnTo>
                    <a:pt x="676275" y="8910640"/>
                  </a:lnTo>
                  <a:lnTo>
                    <a:pt x="652645" y="8931058"/>
                  </a:lnTo>
                  <a:lnTo>
                    <a:pt x="632141" y="8935575"/>
                  </a:lnTo>
                  <a:lnTo>
                    <a:pt x="594766" y="8949464"/>
                  </a:lnTo>
                  <a:lnTo>
                    <a:pt x="573999" y="8973806"/>
                  </a:lnTo>
                  <a:lnTo>
                    <a:pt x="577661" y="9010085"/>
                  </a:lnTo>
                  <a:lnTo>
                    <a:pt x="588714" y="9044259"/>
                  </a:lnTo>
                  <a:lnTo>
                    <a:pt x="601209" y="9078539"/>
                  </a:lnTo>
                  <a:lnTo>
                    <a:pt x="602977" y="9133739"/>
                  </a:lnTo>
                  <a:lnTo>
                    <a:pt x="592249" y="9201620"/>
                  </a:lnTo>
                  <a:lnTo>
                    <a:pt x="575366" y="9266250"/>
                  </a:lnTo>
                  <a:lnTo>
                    <a:pt x="558474" y="9330880"/>
                  </a:lnTo>
                  <a:lnTo>
                    <a:pt x="534451" y="9393426"/>
                  </a:lnTo>
                  <a:lnTo>
                    <a:pt x="508716" y="9440356"/>
                  </a:lnTo>
                  <a:lnTo>
                    <a:pt x="479468" y="9493702"/>
                  </a:lnTo>
                  <a:lnTo>
                    <a:pt x="444785" y="9564135"/>
                  </a:lnTo>
                  <a:lnTo>
                    <a:pt x="437433" y="9586063"/>
                  </a:lnTo>
                  <a:lnTo>
                    <a:pt x="440711" y="9623984"/>
                  </a:lnTo>
                  <a:lnTo>
                    <a:pt x="463364" y="9632617"/>
                  </a:lnTo>
                  <a:lnTo>
                    <a:pt x="488953" y="9642793"/>
                  </a:lnTo>
                  <a:lnTo>
                    <a:pt x="512905" y="9654420"/>
                  </a:lnTo>
                  <a:lnTo>
                    <a:pt x="532287" y="9671949"/>
                  </a:lnTo>
                  <a:lnTo>
                    <a:pt x="552242" y="9687909"/>
                  </a:lnTo>
                  <a:lnTo>
                    <a:pt x="572207" y="9703875"/>
                  </a:lnTo>
                  <a:lnTo>
                    <a:pt x="592525" y="9718898"/>
                  </a:lnTo>
                  <a:lnTo>
                    <a:pt x="626969" y="9703809"/>
                  </a:lnTo>
                  <a:lnTo>
                    <a:pt x="652617" y="9690210"/>
                  </a:lnTo>
                  <a:lnTo>
                    <a:pt x="678740" y="9683833"/>
                  </a:lnTo>
                  <a:lnTo>
                    <a:pt x="704874" y="9677455"/>
                  </a:lnTo>
                  <a:lnTo>
                    <a:pt x="732212" y="9677357"/>
                  </a:lnTo>
                  <a:lnTo>
                    <a:pt x="756276" y="9690632"/>
                  </a:lnTo>
                  <a:lnTo>
                    <a:pt x="775469" y="9705405"/>
                  </a:lnTo>
                  <a:lnTo>
                    <a:pt x="794218" y="9722110"/>
                  </a:lnTo>
                  <a:lnTo>
                    <a:pt x="813407" y="9736876"/>
                  </a:lnTo>
                  <a:lnTo>
                    <a:pt x="858208" y="9740299"/>
                  </a:lnTo>
                  <a:lnTo>
                    <a:pt x="902754" y="9741954"/>
                  </a:lnTo>
                  <a:lnTo>
                    <a:pt x="924808" y="9747539"/>
                  </a:lnTo>
                  <a:lnTo>
                    <a:pt x="950779" y="9734152"/>
                  </a:lnTo>
                  <a:lnTo>
                    <a:pt x="974542" y="9693027"/>
                  </a:lnTo>
                  <a:lnTo>
                    <a:pt x="983431" y="9662063"/>
                  </a:lnTo>
                  <a:lnTo>
                    <a:pt x="992320" y="9631094"/>
                  </a:lnTo>
                  <a:lnTo>
                    <a:pt x="998218" y="9599451"/>
                  </a:lnTo>
                  <a:lnTo>
                    <a:pt x="1011994" y="9568211"/>
                  </a:lnTo>
                  <a:lnTo>
                    <a:pt x="1182017" y="9569570"/>
                  </a:lnTo>
                  <a:lnTo>
                    <a:pt x="1213005" y="9574417"/>
                  </a:lnTo>
                  <a:lnTo>
                    <a:pt x="1235363" y="9589203"/>
                  </a:lnTo>
                  <a:lnTo>
                    <a:pt x="1251387" y="9611731"/>
                  </a:lnTo>
                  <a:lnTo>
                    <a:pt x="1265733" y="9635262"/>
                  </a:lnTo>
                  <a:lnTo>
                    <a:pt x="1274874" y="9664062"/>
                  </a:lnTo>
                  <a:lnTo>
                    <a:pt x="1286758" y="9687902"/>
                  </a:lnTo>
                  <a:lnTo>
                    <a:pt x="1326681" y="9686260"/>
                  </a:lnTo>
                  <a:lnTo>
                    <a:pt x="1349322" y="9681102"/>
                  </a:lnTo>
                  <a:lnTo>
                    <a:pt x="1371962" y="9675945"/>
                  </a:lnTo>
                  <a:lnTo>
                    <a:pt x="1394274" y="9672272"/>
                  </a:lnTo>
                  <a:lnTo>
                    <a:pt x="1436098" y="9707278"/>
                  </a:lnTo>
                  <a:lnTo>
                    <a:pt x="1454379" y="9729740"/>
                  </a:lnTo>
                  <a:lnTo>
                    <a:pt x="1475820" y="9747751"/>
                  </a:lnTo>
                  <a:lnTo>
                    <a:pt x="1497260" y="9765768"/>
                  </a:lnTo>
                  <a:lnTo>
                    <a:pt x="1520586" y="9779090"/>
                  </a:lnTo>
                  <a:lnTo>
                    <a:pt x="1562872" y="9785836"/>
                  </a:lnTo>
                  <a:lnTo>
                    <a:pt x="1629547" y="9796468"/>
                  </a:lnTo>
                  <a:lnTo>
                    <a:pt x="1697685" y="9796421"/>
                  </a:lnTo>
                  <a:lnTo>
                    <a:pt x="1765548" y="9796718"/>
                  </a:lnTo>
                  <a:lnTo>
                    <a:pt x="1833395" y="9797047"/>
                  </a:lnTo>
                  <a:lnTo>
                    <a:pt x="1901006" y="9797312"/>
                  </a:lnTo>
                  <a:lnTo>
                    <a:pt x="1966856" y="9810323"/>
                  </a:lnTo>
                  <a:lnTo>
                    <a:pt x="2040514" y="9824878"/>
                  </a:lnTo>
                  <a:lnTo>
                    <a:pt x="2115920" y="9841755"/>
                  </a:lnTo>
                  <a:lnTo>
                    <a:pt x="2189928" y="9853849"/>
                  </a:lnTo>
                  <a:lnTo>
                    <a:pt x="2274896" y="9867765"/>
                  </a:lnTo>
                  <a:lnTo>
                    <a:pt x="2361607" y="9869658"/>
                  </a:lnTo>
                  <a:lnTo>
                    <a:pt x="2446998" y="9886495"/>
                  </a:lnTo>
                  <a:lnTo>
                    <a:pt x="2473570" y="9891724"/>
                  </a:lnTo>
                  <a:lnTo>
                    <a:pt x="2509571" y="9915947"/>
                  </a:lnTo>
                  <a:lnTo>
                    <a:pt x="2532698" y="9928663"/>
                  </a:lnTo>
                  <a:lnTo>
                    <a:pt x="2554417" y="9940579"/>
                  </a:lnTo>
                  <a:lnTo>
                    <a:pt x="2575508" y="9945156"/>
                  </a:lnTo>
                  <a:lnTo>
                    <a:pt x="2596623" y="9955859"/>
                  </a:lnTo>
                  <a:lnTo>
                    <a:pt x="2627752" y="9971641"/>
                  </a:lnTo>
                  <a:lnTo>
                    <a:pt x="2656662" y="9991004"/>
                  </a:lnTo>
                  <a:lnTo>
                    <a:pt x="2686394" y="10007551"/>
                  </a:lnTo>
                  <a:lnTo>
                    <a:pt x="2716128" y="10024097"/>
                  </a:lnTo>
                  <a:lnTo>
                    <a:pt x="2747522" y="10037399"/>
                  </a:lnTo>
                  <a:lnTo>
                    <a:pt x="2784335" y="10041554"/>
                  </a:lnTo>
                  <a:lnTo>
                    <a:pt x="2809406" y="10037366"/>
                  </a:lnTo>
                  <a:lnTo>
                    <a:pt x="2826547" y="10009655"/>
                  </a:lnTo>
                  <a:lnTo>
                    <a:pt x="2848266" y="9983070"/>
                  </a:lnTo>
                  <a:lnTo>
                    <a:pt x="2870370" y="9955846"/>
                  </a:lnTo>
                  <a:lnTo>
                    <a:pt x="2899599" y="9936833"/>
                  </a:lnTo>
                  <a:lnTo>
                    <a:pt x="2939392" y="9931379"/>
                  </a:lnTo>
                  <a:lnTo>
                    <a:pt x="3029170" y="9939537"/>
                  </a:lnTo>
                  <a:lnTo>
                    <a:pt x="3073843" y="9943362"/>
                  </a:lnTo>
                  <a:lnTo>
                    <a:pt x="3122045" y="9950505"/>
                  </a:lnTo>
                  <a:lnTo>
                    <a:pt x="3165189" y="9964024"/>
                  </a:lnTo>
                  <a:lnTo>
                    <a:pt x="3181768" y="9915631"/>
                  </a:lnTo>
                  <a:lnTo>
                    <a:pt x="3168805" y="9886066"/>
                  </a:lnTo>
                  <a:lnTo>
                    <a:pt x="3071840" y="9840482"/>
                  </a:lnTo>
                  <a:lnTo>
                    <a:pt x="3045491" y="9821205"/>
                  </a:lnTo>
                  <a:lnTo>
                    <a:pt x="3041873" y="9792642"/>
                  </a:lnTo>
                  <a:lnTo>
                    <a:pt x="3062619" y="9768050"/>
                  </a:lnTo>
                  <a:lnTo>
                    <a:pt x="3097606" y="9749498"/>
                  </a:lnTo>
                  <a:lnTo>
                    <a:pt x="3167915" y="9719808"/>
                  </a:lnTo>
                  <a:lnTo>
                    <a:pt x="3237278" y="9693343"/>
                  </a:lnTo>
                  <a:lnTo>
                    <a:pt x="3306644" y="9666884"/>
                  </a:lnTo>
                  <a:lnTo>
                    <a:pt x="3376042" y="9643604"/>
                  </a:lnTo>
                  <a:lnTo>
                    <a:pt x="3397786" y="9644376"/>
                  </a:lnTo>
                  <a:lnTo>
                    <a:pt x="3430990" y="9678201"/>
                  </a:lnTo>
                  <a:lnTo>
                    <a:pt x="3449978" y="9705636"/>
                  </a:lnTo>
                  <a:lnTo>
                    <a:pt x="3471233" y="9731428"/>
                  </a:lnTo>
                  <a:lnTo>
                    <a:pt x="3492475" y="9757228"/>
                  </a:lnTo>
                  <a:lnTo>
                    <a:pt x="3515419" y="9782196"/>
                  </a:lnTo>
                  <a:lnTo>
                    <a:pt x="3537880" y="9800801"/>
                  </a:lnTo>
                  <a:lnTo>
                    <a:pt x="3581815" y="9837184"/>
                  </a:lnTo>
                  <a:lnTo>
                    <a:pt x="3623806" y="9859218"/>
                  </a:lnTo>
                  <a:lnTo>
                    <a:pt x="3667100" y="9878330"/>
                  </a:lnTo>
                  <a:lnTo>
                    <a:pt x="3710390" y="9897442"/>
                  </a:lnTo>
                  <a:lnTo>
                    <a:pt x="3756245" y="9913830"/>
                  </a:lnTo>
                  <a:lnTo>
                    <a:pt x="3805839" y="9936820"/>
                  </a:lnTo>
                  <a:lnTo>
                    <a:pt x="3846707" y="9964103"/>
                  </a:lnTo>
                  <a:lnTo>
                    <a:pt x="3872486" y="9977623"/>
                  </a:lnTo>
                  <a:lnTo>
                    <a:pt x="3898273" y="9988643"/>
                  </a:lnTo>
                  <a:lnTo>
                    <a:pt x="3922880" y="9991096"/>
                  </a:lnTo>
                  <a:lnTo>
                    <a:pt x="3944581" y="9980346"/>
                  </a:lnTo>
                  <a:lnTo>
                    <a:pt x="3948956" y="9948770"/>
                  </a:lnTo>
                  <a:lnTo>
                    <a:pt x="3937474" y="9913988"/>
                  </a:lnTo>
                  <a:lnTo>
                    <a:pt x="3940531" y="9881054"/>
                  </a:lnTo>
                  <a:lnTo>
                    <a:pt x="3996940" y="9828473"/>
                  </a:lnTo>
                  <a:lnTo>
                    <a:pt x="4052447" y="9838055"/>
                  </a:lnTo>
                  <a:lnTo>
                    <a:pt x="4086451" y="9871570"/>
                  </a:lnTo>
                  <a:lnTo>
                    <a:pt x="4125518" y="9883771"/>
                  </a:lnTo>
                  <a:lnTo>
                    <a:pt x="4140358" y="9860293"/>
                  </a:lnTo>
                  <a:lnTo>
                    <a:pt x="4143319" y="9833801"/>
                  </a:lnTo>
                  <a:lnTo>
                    <a:pt x="4139145" y="9806241"/>
                  </a:lnTo>
                  <a:lnTo>
                    <a:pt x="4133564" y="9778232"/>
                  </a:lnTo>
                  <a:lnTo>
                    <a:pt x="4124188" y="9749782"/>
                  </a:lnTo>
                  <a:lnTo>
                    <a:pt x="4130982" y="9728711"/>
                  </a:lnTo>
                  <a:lnTo>
                    <a:pt x="4164731" y="9727748"/>
                  </a:lnTo>
                  <a:lnTo>
                    <a:pt x="4188113" y="9732787"/>
                  </a:lnTo>
                  <a:lnTo>
                    <a:pt x="4211498" y="9737832"/>
                  </a:lnTo>
                  <a:lnTo>
                    <a:pt x="4237673" y="9743649"/>
                  </a:lnTo>
                  <a:lnTo>
                    <a:pt x="4258844" y="9736863"/>
                  </a:lnTo>
                  <a:lnTo>
                    <a:pt x="4269724" y="9687895"/>
                  </a:lnTo>
                  <a:lnTo>
                    <a:pt x="4322911" y="9665724"/>
                  </a:lnTo>
                  <a:lnTo>
                    <a:pt x="4349198" y="9668744"/>
                  </a:lnTo>
                  <a:lnTo>
                    <a:pt x="4388836" y="9679843"/>
                  </a:lnTo>
                  <a:lnTo>
                    <a:pt x="4419342" y="9685178"/>
                  </a:lnTo>
                  <a:lnTo>
                    <a:pt x="4435884" y="9656273"/>
                  </a:lnTo>
                  <a:lnTo>
                    <a:pt x="4432697" y="9613934"/>
                  </a:lnTo>
                  <a:lnTo>
                    <a:pt x="4450637" y="9589962"/>
                  </a:lnTo>
                  <a:lnTo>
                    <a:pt x="4499892" y="9617805"/>
                  </a:lnTo>
                  <a:lnTo>
                    <a:pt x="4585469" y="9634998"/>
                  </a:lnTo>
                  <a:lnTo>
                    <a:pt x="4612500" y="9652534"/>
                  </a:lnTo>
                  <a:lnTo>
                    <a:pt x="4607396" y="9731910"/>
                  </a:lnTo>
                  <a:lnTo>
                    <a:pt x="4602463" y="9798301"/>
                  </a:lnTo>
                  <a:lnTo>
                    <a:pt x="4601613" y="9864725"/>
                  </a:lnTo>
                  <a:lnTo>
                    <a:pt x="4600795" y="9931148"/>
                  </a:lnTo>
                  <a:lnTo>
                    <a:pt x="4603089" y="9997948"/>
                  </a:lnTo>
                  <a:lnTo>
                    <a:pt x="4605709" y="10061952"/>
                  </a:lnTo>
                  <a:lnTo>
                    <a:pt x="4607139" y="10096634"/>
                  </a:lnTo>
                  <a:lnTo>
                    <a:pt x="4618338" y="10126496"/>
                  </a:lnTo>
                  <a:lnTo>
                    <a:pt x="4632911" y="10154446"/>
                  </a:lnTo>
                  <a:lnTo>
                    <a:pt x="4647493" y="10182394"/>
                  </a:lnTo>
                  <a:lnTo>
                    <a:pt x="4665913" y="10208840"/>
                  </a:lnTo>
                  <a:lnTo>
                    <a:pt x="4685962" y="10236057"/>
                  </a:lnTo>
                  <a:lnTo>
                    <a:pt x="4713718" y="10273741"/>
                  </a:lnTo>
                  <a:lnTo>
                    <a:pt x="4749508" y="10303431"/>
                  </a:lnTo>
                  <a:lnTo>
                    <a:pt x="4781171" y="10338074"/>
                  </a:lnTo>
                  <a:lnTo>
                    <a:pt x="4799663" y="10358327"/>
                  </a:lnTo>
                  <a:lnTo>
                    <a:pt x="4814924" y="10387509"/>
                  </a:lnTo>
                  <a:lnTo>
                    <a:pt x="4835580" y="10406081"/>
                  </a:lnTo>
                  <a:lnTo>
                    <a:pt x="4884374" y="10449969"/>
                  </a:lnTo>
                  <a:lnTo>
                    <a:pt x="4946612" y="10486097"/>
                  </a:lnTo>
                  <a:lnTo>
                    <a:pt x="4991999" y="10532578"/>
                  </a:lnTo>
                  <a:lnTo>
                    <a:pt x="5019644" y="10565697"/>
                  </a:lnTo>
                  <a:lnTo>
                    <a:pt x="5032815" y="10588350"/>
                  </a:lnTo>
                  <a:lnTo>
                    <a:pt x="5045977" y="10611004"/>
                  </a:lnTo>
                  <a:lnTo>
                    <a:pt x="5056851" y="10635405"/>
                  </a:lnTo>
                  <a:lnTo>
                    <a:pt x="5057985" y="10682539"/>
                  </a:lnTo>
                  <a:lnTo>
                    <a:pt x="5042628" y="10706755"/>
                  </a:lnTo>
                  <a:lnTo>
                    <a:pt x="5027373" y="10731169"/>
                  </a:lnTo>
                  <a:lnTo>
                    <a:pt x="5012112" y="10755584"/>
                  </a:lnTo>
                  <a:lnTo>
                    <a:pt x="4996085" y="10779055"/>
                  </a:lnTo>
                  <a:lnTo>
                    <a:pt x="4996085" y="10808700"/>
                  </a:lnTo>
                  <a:lnTo>
                    <a:pt x="4998091" y="10835422"/>
                  </a:lnTo>
                  <a:lnTo>
                    <a:pt x="5002265" y="10860872"/>
                  </a:lnTo>
                  <a:lnTo>
                    <a:pt x="5005617" y="10884870"/>
                  </a:lnTo>
                  <a:lnTo>
                    <a:pt x="5006922" y="10921149"/>
                  </a:lnTo>
                  <a:lnTo>
                    <a:pt x="5005155" y="10960923"/>
                  </a:lnTo>
                  <a:lnTo>
                    <a:pt x="5012410" y="10996410"/>
                  </a:lnTo>
                  <a:lnTo>
                    <a:pt x="5022236" y="11030249"/>
                  </a:lnTo>
                  <a:lnTo>
                    <a:pt x="5040675" y="11060500"/>
                  </a:lnTo>
                  <a:lnTo>
                    <a:pt x="5070899" y="11084821"/>
                  </a:lnTo>
                  <a:lnTo>
                    <a:pt x="5106835" y="11072634"/>
                  </a:lnTo>
                  <a:lnTo>
                    <a:pt x="5112078" y="11045496"/>
                  </a:lnTo>
                  <a:lnTo>
                    <a:pt x="5122583" y="11023614"/>
                  </a:lnTo>
                  <a:lnTo>
                    <a:pt x="5134970" y="11003031"/>
                  </a:lnTo>
                  <a:lnTo>
                    <a:pt x="5153732" y="10992506"/>
                  </a:lnTo>
                  <a:lnTo>
                    <a:pt x="5182431" y="10997769"/>
                  </a:lnTo>
                  <a:lnTo>
                    <a:pt x="5217294" y="11011117"/>
                  </a:lnTo>
                  <a:lnTo>
                    <a:pt x="5232124" y="11032583"/>
                  </a:lnTo>
                  <a:lnTo>
                    <a:pt x="5245940" y="11059569"/>
                  </a:lnTo>
                  <a:lnTo>
                    <a:pt x="5249059" y="11150110"/>
                  </a:lnTo>
                  <a:lnTo>
                    <a:pt x="5288130" y="11174552"/>
                  </a:lnTo>
                  <a:lnTo>
                    <a:pt x="5310162" y="11185604"/>
                  </a:lnTo>
                  <a:lnTo>
                    <a:pt x="5308473" y="11209749"/>
                  </a:lnTo>
                  <a:lnTo>
                    <a:pt x="5306184" y="11234440"/>
                  </a:lnTo>
                  <a:lnTo>
                    <a:pt x="5303884" y="11259138"/>
                  </a:lnTo>
                  <a:lnTo>
                    <a:pt x="5300857" y="11284634"/>
                  </a:lnTo>
                  <a:lnTo>
                    <a:pt x="5322962" y="11296571"/>
                  </a:lnTo>
                  <a:lnTo>
                    <a:pt x="5351084" y="11303812"/>
                  </a:lnTo>
                  <a:lnTo>
                    <a:pt x="5379371" y="11312339"/>
                  </a:lnTo>
                  <a:lnTo>
                    <a:pt x="5407133" y="11322495"/>
                  </a:lnTo>
                  <a:lnTo>
                    <a:pt x="5432688" y="11335098"/>
                  </a:lnTo>
                  <a:lnTo>
                    <a:pt x="5457434" y="11348716"/>
                  </a:lnTo>
                  <a:lnTo>
                    <a:pt x="5486852" y="11371257"/>
                  </a:lnTo>
                  <a:lnTo>
                    <a:pt x="5500932" y="11395105"/>
                  </a:lnTo>
                  <a:lnTo>
                    <a:pt x="5507502" y="11422150"/>
                  </a:lnTo>
                  <a:lnTo>
                    <a:pt x="5514075" y="11449196"/>
                  </a:lnTo>
                  <a:lnTo>
                    <a:pt x="5513880" y="11479289"/>
                  </a:lnTo>
                  <a:lnTo>
                    <a:pt x="5506150" y="11506479"/>
                  </a:lnTo>
                  <a:lnTo>
                    <a:pt x="5498393" y="11533677"/>
                  </a:lnTo>
                  <a:lnTo>
                    <a:pt x="5482750" y="11558289"/>
                  </a:lnTo>
                  <a:lnTo>
                    <a:pt x="5458541" y="11573134"/>
                  </a:lnTo>
                  <a:lnTo>
                    <a:pt x="5434338" y="11587973"/>
                  </a:lnTo>
                  <a:lnTo>
                    <a:pt x="5402008" y="11592669"/>
                  </a:lnTo>
                  <a:lnTo>
                    <a:pt x="5359254" y="11582651"/>
                  </a:lnTo>
                  <a:lnTo>
                    <a:pt x="5337063" y="11614022"/>
                  </a:lnTo>
                  <a:lnTo>
                    <a:pt x="5315002" y="11763220"/>
                  </a:lnTo>
                  <a:lnTo>
                    <a:pt x="5337661" y="11771786"/>
                  </a:lnTo>
                  <a:lnTo>
                    <a:pt x="5361986" y="11773124"/>
                  </a:lnTo>
                  <a:lnTo>
                    <a:pt x="5386108" y="11787205"/>
                  </a:lnTo>
                  <a:lnTo>
                    <a:pt x="5387792" y="11811138"/>
                  </a:lnTo>
                  <a:lnTo>
                    <a:pt x="5380939" y="11837320"/>
                  </a:lnTo>
                  <a:lnTo>
                    <a:pt x="5371027" y="11861662"/>
                  </a:lnTo>
                  <a:lnTo>
                    <a:pt x="5372841" y="11894141"/>
                  </a:lnTo>
                  <a:lnTo>
                    <a:pt x="5424022" y="11894504"/>
                  </a:lnTo>
                  <a:lnTo>
                    <a:pt x="5441534" y="11860738"/>
                  </a:lnTo>
                  <a:lnTo>
                    <a:pt x="5469415" y="11841092"/>
                  </a:lnTo>
                  <a:lnTo>
                    <a:pt x="5496021" y="11828093"/>
                  </a:lnTo>
                  <a:lnTo>
                    <a:pt x="5535311" y="11816012"/>
                  </a:lnTo>
                  <a:lnTo>
                    <a:pt x="5559158" y="11810524"/>
                  </a:lnTo>
                  <a:lnTo>
                    <a:pt x="5582313" y="11805730"/>
                  </a:lnTo>
                  <a:lnTo>
                    <a:pt x="5605468" y="11800929"/>
                  </a:lnTo>
                  <a:lnTo>
                    <a:pt x="5627957" y="11795778"/>
                  </a:lnTo>
                  <a:lnTo>
                    <a:pt x="5648970" y="11792125"/>
                  </a:lnTo>
                  <a:lnTo>
                    <a:pt x="5669967" y="11788471"/>
                  </a:lnTo>
                  <a:lnTo>
                    <a:pt x="5702011" y="11782608"/>
                  </a:lnTo>
                  <a:lnTo>
                    <a:pt x="5733306" y="11781639"/>
                  </a:lnTo>
                  <a:lnTo>
                    <a:pt x="5757772" y="11791729"/>
                  </a:lnTo>
                  <a:lnTo>
                    <a:pt x="5778190" y="11808447"/>
                  </a:lnTo>
                  <a:lnTo>
                    <a:pt x="5797788" y="11826775"/>
                  </a:lnTo>
                  <a:lnTo>
                    <a:pt x="5818438" y="11841804"/>
                  </a:lnTo>
                  <a:lnTo>
                    <a:pt x="5843479" y="11849250"/>
                  </a:lnTo>
                  <a:lnTo>
                    <a:pt x="5882131" y="11851142"/>
                  </a:lnTo>
                  <a:lnTo>
                    <a:pt x="5921787" y="11850081"/>
                  </a:lnTo>
                  <a:lnTo>
                    <a:pt x="5961812" y="11847891"/>
                  </a:lnTo>
                  <a:lnTo>
                    <a:pt x="6000867" y="11846183"/>
                  </a:lnTo>
                  <a:lnTo>
                    <a:pt x="6039736" y="11846863"/>
                  </a:lnTo>
                  <a:lnTo>
                    <a:pt x="6077433" y="11851973"/>
                  </a:lnTo>
                  <a:lnTo>
                    <a:pt x="6100139" y="11843960"/>
                  </a:lnTo>
                  <a:lnTo>
                    <a:pt x="6123669" y="11811171"/>
                  </a:lnTo>
                  <a:lnTo>
                    <a:pt x="6138896" y="11771503"/>
                  </a:lnTo>
                  <a:lnTo>
                    <a:pt x="6142716" y="11749957"/>
                  </a:lnTo>
                  <a:lnTo>
                    <a:pt x="6146549" y="11728418"/>
                  </a:lnTo>
                  <a:lnTo>
                    <a:pt x="6148936" y="11706905"/>
                  </a:lnTo>
                  <a:lnTo>
                    <a:pt x="6160991" y="11670593"/>
                  </a:lnTo>
                  <a:lnTo>
                    <a:pt x="6186248" y="11647947"/>
                  </a:lnTo>
                  <a:lnTo>
                    <a:pt x="6208005" y="11650664"/>
                  </a:lnTo>
                  <a:lnTo>
                    <a:pt x="6240137" y="11674293"/>
                  </a:lnTo>
                  <a:lnTo>
                    <a:pt x="6279117" y="11701030"/>
                  </a:lnTo>
                  <a:lnTo>
                    <a:pt x="6304582" y="11732276"/>
                  </a:lnTo>
                  <a:lnTo>
                    <a:pt x="6354734" y="11727633"/>
                  </a:lnTo>
                  <a:lnTo>
                    <a:pt x="6380230" y="11713520"/>
                  </a:lnTo>
                  <a:lnTo>
                    <a:pt x="6403882" y="11696901"/>
                  </a:lnTo>
                  <a:lnTo>
                    <a:pt x="6427517" y="11680288"/>
                  </a:lnTo>
                  <a:lnTo>
                    <a:pt x="6449194" y="11660840"/>
                  </a:lnTo>
                  <a:lnTo>
                    <a:pt x="6471887" y="11641134"/>
                  </a:lnTo>
                  <a:lnTo>
                    <a:pt x="6497048" y="11624086"/>
                  </a:lnTo>
                  <a:lnTo>
                    <a:pt x="6512123" y="11606069"/>
                  </a:lnTo>
                  <a:lnTo>
                    <a:pt x="6530376" y="11592173"/>
                  </a:lnTo>
                  <a:lnTo>
                    <a:pt x="6548626" y="11578278"/>
                  </a:lnTo>
                  <a:lnTo>
                    <a:pt x="6569803" y="11568617"/>
                  </a:lnTo>
                  <a:lnTo>
                    <a:pt x="6606623" y="11576755"/>
                  </a:lnTo>
                  <a:lnTo>
                    <a:pt x="6633040" y="11582604"/>
                  </a:lnTo>
                  <a:lnTo>
                    <a:pt x="6663674" y="11590815"/>
                  </a:lnTo>
                  <a:lnTo>
                    <a:pt x="6694307" y="11599026"/>
                  </a:lnTo>
                  <a:lnTo>
                    <a:pt x="6728885" y="11609690"/>
                  </a:lnTo>
                  <a:lnTo>
                    <a:pt x="6762973" y="11620736"/>
                  </a:lnTo>
                  <a:lnTo>
                    <a:pt x="6797042" y="11631783"/>
                  </a:lnTo>
                  <a:lnTo>
                    <a:pt x="6830070" y="11643963"/>
                  </a:lnTo>
                  <a:lnTo>
                    <a:pt x="6856825" y="11656104"/>
                  </a:lnTo>
                  <a:lnTo>
                    <a:pt x="6882817" y="11667897"/>
                  </a:lnTo>
                  <a:lnTo>
                    <a:pt x="6902192" y="11678936"/>
                  </a:lnTo>
                  <a:lnTo>
                    <a:pt x="6928696" y="11681245"/>
                  </a:lnTo>
                  <a:lnTo>
                    <a:pt x="6957476" y="11668345"/>
                  </a:lnTo>
                  <a:lnTo>
                    <a:pt x="6992977" y="11654205"/>
                  </a:lnTo>
                  <a:lnTo>
                    <a:pt x="7028061" y="11638958"/>
                  </a:lnTo>
                  <a:lnTo>
                    <a:pt x="7058133" y="11620736"/>
                  </a:lnTo>
                  <a:lnTo>
                    <a:pt x="7081146" y="11596072"/>
                  </a:lnTo>
                  <a:lnTo>
                    <a:pt x="7087121" y="11573002"/>
                  </a:lnTo>
                  <a:lnTo>
                    <a:pt x="7093495" y="11550006"/>
                  </a:lnTo>
                  <a:lnTo>
                    <a:pt x="7100264" y="11522386"/>
                  </a:lnTo>
                  <a:lnTo>
                    <a:pt x="7112607" y="11478742"/>
                  </a:lnTo>
                  <a:lnTo>
                    <a:pt x="7122384" y="11449809"/>
                  </a:lnTo>
                  <a:lnTo>
                    <a:pt x="7150621" y="11434397"/>
                  </a:lnTo>
                  <a:lnTo>
                    <a:pt x="7172477" y="11459445"/>
                  </a:lnTo>
                  <a:lnTo>
                    <a:pt x="7187269" y="11480845"/>
                  </a:lnTo>
                  <a:lnTo>
                    <a:pt x="7217336" y="11506486"/>
                  </a:lnTo>
                  <a:lnTo>
                    <a:pt x="7249914" y="11529608"/>
                  </a:lnTo>
                  <a:lnTo>
                    <a:pt x="7282507" y="11552729"/>
                  </a:lnTo>
                  <a:lnTo>
                    <a:pt x="7318127" y="11572606"/>
                  </a:lnTo>
                  <a:lnTo>
                    <a:pt x="7341517" y="11566308"/>
                  </a:lnTo>
                  <a:lnTo>
                    <a:pt x="7354655" y="11536407"/>
                  </a:lnTo>
                  <a:lnTo>
                    <a:pt x="7366598" y="11505101"/>
                  </a:lnTo>
                  <a:lnTo>
                    <a:pt x="7363538" y="11481162"/>
                  </a:lnTo>
                  <a:lnTo>
                    <a:pt x="7345133" y="11450720"/>
                  </a:lnTo>
                  <a:lnTo>
                    <a:pt x="7328064" y="11421643"/>
                  </a:lnTo>
                  <a:lnTo>
                    <a:pt x="7324418" y="11391972"/>
                  </a:lnTo>
                  <a:lnTo>
                    <a:pt x="7343775" y="11377266"/>
                  </a:lnTo>
                  <a:lnTo>
                    <a:pt x="7365854" y="11366444"/>
                  </a:lnTo>
                  <a:lnTo>
                    <a:pt x="7397099" y="11352397"/>
                  </a:lnTo>
                  <a:lnTo>
                    <a:pt x="7424027" y="11333740"/>
                  </a:lnTo>
                  <a:lnTo>
                    <a:pt x="7445111" y="11319171"/>
                  </a:lnTo>
                  <a:lnTo>
                    <a:pt x="7470923" y="11318195"/>
                  </a:lnTo>
                  <a:lnTo>
                    <a:pt x="7496820" y="11338402"/>
                  </a:lnTo>
                  <a:lnTo>
                    <a:pt x="7514087" y="11355562"/>
                  </a:lnTo>
                  <a:lnTo>
                    <a:pt x="7538278" y="11382706"/>
                  </a:lnTo>
                  <a:lnTo>
                    <a:pt x="7567156" y="11364380"/>
                  </a:lnTo>
                  <a:lnTo>
                    <a:pt x="7581804" y="11325588"/>
                  </a:lnTo>
                  <a:lnTo>
                    <a:pt x="7591642" y="11284977"/>
                  </a:lnTo>
                  <a:lnTo>
                    <a:pt x="7596767" y="11264374"/>
                  </a:lnTo>
                  <a:lnTo>
                    <a:pt x="7601892" y="11243771"/>
                  </a:lnTo>
                  <a:lnTo>
                    <a:pt x="7607786" y="11223539"/>
                  </a:lnTo>
                  <a:lnTo>
                    <a:pt x="7629280" y="11190953"/>
                  </a:lnTo>
                  <a:lnTo>
                    <a:pt x="7667498" y="11170522"/>
                  </a:lnTo>
                  <a:lnTo>
                    <a:pt x="7690963" y="11163406"/>
                  </a:lnTo>
                  <a:lnTo>
                    <a:pt x="7714639" y="11165800"/>
                  </a:lnTo>
                  <a:lnTo>
                    <a:pt x="7738234" y="11169164"/>
                  </a:lnTo>
                  <a:lnTo>
                    <a:pt x="7800801" y="11178686"/>
                  </a:lnTo>
                  <a:lnTo>
                    <a:pt x="7845691" y="11201808"/>
                  </a:lnTo>
                  <a:lnTo>
                    <a:pt x="7890575" y="11224930"/>
                  </a:lnTo>
                  <a:lnTo>
                    <a:pt x="7907715" y="11241707"/>
                  </a:lnTo>
                  <a:lnTo>
                    <a:pt x="7925119" y="11259843"/>
                  </a:lnTo>
                  <a:lnTo>
                    <a:pt x="7947701" y="11268457"/>
                  </a:lnTo>
                  <a:lnTo>
                    <a:pt x="7980973" y="11266267"/>
                  </a:lnTo>
                  <a:lnTo>
                    <a:pt x="8006916" y="11254330"/>
                  </a:lnTo>
                  <a:lnTo>
                    <a:pt x="8036120" y="11239894"/>
                  </a:lnTo>
                  <a:lnTo>
                    <a:pt x="8067551" y="11227073"/>
                  </a:lnTo>
                  <a:lnTo>
                    <a:pt x="8097167" y="11211905"/>
                  </a:lnTo>
                  <a:lnTo>
                    <a:pt x="8123172" y="11190927"/>
                  </a:lnTo>
                  <a:lnTo>
                    <a:pt x="8129082" y="11152564"/>
                  </a:lnTo>
                  <a:lnTo>
                    <a:pt x="8120422" y="11129719"/>
                  </a:lnTo>
                  <a:lnTo>
                    <a:pt x="8111768" y="11106868"/>
                  </a:lnTo>
                  <a:lnTo>
                    <a:pt x="8100947" y="11084109"/>
                  </a:lnTo>
                  <a:lnTo>
                    <a:pt x="8101849" y="11053568"/>
                  </a:lnTo>
                  <a:lnTo>
                    <a:pt x="8113365" y="11033797"/>
                  </a:lnTo>
                  <a:lnTo>
                    <a:pt x="8137549" y="11000664"/>
                  </a:lnTo>
                  <a:lnTo>
                    <a:pt x="8166673" y="10989617"/>
                  </a:lnTo>
                  <a:lnTo>
                    <a:pt x="8198485" y="10994537"/>
                  </a:lnTo>
                  <a:lnTo>
                    <a:pt x="8222447" y="11001858"/>
                  </a:lnTo>
                  <a:lnTo>
                    <a:pt x="8256705" y="11015740"/>
                  </a:lnTo>
                  <a:lnTo>
                    <a:pt x="8290452" y="11026344"/>
                  </a:lnTo>
                  <a:lnTo>
                    <a:pt x="8331255" y="10989617"/>
                  </a:lnTo>
                  <a:lnTo>
                    <a:pt x="8283599" y="10925693"/>
                  </a:lnTo>
                  <a:lnTo>
                    <a:pt x="8304023" y="10897928"/>
                  </a:lnTo>
                  <a:lnTo>
                    <a:pt x="8323051" y="10883531"/>
                  </a:lnTo>
                  <a:lnTo>
                    <a:pt x="8342070" y="10869128"/>
                  </a:lnTo>
                  <a:lnTo>
                    <a:pt x="8363347" y="10855305"/>
                  </a:lnTo>
                  <a:lnTo>
                    <a:pt x="8388207" y="10840869"/>
                  </a:lnTo>
                  <a:lnTo>
                    <a:pt x="8419619" y="10850880"/>
                  </a:lnTo>
                  <a:lnTo>
                    <a:pt x="8454020" y="10868377"/>
                  </a:lnTo>
                  <a:lnTo>
                    <a:pt x="8488601" y="10890515"/>
                  </a:lnTo>
                  <a:lnTo>
                    <a:pt x="8505592" y="10903177"/>
                  </a:lnTo>
                  <a:lnTo>
                    <a:pt x="8540405" y="10921004"/>
                  </a:lnTo>
                  <a:lnTo>
                    <a:pt x="8574692" y="10927058"/>
                  </a:lnTo>
                  <a:lnTo>
                    <a:pt x="8598876" y="10902722"/>
                  </a:lnTo>
                  <a:lnTo>
                    <a:pt x="8607626" y="10869775"/>
                  </a:lnTo>
                  <a:lnTo>
                    <a:pt x="8605946" y="10831841"/>
                  </a:lnTo>
                  <a:lnTo>
                    <a:pt x="8600334" y="10793366"/>
                  </a:lnTo>
                  <a:lnTo>
                    <a:pt x="8595221" y="10756059"/>
                  </a:lnTo>
                  <a:lnTo>
                    <a:pt x="8596436" y="10723025"/>
                  </a:lnTo>
                  <a:lnTo>
                    <a:pt x="8620652" y="10700516"/>
                  </a:lnTo>
                  <a:lnTo>
                    <a:pt x="8654932" y="10699903"/>
                  </a:lnTo>
                  <a:lnTo>
                    <a:pt x="8690216" y="10705964"/>
                  </a:lnTo>
                  <a:lnTo>
                    <a:pt x="8747605" y="10728591"/>
                  </a:lnTo>
                  <a:lnTo>
                    <a:pt x="8788809" y="10753058"/>
                  </a:lnTo>
                  <a:lnTo>
                    <a:pt x="8827678" y="10780150"/>
                  </a:lnTo>
                  <a:lnTo>
                    <a:pt x="8866544" y="10807248"/>
                  </a:lnTo>
                  <a:lnTo>
                    <a:pt x="8903943" y="10836761"/>
                  </a:lnTo>
                  <a:lnTo>
                    <a:pt x="8935138" y="10857686"/>
                  </a:lnTo>
                  <a:lnTo>
                    <a:pt x="8966330" y="10878605"/>
                  </a:lnTo>
                  <a:lnTo>
                    <a:pt x="8991984" y="10891043"/>
                  </a:lnTo>
                  <a:lnTo>
                    <a:pt x="9019465" y="10876726"/>
                  </a:lnTo>
                  <a:lnTo>
                    <a:pt x="9020640" y="10855536"/>
                  </a:lnTo>
                  <a:lnTo>
                    <a:pt x="9003090" y="10837143"/>
                  </a:lnTo>
                  <a:lnTo>
                    <a:pt x="8985454" y="10820959"/>
                  </a:lnTo>
                  <a:lnTo>
                    <a:pt x="8967834" y="10804775"/>
                  </a:lnTo>
                  <a:lnTo>
                    <a:pt x="8950291" y="10790834"/>
                  </a:lnTo>
                  <a:lnTo>
                    <a:pt x="8964984" y="10768675"/>
                  </a:lnTo>
                  <a:lnTo>
                    <a:pt x="8990006" y="10763260"/>
                  </a:lnTo>
                  <a:lnTo>
                    <a:pt x="9027985" y="10772783"/>
                  </a:lnTo>
                  <a:lnTo>
                    <a:pt x="9070240" y="10788262"/>
                  </a:lnTo>
                  <a:lnTo>
                    <a:pt x="9111958" y="10796479"/>
                  </a:lnTo>
                  <a:lnTo>
                    <a:pt x="9132819" y="10800588"/>
                  </a:lnTo>
                  <a:lnTo>
                    <a:pt x="9153850" y="10803060"/>
                  </a:lnTo>
                  <a:lnTo>
                    <a:pt x="9192490" y="10800779"/>
                  </a:lnTo>
                  <a:lnTo>
                    <a:pt x="9224851" y="10785597"/>
                  </a:lnTo>
                  <a:lnTo>
                    <a:pt x="9241358" y="10771339"/>
                  </a:lnTo>
                  <a:lnTo>
                    <a:pt x="9257323" y="10753605"/>
                  </a:lnTo>
                  <a:lnTo>
                    <a:pt x="9277908" y="10737988"/>
                  </a:lnTo>
                  <a:lnTo>
                    <a:pt x="9303925" y="10735720"/>
                  </a:lnTo>
                  <a:lnTo>
                    <a:pt x="9333507" y="10740257"/>
                  </a:lnTo>
                  <a:lnTo>
                    <a:pt x="9364960" y="10750229"/>
                  </a:lnTo>
                  <a:lnTo>
                    <a:pt x="9397519" y="10759561"/>
                  </a:lnTo>
                  <a:lnTo>
                    <a:pt x="9430336" y="10770825"/>
                  </a:lnTo>
                  <a:lnTo>
                    <a:pt x="9462895" y="10781515"/>
                  </a:lnTo>
                  <a:lnTo>
                    <a:pt x="9496034" y="10789310"/>
                  </a:lnTo>
                  <a:lnTo>
                    <a:pt x="9527688" y="10792759"/>
                  </a:lnTo>
                  <a:lnTo>
                    <a:pt x="9558105" y="10789680"/>
                  </a:lnTo>
                  <a:lnTo>
                    <a:pt x="9585870" y="10781462"/>
                  </a:lnTo>
                  <a:lnTo>
                    <a:pt x="9611952" y="10762529"/>
                  </a:lnTo>
                  <a:lnTo>
                    <a:pt x="9635641" y="10731190"/>
                  </a:lnTo>
                  <a:lnTo>
                    <a:pt x="9648704" y="10703095"/>
                  </a:lnTo>
                  <a:lnTo>
                    <a:pt x="9657370" y="10669052"/>
                  </a:lnTo>
                  <a:lnTo>
                    <a:pt x="9657838" y="10642745"/>
                  </a:lnTo>
                  <a:lnTo>
                    <a:pt x="9628162" y="10633690"/>
                  </a:lnTo>
                  <a:lnTo>
                    <a:pt x="9535384" y="10620883"/>
                  </a:lnTo>
                  <a:lnTo>
                    <a:pt x="9458191" y="10576948"/>
                  </a:lnTo>
                  <a:lnTo>
                    <a:pt x="9393495" y="10531232"/>
                  </a:lnTo>
                  <a:lnTo>
                    <a:pt x="9363239" y="10509812"/>
                  </a:lnTo>
                  <a:lnTo>
                    <a:pt x="9308402" y="10485456"/>
                  </a:lnTo>
                  <a:lnTo>
                    <a:pt x="9286037" y="10456426"/>
                  </a:lnTo>
                  <a:lnTo>
                    <a:pt x="9238350" y="10394368"/>
                  </a:lnTo>
                  <a:lnTo>
                    <a:pt x="9288484" y="10230907"/>
                  </a:lnTo>
                  <a:lnTo>
                    <a:pt x="9231638" y="10101409"/>
                  </a:lnTo>
                  <a:lnTo>
                    <a:pt x="9223471" y="10073400"/>
                  </a:lnTo>
                  <a:lnTo>
                    <a:pt x="9105562" y="9935151"/>
                  </a:lnTo>
                  <a:lnTo>
                    <a:pt x="8957130" y="9990767"/>
                  </a:lnTo>
                  <a:lnTo>
                    <a:pt x="8871179" y="9930028"/>
                  </a:lnTo>
                  <a:lnTo>
                    <a:pt x="8850272" y="9915215"/>
                  </a:lnTo>
                  <a:lnTo>
                    <a:pt x="8822596" y="9851753"/>
                  </a:lnTo>
                  <a:lnTo>
                    <a:pt x="8811332" y="9825294"/>
                  </a:lnTo>
                  <a:lnTo>
                    <a:pt x="8762113" y="9742659"/>
                  </a:lnTo>
                  <a:lnTo>
                    <a:pt x="8754845" y="9657480"/>
                  </a:lnTo>
                  <a:lnTo>
                    <a:pt x="8744681" y="9564135"/>
                  </a:lnTo>
                  <a:lnTo>
                    <a:pt x="8738945" y="9511469"/>
                  </a:lnTo>
                  <a:lnTo>
                    <a:pt x="8717182" y="9459336"/>
                  </a:lnTo>
                  <a:lnTo>
                    <a:pt x="8702513" y="9409069"/>
                  </a:lnTo>
                  <a:lnTo>
                    <a:pt x="8681014" y="9334943"/>
                  </a:lnTo>
                  <a:lnTo>
                    <a:pt x="8683085" y="9253139"/>
                  </a:lnTo>
                  <a:lnTo>
                    <a:pt x="8645398" y="9183280"/>
                  </a:lnTo>
                  <a:lnTo>
                    <a:pt x="8631612" y="9163706"/>
                  </a:lnTo>
                  <a:lnTo>
                    <a:pt x="8620869" y="9142517"/>
                  </a:lnTo>
                  <a:lnTo>
                    <a:pt x="8610020" y="9123431"/>
                  </a:lnTo>
                  <a:lnTo>
                    <a:pt x="8613892" y="9004663"/>
                  </a:lnTo>
                  <a:lnTo>
                    <a:pt x="8912457" y="8967580"/>
                  </a:lnTo>
                  <a:lnTo>
                    <a:pt x="8945993" y="8903076"/>
                  </a:lnTo>
                  <a:lnTo>
                    <a:pt x="8929926" y="8865076"/>
                  </a:lnTo>
                  <a:lnTo>
                    <a:pt x="8856222" y="8849921"/>
                  </a:lnTo>
                  <a:lnTo>
                    <a:pt x="8839900" y="8806506"/>
                  </a:lnTo>
                  <a:lnTo>
                    <a:pt x="8826044" y="8769588"/>
                  </a:lnTo>
                  <a:lnTo>
                    <a:pt x="8877213" y="8647424"/>
                  </a:lnTo>
                  <a:lnTo>
                    <a:pt x="8865738" y="8573911"/>
                  </a:lnTo>
                  <a:lnTo>
                    <a:pt x="8862256" y="8488388"/>
                  </a:lnTo>
                  <a:lnTo>
                    <a:pt x="8855965" y="8379611"/>
                  </a:lnTo>
                  <a:lnTo>
                    <a:pt x="8778686" y="8324993"/>
                  </a:lnTo>
                  <a:lnTo>
                    <a:pt x="8748647" y="8303738"/>
                  </a:lnTo>
                  <a:lnTo>
                    <a:pt x="8710718" y="8288266"/>
                  </a:lnTo>
                  <a:lnTo>
                    <a:pt x="8678034" y="8270585"/>
                  </a:lnTo>
                  <a:lnTo>
                    <a:pt x="8639730" y="8251882"/>
                  </a:lnTo>
                  <a:lnTo>
                    <a:pt x="8627709" y="8233857"/>
                  </a:lnTo>
                  <a:lnTo>
                    <a:pt x="8598439" y="8189976"/>
                  </a:lnTo>
                  <a:lnTo>
                    <a:pt x="8638629" y="8070977"/>
                  </a:lnTo>
                  <a:lnTo>
                    <a:pt x="8627709" y="8013509"/>
                  </a:lnTo>
                  <a:lnTo>
                    <a:pt x="8617505" y="7959569"/>
                  </a:lnTo>
                  <a:lnTo>
                    <a:pt x="8509800" y="7916063"/>
                  </a:lnTo>
                  <a:lnTo>
                    <a:pt x="8497131" y="7870690"/>
                  </a:lnTo>
                  <a:lnTo>
                    <a:pt x="8476230" y="7795706"/>
                  </a:lnTo>
                  <a:lnTo>
                    <a:pt x="8554380" y="7685868"/>
                  </a:lnTo>
                  <a:lnTo>
                    <a:pt x="8501217" y="7587768"/>
                  </a:lnTo>
                  <a:lnTo>
                    <a:pt x="8447958" y="7489260"/>
                  </a:lnTo>
                  <a:lnTo>
                    <a:pt x="8389506" y="7518350"/>
                  </a:lnTo>
                  <a:lnTo>
                    <a:pt x="8305350" y="7491193"/>
                  </a:lnTo>
                  <a:lnTo>
                    <a:pt x="8286269" y="7434846"/>
                  </a:lnTo>
                  <a:lnTo>
                    <a:pt x="8335909" y="7330818"/>
                  </a:lnTo>
                  <a:lnTo>
                    <a:pt x="8320313" y="7291241"/>
                  </a:lnTo>
                  <a:lnTo>
                    <a:pt x="8311688" y="7269333"/>
                  </a:lnTo>
                  <a:lnTo>
                    <a:pt x="8286483" y="7255899"/>
                  </a:lnTo>
                  <a:lnTo>
                    <a:pt x="8271346" y="7239558"/>
                  </a:lnTo>
                  <a:lnTo>
                    <a:pt x="8280890" y="7197390"/>
                  </a:lnTo>
                  <a:lnTo>
                    <a:pt x="8342300" y="7161407"/>
                  </a:lnTo>
                  <a:lnTo>
                    <a:pt x="8403865" y="7184463"/>
                  </a:lnTo>
                  <a:lnTo>
                    <a:pt x="8460435" y="7159304"/>
                  </a:lnTo>
                  <a:lnTo>
                    <a:pt x="8494557" y="7144064"/>
                  </a:lnTo>
                  <a:lnTo>
                    <a:pt x="8525765" y="7113713"/>
                  </a:lnTo>
                  <a:lnTo>
                    <a:pt x="8543407" y="7081768"/>
                  </a:lnTo>
                  <a:lnTo>
                    <a:pt x="8609719" y="6961351"/>
                  </a:lnTo>
                  <a:lnTo>
                    <a:pt x="8437063" y="6931279"/>
                  </a:lnTo>
                  <a:lnTo>
                    <a:pt x="8361142" y="6904946"/>
                  </a:lnTo>
                  <a:lnTo>
                    <a:pt x="8339590" y="6897467"/>
                  </a:lnTo>
                  <a:lnTo>
                    <a:pt x="8316001" y="6883756"/>
                  </a:lnTo>
                  <a:lnTo>
                    <a:pt x="8293131" y="6880465"/>
                  </a:lnTo>
                  <a:lnTo>
                    <a:pt x="8224062" y="6870533"/>
                  </a:lnTo>
                  <a:lnTo>
                    <a:pt x="8014586" y="6981670"/>
                  </a:lnTo>
                  <a:lnTo>
                    <a:pt x="7883717" y="6941672"/>
                  </a:lnTo>
                  <a:lnTo>
                    <a:pt x="7828334" y="6924756"/>
                  </a:lnTo>
                  <a:lnTo>
                    <a:pt x="7776340" y="6847392"/>
                  </a:lnTo>
                  <a:lnTo>
                    <a:pt x="7755849" y="6796129"/>
                  </a:lnTo>
                  <a:lnTo>
                    <a:pt x="7759331" y="6764994"/>
                  </a:lnTo>
                  <a:lnTo>
                    <a:pt x="7777066" y="6746608"/>
                  </a:lnTo>
                  <a:lnTo>
                    <a:pt x="7773538" y="6711794"/>
                  </a:lnTo>
                  <a:lnTo>
                    <a:pt x="7769156" y="6669118"/>
                  </a:lnTo>
                  <a:lnTo>
                    <a:pt x="7749564" y="6596139"/>
                  </a:lnTo>
                  <a:lnTo>
                    <a:pt x="7730012" y="6558093"/>
                  </a:lnTo>
                  <a:lnTo>
                    <a:pt x="7704546" y="6508684"/>
                  </a:lnTo>
                  <a:lnTo>
                    <a:pt x="7655315" y="6460818"/>
                  </a:lnTo>
                  <a:lnTo>
                    <a:pt x="7653839" y="6401669"/>
                  </a:lnTo>
                  <a:lnTo>
                    <a:pt x="7652798" y="6359909"/>
                  </a:lnTo>
                  <a:lnTo>
                    <a:pt x="7668118" y="6311219"/>
                  </a:lnTo>
                  <a:lnTo>
                    <a:pt x="7672886" y="6269731"/>
                  </a:lnTo>
                  <a:lnTo>
                    <a:pt x="7676406" y="6239298"/>
                  </a:lnTo>
                  <a:lnTo>
                    <a:pt x="7659281" y="6199003"/>
                  </a:lnTo>
                  <a:lnTo>
                    <a:pt x="7652739" y="6147655"/>
                  </a:lnTo>
                  <a:lnTo>
                    <a:pt x="7672793" y="6139154"/>
                  </a:lnTo>
                  <a:lnTo>
                    <a:pt x="7623919" y="6098348"/>
                  </a:lnTo>
                  <a:lnTo>
                    <a:pt x="7597306" y="6092846"/>
                  </a:lnTo>
                  <a:lnTo>
                    <a:pt x="7559427" y="6100986"/>
                  </a:lnTo>
                  <a:lnTo>
                    <a:pt x="7538219" y="6088826"/>
                  </a:lnTo>
                  <a:lnTo>
                    <a:pt x="7523720" y="6057839"/>
                  </a:lnTo>
                  <a:lnTo>
                    <a:pt x="7457417" y="6002199"/>
                  </a:lnTo>
                  <a:lnTo>
                    <a:pt x="7371162" y="6081727"/>
                  </a:lnTo>
                  <a:lnTo>
                    <a:pt x="7328749" y="6109229"/>
                  </a:lnTo>
                  <a:lnTo>
                    <a:pt x="7264905" y="6113160"/>
                  </a:lnTo>
                  <a:lnTo>
                    <a:pt x="7231409" y="5998989"/>
                  </a:lnTo>
                  <a:lnTo>
                    <a:pt x="7087995" y="6030338"/>
                  </a:lnTo>
                  <a:lnTo>
                    <a:pt x="6990953" y="6051548"/>
                  </a:lnTo>
                  <a:lnTo>
                    <a:pt x="7023084" y="6116604"/>
                  </a:lnTo>
                  <a:lnTo>
                    <a:pt x="6964216" y="6154115"/>
                  </a:lnTo>
                  <a:lnTo>
                    <a:pt x="6928129" y="6177091"/>
                  </a:lnTo>
                  <a:lnTo>
                    <a:pt x="6853739" y="6179025"/>
                  </a:lnTo>
                  <a:lnTo>
                    <a:pt x="6811875" y="6185400"/>
                  </a:lnTo>
                  <a:lnTo>
                    <a:pt x="6776637" y="6190755"/>
                  </a:lnTo>
                  <a:lnTo>
                    <a:pt x="6744500" y="6216111"/>
                  </a:lnTo>
                  <a:lnTo>
                    <a:pt x="6713946" y="6231646"/>
                  </a:lnTo>
                  <a:lnTo>
                    <a:pt x="6693793" y="6241912"/>
                  </a:lnTo>
                  <a:lnTo>
                    <a:pt x="6667478" y="6248926"/>
                  </a:lnTo>
                  <a:lnTo>
                    <a:pt x="6645926" y="6257491"/>
                  </a:lnTo>
                  <a:lnTo>
                    <a:pt x="6519140" y="6307922"/>
                  </a:lnTo>
                  <a:lnTo>
                    <a:pt x="6319949" y="6305693"/>
                  </a:lnTo>
                  <a:lnTo>
                    <a:pt x="6187541" y="6277895"/>
                  </a:lnTo>
                  <a:lnTo>
                    <a:pt x="6164163" y="6272989"/>
                  </a:lnTo>
                  <a:lnTo>
                    <a:pt x="6090794" y="6268798"/>
                  </a:lnTo>
                  <a:lnTo>
                    <a:pt x="6034183" y="6215452"/>
                  </a:lnTo>
                  <a:lnTo>
                    <a:pt x="5989129" y="5947599"/>
                  </a:lnTo>
                  <a:lnTo>
                    <a:pt x="5972634" y="5932403"/>
                  </a:lnTo>
                  <a:lnTo>
                    <a:pt x="5950871" y="5925602"/>
                  </a:lnTo>
                  <a:lnTo>
                    <a:pt x="5834530" y="5954974"/>
                  </a:lnTo>
                  <a:lnTo>
                    <a:pt x="5710116" y="5991785"/>
                  </a:lnTo>
                  <a:lnTo>
                    <a:pt x="5589054" y="5962328"/>
                  </a:lnTo>
                  <a:lnTo>
                    <a:pt x="5540086" y="5950426"/>
                  </a:lnTo>
                  <a:lnTo>
                    <a:pt x="5465790" y="5902668"/>
                  </a:lnTo>
                  <a:lnTo>
                    <a:pt x="5419117" y="5895382"/>
                  </a:lnTo>
                  <a:lnTo>
                    <a:pt x="5382561" y="5912170"/>
                  </a:lnTo>
                  <a:lnTo>
                    <a:pt x="5345577" y="5899760"/>
                  </a:lnTo>
                  <a:lnTo>
                    <a:pt x="5321321" y="5891599"/>
                  </a:lnTo>
                  <a:lnTo>
                    <a:pt x="5300482" y="5873237"/>
                  </a:lnTo>
                  <a:lnTo>
                    <a:pt x="5278930" y="5860315"/>
                  </a:lnTo>
                  <a:lnTo>
                    <a:pt x="5235237" y="5834088"/>
                  </a:lnTo>
                  <a:lnTo>
                    <a:pt x="5162463" y="5809476"/>
                  </a:lnTo>
                  <a:lnTo>
                    <a:pt x="5111623" y="5811348"/>
                  </a:lnTo>
                  <a:lnTo>
                    <a:pt x="5061725" y="5813198"/>
                  </a:lnTo>
                  <a:lnTo>
                    <a:pt x="4951763" y="5834939"/>
                  </a:lnTo>
                  <a:lnTo>
                    <a:pt x="4917120" y="5872557"/>
                  </a:lnTo>
                  <a:lnTo>
                    <a:pt x="4884133" y="5908369"/>
                  </a:lnTo>
                  <a:lnTo>
                    <a:pt x="4863600" y="5993848"/>
                  </a:lnTo>
                  <a:lnTo>
                    <a:pt x="4800144" y="5985454"/>
                  </a:lnTo>
                  <a:lnTo>
                    <a:pt x="4771364" y="5981650"/>
                  </a:lnTo>
                  <a:lnTo>
                    <a:pt x="4659185" y="5940546"/>
                  </a:lnTo>
                  <a:lnTo>
                    <a:pt x="4630117" y="5926965"/>
                  </a:lnTo>
                  <a:lnTo>
                    <a:pt x="4588507" y="5907560"/>
                  </a:lnTo>
                  <a:lnTo>
                    <a:pt x="4503567" y="5838680"/>
                  </a:lnTo>
                  <a:lnTo>
                    <a:pt x="4461451" y="5837192"/>
                  </a:lnTo>
                  <a:lnTo>
                    <a:pt x="4490265" y="5825588"/>
                  </a:lnTo>
                  <a:lnTo>
                    <a:pt x="4540814" y="5809307"/>
                  </a:lnTo>
                  <a:lnTo>
                    <a:pt x="4564825" y="5793665"/>
                  </a:lnTo>
                  <a:lnTo>
                    <a:pt x="4584669" y="5780722"/>
                  </a:lnTo>
                  <a:lnTo>
                    <a:pt x="4606525" y="5775664"/>
                  </a:lnTo>
                  <a:lnTo>
                    <a:pt x="4626034" y="5761020"/>
                  </a:lnTo>
                  <a:lnTo>
                    <a:pt x="4694219" y="5709906"/>
                  </a:lnTo>
                  <a:lnTo>
                    <a:pt x="4727581" y="5642683"/>
                  </a:lnTo>
                  <a:lnTo>
                    <a:pt x="4745732" y="5559711"/>
                  </a:lnTo>
                  <a:lnTo>
                    <a:pt x="4752364" y="5529340"/>
                  </a:lnTo>
                  <a:lnTo>
                    <a:pt x="4754026" y="5497545"/>
                  </a:lnTo>
                  <a:lnTo>
                    <a:pt x="4766137" y="5468578"/>
                  </a:lnTo>
                  <a:lnTo>
                    <a:pt x="4797282" y="5394001"/>
                  </a:lnTo>
                  <a:lnTo>
                    <a:pt x="4894848" y="5370070"/>
                  </a:lnTo>
                  <a:lnTo>
                    <a:pt x="4783822" y="5282230"/>
                  </a:lnTo>
                  <a:lnTo>
                    <a:pt x="4781119" y="5260467"/>
                  </a:lnTo>
                  <a:lnTo>
                    <a:pt x="4750386" y="5265867"/>
                  </a:lnTo>
                  <a:lnTo>
                    <a:pt x="4706829" y="5261825"/>
                  </a:lnTo>
                  <a:lnTo>
                    <a:pt x="4674896" y="5246714"/>
                  </a:lnTo>
                  <a:lnTo>
                    <a:pt x="4647821" y="5235982"/>
                  </a:lnTo>
                  <a:lnTo>
                    <a:pt x="4534886" y="5191222"/>
                  </a:lnTo>
                  <a:lnTo>
                    <a:pt x="4514137" y="5180766"/>
                  </a:lnTo>
                  <a:lnTo>
                    <a:pt x="4453312" y="5074118"/>
                  </a:lnTo>
                  <a:lnTo>
                    <a:pt x="4440473" y="5057519"/>
                  </a:lnTo>
                  <a:lnTo>
                    <a:pt x="4442432" y="5019710"/>
                  </a:lnTo>
                  <a:lnTo>
                    <a:pt x="4466614" y="4992144"/>
                  </a:lnTo>
                  <a:lnTo>
                    <a:pt x="4520263" y="5033482"/>
                  </a:lnTo>
                  <a:lnTo>
                    <a:pt x="4559411" y="4968022"/>
                  </a:lnTo>
                  <a:lnTo>
                    <a:pt x="4596212" y="4906452"/>
                  </a:lnTo>
                  <a:lnTo>
                    <a:pt x="4543980" y="4846475"/>
                  </a:lnTo>
                  <a:lnTo>
                    <a:pt x="4540364" y="4784395"/>
                  </a:lnTo>
                  <a:lnTo>
                    <a:pt x="4537180" y="4729222"/>
                  </a:lnTo>
                  <a:lnTo>
                    <a:pt x="4594959" y="4679554"/>
                  </a:lnTo>
                  <a:lnTo>
                    <a:pt x="4590699" y="4570844"/>
                  </a:lnTo>
                  <a:lnTo>
                    <a:pt x="4589518" y="4540516"/>
                  </a:lnTo>
                  <a:lnTo>
                    <a:pt x="4555244" y="4327220"/>
                  </a:lnTo>
                  <a:lnTo>
                    <a:pt x="4544448" y="4308325"/>
                  </a:lnTo>
                  <a:lnTo>
                    <a:pt x="4500829" y="4232303"/>
                  </a:lnTo>
                  <a:lnTo>
                    <a:pt x="4387549" y="4189223"/>
                  </a:lnTo>
                  <a:lnTo>
                    <a:pt x="4341781" y="4105656"/>
                  </a:lnTo>
                  <a:lnTo>
                    <a:pt x="4307901" y="4043938"/>
                  </a:lnTo>
                  <a:lnTo>
                    <a:pt x="4303991" y="3909022"/>
                  </a:lnTo>
                  <a:lnTo>
                    <a:pt x="4242659" y="3872807"/>
                  </a:lnTo>
                  <a:lnTo>
                    <a:pt x="4088820" y="3829408"/>
                  </a:lnTo>
                  <a:lnTo>
                    <a:pt x="4077896" y="3779208"/>
                  </a:lnTo>
                  <a:lnTo>
                    <a:pt x="4070809" y="3746350"/>
                  </a:lnTo>
                  <a:lnTo>
                    <a:pt x="4075590" y="3662550"/>
                  </a:lnTo>
                  <a:lnTo>
                    <a:pt x="4105101" y="3632307"/>
                  </a:lnTo>
                  <a:lnTo>
                    <a:pt x="4132182" y="3620936"/>
                  </a:lnTo>
                  <a:lnTo>
                    <a:pt x="4196354" y="3608886"/>
                  </a:lnTo>
                  <a:lnTo>
                    <a:pt x="4240020" y="3601341"/>
                  </a:lnTo>
                  <a:lnTo>
                    <a:pt x="4284647" y="3588781"/>
                  </a:lnTo>
                  <a:lnTo>
                    <a:pt x="4332256" y="3575391"/>
                  </a:lnTo>
                  <a:lnTo>
                    <a:pt x="4373996" y="3546615"/>
                  </a:lnTo>
                  <a:lnTo>
                    <a:pt x="4423392" y="3537093"/>
                  </a:lnTo>
                  <a:lnTo>
                    <a:pt x="4488755" y="3524490"/>
                  </a:lnTo>
                  <a:lnTo>
                    <a:pt x="4560261" y="3531419"/>
                  </a:lnTo>
                  <a:lnTo>
                    <a:pt x="4624700" y="3513970"/>
                  </a:lnTo>
                  <a:lnTo>
                    <a:pt x="4677354" y="3499688"/>
                  </a:lnTo>
                  <a:lnTo>
                    <a:pt x="4725438" y="3467532"/>
                  </a:lnTo>
                  <a:lnTo>
                    <a:pt x="4778403" y="3452761"/>
                  </a:lnTo>
                  <a:lnTo>
                    <a:pt x="4832427" y="3437714"/>
                  </a:lnTo>
                  <a:lnTo>
                    <a:pt x="4902690" y="3454907"/>
                  </a:lnTo>
                  <a:lnTo>
                    <a:pt x="4957948" y="3456839"/>
                  </a:lnTo>
                  <a:lnTo>
                    <a:pt x="4998414" y="3452057"/>
                  </a:lnTo>
                  <a:lnTo>
                    <a:pt x="5045679" y="3447148"/>
                  </a:lnTo>
                  <a:lnTo>
                    <a:pt x="5071737" y="3447148"/>
                  </a:lnTo>
                  <a:lnTo>
                    <a:pt x="5099409" y="3440517"/>
                  </a:lnTo>
                  <a:lnTo>
                    <a:pt x="5177023" y="3421899"/>
                  </a:lnTo>
                  <a:lnTo>
                    <a:pt x="5259071" y="3360116"/>
                  </a:lnTo>
                  <a:lnTo>
                    <a:pt x="5274871" y="3280013"/>
                  </a:lnTo>
                  <a:lnTo>
                    <a:pt x="5293661" y="3184927"/>
                  </a:lnTo>
                  <a:lnTo>
                    <a:pt x="5238151" y="3105908"/>
                  </a:lnTo>
                  <a:lnTo>
                    <a:pt x="5229817" y="3085760"/>
                  </a:lnTo>
                  <a:lnTo>
                    <a:pt x="5214088" y="2939836"/>
                  </a:lnTo>
                  <a:lnTo>
                    <a:pt x="5122530" y="2852911"/>
                  </a:lnTo>
                  <a:lnTo>
                    <a:pt x="5106345" y="2833634"/>
                  </a:lnTo>
                  <a:lnTo>
                    <a:pt x="5057927" y="2797333"/>
                  </a:lnTo>
                  <a:lnTo>
                    <a:pt x="5076288" y="2767218"/>
                  </a:lnTo>
                  <a:lnTo>
                    <a:pt x="5055756" y="2740248"/>
                  </a:lnTo>
                  <a:lnTo>
                    <a:pt x="4954538" y="2717146"/>
                  </a:lnTo>
                  <a:lnTo>
                    <a:pt x="4921222" y="2701929"/>
                  </a:lnTo>
                  <a:lnTo>
                    <a:pt x="4859725" y="2673790"/>
                  </a:lnTo>
                  <a:lnTo>
                    <a:pt x="4853849" y="2545782"/>
                  </a:lnTo>
                  <a:lnTo>
                    <a:pt x="4768878" y="2527823"/>
                  </a:lnTo>
                  <a:lnTo>
                    <a:pt x="4731736" y="2530225"/>
                  </a:lnTo>
                  <a:lnTo>
                    <a:pt x="4699462" y="2575727"/>
                  </a:lnTo>
                  <a:lnTo>
                    <a:pt x="4653263" y="2584952"/>
                  </a:lnTo>
                  <a:lnTo>
                    <a:pt x="4606788" y="2549629"/>
                  </a:lnTo>
                  <a:lnTo>
                    <a:pt x="4636749" y="2493882"/>
                  </a:lnTo>
                  <a:lnTo>
                    <a:pt x="4609737" y="2447571"/>
                  </a:lnTo>
                  <a:lnTo>
                    <a:pt x="4589630" y="2413035"/>
                  </a:lnTo>
                  <a:lnTo>
                    <a:pt x="4543090" y="2388041"/>
                  </a:lnTo>
                  <a:lnTo>
                    <a:pt x="4511802" y="2364600"/>
                  </a:lnTo>
                  <a:lnTo>
                    <a:pt x="4446004" y="2315271"/>
                  </a:lnTo>
                  <a:lnTo>
                    <a:pt x="4422964" y="2223840"/>
                  </a:lnTo>
                  <a:lnTo>
                    <a:pt x="4356738" y="2174172"/>
                  </a:lnTo>
                  <a:lnTo>
                    <a:pt x="4267265" y="2107075"/>
                  </a:lnTo>
                  <a:lnTo>
                    <a:pt x="4168434" y="2192726"/>
                  </a:lnTo>
                  <a:lnTo>
                    <a:pt x="4113265" y="2153769"/>
                  </a:lnTo>
                  <a:lnTo>
                    <a:pt x="4064003" y="2086651"/>
                  </a:lnTo>
                  <a:lnTo>
                    <a:pt x="4247796" y="2067481"/>
                  </a:lnTo>
                  <a:lnTo>
                    <a:pt x="4152711" y="1941577"/>
                  </a:lnTo>
                  <a:lnTo>
                    <a:pt x="4103151" y="1875481"/>
                  </a:lnTo>
                  <a:lnTo>
                    <a:pt x="4035511" y="1792763"/>
                  </a:lnTo>
                  <a:lnTo>
                    <a:pt x="4009891" y="1713064"/>
                  </a:lnTo>
                  <a:lnTo>
                    <a:pt x="4003641" y="1675637"/>
                  </a:lnTo>
                  <a:lnTo>
                    <a:pt x="3990336" y="1637871"/>
                  </a:lnTo>
                  <a:lnTo>
                    <a:pt x="3986764" y="1605609"/>
                  </a:lnTo>
                  <a:lnTo>
                    <a:pt x="3989077" y="1558512"/>
                  </a:lnTo>
                  <a:lnTo>
                    <a:pt x="4011659" y="1524847"/>
                  </a:lnTo>
                  <a:lnTo>
                    <a:pt x="4013975" y="1479110"/>
                  </a:lnTo>
                  <a:lnTo>
                    <a:pt x="4017147" y="1415903"/>
                  </a:lnTo>
                  <a:lnTo>
                    <a:pt x="3979285" y="1341071"/>
                  </a:lnTo>
                  <a:lnTo>
                    <a:pt x="4008527" y="1283241"/>
                  </a:lnTo>
                  <a:lnTo>
                    <a:pt x="4022982" y="1254635"/>
                  </a:lnTo>
                  <a:lnTo>
                    <a:pt x="4061234" y="1225199"/>
                  </a:lnTo>
                  <a:lnTo>
                    <a:pt x="4081980" y="1198909"/>
                  </a:lnTo>
                  <a:lnTo>
                    <a:pt x="4083239" y="1171726"/>
                  </a:lnTo>
                  <a:lnTo>
                    <a:pt x="4067035" y="1121484"/>
                  </a:lnTo>
                  <a:lnTo>
                    <a:pt x="4029921" y="1093727"/>
                  </a:lnTo>
                  <a:lnTo>
                    <a:pt x="4009910" y="1058809"/>
                  </a:lnTo>
                  <a:lnTo>
                    <a:pt x="3982919" y="1011754"/>
                  </a:lnTo>
                  <a:lnTo>
                    <a:pt x="3998013" y="961236"/>
                  </a:lnTo>
                  <a:lnTo>
                    <a:pt x="3952779" y="910547"/>
                  </a:lnTo>
                  <a:lnTo>
                    <a:pt x="3919258" y="872929"/>
                  </a:lnTo>
                  <a:lnTo>
                    <a:pt x="3877592" y="846384"/>
                  </a:lnTo>
                  <a:lnTo>
                    <a:pt x="3831722" y="818053"/>
                  </a:lnTo>
                  <a:lnTo>
                    <a:pt x="3775363" y="782943"/>
                  </a:lnTo>
                  <a:lnTo>
                    <a:pt x="3655324" y="763815"/>
                  </a:lnTo>
                  <a:lnTo>
                    <a:pt x="3619540" y="729641"/>
                  </a:lnTo>
                  <a:lnTo>
                    <a:pt x="3558753" y="671534"/>
                  </a:lnTo>
                  <a:lnTo>
                    <a:pt x="3553736" y="498003"/>
                  </a:lnTo>
                  <a:lnTo>
                    <a:pt x="3463109" y="396392"/>
                  </a:lnTo>
                  <a:lnTo>
                    <a:pt x="3370132" y="292145"/>
                  </a:lnTo>
                  <a:lnTo>
                    <a:pt x="3290407" y="328913"/>
                  </a:lnTo>
                  <a:lnTo>
                    <a:pt x="3234593" y="253571"/>
                  </a:lnTo>
                  <a:lnTo>
                    <a:pt x="3209388" y="219523"/>
                  </a:lnTo>
                  <a:lnTo>
                    <a:pt x="3153621" y="93493"/>
                  </a:lnTo>
                  <a:lnTo>
                    <a:pt x="3169310" y="56342"/>
                  </a:lnTo>
                  <a:lnTo>
                    <a:pt x="3161106" y="9839"/>
                  </a:lnTo>
                  <a:lnTo>
                    <a:pt x="3035836" y="11859"/>
                  </a:lnTo>
                  <a:lnTo>
                    <a:pt x="3000648" y="8735"/>
                  </a:lnTo>
                  <a:lnTo>
                    <a:pt x="2956098" y="4762"/>
                  </a:lnTo>
                  <a:lnTo>
                    <a:pt x="2909379" y="0"/>
                  </a:lnTo>
                  <a:lnTo>
                    <a:pt x="2864628" y="4654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15" name="Zakarpattia¬0" descr="Zakarpattia¬0">
              <a:extLst>
                <a:ext uri="{FF2B5EF4-FFF2-40B4-BE49-F238E27FC236}">
                  <a16:creationId xmlns:a16="http://schemas.microsoft.com/office/drawing/2014/main" id="{06D74C17-F8C9-4CDE-B1AC-D5052C8CD123}"/>
                </a:ext>
              </a:extLst>
            </p:cNvPr>
            <p:cNvSpPr/>
            <p:nvPr/>
          </p:nvSpPr>
          <p:spPr>
            <a:xfrm>
              <a:off x="877516" y="2671432"/>
              <a:ext cx="856980" cy="543075"/>
            </a:xfrm>
            <a:custGeom>
              <a:avLst/>
              <a:gdLst/>
              <a:ahLst/>
              <a:cxnLst/>
              <a:rect l="0" t="0" r="0" b="0"/>
              <a:pathLst>
                <a:path w="8745006" h="6290828">
                  <a:moveTo>
                    <a:pt x="8481235" y="6006520"/>
                  </a:moveTo>
                  <a:lnTo>
                    <a:pt x="8486544" y="5982080"/>
                  </a:lnTo>
                  <a:lnTo>
                    <a:pt x="8493172" y="5953529"/>
                  </a:lnTo>
                  <a:lnTo>
                    <a:pt x="8509382" y="5867908"/>
                  </a:lnTo>
                  <a:lnTo>
                    <a:pt x="8521523" y="5832757"/>
                  </a:lnTo>
                  <a:lnTo>
                    <a:pt x="8539614" y="5800238"/>
                  </a:lnTo>
                  <a:lnTo>
                    <a:pt x="8557703" y="5767718"/>
                  </a:lnTo>
                  <a:lnTo>
                    <a:pt x="8581729" y="5738569"/>
                  </a:lnTo>
                  <a:lnTo>
                    <a:pt x="8617143" y="5684622"/>
                  </a:lnTo>
                  <a:lnTo>
                    <a:pt x="8639348" y="5650798"/>
                  </a:lnTo>
                  <a:lnTo>
                    <a:pt x="8654464" y="5607937"/>
                  </a:lnTo>
                  <a:lnTo>
                    <a:pt x="8679716" y="5575807"/>
                  </a:lnTo>
                  <a:lnTo>
                    <a:pt x="8701393" y="5548174"/>
                  </a:lnTo>
                  <a:lnTo>
                    <a:pt x="8725853" y="5524928"/>
                  </a:lnTo>
                  <a:lnTo>
                    <a:pt x="8745005" y="5494195"/>
                  </a:lnTo>
                  <a:lnTo>
                    <a:pt x="8683527" y="5406620"/>
                  </a:lnTo>
                  <a:lnTo>
                    <a:pt x="8650909" y="5356519"/>
                  </a:lnTo>
                  <a:lnTo>
                    <a:pt x="8614426" y="5307850"/>
                  </a:lnTo>
                  <a:lnTo>
                    <a:pt x="8577943" y="5259172"/>
                  </a:lnTo>
                  <a:lnTo>
                    <a:pt x="8537490" y="5212527"/>
                  </a:lnTo>
                  <a:lnTo>
                    <a:pt x="8467524" y="5150065"/>
                  </a:lnTo>
                  <a:lnTo>
                    <a:pt x="8416296" y="5104324"/>
                  </a:lnTo>
                  <a:lnTo>
                    <a:pt x="8363899" y="5055093"/>
                  </a:lnTo>
                  <a:lnTo>
                    <a:pt x="8332864" y="4999082"/>
                  </a:lnTo>
                  <a:lnTo>
                    <a:pt x="8317346" y="4971073"/>
                  </a:lnTo>
                  <a:lnTo>
                    <a:pt x="8306952" y="4941205"/>
                  </a:lnTo>
                  <a:lnTo>
                    <a:pt x="8305659" y="4909306"/>
                  </a:lnTo>
                  <a:lnTo>
                    <a:pt x="8304373" y="4877412"/>
                  </a:lnTo>
                  <a:lnTo>
                    <a:pt x="8311080" y="4843957"/>
                  </a:lnTo>
                  <a:lnTo>
                    <a:pt x="8330146" y="4807289"/>
                  </a:lnTo>
                  <a:lnTo>
                    <a:pt x="8340599" y="4787188"/>
                  </a:lnTo>
                  <a:lnTo>
                    <a:pt x="8357396" y="4765280"/>
                  </a:lnTo>
                  <a:lnTo>
                    <a:pt x="8370949" y="4743365"/>
                  </a:lnTo>
                  <a:lnTo>
                    <a:pt x="8384501" y="4721443"/>
                  </a:lnTo>
                  <a:lnTo>
                    <a:pt x="8395284" y="4698969"/>
                  </a:lnTo>
                  <a:lnTo>
                    <a:pt x="8396795" y="4675352"/>
                  </a:lnTo>
                  <a:lnTo>
                    <a:pt x="8353987" y="4602286"/>
                  </a:lnTo>
                  <a:lnTo>
                    <a:pt x="8340751" y="4582436"/>
                  </a:lnTo>
                  <a:lnTo>
                    <a:pt x="8322470" y="4544350"/>
                  </a:lnTo>
                  <a:lnTo>
                    <a:pt x="8305046" y="4522415"/>
                  </a:lnTo>
                  <a:lnTo>
                    <a:pt x="8292061" y="4495806"/>
                  </a:lnTo>
                  <a:lnTo>
                    <a:pt x="8274162" y="4459078"/>
                  </a:lnTo>
                  <a:lnTo>
                    <a:pt x="8259713" y="4418791"/>
                  </a:lnTo>
                  <a:lnTo>
                    <a:pt x="8240370" y="4382908"/>
                  </a:lnTo>
                  <a:lnTo>
                    <a:pt x="7998785" y="4153971"/>
                  </a:lnTo>
                  <a:lnTo>
                    <a:pt x="7961953" y="4123154"/>
                  </a:lnTo>
                  <a:lnTo>
                    <a:pt x="7926122" y="4102241"/>
                  </a:lnTo>
                  <a:lnTo>
                    <a:pt x="7894876" y="4076864"/>
                  </a:lnTo>
                  <a:lnTo>
                    <a:pt x="7875098" y="4048816"/>
                  </a:lnTo>
                  <a:lnTo>
                    <a:pt x="7854812" y="4012419"/>
                  </a:lnTo>
                  <a:lnTo>
                    <a:pt x="7833668" y="3995252"/>
                  </a:lnTo>
                  <a:lnTo>
                    <a:pt x="7788296" y="3991598"/>
                  </a:lnTo>
                  <a:lnTo>
                    <a:pt x="7742923" y="3986884"/>
                  </a:lnTo>
                  <a:lnTo>
                    <a:pt x="7697649" y="3995252"/>
                  </a:lnTo>
                  <a:lnTo>
                    <a:pt x="7685686" y="3971920"/>
                  </a:lnTo>
                  <a:lnTo>
                    <a:pt x="7691074" y="3941457"/>
                  </a:lnTo>
                  <a:lnTo>
                    <a:pt x="7693573" y="3909564"/>
                  </a:lnTo>
                  <a:lnTo>
                    <a:pt x="7696264" y="3876735"/>
                  </a:lnTo>
                  <a:lnTo>
                    <a:pt x="7690883" y="3844454"/>
                  </a:lnTo>
                  <a:lnTo>
                    <a:pt x="7673169" y="3814347"/>
                  </a:lnTo>
                  <a:lnTo>
                    <a:pt x="7655020" y="3790883"/>
                  </a:lnTo>
                  <a:lnTo>
                    <a:pt x="7624756" y="3781789"/>
                  </a:lnTo>
                  <a:lnTo>
                    <a:pt x="7603803" y="3761297"/>
                  </a:lnTo>
                  <a:lnTo>
                    <a:pt x="7573513" y="3719474"/>
                  </a:lnTo>
                  <a:lnTo>
                    <a:pt x="7537149" y="3720495"/>
                  </a:lnTo>
                  <a:lnTo>
                    <a:pt x="7524453" y="3737583"/>
                  </a:lnTo>
                  <a:lnTo>
                    <a:pt x="7518234" y="3760256"/>
                  </a:lnTo>
                  <a:lnTo>
                    <a:pt x="7508586" y="3785784"/>
                  </a:lnTo>
                  <a:lnTo>
                    <a:pt x="7498945" y="3811307"/>
                  </a:lnTo>
                  <a:lnTo>
                    <a:pt x="7485623" y="3839170"/>
                  </a:lnTo>
                  <a:lnTo>
                    <a:pt x="7460977" y="3866038"/>
                  </a:lnTo>
                  <a:lnTo>
                    <a:pt x="7438291" y="3890730"/>
                  </a:lnTo>
                  <a:lnTo>
                    <a:pt x="7398972" y="3905081"/>
                  </a:lnTo>
                  <a:lnTo>
                    <a:pt x="7357609" y="3912282"/>
                  </a:lnTo>
                  <a:lnTo>
                    <a:pt x="7316240" y="3919483"/>
                  </a:lnTo>
                  <a:lnTo>
                    <a:pt x="7272924" y="3919550"/>
                  </a:lnTo>
                  <a:lnTo>
                    <a:pt x="7243346" y="3919082"/>
                  </a:lnTo>
                  <a:lnTo>
                    <a:pt x="7194471" y="3918303"/>
                  </a:lnTo>
                  <a:lnTo>
                    <a:pt x="7154664" y="3914781"/>
                  </a:lnTo>
                  <a:lnTo>
                    <a:pt x="7120931" y="3905482"/>
                  </a:lnTo>
                  <a:lnTo>
                    <a:pt x="7087205" y="3896178"/>
                  </a:lnTo>
                  <a:lnTo>
                    <a:pt x="7059671" y="3881741"/>
                  </a:lnTo>
                  <a:lnTo>
                    <a:pt x="7037960" y="3861956"/>
                  </a:lnTo>
                  <a:lnTo>
                    <a:pt x="7016250" y="3842172"/>
                  </a:lnTo>
                  <a:lnTo>
                    <a:pt x="7000449" y="3816649"/>
                  </a:lnTo>
                  <a:lnTo>
                    <a:pt x="6987635" y="3784420"/>
                  </a:lnTo>
                  <a:lnTo>
                    <a:pt x="6974821" y="3752197"/>
                  </a:lnTo>
                  <a:lnTo>
                    <a:pt x="6964751" y="3712713"/>
                  </a:lnTo>
                  <a:lnTo>
                    <a:pt x="6957707" y="3666088"/>
                  </a:lnTo>
                  <a:lnTo>
                    <a:pt x="6947076" y="3595740"/>
                  </a:lnTo>
                  <a:lnTo>
                    <a:pt x="6943020" y="3549780"/>
                  </a:lnTo>
                  <a:lnTo>
                    <a:pt x="6944109" y="3504222"/>
                  </a:lnTo>
                  <a:lnTo>
                    <a:pt x="6945190" y="3458665"/>
                  </a:lnTo>
                  <a:lnTo>
                    <a:pt x="6952366" y="3413602"/>
                  </a:lnTo>
                  <a:lnTo>
                    <a:pt x="6964507" y="3346439"/>
                  </a:lnTo>
                  <a:lnTo>
                    <a:pt x="6969400" y="3319386"/>
                  </a:lnTo>
                  <a:lnTo>
                    <a:pt x="6983230" y="3291115"/>
                  </a:lnTo>
                  <a:lnTo>
                    <a:pt x="6979470" y="3262111"/>
                  </a:lnTo>
                  <a:lnTo>
                    <a:pt x="6974966" y="3227434"/>
                  </a:lnTo>
                  <a:lnTo>
                    <a:pt x="6961790" y="3187297"/>
                  </a:lnTo>
                  <a:lnTo>
                    <a:pt x="6956171" y="3166417"/>
                  </a:lnTo>
                  <a:lnTo>
                    <a:pt x="6953137" y="3144028"/>
                  </a:lnTo>
                  <a:lnTo>
                    <a:pt x="6957714" y="3101603"/>
                  </a:lnTo>
                  <a:lnTo>
                    <a:pt x="6965838" y="3059277"/>
                  </a:lnTo>
                  <a:lnTo>
                    <a:pt x="6969954" y="3037672"/>
                  </a:lnTo>
                  <a:lnTo>
                    <a:pt x="6974069" y="3016075"/>
                  </a:lnTo>
                  <a:lnTo>
                    <a:pt x="6968596" y="2975107"/>
                  </a:lnTo>
                  <a:lnTo>
                    <a:pt x="6950559" y="2959252"/>
                  </a:lnTo>
                  <a:lnTo>
                    <a:pt x="6912829" y="2954702"/>
                  </a:lnTo>
                  <a:lnTo>
                    <a:pt x="6875469" y="2963757"/>
                  </a:lnTo>
                  <a:lnTo>
                    <a:pt x="6857062" y="2975107"/>
                  </a:lnTo>
                  <a:lnTo>
                    <a:pt x="6820243" y="2997806"/>
                  </a:lnTo>
                  <a:lnTo>
                    <a:pt x="6785646" y="3032891"/>
                  </a:lnTo>
                  <a:lnTo>
                    <a:pt x="6757763" y="3052637"/>
                  </a:lnTo>
                  <a:lnTo>
                    <a:pt x="6731812" y="3071016"/>
                  </a:lnTo>
                  <a:lnTo>
                    <a:pt x="6675538" y="3099051"/>
                  </a:lnTo>
                  <a:lnTo>
                    <a:pt x="6646230" y="3108402"/>
                  </a:lnTo>
                  <a:lnTo>
                    <a:pt x="6621407" y="3116323"/>
                  </a:lnTo>
                  <a:lnTo>
                    <a:pt x="6593550" y="3117833"/>
                  </a:lnTo>
                  <a:lnTo>
                    <a:pt x="6565977" y="3119284"/>
                  </a:lnTo>
                  <a:lnTo>
                    <a:pt x="6538403" y="3120735"/>
                  </a:lnTo>
                  <a:lnTo>
                    <a:pt x="6511965" y="3123181"/>
                  </a:lnTo>
                  <a:lnTo>
                    <a:pt x="6488447" y="3134249"/>
                  </a:lnTo>
                  <a:lnTo>
                    <a:pt x="6416061" y="3179707"/>
                  </a:lnTo>
                  <a:lnTo>
                    <a:pt x="6393381" y="3199815"/>
                  </a:lnTo>
                  <a:lnTo>
                    <a:pt x="6378497" y="3227671"/>
                  </a:lnTo>
                  <a:lnTo>
                    <a:pt x="6359227" y="3247146"/>
                  </a:lnTo>
                  <a:lnTo>
                    <a:pt x="6340273" y="3266298"/>
                  </a:lnTo>
                  <a:lnTo>
                    <a:pt x="6309916" y="3283945"/>
                  </a:lnTo>
                  <a:lnTo>
                    <a:pt x="6277615" y="3292031"/>
                  </a:lnTo>
                  <a:lnTo>
                    <a:pt x="6244099" y="3297907"/>
                  </a:lnTo>
                  <a:lnTo>
                    <a:pt x="6213196" y="3294306"/>
                  </a:lnTo>
                  <a:lnTo>
                    <a:pt x="6187841" y="3279784"/>
                  </a:lnTo>
                  <a:lnTo>
                    <a:pt x="6169692" y="3265204"/>
                  </a:lnTo>
                  <a:lnTo>
                    <a:pt x="6159278" y="3224019"/>
                  </a:lnTo>
                  <a:lnTo>
                    <a:pt x="6157173" y="3201978"/>
                  </a:lnTo>
                  <a:lnTo>
                    <a:pt x="6160160" y="3177307"/>
                  </a:lnTo>
                  <a:lnTo>
                    <a:pt x="6166078" y="3151922"/>
                  </a:lnTo>
                  <a:lnTo>
                    <a:pt x="6177911" y="3101169"/>
                  </a:lnTo>
                  <a:lnTo>
                    <a:pt x="6198860" y="3047130"/>
                  </a:lnTo>
                  <a:lnTo>
                    <a:pt x="6194641" y="3007745"/>
                  </a:lnTo>
                  <a:lnTo>
                    <a:pt x="6185515" y="2973404"/>
                  </a:lnTo>
                  <a:lnTo>
                    <a:pt x="6168404" y="2941433"/>
                  </a:lnTo>
                  <a:lnTo>
                    <a:pt x="6149756" y="2911169"/>
                  </a:lnTo>
                  <a:lnTo>
                    <a:pt x="6132282" y="2881281"/>
                  </a:lnTo>
                  <a:lnTo>
                    <a:pt x="6112096" y="2863106"/>
                  </a:lnTo>
                  <a:lnTo>
                    <a:pt x="6091267" y="2851320"/>
                  </a:lnTo>
                  <a:lnTo>
                    <a:pt x="6070439" y="2839541"/>
                  </a:lnTo>
                  <a:lnTo>
                    <a:pt x="6048447" y="2834272"/>
                  </a:lnTo>
                  <a:lnTo>
                    <a:pt x="6027338" y="2832281"/>
                  </a:lnTo>
                  <a:lnTo>
                    <a:pt x="5985118" y="2828291"/>
                  </a:lnTo>
                  <a:lnTo>
                    <a:pt x="5946161" y="2836118"/>
                  </a:lnTo>
                  <a:lnTo>
                    <a:pt x="5921243" y="2821400"/>
                  </a:lnTo>
                  <a:lnTo>
                    <a:pt x="5899989" y="2796042"/>
                  </a:lnTo>
                  <a:lnTo>
                    <a:pt x="5893571" y="2752773"/>
                  </a:lnTo>
                  <a:lnTo>
                    <a:pt x="5860087" y="2719732"/>
                  </a:lnTo>
                  <a:lnTo>
                    <a:pt x="5830635" y="2705447"/>
                  </a:lnTo>
                  <a:lnTo>
                    <a:pt x="5802905" y="2689462"/>
                  </a:lnTo>
                  <a:lnTo>
                    <a:pt x="5775175" y="2673469"/>
                  </a:lnTo>
                  <a:lnTo>
                    <a:pt x="5748274" y="2655570"/>
                  </a:lnTo>
                  <a:lnTo>
                    <a:pt x="5729454" y="2625531"/>
                  </a:lnTo>
                  <a:lnTo>
                    <a:pt x="5717107" y="2605811"/>
                  </a:lnTo>
                  <a:lnTo>
                    <a:pt x="5714048" y="2583831"/>
                  </a:lnTo>
                  <a:lnTo>
                    <a:pt x="5714492" y="2561600"/>
                  </a:lnTo>
                  <a:lnTo>
                    <a:pt x="5714954" y="2539367"/>
                  </a:lnTo>
                  <a:lnTo>
                    <a:pt x="5719353" y="2516676"/>
                  </a:lnTo>
                  <a:lnTo>
                    <a:pt x="5724013" y="2494951"/>
                  </a:lnTo>
                  <a:lnTo>
                    <a:pt x="5728676" y="2473221"/>
                  </a:lnTo>
                  <a:lnTo>
                    <a:pt x="5733535" y="2435102"/>
                  </a:lnTo>
                  <a:lnTo>
                    <a:pt x="5729835" y="2400526"/>
                  </a:lnTo>
                  <a:lnTo>
                    <a:pt x="5702973" y="2375695"/>
                  </a:lnTo>
                  <a:lnTo>
                    <a:pt x="5665525" y="2367089"/>
                  </a:lnTo>
                  <a:lnTo>
                    <a:pt x="5632157" y="2356741"/>
                  </a:lnTo>
                  <a:lnTo>
                    <a:pt x="5568526" y="2349704"/>
                  </a:lnTo>
                  <a:lnTo>
                    <a:pt x="5533586" y="2358932"/>
                  </a:lnTo>
                  <a:lnTo>
                    <a:pt x="5510261" y="2365071"/>
                  </a:lnTo>
                  <a:lnTo>
                    <a:pt x="5481502" y="2378822"/>
                  </a:lnTo>
                  <a:lnTo>
                    <a:pt x="5451973" y="2386135"/>
                  </a:lnTo>
                  <a:lnTo>
                    <a:pt x="5422203" y="2392038"/>
                  </a:lnTo>
                  <a:lnTo>
                    <a:pt x="5394691" y="2388391"/>
                  </a:lnTo>
                  <a:lnTo>
                    <a:pt x="5370361" y="2371165"/>
                  </a:lnTo>
                  <a:lnTo>
                    <a:pt x="5340565" y="2341072"/>
                  </a:lnTo>
                  <a:lnTo>
                    <a:pt x="5324817" y="2307281"/>
                  </a:lnTo>
                  <a:lnTo>
                    <a:pt x="5299631" y="2274590"/>
                  </a:lnTo>
                  <a:lnTo>
                    <a:pt x="5282778" y="2252740"/>
                  </a:lnTo>
                  <a:lnTo>
                    <a:pt x="5259781" y="2234380"/>
                  </a:lnTo>
                  <a:lnTo>
                    <a:pt x="5243863" y="2212023"/>
                  </a:lnTo>
                  <a:lnTo>
                    <a:pt x="5226202" y="2187167"/>
                  </a:lnTo>
                  <a:lnTo>
                    <a:pt x="5210903" y="2156989"/>
                  </a:lnTo>
                  <a:lnTo>
                    <a:pt x="5193536" y="2129053"/>
                  </a:lnTo>
                  <a:lnTo>
                    <a:pt x="5176169" y="2101110"/>
                  </a:lnTo>
                  <a:lnTo>
                    <a:pt x="5156545" y="2076175"/>
                  </a:lnTo>
                  <a:lnTo>
                    <a:pt x="5126886" y="2062398"/>
                  </a:lnTo>
                  <a:lnTo>
                    <a:pt x="5080778" y="2040998"/>
                  </a:lnTo>
                  <a:lnTo>
                    <a:pt x="5035301" y="2019399"/>
                  </a:lnTo>
                  <a:lnTo>
                    <a:pt x="4989506" y="2001191"/>
                  </a:lnTo>
                  <a:lnTo>
                    <a:pt x="4943711" y="1982989"/>
                  </a:lnTo>
                  <a:lnTo>
                    <a:pt x="4897023" y="1968216"/>
                  </a:lnTo>
                  <a:lnTo>
                    <a:pt x="4846685" y="1959023"/>
                  </a:lnTo>
                  <a:lnTo>
                    <a:pt x="4813682" y="1941962"/>
                  </a:lnTo>
                  <a:lnTo>
                    <a:pt x="4781755" y="1921683"/>
                  </a:lnTo>
                  <a:lnTo>
                    <a:pt x="4751471" y="1914139"/>
                  </a:lnTo>
                  <a:lnTo>
                    <a:pt x="4713110" y="1916881"/>
                  </a:lnTo>
                  <a:lnTo>
                    <a:pt x="4676811" y="1934978"/>
                  </a:lnTo>
                  <a:lnTo>
                    <a:pt x="4639935" y="1944066"/>
                  </a:lnTo>
                  <a:lnTo>
                    <a:pt x="4591192" y="1956082"/>
                  </a:lnTo>
                  <a:lnTo>
                    <a:pt x="4557962" y="1957466"/>
                  </a:lnTo>
                  <a:lnTo>
                    <a:pt x="4525678" y="1953589"/>
                  </a:lnTo>
                  <a:lnTo>
                    <a:pt x="4493395" y="1949704"/>
                  </a:lnTo>
                  <a:lnTo>
                    <a:pt x="4462460" y="1940274"/>
                  </a:lnTo>
                  <a:lnTo>
                    <a:pt x="4415502" y="1927744"/>
                  </a:lnTo>
                  <a:lnTo>
                    <a:pt x="4389063" y="1920687"/>
                  </a:lnTo>
                  <a:lnTo>
                    <a:pt x="4358269" y="1917429"/>
                  </a:lnTo>
                  <a:lnTo>
                    <a:pt x="4332530" y="1908697"/>
                  </a:lnTo>
                  <a:lnTo>
                    <a:pt x="4306740" y="1899952"/>
                  </a:lnTo>
                  <a:lnTo>
                    <a:pt x="4293589" y="1882200"/>
                  </a:lnTo>
                  <a:lnTo>
                    <a:pt x="4286283" y="1859730"/>
                  </a:lnTo>
                  <a:lnTo>
                    <a:pt x="4278975" y="1837261"/>
                  </a:lnTo>
                  <a:lnTo>
                    <a:pt x="4277937" y="1810348"/>
                  </a:lnTo>
                  <a:lnTo>
                    <a:pt x="4276762" y="1784925"/>
                  </a:lnTo>
                  <a:lnTo>
                    <a:pt x="4275588" y="1759494"/>
                  </a:lnTo>
                  <a:lnTo>
                    <a:pt x="4274638" y="1734527"/>
                  </a:lnTo>
                  <a:lnTo>
                    <a:pt x="4259844" y="1699296"/>
                  </a:lnTo>
                  <a:lnTo>
                    <a:pt x="4219633" y="1689708"/>
                  </a:lnTo>
                  <a:lnTo>
                    <a:pt x="4196398" y="1697178"/>
                  </a:lnTo>
                  <a:lnTo>
                    <a:pt x="4174858" y="1720321"/>
                  </a:lnTo>
                  <a:lnTo>
                    <a:pt x="4154344" y="1752279"/>
                  </a:lnTo>
                  <a:lnTo>
                    <a:pt x="4134894" y="1784978"/>
                  </a:lnTo>
                  <a:lnTo>
                    <a:pt x="4113945" y="1812069"/>
                  </a:lnTo>
                  <a:lnTo>
                    <a:pt x="4090415" y="1827085"/>
                  </a:lnTo>
                  <a:lnTo>
                    <a:pt x="4065931" y="1825727"/>
                  </a:lnTo>
                  <a:lnTo>
                    <a:pt x="4045060" y="1796603"/>
                  </a:lnTo>
                  <a:lnTo>
                    <a:pt x="4037835" y="1767797"/>
                  </a:lnTo>
                  <a:lnTo>
                    <a:pt x="4040090" y="1738674"/>
                  </a:lnTo>
                  <a:lnTo>
                    <a:pt x="4042327" y="1709920"/>
                  </a:lnTo>
                  <a:lnTo>
                    <a:pt x="4048803" y="1680930"/>
                  </a:lnTo>
                  <a:lnTo>
                    <a:pt x="4038732" y="1650263"/>
                  </a:lnTo>
                  <a:lnTo>
                    <a:pt x="4014122" y="1643721"/>
                  </a:lnTo>
                  <a:lnTo>
                    <a:pt x="3984132" y="1672468"/>
                  </a:lnTo>
                  <a:lnTo>
                    <a:pt x="3957184" y="1704012"/>
                  </a:lnTo>
                  <a:lnTo>
                    <a:pt x="3921755" y="1719634"/>
                  </a:lnTo>
                  <a:lnTo>
                    <a:pt x="3873808" y="1725729"/>
                  </a:lnTo>
                  <a:lnTo>
                    <a:pt x="3817152" y="1728228"/>
                  </a:lnTo>
                  <a:lnTo>
                    <a:pt x="3781382" y="1722747"/>
                  </a:lnTo>
                  <a:lnTo>
                    <a:pt x="3749009" y="1711471"/>
                  </a:lnTo>
                  <a:lnTo>
                    <a:pt x="3716638" y="1700194"/>
                  </a:lnTo>
                  <a:lnTo>
                    <a:pt x="3687435" y="1682882"/>
                  </a:lnTo>
                  <a:lnTo>
                    <a:pt x="3661956" y="1661145"/>
                  </a:lnTo>
                  <a:lnTo>
                    <a:pt x="3636480" y="1639408"/>
                  </a:lnTo>
                  <a:lnTo>
                    <a:pt x="3613934" y="1613193"/>
                  </a:lnTo>
                  <a:lnTo>
                    <a:pt x="3593947" y="1583615"/>
                  </a:lnTo>
                  <a:lnTo>
                    <a:pt x="3573961" y="1554031"/>
                  </a:lnTo>
                  <a:lnTo>
                    <a:pt x="3556804" y="1521846"/>
                  </a:lnTo>
                  <a:lnTo>
                    <a:pt x="3540899" y="1487039"/>
                  </a:lnTo>
                  <a:lnTo>
                    <a:pt x="3523175" y="1448248"/>
                  </a:lnTo>
                  <a:lnTo>
                    <a:pt x="3510620" y="1405407"/>
                  </a:lnTo>
                  <a:lnTo>
                    <a:pt x="3497373" y="1364625"/>
                  </a:lnTo>
                  <a:lnTo>
                    <a:pt x="3484125" y="1323835"/>
                  </a:lnTo>
                  <a:lnTo>
                    <a:pt x="3470643" y="1284582"/>
                  </a:lnTo>
                  <a:lnTo>
                    <a:pt x="3452487" y="1253085"/>
                  </a:lnTo>
                  <a:lnTo>
                    <a:pt x="3434329" y="1221587"/>
                  </a:lnTo>
                  <a:lnTo>
                    <a:pt x="3411489" y="1197352"/>
                  </a:lnTo>
                  <a:lnTo>
                    <a:pt x="3379035" y="1186438"/>
                  </a:lnTo>
                  <a:lnTo>
                    <a:pt x="3343467" y="1179188"/>
                  </a:lnTo>
                  <a:lnTo>
                    <a:pt x="3321907" y="1180996"/>
                  </a:lnTo>
                  <a:lnTo>
                    <a:pt x="3300347" y="1182804"/>
                  </a:lnTo>
                  <a:lnTo>
                    <a:pt x="3276523" y="1188197"/>
                  </a:lnTo>
                  <a:lnTo>
                    <a:pt x="3248457" y="1198677"/>
                  </a:lnTo>
                  <a:lnTo>
                    <a:pt x="3132457" y="1232384"/>
                  </a:lnTo>
                  <a:lnTo>
                    <a:pt x="3108356" y="1244921"/>
                  </a:lnTo>
                  <a:lnTo>
                    <a:pt x="3084488" y="1257359"/>
                  </a:lnTo>
                  <a:lnTo>
                    <a:pt x="3050677" y="1276325"/>
                  </a:lnTo>
                  <a:lnTo>
                    <a:pt x="3024024" y="1280289"/>
                  </a:lnTo>
                  <a:lnTo>
                    <a:pt x="2987480" y="1285723"/>
                  </a:lnTo>
                  <a:lnTo>
                    <a:pt x="2954055" y="1276708"/>
                  </a:lnTo>
                  <a:lnTo>
                    <a:pt x="2927450" y="1257167"/>
                  </a:lnTo>
                  <a:lnTo>
                    <a:pt x="2900843" y="1237627"/>
                  </a:lnTo>
                  <a:lnTo>
                    <a:pt x="2881347" y="1208227"/>
                  </a:lnTo>
                  <a:lnTo>
                    <a:pt x="2874402" y="1171473"/>
                  </a:lnTo>
                  <a:lnTo>
                    <a:pt x="2876630" y="1124696"/>
                  </a:lnTo>
                  <a:lnTo>
                    <a:pt x="2838101" y="1077384"/>
                  </a:lnTo>
                  <a:lnTo>
                    <a:pt x="2789240" y="1066186"/>
                  </a:lnTo>
                  <a:lnTo>
                    <a:pt x="2756064" y="1039535"/>
                  </a:lnTo>
                  <a:lnTo>
                    <a:pt x="2721038" y="1011395"/>
                  </a:lnTo>
                  <a:lnTo>
                    <a:pt x="2698940" y="982483"/>
                  </a:lnTo>
                  <a:lnTo>
                    <a:pt x="2669011" y="949759"/>
                  </a:lnTo>
                  <a:lnTo>
                    <a:pt x="2654635" y="934044"/>
                  </a:lnTo>
                  <a:lnTo>
                    <a:pt x="2632286" y="904873"/>
                  </a:lnTo>
                  <a:lnTo>
                    <a:pt x="2613028" y="874709"/>
                  </a:lnTo>
                  <a:lnTo>
                    <a:pt x="2599857" y="845269"/>
                  </a:lnTo>
                  <a:lnTo>
                    <a:pt x="2592840" y="815104"/>
                  </a:lnTo>
                  <a:lnTo>
                    <a:pt x="2587530" y="786357"/>
                  </a:lnTo>
                  <a:lnTo>
                    <a:pt x="2587314" y="756786"/>
                  </a:lnTo>
                  <a:lnTo>
                    <a:pt x="2591478" y="726686"/>
                  </a:lnTo>
                  <a:lnTo>
                    <a:pt x="2597308" y="696356"/>
                  </a:lnTo>
                  <a:lnTo>
                    <a:pt x="2612463" y="648616"/>
                  </a:lnTo>
                  <a:lnTo>
                    <a:pt x="2628102" y="614646"/>
                  </a:lnTo>
                  <a:lnTo>
                    <a:pt x="2645886" y="578427"/>
                  </a:lnTo>
                  <a:lnTo>
                    <a:pt x="2650008" y="545122"/>
                  </a:lnTo>
                  <a:lnTo>
                    <a:pt x="2627188" y="511798"/>
                  </a:lnTo>
                  <a:lnTo>
                    <a:pt x="2604556" y="491902"/>
                  </a:lnTo>
                  <a:lnTo>
                    <a:pt x="2587224" y="476120"/>
                  </a:lnTo>
                  <a:lnTo>
                    <a:pt x="2569715" y="460088"/>
                  </a:lnTo>
                  <a:lnTo>
                    <a:pt x="2547590" y="495179"/>
                  </a:lnTo>
                  <a:lnTo>
                    <a:pt x="2507146" y="492733"/>
                  </a:lnTo>
                  <a:lnTo>
                    <a:pt x="2391338" y="475988"/>
                  </a:lnTo>
                  <a:lnTo>
                    <a:pt x="2442833" y="415182"/>
                  </a:lnTo>
                  <a:lnTo>
                    <a:pt x="2395609" y="378476"/>
                  </a:lnTo>
                  <a:lnTo>
                    <a:pt x="2357226" y="348659"/>
                  </a:lnTo>
                  <a:lnTo>
                    <a:pt x="2327450" y="377769"/>
                  </a:lnTo>
                  <a:lnTo>
                    <a:pt x="2296315" y="364877"/>
                  </a:lnTo>
                  <a:lnTo>
                    <a:pt x="2275338" y="347769"/>
                  </a:lnTo>
                  <a:lnTo>
                    <a:pt x="2264733" y="315798"/>
                  </a:lnTo>
                  <a:lnTo>
                    <a:pt x="2248708" y="294146"/>
                  </a:lnTo>
                  <a:lnTo>
                    <a:pt x="2181909" y="226964"/>
                  </a:lnTo>
                  <a:lnTo>
                    <a:pt x="2153154" y="223758"/>
                  </a:lnTo>
                  <a:lnTo>
                    <a:pt x="2108459" y="251616"/>
                  </a:lnTo>
                  <a:lnTo>
                    <a:pt x="2084124" y="256060"/>
                  </a:lnTo>
                  <a:lnTo>
                    <a:pt x="2053732" y="261627"/>
                  </a:lnTo>
                  <a:lnTo>
                    <a:pt x="2027910" y="245199"/>
                  </a:lnTo>
                  <a:lnTo>
                    <a:pt x="1998431" y="249254"/>
                  </a:lnTo>
                  <a:lnTo>
                    <a:pt x="1942217" y="257017"/>
                  </a:lnTo>
                  <a:lnTo>
                    <a:pt x="1900560" y="292932"/>
                  </a:lnTo>
                  <a:lnTo>
                    <a:pt x="1837928" y="273741"/>
                  </a:lnTo>
                  <a:lnTo>
                    <a:pt x="1791511" y="259544"/>
                  </a:lnTo>
                  <a:lnTo>
                    <a:pt x="1740248" y="217315"/>
                  </a:lnTo>
                  <a:lnTo>
                    <a:pt x="1707348" y="182607"/>
                  </a:lnTo>
                  <a:lnTo>
                    <a:pt x="1653727" y="126056"/>
                  </a:lnTo>
                  <a:lnTo>
                    <a:pt x="1617299" y="0"/>
                  </a:lnTo>
                  <a:lnTo>
                    <a:pt x="1515561" y="22107"/>
                  </a:lnTo>
                  <a:lnTo>
                    <a:pt x="1490652" y="27528"/>
                  </a:lnTo>
                  <a:lnTo>
                    <a:pt x="1463916" y="37512"/>
                  </a:lnTo>
                  <a:lnTo>
                    <a:pt x="1447551" y="58833"/>
                  </a:lnTo>
                  <a:lnTo>
                    <a:pt x="1438220" y="79060"/>
                  </a:lnTo>
                  <a:lnTo>
                    <a:pt x="1386576" y="178082"/>
                  </a:lnTo>
                  <a:lnTo>
                    <a:pt x="1423386" y="298737"/>
                  </a:lnTo>
                  <a:lnTo>
                    <a:pt x="1394503" y="336314"/>
                  </a:lnTo>
                  <a:lnTo>
                    <a:pt x="1375778" y="350955"/>
                  </a:lnTo>
                  <a:lnTo>
                    <a:pt x="1346301" y="419918"/>
                  </a:lnTo>
                  <a:lnTo>
                    <a:pt x="1376608" y="468061"/>
                  </a:lnTo>
                  <a:lnTo>
                    <a:pt x="1364578" y="509054"/>
                  </a:lnTo>
                  <a:lnTo>
                    <a:pt x="1337948" y="599807"/>
                  </a:lnTo>
                  <a:lnTo>
                    <a:pt x="1187774" y="503106"/>
                  </a:lnTo>
                  <a:lnTo>
                    <a:pt x="1114302" y="617871"/>
                  </a:lnTo>
                  <a:lnTo>
                    <a:pt x="1090966" y="654360"/>
                  </a:lnTo>
                  <a:lnTo>
                    <a:pt x="1102421" y="729047"/>
                  </a:lnTo>
                  <a:lnTo>
                    <a:pt x="1092539" y="771578"/>
                  </a:lnTo>
                  <a:lnTo>
                    <a:pt x="1078278" y="832785"/>
                  </a:lnTo>
                  <a:lnTo>
                    <a:pt x="998770" y="845770"/>
                  </a:lnTo>
                  <a:lnTo>
                    <a:pt x="991884" y="889910"/>
                  </a:lnTo>
                  <a:lnTo>
                    <a:pt x="982745" y="948249"/>
                  </a:lnTo>
                  <a:lnTo>
                    <a:pt x="1011564" y="997004"/>
                  </a:lnTo>
                  <a:lnTo>
                    <a:pt x="983723" y="1057216"/>
                  </a:lnTo>
                  <a:lnTo>
                    <a:pt x="955434" y="1118449"/>
                  </a:lnTo>
                  <a:lnTo>
                    <a:pt x="834441" y="1188904"/>
                  </a:lnTo>
                  <a:lnTo>
                    <a:pt x="797375" y="1284371"/>
                  </a:lnTo>
                  <a:lnTo>
                    <a:pt x="779119" y="1331426"/>
                  </a:lnTo>
                  <a:lnTo>
                    <a:pt x="849828" y="1515410"/>
                  </a:lnTo>
                  <a:lnTo>
                    <a:pt x="839542" y="1571375"/>
                  </a:lnTo>
                  <a:lnTo>
                    <a:pt x="822114" y="1666269"/>
                  </a:lnTo>
                  <a:lnTo>
                    <a:pt x="662461" y="1686864"/>
                  </a:lnTo>
                  <a:lnTo>
                    <a:pt x="689920" y="1818928"/>
                  </a:lnTo>
                  <a:lnTo>
                    <a:pt x="707113" y="1905025"/>
                  </a:lnTo>
                  <a:lnTo>
                    <a:pt x="689900" y="1979580"/>
                  </a:lnTo>
                  <a:lnTo>
                    <a:pt x="658635" y="2058322"/>
                  </a:lnTo>
                  <a:lnTo>
                    <a:pt x="644077" y="2094963"/>
                  </a:lnTo>
                  <a:lnTo>
                    <a:pt x="640379" y="2132219"/>
                  </a:lnTo>
                  <a:lnTo>
                    <a:pt x="619189" y="2167139"/>
                  </a:lnTo>
                  <a:lnTo>
                    <a:pt x="561444" y="2262184"/>
                  </a:lnTo>
                  <a:lnTo>
                    <a:pt x="427890" y="2235422"/>
                  </a:lnTo>
                  <a:lnTo>
                    <a:pt x="368913" y="2326280"/>
                  </a:lnTo>
                  <a:lnTo>
                    <a:pt x="329573" y="2386874"/>
                  </a:lnTo>
                  <a:lnTo>
                    <a:pt x="309298" y="2481729"/>
                  </a:lnTo>
                  <a:lnTo>
                    <a:pt x="270979" y="2522148"/>
                  </a:lnTo>
                  <a:lnTo>
                    <a:pt x="247026" y="2547421"/>
                  </a:lnTo>
                  <a:lnTo>
                    <a:pt x="210173" y="2558639"/>
                  </a:lnTo>
                  <a:lnTo>
                    <a:pt x="181205" y="2575198"/>
                  </a:lnTo>
                  <a:lnTo>
                    <a:pt x="162205" y="2586079"/>
                  </a:lnTo>
                  <a:lnTo>
                    <a:pt x="146945" y="2607011"/>
                  </a:lnTo>
                  <a:lnTo>
                    <a:pt x="129518" y="2620083"/>
                  </a:lnTo>
                  <a:lnTo>
                    <a:pt x="88031" y="2651198"/>
                  </a:lnTo>
                  <a:lnTo>
                    <a:pt x="40425" y="2672136"/>
                  </a:lnTo>
                  <a:lnTo>
                    <a:pt x="27503" y="2730258"/>
                  </a:lnTo>
                  <a:lnTo>
                    <a:pt x="23422" y="2758827"/>
                  </a:lnTo>
                  <a:lnTo>
                    <a:pt x="22061" y="2791445"/>
                  </a:lnTo>
                  <a:lnTo>
                    <a:pt x="34304" y="2824644"/>
                  </a:lnTo>
                  <a:lnTo>
                    <a:pt x="34304" y="2858120"/>
                  </a:lnTo>
                  <a:lnTo>
                    <a:pt x="34304" y="2889703"/>
                  </a:lnTo>
                  <a:lnTo>
                    <a:pt x="28013" y="2923344"/>
                  </a:lnTo>
                  <a:lnTo>
                    <a:pt x="30223" y="2954695"/>
                  </a:lnTo>
                  <a:lnTo>
                    <a:pt x="35281" y="2980599"/>
                  </a:lnTo>
                  <a:lnTo>
                    <a:pt x="45780" y="3017202"/>
                  </a:lnTo>
                  <a:lnTo>
                    <a:pt x="75470" y="3050420"/>
                  </a:lnTo>
                  <a:lnTo>
                    <a:pt x="77830" y="3074392"/>
                  </a:lnTo>
                  <a:lnTo>
                    <a:pt x="79955" y="3096262"/>
                  </a:lnTo>
                  <a:lnTo>
                    <a:pt x="62910" y="3117279"/>
                  </a:lnTo>
                  <a:lnTo>
                    <a:pt x="38214" y="3140763"/>
                  </a:lnTo>
                  <a:lnTo>
                    <a:pt x="17981" y="3157364"/>
                  </a:lnTo>
                  <a:lnTo>
                    <a:pt x="15962" y="3201741"/>
                  </a:lnTo>
                  <a:lnTo>
                    <a:pt x="0" y="3239720"/>
                  </a:lnTo>
                  <a:lnTo>
                    <a:pt x="3019" y="3286584"/>
                  </a:lnTo>
                  <a:lnTo>
                    <a:pt x="5144" y="3319526"/>
                  </a:lnTo>
                  <a:lnTo>
                    <a:pt x="15813" y="3354082"/>
                  </a:lnTo>
                  <a:lnTo>
                    <a:pt x="17981" y="3387235"/>
                  </a:lnTo>
                  <a:lnTo>
                    <a:pt x="19702" y="3414103"/>
                  </a:lnTo>
                  <a:lnTo>
                    <a:pt x="16515" y="3575329"/>
                  </a:lnTo>
                  <a:lnTo>
                    <a:pt x="7099" y="3596709"/>
                  </a:lnTo>
                  <a:lnTo>
                    <a:pt x="28820" y="3602189"/>
                  </a:lnTo>
                  <a:lnTo>
                    <a:pt x="48883" y="3612945"/>
                  </a:lnTo>
                  <a:lnTo>
                    <a:pt x="69668" y="3621190"/>
                  </a:lnTo>
                  <a:lnTo>
                    <a:pt x="121568" y="3593815"/>
                  </a:lnTo>
                  <a:lnTo>
                    <a:pt x="167985" y="3577070"/>
                  </a:lnTo>
                  <a:lnTo>
                    <a:pt x="224731" y="3559983"/>
                  </a:lnTo>
                  <a:lnTo>
                    <a:pt x="262306" y="3570139"/>
                  </a:lnTo>
                  <a:lnTo>
                    <a:pt x="309063" y="3600791"/>
                  </a:lnTo>
                  <a:lnTo>
                    <a:pt x="330784" y="3616771"/>
                  </a:lnTo>
                  <a:lnTo>
                    <a:pt x="365086" y="3613875"/>
                  </a:lnTo>
                  <a:lnTo>
                    <a:pt x="389315" y="3613032"/>
                  </a:lnTo>
                  <a:lnTo>
                    <a:pt x="423320" y="3645677"/>
                  </a:lnTo>
                  <a:lnTo>
                    <a:pt x="413799" y="3685121"/>
                  </a:lnTo>
                  <a:lnTo>
                    <a:pt x="375713" y="3719123"/>
                  </a:lnTo>
                  <a:lnTo>
                    <a:pt x="365448" y="3766435"/>
                  </a:lnTo>
                  <a:lnTo>
                    <a:pt x="357563" y="3820078"/>
                  </a:lnTo>
                  <a:lnTo>
                    <a:pt x="386594" y="3863308"/>
                  </a:lnTo>
                  <a:lnTo>
                    <a:pt x="441258" y="3871729"/>
                  </a:lnTo>
                  <a:lnTo>
                    <a:pt x="555429" y="3837549"/>
                  </a:lnTo>
                  <a:lnTo>
                    <a:pt x="583824" y="3846985"/>
                  </a:lnTo>
                  <a:lnTo>
                    <a:pt x="607882" y="3947215"/>
                  </a:lnTo>
                  <a:lnTo>
                    <a:pt x="552326" y="3973185"/>
                  </a:lnTo>
                  <a:lnTo>
                    <a:pt x="593345" y="4110861"/>
                  </a:lnTo>
                  <a:lnTo>
                    <a:pt x="602357" y="4141125"/>
                  </a:lnTo>
                  <a:lnTo>
                    <a:pt x="625883" y="4156300"/>
                  </a:lnTo>
                  <a:lnTo>
                    <a:pt x="640952" y="4181591"/>
                  </a:lnTo>
                  <a:lnTo>
                    <a:pt x="665499" y="4222737"/>
                  </a:lnTo>
                  <a:lnTo>
                    <a:pt x="665691" y="4276255"/>
                  </a:lnTo>
                  <a:lnTo>
                    <a:pt x="695360" y="4316253"/>
                  </a:lnTo>
                  <a:lnTo>
                    <a:pt x="731108" y="4364541"/>
                  </a:lnTo>
                  <a:lnTo>
                    <a:pt x="779501" y="4381714"/>
                  </a:lnTo>
                  <a:lnTo>
                    <a:pt x="791934" y="4446832"/>
                  </a:lnTo>
                  <a:lnTo>
                    <a:pt x="802816" y="4471319"/>
                  </a:lnTo>
                  <a:lnTo>
                    <a:pt x="826407" y="4490654"/>
                  </a:lnTo>
                  <a:lnTo>
                    <a:pt x="875629" y="4466208"/>
                  </a:lnTo>
                  <a:lnTo>
                    <a:pt x="895309" y="4446832"/>
                  </a:lnTo>
                  <a:lnTo>
                    <a:pt x="943681" y="4445045"/>
                  </a:lnTo>
                  <a:lnTo>
                    <a:pt x="1056471" y="4480664"/>
                  </a:lnTo>
                  <a:lnTo>
                    <a:pt x="1073177" y="4505612"/>
                  </a:lnTo>
                  <a:lnTo>
                    <a:pt x="1170069" y="4448190"/>
                  </a:lnTo>
                  <a:lnTo>
                    <a:pt x="1188645" y="4437224"/>
                  </a:lnTo>
                  <a:lnTo>
                    <a:pt x="1212193" y="4437394"/>
                  </a:lnTo>
                  <a:lnTo>
                    <a:pt x="1229918" y="4450908"/>
                  </a:lnTo>
                  <a:lnTo>
                    <a:pt x="1284326" y="4492482"/>
                  </a:lnTo>
                  <a:lnTo>
                    <a:pt x="1333803" y="4656892"/>
                  </a:lnTo>
                  <a:lnTo>
                    <a:pt x="1402663" y="4706624"/>
                  </a:lnTo>
                  <a:lnTo>
                    <a:pt x="1420346" y="4719419"/>
                  </a:lnTo>
                  <a:lnTo>
                    <a:pt x="1459218" y="4718529"/>
                  </a:lnTo>
                  <a:lnTo>
                    <a:pt x="1481555" y="4727029"/>
                  </a:lnTo>
                  <a:lnTo>
                    <a:pt x="1523763" y="4757294"/>
                  </a:lnTo>
                  <a:lnTo>
                    <a:pt x="1463383" y="4795504"/>
                  </a:lnTo>
                  <a:lnTo>
                    <a:pt x="1466592" y="4827680"/>
                  </a:lnTo>
                  <a:lnTo>
                    <a:pt x="1492883" y="4846853"/>
                  </a:lnTo>
                  <a:lnTo>
                    <a:pt x="1519640" y="4869848"/>
                  </a:lnTo>
                  <a:lnTo>
                    <a:pt x="1533837" y="4893228"/>
                  </a:lnTo>
                  <a:lnTo>
                    <a:pt x="1571052" y="4980491"/>
                  </a:lnTo>
                  <a:lnTo>
                    <a:pt x="1572688" y="5005868"/>
                  </a:lnTo>
                  <a:lnTo>
                    <a:pt x="1569500" y="5038178"/>
                  </a:lnTo>
                  <a:lnTo>
                    <a:pt x="1572688" y="5064991"/>
                  </a:lnTo>
                  <a:lnTo>
                    <a:pt x="1584929" y="5086122"/>
                  </a:lnTo>
                  <a:lnTo>
                    <a:pt x="1591241" y="5107457"/>
                  </a:lnTo>
                  <a:lnTo>
                    <a:pt x="1581338" y="5131350"/>
                  </a:lnTo>
                  <a:lnTo>
                    <a:pt x="1587650" y="5152771"/>
                  </a:lnTo>
                  <a:lnTo>
                    <a:pt x="1594154" y="5174791"/>
                  </a:lnTo>
                  <a:lnTo>
                    <a:pt x="1651324" y="5226732"/>
                  </a:lnTo>
                  <a:lnTo>
                    <a:pt x="1673342" y="5233023"/>
                  </a:lnTo>
                  <a:lnTo>
                    <a:pt x="1726327" y="5262990"/>
                  </a:lnTo>
                  <a:lnTo>
                    <a:pt x="1803411" y="5296994"/>
                  </a:lnTo>
                  <a:lnTo>
                    <a:pt x="1862410" y="5267027"/>
                  </a:lnTo>
                  <a:lnTo>
                    <a:pt x="1882749" y="5256699"/>
                  </a:lnTo>
                  <a:lnTo>
                    <a:pt x="1898264" y="5238972"/>
                  </a:lnTo>
                  <a:lnTo>
                    <a:pt x="1919539" y="5228941"/>
                  </a:lnTo>
                  <a:lnTo>
                    <a:pt x="1951206" y="5214023"/>
                  </a:lnTo>
                  <a:lnTo>
                    <a:pt x="1988483" y="5207225"/>
                  </a:lnTo>
                  <a:lnTo>
                    <a:pt x="2018833" y="5189497"/>
                  </a:lnTo>
                  <a:lnTo>
                    <a:pt x="2040086" y="5177039"/>
                  </a:lnTo>
                  <a:lnTo>
                    <a:pt x="2055112" y="5153792"/>
                  </a:lnTo>
                  <a:lnTo>
                    <a:pt x="2084122" y="5158211"/>
                  </a:lnTo>
                  <a:lnTo>
                    <a:pt x="2105418" y="5161443"/>
                  </a:lnTo>
                  <a:lnTo>
                    <a:pt x="2125566" y="5185547"/>
                  </a:lnTo>
                  <a:lnTo>
                    <a:pt x="2146692" y="5192215"/>
                  </a:lnTo>
                  <a:lnTo>
                    <a:pt x="2179464" y="5178490"/>
                  </a:lnTo>
                  <a:lnTo>
                    <a:pt x="2201100" y="5152777"/>
                  </a:lnTo>
                  <a:lnTo>
                    <a:pt x="2253786" y="5115449"/>
                  </a:lnTo>
                  <a:lnTo>
                    <a:pt x="2306196" y="5196554"/>
                  </a:lnTo>
                  <a:lnTo>
                    <a:pt x="2337119" y="5231665"/>
                  </a:lnTo>
                  <a:lnTo>
                    <a:pt x="2359797" y="5257378"/>
                  </a:lnTo>
                  <a:lnTo>
                    <a:pt x="2389530" y="5279867"/>
                  </a:lnTo>
                  <a:lnTo>
                    <a:pt x="2409210" y="5307836"/>
                  </a:lnTo>
                  <a:lnTo>
                    <a:pt x="2435054" y="5315993"/>
                  </a:lnTo>
                  <a:lnTo>
                    <a:pt x="2472161" y="5358591"/>
                  </a:lnTo>
                  <a:lnTo>
                    <a:pt x="2486061" y="5403858"/>
                  </a:lnTo>
                  <a:lnTo>
                    <a:pt x="2513945" y="5450655"/>
                  </a:lnTo>
                  <a:lnTo>
                    <a:pt x="2546973" y="5506000"/>
                  </a:lnTo>
                  <a:lnTo>
                    <a:pt x="2606736" y="5521768"/>
                  </a:lnTo>
                  <a:lnTo>
                    <a:pt x="2577874" y="5611161"/>
                  </a:lnTo>
                  <a:lnTo>
                    <a:pt x="2567546" y="5649247"/>
                  </a:lnTo>
                  <a:lnTo>
                    <a:pt x="2541659" y="5671651"/>
                  </a:lnTo>
                  <a:lnTo>
                    <a:pt x="2513945" y="5687333"/>
                  </a:lnTo>
                  <a:lnTo>
                    <a:pt x="2516815" y="5721251"/>
                  </a:lnTo>
                  <a:lnTo>
                    <a:pt x="2519386" y="5755340"/>
                  </a:lnTo>
                  <a:lnTo>
                    <a:pt x="2490737" y="5812682"/>
                  </a:lnTo>
                  <a:lnTo>
                    <a:pt x="2429613" y="5808343"/>
                  </a:lnTo>
                  <a:lnTo>
                    <a:pt x="2466338" y="5899523"/>
                  </a:lnTo>
                  <a:lnTo>
                    <a:pt x="2488655" y="5924434"/>
                  </a:lnTo>
                  <a:lnTo>
                    <a:pt x="2527505" y="5937946"/>
                  </a:lnTo>
                  <a:lnTo>
                    <a:pt x="2566993" y="5953933"/>
                  </a:lnTo>
                  <a:lnTo>
                    <a:pt x="2587205" y="5969107"/>
                  </a:lnTo>
                  <a:lnTo>
                    <a:pt x="2596280" y="5989512"/>
                  </a:lnTo>
                  <a:lnTo>
                    <a:pt x="2615960" y="6004258"/>
                  </a:lnTo>
                  <a:lnTo>
                    <a:pt x="2681462" y="5965195"/>
                  </a:lnTo>
                  <a:lnTo>
                    <a:pt x="2755784" y="6004719"/>
                  </a:lnTo>
                  <a:lnTo>
                    <a:pt x="2773744" y="5902241"/>
                  </a:lnTo>
                  <a:lnTo>
                    <a:pt x="2780395" y="5848215"/>
                  </a:lnTo>
                  <a:lnTo>
                    <a:pt x="2776507" y="5815915"/>
                  </a:lnTo>
                  <a:lnTo>
                    <a:pt x="2758164" y="5784754"/>
                  </a:lnTo>
                  <a:lnTo>
                    <a:pt x="2750620" y="5762146"/>
                  </a:lnTo>
                  <a:lnTo>
                    <a:pt x="2742839" y="5729962"/>
                  </a:lnTo>
                  <a:lnTo>
                    <a:pt x="2804223" y="5644572"/>
                  </a:lnTo>
                  <a:lnTo>
                    <a:pt x="2897651" y="5734982"/>
                  </a:lnTo>
                  <a:lnTo>
                    <a:pt x="2949212" y="5760780"/>
                  </a:lnTo>
                  <a:lnTo>
                    <a:pt x="3007658" y="5793643"/>
                  </a:lnTo>
                  <a:lnTo>
                    <a:pt x="3037986" y="5809583"/>
                  </a:lnTo>
                  <a:lnTo>
                    <a:pt x="3116389" y="5825140"/>
                  </a:lnTo>
                  <a:lnTo>
                    <a:pt x="3122339" y="5804267"/>
                  </a:lnTo>
                  <a:lnTo>
                    <a:pt x="3168203" y="5762146"/>
                  </a:lnTo>
                  <a:lnTo>
                    <a:pt x="3210263" y="5727667"/>
                  </a:lnTo>
                  <a:lnTo>
                    <a:pt x="3275765" y="5715639"/>
                  </a:lnTo>
                  <a:lnTo>
                    <a:pt x="3298782" y="5679168"/>
                  </a:lnTo>
                  <a:lnTo>
                    <a:pt x="3331236" y="5627780"/>
                  </a:lnTo>
                  <a:lnTo>
                    <a:pt x="3353849" y="5534991"/>
                  </a:lnTo>
                  <a:lnTo>
                    <a:pt x="3368153" y="5475142"/>
                  </a:lnTo>
                  <a:lnTo>
                    <a:pt x="3382775" y="5414014"/>
                  </a:lnTo>
                  <a:lnTo>
                    <a:pt x="3378971" y="5353064"/>
                  </a:lnTo>
                  <a:lnTo>
                    <a:pt x="3414399" y="5296954"/>
                  </a:lnTo>
                  <a:lnTo>
                    <a:pt x="3428809" y="5274169"/>
                  </a:lnTo>
                  <a:lnTo>
                    <a:pt x="3449148" y="5257893"/>
                  </a:lnTo>
                  <a:lnTo>
                    <a:pt x="3468807" y="5239829"/>
                  </a:lnTo>
                  <a:lnTo>
                    <a:pt x="3499411" y="5211728"/>
                  </a:lnTo>
                  <a:lnTo>
                    <a:pt x="3527189" y="5195241"/>
                  </a:lnTo>
                  <a:lnTo>
                    <a:pt x="3569462" y="5190855"/>
                  </a:lnTo>
                  <a:lnTo>
                    <a:pt x="3654814" y="5181972"/>
                  </a:lnTo>
                  <a:lnTo>
                    <a:pt x="3700445" y="5280420"/>
                  </a:lnTo>
                  <a:lnTo>
                    <a:pt x="3778932" y="5294238"/>
                  </a:lnTo>
                  <a:lnTo>
                    <a:pt x="3811768" y="5300014"/>
                  </a:lnTo>
                  <a:lnTo>
                    <a:pt x="3843945" y="5277954"/>
                  </a:lnTo>
                  <a:lnTo>
                    <a:pt x="3878227" y="5277915"/>
                  </a:lnTo>
                  <a:lnTo>
                    <a:pt x="3905750" y="5290491"/>
                  </a:lnTo>
                  <a:lnTo>
                    <a:pt x="3928554" y="5325517"/>
                  </a:lnTo>
                  <a:lnTo>
                    <a:pt x="3945046" y="5341331"/>
                  </a:lnTo>
                  <a:lnTo>
                    <a:pt x="3980242" y="5399393"/>
                  </a:lnTo>
                  <a:lnTo>
                    <a:pt x="3984790" y="5472036"/>
                  </a:lnTo>
                  <a:lnTo>
                    <a:pt x="4018328" y="5517310"/>
                  </a:lnTo>
                  <a:lnTo>
                    <a:pt x="4051907" y="5562617"/>
                  </a:lnTo>
                  <a:lnTo>
                    <a:pt x="4162870" y="5602576"/>
                  </a:lnTo>
                  <a:lnTo>
                    <a:pt x="4214196" y="5641083"/>
                  </a:lnTo>
                  <a:lnTo>
                    <a:pt x="4240124" y="5660465"/>
                  </a:lnTo>
                  <a:lnTo>
                    <a:pt x="4277806" y="5727035"/>
                  </a:lnTo>
                  <a:lnTo>
                    <a:pt x="4306690" y="5760780"/>
                  </a:lnTo>
                  <a:lnTo>
                    <a:pt x="4337570" y="5796953"/>
                  </a:lnTo>
                  <a:lnTo>
                    <a:pt x="4398035" y="5753942"/>
                  </a:lnTo>
                  <a:lnTo>
                    <a:pt x="4433188" y="5760780"/>
                  </a:lnTo>
                  <a:lnTo>
                    <a:pt x="4475121" y="5769031"/>
                  </a:lnTo>
                  <a:lnTo>
                    <a:pt x="4535479" y="5803627"/>
                  </a:lnTo>
                  <a:lnTo>
                    <a:pt x="4574648" y="5823353"/>
                  </a:lnTo>
                  <a:lnTo>
                    <a:pt x="4650352" y="5875592"/>
                  </a:lnTo>
                  <a:lnTo>
                    <a:pt x="4712220" y="5891149"/>
                  </a:lnTo>
                  <a:lnTo>
                    <a:pt x="4764141" y="5860713"/>
                  </a:lnTo>
                  <a:lnTo>
                    <a:pt x="4782759" y="5817911"/>
                  </a:lnTo>
                  <a:lnTo>
                    <a:pt x="4801993" y="5768945"/>
                  </a:lnTo>
                  <a:lnTo>
                    <a:pt x="4820207" y="5740977"/>
                  </a:lnTo>
                  <a:lnTo>
                    <a:pt x="4872808" y="5735746"/>
                  </a:lnTo>
                  <a:lnTo>
                    <a:pt x="4891575" y="5706372"/>
                  </a:lnTo>
                  <a:lnTo>
                    <a:pt x="4953570" y="5754067"/>
                  </a:lnTo>
                  <a:lnTo>
                    <a:pt x="5046442" y="5824711"/>
                  </a:lnTo>
                  <a:lnTo>
                    <a:pt x="5132623" y="5764645"/>
                  </a:lnTo>
                  <a:lnTo>
                    <a:pt x="5227539" y="5800224"/>
                  </a:lnTo>
                  <a:lnTo>
                    <a:pt x="5253723" y="5810084"/>
                  </a:lnTo>
                  <a:lnTo>
                    <a:pt x="5289811" y="5853953"/>
                  </a:lnTo>
                  <a:lnTo>
                    <a:pt x="5320033" y="5843752"/>
                  </a:lnTo>
                  <a:lnTo>
                    <a:pt x="5363327" y="5867084"/>
                  </a:lnTo>
                  <a:lnTo>
                    <a:pt x="5419031" y="5843752"/>
                  </a:lnTo>
                  <a:lnTo>
                    <a:pt x="5464215" y="5843752"/>
                  </a:lnTo>
                  <a:lnTo>
                    <a:pt x="5500855" y="5843752"/>
                  </a:lnTo>
                  <a:lnTo>
                    <a:pt x="5538197" y="5854587"/>
                  </a:lnTo>
                  <a:lnTo>
                    <a:pt x="5575751" y="5853274"/>
                  </a:lnTo>
                  <a:lnTo>
                    <a:pt x="5693048" y="5827771"/>
                  </a:lnTo>
                  <a:lnTo>
                    <a:pt x="5733683" y="5866451"/>
                  </a:lnTo>
                  <a:lnTo>
                    <a:pt x="5827388" y="5917198"/>
                  </a:lnTo>
                  <a:lnTo>
                    <a:pt x="5849215" y="5929016"/>
                  </a:lnTo>
                  <a:lnTo>
                    <a:pt x="5876972" y="5936416"/>
                  </a:lnTo>
                  <a:lnTo>
                    <a:pt x="5894038" y="5955291"/>
                  </a:lnTo>
                  <a:lnTo>
                    <a:pt x="5932485" y="5997710"/>
                  </a:lnTo>
                  <a:lnTo>
                    <a:pt x="5918012" y="6063637"/>
                  </a:lnTo>
                  <a:lnTo>
                    <a:pt x="5948445" y="6106267"/>
                  </a:lnTo>
                  <a:lnTo>
                    <a:pt x="5978349" y="6148178"/>
                  </a:lnTo>
                  <a:lnTo>
                    <a:pt x="6090055" y="6146522"/>
                  </a:lnTo>
                  <a:lnTo>
                    <a:pt x="6123912" y="6110343"/>
                  </a:lnTo>
                  <a:lnTo>
                    <a:pt x="6141105" y="6091983"/>
                  </a:lnTo>
                  <a:lnTo>
                    <a:pt x="6175791" y="6061080"/>
                  </a:lnTo>
                  <a:lnTo>
                    <a:pt x="6201442" y="6061376"/>
                  </a:lnTo>
                  <a:lnTo>
                    <a:pt x="6287050" y="6056536"/>
                  </a:lnTo>
                  <a:lnTo>
                    <a:pt x="6270707" y="6025717"/>
                  </a:lnTo>
                  <a:lnTo>
                    <a:pt x="6312976" y="5997445"/>
                  </a:lnTo>
                  <a:lnTo>
                    <a:pt x="6332385" y="5984486"/>
                  </a:lnTo>
                  <a:lnTo>
                    <a:pt x="6357379" y="5975603"/>
                  </a:lnTo>
                  <a:lnTo>
                    <a:pt x="6378266" y="5964806"/>
                  </a:lnTo>
                  <a:lnTo>
                    <a:pt x="6418969" y="5978452"/>
                  </a:lnTo>
                  <a:lnTo>
                    <a:pt x="6496500" y="5983379"/>
                  </a:lnTo>
                  <a:lnTo>
                    <a:pt x="6562982" y="5978069"/>
                  </a:lnTo>
                  <a:lnTo>
                    <a:pt x="6617661" y="5997445"/>
                  </a:lnTo>
                  <a:lnTo>
                    <a:pt x="6669391" y="6015766"/>
                  </a:lnTo>
                  <a:lnTo>
                    <a:pt x="6704166" y="6064225"/>
                  </a:lnTo>
                  <a:lnTo>
                    <a:pt x="6757763" y="6077699"/>
                  </a:lnTo>
                  <a:lnTo>
                    <a:pt x="6782270" y="6083904"/>
                  </a:lnTo>
                  <a:lnTo>
                    <a:pt x="6810812" y="6098104"/>
                  </a:lnTo>
                  <a:lnTo>
                    <a:pt x="6832536" y="6129726"/>
                  </a:lnTo>
                  <a:lnTo>
                    <a:pt x="6885453" y="6218394"/>
                  </a:lnTo>
                  <a:lnTo>
                    <a:pt x="6921752" y="6228807"/>
                  </a:lnTo>
                  <a:lnTo>
                    <a:pt x="7002599" y="6234123"/>
                  </a:lnTo>
                  <a:lnTo>
                    <a:pt x="7033437" y="6236160"/>
                  </a:lnTo>
                  <a:lnTo>
                    <a:pt x="7083189" y="6200417"/>
                  </a:lnTo>
                  <a:lnTo>
                    <a:pt x="7077411" y="6166117"/>
                  </a:lnTo>
                  <a:lnTo>
                    <a:pt x="7107847" y="6178779"/>
                  </a:lnTo>
                  <a:lnTo>
                    <a:pt x="7177535" y="6226302"/>
                  </a:lnTo>
                  <a:lnTo>
                    <a:pt x="7284438" y="6290827"/>
                  </a:lnTo>
                  <a:lnTo>
                    <a:pt x="7358974" y="6265410"/>
                  </a:lnTo>
                  <a:lnTo>
                    <a:pt x="7378013" y="6253162"/>
                  </a:lnTo>
                  <a:lnTo>
                    <a:pt x="7411087" y="6224178"/>
                  </a:lnTo>
                  <a:lnTo>
                    <a:pt x="7447682" y="6205646"/>
                  </a:lnTo>
                  <a:lnTo>
                    <a:pt x="7485471" y="6183798"/>
                  </a:lnTo>
                  <a:lnTo>
                    <a:pt x="7512293" y="6168240"/>
                  </a:lnTo>
                  <a:lnTo>
                    <a:pt x="7539582" y="6151153"/>
                  </a:lnTo>
                  <a:lnTo>
                    <a:pt x="7569800" y="6142988"/>
                  </a:lnTo>
                  <a:lnTo>
                    <a:pt x="7654941" y="6119952"/>
                  </a:lnTo>
                  <a:lnTo>
                    <a:pt x="7717045" y="6179207"/>
                  </a:lnTo>
                  <a:lnTo>
                    <a:pt x="7787432" y="6138912"/>
                  </a:lnTo>
                  <a:lnTo>
                    <a:pt x="7870765" y="6091225"/>
                  </a:lnTo>
                  <a:lnTo>
                    <a:pt x="7818679" y="6023257"/>
                  </a:lnTo>
                  <a:lnTo>
                    <a:pt x="7964261" y="5981129"/>
                  </a:lnTo>
                  <a:lnTo>
                    <a:pt x="8073604" y="5949506"/>
                  </a:lnTo>
                  <a:lnTo>
                    <a:pt x="8168267" y="6023508"/>
                  </a:lnTo>
                  <a:lnTo>
                    <a:pt x="8271663" y="6027379"/>
                  </a:lnTo>
                  <a:lnTo>
                    <a:pt x="8358465" y="6030664"/>
                  </a:lnTo>
                  <a:lnTo>
                    <a:pt x="8342347" y="5987572"/>
                  </a:lnTo>
                  <a:lnTo>
                    <a:pt x="8477054" y="6026021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16" name="Ivano-Frankivsk¬0" descr="Ivano-Frankivsk¬0">
              <a:extLst>
                <a:ext uri="{FF2B5EF4-FFF2-40B4-BE49-F238E27FC236}">
                  <a16:creationId xmlns:a16="http://schemas.microsoft.com/office/drawing/2014/main" id="{FD28F403-6554-4963-902A-296B1B501CBA}"/>
                </a:ext>
              </a:extLst>
            </p:cNvPr>
            <p:cNvSpPr/>
            <p:nvPr/>
          </p:nvSpPr>
          <p:spPr>
            <a:xfrm>
              <a:off x="1353393" y="2476792"/>
              <a:ext cx="727004" cy="823008"/>
            </a:xfrm>
            <a:custGeom>
              <a:avLst/>
              <a:gdLst/>
              <a:ahLst/>
              <a:cxnLst/>
              <a:rect l="0" t="0" r="0" b="0"/>
              <a:pathLst>
                <a:path w="7418671" h="9533502">
                  <a:moveTo>
                    <a:pt x="4885970" y="9491260"/>
                  </a:moveTo>
                  <a:lnTo>
                    <a:pt x="4885970" y="9465415"/>
                  </a:lnTo>
                  <a:lnTo>
                    <a:pt x="4883247" y="9411006"/>
                  </a:lnTo>
                  <a:lnTo>
                    <a:pt x="4889881" y="9342083"/>
                  </a:lnTo>
                  <a:lnTo>
                    <a:pt x="4894029" y="9307598"/>
                  </a:lnTo>
                  <a:lnTo>
                    <a:pt x="4903652" y="9274986"/>
                  </a:lnTo>
                  <a:lnTo>
                    <a:pt x="4913273" y="9242374"/>
                  </a:lnTo>
                  <a:lnTo>
                    <a:pt x="4928890" y="9212480"/>
                  </a:lnTo>
                  <a:lnTo>
                    <a:pt x="4959418" y="9153930"/>
                  </a:lnTo>
                  <a:lnTo>
                    <a:pt x="5017908" y="9039673"/>
                  </a:lnTo>
                  <a:lnTo>
                    <a:pt x="5039598" y="9011883"/>
                  </a:lnTo>
                  <a:lnTo>
                    <a:pt x="5062021" y="8956109"/>
                  </a:lnTo>
                  <a:lnTo>
                    <a:pt x="5073925" y="8919119"/>
                  </a:lnTo>
                  <a:lnTo>
                    <a:pt x="5077756" y="8881891"/>
                  </a:lnTo>
                  <a:lnTo>
                    <a:pt x="5081588" y="8844662"/>
                  </a:lnTo>
                  <a:lnTo>
                    <a:pt x="5077691" y="8806827"/>
                  </a:lnTo>
                  <a:lnTo>
                    <a:pt x="5060076" y="8767634"/>
                  </a:lnTo>
                  <a:lnTo>
                    <a:pt x="5043997" y="8733097"/>
                  </a:lnTo>
                  <a:lnTo>
                    <a:pt x="5029904" y="8696073"/>
                  </a:lnTo>
                  <a:lnTo>
                    <a:pt x="5023349" y="8658818"/>
                  </a:lnTo>
                  <a:lnTo>
                    <a:pt x="5018614" y="8576547"/>
                  </a:lnTo>
                  <a:lnTo>
                    <a:pt x="5026257" y="8546910"/>
                  </a:lnTo>
                  <a:lnTo>
                    <a:pt x="5021990" y="8521440"/>
                  </a:lnTo>
                  <a:lnTo>
                    <a:pt x="5017723" y="8495964"/>
                  </a:lnTo>
                  <a:lnTo>
                    <a:pt x="5001684" y="8473936"/>
                  </a:lnTo>
                  <a:lnTo>
                    <a:pt x="4948543" y="8409899"/>
                  </a:lnTo>
                  <a:lnTo>
                    <a:pt x="4933843" y="8392200"/>
                  </a:lnTo>
                  <a:lnTo>
                    <a:pt x="4922467" y="8369691"/>
                  </a:lnTo>
                  <a:lnTo>
                    <a:pt x="4914533" y="8343252"/>
                  </a:lnTo>
                  <a:lnTo>
                    <a:pt x="4906599" y="8316814"/>
                  </a:lnTo>
                  <a:lnTo>
                    <a:pt x="4902035" y="8287617"/>
                  </a:lnTo>
                  <a:lnTo>
                    <a:pt x="4898211" y="8257558"/>
                  </a:lnTo>
                  <a:lnTo>
                    <a:pt x="4890560" y="8197446"/>
                  </a:lnTo>
                  <a:lnTo>
                    <a:pt x="4887698" y="8134121"/>
                  </a:lnTo>
                  <a:lnTo>
                    <a:pt x="4880530" y="8090252"/>
                  </a:lnTo>
                  <a:lnTo>
                    <a:pt x="4874997" y="8056386"/>
                  </a:lnTo>
                  <a:lnTo>
                    <a:pt x="4878294" y="8022080"/>
                  </a:lnTo>
                  <a:lnTo>
                    <a:pt x="4887329" y="7986883"/>
                  </a:lnTo>
                  <a:lnTo>
                    <a:pt x="4896371" y="7951679"/>
                  </a:lnTo>
                  <a:lnTo>
                    <a:pt x="4911730" y="7916469"/>
                  </a:lnTo>
                  <a:lnTo>
                    <a:pt x="4929496" y="7882142"/>
                  </a:lnTo>
                  <a:lnTo>
                    <a:pt x="4965024" y="7813503"/>
                  </a:lnTo>
                  <a:lnTo>
                    <a:pt x="5012467" y="7749058"/>
                  </a:lnTo>
                  <a:lnTo>
                    <a:pt x="5047836" y="7697155"/>
                  </a:lnTo>
                  <a:lnTo>
                    <a:pt x="5063927" y="7673546"/>
                  </a:lnTo>
                  <a:lnTo>
                    <a:pt x="5072316" y="7645024"/>
                  </a:lnTo>
                  <a:lnTo>
                    <a:pt x="5077756" y="7615543"/>
                  </a:lnTo>
                  <a:lnTo>
                    <a:pt x="5083197" y="7586071"/>
                  </a:lnTo>
                  <a:lnTo>
                    <a:pt x="5085855" y="7554752"/>
                  </a:lnTo>
                  <a:lnTo>
                    <a:pt x="5090004" y="7524415"/>
                  </a:lnTo>
                  <a:lnTo>
                    <a:pt x="5094138" y="7494073"/>
                  </a:lnTo>
                  <a:lnTo>
                    <a:pt x="5099553" y="7464929"/>
                  </a:lnTo>
                  <a:lnTo>
                    <a:pt x="5111767" y="7438721"/>
                  </a:lnTo>
                  <a:lnTo>
                    <a:pt x="5123974" y="7412514"/>
                  </a:lnTo>
                  <a:lnTo>
                    <a:pt x="5141978" y="7389160"/>
                  </a:lnTo>
                  <a:lnTo>
                    <a:pt x="5171609" y="7372073"/>
                  </a:lnTo>
                  <a:lnTo>
                    <a:pt x="5221499" y="7374882"/>
                  </a:lnTo>
                  <a:lnTo>
                    <a:pt x="5251862" y="7370715"/>
                  </a:lnTo>
                  <a:lnTo>
                    <a:pt x="5282225" y="7366546"/>
                  </a:lnTo>
                  <a:lnTo>
                    <a:pt x="5311256" y="7357981"/>
                  </a:lnTo>
                  <a:lnTo>
                    <a:pt x="5351907" y="7307292"/>
                  </a:lnTo>
                  <a:lnTo>
                    <a:pt x="5386372" y="7270268"/>
                  </a:lnTo>
                  <a:lnTo>
                    <a:pt x="5411004" y="7233329"/>
                  </a:lnTo>
                  <a:lnTo>
                    <a:pt x="5422855" y="7215563"/>
                  </a:lnTo>
                  <a:lnTo>
                    <a:pt x="5437575" y="7180043"/>
                  </a:lnTo>
                  <a:lnTo>
                    <a:pt x="5457253" y="7147642"/>
                  </a:lnTo>
                  <a:lnTo>
                    <a:pt x="5477612" y="7115445"/>
                  </a:lnTo>
                  <a:lnTo>
                    <a:pt x="5502185" y="7092780"/>
                  </a:lnTo>
                  <a:lnTo>
                    <a:pt x="5530708" y="7085070"/>
                  </a:lnTo>
                  <a:lnTo>
                    <a:pt x="5561981" y="7085135"/>
                  </a:lnTo>
                  <a:lnTo>
                    <a:pt x="5583750" y="7083711"/>
                  </a:lnTo>
                  <a:lnTo>
                    <a:pt x="5605527" y="7082247"/>
                  </a:lnTo>
                  <a:lnTo>
                    <a:pt x="5630001" y="7071471"/>
                  </a:lnTo>
                  <a:lnTo>
                    <a:pt x="5638561" y="7052023"/>
                  </a:lnTo>
                  <a:lnTo>
                    <a:pt x="5625925" y="7018422"/>
                  </a:lnTo>
                  <a:lnTo>
                    <a:pt x="5605415" y="6985948"/>
                  </a:lnTo>
                  <a:lnTo>
                    <a:pt x="5594744" y="6938003"/>
                  </a:lnTo>
                  <a:lnTo>
                    <a:pt x="5595595" y="6913220"/>
                  </a:lnTo>
                  <a:lnTo>
                    <a:pt x="5597363" y="6882402"/>
                  </a:lnTo>
                  <a:lnTo>
                    <a:pt x="5599256" y="6847027"/>
                  </a:lnTo>
                  <a:lnTo>
                    <a:pt x="5618347" y="6795843"/>
                  </a:lnTo>
                  <a:lnTo>
                    <a:pt x="5635468" y="6769147"/>
                  </a:lnTo>
                  <a:lnTo>
                    <a:pt x="5654494" y="6750464"/>
                  </a:lnTo>
                  <a:lnTo>
                    <a:pt x="5673520" y="6731774"/>
                  </a:lnTo>
                  <a:lnTo>
                    <a:pt x="5694637" y="6721703"/>
                  </a:lnTo>
                  <a:lnTo>
                    <a:pt x="5734048" y="6708487"/>
                  </a:lnTo>
                  <a:lnTo>
                    <a:pt x="5770110" y="6700139"/>
                  </a:lnTo>
                  <a:lnTo>
                    <a:pt x="5803651" y="6686704"/>
                  </a:lnTo>
                  <a:lnTo>
                    <a:pt x="5839448" y="6644069"/>
                  </a:lnTo>
                  <a:lnTo>
                    <a:pt x="5859365" y="6615150"/>
                  </a:lnTo>
                  <a:lnTo>
                    <a:pt x="5878925" y="6585882"/>
                  </a:lnTo>
                  <a:lnTo>
                    <a:pt x="5898485" y="6556606"/>
                  </a:lnTo>
                  <a:lnTo>
                    <a:pt x="5918455" y="6526647"/>
                  </a:lnTo>
                  <a:lnTo>
                    <a:pt x="5938774" y="6497470"/>
                  </a:lnTo>
                  <a:lnTo>
                    <a:pt x="5951865" y="6478675"/>
                  </a:lnTo>
                  <a:lnTo>
                    <a:pt x="5968062" y="6463334"/>
                  </a:lnTo>
                  <a:lnTo>
                    <a:pt x="5980942" y="6444421"/>
                  </a:lnTo>
                  <a:lnTo>
                    <a:pt x="6014457" y="6395111"/>
                  </a:lnTo>
                  <a:lnTo>
                    <a:pt x="6040046" y="6342319"/>
                  </a:lnTo>
                  <a:lnTo>
                    <a:pt x="6080235" y="6297520"/>
                  </a:lnTo>
                  <a:lnTo>
                    <a:pt x="6111106" y="6263068"/>
                  </a:lnTo>
                  <a:lnTo>
                    <a:pt x="6153312" y="6228623"/>
                  </a:lnTo>
                  <a:lnTo>
                    <a:pt x="6197215" y="6195503"/>
                  </a:lnTo>
                  <a:lnTo>
                    <a:pt x="6241111" y="6162376"/>
                  </a:lnTo>
                  <a:lnTo>
                    <a:pt x="6286444" y="6131552"/>
                  </a:lnTo>
                  <a:lnTo>
                    <a:pt x="6322353" y="6105727"/>
                  </a:lnTo>
                  <a:lnTo>
                    <a:pt x="6356588" y="6081114"/>
                  </a:lnTo>
                  <a:lnTo>
                    <a:pt x="6388428" y="6041208"/>
                  </a:lnTo>
                  <a:lnTo>
                    <a:pt x="6427087" y="6017315"/>
                  </a:lnTo>
                  <a:lnTo>
                    <a:pt x="6478996" y="5985224"/>
                  </a:lnTo>
                  <a:lnTo>
                    <a:pt x="6537097" y="5961153"/>
                  </a:lnTo>
                  <a:lnTo>
                    <a:pt x="6597110" y="5942503"/>
                  </a:lnTo>
                  <a:lnTo>
                    <a:pt x="6657124" y="5923853"/>
                  </a:lnTo>
                  <a:lnTo>
                    <a:pt x="6718601" y="5910373"/>
                  </a:lnTo>
                  <a:lnTo>
                    <a:pt x="6778015" y="5901701"/>
                  </a:lnTo>
                  <a:lnTo>
                    <a:pt x="6825221" y="5896589"/>
                  </a:lnTo>
                  <a:lnTo>
                    <a:pt x="6929190" y="5892941"/>
                  </a:lnTo>
                  <a:lnTo>
                    <a:pt x="6952120" y="5901701"/>
                  </a:lnTo>
                  <a:lnTo>
                    <a:pt x="6982087" y="5913221"/>
                  </a:lnTo>
                  <a:lnTo>
                    <a:pt x="7015564" y="5923721"/>
                  </a:lnTo>
                  <a:lnTo>
                    <a:pt x="7044614" y="5937069"/>
                  </a:lnTo>
                  <a:lnTo>
                    <a:pt x="7065388" y="5946605"/>
                  </a:lnTo>
                  <a:lnTo>
                    <a:pt x="7087000" y="5963039"/>
                  </a:lnTo>
                  <a:lnTo>
                    <a:pt x="7109904" y="5972431"/>
                  </a:lnTo>
                  <a:lnTo>
                    <a:pt x="7133322" y="5979942"/>
                  </a:lnTo>
                  <a:lnTo>
                    <a:pt x="7157222" y="5978518"/>
                  </a:lnTo>
                  <a:lnTo>
                    <a:pt x="7180634" y="5964266"/>
                  </a:lnTo>
                  <a:lnTo>
                    <a:pt x="7198098" y="5936046"/>
                  </a:lnTo>
                  <a:lnTo>
                    <a:pt x="7206433" y="5907385"/>
                  </a:lnTo>
                  <a:lnTo>
                    <a:pt x="7211920" y="5877220"/>
                  </a:lnTo>
                  <a:lnTo>
                    <a:pt x="7217407" y="5847048"/>
                  </a:lnTo>
                  <a:lnTo>
                    <a:pt x="7220533" y="5815366"/>
                  </a:lnTo>
                  <a:lnTo>
                    <a:pt x="7226884" y="5784720"/>
                  </a:lnTo>
                  <a:lnTo>
                    <a:pt x="7232530" y="5757477"/>
                  </a:lnTo>
                  <a:lnTo>
                    <a:pt x="7241458" y="5727852"/>
                  </a:lnTo>
                  <a:lnTo>
                    <a:pt x="7244565" y="5700390"/>
                  </a:lnTo>
                  <a:lnTo>
                    <a:pt x="7246991" y="5678753"/>
                  </a:lnTo>
                  <a:lnTo>
                    <a:pt x="7276425" y="5291460"/>
                  </a:lnTo>
                  <a:lnTo>
                    <a:pt x="7270410" y="5269209"/>
                  </a:lnTo>
                  <a:lnTo>
                    <a:pt x="7263776" y="5244657"/>
                  </a:lnTo>
                  <a:lnTo>
                    <a:pt x="7250283" y="5225280"/>
                  </a:lnTo>
                  <a:lnTo>
                    <a:pt x="7241848" y="5202554"/>
                  </a:lnTo>
                  <a:lnTo>
                    <a:pt x="7227115" y="5162958"/>
                  </a:lnTo>
                  <a:lnTo>
                    <a:pt x="7214262" y="5121649"/>
                  </a:lnTo>
                  <a:lnTo>
                    <a:pt x="7201038" y="5081498"/>
                  </a:lnTo>
                  <a:lnTo>
                    <a:pt x="7188502" y="5043393"/>
                  </a:lnTo>
                  <a:lnTo>
                    <a:pt x="7165947" y="5003903"/>
                  </a:lnTo>
                  <a:lnTo>
                    <a:pt x="7156154" y="4964525"/>
                  </a:lnTo>
                  <a:lnTo>
                    <a:pt x="7150627" y="4942274"/>
                  </a:lnTo>
                  <a:lnTo>
                    <a:pt x="7132695" y="4882583"/>
                  </a:lnTo>
                  <a:lnTo>
                    <a:pt x="7120785" y="4821698"/>
                  </a:lnTo>
                  <a:lnTo>
                    <a:pt x="7114830" y="4791257"/>
                  </a:lnTo>
                  <a:lnTo>
                    <a:pt x="7110807" y="4760722"/>
                  </a:lnTo>
                  <a:lnTo>
                    <a:pt x="7109904" y="4734646"/>
                  </a:lnTo>
                  <a:lnTo>
                    <a:pt x="7109000" y="4708576"/>
                  </a:lnTo>
                  <a:lnTo>
                    <a:pt x="7110846" y="4687156"/>
                  </a:lnTo>
                  <a:lnTo>
                    <a:pt x="7179275" y="4604067"/>
                  </a:lnTo>
                  <a:lnTo>
                    <a:pt x="7201612" y="4577846"/>
                  </a:lnTo>
                  <a:lnTo>
                    <a:pt x="7221140" y="4556333"/>
                  </a:lnTo>
                  <a:lnTo>
                    <a:pt x="7248647" y="4536060"/>
                  </a:lnTo>
                  <a:lnTo>
                    <a:pt x="7283903" y="4512985"/>
                  </a:lnTo>
                  <a:lnTo>
                    <a:pt x="7319476" y="4491129"/>
                  </a:lnTo>
                  <a:lnTo>
                    <a:pt x="7350663" y="4465331"/>
                  </a:lnTo>
                  <a:lnTo>
                    <a:pt x="7374023" y="4441542"/>
                  </a:lnTo>
                  <a:lnTo>
                    <a:pt x="7400752" y="4418380"/>
                  </a:lnTo>
                  <a:lnTo>
                    <a:pt x="7418670" y="4389159"/>
                  </a:lnTo>
                  <a:lnTo>
                    <a:pt x="7414588" y="4348350"/>
                  </a:lnTo>
                  <a:lnTo>
                    <a:pt x="7393333" y="4322181"/>
                  </a:lnTo>
                  <a:lnTo>
                    <a:pt x="7370561" y="4306511"/>
                  </a:lnTo>
                  <a:lnTo>
                    <a:pt x="7347940" y="4298023"/>
                  </a:lnTo>
                  <a:lnTo>
                    <a:pt x="7328505" y="4289280"/>
                  </a:lnTo>
                  <a:lnTo>
                    <a:pt x="7307401" y="4273801"/>
                  </a:lnTo>
                  <a:lnTo>
                    <a:pt x="7305383" y="4252914"/>
                  </a:lnTo>
                  <a:lnTo>
                    <a:pt x="7311213" y="4232734"/>
                  </a:lnTo>
                  <a:lnTo>
                    <a:pt x="7327535" y="4206889"/>
                  </a:lnTo>
                  <a:lnTo>
                    <a:pt x="7342235" y="4191634"/>
                  </a:lnTo>
                  <a:lnTo>
                    <a:pt x="7359085" y="4178617"/>
                  </a:lnTo>
                  <a:lnTo>
                    <a:pt x="7377861" y="4167445"/>
                  </a:lnTo>
                  <a:lnTo>
                    <a:pt x="7384667" y="4137525"/>
                  </a:lnTo>
                  <a:lnTo>
                    <a:pt x="7380901" y="4115569"/>
                  </a:lnTo>
                  <a:lnTo>
                    <a:pt x="7372104" y="4094181"/>
                  </a:lnTo>
                  <a:lnTo>
                    <a:pt x="7360180" y="4074952"/>
                  </a:lnTo>
                  <a:lnTo>
                    <a:pt x="7345038" y="4059131"/>
                  </a:lnTo>
                  <a:lnTo>
                    <a:pt x="7324185" y="4047153"/>
                  </a:lnTo>
                  <a:lnTo>
                    <a:pt x="7304414" y="4039589"/>
                  </a:lnTo>
                  <a:lnTo>
                    <a:pt x="7281292" y="4028708"/>
                  </a:lnTo>
                  <a:lnTo>
                    <a:pt x="7260888" y="4013744"/>
                  </a:lnTo>
                  <a:lnTo>
                    <a:pt x="7245699" y="3997772"/>
                  </a:lnTo>
                  <a:lnTo>
                    <a:pt x="7232925" y="3978599"/>
                  </a:lnTo>
                  <a:lnTo>
                    <a:pt x="7222801" y="3959335"/>
                  </a:lnTo>
                  <a:lnTo>
                    <a:pt x="7209421" y="3936095"/>
                  </a:lnTo>
                  <a:lnTo>
                    <a:pt x="7195374" y="3911839"/>
                  </a:lnTo>
                  <a:lnTo>
                    <a:pt x="7181992" y="3889964"/>
                  </a:lnTo>
                  <a:lnTo>
                    <a:pt x="7167497" y="3872164"/>
                  </a:lnTo>
                  <a:lnTo>
                    <a:pt x="7143597" y="3856126"/>
                  </a:lnTo>
                  <a:lnTo>
                    <a:pt x="7104463" y="3843721"/>
                  </a:lnTo>
                  <a:lnTo>
                    <a:pt x="7065395" y="3835200"/>
                  </a:lnTo>
                  <a:lnTo>
                    <a:pt x="7026557" y="3830478"/>
                  </a:lnTo>
                  <a:lnTo>
                    <a:pt x="6990206" y="3824675"/>
                  </a:lnTo>
                  <a:lnTo>
                    <a:pt x="6956420" y="3817374"/>
                  </a:lnTo>
                  <a:lnTo>
                    <a:pt x="6932322" y="3804019"/>
                  </a:lnTo>
                  <a:lnTo>
                    <a:pt x="6912676" y="3790671"/>
                  </a:lnTo>
                  <a:lnTo>
                    <a:pt x="6891526" y="3778438"/>
                  </a:lnTo>
                  <a:lnTo>
                    <a:pt x="6871260" y="3764820"/>
                  </a:lnTo>
                  <a:lnTo>
                    <a:pt x="6851469" y="3751227"/>
                  </a:lnTo>
                  <a:lnTo>
                    <a:pt x="6830715" y="3738552"/>
                  </a:lnTo>
                  <a:lnTo>
                    <a:pt x="6806769" y="3731166"/>
                  </a:lnTo>
                  <a:lnTo>
                    <a:pt x="6756252" y="3721307"/>
                  </a:lnTo>
                  <a:lnTo>
                    <a:pt x="6735847" y="3696826"/>
                  </a:lnTo>
                  <a:lnTo>
                    <a:pt x="6726291" y="3675221"/>
                  </a:lnTo>
                  <a:lnTo>
                    <a:pt x="6720923" y="3653135"/>
                  </a:lnTo>
                  <a:lnTo>
                    <a:pt x="6720890" y="3631531"/>
                  </a:lnTo>
                  <a:lnTo>
                    <a:pt x="6727096" y="3611454"/>
                  </a:lnTo>
                  <a:lnTo>
                    <a:pt x="6749261" y="3586031"/>
                  </a:lnTo>
                  <a:lnTo>
                    <a:pt x="6767390" y="3573171"/>
                  </a:lnTo>
                  <a:lnTo>
                    <a:pt x="6780739" y="3554000"/>
                  </a:lnTo>
                  <a:lnTo>
                    <a:pt x="6782097" y="3529520"/>
                  </a:lnTo>
                  <a:lnTo>
                    <a:pt x="6756252" y="3507757"/>
                  </a:lnTo>
                  <a:lnTo>
                    <a:pt x="6731719" y="3492200"/>
                  </a:lnTo>
                  <a:lnTo>
                    <a:pt x="6704614" y="3479788"/>
                  </a:lnTo>
                  <a:lnTo>
                    <a:pt x="6678722" y="3472388"/>
                  </a:lnTo>
                  <a:lnTo>
                    <a:pt x="6654414" y="3467680"/>
                  </a:lnTo>
                  <a:lnTo>
                    <a:pt x="6633824" y="3481904"/>
                  </a:lnTo>
                  <a:lnTo>
                    <a:pt x="6629755" y="3510474"/>
                  </a:lnTo>
                  <a:lnTo>
                    <a:pt x="6633824" y="3540395"/>
                  </a:lnTo>
                  <a:lnTo>
                    <a:pt x="6635182" y="3568958"/>
                  </a:lnTo>
                  <a:lnTo>
                    <a:pt x="6620225" y="3593445"/>
                  </a:lnTo>
                  <a:lnTo>
                    <a:pt x="6586710" y="3604385"/>
                  </a:lnTo>
                  <a:lnTo>
                    <a:pt x="6564459" y="3597520"/>
                  </a:lnTo>
                  <a:lnTo>
                    <a:pt x="6542207" y="3590654"/>
                  </a:lnTo>
                  <a:lnTo>
                    <a:pt x="6517503" y="3577525"/>
                  </a:lnTo>
                  <a:lnTo>
                    <a:pt x="6492363" y="3564876"/>
                  </a:lnTo>
                  <a:lnTo>
                    <a:pt x="6467224" y="3552227"/>
                  </a:lnTo>
                  <a:lnTo>
                    <a:pt x="6441596" y="3540620"/>
                  </a:lnTo>
                  <a:lnTo>
                    <a:pt x="6418916" y="3534947"/>
                  </a:lnTo>
                  <a:lnTo>
                    <a:pt x="6396236" y="3529276"/>
                  </a:lnTo>
                  <a:lnTo>
                    <a:pt x="6361784" y="3544471"/>
                  </a:lnTo>
                  <a:lnTo>
                    <a:pt x="6347368" y="3577273"/>
                  </a:lnTo>
                  <a:lnTo>
                    <a:pt x="6354444" y="3617766"/>
                  </a:lnTo>
                  <a:lnTo>
                    <a:pt x="6362991" y="3640604"/>
                  </a:lnTo>
                  <a:lnTo>
                    <a:pt x="6371308" y="3662809"/>
                  </a:lnTo>
                  <a:lnTo>
                    <a:pt x="6379623" y="3685014"/>
                  </a:lnTo>
                  <a:lnTo>
                    <a:pt x="6387722" y="3707002"/>
                  </a:lnTo>
                  <a:lnTo>
                    <a:pt x="6388988" y="3728098"/>
                  </a:lnTo>
                  <a:lnTo>
                    <a:pt x="6390255" y="3749196"/>
                  </a:lnTo>
                  <a:lnTo>
                    <a:pt x="6384827" y="3769673"/>
                  </a:lnTo>
                  <a:lnTo>
                    <a:pt x="6367225" y="3786589"/>
                  </a:lnTo>
                  <a:lnTo>
                    <a:pt x="6350777" y="3799885"/>
                  </a:lnTo>
                  <a:lnTo>
                    <a:pt x="6324233" y="3795499"/>
                  </a:lnTo>
                  <a:lnTo>
                    <a:pt x="6297135" y="3779591"/>
                  </a:lnTo>
                  <a:lnTo>
                    <a:pt x="6271586" y="3764279"/>
                  </a:lnTo>
                  <a:lnTo>
                    <a:pt x="6243498" y="3760434"/>
                  </a:lnTo>
                  <a:lnTo>
                    <a:pt x="6213624" y="3774145"/>
                  </a:lnTo>
                  <a:lnTo>
                    <a:pt x="6191761" y="3808352"/>
                  </a:lnTo>
                  <a:lnTo>
                    <a:pt x="6175432" y="3848449"/>
                  </a:lnTo>
                  <a:lnTo>
                    <a:pt x="6168639" y="3869559"/>
                  </a:lnTo>
                  <a:lnTo>
                    <a:pt x="6161840" y="3890670"/>
                  </a:lnTo>
                  <a:lnTo>
                    <a:pt x="6154553" y="3910765"/>
                  </a:lnTo>
                  <a:lnTo>
                    <a:pt x="6131036" y="3945342"/>
                  </a:lnTo>
                  <a:lnTo>
                    <a:pt x="6114284" y="3959151"/>
                  </a:lnTo>
                  <a:lnTo>
                    <a:pt x="6089744" y="3966135"/>
                  </a:lnTo>
                  <a:lnTo>
                    <a:pt x="6052319" y="3956309"/>
                  </a:lnTo>
                  <a:lnTo>
                    <a:pt x="6021072" y="3943324"/>
                  </a:lnTo>
                  <a:lnTo>
                    <a:pt x="5995893" y="3925333"/>
                  </a:lnTo>
                  <a:lnTo>
                    <a:pt x="5976378" y="3903912"/>
                  </a:lnTo>
                  <a:lnTo>
                    <a:pt x="5963716" y="3873299"/>
                  </a:lnTo>
                  <a:lnTo>
                    <a:pt x="5957807" y="3832839"/>
                  </a:lnTo>
                  <a:lnTo>
                    <a:pt x="5957807" y="3805635"/>
                  </a:lnTo>
                  <a:lnTo>
                    <a:pt x="5960524" y="3782507"/>
                  </a:lnTo>
                  <a:lnTo>
                    <a:pt x="5968689" y="3760751"/>
                  </a:lnTo>
                  <a:lnTo>
                    <a:pt x="5985011" y="3738981"/>
                  </a:lnTo>
                  <a:lnTo>
                    <a:pt x="6017056" y="3718966"/>
                  </a:lnTo>
                  <a:lnTo>
                    <a:pt x="6043494" y="3714501"/>
                  </a:lnTo>
                  <a:lnTo>
                    <a:pt x="6069940" y="3710036"/>
                  </a:lnTo>
                  <a:lnTo>
                    <a:pt x="6101682" y="3707470"/>
                  </a:lnTo>
                  <a:lnTo>
                    <a:pt x="6133271" y="3704977"/>
                  </a:lnTo>
                  <a:lnTo>
                    <a:pt x="6164861" y="3702484"/>
                  </a:lnTo>
                  <a:lnTo>
                    <a:pt x="6195705" y="3699371"/>
                  </a:lnTo>
                  <a:lnTo>
                    <a:pt x="6221682" y="3692738"/>
                  </a:lnTo>
                  <a:lnTo>
                    <a:pt x="6247659" y="3686102"/>
                  </a:lnTo>
                  <a:lnTo>
                    <a:pt x="6267847" y="3676988"/>
                  </a:lnTo>
                  <a:lnTo>
                    <a:pt x="6279262" y="3653273"/>
                  </a:lnTo>
                  <a:lnTo>
                    <a:pt x="6277303" y="3628734"/>
                  </a:lnTo>
                  <a:lnTo>
                    <a:pt x="6265209" y="3608402"/>
                  </a:lnTo>
                  <a:lnTo>
                    <a:pt x="6233540" y="3593082"/>
                  </a:lnTo>
                  <a:lnTo>
                    <a:pt x="6177451" y="3585814"/>
                  </a:lnTo>
                  <a:lnTo>
                    <a:pt x="6142596" y="3554969"/>
                  </a:lnTo>
                  <a:lnTo>
                    <a:pt x="6128338" y="3525563"/>
                  </a:lnTo>
                  <a:lnTo>
                    <a:pt x="6108784" y="3505033"/>
                  </a:lnTo>
                  <a:lnTo>
                    <a:pt x="6088419" y="3486040"/>
                  </a:lnTo>
                  <a:lnTo>
                    <a:pt x="6061142" y="3480493"/>
                  </a:lnTo>
                  <a:lnTo>
                    <a:pt x="6024448" y="3492786"/>
                  </a:lnTo>
                  <a:lnTo>
                    <a:pt x="6004703" y="3502349"/>
                  </a:lnTo>
                  <a:lnTo>
                    <a:pt x="5988658" y="3521243"/>
                  </a:lnTo>
                  <a:lnTo>
                    <a:pt x="5974123" y="3540395"/>
                  </a:lnTo>
                  <a:lnTo>
                    <a:pt x="5959588" y="3559540"/>
                  </a:lnTo>
                  <a:lnTo>
                    <a:pt x="5946378" y="3579035"/>
                  </a:lnTo>
                  <a:lnTo>
                    <a:pt x="5927879" y="3590721"/>
                  </a:lnTo>
                  <a:lnTo>
                    <a:pt x="5893869" y="3583915"/>
                  </a:lnTo>
                  <a:lnTo>
                    <a:pt x="5885764" y="3554428"/>
                  </a:lnTo>
                  <a:lnTo>
                    <a:pt x="5891093" y="3518190"/>
                  </a:lnTo>
                  <a:lnTo>
                    <a:pt x="5904751" y="3479182"/>
                  </a:lnTo>
                  <a:lnTo>
                    <a:pt x="5919490" y="3439144"/>
                  </a:lnTo>
                  <a:lnTo>
                    <a:pt x="5939018" y="3398249"/>
                  </a:lnTo>
                  <a:lnTo>
                    <a:pt x="5944195" y="3373083"/>
                  </a:lnTo>
                  <a:lnTo>
                    <a:pt x="5949662" y="3346564"/>
                  </a:lnTo>
                  <a:lnTo>
                    <a:pt x="5925624" y="3321148"/>
                  </a:lnTo>
                  <a:lnTo>
                    <a:pt x="5931955" y="3294195"/>
                  </a:lnTo>
                  <a:lnTo>
                    <a:pt x="5937521" y="3270539"/>
                  </a:lnTo>
                  <a:lnTo>
                    <a:pt x="5985070" y="3157324"/>
                  </a:lnTo>
                  <a:lnTo>
                    <a:pt x="5971406" y="3136410"/>
                  </a:lnTo>
                  <a:lnTo>
                    <a:pt x="5949999" y="3134993"/>
                  </a:lnTo>
                  <a:lnTo>
                    <a:pt x="5920849" y="3145466"/>
                  </a:lnTo>
                  <a:lnTo>
                    <a:pt x="5893869" y="3159539"/>
                  </a:lnTo>
                  <a:lnTo>
                    <a:pt x="5866890" y="3173599"/>
                  </a:lnTo>
                  <a:lnTo>
                    <a:pt x="5841783" y="3191326"/>
                  </a:lnTo>
                  <a:lnTo>
                    <a:pt x="5827222" y="3207141"/>
                  </a:lnTo>
                  <a:lnTo>
                    <a:pt x="5792961" y="3239615"/>
                  </a:lnTo>
                  <a:lnTo>
                    <a:pt x="5791859" y="3266990"/>
                  </a:lnTo>
                  <a:lnTo>
                    <a:pt x="5779487" y="3293007"/>
                  </a:lnTo>
                  <a:lnTo>
                    <a:pt x="5760573" y="3336361"/>
                  </a:lnTo>
                  <a:lnTo>
                    <a:pt x="5757724" y="3358343"/>
                  </a:lnTo>
                  <a:lnTo>
                    <a:pt x="5759057" y="3381840"/>
                  </a:lnTo>
                  <a:lnTo>
                    <a:pt x="5756497" y="3404368"/>
                  </a:lnTo>
                  <a:lnTo>
                    <a:pt x="5753938" y="3426903"/>
                  </a:lnTo>
                  <a:lnTo>
                    <a:pt x="5747733" y="3449089"/>
                  </a:lnTo>
                  <a:lnTo>
                    <a:pt x="5730652" y="3466941"/>
                  </a:lnTo>
                  <a:lnTo>
                    <a:pt x="5699366" y="3469658"/>
                  </a:lnTo>
                  <a:lnTo>
                    <a:pt x="5678051" y="3473852"/>
                  </a:lnTo>
                  <a:lnTo>
                    <a:pt x="5649970" y="3466823"/>
                  </a:lnTo>
                  <a:lnTo>
                    <a:pt x="5631359" y="3446529"/>
                  </a:lnTo>
                  <a:lnTo>
                    <a:pt x="5620874" y="3421100"/>
                  </a:lnTo>
                  <a:lnTo>
                    <a:pt x="5615610" y="3374982"/>
                  </a:lnTo>
                  <a:lnTo>
                    <a:pt x="5618921" y="3339362"/>
                  </a:lnTo>
                  <a:lnTo>
                    <a:pt x="5610955" y="3315950"/>
                  </a:lnTo>
                  <a:lnTo>
                    <a:pt x="5559436" y="3228371"/>
                  </a:lnTo>
                  <a:lnTo>
                    <a:pt x="5547024" y="3211217"/>
                  </a:lnTo>
                  <a:lnTo>
                    <a:pt x="5548382" y="3164967"/>
                  </a:lnTo>
                  <a:lnTo>
                    <a:pt x="5570145" y="3136404"/>
                  </a:lnTo>
                  <a:lnTo>
                    <a:pt x="5602790" y="3124165"/>
                  </a:lnTo>
                  <a:lnTo>
                    <a:pt x="5616857" y="3099236"/>
                  </a:lnTo>
                  <a:lnTo>
                    <a:pt x="5609589" y="3073839"/>
                  </a:lnTo>
                  <a:lnTo>
                    <a:pt x="5596795" y="3052834"/>
                  </a:lnTo>
                  <a:lnTo>
                    <a:pt x="5562119" y="3041154"/>
                  </a:lnTo>
                  <a:lnTo>
                    <a:pt x="5536821" y="3033564"/>
                  </a:lnTo>
                  <a:lnTo>
                    <a:pt x="5513021" y="3024872"/>
                  </a:lnTo>
                  <a:lnTo>
                    <a:pt x="5489213" y="3016179"/>
                  </a:lnTo>
                  <a:lnTo>
                    <a:pt x="5466190" y="3006135"/>
                  </a:lnTo>
                  <a:lnTo>
                    <a:pt x="5443649" y="2993585"/>
                  </a:lnTo>
                  <a:lnTo>
                    <a:pt x="5426172" y="2978713"/>
                  </a:lnTo>
                  <a:lnTo>
                    <a:pt x="5406717" y="2951332"/>
                  </a:lnTo>
                  <a:lnTo>
                    <a:pt x="5385159" y="2920138"/>
                  </a:lnTo>
                  <a:lnTo>
                    <a:pt x="5359992" y="2891576"/>
                  </a:lnTo>
                  <a:lnTo>
                    <a:pt x="5331436" y="2875247"/>
                  </a:lnTo>
                  <a:lnTo>
                    <a:pt x="5298106" y="2877970"/>
                  </a:lnTo>
                  <a:lnTo>
                    <a:pt x="5262144" y="2904073"/>
                  </a:lnTo>
                  <a:lnTo>
                    <a:pt x="5240736" y="2917090"/>
                  </a:lnTo>
                  <a:lnTo>
                    <a:pt x="5220576" y="2928296"/>
                  </a:lnTo>
                  <a:lnTo>
                    <a:pt x="5200409" y="2939506"/>
                  </a:lnTo>
                  <a:lnTo>
                    <a:pt x="5163444" y="2952775"/>
                  </a:lnTo>
                  <a:lnTo>
                    <a:pt x="5126420" y="2955302"/>
                  </a:lnTo>
                  <a:lnTo>
                    <a:pt x="5088942" y="2939374"/>
                  </a:lnTo>
                  <a:lnTo>
                    <a:pt x="5070067" y="2924220"/>
                  </a:lnTo>
                  <a:lnTo>
                    <a:pt x="5049188" y="2899733"/>
                  </a:lnTo>
                  <a:lnTo>
                    <a:pt x="5035589" y="2882052"/>
                  </a:lnTo>
                  <a:lnTo>
                    <a:pt x="5023349" y="2860289"/>
                  </a:lnTo>
                  <a:lnTo>
                    <a:pt x="5013825" y="2837160"/>
                  </a:lnTo>
                  <a:lnTo>
                    <a:pt x="5011109" y="2814039"/>
                  </a:lnTo>
                  <a:lnTo>
                    <a:pt x="5009750" y="2770512"/>
                  </a:lnTo>
                  <a:lnTo>
                    <a:pt x="5008392" y="2726986"/>
                  </a:lnTo>
                  <a:lnTo>
                    <a:pt x="4999073" y="2701998"/>
                  </a:lnTo>
                  <a:lnTo>
                    <a:pt x="4968736" y="2675803"/>
                  </a:lnTo>
                  <a:lnTo>
                    <a:pt x="4948048" y="2662382"/>
                  </a:lnTo>
                  <a:lnTo>
                    <a:pt x="4926780" y="2650815"/>
                  </a:lnTo>
                  <a:lnTo>
                    <a:pt x="4884236" y="2627686"/>
                  </a:lnTo>
                  <a:lnTo>
                    <a:pt x="4837484" y="2610777"/>
                  </a:lnTo>
                  <a:lnTo>
                    <a:pt x="4812523" y="2599130"/>
                  </a:lnTo>
                  <a:lnTo>
                    <a:pt x="4787271" y="2577282"/>
                  </a:lnTo>
                  <a:lnTo>
                    <a:pt x="4768357" y="2543437"/>
                  </a:lnTo>
                  <a:lnTo>
                    <a:pt x="4758115" y="2514796"/>
                  </a:lnTo>
                  <a:lnTo>
                    <a:pt x="4757917" y="2483074"/>
                  </a:lnTo>
                  <a:lnTo>
                    <a:pt x="4763555" y="2456305"/>
                  </a:lnTo>
                  <a:lnTo>
                    <a:pt x="4801371" y="2430737"/>
                  </a:lnTo>
                  <a:lnTo>
                    <a:pt x="4826102" y="2430954"/>
                  </a:lnTo>
                  <a:lnTo>
                    <a:pt x="4850608" y="2437266"/>
                  </a:lnTo>
                  <a:lnTo>
                    <a:pt x="4875108" y="2443577"/>
                  </a:lnTo>
                  <a:lnTo>
                    <a:pt x="4899022" y="2457077"/>
                  </a:lnTo>
                  <a:lnTo>
                    <a:pt x="4922698" y="2469910"/>
                  </a:lnTo>
                  <a:lnTo>
                    <a:pt x="4946373" y="2482737"/>
                  </a:lnTo>
                  <a:lnTo>
                    <a:pt x="4970345" y="2494964"/>
                  </a:lnTo>
                  <a:lnTo>
                    <a:pt x="4994786" y="2502555"/>
                  </a:lnTo>
                  <a:lnTo>
                    <a:pt x="5019234" y="2510159"/>
                  </a:lnTo>
                  <a:lnTo>
                    <a:pt x="5044142" y="2513331"/>
                  </a:lnTo>
                  <a:lnTo>
                    <a:pt x="5070958" y="2503914"/>
                  </a:lnTo>
                  <a:lnTo>
                    <a:pt x="5087280" y="2485646"/>
                  </a:lnTo>
                  <a:lnTo>
                    <a:pt x="5102277" y="2464503"/>
                  </a:lnTo>
                  <a:lnTo>
                    <a:pt x="5110408" y="2442705"/>
                  </a:lnTo>
                  <a:lnTo>
                    <a:pt x="5109050" y="2419578"/>
                  </a:lnTo>
                  <a:lnTo>
                    <a:pt x="5096005" y="2396832"/>
                  </a:lnTo>
                  <a:lnTo>
                    <a:pt x="5084563" y="2376058"/>
                  </a:lnTo>
                  <a:lnTo>
                    <a:pt x="5078581" y="2352759"/>
                  </a:lnTo>
                  <a:lnTo>
                    <a:pt x="5076932" y="2328621"/>
                  </a:lnTo>
                  <a:lnTo>
                    <a:pt x="5077763" y="2303962"/>
                  </a:lnTo>
                  <a:lnTo>
                    <a:pt x="5078423" y="2279343"/>
                  </a:lnTo>
                  <a:lnTo>
                    <a:pt x="5077104" y="2255134"/>
                  </a:lnTo>
                  <a:lnTo>
                    <a:pt x="5072323" y="2231873"/>
                  </a:lnTo>
                  <a:lnTo>
                    <a:pt x="5063756" y="2211944"/>
                  </a:lnTo>
                  <a:lnTo>
                    <a:pt x="5052076" y="2189936"/>
                  </a:lnTo>
                  <a:lnTo>
                    <a:pt x="5033597" y="2174517"/>
                  </a:lnTo>
                  <a:lnTo>
                    <a:pt x="5009757" y="2163860"/>
                  </a:lnTo>
                  <a:lnTo>
                    <a:pt x="4986885" y="2158684"/>
                  </a:lnTo>
                  <a:lnTo>
                    <a:pt x="4964621" y="2158155"/>
                  </a:lnTo>
                  <a:lnTo>
                    <a:pt x="4943109" y="2158419"/>
                  </a:lnTo>
                  <a:lnTo>
                    <a:pt x="4919051" y="2155610"/>
                  </a:lnTo>
                  <a:lnTo>
                    <a:pt x="4894306" y="2143786"/>
                  </a:lnTo>
                  <a:lnTo>
                    <a:pt x="4872985" y="2130332"/>
                  </a:lnTo>
                  <a:lnTo>
                    <a:pt x="4849777" y="2116516"/>
                  </a:lnTo>
                  <a:lnTo>
                    <a:pt x="4828753" y="2109149"/>
                  </a:lnTo>
                  <a:lnTo>
                    <a:pt x="4798021" y="2119232"/>
                  </a:lnTo>
                  <a:lnTo>
                    <a:pt x="4772630" y="2137778"/>
                  </a:lnTo>
                  <a:lnTo>
                    <a:pt x="4747240" y="2159791"/>
                  </a:lnTo>
                  <a:lnTo>
                    <a:pt x="4725128" y="2180743"/>
                  </a:lnTo>
                  <a:lnTo>
                    <a:pt x="4706780" y="2195958"/>
                  </a:lnTo>
                  <a:lnTo>
                    <a:pt x="4685551" y="2197646"/>
                  </a:lnTo>
                  <a:lnTo>
                    <a:pt x="4669565" y="2182385"/>
                  </a:lnTo>
                  <a:lnTo>
                    <a:pt x="4657463" y="2163867"/>
                  </a:lnTo>
                  <a:lnTo>
                    <a:pt x="4641906" y="2136056"/>
                  </a:lnTo>
                  <a:lnTo>
                    <a:pt x="4635469" y="2113608"/>
                  </a:lnTo>
                  <a:lnTo>
                    <a:pt x="4630497" y="2072666"/>
                  </a:lnTo>
                  <a:lnTo>
                    <a:pt x="4635700" y="2037371"/>
                  </a:lnTo>
                  <a:lnTo>
                    <a:pt x="4641589" y="2003459"/>
                  </a:lnTo>
                  <a:lnTo>
                    <a:pt x="4643410" y="1967907"/>
                  </a:lnTo>
                  <a:lnTo>
                    <a:pt x="4632977" y="1927196"/>
                  </a:lnTo>
                  <a:lnTo>
                    <a:pt x="4624594" y="1905769"/>
                  </a:lnTo>
                  <a:lnTo>
                    <a:pt x="4613244" y="1881177"/>
                  </a:lnTo>
                  <a:lnTo>
                    <a:pt x="4607138" y="1859183"/>
                  </a:lnTo>
                  <a:lnTo>
                    <a:pt x="4606808" y="1824704"/>
                  </a:lnTo>
                  <a:lnTo>
                    <a:pt x="4629198" y="1798456"/>
                  </a:lnTo>
                  <a:lnTo>
                    <a:pt x="4662904" y="1772129"/>
                  </a:lnTo>
                  <a:lnTo>
                    <a:pt x="4679787" y="1757364"/>
                  </a:lnTo>
                  <a:lnTo>
                    <a:pt x="4696294" y="1738747"/>
                  </a:lnTo>
                  <a:lnTo>
                    <a:pt x="4707789" y="1713640"/>
                  </a:lnTo>
                  <a:lnTo>
                    <a:pt x="4719284" y="1688539"/>
                  </a:lnTo>
                  <a:lnTo>
                    <a:pt x="4725028" y="1657115"/>
                  </a:lnTo>
                  <a:lnTo>
                    <a:pt x="4720029" y="1612989"/>
                  </a:lnTo>
                  <a:lnTo>
                    <a:pt x="4714589" y="1578985"/>
                  </a:lnTo>
                  <a:lnTo>
                    <a:pt x="4708125" y="1545055"/>
                  </a:lnTo>
                  <a:lnTo>
                    <a:pt x="4699288" y="1509541"/>
                  </a:lnTo>
                  <a:lnTo>
                    <a:pt x="4688750" y="1478327"/>
                  </a:lnTo>
                  <a:lnTo>
                    <a:pt x="4677868" y="1454136"/>
                  </a:lnTo>
                  <a:lnTo>
                    <a:pt x="4655485" y="1439530"/>
                  </a:lnTo>
                  <a:lnTo>
                    <a:pt x="4624436" y="1434998"/>
                  </a:lnTo>
                  <a:lnTo>
                    <a:pt x="4603438" y="1431893"/>
                  </a:lnTo>
                  <a:lnTo>
                    <a:pt x="4577243" y="1420667"/>
                  </a:lnTo>
                  <a:lnTo>
                    <a:pt x="4564310" y="1390133"/>
                  </a:lnTo>
                  <a:lnTo>
                    <a:pt x="4559529" y="1358637"/>
                  </a:lnTo>
                  <a:lnTo>
                    <a:pt x="4554596" y="1324132"/>
                  </a:lnTo>
                  <a:lnTo>
                    <a:pt x="4550864" y="1287049"/>
                  </a:lnTo>
                  <a:lnTo>
                    <a:pt x="4547289" y="1249820"/>
                  </a:lnTo>
                  <a:lnTo>
                    <a:pt x="4543279" y="1215394"/>
                  </a:lnTo>
                  <a:lnTo>
                    <a:pt x="4537766" y="1186674"/>
                  </a:lnTo>
                  <a:lnTo>
                    <a:pt x="4524161" y="1155969"/>
                  </a:lnTo>
                  <a:lnTo>
                    <a:pt x="4511518" y="1127011"/>
                  </a:lnTo>
                  <a:lnTo>
                    <a:pt x="4508247" y="1081847"/>
                  </a:lnTo>
                  <a:lnTo>
                    <a:pt x="4519063" y="1057624"/>
                  </a:lnTo>
                  <a:lnTo>
                    <a:pt x="4530967" y="1037628"/>
                  </a:lnTo>
                  <a:lnTo>
                    <a:pt x="4542863" y="1017633"/>
                  </a:lnTo>
                  <a:lnTo>
                    <a:pt x="4555447" y="981863"/>
                  </a:lnTo>
                  <a:lnTo>
                    <a:pt x="4555974" y="959843"/>
                  </a:lnTo>
                  <a:lnTo>
                    <a:pt x="4529602" y="936971"/>
                  </a:lnTo>
                  <a:lnTo>
                    <a:pt x="4508307" y="903885"/>
                  </a:lnTo>
                  <a:lnTo>
                    <a:pt x="4495684" y="856974"/>
                  </a:lnTo>
                  <a:lnTo>
                    <a:pt x="4483358" y="819997"/>
                  </a:lnTo>
                  <a:lnTo>
                    <a:pt x="4472562" y="787589"/>
                  </a:lnTo>
                  <a:lnTo>
                    <a:pt x="4461213" y="746846"/>
                  </a:lnTo>
                  <a:lnTo>
                    <a:pt x="4446631" y="716622"/>
                  </a:lnTo>
                  <a:lnTo>
                    <a:pt x="4421445" y="664443"/>
                  </a:lnTo>
                  <a:lnTo>
                    <a:pt x="4389697" y="614744"/>
                  </a:lnTo>
                  <a:lnTo>
                    <a:pt x="4363660" y="562921"/>
                  </a:lnTo>
                  <a:lnTo>
                    <a:pt x="4344278" y="524342"/>
                  </a:lnTo>
                  <a:lnTo>
                    <a:pt x="4331590" y="495218"/>
                  </a:lnTo>
                  <a:lnTo>
                    <a:pt x="4317411" y="467704"/>
                  </a:lnTo>
                  <a:lnTo>
                    <a:pt x="4303232" y="440197"/>
                  </a:lnTo>
                  <a:lnTo>
                    <a:pt x="4286968" y="414530"/>
                  </a:lnTo>
                  <a:lnTo>
                    <a:pt x="4258927" y="380652"/>
                  </a:lnTo>
                  <a:lnTo>
                    <a:pt x="4232402" y="348613"/>
                  </a:lnTo>
                  <a:lnTo>
                    <a:pt x="4208647" y="317373"/>
                  </a:lnTo>
                  <a:lnTo>
                    <a:pt x="4185473" y="285440"/>
                  </a:lnTo>
                  <a:lnTo>
                    <a:pt x="4162305" y="253501"/>
                  </a:lnTo>
                  <a:lnTo>
                    <a:pt x="4139803" y="220619"/>
                  </a:lnTo>
                  <a:lnTo>
                    <a:pt x="4118825" y="184783"/>
                  </a:lnTo>
                  <a:lnTo>
                    <a:pt x="4090869" y="183735"/>
                  </a:lnTo>
                  <a:lnTo>
                    <a:pt x="4065776" y="186149"/>
                  </a:lnTo>
                  <a:lnTo>
                    <a:pt x="4040418" y="180464"/>
                  </a:lnTo>
                  <a:lnTo>
                    <a:pt x="4014969" y="167345"/>
                  </a:lnTo>
                  <a:lnTo>
                    <a:pt x="3989604" y="152145"/>
                  </a:lnTo>
                  <a:lnTo>
                    <a:pt x="3965058" y="137696"/>
                  </a:lnTo>
                  <a:lnTo>
                    <a:pt x="3924314" y="156226"/>
                  </a:lnTo>
                  <a:lnTo>
                    <a:pt x="3877741" y="132017"/>
                  </a:lnTo>
                  <a:lnTo>
                    <a:pt x="3846785" y="104537"/>
                  </a:lnTo>
                  <a:lnTo>
                    <a:pt x="3815829" y="77055"/>
                  </a:lnTo>
                  <a:lnTo>
                    <a:pt x="3784721" y="47661"/>
                  </a:lnTo>
                  <a:lnTo>
                    <a:pt x="3741709" y="20484"/>
                  </a:lnTo>
                  <a:lnTo>
                    <a:pt x="3708134" y="12663"/>
                  </a:lnTo>
                  <a:lnTo>
                    <a:pt x="3676762" y="6601"/>
                  </a:lnTo>
                  <a:lnTo>
                    <a:pt x="3624972" y="0"/>
                  </a:lnTo>
                  <a:lnTo>
                    <a:pt x="3571052" y="15519"/>
                  </a:lnTo>
                  <a:lnTo>
                    <a:pt x="3516328" y="35883"/>
                  </a:lnTo>
                  <a:lnTo>
                    <a:pt x="3460488" y="51493"/>
                  </a:lnTo>
                  <a:lnTo>
                    <a:pt x="3404649" y="67109"/>
                  </a:lnTo>
                  <a:lnTo>
                    <a:pt x="3347689" y="77490"/>
                  </a:lnTo>
                  <a:lnTo>
                    <a:pt x="3306788" y="70532"/>
                  </a:lnTo>
                  <a:lnTo>
                    <a:pt x="3263208" y="57659"/>
                  </a:lnTo>
                  <a:lnTo>
                    <a:pt x="3234699" y="50135"/>
                  </a:lnTo>
                  <a:lnTo>
                    <a:pt x="3206182" y="42604"/>
                  </a:lnTo>
                  <a:lnTo>
                    <a:pt x="3177416" y="38040"/>
                  </a:lnTo>
                  <a:lnTo>
                    <a:pt x="3143867" y="59268"/>
                  </a:lnTo>
                  <a:lnTo>
                    <a:pt x="3121801" y="92303"/>
                  </a:lnTo>
                  <a:lnTo>
                    <a:pt x="3103823" y="128904"/>
                  </a:lnTo>
                  <a:lnTo>
                    <a:pt x="3092414" y="156695"/>
                  </a:lnTo>
                  <a:lnTo>
                    <a:pt x="3079224" y="182705"/>
                  </a:lnTo>
                  <a:lnTo>
                    <a:pt x="3064715" y="222243"/>
                  </a:lnTo>
                  <a:lnTo>
                    <a:pt x="3087224" y="245917"/>
                  </a:lnTo>
                  <a:lnTo>
                    <a:pt x="3105478" y="280006"/>
                  </a:lnTo>
                  <a:lnTo>
                    <a:pt x="3117719" y="307211"/>
                  </a:lnTo>
                  <a:lnTo>
                    <a:pt x="3124168" y="328354"/>
                  </a:lnTo>
                  <a:lnTo>
                    <a:pt x="3127591" y="351357"/>
                  </a:lnTo>
                  <a:lnTo>
                    <a:pt x="3127241" y="376582"/>
                  </a:lnTo>
                  <a:lnTo>
                    <a:pt x="3122849" y="404729"/>
                  </a:lnTo>
                  <a:lnTo>
                    <a:pt x="3110998" y="440282"/>
                  </a:lnTo>
                  <a:lnTo>
                    <a:pt x="3095118" y="459473"/>
                  </a:lnTo>
                  <a:lnTo>
                    <a:pt x="3075551" y="478599"/>
                  </a:lnTo>
                  <a:lnTo>
                    <a:pt x="3055984" y="497723"/>
                  </a:lnTo>
                  <a:lnTo>
                    <a:pt x="3032961" y="516302"/>
                  </a:lnTo>
                  <a:lnTo>
                    <a:pt x="3011620" y="535724"/>
                  </a:lnTo>
                  <a:lnTo>
                    <a:pt x="2990285" y="555152"/>
                  </a:lnTo>
                  <a:lnTo>
                    <a:pt x="2970599" y="575880"/>
                  </a:lnTo>
                  <a:lnTo>
                    <a:pt x="2958576" y="596938"/>
                  </a:lnTo>
                  <a:lnTo>
                    <a:pt x="2946548" y="617995"/>
                  </a:lnTo>
                  <a:lnTo>
                    <a:pt x="2942050" y="639554"/>
                  </a:lnTo>
                  <a:lnTo>
                    <a:pt x="2950413" y="663586"/>
                  </a:lnTo>
                  <a:lnTo>
                    <a:pt x="2964334" y="689589"/>
                  </a:lnTo>
                  <a:lnTo>
                    <a:pt x="2990905" y="711030"/>
                  </a:lnTo>
                  <a:lnTo>
                    <a:pt x="3025225" y="730235"/>
                  </a:lnTo>
                  <a:lnTo>
                    <a:pt x="3060573" y="748905"/>
                  </a:lnTo>
                  <a:lnTo>
                    <a:pt x="3093251" y="768696"/>
                  </a:lnTo>
                  <a:lnTo>
                    <a:pt x="3117719" y="790082"/>
                  </a:lnTo>
                  <a:lnTo>
                    <a:pt x="3118114" y="817333"/>
                  </a:lnTo>
                  <a:lnTo>
                    <a:pt x="3105478" y="854013"/>
                  </a:lnTo>
                  <a:lnTo>
                    <a:pt x="3083135" y="881593"/>
                  </a:lnTo>
                  <a:lnTo>
                    <a:pt x="3054368" y="902606"/>
                  </a:lnTo>
                  <a:lnTo>
                    <a:pt x="3022507" y="923386"/>
                  </a:lnTo>
                  <a:lnTo>
                    <a:pt x="2989771" y="945347"/>
                  </a:lnTo>
                  <a:lnTo>
                    <a:pt x="2974900" y="961472"/>
                  </a:lnTo>
                  <a:lnTo>
                    <a:pt x="2961294" y="985951"/>
                  </a:lnTo>
                  <a:lnTo>
                    <a:pt x="2953136" y="1014514"/>
                  </a:lnTo>
                  <a:lnTo>
                    <a:pt x="2943613" y="1041718"/>
                  </a:lnTo>
                  <a:lnTo>
                    <a:pt x="2924573" y="1062123"/>
                  </a:lnTo>
                  <a:lnTo>
                    <a:pt x="2893267" y="1073538"/>
                  </a:lnTo>
                  <a:lnTo>
                    <a:pt x="2852498" y="1077917"/>
                  </a:lnTo>
                  <a:lnTo>
                    <a:pt x="2829640" y="1078643"/>
                  </a:lnTo>
                  <a:lnTo>
                    <a:pt x="2804876" y="1079804"/>
                  </a:lnTo>
                  <a:lnTo>
                    <a:pt x="2780105" y="1080964"/>
                  </a:lnTo>
                  <a:lnTo>
                    <a:pt x="2752895" y="1082368"/>
                  </a:lnTo>
                  <a:lnTo>
                    <a:pt x="2725981" y="1086602"/>
                  </a:lnTo>
                  <a:lnTo>
                    <a:pt x="2699067" y="1090844"/>
                  </a:lnTo>
                  <a:lnTo>
                    <a:pt x="2672569" y="1096950"/>
                  </a:lnTo>
                  <a:lnTo>
                    <a:pt x="2645728" y="1108367"/>
                  </a:lnTo>
                  <a:lnTo>
                    <a:pt x="2618662" y="1127986"/>
                  </a:lnTo>
                  <a:lnTo>
                    <a:pt x="2607510" y="1156753"/>
                  </a:lnTo>
                  <a:lnTo>
                    <a:pt x="2609007" y="1189977"/>
                  </a:lnTo>
                  <a:lnTo>
                    <a:pt x="2618550" y="1223005"/>
                  </a:lnTo>
                  <a:lnTo>
                    <a:pt x="2634833" y="1249437"/>
                  </a:lnTo>
                  <a:lnTo>
                    <a:pt x="2656616" y="1263432"/>
                  </a:lnTo>
                  <a:lnTo>
                    <a:pt x="2684486" y="1266506"/>
                  </a:lnTo>
                  <a:lnTo>
                    <a:pt x="2713075" y="1252194"/>
                  </a:lnTo>
                  <a:lnTo>
                    <a:pt x="2740945" y="1226705"/>
                  </a:lnTo>
                  <a:lnTo>
                    <a:pt x="2767707" y="1199533"/>
                  </a:lnTo>
                  <a:lnTo>
                    <a:pt x="2793084" y="1174994"/>
                  </a:lnTo>
                  <a:lnTo>
                    <a:pt x="2817116" y="1160057"/>
                  </a:lnTo>
                  <a:lnTo>
                    <a:pt x="2840819" y="1153575"/>
                  </a:lnTo>
                  <a:lnTo>
                    <a:pt x="2859303" y="1167166"/>
                  </a:lnTo>
                  <a:lnTo>
                    <a:pt x="2878330" y="1179104"/>
                  </a:lnTo>
                  <a:lnTo>
                    <a:pt x="2902791" y="1194450"/>
                  </a:lnTo>
                  <a:lnTo>
                    <a:pt x="2917774" y="1222630"/>
                  </a:lnTo>
                  <a:lnTo>
                    <a:pt x="2916053" y="1248699"/>
                  </a:lnTo>
                  <a:lnTo>
                    <a:pt x="2900449" y="1275448"/>
                  </a:lnTo>
                  <a:lnTo>
                    <a:pt x="2881047" y="1302882"/>
                  </a:lnTo>
                  <a:lnTo>
                    <a:pt x="2865509" y="1331043"/>
                  </a:lnTo>
                  <a:lnTo>
                    <a:pt x="2868194" y="1402684"/>
                  </a:lnTo>
                  <a:lnTo>
                    <a:pt x="2876457" y="1459624"/>
                  </a:lnTo>
                  <a:lnTo>
                    <a:pt x="2878330" y="1516432"/>
                  </a:lnTo>
                  <a:lnTo>
                    <a:pt x="2900383" y="1548028"/>
                  </a:lnTo>
                  <a:lnTo>
                    <a:pt x="2935455" y="1558594"/>
                  </a:lnTo>
                  <a:lnTo>
                    <a:pt x="2972110" y="1560335"/>
                  </a:lnTo>
                  <a:lnTo>
                    <a:pt x="3010340" y="1554135"/>
                  </a:lnTo>
                  <a:lnTo>
                    <a:pt x="3048353" y="1543636"/>
                  </a:lnTo>
                  <a:lnTo>
                    <a:pt x="3084671" y="1535386"/>
                  </a:lnTo>
                  <a:lnTo>
                    <a:pt x="3110022" y="1554465"/>
                  </a:lnTo>
                  <a:lnTo>
                    <a:pt x="3128606" y="1584446"/>
                  </a:lnTo>
                  <a:lnTo>
                    <a:pt x="3146043" y="1609507"/>
                  </a:lnTo>
                  <a:lnTo>
                    <a:pt x="3171263" y="1636321"/>
                  </a:lnTo>
                  <a:lnTo>
                    <a:pt x="3193896" y="1659251"/>
                  </a:lnTo>
                  <a:lnTo>
                    <a:pt x="3200214" y="1686297"/>
                  </a:lnTo>
                  <a:lnTo>
                    <a:pt x="3188455" y="1710942"/>
                  </a:lnTo>
                  <a:lnTo>
                    <a:pt x="3176696" y="1735581"/>
                  </a:lnTo>
                  <a:lnTo>
                    <a:pt x="3153542" y="1769610"/>
                  </a:lnTo>
                  <a:lnTo>
                    <a:pt x="3113643" y="1823833"/>
                  </a:lnTo>
                  <a:lnTo>
                    <a:pt x="3096727" y="1839676"/>
                  </a:lnTo>
                  <a:lnTo>
                    <a:pt x="3070710" y="1851532"/>
                  </a:lnTo>
                  <a:lnTo>
                    <a:pt x="3046994" y="1853762"/>
                  </a:lnTo>
                  <a:lnTo>
                    <a:pt x="3024810" y="1839721"/>
                  </a:lnTo>
                  <a:lnTo>
                    <a:pt x="3003884" y="1818835"/>
                  </a:lnTo>
                  <a:lnTo>
                    <a:pt x="2980340" y="1802078"/>
                  </a:lnTo>
                  <a:lnTo>
                    <a:pt x="2953288" y="1791010"/>
                  </a:lnTo>
                  <a:lnTo>
                    <a:pt x="2908983" y="1797408"/>
                  </a:lnTo>
                  <a:lnTo>
                    <a:pt x="2864725" y="1808876"/>
                  </a:lnTo>
                  <a:lnTo>
                    <a:pt x="2820473" y="1820345"/>
                  </a:lnTo>
                  <a:lnTo>
                    <a:pt x="2776122" y="1837756"/>
                  </a:lnTo>
                  <a:lnTo>
                    <a:pt x="2750468" y="1849680"/>
                  </a:lnTo>
                  <a:lnTo>
                    <a:pt x="2729094" y="1860898"/>
                  </a:lnTo>
                  <a:lnTo>
                    <a:pt x="2710364" y="1873751"/>
                  </a:lnTo>
                  <a:lnTo>
                    <a:pt x="2690619" y="1885048"/>
                  </a:lnTo>
                  <a:lnTo>
                    <a:pt x="2657394" y="1904886"/>
                  </a:lnTo>
                  <a:lnTo>
                    <a:pt x="2623193" y="1925060"/>
                  </a:lnTo>
                  <a:lnTo>
                    <a:pt x="2604852" y="1935921"/>
                  </a:lnTo>
                  <a:lnTo>
                    <a:pt x="2569636" y="1953872"/>
                  </a:lnTo>
                  <a:lnTo>
                    <a:pt x="2534195" y="1968018"/>
                  </a:lnTo>
                  <a:lnTo>
                    <a:pt x="2494771" y="1977501"/>
                  </a:lnTo>
                  <a:lnTo>
                    <a:pt x="2463887" y="1979619"/>
                  </a:lnTo>
                  <a:lnTo>
                    <a:pt x="2432026" y="1976091"/>
                  </a:lnTo>
                  <a:lnTo>
                    <a:pt x="2409057" y="1972100"/>
                  </a:lnTo>
                  <a:lnTo>
                    <a:pt x="2387122" y="1969074"/>
                  </a:lnTo>
                  <a:lnTo>
                    <a:pt x="2365708" y="1969706"/>
                  </a:lnTo>
                  <a:lnTo>
                    <a:pt x="2345132" y="1976176"/>
                  </a:lnTo>
                  <a:lnTo>
                    <a:pt x="2314664" y="1990632"/>
                  </a:lnTo>
                  <a:lnTo>
                    <a:pt x="2296165" y="2000663"/>
                  </a:lnTo>
                  <a:lnTo>
                    <a:pt x="2277660" y="2010695"/>
                  </a:lnTo>
                  <a:lnTo>
                    <a:pt x="2258304" y="2022486"/>
                  </a:lnTo>
                  <a:lnTo>
                    <a:pt x="2237675" y="2031949"/>
                  </a:lnTo>
                  <a:lnTo>
                    <a:pt x="2217040" y="2041406"/>
                  </a:lnTo>
                  <a:lnTo>
                    <a:pt x="2195270" y="2049525"/>
                  </a:lnTo>
                  <a:lnTo>
                    <a:pt x="2154942" y="2057893"/>
                  </a:lnTo>
                  <a:lnTo>
                    <a:pt x="2119335" y="2052348"/>
                  </a:lnTo>
                  <a:lnTo>
                    <a:pt x="2081270" y="2039460"/>
                  </a:lnTo>
                  <a:lnTo>
                    <a:pt x="2045592" y="2024919"/>
                  </a:lnTo>
                  <a:lnTo>
                    <a:pt x="2013243" y="2014268"/>
                  </a:lnTo>
                  <a:lnTo>
                    <a:pt x="1980896" y="2003618"/>
                  </a:lnTo>
                  <a:lnTo>
                    <a:pt x="1951687" y="1996034"/>
                  </a:lnTo>
                  <a:lnTo>
                    <a:pt x="1923468" y="1995223"/>
                  </a:lnTo>
                  <a:lnTo>
                    <a:pt x="1895248" y="1994410"/>
                  </a:lnTo>
                  <a:lnTo>
                    <a:pt x="1868901" y="2000346"/>
                  </a:lnTo>
                  <a:lnTo>
                    <a:pt x="1843214" y="2016986"/>
                  </a:lnTo>
                  <a:lnTo>
                    <a:pt x="1817533" y="2033625"/>
                  </a:lnTo>
                  <a:lnTo>
                    <a:pt x="1791786" y="2060994"/>
                  </a:lnTo>
                  <a:lnTo>
                    <a:pt x="1767043" y="2102680"/>
                  </a:lnTo>
                  <a:lnTo>
                    <a:pt x="1756346" y="2120703"/>
                  </a:lnTo>
                  <a:lnTo>
                    <a:pt x="1749362" y="2140766"/>
                  </a:lnTo>
                  <a:lnTo>
                    <a:pt x="1736884" y="2157997"/>
                  </a:lnTo>
                  <a:lnTo>
                    <a:pt x="1715359" y="2169328"/>
                  </a:lnTo>
                  <a:lnTo>
                    <a:pt x="1672960" y="2166980"/>
                  </a:lnTo>
                  <a:lnTo>
                    <a:pt x="1615644" y="2134183"/>
                  </a:lnTo>
                  <a:lnTo>
                    <a:pt x="1560293" y="2110837"/>
                  </a:lnTo>
                  <a:lnTo>
                    <a:pt x="1532620" y="2099165"/>
                  </a:lnTo>
                  <a:lnTo>
                    <a:pt x="1505350" y="2090143"/>
                  </a:lnTo>
                  <a:lnTo>
                    <a:pt x="1481404" y="2087716"/>
                  </a:lnTo>
                  <a:lnTo>
                    <a:pt x="1457458" y="2085289"/>
                  </a:lnTo>
                  <a:lnTo>
                    <a:pt x="1435768" y="2090268"/>
                  </a:lnTo>
                  <a:lnTo>
                    <a:pt x="1420195" y="2106755"/>
                  </a:lnTo>
                  <a:lnTo>
                    <a:pt x="1401705" y="2126336"/>
                  </a:lnTo>
                  <a:lnTo>
                    <a:pt x="1386020" y="2154193"/>
                  </a:lnTo>
                  <a:lnTo>
                    <a:pt x="1369868" y="2176126"/>
                  </a:lnTo>
                  <a:lnTo>
                    <a:pt x="1323556" y="2194823"/>
                  </a:lnTo>
                  <a:lnTo>
                    <a:pt x="1269403" y="2197699"/>
                  </a:lnTo>
                  <a:lnTo>
                    <a:pt x="1220597" y="2203238"/>
                  </a:lnTo>
                  <a:lnTo>
                    <a:pt x="1171277" y="2206055"/>
                  </a:lnTo>
                  <a:lnTo>
                    <a:pt x="1121961" y="2208864"/>
                  </a:lnTo>
                  <a:lnTo>
                    <a:pt x="1071708" y="2208428"/>
                  </a:lnTo>
                  <a:lnTo>
                    <a:pt x="1024377" y="2201979"/>
                  </a:lnTo>
                  <a:lnTo>
                    <a:pt x="936687" y="2190023"/>
                  </a:lnTo>
                  <a:lnTo>
                    <a:pt x="868058" y="2166122"/>
                  </a:lnTo>
                  <a:lnTo>
                    <a:pt x="801304" y="2159811"/>
                  </a:lnTo>
                  <a:lnTo>
                    <a:pt x="767927" y="2156652"/>
                  </a:lnTo>
                  <a:lnTo>
                    <a:pt x="734908" y="2157971"/>
                  </a:lnTo>
                  <a:lnTo>
                    <a:pt x="700650" y="2167969"/>
                  </a:lnTo>
                  <a:lnTo>
                    <a:pt x="666392" y="2177974"/>
                  </a:lnTo>
                  <a:lnTo>
                    <a:pt x="631051" y="2196835"/>
                  </a:lnTo>
                  <a:lnTo>
                    <a:pt x="591834" y="2227818"/>
                  </a:lnTo>
                  <a:lnTo>
                    <a:pt x="551156" y="2267929"/>
                  </a:lnTo>
                  <a:lnTo>
                    <a:pt x="515004" y="2300151"/>
                  </a:lnTo>
                  <a:lnTo>
                    <a:pt x="502901" y="2340155"/>
                  </a:lnTo>
                  <a:lnTo>
                    <a:pt x="495260" y="2381525"/>
                  </a:lnTo>
                  <a:lnTo>
                    <a:pt x="487619" y="2422896"/>
                  </a:lnTo>
                  <a:lnTo>
                    <a:pt x="484146" y="2465808"/>
                  </a:lnTo>
                  <a:lnTo>
                    <a:pt x="478938" y="2494423"/>
                  </a:lnTo>
                  <a:lnTo>
                    <a:pt x="474433" y="2519161"/>
                  </a:lnTo>
                  <a:lnTo>
                    <a:pt x="463295" y="2544518"/>
                  </a:lnTo>
                  <a:lnTo>
                    <a:pt x="455814" y="2567871"/>
                  </a:lnTo>
                  <a:lnTo>
                    <a:pt x="447865" y="2592721"/>
                  </a:lnTo>
                  <a:lnTo>
                    <a:pt x="446399" y="2622153"/>
                  </a:lnTo>
                  <a:lnTo>
                    <a:pt x="431330" y="2644042"/>
                  </a:lnTo>
                  <a:lnTo>
                    <a:pt x="407017" y="2679325"/>
                  </a:lnTo>
                  <a:lnTo>
                    <a:pt x="245691" y="2821577"/>
                  </a:lnTo>
                  <a:lnTo>
                    <a:pt x="205537" y="2852158"/>
                  </a:lnTo>
                  <a:lnTo>
                    <a:pt x="182359" y="2865374"/>
                  </a:lnTo>
                  <a:lnTo>
                    <a:pt x="160059" y="2878471"/>
                  </a:lnTo>
                  <a:lnTo>
                    <a:pt x="143166" y="2894207"/>
                  </a:lnTo>
                  <a:lnTo>
                    <a:pt x="137305" y="2930927"/>
                  </a:lnTo>
                  <a:lnTo>
                    <a:pt x="135267" y="2955375"/>
                  </a:lnTo>
                  <a:lnTo>
                    <a:pt x="133447" y="2980012"/>
                  </a:lnTo>
                  <a:lnTo>
                    <a:pt x="131620" y="3004651"/>
                  </a:lnTo>
                  <a:lnTo>
                    <a:pt x="130631" y="3028822"/>
                  </a:lnTo>
                  <a:lnTo>
                    <a:pt x="128006" y="3053467"/>
                  </a:lnTo>
                  <a:lnTo>
                    <a:pt x="125381" y="3078105"/>
                  </a:lnTo>
                  <a:lnTo>
                    <a:pt x="121116" y="3102552"/>
                  </a:lnTo>
                  <a:lnTo>
                    <a:pt x="117124" y="3126915"/>
                  </a:lnTo>
                  <a:lnTo>
                    <a:pt x="113135" y="3151276"/>
                  </a:lnTo>
                  <a:lnTo>
                    <a:pt x="109442" y="3176554"/>
                  </a:lnTo>
                  <a:lnTo>
                    <a:pt x="103522" y="3200368"/>
                  </a:lnTo>
                  <a:lnTo>
                    <a:pt x="94616" y="3225442"/>
                  </a:lnTo>
                  <a:lnTo>
                    <a:pt x="79785" y="3262341"/>
                  </a:lnTo>
                  <a:lnTo>
                    <a:pt x="70756" y="3284242"/>
                  </a:lnTo>
                  <a:lnTo>
                    <a:pt x="62716" y="3305102"/>
                  </a:lnTo>
                  <a:lnTo>
                    <a:pt x="54677" y="3325962"/>
                  </a:lnTo>
                  <a:lnTo>
                    <a:pt x="48061" y="3346241"/>
                  </a:lnTo>
                  <a:lnTo>
                    <a:pt x="39288" y="3380937"/>
                  </a:lnTo>
                  <a:lnTo>
                    <a:pt x="40956" y="3403036"/>
                  </a:lnTo>
                  <a:lnTo>
                    <a:pt x="63110" y="3421264"/>
                  </a:lnTo>
                  <a:lnTo>
                    <a:pt x="79992" y="3439783"/>
                  </a:lnTo>
                  <a:lnTo>
                    <a:pt x="94004" y="3460161"/>
                  </a:lnTo>
                  <a:lnTo>
                    <a:pt x="108016" y="3480546"/>
                  </a:lnTo>
                  <a:lnTo>
                    <a:pt x="119420" y="3502019"/>
                  </a:lnTo>
                  <a:lnTo>
                    <a:pt x="126649" y="3524092"/>
                  </a:lnTo>
                  <a:lnTo>
                    <a:pt x="141107" y="3568238"/>
                  </a:lnTo>
                  <a:lnTo>
                    <a:pt x="143410" y="3616018"/>
                  </a:lnTo>
                  <a:lnTo>
                    <a:pt x="138891" y="3664194"/>
                  </a:lnTo>
                  <a:lnTo>
                    <a:pt x="134373" y="3712371"/>
                  </a:lnTo>
                  <a:lnTo>
                    <a:pt x="122951" y="3761172"/>
                  </a:lnTo>
                  <a:lnTo>
                    <a:pt x="110326" y="3809737"/>
                  </a:lnTo>
                  <a:lnTo>
                    <a:pt x="97702" y="3858295"/>
                  </a:lnTo>
                  <a:lnTo>
                    <a:pt x="83454" y="3905891"/>
                  </a:lnTo>
                  <a:lnTo>
                    <a:pt x="73601" y="3951192"/>
                  </a:lnTo>
                  <a:lnTo>
                    <a:pt x="66203" y="3986382"/>
                  </a:lnTo>
                  <a:lnTo>
                    <a:pt x="61359" y="4009681"/>
                  </a:lnTo>
                  <a:lnTo>
                    <a:pt x="56519" y="4032982"/>
                  </a:lnTo>
                  <a:lnTo>
                    <a:pt x="50465" y="4058385"/>
                  </a:lnTo>
                  <a:lnTo>
                    <a:pt x="43677" y="4084494"/>
                  </a:lnTo>
                  <a:lnTo>
                    <a:pt x="36888" y="4110604"/>
                  </a:lnTo>
                  <a:lnTo>
                    <a:pt x="29442" y="4136852"/>
                  </a:lnTo>
                  <a:lnTo>
                    <a:pt x="20553" y="4159306"/>
                  </a:lnTo>
                  <a:lnTo>
                    <a:pt x="0" y="4199311"/>
                  </a:lnTo>
                  <a:lnTo>
                    <a:pt x="40966" y="4222908"/>
                  </a:lnTo>
                  <a:lnTo>
                    <a:pt x="87654" y="4237673"/>
                  </a:lnTo>
                  <a:lnTo>
                    <a:pt x="133449" y="4255875"/>
                  </a:lnTo>
                  <a:lnTo>
                    <a:pt x="179244" y="4274085"/>
                  </a:lnTo>
                  <a:lnTo>
                    <a:pt x="224720" y="4295690"/>
                  </a:lnTo>
                  <a:lnTo>
                    <a:pt x="270829" y="4317090"/>
                  </a:lnTo>
                  <a:lnTo>
                    <a:pt x="300488" y="4330860"/>
                  </a:lnTo>
                  <a:lnTo>
                    <a:pt x="320112" y="4355795"/>
                  </a:lnTo>
                  <a:lnTo>
                    <a:pt x="337479" y="4383737"/>
                  </a:lnTo>
                  <a:lnTo>
                    <a:pt x="354845" y="4411680"/>
                  </a:lnTo>
                  <a:lnTo>
                    <a:pt x="370145" y="4441852"/>
                  </a:lnTo>
                  <a:lnTo>
                    <a:pt x="387806" y="4466709"/>
                  </a:lnTo>
                  <a:lnTo>
                    <a:pt x="403725" y="4489072"/>
                  </a:lnTo>
                  <a:lnTo>
                    <a:pt x="426720" y="4507432"/>
                  </a:lnTo>
                  <a:lnTo>
                    <a:pt x="443574" y="4529280"/>
                  </a:lnTo>
                  <a:lnTo>
                    <a:pt x="468759" y="4561965"/>
                  </a:lnTo>
                  <a:lnTo>
                    <a:pt x="484507" y="4595757"/>
                  </a:lnTo>
                  <a:lnTo>
                    <a:pt x="514304" y="4625856"/>
                  </a:lnTo>
                  <a:lnTo>
                    <a:pt x="538634" y="4643077"/>
                  </a:lnTo>
                  <a:lnTo>
                    <a:pt x="566146" y="4646723"/>
                  </a:lnTo>
                  <a:lnTo>
                    <a:pt x="595916" y="4640821"/>
                  </a:lnTo>
                  <a:lnTo>
                    <a:pt x="625445" y="4633507"/>
                  </a:lnTo>
                  <a:lnTo>
                    <a:pt x="654203" y="4619757"/>
                  </a:lnTo>
                  <a:lnTo>
                    <a:pt x="677528" y="4613616"/>
                  </a:lnTo>
                  <a:lnTo>
                    <a:pt x="712468" y="4604391"/>
                  </a:lnTo>
                  <a:lnTo>
                    <a:pt x="776100" y="4611427"/>
                  </a:lnTo>
                  <a:lnTo>
                    <a:pt x="809467" y="4621780"/>
                  </a:lnTo>
                  <a:lnTo>
                    <a:pt x="846915" y="4630387"/>
                  </a:lnTo>
                  <a:lnTo>
                    <a:pt x="873780" y="4655211"/>
                  </a:lnTo>
                  <a:lnTo>
                    <a:pt x="877477" y="4689787"/>
                  </a:lnTo>
                  <a:lnTo>
                    <a:pt x="872617" y="4727913"/>
                  </a:lnTo>
                  <a:lnTo>
                    <a:pt x="867956" y="4749636"/>
                  </a:lnTo>
                  <a:lnTo>
                    <a:pt x="863294" y="4771360"/>
                  </a:lnTo>
                  <a:lnTo>
                    <a:pt x="858879" y="4794060"/>
                  </a:lnTo>
                  <a:lnTo>
                    <a:pt x="858435" y="4816285"/>
                  </a:lnTo>
                  <a:lnTo>
                    <a:pt x="857973" y="4838516"/>
                  </a:lnTo>
                  <a:lnTo>
                    <a:pt x="861053" y="4860497"/>
                  </a:lnTo>
                  <a:lnTo>
                    <a:pt x="873397" y="4880216"/>
                  </a:lnTo>
                  <a:lnTo>
                    <a:pt x="892216" y="4910256"/>
                  </a:lnTo>
                  <a:lnTo>
                    <a:pt x="919118" y="4928154"/>
                  </a:lnTo>
                  <a:lnTo>
                    <a:pt x="946848" y="4944147"/>
                  </a:lnTo>
                  <a:lnTo>
                    <a:pt x="974577" y="4960133"/>
                  </a:lnTo>
                  <a:lnTo>
                    <a:pt x="1004029" y="4974424"/>
                  </a:lnTo>
                  <a:lnTo>
                    <a:pt x="1027099" y="4997196"/>
                  </a:lnTo>
                  <a:lnTo>
                    <a:pt x="1043932" y="5050726"/>
                  </a:lnTo>
                  <a:lnTo>
                    <a:pt x="1065185" y="5076084"/>
                  </a:lnTo>
                  <a:lnTo>
                    <a:pt x="1090104" y="5090804"/>
                  </a:lnTo>
                  <a:lnTo>
                    <a:pt x="1129062" y="5082975"/>
                  </a:lnTo>
                  <a:lnTo>
                    <a:pt x="1171279" y="5086966"/>
                  </a:lnTo>
                  <a:lnTo>
                    <a:pt x="1192390" y="5088958"/>
                  </a:lnTo>
                  <a:lnTo>
                    <a:pt x="1214381" y="5094227"/>
                  </a:lnTo>
                  <a:lnTo>
                    <a:pt x="1235210" y="5106011"/>
                  </a:lnTo>
                  <a:lnTo>
                    <a:pt x="1256038" y="5117790"/>
                  </a:lnTo>
                  <a:lnTo>
                    <a:pt x="1276224" y="5135972"/>
                  </a:lnTo>
                  <a:lnTo>
                    <a:pt x="1293699" y="5165860"/>
                  </a:lnTo>
                  <a:lnTo>
                    <a:pt x="1312347" y="5196117"/>
                  </a:lnTo>
                  <a:lnTo>
                    <a:pt x="1329456" y="5228091"/>
                  </a:lnTo>
                  <a:lnTo>
                    <a:pt x="1338585" y="5262430"/>
                  </a:lnTo>
                  <a:lnTo>
                    <a:pt x="1342806" y="5301815"/>
                  </a:lnTo>
                  <a:lnTo>
                    <a:pt x="1321853" y="5355853"/>
                  </a:lnTo>
                  <a:lnTo>
                    <a:pt x="1310021" y="5406615"/>
                  </a:lnTo>
                  <a:lnTo>
                    <a:pt x="1304105" y="5431991"/>
                  </a:lnTo>
                  <a:lnTo>
                    <a:pt x="1301113" y="5456663"/>
                  </a:lnTo>
                  <a:lnTo>
                    <a:pt x="1303221" y="5478703"/>
                  </a:lnTo>
                  <a:lnTo>
                    <a:pt x="1305324" y="5500744"/>
                  </a:lnTo>
                  <a:lnTo>
                    <a:pt x="1331784" y="5534469"/>
                  </a:lnTo>
                  <a:lnTo>
                    <a:pt x="1357139" y="5548998"/>
                  </a:lnTo>
                  <a:lnTo>
                    <a:pt x="1388041" y="5552592"/>
                  </a:lnTo>
                  <a:lnTo>
                    <a:pt x="1421556" y="5546716"/>
                  </a:lnTo>
                  <a:lnTo>
                    <a:pt x="1453864" y="5538631"/>
                  </a:lnTo>
                  <a:lnTo>
                    <a:pt x="1484214" y="5520983"/>
                  </a:lnTo>
                  <a:lnTo>
                    <a:pt x="1503168" y="5501832"/>
                  </a:lnTo>
                  <a:lnTo>
                    <a:pt x="1522438" y="5482357"/>
                  </a:lnTo>
                  <a:lnTo>
                    <a:pt x="1537322" y="5454500"/>
                  </a:lnTo>
                  <a:lnTo>
                    <a:pt x="1557575" y="5436541"/>
                  </a:lnTo>
                  <a:lnTo>
                    <a:pt x="1629262" y="5390377"/>
                  </a:lnTo>
                  <a:lnTo>
                    <a:pt x="1655906" y="5377874"/>
                  </a:lnTo>
                  <a:lnTo>
                    <a:pt x="1682344" y="5375420"/>
                  </a:lnTo>
                  <a:lnTo>
                    <a:pt x="1709918" y="5373976"/>
                  </a:lnTo>
                  <a:lnTo>
                    <a:pt x="1737491" y="5372525"/>
                  </a:lnTo>
                  <a:lnTo>
                    <a:pt x="1765348" y="5371001"/>
                  </a:lnTo>
                  <a:lnTo>
                    <a:pt x="1790171" y="5363087"/>
                  </a:lnTo>
                  <a:lnTo>
                    <a:pt x="1819479" y="5353743"/>
                  </a:lnTo>
                  <a:lnTo>
                    <a:pt x="1875753" y="5325708"/>
                  </a:lnTo>
                  <a:lnTo>
                    <a:pt x="1901711" y="5307321"/>
                  </a:lnTo>
                  <a:lnTo>
                    <a:pt x="1929587" y="5287577"/>
                  </a:lnTo>
                  <a:lnTo>
                    <a:pt x="1964191" y="5252491"/>
                  </a:lnTo>
                  <a:lnTo>
                    <a:pt x="2001003" y="5229791"/>
                  </a:lnTo>
                  <a:lnTo>
                    <a:pt x="2019410" y="5218441"/>
                  </a:lnTo>
                  <a:lnTo>
                    <a:pt x="2056770" y="5209386"/>
                  </a:lnTo>
                  <a:lnTo>
                    <a:pt x="2094500" y="5213938"/>
                  </a:lnTo>
                  <a:lnTo>
                    <a:pt x="2112537" y="5229791"/>
                  </a:lnTo>
                  <a:lnTo>
                    <a:pt x="2119501" y="5250202"/>
                  </a:lnTo>
                  <a:lnTo>
                    <a:pt x="2113895" y="5292358"/>
                  </a:lnTo>
                  <a:lnTo>
                    <a:pt x="2109779" y="5313963"/>
                  </a:lnTo>
                  <a:lnTo>
                    <a:pt x="2103831" y="5336075"/>
                  </a:lnTo>
                  <a:lnTo>
                    <a:pt x="2097085" y="5398713"/>
                  </a:lnTo>
                  <a:lnTo>
                    <a:pt x="2100118" y="5421104"/>
                  </a:lnTo>
                  <a:lnTo>
                    <a:pt x="2105731" y="5441983"/>
                  </a:lnTo>
                  <a:lnTo>
                    <a:pt x="2111349" y="5462862"/>
                  </a:lnTo>
                  <a:lnTo>
                    <a:pt x="2123411" y="5516795"/>
                  </a:lnTo>
                  <a:lnTo>
                    <a:pt x="2127171" y="5545806"/>
                  </a:lnTo>
                  <a:lnTo>
                    <a:pt x="2113341" y="5574072"/>
                  </a:lnTo>
                  <a:lnTo>
                    <a:pt x="2108454" y="5601124"/>
                  </a:lnTo>
                  <a:lnTo>
                    <a:pt x="2096307" y="5668287"/>
                  </a:lnTo>
                  <a:lnTo>
                    <a:pt x="2089131" y="5713349"/>
                  </a:lnTo>
                  <a:lnTo>
                    <a:pt x="2088050" y="5758908"/>
                  </a:lnTo>
                  <a:lnTo>
                    <a:pt x="2086968" y="5804465"/>
                  </a:lnTo>
                  <a:lnTo>
                    <a:pt x="2091024" y="5850425"/>
                  </a:lnTo>
                  <a:lnTo>
                    <a:pt x="2101648" y="5920772"/>
                  </a:lnTo>
                  <a:lnTo>
                    <a:pt x="2108692" y="5967399"/>
                  </a:lnTo>
                  <a:lnTo>
                    <a:pt x="2118762" y="6006882"/>
                  </a:lnTo>
                  <a:lnTo>
                    <a:pt x="2131576" y="6039111"/>
                  </a:lnTo>
                  <a:lnTo>
                    <a:pt x="2144390" y="6071334"/>
                  </a:lnTo>
                  <a:lnTo>
                    <a:pt x="2160191" y="6096856"/>
                  </a:lnTo>
                  <a:lnTo>
                    <a:pt x="2181901" y="6116641"/>
                  </a:lnTo>
                  <a:lnTo>
                    <a:pt x="2203612" y="6136426"/>
                  </a:lnTo>
                  <a:lnTo>
                    <a:pt x="2231146" y="6150868"/>
                  </a:lnTo>
                  <a:lnTo>
                    <a:pt x="2264872" y="6160167"/>
                  </a:lnTo>
                  <a:lnTo>
                    <a:pt x="2298605" y="6169466"/>
                  </a:lnTo>
                  <a:lnTo>
                    <a:pt x="2338418" y="6172994"/>
                  </a:lnTo>
                  <a:lnTo>
                    <a:pt x="2387294" y="6173772"/>
                  </a:lnTo>
                  <a:lnTo>
                    <a:pt x="2416865" y="6174228"/>
                  </a:lnTo>
                  <a:lnTo>
                    <a:pt x="2460187" y="6174161"/>
                  </a:lnTo>
                  <a:lnTo>
                    <a:pt x="2501550" y="6166967"/>
                  </a:lnTo>
                  <a:lnTo>
                    <a:pt x="2542913" y="6159765"/>
                  </a:lnTo>
                  <a:lnTo>
                    <a:pt x="2582239" y="6145421"/>
                  </a:lnTo>
                  <a:lnTo>
                    <a:pt x="2604925" y="6120723"/>
                  </a:lnTo>
                  <a:lnTo>
                    <a:pt x="2629564" y="6093856"/>
                  </a:lnTo>
                  <a:lnTo>
                    <a:pt x="2642886" y="6065993"/>
                  </a:lnTo>
                  <a:lnTo>
                    <a:pt x="2652534" y="6040470"/>
                  </a:lnTo>
                  <a:lnTo>
                    <a:pt x="2662175" y="6014948"/>
                  </a:lnTo>
                  <a:lnTo>
                    <a:pt x="2668394" y="5992267"/>
                  </a:lnTo>
                  <a:lnTo>
                    <a:pt x="2681097" y="5975180"/>
                  </a:lnTo>
                  <a:lnTo>
                    <a:pt x="2717460" y="5974158"/>
                  </a:lnTo>
                  <a:lnTo>
                    <a:pt x="2733994" y="6002556"/>
                  </a:lnTo>
                  <a:lnTo>
                    <a:pt x="2768697" y="6036474"/>
                  </a:lnTo>
                  <a:lnTo>
                    <a:pt x="2798967" y="6045568"/>
                  </a:lnTo>
                  <a:lnTo>
                    <a:pt x="2817116" y="6069033"/>
                  </a:lnTo>
                  <a:lnTo>
                    <a:pt x="2834830" y="6099138"/>
                  </a:lnTo>
                  <a:lnTo>
                    <a:pt x="2840212" y="6131420"/>
                  </a:lnTo>
                  <a:lnTo>
                    <a:pt x="2837514" y="6164250"/>
                  </a:lnTo>
                  <a:lnTo>
                    <a:pt x="2835028" y="6196143"/>
                  </a:lnTo>
                  <a:lnTo>
                    <a:pt x="2829633" y="6226605"/>
                  </a:lnTo>
                  <a:lnTo>
                    <a:pt x="2841590" y="6249944"/>
                  </a:lnTo>
                  <a:lnTo>
                    <a:pt x="2886864" y="6241568"/>
                  </a:lnTo>
                  <a:lnTo>
                    <a:pt x="2932237" y="6246290"/>
                  </a:lnTo>
                  <a:lnTo>
                    <a:pt x="2977609" y="6249944"/>
                  </a:lnTo>
                  <a:lnTo>
                    <a:pt x="2998753" y="6267105"/>
                  </a:lnTo>
                  <a:lnTo>
                    <a:pt x="3019046" y="6303501"/>
                  </a:lnTo>
                  <a:lnTo>
                    <a:pt x="3028780" y="6323438"/>
                  </a:lnTo>
                  <a:lnTo>
                    <a:pt x="3070063" y="6356927"/>
                  </a:lnTo>
                  <a:lnTo>
                    <a:pt x="3105900" y="6377839"/>
                  </a:lnTo>
                  <a:lnTo>
                    <a:pt x="3136758" y="6403645"/>
                  </a:lnTo>
                  <a:lnTo>
                    <a:pt x="3382358" y="6633985"/>
                  </a:lnTo>
                  <a:lnTo>
                    <a:pt x="3403654" y="6673475"/>
                  </a:lnTo>
                  <a:lnTo>
                    <a:pt x="3418103" y="6713770"/>
                  </a:lnTo>
                  <a:lnTo>
                    <a:pt x="3436002" y="6750497"/>
                  </a:lnTo>
                  <a:lnTo>
                    <a:pt x="3448987" y="6777101"/>
                  </a:lnTo>
                  <a:lnTo>
                    <a:pt x="3466411" y="6799035"/>
                  </a:lnTo>
                  <a:lnTo>
                    <a:pt x="3480886" y="6823945"/>
                  </a:lnTo>
                  <a:lnTo>
                    <a:pt x="3497934" y="6856972"/>
                  </a:lnTo>
                  <a:lnTo>
                    <a:pt x="3539819" y="6913760"/>
                  </a:lnTo>
                  <a:lnTo>
                    <a:pt x="3539232" y="6953653"/>
                  </a:lnTo>
                  <a:lnTo>
                    <a:pt x="3528449" y="6976136"/>
                  </a:lnTo>
                  <a:lnTo>
                    <a:pt x="3514890" y="6998051"/>
                  </a:lnTo>
                  <a:lnTo>
                    <a:pt x="3501337" y="7019964"/>
                  </a:lnTo>
                  <a:lnTo>
                    <a:pt x="3484540" y="7041873"/>
                  </a:lnTo>
                  <a:lnTo>
                    <a:pt x="3474087" y="7061982"/>
                  </a:lnTo>
                  <a:lnTo>
                    <a:pt x="3455028" y="7098641"/>
                  </a:lnTo>
                  <a:lnTo>
                    <a:pt x="3448314" y="7132098"/>
                  </a:lnTo>
                  <a:lnTo>
                    <a:pt x="3449600" y="7163991"/>
                  </a:lnTo>
                  <a:lnTo>
                    <a:pt x="3450887" y="7195890"/>
                  </a:lnTo>
                  <a:lnTo>
                    <a:pt x="3461287" y="7225765"/>
                  </a:lnTo>
                  <a:lnTo>
                    <a:pt x="3476805" y="7253767"/>
                  </a:lnTo>
                  <a:lnTo>
                    <a:pt x="3507840" y="7309777"/>
                  </a:lnTo>
                  <a:lnTo>
                    <a:pt x="3560237" y="7359015"/>
                  </a:lnTo>
                  <a:lnTo>
                    <a:pt x="3611465" y="7404751"/>
                  </a:lnTo>
                  <a:lnTo>
                    <a:pt x="3681431" y="7467211"/>
                  </a:lnTo>
                  <a:lnTo>
                    <a:pt x="3721884" y="7513856"/>
                  </a:lnTo>
                  <a:lnTo>
                    <a:pt x="3758367" y="7562534"/>
                  </a:lnTo>
                  <a:lnTo>
                    <a:pt x="3794850" y="7611204"/>
                  </a:lnTo>
                  <a:lnTo>
                    <a:pt x="3827468" y="7661306"/>
                  </a:lnTo>
                  <a:lnTo>
                    <a:pt x="3882147" y="7731198"/>
                  </a:lnTo>
                  <a:lnTo>
                    <a:pt x="3869794" y="7779612"/>
                  </a:lnTo>
                  <a:lnTo>
                    <a:pt x="3845334" y="7802865"/>
                  </a:lnTo>
                  <a:lnTo>
                    <a:pt x="3823657" y="7830491"/>
                  </a:lnTo>
                  <a:lnTo>
                    <a:pt x="3798411" y="7862629"/>
                  </a:lnTo>
                  <a:lnTo>
                    <a:pt x="3783289" y="7905482"/>
                  </a:lnTo>
                  <a:lnTo>
                    <a:pt x="3761091" y="7939308"/>
                  </a:lnTo>
                  <a:lnTo>
                    <a:pt x="3725676" y="7993260"/>
                  </a:lnTo>
                  <a:lnTo>
                    <a:pt x="3701651" y="8022410"/>
                  </a:lnTo>
                  <a:lnTo>
                    <a:pt x="3683555" y="8054923"/>
                  </a:lnTo>
                  <a:lnTo>
                    <a:pt x="3665464" y="8087442"/>
                  </a:lnTo>
                  <a:lnTo>
                    <a:pt x="3653323" y="8122599"/>
                  </a:lnTo>
                  <a:lnTo>
                    <a:pt x="3641387" y="8188226"/>
                  </a:lnTo>
                  <a:lnTo>
                    <a:pt x="3633229" y="8224953"/>
                  </a:lnTo>
                  <a:lnTo>
                    <a:pt x="3625183" y="8261205"/>
                  </a:lnTo>
                  <a:lnTo>
                    <a:pt x="3627452" y="8282566"/>
                  </a:lnTo>
                  <a:lnTo>
                    <a:pt x="3684768" y="8297971"/>
                  </a:lnTo>
                  <a:lnTo>
                    <a:pt x="3769506" y="8340397"/>
                  </a:lnTo>
                  <a:lnTo>
                    <a:pt x="3803252" y="8381371"/>
                  </a:lnTo>
                  <a:lnTo>
                    <a:pt x="3827844" y="8411251"/>
                  </a:lnTo>
                  <a:lnTo>
                    <a:pt x="3843633" y="8452061"/>
                  </a:lnTo>
                  <a:lnTo>
                    <a:pt x="3878065" y="8475223"/>
                  </a:lnTo>
                  <a:lnTo>
                    <a:pt x="3916256" y="8500982"/>
                  </a:lnTo>
                  <a:lnTo>
                    <a:pt x="3968540" y="8507999"/>
                  </a:lnTo>
                  <a:lnTo>
                    <a:pt x="3985522" y="8559558"/>
                  </a:lnTo>
                  <a:lnTo>
                    <a:pt x="4006388" y="8622849"/>
                  </a:lnTo>
                  <a:lnTo>
                    <a:pt x="3931536" y="8678274"/>
                  </a:lnTo>
                  <a:lnTo>
                    <a:pt x="3997762" y="8751345"/>
                  </a:lnTo>
                  <a:lnTo>
                    <a:pt x="4030255" y="8787221"/>
                  </a:lnTo>
                  <a:lnTo>
                    <a:pt x="4119840" y="8863221"/>
                  </a:lnTo>
                  <a:lnTo>
                    <a:pt x="4165068" y="8877841"/>
                  </a:lnTo>
                  <a:lnTo>
                    <a:pt x="4196565" y="8888004"/>
                  </a:lnTo>
                  <a:lnTo>
                    <a:pt x="4225893" y="8884641"/>
                  </a:lnTo>
                  <a:lnTo>
                    <a:pt x="4257562" y="8900962"/>
                  </a:lnTo>
                  <a:lnTo>
                    <a:pt x="4284041" y="8914568"/>
                  </a:lnTo>
                  <a:lnTo>
                    <a:pt x="4297791" y="8947338"/>
                  </a:lnTo>
                  <a:lnTo>
                    <a:pt x="4326933" y="8959453"/>
                  </a:lnTo>
                  <a:lnTo>
                    <a:pt x="4371304" y="8977945"/>
                  </a:lnTo>
                  <a:lnTo>
                    <a:pt x="4426121" y="8962599"/>
                  </a:lnTo>
                  <a:lnTo>
                    <a:pt x="4476552" y="8988022"/>
                  </a:lnTo>
                  <a:lnTo>
                    <a:pt x="4521905" y="9010888"/>
                  </a:lnTo>
                  <a:lnTo>
                    <a:pt x="4637883" y="9270562"/>
                  </a:lnTo>
                  <a:lnTo>
                    <a:pt x="4687385" y="9329428"/>
                  </a:lnTo>
                  <a:lnTo>
                    <a:pt x="4698735" y="9348513"/>
                  </a:lnTo>
                  <a:lnTo>
                    <a:pt x="4715947" y="9378395"/>
                  </a:lnTo>
                  <a:lnTo>
                    <a:pt x="4741153" y="9438330"/>
                  </a:lnTo>
                  <a:lnTo>
                    <a:pt x="4744642" y="9514500"/>
                  </a:lnTo>
                  <a:lnTo>
                    <a:pt x="4819322" y="9529378"/>
                  </a:lnTo>
                  <a:lnTo>
                    <a:pt x="4840169" y="9533501"/>
                  </a:lnTo>
                  <a:lnTo>
                    <a:pt x="4863297" y="9532056"/>
                  </a:lnTo>
                  <a:lnTo>
                    <a:pt x="4883254" y="9523937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17" name="Chernivtsi¬0" descr="Chernivtsi¬0">
              <a:extLst>
                <a:ext uri="{FF2B5EF4-FFF2-40B4-BE49-F238E27FC236}">
                  <a16:creationId xmlns:a16="http://schemas.microsoft.com/office/drawing/2014/main" id="{8255E196-E3E7-4BDC-8D4D-47AFB0BBE470}"/>
                </a:ext>
              </a:extLst>
            </p:cNvPr>
            <p:cNvSpPr/>
            <p:nvPr/>
          </p:nvSpPr>
          <p:spPr>
            <a:xfrm>
              <a:off x="1831124" y="2862276"/>
              <a:ext cx="890017" cy="436579"/>
            </a:xfrm>
            <a:custGeom>
              <a:avLst/>
              <a:gdLst/>
              <a:ahLst/>
              <a:cxnLst/>
              <a:rect l="0" t="0" r="0" b="0"/>
              <a:pathLst>
                <a:path w="9082132" h="5057210">
                  <a:moveTo>
                    <a:pt x="5106420" y="821342"/>
                  </a:moveTo>
                  <a:lnTo>
                    <a:pt x="5091325" y="837868"/>
                  </a:lnTo>
                  <a:lnTo>
                    <a:pt x="5076077" y="857890"/>
                  </a:lnTo>
                  <a:lnTo>
                    <a:pt x="5060322" y="877702"/>
                  </a:lnTo>
                  <a:lnTo>
                    <a:pt x="5043715" y="895001"/>
                  </a:lnTo>
                  <a:lnTo>
                    <a:pt x="5024023" y="907973"/>
                  </a:lnTo>
                  <a:lnTo>
                    <a:pt x="5001898" y="911779"/>
                  </a:lnTo>
                  <a:lnTo>
                    <a:pt x="4981144" y="907241"/>
                  </a:lnTo>
                  <a:lnTo>
                    <a:pt x="4961009" y="899367"/>
                  </a:lnTo>
                  <a:lnTo>
                    <a:pt x="4941436" y="887918"/>
                  </a:lnTo>
                  <a:lnTo>
                    <a:pt x="4922660" y="874596"/>
                  </a:lnTo>
                  <a:lnTo>
                    <a:pt x="4905038" y="862738"/>
                  </a:lnTo>
                  <a:lnTo>
                    <a:pt x="4871326" y="853585"/>
                  </a:lnTo>
                  <a:lnTo>
                    <a:pt x="4832534" y="852061"/>
                  </a:lnTo>
                  <a:lnTo>
                    <a:pt x="4807044" y="852839"/>
                  </a:lnTo>
                  <a:lnTo>
                    <a:pt x="4786481" y="841147"/>
                  </a:lnTo>
                  <a:lnTo>
                    <a:pt x="4769092" y="823446"/>
                  </a:lnTo>
                  <a:lnTo>
                    <a:pt x="4752631" y="806590"/>
                  </a:lnTo>
                  <a:lnTo>
                    <a:pt x="4736176" y="789726"/>
                  </a:lnTo>
                  <a:lnTo>
                    <a:pt x="4720256" y="774367"/>
                  </a:lnTo>
                  <a:lnTo>
                    <a:pt x="4699587" y="764422"/>
                  </a:lnTo>
                  <a:lnTo>
                    <a:pt x="4657604" y="756726"/>
                  </a:lnTo>
                  <a:lnTo>
                    <a:pt x="4627499" y="761704"/>
                  </a:lnTo>
                  <a:lnTo>
                    <a:pt x="4597386" y="766684"/>
                  </a:lnTo>
                  <a:lnTo>
                    <a:pt x="4562447" y="776219"/>
                  </a:lnTo>
                  <a:lnTo>
                    <a:pt x="4525482" y="783467"/>
                  </a:lnTo>
                  <a:lnTo>
                    <a:pt x="4488518" y="790716"/>
                  </a:lnTo>
                  <a:lnTo>
                    <a:pt x="4450116" y="795708"/>
                  </a:lnTo>
                  <a:lnTo>
                    <a:pt x="4412583" y="794348"/>
                  </a:lnTo>
                  <a:lnTo>
                    <a:pt x="4375052" y="792990"/>
                  </a:lnTo>
                  <a:lnTo>
                    <a:pt x="4338292" y="785261"/>
                  </a:lnTo>
                  <a:lnTo>
                    <a:pt x="4306484" y="764422"/>
                  </a:lnTo>
                  <a:lnTo>
                    <a:pt x="4286555" y="744221"/>
                  </a:lnTo>
                  <a:lnTo>
                    <a:pt x="4269758" y="714102"/>
                  </a:lnTo>
                  <a:lnTo>
                    <a:pt x="4259648" y="681174"/>
                  </a:lnTo>
                  <a:lnTo>
                    <a:pt x="4255388" y="646367"/>
                  </a:lnTo>
                  <a:lnTo>
                    <a:pt x="4256159" y="610721"/>
                  </a:lnTo>
                  <a:lnTo>
                    <a:pt x="4258876" y="575101"/>
                  </a:lnTo>
                  <a:lnTo>
                    <a:pt x="4264324" y="540248"/>
                  </a:lnTo>
                  <a:lnTo>
                    <a:pt x="4271124" y="507346"/>
                  </a:lnTo>
                  <a:lnTo>
                    <a:pt x="4276505" y="475948"/>
                  </a:lnTo>
                  <a:lnTo>
                    <a:pt x="4279346" y="448974"/>
                  </a:lnTo>
                  <a:lnTo>
                    <a:pt x="4277922" y="427100"/>
                  </a:lnTo>
                  <a:lnTo>
                    <a:pt x="4267040" y="402613"/>
                  </a:lnTo>
                  <a:lnTo>
                    <a:pt x="4248344" y="385353"/>
                  </a:lnTo>
                  <a:lnTo>
                    <a:pt x="4225612" y="375157"/>
                  </a:lnTo>
                  <a:lnTo>
                    <a:pt x="4207193" y="356361"/>
                  </a:lnTo>
                  <a:lnTo>
                    <a:pt x="4184044" y="337567"/>
                  </a:lnTo>
                  <a:lnTo>
                    <a:pt x="4154169" y="326203"/>
                  </a:lnTo>
                  <a:lnTo>
                    <a:pt x="4125580" y="329164"/>
                  </a:lnTo>
                  <a:lnTo>
                    <a:pt x="4107431" y="341602"/>
                  </a:lnTo>
                  <a:lnTo>
                    <a:pt x="4098376" y="382214"/>
                  </a:lnTo>
                  <a:lnTo>
                    <a:pt x="4097050" y="404267"/>
                  </a:lnTo>
                  <a:lnTo>
                    <a:pt x="4102135" y="428932"/>
                  </a:lnTo>
                  <a:lnTo>
                    <a:pt x="4110615" y="454303"/>
                  </a:lnTo>
                  <a:lnTo>
                    <a:pt x="4119103" y="479673"/>
                  </a:lnTo>
                  <a:lnTo>
                    <a:pt x="4130611" y="505360"/>
                  </a:lnTo>
                  <a:lnTo>
                    <a:pt x="4141902" y="527757"/>
                  </a:lnTo>
                  <a:lnTo>
                    <a:pt x="4153193" y="550146"/>
                  </a:lnTo>
                  <a:lnTo>
                    <a:pt x="4163395" y="569034"/>
                  </a:lnTo>
                  <a:lnTo>
                    <a:pt x="4178042" y="596226"/>
                  </a:lnTo>
                  <a:lnTo>
                    <a:pt x="4199033" y="625684"/>
                  </a:lnTo>
                  <a:lnTo>
                    <a:pt x="4207278" y="651511"/>
                  </a:lnTo>
                  <a:lnTo>
                    <a:pt x="4192228" y="692339"/>
                  </a:lnTo>
                  <a:lnTo>
                    <a:pt x="4169502" y="719082"/>
                  </a:lnTo>
                  <a:lnTo>
                    <a:pt x="4144230" y="728163"/>
                  </a:lnTo>
                  <a:lnTo>
                    <a:pt x="4117423" y="723626"/>
                  </a:lnTo>
                  <a:lnTo>
                    <a:pt x="4090238" y="715870"/>
                  </a:lnTo>
                  <a:lnTo>
                    <a:pt x="4061200" y="695327"/>
                  </a:lnTo>
                  <a:lnTo>
                    <a:pt x="4037169" y="676016"/>
                  </a:lnTo>
                  <a:lnTo>
                    <a:pt x="4015452" y="658560"/>
                  </a:lnTo>
                  <a:lnTo>
                    <a:pt x="3985201" y="638420"/>
                  </a:lnTo>
                  <a:lnTo>
                    <a:pt x="3970514" y="613445"/>
                  </a:lnTo>
                  <a:lnTo>
                    <a:pt x="3956744" y="581076"/>
                  </a:lnTo>
                  <a:lnTo>
                    <a:pt x="3939234" y="547667"/>
                  </a:lnTo>
                  <a:lnTo>
                    <a:pt x="3920847" y="520615"/>
                  </a:lnTo>
                  <a:lnTo>
                    <a:pt x="3924270" y="497829"/>
                  </a:lnTo>
                  <a:lnTo>
                    <a:pt x="3929837" y="460786"/>
                  </a:lnTo>
                  <a:lnTo>
                    <a:pt x="3960911" y="409477"/>
                  </a:lnTo>
                  <a:lnTo>
                    <a:pt x="3981402" y="379496"/>
                  </a:lnTo>
                  <a:lnTo>
                    <a:pt x="3980044" y="350927"/>
                  </a:lnTo>
                  <a:lnTo>
                    <a:pt x="3974596" y="323723"/>
                  </a:lnTo>
                  <a:lnTo>
                    <a:pt x="3966979" y="304011"/>
                  </a:lnTo>
                  <a:lnTo>
                    <a:pt x="3964612" y="271334"/>
                  </a:lnTo>
                  <a:lnTo>
                    <a:pt x="3970982" y="242812"/>
                  </a:lnTo>
                  <a:lnTo>
                    <a:pt x="3971872" y="213550"/>
                  </a:lnTo>
                  <a:lnTo>
                    <a:pt x="3944458" y="164753"/>
                  </a:lnTo>
                  <a:lnTo>
                    <a:pt x="3910665" y="156417"/>
                  </a:lnTo>
                  <a:lnTo>
                    <a:pt x="3889410" y="167886"/>
                  </a:lnTo>
                  <a:lnTo>
                    <a:pt x="3877822" y="203070"/>
                  </a:lnTo>
                  <a:lnTo>
                    <a:pt x="3867139" y="239395"/>
                  </a:lnTo>
                  <a:lnTo>
                    <a:pt x="3856456" y="275713"/>
                  </a:lnTo>
                  <a:lnTo>
                    <a:pt x="3847011" y="313534"/>
                  </a:lnTo>
                  <a:lnTo>
                    <a:pt x="3833136" y="330530"/>
                  </a:lnTo>
                  <a:lnTo>
                    <a:pt x="3800101" y="344207"/>
                  </a:lnTo>
                  <a:lnTo>
                    <a:pt x="3770959" y="341333"/>
                  </a:lnTo>
                  <a:lnTo>
                    <a:pt x="3744718" y="327806"/>
                  </a:lnTo>
                  <a:lnTo>
                    <a:pt x="3719980" y="313224"/>
                  </a:lnTo>
                  <a:lnTo>
                    <a:pt x="3698751" y="293539"/>
                  </a:lnTo>
                  <a:lnTo>
                    <a:pt x="3670249" y="329363"/>
                  </a:lnTo>
                  <a:lnTo>
                    <a:pt x="3662347" y="361987"/>
                  </a:lnTo>
                  <a:lnTo>
                    <a:pt x="3650865" y="390378"/>
                  </a:lnTo>
                  <a:lnTo>
                    <a:pt x="3639390" y="418762"/>
                  </a:lnTo>
                  <a:lnTo>
                    <a:pt x="3624493" y="442789"/>
                  </a:lnTo>
                  <a:lnTo>
                    <a:pt x="3605981" y="459744"/>
                  </a:lnTo>
                  <a:lnTo>
                    <a:pt x="3587469" y="476706"/>
                  </a:lnTo>
                  <a:lnTo>
                    <a:pt x="3565540" y="487053"/>
                  </a:lnTo>
                  <a:lnTo>
                    <a:pt x="3536609" y="488307"/>
                  </a:lnTo>
                  <a:lnTo>
                    <a:pt x="3507683" y="489572"/>
                  </a:lnTo>
                  <a:lnTo>
                    <a:pt x="3471879" y="481171"/>
                  </a:lnTo>
                  <a:lnTo>
                    <a:pt x="3429158" y="462468"/>
                  </a:lnTo>
                  <a:lnTo>
                    <a:pt x="3408984" y="453636"/>
                  </a:lnTo>
                  <a:lnTo>
                    <a:pt x="3389219" y="434242"/>
                  </a:lnTo>
                  <a:lnTo>
                    <a:pt x="3366586" y="425740"/>
                  </a:lnTo>
                  <a:lnTo>
                    <a:pt x="3298553" y="434775"/>
                  </a:lnTo>
                  <a:lnTo>
                    <a:pt x="3270009" y="427100"/>
                  </a:lnTo>
                  <a:lnTo>
                    <a:pt x="3256965" y="408310"/>
                  </a:lnTo>
                  <a:lnTo>
                    <a:pt x="3261852" y="378132"/>
                  </a:lnTo>
                  <a:lnTo>
                    <a:pt x="3274924" y="350287"/>
                  </a:lnTo>
                  <a:lnTo>
                    <a:pt x="3272352" y="316627"/>
                  </a:lnTo>
                  <a:lnTo>
                    <a:pt x="3247251" y="288889"/>
                  </a:lnTo>
                  <a:lnTo>
                    <a:pt x="3212371" y="260069"/>
                  </a:lnTo>
                  <a:lnTo>
                    <a:pt x="3196563" y="227155"/>
                  </a:lnTo>
                  <a:lnTo>
                    <a:pt x="3179423" y="191469"/>
                  </a:lnTo>
                  <a:lnTo>
                    <a:pt x="3161194" y="153701"/>
                  </a:lnTo>
                  <a:lnTo>
                    <a:pt x="3150155" y="135248"/>
                  </a:lnTo>
                  <a:lnTo>
                    <a:pt x="3134853" y="116624"/>
                  </a:lnTo>
                  <a:lnTo>
                    <a:pt x="3102703" y="81612"/>
                  </a:lnTo>
                  <a:lnTo>
                    <a:pt x="3078092" y="61128"/>
                  </a:lnTo>
                  <a:lnTo>
                    <a:pt x="3048434" y="50405"/>
                  </a:lnTo>
                  <a:lnTo>
                    <a:pt x="3017016" y="50326"/>
                  </a:lnTo>
                  <a:lnTo>
                    <a:pt x="2986462" y="56815"/>
                  </a:lnTo>
                  <a:lnTo>
                    <a:pt x="2960511" y="73763"/>
                  </a:lnTo>
                  <a:lnTo>
                    <a:pt x="2942204" y="100651"/>
                  </a:lnTo>
                  <a:lnTo>
                    <a:pt x="2928295" y="130110"/>
                  </a:lnTo>
                  <a:lnTo>
                    <a:pt x="2930887" y="155533"/>
                  </a:lnTo>
                  <a:lnTo>
                    <a:pt x="2928598" y="179546"/>
                  </a:lnTo>
                  <a:lnTo>
                    <a:pt x="2926323" y="203558"/>
                  </a:lnTo>
                  <a:lnTo>
                    <a:pt x="2920025" y="226758"/>
                  </a:lnTo>
                  <a:lnTo>
                    <a:pt x="2890513" y="251634"/>
                  </a:lnTo>
                  <a:lnTo>
                    <a:pt x="2867094" y="262055"/>
                  </a:lnTo>
                  <a:lnTo>
                    <a:pt x="2836105" y="250276"/>
                  </a:lnTo>
                  <a:lnTo>
                    <a:pt x="2816162" y="223329"/>
                  </a:lnTo>
                  <a:lnTo>
                    <a:pt x="2798468" y="165433"/>
                  </a:lnTo>
                  <a:lnTo>
                    <a:pt x="2796107" y="117283"/>
                  </a:lnTo>
                  <a:lnTo>
                    <a:pt x="2774165" y="89419"/>
                  </a:lnTo>
                  <a:lnTo>
                    <a:pt x="2742490" y="78584"/>
                  </a:lnTo>
                  <a:lnTo>
                    <a:pt x="2709608" y="69371"/>
                  </a:lnTo>
                  <a:lnTo>
                    <a:pt x="2676732" y="60151"/>
                  </a:lnTo>
                  <a:lnTo>
                    <a:pt x="2642182" y="53524"/>
                  </a:lnTo>
                  <a:lnTo>
                    <a:pt x="2605870" y="47172"/>
                  </a:lnTo>
                  <a:lnTo>
                    <a:pt x="2565021" y="54698"/>
                  </a:lnTo>
                  <a:lnTo>
                    <a:pt x="2530062" y="53042"/>
                  </a:lnTo>
                  <a:lnTo>
                    <a:pt x="2496870" y="48690"/>
                  </a:lnTo>
                  <a:lnTo>
                    <a:pt x="2476208" y="32908"/>
                  </a:lnTo>
                  <a:lnTo>
                    <a:pt x="2475654" y="0"/>
                  </a:lnTo>
                  <a:lnTo>
                    <a:pt x="2444473" y="25792"/>
                  </a:lnTo>
                  <a:lnTo>
                    <a:pt x="2408900" y="47648"/>
                  </a:lnTo>
                  <a:lnTo>
                    <a:pt x="2389643" y="58931"/>
                  </a:lnTo>
                  <a:lnTo>
                    <a:pt x="2346136" y="91002"/>
                  </a:lnTo>
                  <a:lnTo>
                    <a:pt x="2326609" y="112509"/>
                  </a:lnTo>
                  <a:lnTo>
                    <a:pt x="2304272" y="138737"/>
                  </a:lnTo>
                  <a:lnTo>
                    <a:pt x="2244423" y="209466"/>
                  </a:lnTo>
                  <a:lnTo>
                    <a:pt x="2233997" y="243239"/>
                  </a:lnTo>
                  <a:lnTo>
                    <a:pt x="2234901" y="269315"/>
                  </a:lnTo>
                  <a:lnTo>
                    <a:pt x="2235804" y="295391"/>
                  </a:lnTo>
                  <a:lnTo>
                    <a:pt x="2239827" y="325926"/>
                  </a:lnTo>
                  <a:lnTo>
                    <a:pt x="2245782" y="356369"/>
                  </a:lnTo>
                  <a:lnTo>
                    <a:pt x="2257686" y="417252"/>
                  </a:lnTo>
                  <a:lnTo>
                    <a:pt x="2275624" y="476937"/>
                  </a:lnTo>
                  <a:lnTo>
                    <a:pt x="2281150" y="499188"/>
                  </a:lnTo>
                  <a:lnTo>
                    <a:pt x="2290944" y="538572"/>
                  </a:lnTo>
                  <a:lnTo>
                    <a:pt x="2313492" y="578056"/>
                  </a:lnTo>
                  <a:lnTo>
                    <a:pt x="2326035" y="616169"/>
                  </a:lnTo>
                  <a:lnTo>
                    <a:pt x="2339252" y="656312"/>
                  </a:lnTo>
                  <a:lnTo>
                    <a:pt x="2352112" y="697629"/>
                  </a:lnTo>
                  <a:lnTo>
                    <a:pt x="2366838" y="737225"/>
                  </a:lnTo>
                  <a:lnTo>
                    <a:pt x="2375280" y="759943"/>
                  </a:lnTo>
                  <a:lnTo>
                    <a:pt x="2388773" y="779326"/>
                  </a:lnTo>
                  <a:lnTo>
                    <a:pt x="2395407" y="803872"/>
                  </a:lnTo>
                  <a:lnTo>
                    <a:pt x="2401421" y="826129"/>
                  </a:lnTo>
                  <a:lnTo>
                    <a:pt x="2371982" y="1213422"/>
                  </a:lnTo>
                  <a:lnTo>
                    <a:pt x="2369562" y="1235060"/>
                  </a:lnTo>
                  <a:lnTo>
                    <a:pt x="2366455" y="1262515"/>
                  </a:lnTo>
                  <a:lnTo>
                    <a:pt x="2357526" y="1292140"/>
                  </a:lnTo>
                  <a:lnTo>
                    <a:pt x="2351874" y="1319389"/>
                  </a:lnTo>
                  <a:lnTo>
                    <a:pt x="2345530" y="1350035"/>
                  </a:lnTo>
                  <a:lnTo>
                    <a:pt x="2342404" y="1381717"/>
                  </a:lnTo>
                  <a:lnTo>
                    <a:pt x="2336917" y="1411883"/>
                  </a:lnTo>
                  <a:lnTo>
                    <a:pt x="2331430" y="1442055"/>
                  </a:lnTo>
                  <a:lnTo>
                    <a:pt x="2323094" y="1470709"/>
                  </a:lnTo>
                  <a:lnTo>
                    <a:pt x="2305631" y="1498935"/>
                  </a:lnTo>
                  <a:lnTo>
                    <a:pt x="2282212" y="1513187"/>
                  </a:lnTo>
                  <a:lnTo>
                    <a:pt x="2258319" y="1514611"/>
                  </a:lnTo>
                  <a:lnTo>
                    <a:pt x="2234901" y="1507100"/>
                  </a:lnTo>
                  <a:lnTo>
                    <a:pt x="2211996" y="1497709"/>
                  </a:lnTo>
                  <a:lnTo>
                    <a:pt x="2190385" y="1481274"/>
                  </a:lnTo>
                  <a:lnTo>
                    <a:pt x="2169611" y="1471732"/>
                  </a:lnTo>
                  <a:lnTo>
                    <a:pt x="2140561" y="1458384"/>
                  </a:lnTo>
                  <a:lnTo>
                    <a:pt x="2107084" y="1447884"/>
                  </a:lnTo>
                  <a:lnTo>
                    <a:pt x="2077117" y="1436370"/>
                  </a:lnTo>
                  <a:lnTo>
                    <a:pt x="2054187" y="1427612"/>
                  </a:lnTo>
                  <a:lnTo>
                    <a:pt x="1950218" y="1431226"/>
                  </a:lnTo>
                  <a:lnTo>
                    <a:pt x="1920693" y="1430928"/>
                  </a:lnTo>
                  <a:lnTo>
                    <a:pt x="1843598" y="1445036"/>
                  </a:lnTo>
                  <a:lnTo>
                    <a:pt x="1782120" y="1458522"/>
                  </a:lnTo>
                  <a:lnTo>
                    <a:pt x="1722107" y="1477172"/>
                  </a:lnTo>
                  <a:lnTo>
                    <a:pt x="1662094" y="1495822"/>
                  </a:lnTo>
                  <a:lnTo>
                    <a:pt x="1603993" y="1519893"/>
                  </a:lnTo>
                  <a:lnTo>
                    <a:pt x="1552077" y="1551984"/>
                  </a:lnTo>
                  <a:lnTo>
                    <a:pt x="1513424" y="1575871"/>
                  </a:lnTo>
                  <a:lnTo>
                    <a:pt x="1481584" y="1615784"/>
                  </a:lnTo>
                  <a:lnTo>
                    <a:pt x="1447344" y="1640396"/>
                  </a:lnTo>
                  <a:lnTo>
                    <a:pt x="1411441" y="1666215"/>
                  </a:lnTo>
                  <a:lnTo>
                    <a:pt x="1366108" y="1697047"/>
                  </a:lnTo>
                  <a:lnTo>
                    <a:pt x="1322205" y="1730166"/>
                  </a:lnTo>
                  <a:lnTo>
                    <a:pt x="1278309" y="1763292"/>
                  </a:lnTo>
                  <a:lnTo>
                    <a:pt x="1236103" y="1797737"/>
                  </a:lnTo>
                  <a:lnTo>
                    <a:pt x="1205232" y="1832183"/>
                  </a:lnTo>
                  <a:lnTo>
                    <a:pt x="1165043" y="1876988"/>
                  </a:lnTo>
                  <a:lnTo>
                    <a:pt x="1139454" y="1929780"/>
                  </a:lnTo>
                  <a:lnTo>
                    <a:pt x="1105932" y="1979084"/>
                  </a:lnTo>
                  <a:lnTo>
                    <a:pt x="1093059" y="1998005"/>
                  </a:lnTo>
                  <a:lnTo>
                    <a:pt x="1076855" y="2013344"/>
                  </a:lnTo>
                  <a:lnTo>
                    <a:pt x="1063771" y="2032133"/>
                  </a:lnTo>
                  <a:lnTo>
                    <a:pt x="1043445" y="2061310"/>
                  </a:lnTo>
                  <a:lnTo>
                    <a:pt x="1023482" y="2091277"/>
                  </a:lnTo>
                  <a:lnTo>
                    <a:pt x="1003922" y="2120545"/>
                  </a:lnTo>
                  <a:lnTo>
                    <a:pt x="984361" y="2149819"/>
                  </a:lnTo>
                  <a:lnTo>
                    <a:pt x="964445" y="2178738"/>
                  </a:lnTo>
                  <a:lnTo>
                    <a:pt x="941350" y="2206239"/>
                  </a:lnTo>
                  <a:lnTo>
                    <a:pt x="912708" y="2229380"/>
                  </a:lnTo>
                  <a:lnTo>
                    <a:pt x="877504" y="2240223"/>
                  </a:lnTo>
                  <a:lnTo>
                    <a:pt x="839340" y="2249765"/>
                  </a:lnTo>
                  <a:lnTo>
                    <a:pt x="798517" y="2266443"/>
                  </a:lnTo>
                  <a:lnTo>
                    <a:pt x="779491" y="2285133"/>
                  </a:lnTo>
                  <a:lnTo>
                    <a:pt x="760458" y="2303818"/>
                  </a:lnTo>
                  <a:lnTo>
                    <a:pt x="743344" y="2330514"/>
                  </a:lnTo>
                  <a:lnTo>
                    <a:pt x="727800" y="2372187"/>
                  </a:lnTo>
                  <a:lnTo>
                    <a:pt x="722762" y="2409633"/>
                  </a:lnTo>
                  <a:lnTo>
                    <a:pt x="720598" y="2447889"/>
                  </a:lnTo>
                  <a:lnTo>
                    <a:pt x="719748" y="2472666"/>
                  </a:lnTo>
                  <a:lnTo>
                    <a:pt x="726435" y="2502765"/>
                  </a:lnTo>
                  <a:lnTo>
                    <a:pt x="742474" y="2536518"/>
                  </a:lnTo>
                  <a:lnTo>
                    <a:pt x="759370" y="2569657"/>
                  </a:lnTo>
                  <a:lnTo>
                    <a:pt x="754998" y="2606134"/>
                  </a:lnTo>
                  <a:lnTo>
                    <a:pt x="730530" y="2616910"/>
                  </a:lnTo>
                  <a:lnTo>
                    <a:pt x="708754" y="2618381"/>
                  </a:lnTo>
                  <a:lnTo>
                    <a:pt x="686978" y="2619845"/>
                  </a:lnTo>
                  <a:lnTo>
                    <a:pt x="663783" y="2619324"/>
                  </a:lnTo>
                  <a:lnTo>
                    <a:pt x="640635" y="2620524"/>
                  </a:lnTo>
                  <a:lnTo>
                    <a:pt x="614902" y="2638779"/>
                  </a:lnTo>
                  <a:lnTo>
                    <a:pt x="592097" y="2666101"/>
                  </a:lnTo>
                  <a:lnTo>
                    <a:pt x="562578" y="2714712"/>
                  </a:lnTo>
                  <a:lnTo>
                    <a:pt x="547859" y="2750232"/>
                  </a:lnTo>
                  <a:lnTo>
                    <a:pt x="536007" y="2767999"/>
                  </a:lnTo>
                  <a:lnTo>
                    <a:pt x="511375" y="2804937"/>
                  </a:lnTo>
                  <a:lnTo>
                    <a:pt x="476904" y="2841961"/>
                  </a:lnTo>
                  <a:lnTo>
                    <a:pt x="448954" y="2876815"/>
                  </a:lnTo>
                  <a:lnTo>
                    <a:pt x="407228" y="2901209"/>
                  </a:lnTo>
                  <a:lnTo>
                    <a:pt x="376866" y="2905378"/>
                  </a:lnTo>
                  <a:lnTo>
                    <a:pt x="346503" y="2909545"/>
                  </a:lnTo>
                  <a:lnTo>
                    <a:pt x="314293" y="2908570"/>
                  </a:lnTo>
                  <a:lnTo>
                    <a:pt x="266981" y="2923823"/>
                  </a:lnTo>
                  <a:lnTo>
                    <a:pt x="248977" y="2947177"/>
                  </a:lnTo>
                  <a:lnTo>
                    <a:pt x="236764" y="2973384"/>
                  </a:lnTo>
                  <a:lnTo>
                    <a:pt x="224557" y="2999598"/>
                  </a:lnTo>
                  <a:lnTo>
                    <a:pt x="219148" y="3028742"/>
                  </a:lnTo>
                  <a:lnTo>
                    <a:pt x="215001" y="3059078"/>
                  </a:lnTo>
                  <a:lnTo>
                    <a:pt x="210859" y="3089415"/>
                  </a:lnTo>
                  <a:lnTo>
                    <a:pt x="208201" y="3120741"/>
                  </a:lnTo>
                  <a:lnTo>
                    <a:pt x="202760" y="3150214"/>
                  </a:lnTo>
                  <a:lnTo>
                    <a:pt x="197319" y="3179687"/>
                  </a:lnTo>
                  <a:lnTo>
                    <a:pt x="188931" y="3208215"/>
                  </a:lnTo>
                  <a:lnTo>
                    <a:pt x="172833" y="3231826"/>
                  </a:lnTo>
                  <a:lnTo>
                    <a:pt x="137464" y="3283721"/>
                  </a:lnTo>
                  <a:lnTo>
                    <a:pt x="90027" y="3348172"/>
                  </a:lnTo>
                  <a:lnTo>
                    <a:pt x="54500" y="3416813"/>
                  </a:lnTo>
                  <a:lnTo>
                    <a:pt x="36733" y="3451132"/>
                  </a:lnTo>
                  <a:lnTo>
                    <a:pt x="21367" y="3486349"/>
                  </a:lnTo>
                  <a:lnTo>
                    <a:pt x="12332" y="3521546"/>
                  </a:lnTo>
                  <a:lnTo>
                    <a:pt x="3297" y="3556743"/>
                  </a:lnTo>
                  <a:lnTo>
                    <a:pt x="0" y="3591057"/>
                  </a:lnTo>
                  <a:lnTo>
                    <a:pt x="5533" y="3624921"/>
                  </a:lnTo>
                  <a:lnTo>
                    <a:pt x="12701" y="3668790"/>
                  </a:lnTo>
                  <a:lnTo>
                    <a:pt x="15564" y="3732115"/>
                  </a:lnTo>
                  <a:lnTo>
                    <a:pt x="23214" y="3792228"/>
                  </a:lnTo>
                  <a:lnTo>
                    <a:pt x="27039" y="3822288"/>
                  </a:lnTo>
                  <a:lnTo>
                    <a:pt x="31602" y="3851477"/>
                  </a:lnTo>
                  <a:lnTo>
                    <a:pt x="39536" y="3877922"/>
                  </a:lnTo>
                  <a:lnTo>
                    <a:pt x="47470" y="3904360"/>
                  </a:lnTo>
                  <a:lnTo>
                    <a:pt x="58846" y="3926863"/>
                  </a:lnTo>
                  <a:lnTo>
                    <a:pt x="73539" y="3944570"/>
                  </a:lnTo>
                  <a:lnTo>
                    <a:pt x="126688" y="4008599"/>
                  </a:lnTo>
                  <a:lnTo>
                    <a:pt x="142727" y="4030633"/>
                  </a:lnTo>
                  <a:lnTo>
                    <a:pt x="146994" y="4056109"/>
                  </a:lnTo>
                  <a:lnTo>
                    <a:pt x="151260" y="4081579"/>
                  </a:lnTo>
                  <a:lnTo>
                    <a:pt x="143617" y="4111216"/>
                  </a:lnTo>
                  <a:lnTo>
                    <a:pt x="148352" y="4193488"/>
                  </a:lnTo>
                  <a:lnTo>
                    <a:pt x="154901" y="4230742"/>
                  </a:lnTo>
                  <a:lnTo>
                    <a:pt x="169001" y="4267766"/>
                  </a:lnTo>
                  <a:lnTo>
                    <a:pt x="185079" y="4302303"/>
                  </a:lnTo>
                  <a:lnTo>
                    <a:pt x="202655" y="4341496"/>
                  </a:lnTo>
                  <a:lnTo>
                    <a:pt x="206592" y="4379333"/>
                  </a:lnTo>
                  <a:lnTo>
                    <a:pt x="202760" y="4416560"/>
                  </a:lnTo>
                  <a:lnTo>
                    <a:pt x="198929" y="4453782"/>
                  </a:lnTo>
                  <a:lnTo>
                    <a:pt x="187025" y="4490779"/>
                  </a:lnTo>
                  <a:lnTo>
                    <a:pt x="171474" y="4529452"/>
                  </a:lnTo>
                  <a:lnTo>
                    <a:pt x="150858" y="4559083"/>
                  </a:lnTo>
                  <a:lnTo>
                    <a:pt x="84421" y="4688601"/>
                  </a:lnTo>
                  <a:lnTo>
                    <a:pt x="53893" y="4747149"/>
                  </a:lnTo>
                  <a:lnTo>
                    <a:pt x="38270" y="4777045"/>
                  </a:lnTo>
                  <a:lnTo>
                    <a:pt x="28655" y="4809655"/>
                  </a:lnTo>
                  <a:lnTo>
                    <a:pt x="19033" y="4842267"/>
                  </a:lnTo>
                  <a:lnTo>
                    <a:pt x="14878" y="4876752"/>
                  </a:lnTo>
                  <a:lnTo>
                    <a:pt x="8250" y="4945676"/>
                  </a:lnTo>
                  <a:lnTo>
                    <a:pt x="10967" y="5000084"/>
                  </a:lnTo>
                  <a:lnTo>
                    <a:pt x="10967" y="5025929"/>
                  </a:lnTo>
                  <a:lnTo>
                    <a:pt x="12325" y="5057209"/>
                  </a:lnTo>
                  <a:lnTo>
                    <a:pt x="58285" y="5042126"/>
                  </a:lnTo>
                  <a:lnTo>
                    <a:pt x="101647" y="5021959"/>
                  </a:lnTo>
                  <a:lnTo>
                    <a:pt x="148346" y="5010966"/>
                  </a:lnTo>
                  <a:lnTo>
                    <a:pt x="183094" y="5002808"/>
                  </a:lnTo>
                  <a:lnTo>
                    <a:pt x="221351" y="5008327"/>
                  </a:lnTo>
                  <a:lnTo>
                    <a:pt x="255803" y="5000084"/>
                  </a:lnTo>
                  <a:lnTo>
                    <a:pt x="312849" y="4979172"/>
                  </a:lnTo>
                  <a:lnTo>
                    <a:pt x="374781" y="4977642"/>
                  </a:lnTo>
                  <a:lnTo>
                    <a:pt x="429908" y="4952475"/>
                  </a:lnTo>
                  <a:lnTo>
                    <a:pt x="556411" y="4893991"/>
                  </a:lnTo>
                  <a:lnTo>
                    <a:pt x="583570" y="4874437"/>
                  </a:lnTo>
                  <a:lnTo>
                    <a:pt x="673491" y="4821303"/>
                  </a:lnTo>
                  <a:lnTo>
                    <a:pt x="792384" y="4684136"/>
                  </a:lnTo>
                  <a:lnTo>
                    <a:pt x="824370" y="4608347"/>
                  </a:lnTo>
                  <a:lnTo>
                    <a:pt x="845750" y="4557723"/>
                  </a:lnTo>
                  <a:lnTo>
                    <a:pt x="855504" y="4490266"/>
                  </a:lnTo>
                  <a:lnTo>
                    <a:pt x="885577" y="4445123"/>
                  </a:lnTo>
                  <a:lnTo>
                    <a:pt x="962071" y="4330398"/>
                  </a:lnTo>
                  <a:lnTo>
                    <a:pt x="1012522" y="4414476"/>
                  </a:lnTo>
                  <a:lnTo>
                    <a:pt x="1022961" y="4230215"/>
                  </a:lnTo>
                  <a:lnTo>
                    <a:pt x="1044000" y="4220732"/>
                  </a:lnTo>
                  <a:lnTo>
                    <a:pt x="1063659" y="4171302"/>
                  </a:lnTo>
                  <a:lnTo>
                    <a:pt x="1090968" y="4152678"/>
                  </a:lnTo>
                  <a:lnTo>
                    <a:pt x="1134561" y="4122969"/>
                  </a:lnTo>
                  <a:lnTo>
                    <a:pt x="1256507" y="4070987"/>
                  </a:lnTo>
                  <a:lnTo>
                    <a:pt x="1309959" y="4046586"/>
                  </a:lnTo>
                  <a:lnTo>
                    <a:pt x="1341054" y="4032433"/>
                  </a:lnTo>
                  <a:lnTo>
                    <a:pt x="1368554" y="4010117"/>
                  </a:lnTo>
                  <a:lnTo>
                    <a:pt x="1399735" y="3996260"/>
                  </a:lnTo>
                  <a:lnTo>
                    <a:pt x="1473525" y="3963484"/>
                  </a:lnTo>
                  <a:lnTo>
                    <a:pt x="1536691" y="4005098"/>
                  </a:lnTo>
                  <a:lnTo>
                    <a:pt x="1610561" y="4000336"/>
                  </a:lnTo>
                  <a:lnTo>
                    <a:pt x="1669565" y="3996511"/>
                  </a:lnTo>
                  <a:lnTo>
                    <a:pt x="1746073" y="3982780"/>
                  </a:lnTo>
                  <a:lnTo>
                    <a:pt x="1800995" y="3960885"/>
                  </a:lnTo>
                  <a:lnTo>
                    <a:pt x="1822837" y="3952173"/>
                  </a:lnTo>
                  <a:lnTo>
                    <a:pt x="1840650" y="3937724"/>
                  </a:lnTo>
                  <a:lnTo>
                    <a:pt x="1863561" y="3930965"/>
                  </a:lnTo>
                  <a:lnTo>
                    <a:pt x="1907048" y="3918130"/>
                  </a:lnTo>
                  <a:lnTo>
                    <a:pt x="1950719" y="3910560"/>
                  </a:lnTo>
                  <a:lnTo>
                    <a:pt x="1995499" y="3903760"/>
                  </a:lnTo>
                  <a:lnTo>
                    <a:pt x="2067614" y="3892753"/>
                  </a:lnTo>
                  <a:lnTo>
                    <a:pt x="2176067" y="3884932"/>
                  </a:lnTo>
                  <a:lnTo>
                    <a:pt x="2248499" y="3887439"/>
                  </a:lnTo>
                  <a:lnTo>
                    <a:pt x="2324499" y="3890029"/>
                  </a:lnTo>
                  <a:lnTo>
                    <a:pt x="2401646" y="3902487"/>
                  </a:lnTo>
                  <a:lnTo>
                    <a:pt x="2478371" y="3896961"/>
                  </a:lnTo>
                  <a:lnTo>
                    <a:pt x="2513225" y="3894494"/>
                  </a:lnTo>
                  <a:lnTo>
                    <a:pt x="2550229" y="3900998"/>
                  </a:lnTo>
                  <a:lnTo>
                    <a:pt x="2585829" y="3898320"/>
                  </a:lnTo>
                  <a:lnTo>
                    <a:pt x="2668376" y="3892114"/>
                  </a:lnTo>
                  <a:lnTo>
                    <a:pt x="2751664" y="3878594"/>
                  </a:lnTo>
                  <a:lnTo>
                    <a:pt x="2834740" y="3880631"/>
                  </a:lnTo>
                  <a:lnTo>
                    <a:pt x="2866560" y="3881489"/>
                  </a:lnTo>
                  <a:lnTo>
                    <a:pt x="2945772" y="3895345"/>
                  </a:lnTo>
                  <a:lnTo>
                    <a:pt x="2966684" y="3892879"/>
                  </a:lnTo>
                  <a:lnTo>
                    <a:pt x="3048038" y="3883270"/>
                  </a:lnTo>
                  <a:lnTo>
                    <a:pt x="3104894" y="3779216"/>
                  </a:lnTo>
                  <a:lnTo>
                    <a:pt x="3177516" y="3748694"/>
                  </a:lnTo>
                  <a:lnTo>
                    <a:pt x="3250218" y="3718173"/>
                  </a:lnTo>
                  <a:lnTo>
                    <a:pt x="3322585" y="3766038"/>
                  </a:lnTo>
                  <a:lnTo>
                    <a:pt x="3393783" y="3755501"/>
                  </a:lnTo>
                  <a:lnTo>
                    <a:pt x="3459370" y="3745806"/>
                  </a:lnTo>
                  <a:lnTo>
                    <a:pt x="3412506" y="3647449"/>
                  </a:lnTo>
                  <a:lnTo>
                    <a:pt x="3644059" y="3692928"/>
                  </a:lnTo>
                  <a:lnTo>
                    <a:pt x="3695810" y="3705893"/>
                  </a:lnTo>
                  <a:lnTo>
                    <a:pt x="3733190" y="3703427"/>
                  </a:lnTo>
                  <a:lnTo>
                    <a:pt x="3759056" y="3674053"/>
                  </a:lnTo>
                  <a:lnTo>
                    <a:pt x="3782797" y="3664366"/>
                  </a:lnTo>
                  <a:lnTo>
                    <a:pt x="3818416" y="3649824"/>
                  </a:lnTo>
                  <a:lnTo>
                    <a:pt x="3853890" y="3643109"/>
                  </a:lnTo>
                  <a:lnTo>
                    <a:pt x="3891613" y="3637161"/>
                  </a:lnTo>
                  <a:lnTo>
                    <a:pt x="3918494" y="3632994"/>
                  </a:lnTo>
                  <a:lnTo>
                    <a:pt x="3949205" y="3638521"/>
                  </a:lnTo>
                  <a:lnTo>
                    <a:pt x="3973218" y="3638521"/>
                  </a:lnTo>
                  <a:lnTo>
                    <a:pt x="4001338" y="3637161"/>
                  </a:lnTo>
                  <a:lnTo>
                    <a:pt x="4095046" y="3640598"/>
                  </a:lnTo>
                  <a:lnTo>
                    <a:pt x="4121485" y="3645319"/>
                  </a:lnTo>
                  <a:lnTo>
                    <a:pt x="4300497" y="3655436"/>
                  </a:lnTo>
                  <a:lnTo>
                    <a:pt x="4434328" y="3548743"/>
                  </a:lnTo>
                  <a:lnTo>
                    <a:pt x="4494604" y="3504789"/>
                  </a:lnTo>
                  <a:lnTo>
                    <a:pt x="4528733" y="3328730"/>
                  </a:lnTo>
                  <a:lnTo>
                    <a:pt x="4564906" y="3261741"/>
                  </a:lnTo>
                  <a:lnTo>
                    <a:pt x="4607199" y="3183359"/>
                  </a:lnTo>
                  <a:lnTo>
                    <a:pt x="4693916" y="3192289"/>
                  </a:lnTo>
                  <a:lnTo>
                    <a:pt x="4715890" y="3151566"/>
                  </a:lnTo>
                  <a:lnTo>
                    <a:pt x="4738180" y="3110249"/>
                  </a:lnTo>
                  <a:lnTo>
                    <a:pt x="4729212" y="3065325"/>
                  </a:lnTo>
                  <a:lnTo>
                    <a:pt x="4743093" y="3023704"/>
                  </a:lnTo>
                  <a:lnTo>
                    <a:pt x="4758354" y="2977882"/>
                  </a:lnTo>
                  <a:lnTo>
                    <a:pt x="4787425" y="2932278"/>
                  </a:lnTo>
                  <a:lnTo>
                    <a:pt x="4807024" y="2887684"/>
                  </a:lnTo>
                  <a:lnTo>
                    <a:pt x="4824389" y="2848153"/>
                  </a:lnTo>
                  <a:lnTo>
                    <a:pt x="4832739" y="2804713"/>
                  </a:lnTo>
                  <a:lnTo>
                    <a:pt x="4853268" y="2766628"/>
                  </a:lnTo>
                  <a:lnTo>
                    <a:pt x="4865067" y="2744778"/>
                  </a:lnTo>
                  <a:lnTo>
                    <a:pt x="4887292" y="2722085"/>
                  </a:lnTo>
                  <a:lnTo>
                    <a:pt x="4891354" y="2697262"/>
                  </a:lnTo>
                  <a:lnTo>
                    <a:pt x="4896861" y="2663464"/>
                  </a:lnTo>
                  <a:lnTo>
                    <a:pt x="4869169" y="2639241"/>
                  </a:lnTo>
                  <a:lnTo>
                    <a:pt x="4866873" y="2607486"/>
                  </a:lnTo>
                  <a:lnTo>
                    <a:pt x="4872994" y="2581430"/>
                  </a:lnTo>
                  <a:lnTo>
                    <a:pt x="4928080" y="2586910"/>
                  </a:lnTo>
                  <a:lnTo>
                    <a:pt x="5010286" y="2582405"/>
                  </a:lnTo>
                  <a:lnTo>
                    <a:pt x="5043697" y="2528591"/>
                  </a:lnTo>
                  <a:lnTo>
                    <a:pt x="5090883" y="2534968"/>
                  </a:lnTo>
                  <a:lnTo>
                    <a:pt x="5102397" y="2569525"/>
                  </a:lnTo>
                  <a:lnTo>
                    <a:pt x="5144354" y="2557154"/>
                  </a:lnTo>
                  <a:lnTo>
                    <a:pt x="5167983" y="2550182"/>
                  </a:lnTo>
                  <a:lnTo>
                    <a:pt x="5178997" y="2520130"/>
                  </a:lnTo>
                  <a:lnTo>
                    <a:pt x="5214023" y="2517749"/>
                  </a:lnTo>
                  <a:lnTo>
                    <a:pt x="5247261" y="2527108"/>
                  </a:lnTo>
                  <a:lnTo>
                    <a:pt x="5280690" y="2498537"/>
                  </a:lnTo>
                  <a:lnTo>
                    <a:pt x="5295740" y="2444296"/>
                  </a:lnTo>
                  <a:lnTo>
                    <a:pt x="5334783" y="2457861"/>
                  </a:lnTo>
                  <a:lnTo>
                    <a:pt x="5378671" y="2383385"/>
                  </a:lnTo>
                  <a:lnTo>
                    <a:pt x="5414626" y="2413523"/>
                  </a:lnTo>
                  <a:lnTo>
                    <a:pt x="5464003" y="2418411"/>
                  </a:lnTo>
                  <a:lnTo>
                    <a:pt x="5495222" y="2418806"/>
                  </a:lnTo>
                  <a:lnTo>
                    <a:pt x="5543043" y="2426739"/>
                  </a:lnTo>
                  <a:lnTo>
                    <a:pt x="5600721" y="2461983"/>
                  </a:lnTo>
                  <a:lnTo>
                    <a:pt x="5628374" y="2459687"/>
                  </a:lnTo>
                  <a:lnTo>
                    <a:pt x="5755484" y="2377350"/>
                  </a:lnTo>
                  <a:lnTo>
                    <a:pt x="5780036" y="2341902"/>
                  </a:lnTo>
                  <a:lnTo>
                    <a:pt x="5782734" y="2307938"/>
                  </a:lnTo>
                  <a:lnTo>
                    <a:pt x="5799967" y="2281031"/>
                  </a:lnTo>
                  <a:lnTo>
                    <a:pt x="5834609" y="2263774"/>
                  </a:lnTo>
                  <a:lnTo>
                    <a:pt x="5864088" y="2281031"/>
                  </a:lnTo>
                  <a:lnTo>
                    <a:pt x="5878861" y="2312318"/>
                  </a:lnTo>
                  <a:lnTo>
                    <a:pt x="5907298" y="2306706"/>
                  </a:lnTo>
                  <a:lnTo>
                    <a:pt x="5948998" y="2240355"/>
                  </a:lnTo>
                  <a:lnTo>
                    <a:pt x="5969719" y="2200726"/>
                  </a:lnTo>
                  <a:lnTo>
                    <a:pt x="5984769" y="2182510"/>
                  </a:lnTo>
                  <a:lnTo>
                    <a:pt x="5989042" y="2147729"/>
                  </a:lnTo>
                  <a:lnTo>
                    <a:pt x="6001514" y="2083205"/>
                  </a:lnTo>
                  <a:lnTo>
                    <a:pt x="6020131" y="2012138"/>
                  </a:lnTo>
                  <a:lnTo>
                    <a:pt x="6034817" y="1959729"/>
                  </a:lnTo>
                  <a:lnTo>
                    <a:pt x="6085611" y="1939620"/>
                  </a:lnTo>
                  <a:lnTo>
                    <a:pt x="6111438" y="1929464"/>
                  </a:lnTo>
                  <a:lnTo>
                    <a:pt x="6160280" y="1939488"/>
                  </a:lnTo>
                  <a:lnTo>
                    <a:pt x="6174029" y="1912417"/>
                  </a:lnTo>
                  <a:lnTo>
                    <a:pt x="6175962" y="1866852"/>
                  </a:lnTo>
                  <a:lnTo>
                    <a:pt x="6175922" y="1760542"/>
                  </a:lnTo>
                  <a:lnTo>
                    <a:pt x="6224355" y="1739669"/>
                  </a:lnTo>
                  <a:lnTo>
                    <a:pt x="6305756" y="1772486"/>
                  </a:lnTo>
                  <a:lnTo>
                    <a:pt x="6314296" y="2024128"/>
                  </a:lnTo>
                  <a:lnTo>
                    <a:pt x="6501835" y="2010350"/>
                  </a:lnTo>
                  <a:lnTo>
                    <a:pt x="6543020" y="2004442"/>
                  </a:lnTo>
                  <a:lnTo>
                    <a:pt x="6577789" y="1998828"/>
                  </a:lnTo>
                  <a:lnTo>
                    <a:pt x="6598411" y="1962742"/>
                  </a:lnTo>
                  <a:lnTo>
                    <a:pt x="6620360" y="1924320"/>
                  </a:lnTo>
                  <a:lnTo>
                    <a:pt x="6581727" y="1716204"/>
                  </a:lnTo>
                  <a:lnTo>
                    <a:pt x="6567126" y="1667580"/>
                  </a:lnTo>
                  <a:lnTo>
                    <a:pt x="6555440" y="1628769"/>
                  </a:lnTo>
                  <a:lnTo>
                    <a:pt x="6524640" y="1587841"/>
                  </a:lnTo>
                  <a:lnTo>
                    <a:pt x="6534480" y="1545158"/>
                  </a:lnTo>
                  <a:lnTo>
                    <a:pt x="6559409" y="1514176"/>
                  </a:lnTo>
                  <a:lnTo>
                    <a:pt x="6648309" y="1562847"/>
                  </a:lnTo>
                  <a:lnTo>
                    <a:pt x="6689540" y="1558764"/>
                  </a:lnTo>
                  <a:lnTo>
                    <a:pt x="6713091" y="1518298"/>
                  </a:lnTo>
                  <a:lnTo>
                    <a:pt x="6727902" y="1437239"/>
                  </a:lnTo>
                  <a:lnTo>
                    <a:pt x="6753471" y="1422744"/>
                  </a:lnTo>
                  <a:lnTo>
                    <a:pt x="6898672" y="1549881"/>
                  </a:lnTo>
                  <a:lnTo>
                    <a:pt x="6924853" y="1568287"/>
                  </a:lnTo>
                  <a:lnTo>
                    <a:pt x="6990254" y="1614280"/>
                  </a:lnTo>
                  <a:lnTo>
                    <a:pt x="7062066" y="1636934"/>
                  </a:lnTo>
                  <a:lnTo>
                    <a:pt x="7137051" y="1659423"/>
                  </a:lnTo>
                  <a:lnTo>
                    <a:pt x="7172543" y="1670047"/>
                  </a:lnTo>
                  <a:lnTo>
                    <a:pt x="7218596" y="1679056"/>
                  </a:lnTo>
                  <a:lnTo>
                    <a:pt x="7251307" y="1653981"/>
                  </a:lnTo>
                  <a:lnTo>
                    <a:pt x="7308840" y="1541091"/>
                  </a:lnTo>
                  <a:lnTo>
                    <a:pt x="7356337" y="1642084"/>
                  </a:lnTo>
                  <a:lnTo>
                    <a:pt x="7439011" y="1632224"/>
                  </a:lnTo>
                  <a:lnTo>
                    <a:pt x="7444728" y="1589807"/>
                  </a:lnTo>
                  <a:lnTo>
                    <a:pt x="7435040" y="1558731"/>
                  </a:lnTo>
                  <a:lnTo>
                    <a:pt x="7425413" y="1534291"/>
                  </a:lnTo>
                  <a:lnTo>
                    <a:pt x="7411834" y="1505643"/>
                  </a:lnTo>
                  <a:lnTo>
                    <a:pt x="7411279" y="1438822"/>
                  </a:lnTo>
                  <a:lnTo>
                    <a:pt x="7436295" y="1415952"/>
                  </a:lnTo>
                  <a:lnTo>
                    <a:pt x="7462733" y="1410933"/>
                  </a:lnTo>
                  <a:lnTo>
                    <a:pt x="7501049" y="1419479"/>
                  </a:lnTo>
                  <a:lnTo>
                    <a:pt x="7566597" y="1469602"/>
                  </a:lnTo>
                  <a:lnTo>
                    <a:pt x="7599517" y="1485330"/>
                  </a:lnTo>
                  <a:lnTo>
                    <a:pt x="7629545" y="1499654"/>
                  </a:lnTo>
                  <a:lnTo>
                    <a:pt x="7663640" y="1506624"/>
                  </a:lnTo>
                  <a:lnTo>
                    <a:pt x="7693370" y="1520692"/>
                  </a:lnTo>
                  <a:lnTo>
                    <a:pt x="7775193" y="1559418"/>
                  </a:lnTo>
                  <a:lnTo>
                    <a:pt x="7861125" y="1592999"/>
                  </a:lnTo>
                  <a:lnTo>
                    <a:pt x="7951810" y="1605028"/>
                  </a:lnTo>
                  <a:lnTo>
                    <a:pt x="8040710" y="1609446"/>
                  </a:lnTo>
                  <a:lnTo>
                    <a:pt x="8073691" y="1634395"/>
                  </a:lnTo>
                  <a:lnTo>
                    <a:pt x="8159920" y="1594146"/>
                  </a:lnTo>
                  <a:lnTo>
                    <a:pt x="8189083" y="1580541"/>
                  </a:lnTo>
                  <a:lnTo>
                    <a:pt x="8216069" y="1559503"/>
                  </a:lnTo>
                  <a:lnTo>
                    <a:pt x="8234733" y="1532939"/>
                  </a:lnTo>
                  <a:lnTo>
                    <a:pt x="8252625" y="1507429"/>
                  </a:lnTo>
                  <a:lnTo>
                    <a:pt x="8260829" y="1476236"/>
                  </a:lnTo>
                  <a:lnTo>
                    <a:pt x="8278259" y="1451321"/>
                  </a:lnTo>
                  <a:lnTo>
                    <a:pt x="8308372" y="1408433"/>
                  </a:lnTo>
                  <a:lnTo>
                    <a:pt x="8349622" y="1374259"/>
                  </a:lnTo>
                  <a:lnTo>
                    <a:pt x="8374828" y="1327547"/>
                  </a:lnTo>
                  <a:lnTo>
                    <a:pt x="8450617" y="1203471"/>
                  </a:lnTo>
                  <a:lnTo>
                    <a:pt x="8468469" y="1215585"/>
                  </a:lnTo>
                  <a:lnTo>
                    <a:pt x="8599259" y="1232330"/>
                  </a:lnTo>
                  <a:lnTo>
                    <a:pt x="8620534" y="1235094"/>
                  </a:lnTo>
                  <a:lnTo>
                    <a:pt x="8705227" y="1263142"/>
                  </a:lnTo>
                  <a:lnTo>
                    <a:pt x="8668480" y="1321586"/>
                  </a:lnTo>
                  <a:lnTo>
                    <a:pt x="8710792" y="1361543"/>
                  </a:lnTo>
                  <a:lnTo>
                    <a:pt x="8732555" y="1361543"/>
                  </a:lnTo>
                  <a:lnTo>
                    <a:pt x="8780144" y="1329961"/>
                  </a:lnTo>
                  <a:lnTo>
                    <a:pt x="8821903" y="1242994"/>
                  </a:lnTo>
                  <a:lnTo>
                    <a:pt x="8903943" y="1211918"/>
                  </a:lnTo>
                  <a:lnTo>
                    <a:pt x="8930171" y="1204782"/>
                  </a:lnTo>
                  <a:lnTo>
                    <a:pt x="8962302" y="1169758"/>
                  </a:lnTo>
                  <a:lnTo>
                    <a:pt x="8985555" y="1154793"/>
                  </a:lnTo>
                  <a:lnTo>
                    <a:pt x="9014203" y="1136301"/>
                  </a:lnTo>
                  <a:lnTo>
                    <a:pt x="9052520" y="1134627"/>
                  </a:lnTo>
                  <a:lnTo>
                    <a:pt x="9082131" y="1118067"/>
                  </a:lnTo>
                  <a:lnTo>
                    <a:pt x="9067173" y="1101758"/>
                  </a:lnTo>
                  <a:lnTo>
                    <a:pt x="9046973" y="1095347"/>
                  </a:lnTo>
                  <a:lnTo>
                    <a:pt x="9016842" y="1071829"/>
                  </a:lnTo>
                  <a:lnTo>
                    <a:pt x="8997677" y="1047442"/>
                  </a:lnTo>
                  <a:lnTo>
                    <a:pt x="8981447" y="980886"/>
                  </a:lnTo>
                  <a:lnTo>
                    <a:pt x="8967874" y="912689"/>
                  </a:lnTo>
                  <a:lnTo>
                    <a:pt x="8954309" y="844483"/>
                  </a:lnTo>
                  <a:lnTo>
                    <a:pt x="8943395" y="775257"/>
                  </a:lnTo>
                  <a:lnTo>
                    <a:pt x="8937953" y="745382"/>
                  </a:lnTo>
                  <a:lnTo>
                    <a:pt x="8934175" y="724641"/>
                  </a:lnTo>
                  <a:lnTo>
                    <a:pt x="8930171" y="702660"/>
                  </a:lnTo>
                  <a:lnTo>
                    <a:pt x="8924348" y="681458"/>
                  </a:lnTo>
                  <a:lnTo>
                    <a:pt x="8918525" y="660248"/>
                  </a:lnTo>
                  <a:lnTo>
                    <a:pt x="8911330" y="638854"/>
                  </a:lnTo>
                  <a:lnTo>
                    <a:pt x="8897336" y="592446"/>
                  </a:lnTo>
                  <a:lnTo>
                    <a:pt x="8890998" y="562051"/>
                  </a:lnTo>
                  <a:lnTo>
                    <a:pt x="8882186" y="531833"/>
                  </a:lnTo>
                  <a:lnTo>
                    <a:pt x="8873370" y="501614"/>
                  </a:lnTo>
                  <a:lnTo>
                    <a:pt x="8861987" y="472393"/>
                  </a:lnTo>
                  <a:lnTo>
                    <a:pt x="8846818" y="448863"/>
                  </a:lnTo>
                  <a:lnTo>
                    <a:pt x="8823843" y="420768"/>
                  </a:lnTo>
                  <a:lnTo>
                    <a:pt x="8796348" y="400779"/>
                  </a:lnTo>
                  <a:lnTo>
                    <a:pt x="8767930" y="380848"/>
                  </a:lnTo>
                  <a:lnTo>
                    <a:pt x="8741986" y="360939"/>
                  </a:lnTo>
                  <a:lnTo>
                    <a:pt x="8707831" y="331163"/>
                  </a:lnTo>
                  <a:lnTo>
                    <a:pt x="8671354" y="306043"/>
                  </a:lnTo>
                  <a:lnTo>
                    <a:pt x="8653113" y="293480"/>
                  </a:lnTo>
                  <a:lnTo>
                    <a:pt x="8634370" y="281160"/>
                  </a:lnTo>
                  <a:lnTo>
                    <a:pt x="8596799" y="265629"/>
                  </a:lnTo>
                  <a:lnTo>
                    <a:pt x="8559815" y="262516"/>
                  </a:lnTo>
                  <a:lnTo>
                    <a:pt x="8531167" y="273985"/>
                  </a:lnTo>
                  <a:lnTo>
                    <a:pt x="8512299" y="291850"/>
                  </a:lnTo>
                  <a:lnTo>
                    <a:pt x="8499966" y="314201"/>
                  </a:lnTo>
                  <a:lnTo>
                    <a:pt x="8488815" y="338094"/>
                  </a:lnTo>
                  <a:lnTo>
                    <a:pt x="8483156" y="366730"/>
                  </a:lnTo>
                  <a:lnTo>
                    <a:pt x="8470046" y="390372"/>
                  </a:lnTo>
                  <a:lnTo>
                    <a:pt x="8451270" y="404214"/>
                  </a:lnTo>
                  <a:lnTo>
                    <a:pt x="8419712" y="416217"/>
                  </a:lnTo>
                  <a:lnTo>
                    <a:pt x="8392945" y="420622"/>
                  </a:lnTo>
                  <a:lnTo>
                    <a:pt x="8359007" y="411488"/>
                  </a:lnTo>
                  <a:lnTo>
                    <a:pt x="8341292" y="393880"/>
                  </a:lnTo>
                  <a:lnTo>
                    <a:pt x="8323143" y="372684"/>
                  </a:lnTo>
                  <a:lnTo>
                    <a:pt x="8304995" y="351495"/>
                  </a:lnTo>
                  <a:lnTo>
                    <a:pt x="8286060" y="326402"/>
                  </a:lnTo>
                  <a:lnTo>
                    <a:pt x="8261936" y="308760"/>
                  </a:lnTo>
                  <a:lnTo>
                    <a:pt x="8236644" y="292793"/>
                  </a:lnTo>
                  <a:lnTo>
                    <a:pt x="8205609" y="283918"/>
                  </a:lnTo>
                  <a:lnTo>
                    <a:pt x="8168078" y="284279"/>
                  </a:lnTo>
                  <a:lnTo>
                    <a:pt x="8135559" y="291824"/>
                  </a:lnTo>
                  <a:lnTo>
                    <a:pt x="8105387" y="306662"/>
                  </a:lnTo>
                  <a:lnTo>
                    <a:pt x="8079666" y="329164"/>
                  </a:lnTo>
                  <a:lnTo>
                    <a:pt x="8071719" y="351614"/>
                  </a:lnTo>
                  <a:lnTo>
                    <a:pt x="8079449" y="374729"/>
                  </a:lnTo>
                  <a:lnTo>
                    <a:pt x="8095995" y="394454"/>
                  </a:lnTo>
                  <a:lnTo>
                    <a:pt x="8121168" y="394652"/>
                  </a:lnTo>
                  <a:lnTo>
                    <a:pt x="8154485" y="403977"/>
                  </a:lnTo>
                  <a:lnTo>
                    <a:pt x="8177845" y="420418"/>
                  </a:lnTo>
                  <a:lnTo>
                    <a:pt x="8193455" y="456789"/>
                  </a:lnTo>
                  <a:lnTo>
                    <a:pt x="8188199" y="491538"/>
                  </a:lnTo>
                  <a:lnTo>
                    <a:pt x="8172166" y="537273"/>
                  </a:lnTo>
                  <a:lnTo>
                    <a:pt x="8151412" y="559188"/>
                  </a:lnTo>
                  <a:lnTo>
                    <a:pt x="8122191" y="577937"/>
                  </a:lnTo>
                  <a:lnTo>
                    <a:pt x="8095995" y="590322"/>
                  </a:lnTo>
                  <a:lnTo>
                    <a:pt x="8074575" y="592809"/>
                  </a:lnTo>
                  <a:lnTo>
                    <a:pt x="8048625" y="585219"/>
                  </a:lnTo>
                  <a:lnTo>
                    <a:pt x="7993920" y="564972"/>
                  </a:lnTo>
                  <a:lnTo>
                    <a:pt x="7964763" y="552937"/>
                  </a:lnTo>
                  <a:lnTo>
                    <a:pt x="7934129" y="530475"/>
                  </a:lnTo>
                  <a:lnTo>
                    <a:pt x="7914517" y="516091"/>
                  </a:lnTo>
                  <a:lnTo>
                    <a:pt x="7890603" y="495112"/>
                  </a:lnTo>
                  <a:lnTo>
                    <a:pt x="7861883" y="483702"/>
                  </a:lnTo>
                  <a:lnTo>
                    <a:pt x="7834838" y="488307"/>
                  </a:lnTo>
                  <a:lnTo>
                    <a:pt x="7812593" y="492099"/>
                  </a:lnTo>
                  <a:lnTo>
                    <a:pt x="7783146" y="515517"/>
                  </a:lnTo>
                  <a:lnTo>
                    <a:pt x="7759701" y="545781"/>
                  </a:lnTo>
                  <a:lnTo>
                    <a:pt x="7738585" y="577740"/>
                  </a:lnTo>
                  <a:lnTo>
                    <a:pt x="7713782" y="603928"/>
                  </a:lnTo>
                  <a:lnTo>
                    <a:pt x="7681624" y="622162"/>
                  </a:lnTo>
                  <a:lnTo>
                    <a:pt x="7658008" y="621609"/>
                  </a:lnTo>
                  <a:lnTo>
                    <a:pt x="7608639" y="620455"/>
                  </a:lnTo>
                  <a:lnTo>
                    <a:pt x="7557738" y="614552"/>
                  </a:lnTo>
                  <a:lnTo>
                    <a:pt x="7508389" y="610727"/>
                  </a:lnTo>
                  <a:lnTo>
                    <a:pt x="7474130" y="591767"/>
                  </a:lnTo>
                  <a:lnTo>
                    <a:pt x="7434481" y="588206"/>
                  </a:lnTo>
                  <a:lnTo>
                    <a:pt x="7410264" y="594682"/>
                  </a:lnTo>
                  <a:lnTo>
                    <a:pt x="7385969" y="599846"/>
                  </a:lnTo>
                  <a:lnTo>
                    <a:pt x="7361679" y="605010"/>
                  </a:lnTo>
                  <a:lnTo>
                    <a:pt x="7337950" y="608281"/>
                  </a:lnTo>
                  <a:lnTo>
                    <a:pt x="7316603" y="598488"/>
                  </a:lnTo>
                  <a:lnTo>
                    <a:pt x="7295691" y="588891"/>
                  </a:lnTo>
                  <a:lnTo>
                    <a:pt x="7283425" y="564135"/>
                  </a:lnTo>
                  <a:lnTo>
                    <a:pt x="7271711" y="541362"/>
                  </a:lnTo>
                  <a:lnTo>
                    <a:pt x="7259998" y="518584"/>
                  </a:lnTo>
                  <a:lnTo>
                    <a:pt x="7247647" y="498067"/>
                  </a:lnTo>
                  <a:lnTo>
                    <a:pt x="7226827" y="495112"/>
                  </a:lnTo>
                  <a:lnTo>
                    <a:pt x="7178796" y="518999"/>
                  </a:lnTo>
                  <a:lnTo>
                    <a:pt x="7139603" y="530414"/>
                  </a:lnTo>
                  <a:lnTo>
                    <a:pt x="7109853" y="516875"/>
                  </a:lnTo>
                  <a:lnTo>
                    <a:pt x="7076772" y="507972"/>
                  </a:lnTo>
                  <a:lnTo>
                    <a:pt x="7044564" y="518234"/>
                  </a:lnTo>
                  <a:lnTo>
                    <a:pt x="7021291" y="536983"/>
                  </a:lnTo>
                  <a:lnTo>
                    <a:pt x="7002996" y="561450"/>
                  </a:lnTo>
                  <a:lnTo>
                    <a:pt x="6987432" y="587606"/>
                  </a:lnTo>
                  <a:lnTo>
                    <a:pt x="6971867" y="613755"/>
                  </a:lnTo>
                  <a:lnTo>
                    <a:pt x="6959021" y="642271"/>
                  </a:lnTo>
                  <a:lnTo>
                    <a:pt x="6945270" y="667859"/>
                  </a:lnTo>
                  <a:lnTo>
                    <a:pt x="6933888" y="686067"/>
                  </a:lnTo>
                  <a:lnTo>
                    <a:pt x="6914460" y="707053"/>
                  </a:lnTo>
                  <a:lnTo>
                    <a:pt x="6892148" y="723895"/>
                  </a:lnTo>
                  <a:lnTo>
                    <a:pt x="6868314" y="733887"/>
                  </a:lnTo>
                  <a:lnTo>
                    <a:pt x="6841605" y="739730"/>
                  </a:lnTo>
                  <a:lnTo>
                    <a:pt x="6813373" y="738735"/>
                  </a:lnTo>
                  <a:lnTo>
                    <a:pt x="6784975" y="733591"/>
                  </a:lnTo>
                  <a:lnTo>
                    <a:pt x="6755066" y="722953"/>
                  </a:lnTo>
                  <a:lnTo>
                    <a:pt x="6734438" y="708654"/>
                  </a:lnTo>
                  <a:lnTo>
                    <a:pt x="6719475" y="690973"/>
                  </a:lnTo>
                  <a:lnTo>
                    <a:pt x="6700428" y="667846"/>
                  </a:lnTo>
                  <a:lnTo>
                    <a:pt x="6687951" y="649881"/>
                  </a:lnTo>
                  <a:lnTo>
                    <a:pt x="6674826" y="631410"/>
                  </a:lnTo>
                  <a:lnTo>
                    <a:pt x="6662342" y="613437"/>
                  </a:lnTo>
                  <a:lnTo>
                    <a:pt x="6649707" y="595474"/>
                  </a:lnTo>
                  <a:lnTo>
                    <a:pt x="6635844" y="573057"/>
                  </a:lnTo>
                  <a:lnTo>
                    <a:pt x="6625622" y="553590"/>
                  </a:lnTo>
                  <a:lnTo>
                    <a:pt x="6623030" y="529135"/>
                  </a:lnTo>
                  <a:lnTo>
                    <a:pt x="6629705" y="507346"/>
                  </a:lnTo>
                  <a:lnTo>
                    <a:pt x="6638937" y="483578"/>
                  </a:lnTo>
                  <a:lnTo>
                    <a:pt x="6648295" y="457726"/>
                  </a:lnTo>
                  <a:lnTo>
                    <a:pt x="6654178" y="433891"/>
                  </a:lnTo>
                  <a:lnTo>
                    <a:pt x="6652101" y="410513"/>
                  </a:lnTo>
                  <a:lnTo>
                    <a:pt x="6640309" y="391480"/>
                  </a:lnTo>
                  <a:lnTo>
                    <a:pt x="6619799" y="375217"/>
                  </a:lnTo>
                  <a:lnTo>
                    <a:pt x="6599619" y="366973"/>
                  </a:lnTo>
                  <a:lnTo>
                    <a:pt x="6578008" y="363175"/>
                  </a:lnTo>
                  <a:lnTo>
                    <a:pt x="6556178" y="365246"/>
                  </a:lnTo>
                  <a:lnTo>
                    <a:pt x="6535951" y="373627"/>
                  </a:lnTo>
                  <a:lnTo>
                    <a:pt x="6516417" y="393478"/>
                  </a:lnTo>
                  <a:lnTo>
                    <a:pt x="6507046" y="419508"/>
                  </a:lnTo>
                  <a:lnTo>
                    <a:pt x="6503761" y="447643"/>
                  </a:lnTo>
                  <a:lnTo>
                    <a:pt x="6505153" y="477879"/>
                  </a:lnTo>
                  <a:lnTo>
                    <a:pt x="6508609" y="507504"/>
                  </a:lnTo>
                  <a:lnTo>
                    <a:pt x="6512672" y="533791"/>
                  </a:lnTo>
                  <a:lnTo>
                    <a:pt x="6514663" y="556735"/>
                  </a:lnTo>
                  <a:lnTo>
                    <a:pt x="6509361" y="595855"/>
                  </a:lnTo>
                  <a:lnTo>
                    <a:pt x="6502488" y="630024"/>
                  </a:lnTo>
                  <a:lnTo>
                    <a:pt x="6488224" y="655613"/>
                  </a:lnTo>
                  <a:lnTo>
                    <a:pt x="6472924" y="678951"/>
                  </a:lnTo>
                  <a:lnTo>
                    <a:pt x="6449116" y="692114"/>
                  </a:lnTo>
                  <a:lnTo>
                    <a:pt x="6416135" y="690973"/>
                  </a:lnTo>
                  <a:lnTo>
                    <a:pt x="6400927" y="665775"/>
                  </a:lnTo>
                  <a:lnTo>
                    <a:pt x="6395974" y="626404"/>
                  </a:lnTo>
                  <a:lnTo>
                    <a:pt x="6394668" y="603822"/>
                  </a:lnTo>
                  <a:lnTo>
                    <a:pt x="6391648" y="579441"/>
                  </a:lnTo>
                  <a:lnTo>
                    <a:pt x="6388635" y="555053"/>
                  </a:lnTo>
                  <a:lnTo>
                    <a:pt x="6383418" y="528971"/>
                  </a:lnTo>
                  <a:lnTo>
                    <a:pt x="6371250" y="505988"/>
                  </a:lnTo>
                  <a:lnTo>
                    <a:pt x="6359075" y="483003"/>
                  </a:lnTo>
                  <a:lnTo>
                    <a:pt x="6339997" y="462975"/>
                  </a:lnTo>
                  <a:lnTo>
                    <a:pt x="6310036" y="447497"/>
                  </a:lnTo>
                  <a:lnTo>
                    <a:pt x="6271950" y="448855"/>
                  </a:lnTo>
                  <a:lnTo>
                    <a:pt x="6257838" y="472636"/>
                  </a:lnTo>
                  <a:lnTo>
                    <a:pt x="6256010" y="509178"/>
                  </a:lnTo>
                  <a:lnTo>
                    <a:pt x="6279984" y="541251"/>
                  </a:lnTo>
                  <a:lnTo>
                    <a:pt x="6297426" y="562254"/>
                  </a:lnTo>
                  <a:lnTo>
                    <a:pt x="6312754" y="582158"/>
                  </a:lnTo>
                  <a:lnTo>
                    <a:pt x="6328086" y="602061"/>
                  </a:lnTo>
                  <a:lnTo>
                    <a:pt x="6341943" y="621635"/>
                  </a:lnTo>
                  <a:lnTo>
                    <a:pt x="6357018" y="659654"/>
                  </a:lnTo>
                  <a:lnTo>
                    <a:pt x="6350838" y="696415"/>
                  </a:lnTo>
                  <a:lnTo>
                    <a:pt x="6327975" y="735081"/>
                  </a:lnTo>
                  <a:lnTo>
                    <a:pt x="6299149" y="754898"/>
                  </a:lnTo>
                  <a:lnTo>
                    <a:pt x="6277392" y="767145"/>
                  </a:lnTo>
                  <a:lnTo>
                    <a:pt x="6252905" y="772585"/>
                  </a:lnTo>
                  <a:lnTo>
                    <a:pt x="6229782" y="772585"/>
                  </a:lnTo>
                  <a:lnTo>
                    <a:pt x="6205295" y="765780"/>
                  </a:lnTo>
                  <a:lnTo>
                    <a:pt x="6173159" y="742652"/>
                  </a:lnTo>
                  <a:lnTo>
                    <a:pt x="6150387" y="712744"/>
                  </a:lnTo>
                  <a:lnTo>
                    <a:pt x="6129125" y="680092"/>
                  </a:lnTo>
                  <a:lnTo>
                    <a:pt x="6103953" y="650601"/>
                  </a:lnTo>
                  <a:lnTo>
                    <a:pt x="6084239" y="639284"/>
                  </a:lnTo>
                  <a:lnTo>
                    <a:pt x="6064527" y="627973"/>
                  </a:lnTo>
                  <a:lnTo>
                    <a:pt x="6039282" y="619782"/>
                  </a:lnTo>
                  <a:lnTo>
                    <a:pt x="6003987" y="617521"/>
                  </a:lnTo>
                  <a:lnTo>
                    <a:pt x="5974066" y="620237"/>
                  </a:lnTo>
                  <a:lnTo>
                    <a:pt x="5948220" y="631118"/>
                  </a:lnTo>
                  <a:lnTo>
                    <a:pt x="5925099" y="650165"/>
                  </a:lnTo>
                  <a:lnTo>
                    <a:pt x="5906052" y="673286"/>
                  </a:lnTo>
                  <a:lnTo>
                    <a:pt x="5904694" y="700491"/>
                  </a:lnTo>
                  <a:lnTo>
                    <a:pt x="5906151" y="722564"/>
                  </a:lnTo>
                  <a:lnTo>
                    <a:pt x="5911394" y="743707"/>
                  </a:lnTo>
                  <a:lnTo>
                    <a:pt x="5927354" y="767251"/>
                  </a:lnTo>
                  <a:lnTo>
                    <a:pt x="5986411" y="769869"/>
                  </a:lnTo>
                  <a:lnTo>
                    <a:pt x="6012513" y="768023"/>
                  </a:lnTo>
                  <a:lnTo>
                    <a:pt x="6049860" y="768966"/>
                  </a:lnTo>
                  <a:lnTo>
                    <a:pt x="6071993" y="776669"/>
                  </a:lnTo>
                  <a:lnTo>
                    <a:pt x="6090710" y="791045"/>
                  </a:lnTo>
                  <a:lnTo>
                    <a:pt x="6118566" y="816693"/>
                  </a:lnTo>
                  <a:lnTo>
                    <a:pt x="6137151" y="833576"/>
                  </a:lnTo>
                  <a:lnTo>
                    <a:pt x="6167211" y="856915"/>
                  </a:lnTo>
                  <a:lnTo>
                    <a:pt x="6198490" y="878038"/>
                  </a:lnTo>
                  <a:lnTo>
                    <a:pt x="6216177" y="893642"/>
                  </a:lnTo>
                  <a:lnTo>
                    <a:pt x="6233866" y="909245"/>
                  </a:lnTo>
                  <a:lnTo>
                    <a:pt x="6248756" y="927698"/>
                  </a:lnTo>
                  <a:lnTo>
                    <a:pt x="6249786" y="953912"/>
                  </a:lnTo>
                  <a:lnTo>
                    <a:pt x="6235218" y="969814"/>
                  </a:lnTo>
                  <a:lnTo>
                    <a:pt x="6213507" y="987039"/>
                  </a:lnTo>
                  <a:lnTo>
                    <a:pt x="6186045" y="993845"/>
                  </a:lnTo>
                  <a:lnTo>
                    <a:pt x="6157258" y="989360"/>
                  </a:lnTo>
                  <a:lnTo>
                    <a:pt x="6136352" y="985628"/>
                  </a:lnTo>
                  <a:lnTo>
                    <a:pt x="6111444" y="984777"/>
                  </a:lnTo>
                  <a:lnTo>
                    <a:pt x="6076438" y="994597"/>
                  </a:lnTo>
                  <a:lnTo>
                    <a:pt x="6055670" y="990217"/>
                  </a:lnTo>
                  <a:lnTo>
                    <a:pt x="6033518" y="985541"/>
                  </a:lnTo>
                  <a:lnTo>
                    <a:pt x="6018792" y="968851"/>
                  </a:lnTo>
                  <a:lnTo>
                    <a:pt x="6003987" y="950767"/>
                  </a:lnTo>
                  <a:lnTo>
                    <a:pt x="5989181" y="932690"/>
                  </a:lnTo>
                  <a:lnTo>
                    <a:pt x="5974488" y="912425"/>
                  </a:lnTo>
                  <a:lnTo>
                    <a:pt x="5953655" y="901799"/>
                  </a:lnTo>
                  <a:lnTo>
                    <a:pt x="5920356" y="900020"/>
                  </a:lnTo>
                  <a:lnTo>
                    <a:pt x="5890324" y="912326"/>
                  </a:lnTo>
                  <a:lnTo>
                    <a:pt x="5874767" y="927646"/>
                  </a:lnTo>
                  <a:lnTo>
                    <a:pt x="5867967" y="953485"/>
                  </a:lnTo>
                  <a:lnTo>
                    <a:pt x="5877483" y="982047"/>
                  </a:lnTo>
                  <a:lnTo>
                    <a:pt x="5889335" y="1003559"/>
                  </a:lnTo>
                  <a:lnTo>
                    <a:pt x="5900050" y="1024010"/>
                  </a:lnTo>
                  <a:lnTo>
                    <a:pt x="5910127" y="1043260"/>
                  </a:lnTo>
                  <a:lnTo>
                    <a:pt x="5922375" y="1070465"/>
                  </a:lnTo>
                  <a:lnTo>
                    <a:pt x="5934614" y="1099028"/>
                  </a:lnTo>
                  <a:lnTo>
                    <a:pt x="5938690" y="1119662"/>
                  </a:lnTo>
                  <a:lnTo>
                    <a:pt x="5942535" y="1149629"/>
                  </a:lnTo>
                  <a:lnTo>
                    <a:pt x="5922375" y="1176556"/>
                  </a:lnTo>
                  <a:lnTo>
                    <a:pt x="5891563" y="1195721"/>
                  </a:lnTo>
                  <a:lnTo>
                    <a:pt x="5870683" y="1199685"/>
                  </a:lnTo>
                  <a:lnTo>
                    <a:pt x="5849812" y="1203649"/>
                  </a:lnTo>
                  <a:lnTo>
                    <a:pt x="5826385" y="1204638"/>
                  </a:lnTo>
                  <a:lnTo>
                    <a:pt x="5805394" y="1201043"/>
                  </a:lnTo>
                  <a:lnTo>
                    <a:pt x="5784409" y="1197449"/>
                  </a:lnTo>
                  <a:lnTo>
                    <a:pt x="5752351" y="1177916"/>
                  </a:lnTo>
                  <a:lnTo>
                    <a:pt x="5734862" y="1163465"/>
                  </a:lnTo>
                  <a:lnTo>
                    <a:pt x="5708819" y="1134390"/>
                  </a:lnTo>
                  <a:lnTo>
                    <a:pt x="5689206" y="1104165"/>
                  </a:lnTo>
                  <a:lnTo>
                    <a:pt x="5674030" y="1072127"/>
                  </a:lnTo>
                  <a:lnTo>
                    <a:pt x="5661217" y="1037820"/>
                  </a:lnTo>
                  <a:lnTo>
                    <a:pt x="5648449" y="1002682"/>
                  </a:lnTo>
                  <a:lnTo>
                    <a:pt x="5633471" y="964899"/>
                  </a:lnTo>
                  <a:lnTo>
                    <a:pt x="5620322" y="940564"/>
                  </a:lnTo>
                  <a:lnTo>
                    <a:pt x="5602726" y="915398"/>
                  </a:lnTo>
                  <a:lnTo>
                    <a:pt x="5585132" y="890233"/>
                  </a:lnTo>
                  <a:lnTo>
                    <a:pt x="5563559" y="863707"/>
                  </a:lnTo>
                  <a:lnTo>
                    <a:pt x="5540161" y="839228"/>
                  </a:lnTo>
                  <a:lnTo>
                    <a:pt x="5516754" y="814747"/>
                  </a:lnTo>
                  <a:lnTo>
                    <a:pt x="5491477" y="791770"/>
                  </a:lnTo>
                  <a:lnTo>
                    <a:pt x="5466706" y="775297"/>
                  </a:lnTo>
                  <a:lnTo>
                    <a:pt x="5441936" y="758830"/>
                  </a:lnTo>
                  <a:lnTo>
                    <a:pt x="5417666" y="749213"/>
                  </a:lnTo>
                  <a:lnTo>
                    <a:pt x="5395976" y="748092"/>
                  </a:lnTo>
                  <a:lnTo>
                    <a:pt x="5374859" y="748423"/>
                  </a:lnTo>
                  <a:lnTo>
                    <a:pt x="5344673" y="756521"/>
                  </a:lnTo>
                  <a:lnTo>
                    <a:pt x="5324864" y="764144"/>
                  </a:lnTo>
                  <a:lnTo>
                    <a:pt x="5304842" y="772573"/>
                  </a:lnTo>
                  <a:lnTo>
                    <a:pt x="5276279" y="780737"/>
                  </a:lnTo>
                  <a:lnTo>
                    <a:pt x="5243621" y="784944"/>
                  </a:lnTo>
                  <a:lnTo>
                    <a:pt x="5216443" y="784748"/>
                  </a:lnTo>
                  <a:lnTo>
                    <a:pt x="5191949" y="783455"/>
                  </a:lnTo>
                  <a:lnTo>
                    <a:pt x="5169112" y="786588"/>
                  </a:lnTo>
                  <a:lnTo>
                    <a:pt x="5144050" y="796644"/>
                  </a:lnTo>
                  <a:lnTo>
                    <a:pt x="5114413" y="818817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18" name="Ternopil¬0" descr="Ternopil¬0">
              <a:extLst>
                <a:ext uri="{FF2B5EF4-FFF2-40B4-BE49-F238E27FC236}">
                  <a16:creationId xmlns:a16="http://schemas.microsoft.com/office/drawing/2014/main" id="{C92291D1-61D7-4D1C-8343-0A84C1B46211}"/>
                </a:ext>
              </a:extLst>
            </p:cNvPr>
            <p:cNvSpPr/>
            <p:nvPr/>
          </p:nvSpPr>
          <p:spPr>
            <a:xfrm>
              <a:off x="1756505" y="2139543"/>
              <a:ext cx="575030" cy="801444"/>
            </a:xfrm>
            <a:custGeom>
              <a:avLst/>
              <a:gdLst/>
              <a:ahLst/>
              <a:cxnLst/>
              <a:rect l="0" t="0" r="0" b="0"/>
              <a:pathLst>
                <a:path w="5867863" h="9283712">
                  <a:moveTo>
                    <a:pt x="4391725" y="0"/>
                  </a:moveTo>
                  <a:lnTo>
                    <a:pt x="4367126" y="4689"/>
                  </a:lnTo>
                  <a:lnTo>
                    <a:pt x="4341597" y="17589"/>
                  </a:lnTo>
                  <a:lnTo>
                    <a:pt x="4316069" y="30489"/>
                  </a:lnTo>
                  <a:lnTo>
                    <a:pt x="4290256" y="51605"/>
                  </a:lnTo>
                  <a:lnTo>
                    <a:pt x="4265425" y="74714"/>
                  </a:lnTo>
                  <a:lnTo>
                    <a:pt x="4215773" y="120931"/>
                  </a:lnTo>
                  <a:lnTo>
                    <a:pt x="4171033" y="175946"/>
                  </a:lnTo>
                  <a:lnTo>
                    <a:pt x="4149811" y="198493"/>
                  </a:lnTo>
                  <a:lnTo>
                    <a:pt x="4083407" y="269026"/>
                  </a:lnTo>
                  <a:lnTo>
                    <a:pt x="4018347" y="324469"/>
                  </a:lnTo>
                  <a:lnTo>
                    <a:pt x="3953942" y="399803"/>
                  </a:lnTo>
                  <a:lnTo>
                    <a:pt x="3924331" y="434433"/>
                  </a:lnTo>
                  <a:lnTo>
                    <a:pt x="3885955" y="457554"/>
                  </a:lnTo>
                  <a:lnTo>
                    <a:pt x="3843761" y="471892"/>
                  </a:lnTo>
                  <a:lnTo>
                    <a:pt x="3801573" y="486236"/>
                  </a:lnTo>
                  <a:lnTo>
                    <a:pt x="3755811" y="492296"/>
                  </a:lnTo>
                  <a:lnTo>
                    <a:pt x="3711823" y="492296"/>
                  </a:lnTo>
                  <a:lnTo>
                    <a:pt x="3678354" y="488043"/>
                  </a:lnTo>
                  <a:lnTo>
                    <a:pt x="3625654" y="488617"/>
                  </a:lnTo>
                  <a:lnTo>
                    <a:pt x="3562145" y="489448"/>
                  </a:lnTo>
                  <a:lnTo>
                    <a:pt x="3500998" y="495020"/>
                  </a:lnTo>
                  <a:lnTo>
                    <a:pt x="3439843" y="500600"/>
                  </a:lnTo>
                  <a:lnTo>
                    <a:pt x="3381241" y="510716"/>
                  </a:lnTo>
                  <a:lnTo>
                    <a:pt x="3354089" y="530388"/>
                  </a:lnTo>
                  <a:lnTo>
                    <a:pt x="3323931" y="557560"/>
                  </a:lnTo>
                  <a:lnTo>
                    <a:pt x="3310570" y="573915"/>
                  </a:lnTo>
                  <a:lnTo>
                    <a:pt x="3297201" y="590264"/>
                  </a:lnTo>
                  <a:lnTo>
                    <a:pt x="3284850" y="607853"/>
                  </a:lnTo>
                  <a:lnTo>
                    <a:pt x="3270189" y="625665"/>
                  </a:lnTo>
                  <a:lnTo>
                    <a:pt x="3246229" y="634192"/>
                  </a:lnTo>
                  <a:lnTo>
                    <a:pt x="3216711" y="626958"/>
                  </a:lnTo>
                  <a:lnTo>
                    <a:pt x="3187852" y="580886"/>
                  </a:lnTo>
                  <a:lnTo>
                    <a:pt x="3173184" y="550786"/>
                  </a:lnTo>
                  <a:lnTo>
                    <a:pt x="3128616" y="570195"/>
                  </a:lnTo>
                  <a:lnTo>
                    <a:pt x="3103179" y="597656"/>
                  </a:lnTo>
                  <a:lnTo>
                    <a:pt x="3077974" y="622876"/>
                  </a:lnTo>
                  <a:lnTo>
                    <a:pt x="3052768" y="648101"/>
                  </a:lnTo>
                  <a:lnTo>
                    <a:pt x="3027306" y="671625"/>
                  </a:lnTo>
                  <a:lnTo>
                    <a:pt x="2997721" y="682724"/>
                  </a:lnTo>
                  <a:lnTo>
                    <a:pt x="2974599" y="677283"/>
                  </a:lnTo>
                  <a:lnTo>
                    <a:pt x="2960327" y="654122"/>
                  </a:lnTo>
                  <a:lnTo>
                    <a:pt x="2953509" y="621557"/>
                  </a:lnTo>
                  <a:lnTo>
                    <a:pt x="2937871" y="597036"/>
                  </a:lnTo>
                  <a:lnTo>
                    <a:pt x="2902326" y="603572"/>
                  </a:lnTo>
                  <a:lnTo>
                    <a:pt x="2879381" y="611994"/>
                  </a:lnTo>
                  <a:lnTo>
                    <a:pt x="2855456" y="619737"/>
                  </a:lnTo>
                  <a:lnTo>
                    <a:pt x="2832578" y="617864"/>
                  </a:lnTo>
                  <a:lnTo>
                    <a:pt x="2811375" y="599754"/>
                  </a:lnTo>
                  <a:lnTo>
                    <a:pt x="2804253" y="571613"/>
                  </a:lnTo>
                  <a:lnTo>
                    <a:pt x="2796411" y="546705"/>
                  </a:lnTo>
                  <a:lnTo>
                    <a:pt x="2660114" y="535526"/>
                  </a:lnTo>
                  <a:lnTo>
                    <a:pt x="2634546" y="534464"/>
                  </a:lnTo>
                  <a:lnTo>
                    <a:pt x="2608707" y="549428"/>
                  </a:lnTo>
                  <a:lnTo>
                    <a:pt x="2598544" y="568883"/>
                  </a:lnTo>
                  <a:lnTo>
                    <a:pt x="2583264" y="603282"/>
                  </a:lnTo>
                  <a:lnTo>
                    <a:pt x="2570331" y="642944"/>
                  </a:lnTo>
                  <a:lnTo>
                    <a:pt x="2566539" y="681366"/>
                  </a:lnTo>
                  <a:lnTo>
                    <a:pt x="2564943" y="720151"/>
                  </a:lnTo>
                  <a:lnTo>
                    <a:pt x="2573576" y="754121"/>
                  </a:lnTo>
                  <a:lnTo>
                    <a:pt x="2595102" y="780658"/>
                  </a:lnTo>
                  <a:lnTo>
                    <a:pt x="2615328" y="795418"/>
                  </a:lnTo>
                  <a:lnTo>
                    <a:pt x="2634717" y="809426"/>
                  </a:lnTo>
                  <a:lnTo>
                    <a:pt x="2653585" y="829626"/>
                  </a:lnTo>
                  <a:lnTo>
                    <a:pt x="2660385" y="860912"/>
                  </a:lnTo>
                  <a:lnTo>
                    <a:pt x="2641846" y="881244"/>
                  </a:lnTo>
                  <a:lnTo>
                    <a:pt x="2630141" y="900534"/>
                  </a:lnTo>
                  <a:lnTo>
                    <a:pt x="2623664" y="922120"/>
                  </a:lnTo>
                  <a:lnTo>
                    <a:pt x="2617188" y="943711"/>
                  </a:lnTo>
                  <a:lnTo>
                    <a:pt x="2615849" y="966615"/>
                  </a:lnTo>
                  <a:lnTo>
                    <a:pt x="2615500" y="994214"/>
                  </a:lnTo>
                  <a:lnTo>
                    <a:pt x="2582677" y="1010306"/>
                  </a:lnTo>
                  <a:lnTo>
                    <a:pt x="2559733" y="1013254"/>
                  </a:lnTo>
                  <a:lnTo>
                    <a:pt x="2536790" y="1016202"/>
                  </a:lnTo>
                  <a:lnTo>
                    <a:pt x="2512732" y="1017535"/>
                  </a:lnTo>
                  <a:lnTo>
                    <a:pt x="2475404" y="1044541"/>
                  </a:lnTo>
                  <a:lnTo>
                    <a:pt x="2465848" y="1083879"/>
                  </a:lnTo>
                  <a:lnTo>
                    <a:pt x="2467834" y="1106618"/>
                  </a:lnTo>
                  <a:lnTo>
                    <a:pt x="2474277" y="1137344"/>
                  </a:lnTo>
                  <a:lnTo>
                    <a:pt x="2477390" y="1163037"/>
                  </a:lnTo>
                  <a:lnTo>
                    <a:pt x="2476196" y="1188731"/>
                  </a:lnTo>
                  <a:lnTo>
                    <a:pt x="2472681" y="1214564"/>
                  </a:lnTo>
                  <a:lnTo>
                    <a:pt x="2469165" y="1240396"/>
                  </a:lnTo>
                  <a:lnTo>
                    <a:pt x="2463929" y="1266604"/>
                  </a:lnTo>
                  <a:lnTo>
                    <a:pt x="2441460" y="1258387"/>
                  </a:lnTo>
                  <a:lnTo>
                    <a:pt x="2429385" y="1238641"/>
                  </a:lnTo>
                  <a:lnTo>
                    <a:pt x="2408578" y="1215540"/>
                  </a:lnTo>
                  <a:lnTo>
                    <a:pt x="2351624" y="1208061"/>
                  </a:lnTo>
                  <a:lnTo>
                    <a:pt x="2321697" y="1218646"/>
                  </a:lnTo>
                  <a:lnTo>
                    <a:pt x="2313658" y="1258855"/>
                  </a:lnTo>
                  <a:lnTo>
                    <a:pt x="2310815" y="1279854"/>
                  </a:lnTo>
                  <a:lnTo>
                    <a:pt x="2307973" y="1300852"/>
                  </a:lnTo>
                  <a:lnTo>
                    <a:pt x="2306647" y="1321922"/>
                  </a:lnTo>
                  <a:lnTo>
                    <a:pt x="2300283" y="1359573"/>
                  </a:lnTo>
                  <a:lnTo>
                    <a:pt x="2310815" y="1395468"/>
                  </a:lnTo>
                  <a:lnTo>
                    <a:pt x="2319012" y="1419382"/>
                  </a:lnTo>
                  <a:lnTo>
                    <a:pt x="2338019" y="1448518"/>
                  </a:lnTo>
                  <a:lnTo>
                    <a:pt x="2360204" y="1470037"/>
                  </a:lnTo>
                  <a:lnTo>
                    <a:pt x="2383847" y="1484130"/>
                  </a:lnTo>
                  <a:lnTo>
                    <a:pt x="2408750" y="1497485"/>
                  </a:lnTo>
                  <a:lnTo>
                    <a:pt x="2435063" y="1513563"/>
                  </a:lnTo>
                  <a:lnTo>
                    <a:pt x="2464542" y="1544645"/>
                  </a:lnTo>
                  <a:lnTo>
                    <a:pt x="2459418" y="1575291"/>
                  </a:lnTo>
                  <a:lnTo>
                    <a:pt x="2475397" y="1594061"/>
                  </a:lnTo>
                  <a:lnTo>
                    <a:pt x="2520289" y="1647110"/>
                  </a:lnTo>
                  <a:lnTo>
                    <a:pt x="2533888" y="1674315"/>
                  </a:lnTo>
                  <a:lnTo>
                    <a:pt x="2540001" y="1697416"/>
                  </a:lnTo>
                  <a:lnTo>
                    <a:pt x="2541386" y="1721943"/>
                  </a:lnTo>
                  <a:lnTo>
                    <a:pt x="2536618" y="1745044"/>
                  </a:lnTo>
                  <a:lnTo>
                    <a:pt x="2520295" y="1769524"/>
                  </a:lnTo>
                  <a:lnTo>
                    <a:pt x="2494450" y="1772242"/>
                  </a:lnTo>
                  <a:lnTo>
                    <a:pt x="2467246" y="1768166"/>
                  </a:lnTo>
                  <a:lnTo>
                    <a:pt x="2440042" y="1764091"/>
                  </a:lnTo>
                  <a:lnTo>
                    <a:pt x="2411480" y="1765449"/>
                  </a:lnTo>
                  <a:lnTo>
                    <a:pt x="2387586" y="1784581"/>
                  </a:lnTo>
                  <a:lnTo>
                    <a:pt x="2375135" y="1803205"/>
                  </a:lnTo>
                  <a:lnTo>
                    <a:pt x="2366206" y="1839226"/>
                  </a:lnTo>
                  <a:lnTo>
                    <a:pt x="2376111" y="1874265"/>
                  </a:lnTo>
                  <a:lnTo>
                    <a:pt x="2390561" y="1911863"/>
                  </a:lnTo>
                  <a:lnTo>
                    <a:pt x="2405188" y="1950924"/>
                  </a:lnTo>
                  <a:lnTo>
                    <a:pt x="2410115" y="1992604"/>
                  </a:lnTo>
                  <a:lnTo>
                    <a:pt x="2400328" y="2018852"/>
                  </a:lnTo>
                  <a:lnTo>
                    <a:pt x="2388952" y="2042733"/>
                  </a:lnTo>
                  <a:lnTo>
                    <a:pt x="2374753" y="2061976"/>
                  </a:lnTo>
                  <a:lnTo>
                    <a:pt x="2360554" y="2081212"/>
                  </a:lnTo>
                  <a:lnTo>
                    <a:pt x="2344568" y="2096830"/>
                  </a:lnTo>
                  <a:lnTo>
                    <a:pt x="2325786" y="2108219"/>
                  </a:lnTo>
                  <a:lnTo>
                    <a:pt x="2307003" y="2119609"/>
                  </a:lnTo>
                  <a:lnTo>
                    <a:pt x="2285398" y="2125926"/>
                  </a:lnTo>
                  <a:lnTo>
                    <a:pt x="2261855" y="2128623"/>
                  </a:lnTo>
                  <a:lnTo>
                    <a:pt x="2238317" y="2131321"/>
                  </a:lnTo>
                  <a:lnTo>
                    <a:pt x="2212795" y="2130036"/>
                  </a:lnTo>
                  <a:lnTo>
                    <a:pt x="2184325" y="2123184"/>
                  </a:lnTo>
                  <a:lnTo>
                    <a:pt x="2154674" y="2133998"/>
                  </a:lnTo>
                  <a:lnTo>
                    <a:pt x="2137910" y="2157569"/>
                  </a:lnTo>
                  <a:lnTo>
                    <a:pt x="2112236" y="2172150"/>
                  </a:lnTo>
                  <a:lnTo>
                    <a:pt x="2077975" y="2191618"/>
                  </a:lnTo>
                  <a:lnTo>
                    <a:pt x="2036955" y="2190319"/>
                  </a:lnTo>
                  <a:lnTo>
                    <a:pt x="2002055" y="2203436"/>
                  </a:lnTo>
                  <a:lnTo>
                    <a:pt x="1958746" y="2219674"/>
                  </a:lnTo>
                  <a:lnTo>
                    <a:pt x="1921828" y="2254335"/>
                  </a:lnTo>
                  <a:lnTo>
                    <a:pt x="1879641" y="2274167"/>
                  </a:lnTo>
                  <a:lnTo>
                    <a:pt x="1859618" y="2283578"/>
                  </a:lnTo>
                  <a:lnTo>
                    <a:pt x="1692292" y="2303217"/>
                  </a:lnTo>
                  <a:lnTo>
                    <a:pt x="1656568" y="2309529"/>
                  </a:lnTo>
                  <a:lnTo>
                    <a:pt x="1616465" y="2316604"/>
                  </a:lnTo>
                  <a:lnTo>
                    <a:pt x="1574850" y="2344344"/>
                  </a:lnTo>
                  <a:lnTo>
                    <a:pt x="1550469" y="2347615"/>
                  </a:lnTo>
                  <a:lnTo>
                    <a:pt x="1334967" y="2369911"/>
                  </a:lnTo>
                  <a:lnTo>
                    <a:pt x="1319087" y="2387059"/>
                  </a:lnTo>
                  <a:lnTo>
                    <a:pt x="1285427" y="2553303"/>
                  </a:lnTo>
                  <a:lnTo>
                    <a:pt x="1294283" y="2589792"/>
                  </a:lnTo>
                  <a:lnTo>
                    <a:pt x="1309293" y="2617570"/>
                  </a:lnTo>
                  <a:lnTo>
                    <a:pt x="1317880" y="2637335"/>
                  </a:lnTo>
                  <a:lnTo>
                    <a:pt x="1350465" y="2681422"/>
                  </a:lnTo>
                  <a:lnTo>
                    <a:pt x="1370428" y="2704333"/>
                  </a:lnTo>
                  <a:lnTo>
                    <a:pt x="1383169" y="2729829"/>
                  </a:lnTo>
                  <a:lnTo>
                    <a:pt x="1395904" y="2755331"/>
                  </a:lnTo>
                  <a:lnTo>
                    <a:pt x="1402084" y="2782100"/>
                  </a:lnTo>
                  <a:lnTo>
                    <a:pt x="1394051" y="2820964"/>
                  </a:lnTo>
                  <a:lnTo>
                    <a:pt x="1389131" y="2844764"/>
                  </a:lnTo>
                  <a:lnTo>
                    <a:pt x="1366847" y="2871290"/>
                  </a:lnTo>
                  <a:lnTo>
                    <a:pt x="1338330" y="2891120"/>
                  </a:lnTo>
                  <a:lnTo>
                    <a:pt x="1317880" y="2901217"/>
                  </a:lnTo>
                  <a:lnTo>
                    <a:pt x="1285433" y="2917236"/>
                  </a:lnTo>
                  <a:lnTo>
                    <a:pt x="1262555" y="2927029"/>
                  </a:lnTo>
                  <a:lnTo>
                    <a:pt x="1238985" y="2931137"/>
                  </a:lnTo>
                  <a:lnTo>
                    <a:pt x="1215422" y="2935253"/>
                  </a:lnTo>
                  <a:lnTo>
                    <a:pt x="1191146" y="2933241"/>
                  </a:lnTo>
                  <a:lnTo>
                    <a:pt x="1154656" y="2927062"/>
                  </a:lnTo>
                  <a:lnTo>
                    <a:pt x="1137760" y="2891634"/>
                  </a:lnTo>
                  <a:lnTo>
                    <a:pt x="1114242" y="2873465"/>
                  </a:lnTo>
                  <a:lnTo>
                    <a:pt x="1095078" y="2885923"/>
                  </a:lnTo>
                  <a:lnTo>
                    <a:pt x="1077120" y="2908022"/>
                  </a:lnTo>
                  <a:lnTo>
                    <a:pt x="1059168" y="2930116"/>
                  </a:lnTo>
                  <a:lnTo>
                    <a:pt x="1042015" y="2962087"/>
                  </a:lnTo>
                  <a:lnTo>
                    <a:pt x="1026794" y="2996434"/>
                  </a:lnTo>
                  <a:lnTo>
                    <a:pt x="996352" y="3065126"/>
                  </a:lnTo>
                  <a:lnTo>
                    <a:pt x="971450" y="3143757"/>
                  </a:lnTo>
                  <a:lnTo>
                    <a:pt x="956064" y="3174622"/>
                  </a:lnTo>
                  <a:lnTo>
                    <a:pt x="936918" y="3213024"/>
                  </a:lnTo>
                  <a:lnTo>
                    <a:pt x="915195" y="3251070"/>
                  </a:lnTo>
                  <a:lnTo>
                    <a:pt x="894857" y="3288878"/>
                  </a:lnTo>
                  <a:lnTo>
                    <a:pt x="883229" y="3310471"/>
                  </a:lnTo>
                  <a:lnTo>
                    <a:pt x="874867" y="3332313"/>
                  </a:lnTo>
                  <a:lnTo>
                    <a:pt x="859488" y="3352809"/>
                  </a:lnTo>
                  <a:lnTo>
                    <a:pt x="833880" y="3386945"/>
                  </a:lnTo>
                  <a:lnTo>
                    <a:pt x="796336" y="3412875"/>
                  </a:lnTo>
                  <a:lnTo>
                    <a:pt x="756113" y="3434421"/>
                  </a:lnTo>
                  <a:lnTo>
                    <a:pt x="715891" y="3455960"/>
                  </a:lnTo>
                  <a:lnTo>
                    <a:pt x="674171" y="3473186"/>
                  </a:lnTo>
                  <a:lnTo>
                    <a:pt x="637781" y="3491546"/>
                  </a:lnTo>
                  <a:lnTo>
                    <a:pt x="600902" y="3510158"/>
                  </a:lnTo>
                  <a:lnTo>
                    <a:pt x="564689" y="3533285"/>
                  </a:lnTo>
                  <a:lnTo>
                    <a:pt x="527599" y="3551396"/>
                  </a:lnTo>
                  <a:lnTo>
                    <a:pt x="463484" y="3582721"/>
                  </a:lnTo>
                  <a:lnTo>
                    <a:pt x="389456" y="3602658"/>
                  </a:lnTo>
                  <a:lnTo>
                    <a:pt x="329014" y="3641171"/>
                  </a:lnTo>
                  <a:lnTo>
                    <a:pt x="304468" y="3656814"/>
                  </a:lnTo>
                  <a:lnTo>
                    <a:pt x="263216" y="3704357"/>
                  </a:lnTo>
                  <a:lnTo>
                    <a:pt x="246044" y="3729583"/>
                  </a:lnTo>
                  <a:lnTo>
                    <a:pt x="203190" y="3728989"/>
                  </a:lnTo>
                  <a:lnTo>
                    <a:pt x="171231" y="3718702"/>
                  </a:lnTo>
                  <a:lnTo>
                    <a:pt x="139100" y="3708084"/>
                  </a:lnTo>
                  <a:lnTo>
                    <a:pt x="102710" y="3704833"/>
                  </a:lnTo>
                  <a:lnTo>
                    <a:pt x="63773" y="3714620"/>
                  </a:lnTo>
                  <a:lnTo>
                    <a:pt x="54633" y="3734510"/>
                  </a:lnTo>
                  <a:lnTo>
                    <a:pt x="63773" y="3755574"/>
                  </a:lnTo>
                  <a:lnTo>
                    <a:pt x="63773" y="3821714"/>
                  </a:lnTo>
                  <a:lnTo>
                    <a:pt x="50109" y="3864476"/>
                  </a:lnTo>
                  <a:lnTo>
                    <a:pt x="44734" y="3909129"/>
                  </a:lnTo>
                  <a:lnTo>
                    <a:pt x="48216" y="3938694"/>
                  </a:lnTo>
                  <a:lnTo>
                    <a:pt x="46989" y="3960754"/>
                  </a:lnTo>
                  <a:lnTo>
                    <a:pt x="42010" y="3983941"/>
                  </a:lnTo>
                  <a:lnTo>
                    <a:pt x="35844" y="4011442"/>
                  </a:lnTo>
                  <a:lnTo>
                    <a:pt x="26420" y="4038046"/>
                  </a:lnTo>
                  <a:lnTo>
                    <a:pt x="14806" y="4060113"/>
                  </a:lnTo>
                  <a:lnTo>
                    <a:pt x="0" y="4078289"/>
                  </a:lnTo>
                  <a:lnTo>
                    <a:pt x="26262" y="4127222"/>
                  </a:lnTo>
                  <a:lnTo>
                    <a:pt x="48763" y="4160112"/>
                  </a:lnTo>
                  <a:lnTo>
                    <a:pt x="71931" y="4192043"/>
                  </a:lnTo>
                  <a:lnTo>
                    <a:pt x="95105" y="4223982"/>
                  </a:lnTo>
                  <a:lnTo>
                    <a:pt x="118861" y="4255216"/>
                  </a:lnTo>
                  <a:lnTo>
                    <a:pt x="145385" y="4287261"/>
                  </a:lnTo>
                  <a:lnTo>
                    <a:pt x="173427" y="4321133"/>
                  </a:lnTo>
                  <a:lnTo>
                    <a:pt x="189690" y="4346800"/>
                  </a:lnTo>
                  <a:lnTo>
                    <a:pt x="203869" y="4374314"/>
                  </a:lnTo>
                  <a:lnTo>
                    <a:pt x="218048" y="4401821"/>
                  </a:lnTo>
                  <a:lnTo>
                    <a:pt x="230737" y="4430951"/>
                  </a:lnTo>
                  <a:lnTo>
                    <a:pt x="250119" y="4469524"/>
                  </a:lnTo>
                  <a:lnTo>
                    <a:pt x="276156" y="4521347"/>
                  </a:lnTo>
                  <a:lnTo>
                    <a:pt x="307903" y="4571053"/>
                  </a:lnTo>
                  <a:lnTo>
                    <a:pt x="333089" y="4623225"/>
                  </a:lnTo>
                  <a:lnTo>
                    <a:pt x="347671" y="4653449"/>
                  </a:lnTo>
                  <a:lnTo>
                    <a:pt x="359020" y="4694192"/>
                  </a:lnTo>
                  <a:lnTo>
                    <a:pt x="369817" y="4726600"/>
                  </a:lnTo>
                  <a:lnTo>
                    <a:pt x="382142" y="4763585"/>
                  </a:lnTo>
                  <a:lnTo>
                    <a:pt x="394765" y="4810488"/>
                  </a:lnTo>
                  <a:lnTo>
                    <a:pt x="416060" y="4843580"/>
                  </a:lnTo>
                  <a:lnTo>
                    <a:pt x="442439" y="4866446"/>
                  </a:lnTo>
                  <a:lnTo>
                    <a:pt x="441905" y="4888466"/>
                  </a:lnTo>
                  <a:lnTo>
                    <a:pt x="429322" y="4924236"/>
                  </a:lnTo>
                  <a:lnTo>
                    <a:pt x="417425" y="4944231"/>
                  </a:lnTo>
                  <a:lnTo>
                    <a:pt x="405521" y="4964227"/>
                  </a:lnTo>
                  <a:lnTo>
                    <a:pt x="394706" y="4988450"/>
                  </a:lnTo>
                  <a:lnTo>
                    <a:pt x="397020" y="5020404"/>
                  </a:lnTo>
                  <a:lnTo>
                    <a:pt x="403997" y="5047521"/>
                  </a:lnTo>
                  <a:lnTo>
                    <a:pt x="417247" y="5077620"/>
                  </a:lnTo>
                  <a:lnTo>
                    <a:pt x="426942" y="5107456"/>
                  </a:lnTo>
                  <a:lnTo>
                    <a:pt x="431723" y="5138570"/>
                  </a:lnTo>
                  <a:lnTo>
                    <a:pt x="435765" y="5174283"/>
                  </a:lnTo>
                  <a:lnTo>
                    <a:pt x="439188" y="5212197"/>
                  </a:lnTo>
                  <a:lnTo>
                    <a:pt x="443673" y="5248639"/>
                  </a:lnTo>
                  <a:lnTo>
                    <a:pt x="448303" y="5281839"/>
                  </a:lnTo>
                  <a:lnTo>
                    <a:pt x="454146" y="5308766"/>
                  </a:lnTo>
                  <a:lnTo>
                    <a:pt x="471833" y="5331893"/>
                  </a:lnTo>
                  <a:lnTo>
                    <a:pt x="500395" y="5340052"/>
                  </a:lnTo>
                  <a:lnTo>
                    <a:pt x="521414" y="5342122"/>
                  </a:lnTo>
                  <a:lnTo>
                    <a:pt x="551454" y="5350399"/>
                  </a:lnTo>
                  <a:lnTo>
                    <a:pt x="569939" y="5370771"/>
                  </a:lnTo>
                  <a:lnTo>
                    <a:pt x="580471" y="5399095"/>
                  </a:lnTo>
                  <a:lnTo>
                    <a:pt x="590165" y="5433904"/>
                  </a:lnTo>
                  <a:lnTo>
                    <a:pt x="598145" y="5470433"/>
                  </a:lnTo>
                  <a:lnTo>
                    <a:pt x="603955" y="5500743"/>
                  </a:lnTo>
                  <a:lnTo>
                    <a:pt x="611480" y="5563718"/>
                  </a:lnTo>
                  <a:lnTo>
                    <a:pt x="605743" y="5595142"/>
                  </a:lnTo>
                  <a:lnTo>
                    <a:pt x="594248" y="5620249"/>
                  </a:lnTo>
                  <a:lnTo>
                    <a:pt x="582752" y="5645350"/>
                  </a:lnTo>
                  <a:lnTo>
                    <a:pt x="566246" y="5663967"/>
                  </a:lnTo>
                  <a:lnTo>
                    <a:pt x="549363" y="5678740"/>
                  </a:lnTo>
                  <a:lnTo>
                    <a:pt x="532480" y="5693505"/>
                  </a:lnTo>
                  <a:lnTo>
                    <a:pt x="504477" y="5718184"/>
                  </a:lnTo>
                  <a:lnTo>
                    <a:pt x="487991" y="5745618"/>
                  </a:lnTo>
                  <a:lnTo>
                    <a:pt x="499703" y="5787786"/>
                  </a:lnTo>
                  <a:lnTo>
                    <a:pt x="511053" y="5812372"/>
                  </a:lnTo>
                  <a:lnTo>
                    <a:pt x="519435" y="5833799"/>
                  </a:lnTo>
                  <a:lnTo>
                    <a:pt x="528213" y="5856229"/>
                  </a:lnTo>
                  <a:lnTo>
                    <a:pt x="528958" y="5892288"/>
                  </a:lnTo>
                  <a:lnTo>
                    <a:pt x="525159" y="5926854"/>
                  </a:lnTo>
                  <a:lnTo>
                    <a:pt x="519158" y="5961100"/>
                  </a:lnTo>
                  <a:lnTo>
                    <a:pt x="519442" y="5999747"/>
                  </a:lnTo>
                  <a:lnTo>
                    <a:pt x="528358" y="6042659"/>
                  </a:lnTo>
                  <a:lnTo>
                    <a:pt x="543921" y="6070470"/>
                  </a:lnTo>
                  <a:lnTo>
                    <a:pt x="556030" y="6088996"/>
                  </a:lnTo>
                  <a:lnTo>
                    <a:pt x="572010" y="6104249"/>
                  </a:lnTo>
                  <a:lnTo>
                    <a:pt x="593239" y="6102561"/>
                  </a:lnTo>
                  <a:lnTo>
                    <a:pt x="611593" y="6087352"/>
                  </a:lnTo>
                  <a:lnTo>
                    <a:pt x="633698" y="6066394"/>
                  </a:lnTo>
                  <a:lnTo>
                    <a:pt x="659089" y="6044381"/>
                  </a:lnTo>
                  <a:lnTo>
                    <a:pt x="684479" y="6025835"/>
                  </a:lnTo>
                  <a:lnTo>
                    <a:pt x="708511" y="6016068"/>
                  </a:lnTo>
                  <a:lnTo>
                    <a:pt x="736236" y="6023125"/>
                  </a:lnTo>
                  <a:lnTo>
                    <a:pt x="759443" y="6036935"/>
                  </a:lnTo>
                  <a:lnTo>
                    <a:pt x="780764" y="6050389"/>
                  </a:lnTo>
                  <a:lnTo>
                    <a:pt x="805509" y="6062213"/>
                  </a:lnTo>
                  <a:lnTo>
                    <a:pt x="829567" y="6065030"/>
                  </a:lnTo>
                  <a:lnTo>
                    <a:pt x="851079" y="6064766"/>
                  </a:lnTo>
                  <a:lnTo>
                    <a:pt x="873344" y="6065293"/>
                  </a:lnTo>
                  <a:lnTo>
                    <a:pt x="896215" y="6070470"/>
                  </a:lnTo>
                  <a:lnTo>
                    <a:pt x="920056" y="6081120"/>
                  </a:lnTo>
                  <a:lnTo>
                    <a:pt x="938541" y="6096539"/>
                  </a:lnTo>
                  <a:lnTo>
                    <a:pt x="950221" y="6118554"/>
                  </a:lnTo>
                  <a:lnTo>
                    <a:pt x="958781" y="6138476"/>
                  </a:lnTo>
                  <a:lnTo>
                    <a:pt x="963589" y="6161737"/>
                  </a:lnTo>
                  <a:lnTo>
                    <a:pt x="964881" y="6185954"/>
                  </a:lnTo>
                  <a:lnTo>
                    <a:pt x="964221" y="6210565"/>
                  </a:lnTo>
                  <a:lnTo>
                    <a:pt x="963390" y="6235224"/>
                  </a:lnTo>
                  <a:lnTo>
                    <a:pt x="965039" y="6259368"/>
                  </a:lnTo>
                  <a:lnTo>
                    <a:pt x="971021" y="6282661"/>
                  </a:lnTo>
                  <a:lnTo>
                    <a:pt x="982463" y="6303435"/>
                  </a:lnTo>
                  <a:lnTo>
                    <a:pt x="995508" y="6326187"/>
                  </a:lnTo>
                  <a:lnTo>
                    <a:pt x="996867" y="6349308"/>
                  </a:lnTo>
                  <a:lnTo>
                    <a:pt x="988735" y="6371112"/>
                  </a:lnTo>
                  <a:lnTo>
                    <a:pt x="973738" y="6392255"/>
                  </a:lnTo>
                  <a:lnTo>
                    <a:pt x="957416" y="6410517"/>
                  </a:lnTo>
                  <a:lnTo>
                    <a:pt x="930601" y="6419934"/>
                  </a:lnTo>
                  <a:lnTo>
                    <a:pt x="905692" y="6416762"/>
                  </a:lnTo>
                  <a:lnTo>
                    <a:pt x="881244" y="6409158"/>
                  </a:lnTo>
                  <a:lnTo>
                    <a:pt x="856804" y="6401574"/>
                  </a:lnTo>
                  <a:lnTo>
                    <a:pt x="832832" y="6389346"/>
                  </a:lnTo>
                  <a:lnTo>
                    <a:pt x="809156" y="6376513"/>
                  </a:lnTo>
                  <a:lnTo>
                    <a:pt x="785480" y="6363686"/>
                  </a:lnTo>
                  <a:lnTo>
                    <a:pt x="761567" y="6350180"/>
                  </a:lnTo>
                  <a:lnTo>
                    <a:pt x="737067" y="6343869"/>
                  </a:lnTo>
                  <a:lnTo>
                    <a:pt x="712560" y="6337557"/>
                  </a:lnTo>
                  <a:lnTo>
                    <a:pt x="687829" y="6337340"/>
                  </a:lnTo>
                  <a:lnTo>
                    <a:pt x="660896" y="6349308"/>
                  </a:lnTo>
                  <a:lnTo>
                    <a:pt x="644395" y="6389683"/>
                  </a:lnTo>
                  <a:lnTo>
                    <a:pt x="644573" y="6421405"/>
                  </a:lnTo>
                  <a:lnTo>
                    <a:pt x="654815" y="6450040"/>
                  </a:lnTo>
                  <a:lnTo>
                    <a:pt x="667695" y="6473089"/>
                  </a:lnTo>
                  <a:lnTo>
                    <a:pt x="683701" y="6504928"/>
                  </a:lnTo>
                  <a:lnTo>
                    <a:pt x="709863" y="6519338"/>
                  </a:lnTo>
                  <a:lnTo>
                    <a:pt x="770694" y="6534296"/>
                  </a:lnTo>
                  <a:lnTo>
                    <a:pt x="813238" y="6557424"/>
                  </a:lnTo>
                  <a:lnTo>
                    <a:pt x="834507" y="6568985"/>
                  </a:lnTo>
                  <a:lnTo>
                    <a:pt x="855195" y="6582406"/>
                  </a:lnTo>
                  <a:lnTo>
                    <a:pt x="885532" y="6608607"/>
                  </a:lnTo>
                  <a:lnTo>
                    <a:pt x="894850" y="6633595"/>
                  </a:lnTo>
                  <a:lnTo>
                    <a:pt x="896209" y="6677115"/>
                  </a:lnTo>
                  <a:lnTo>
                    <a:pt x="897567" y="6720649"/>
                  </a:lnTo>
                  <a:lnTo>
                    <a:pt x="900284" y="6743770"/>
                  </a:lnTo>
                  <a:lnTo>
                    <a:pt x="909807" y="6766892"/>
                  </a:lnTo>
                  <a:lnTo>
                    <a:pt x="922047" y="6788655"/>
                  </a:lnTo>
                  <a:lnTo>
                    <a:pt x="935646" y="6806336"/>
                  </a:lnTo>
                  <a:lnTo>
                    <a:pt x="956526" y="6830829"/>
                  </a:lnTo>
                  <a:lnTo>
                    <a:pt x="975400" y="6845977"/>
                  </a:lnTo>
                  <a:lnTo>
                    <a:pt x="1012872" y="6861911"/>
                  </a:lnTo>
                  <a:lnTo>
                    <a:pt x="1049903" y="6859386"/>
                  </a:lnTo>
                  <a:lnTo>
                    <a:pt x="1086867" y="6846109"/>
                  </a:lnTo>
                  <a:lnTo>
                    <a:pt x="1107034" y="6834905"/>
                  </a:lnTo>
                  <a:lnTo>
                    <a:pt x="1127195" y="6823693"/>
                  </a:lnTo>
                  <a:lnTo>
                    <a:pt x="1148602" y="6810682"/>
                  </a:lnTo>
                  <a:lnTo>
                    <a:pt x="1172323" y="6796813"/>
                  </a:lnTo>
                  <a:lnTo>
                    <a:pt x="1201869" y="6778084"/>
                  </a:lnTo>
                  <a:lnTo>
                    <a:pt x="1232173" y="6790013"/>
                  </a:lnTo>
                  <a:lnTo>
                    <a:pt x="1259865" y="6811849"/>
                  </a:lnTo>
                  <a:lnTo>
                    <a:pt x="1283369" y="6841632"/>
                  </a:lnTo>
                  <a:lnTo>
                    <a:pt x="1302903" y="6871625"/>
                  </a:lnTo>
                  <a:lnTo>
                    <a:pt x="1321896" y="6895618"/>
                  </a:lnTo>
                  <a:lnTo>
                    <a:pt x="1352648" y="6912738"/>
                  </a:lnTo>
                  <a:lnTo>
                    <a:pt x="1375671" y="6922782"/>
                  </a:lnTo>
                  <a:lnTo>
                    <a:pt x="1399479" y="6931475"/>
                  </a:lnTo>
                  <a:lnTo>
                    <a:pt x="1423279" y="6940167"/>
                  </a:lnTo>
                  <a:lnTo>
                    <a:pt x="1448578" y="6947757"/>
                  </a:lnTo>
                  <a:lnTo>
                    <a:pt x="1472926" y="6955961"/>
                  </a:lnTo>
                  <a:lnTo>
                    <a:pt x="1490772" y="6968835"/>
                  </a:lnTo>
                  <a:lnTo>
                    <a:pt x="1501324" y="6992049"/>
                  </a:lnTo>
                  <a:lnTo>
                    <a:pt x="1500124" y="7015810"/>
                  </a:lnTo>
                  <a:lnTo>
                    <a:pt x="1456597" y="7043013"/>
                  </a:lnTo>
                  <a:lnTo>
                    <a:pt x="1434834" y="7071576"/>
                  </a:lnTo>
                  <a:lnTo>
                    <a:pt x="1433476" y="7117820"/>
                  </a:lnTo>
                  <a:lnTo>
                    <a:pt x="1445887" y="7134974"/>
                  </a:lnTo>
                  <a:lnTo>
                    <a:pt x="1496087" y="7218669"/>
                  </a:lnTo>
                  <a:lnTo>
                    <a:pt x="1505333" y="7245972"/>
                  </a:lnTo>
                  <a:lnTo>
                    <a:pt x="1502056" y="7281591"/>
                  </a:lnTo>
                  <a:lnTo>
                    <a:pt x="1505564" y="7312330"/>
                  </a:lnTo>
                  <a:lnTo>
                    <a:pt x="1510708" y="7341499"/>
                  </a:lnTo>
                  <a:lnTo>
                    <a:pt x="1524914" y="7364772"/>
                  </a:lnTo>
                  <a:lnTo>
                    <a:pt x="1553173" y="7377619"/>
                  </a:lnTo>
                  <a:lnTo>
                    <a:pt x="1575411" y="7378477"/>
                  </a:lnTo>
                  <a:lnTo>
                    <a:pt x="1596225" y="7374052"/>
                  </a:lnTo>
                  <a:lnTo>
                    <a:pt x="1634178" y="7355692"/>
                  </a:lnTo>
                  <a:lnTo>
                    <a:pt x="1640384" y="7333506"/>
                  </a:lnTo>
                  <a:lnTo>
                    <a:pt x="1642949" y="7310978"/>
                  </a:lnTo>
                  <a:lnTo>
                    <a:pt x="1645509" y="7288443"/>
                  </a:lnTo>
                  <a:lnTo>
                    <a:pt x="1644182" y="7264952"/>
                  </a:lnTo>
                  <a:lnTo>
                    <a:pt x="1647025" y="7242964"/>
                  </a:lnTo>
                  <a:lnTo>
                    <a:pt x="1651153" y="7211106"/>
                  </a:lnTo>
                  <a:lnTo>
                    <a:pt x="1678311" y="7173593"/>
                  </a:lnTo>
                  <a:lnTo>
                    <a:pt x="1694416" y="7139761"/>
                  </a:lnTo>
                  <a:lnTo>
                    <a:pt x="1713673" y="7113744"/>
                  </a:lnTo>
                  <a:lnTo>
                    <a:pt x="1728234" y="7097936"/>
                  </a:lnTo>
                  <a:lnTo>
                    <a:pt x="1753341" y="7080210"/>
                  </a:lnTo>
                  <a:lnTo>
                    <a:pt x="1780321" y="7066142"/>
                  </a:lnTo>
                  <a:lnTo>
                    <a:pt x="1807301" y="7052075"/>
                  </a:lnTo>
                  <a:lnTo>
                    <a:pt x="1836450" y="7041603"/>
                  </a:lnTo>
                  <a:lnTo>
                    <a:pt x="1857858" y="7043021"/>
                  </a:lnTo>
                  <a:lnTo>
                    <a:pt x="1871522" y="7063933"/>
                  </a:lnTo>
                  <a:lnTo>
                    <a:pt x="1823980" y="7177148"/>
                  </a:lnTo>
                  <a:lnTo>
                    <a:pt x="1818406" y="7200804"/>
                  </a:lnTo>
                  <a:lnTo>
                    <a:pt x="1812076" y="7227751"/>
                  </a:lnTo>
                  <a:lnTo>
                    <a:pt x="1836114" y="7253167"/>
                  </a:lnTo>
                  <a:lnTo>
                    <a:pt x="1830647" y="7279692"/>
                  </a:lnTo>
                  <a:lnTo>
                    <a:pt x="1825470" y="7304858"/>
                  </a:lnTo>
                  <a:lnTo>
                    <a:pt x="1805942" y="7345747"/>
                  </a:lnTo>
                  <a:lnTo>
                    <a:pt x="1791203" y="7385785"/>
                  </a:lnTo>
                  <a:lnTo>
                    <a:pt x="1783837" y="7405807"/>
                  </a:lnTo>
                  <a:lnTo>
                    <a:pt x="1774880" y="7442916"/>
                  </a:lnTo>
                  <a:lnTo>
                    <a:pt x="1773561" y="7478047"/>
                  </a:lnTo>
                  <a:lnTo>
                    <a:pt x="1793927" y="7500048"/>
                  </a:lnTo>
                  <a:lnTo>
                    <a:pt x="1832830" y="7485631"/>
                  </a:lnTo>
                  <a:lnTo>
                    <a:pt x="1846040" y="7466143"/>
                  </a:lnTo>
                  <a:lnTo>
                    <a:pt x="1860574" y="7446992"/>
                  </a:lnTo>
                  <a:lnTo>
                    <a:pt x="1875110" y="7427840"/>
                  </a:lnTo>
                  <a:lnTo>
                    <a:pt x="1891155" y="7408945"/>
                  </a:lnTo>
                  <a:lnTo>
                    <a:pt x="1910900" y="7399389"/>
                  </a:lnTo>
                  <a:lnTo>
                    <a:pt x="1931371" y="7389478"/>
                  </a:lnTo>
                  <a:lnTo>
                    <a:pt x="1961226" y="7389867"/>
                  </a:lnTo>
                  <a:lnTo>
                    <a:pt x="1985456" y="7401361"/>
                  </a:lnTo>
                  <a:lnTo>
                    <a:pt x="2014790" y="7432166"/>
                  </a:lnTo>
                  <a:lnTo>
                    <a:pt x="2029048" y="7461566"/>
                  </a:lnTo>
                  <a:lnTo>
                    <a:pt x="2051002" y="7480994"/>
                  </a:lnTo>
                  <a:lnTo>
                    <a:pt x="2119992" y="7499679"/>
                  </a:lnTo>
                  <a:lnTo>
                    <a:pt x="2142329" y="7505212"/>
                  </a:lnTo>
                  <a:lnTo>
                    <a:pt x="2158598" y="7524593"/>
                  </a:lnTo>
                  <a:lnTo>
                    <a:pt x="2166618" y="7546291"/>
                  </a:lnTo>
                  <a:lnTo>
                    <a:pt x="2154298" y="7583585"/>
                  </a:lnTo>
                  <a:lnTo>
                    <a:pt x="2134111" y="7592699"/>
                  </a:lnTo>
                  <a:lnTo>
                    <a:pt x="2108134" y="7599333"/>
                  </a:lnTo>
                  <a:lnTo>
                    <a:pt x="2082157" y="7605974"/>
                  </a:lnTo>
                  <a:lnTo>
                    <a:pt x="2051312" y="7609081"/>
                  </a:lnTo>
                  <a:lnTo>
                    <a:pt x="2019723" y="7611574"/>
                  </a:lnTo>
                  <a:lnTo>
                    <a:pt x="1988133" y="7614073"/>
                  </a:lnTo>
                  <a:lnTo>
                    <a:pt x="1956392" y="7616633"/>
                  </a:lnTo>
                  <a:lnTo>
                    <a:pt x="1929946" y="7621098"/>
                  </a:lnTo>
                  <a:lnTo>
                    <a:pt x="1903507" y="7625561"/>
                  </a:lnTo>
                  <a:lnTo>
                    <a:pt x="1881995" y="7633027"/>
                  </a:lnTo>
                  <a:lnTo>
                    <a:pt x="1864808" y="7653511"/>
                  </a:lnTo>
                  <a:lnTo>
                    <a:pt x="1851150" y="7674516"/>
                  </a:lnTo>
                  <a:lnTo>
                    <a:pt x="1845123" y="7696370"/>
                  </a:lnTo>
                  <a:lnTo>
                    <a:pt x="1843995" y="7720429"/>
                  </a:lnTo>
                  <a:lnTo>
                    <a:pt x="1845967" y="7761456"/>
                  </a:lnTo>
                  <a:lnTo>
                    <a:pt x="1856499" y="7795202"/>
                  </a:lnTo>
                  <a:lnTo>
                    <a:pt x="1871377" y="7821800"/>
                  </a:lnTo>
                  <a:lnTo>
                    <a:pt x="1893312" y="7842059"/>
                  </a:lnTo>
                  <a:lnTo>
                    <a:pt x="1923154" y="7856409"/>
                  </a:lnTo>
                  <a:lnTo>
                    <a:pt x="1955897" y="7868346"/>
                  </a:lnTo>
                  <a:lnTo>
                    <a:pt x="2000736" y="7865748"/>
                  </a:lnTo>
                  <a:lnTo>
                    <a:pt x="2017487" y="7851938"/>
                  </a:lnTo>
                  <a:lnTo>
                    <a:pt x="2041005" y="7817362"/>
                  </a:lnTo>
                  <a:lnTo>
                    <a:pt x="2048292" y="7797273"/>
                  </a:lnTo>
                  <a:lnTo>
                    <a:pt x="2055091" y="7776162"/>
                  </a:lnTo>
                  <a:lnTo>
                    <a:pt x="2061884" y="7755052"/>
                  </a:lnTo>
                  <a:lnTo>
                    <a:pt x="2068571" y="7733409"/>
                  </a:lnTo>
                  <a:lnTo>
                    <a:pt x="2087861" y="7696496"/>
                  </a:lnTo>
                  <a:lnTo>
                    <a:pt x="2120381" y="7671429"/>
                  </a:lnTo>
                  <a:lnTo>
                    <a:pt x="2148943" y="7668712"/>
                  </a:lnTo>
                  <a:lnTo>
                    <a:pt x="2174789" y="7680953"/>
                  </a:lnTo>
                  <a:lnTo>
                    <a:pt x="2193301" y="7692440"/>
                  </a:lnTo>
                  <a:lnTo>
                    <a:pt x="2219074" y="7705868"/>
                  </a:lnTo>
                  <a:lnTo>
                    <a:pt x="2247531" y="7699094"/>
                  </a:lnTo>
                  <a:lnTo>
                    <a:pt x="2271279" y="7676276"/>
                  </a:lnTo>
                  <a:lnTo>
                    <a:pt x="2276713" y="7655799"/>
                  </a:lnTo>
                  <a:lnTo>
                    <a:pt x="2275440" y="7634701"/>
                  </a:lnTo>
                  <a:lnTo>
                    <a:pt x="2274174" y="7613611"/>
                  </a:lnTo>
                  <a:lnTo>
                    <a:pt x="2266075" y="7591617"/>
                  </a:lnTo>
                  <a:lnTo>
                    <a:pt x="2257760" y="7569412"/>
                  </a:lnTo>
                  <a:lnTo>
                    <a:pt x="2249443" y="7547207"/>
                  </a:lnTo>
                  <a:lnTo>
                    <a:pt x="2240896" y="7524369"/>
                  </a:lnTo>
                  <a:lnTo>
                    <a:pt x="2233813" y="7483876"/>
                  </a:lnTo>
                  <a:lnTo>
                    <a:pt x="2248236" y="7451080"/>
                  </a:lnTo>
                  <a:lnTo>
                    <a:pt x="2282688" y="7435886"/>
                  </a:lnTo>
                  <a:lnTo>
                    <a:pt x="2305367" y="7441557"/>
                  </a:lnTo>
                  <a:lnTo>
                    <a:pt x="2328047" y="7447229"/>
                  </a:lnTo>
                  <a:lnTo>
                    <a:pt x="2353675" y="7458830"/>
                  </a:lnTo>
                  <a:lnTo>
                    <a:pt x="2378815" y="7471479"/>
                  </a:lnTo>
                  <a:lnTo>
                    <a:pt x="2403955" y="7484128"/>
                  </a:lnTo>
                  <a:lnTo>
                    <a:pt x="2428659" y="7497265"/>
                  </a:lnTo>
                  <a:lnTo>
                    <a:pt x="2450911" y="7504123"/>
                  </a:lnTo>
                  <a:lnTo>
                    <a:pt x="2473156" y="7510988"/>
                  </a:lnTo>
                  <a:lnTo>
                    <a:pt x="2506677" y="7500048"/>
                  </a:lnTo>
                  <a:lnTo>
                    <a:pt x="2521634" y="7475567"/>
                  </a:lnTo>
                  <a:lnTo>
                    <a:pt x="2520282" y="7446998"/>
                  </a:lnTo>
                  <a:lnTo>
                    <a:pt x="2516207" y="7417077"/>
                  </a:lnTo>
                  <a:lnTo>
                    <a:pt x="2520282" y="7388515"/>
                  </a:lnTo>
                  <a:lnTo>
                    <a:pt x="2540859" y="7374275"/>
                  </a:lnTo>
                  <a:lnTo>
                    <a:pt x="2565167" y="7378991"/>
                  </a:lnTo>
                  <a:lnTo>
                    <a:pt x="2591059" y="7386385"/>
                  </a:lnTo>
                  <a:lnTo>
                    <a:pt x="2618164" y="7398796"/>
                  </a:lnTo>
                  <a:lnTo>
                    <a:pt x="2642697" y="7414354"/>
                  </a:lnTo>
                  <a:lnTo>
                    <a:pt x="2662943" y="7429027"/>
                  </a:lnTo>
                  <a:lnTo>
                    <a:pt x="2667184" y="7460597"/>
                  </a:lnTo>
                  <a:lnTo>
                    <a:pt x="2653836" y="7479768"/>
                  </a:lnTo>
                  <a:lnTo>
                    <a:pt x="2635706" y="7492628"/>
                  </a:lnTo>
                  <a:lnTo>
                    <a:pt x="2620934" y="7509563"/>
                  </a:lnTo>
                  <a:lnTo>
                    <a:pt x="2609017" y="7527475"/>
                  </a:lnTo>
                  <a:lnTo>
                    <a:pt x="2605654" y="7548784"/>
                  </a:lnTo>
                  <a:lnTo>
                    <a:pt x="2610059" y="7570778"/>
                  </a:lnTo>
                  <a:lnTo>
                    <a:pt x="2616601" y="7593774"/>
                  </a:lnTo>
                  <a:lnTo>
                    <a:pt x="2627997" y="7613070"/>
                  </a:lnTo>
                  <a:lnTo>
                    <a:pt x="2684871" y="7636067"/>
                  </a:lnTo>
                  <a:lnTo>
                    <a:pt x="2706634" y="7640143"/>
                  </a:lnTo>
                  <a:lnTo>
                    <a:pt x="2727653" y="7651545"/>
                  </a:lnTo>
                  <a:lnTo>
                    <a:pt x="2748182" y="7664103"/>
                  </a:lnTo>
                  <a:lnTo>
                    <a:pt x="2767842" y="7678229"/>
                  </a:lnTo>
                  <a:lnTo>
                    <a:pt x="2788992" y="7690653"/>
                  </a:lnTo>
                  <a:lnTo>
                    <a:pt x="2809265" y="7703889"/>
                  </a:lnTo>
                  <a:lnTo>
                    <a:pt x="2829049" y="7716313"/>
                  </a:lnTo>
                  <a:lnTo>
                    <a:pt x="2859162" y="7728139"/>
                  </a:lnTo>
                  <a:lnTo>
                    <a:pt x="2894154" y="7734404"/>
                  </a:lnTo>
                  <a:lnTo>
                    <a:pt x="2932425" y="7739436"/>
                  </a:lnTo>
                  <a:lnTo>
                    <a:pt x="2971328" y="7744975"/>
                  </a:lnTo>
                  <a:lnTo>
                    <a:pt x="3010495" y="7755660"/>
                  </a:lnTo>
                  <a:lnTo>
                    <a:pt x="3048040" y="7774804"/>
                  </a:lnTo>
                  <a:lnTo>
                    <a:pt x="3068444" y="7796561"/>
                  </a:lnTo>
                  <a:lnTo>
                    <a:pt x="3081825" y="7818442"/>
                  </a:lnTo>
                  <a:lnTo>
                    <a:pt x="3095873" y="7842698"/>
                  </a:lnTo>
                  <a:lnTo>
                    <a:pt x="3109253" y="7865932"/>
                  </a:lnTo>
                  <a:lnTo>
                    <a:pt x="3119377" y="7885202"/>
                  </a:lnTo>
                  <a:lnTo>
                    <a:pt x="3132151" y="7904367"/>
                  </a:lnTo>
                  <a:lnTo>
                    <a:pt x="3147339" y="7920340"/>
                  </a:lnTo>
                  <a:lnTo>
                    <a:pt x="3167737" y="7935305"/>
                  </a:lnTo>
                  <a:lnTo>
                    <a:pt x="3190865" y="7946186"/>
                  </a:lnTo>
                  <a:lnTo>
                    <a:pt x="3210630" y="7953756"/>
                  </a:lnTo>
                  <a:lnTo>
                    <a:pt x="3231484" y="7965734"/>
                  </a:lnTo>
                  <a:lnTo>
                    <a:pt x="3246632" y="7981548"/>
                  </a:lnTo>
                  <a:lnTo>
                    <a:pt x="3258556" y="8000784"/>
                  </a:lnTo>
                  <a:lnTo>
                    <a:pt x="3267353" y="8022166"/>
                  </a:lnTo>
                  <a:lnTo>
                    <a:pt x="3271112" y="8044120"/>
                  </a:lnTo>
                  <a:lnTo>
                    <a:pt x="3269430" y="8065157"/>
                  </a:lnTo>
                  <a:lnTo>
                    <a:pt x="3245537" y="8085220"/>
                  </a:lnTo>
                  <a:lnTo>
                    <a:pt x="3228681" y="8098237"/>
                  </a:lnTo>
                  <a:lnTo>
                    <a:pt x="3213987" y="8113492"/>
                  </a:lnTo>
                  <a:lnTo>
                    <a:pt x="3197665" y="8139337"/>
                  </a:lnTo>
                  <a:lnTo>
                    <a:pt x="3191835" y="8159517"/>
                  </a:lnTo>
                  <a:lnTo>
                    <a:pt x="3193853" y="8180397"/>
                  </a:lnTo>
                  <a:lnTo>
                    <a:pt x="3214950" y="8195875"/>
                  </a:lnTo>
                  <a:lnTo>
                    <a:pt x="3234392" y="8204620"/>
                  </a:lnTo>
                  <a:lnTo>
                    <a:pt x="3257005" y="8213108"/>
                  </a:lnTo>
                  <a:lnTo>
                    <a:pt x="3279778" y="8228778"/>
                  </a:lnTo>
                  <a:lnTo>
                    <a:pt x="3301040" y="8254953"/>
                  </a:lnTo>
                  <a:lnTo>
                    <a:pt x="3305116" y="8295756"/>
                  </a:lnTo>
                  <a:lnTo>
                    <a:pt x="3287190" y="8324983"/>
                  </a:lnTo>
                  <a:lnTo>
                    <a:pt x="3260468" y="8348145"/>
                  </a:lnTo>
                  <a:lnTo>
                    <a:pt x="3237102" y="8371926"/>
                  </a:lnTo>
                  <a:lnTo>
                    <a:pt x="3237630" y="8404842"/>
                  </a:lnTo>
                  <a:lnTo>
                    <a:pt x="3258318" y="8420624"/>
                  </a:lnTo>
                  <a:lnTo>
                    <a:pt x="3291510" y="8424976"/>
                  </a:lnTo>
                  <a:lnTo>
                    <a:pt x="3326469" y="8426625"/>
                  </a:lnTo>
                  <a:lnTo>
                    <a:pt x="3367319" y="8419100"/>
                  </a:lnTo>
                  <a:lnTo>
                    <a:pt x="3403630" y="8425450"/>
                  </a:lnTo>
                  <a:lnTo>
                    <a:pt x="3438181" y="8432085"/>
                  </a:lnTo>
                  <a:lnTo>
                    <a:pt x="3471057" y="8441299"/>
                  </a:lnTo>
                  <a:lnTo>
                    <a:pt x="3503938" y="8450518"/>
                  </a:lnTo>
                  <a:lnTo>
                    <a:pt x="3535614" y="8461353"/>
                  </a:lnTo>
                  <a:lnTo>
                    <a:pt x="3551310" y="8475309"/>
                  </a:lnTo>
                  <a:lnTo>
                    <a:pt x="3559916" y="8537366"/>
                  </a:lnTo>
                  <a:lnTo>
                    <a:pt x="3571714" y="8575960"/>
                  </a:lnTo>
                  <a:lnTo>
                    <a:pt x="3584740" y="8612508"/>
                  </a:lnTo>
                  <a:lnTo>
                    <a:pt x="3610374" y="8631904"/>
                  </a:lnTo>
                  <a:lnTo>
                    <a:pt x="3651968" y="8623568"/>
                  </a:lnTo>
                  <a:lnTo>
                    <a:pt x="3681473" y="8598692"/>
                  </a:lnTo>
                  <a:lnTo>
                    <a:pt x="3687765" y="8575492"/>
                  </a:lnTo>
                  <a:lnTo>
                    <a:pt x="3690053" y="8551473"/>
                  </a:lnTo>
                  <a:lnTo>
                    <a:pt x="3692329" y="8527461"/>
                  </a:lnTo>
                  <a:lnTo>
                    <a:pt x="3689717" y="8502044"/>
                  </a:lnTo>
                  <a:lnTo>
                    <a:pt x="3703652" y="8472585"/>
                  </a:lnTo>
                  <a:lnTo>
                    <a:pt x="3721959" y="8445691"/>
                  </a:lnTo>
                  <a:lnTo>
                    <a:pt x="3747911" y="8428747"/>
                  </a:lnTo>
                  <a:lnTo>
                    <a:pt x="3778464" y="8422259"/>
                  </a:lnTo>
                  <a:lnTo>
                    <a:pt x="3809883" y="8422325"/>
                  </a:lnTo>
                  <a:lnTo>
                    <a:pt x="3839540" y="8433062"/>
                  </a:lnTo>
                  <a:lnTo>
                    <a:pt x="3864158" y="8453544"/>
                  </a:lnTo>
                  <a:lnTo>
                    <a:pt x="3896302" y="8488558"/>
                  </a:lnTo>
                  <a:lnTo>
                    <a:pt x="3911602" y="8507175"/>
                  </a:lnTo>
                  <a:lnTo>
                    <a:pt x="3922643" y="8525635"/>
                  </a:lnTo>
                  <a:lnTo>
                    <a:pt x="3933683" y="8544086"/>
                  </a:lnTo>
                  <a:lnTo>
                    <a:pt x="3958012" y="8599081"/>
                  </a:lnTo>
                  <a:lnTo>
                    <a:pt x="3973826" y="8632003"/>
                  </a:lnTo>
                  <a:lnTo>
                    <a:pt x="4008700" y="8660823"/>
                  </a:lnTo>
                  <a:lnTo>
                    <a:pt x="4032816" y="8687493"/>
                  </a:lnTo>
                  <a:lnTo>
                    <a:pt x="4036371" y="8722221"/>
                  </a:lnTo>
                  <a:lnTo>
                    <a:pt x="4023301" y="8750066"/>
                  </a:lnTo>
                  <a:lnTo>
                    <a:pt x="4018414" y="8780244"/>
                  </a:lnTo>
                  <a:lnTo>
                    <a:pt x="4031458" y="8799032"/>
                  </a:lnTo>
                  <a:lnTo>
                    <a:pt x="4060001" y="8806735"/>
                  </a:lnTo>
                  <a:lnTo>
                    <a:pt x="4119659" y="8794548"/>
                  </a:lnTo>
                  <a:lnTo>
                    <a:pt x="4150668" y="8806174"/>
                  </a:lnTo>
                  <a:lnTo>
                    <a:pt x="4170433" y="8825564"/>
                  </a:lnTo>
                  <a:lnTo>
                    <a:pt x="4190600" y="8834400"/>
                  </a:lnTo>
                  <a:lnTo>
                    <a:pt x="4233328" y="8853105"/>
                  </a:lnTo>
                  <a:lnTo>
                    <a:pt x="4269132" y="8861499"/>
                  </a:lnTo>
                  <a:lnTo>
                    <a:pt x="4298057" y="8860239"/>
                  </a:lnTo>
                  <a:lnTo>
                    <a:pt x="4326989" y="8858980"/>
                  </a:lnTo>
                  <a:lnTo>
                    <a:pt x="4348918" y="8848632"/>
                  </a:lnTo>
                  <a:lnTo>
                    <a:pt x="4367428" y="8831676"/>
                  </a:lnTo>
                  <a:lnTo>
                    <a:pt x="4385940" y="8814721"/>
                  </a:lnTo>
                  <a:lnTo>
                    <a:pt x="4400839" y="8790696"/>
                  </a:lnTo>
                  <a:lnTo>
                    <a:pt x="4412314" y="8762305"/>
                  </a:lnTo>
                  <a:lnTo>
                    <a:pt x="4423796" y="8733915"/>
                  </a:lnTo>
                  <a:lnTo>
                    <a:pt x="4431696" y="8701295"/>
                  </a:lnTo>
                  <a:lnTo>
                    <a:pt x="4439519" y="8665736"/>
                  </a:lnTo>
                  <a:lnTo>
                    <a:pt x="4481429" y="8685158"/>
                  </a:lnTo>
                  <a:lnTo>
                    <a:pt x="4506173" y="8699739"/>
                  </a:lnTo>
                  <a:lnTo>
                    <a:pt x="4532407" y="8713259"/>
                  </a:lnTo>
                  <a:lnTo>
                    <a:pt x="4561550" y="8716147"/>
                  </a:lnTo>
                  <a:lnTo>
                    <a:pt x="4594584" y="8702456"/>
                  </a:lnTo>
                  <a:lnTo>
                    <a:pt x="4608460" y="8685468"/>
                  </a:lnTo>
                  <a:lnTo>
                    <a:pt x="4617903" y="8647646"/>
                  </a:lnTo>
                  <a:lnTo>
                    <a:pt x="4628588" y="8611321"/>
                  </a:lnTo>
                  <a:lnTo>
                    <a:pt x="4639271" y="8575004"/>
                  </a:lnTo>
                  <a:lnTo>
                    <a:pt x="4650858" y="8539820"/>
                  </a:lnTo>
                  <a:lnTo>
                    <a:pt x="4672114" y="8528351"/>
                  </a:lnTo>
                  <a:lnTo>
                    <a:pt x="4705905" y="8536680"/>
                  </a:lnTo>
                  <a:lnTo>
                    <a:pt x="4726713" y="8572768"/>
                  </a:lnTo>
                  <a:lnTo>
                    <a:pt x="4735299" y="8600050"/>
                  </a:lnTo>
                  <a:lnTo>
                    <a:pt x="4729245" y="8629002"/>
                  </a:lnTo>
                  <a:lnTo>
                    <a:pt x="4721819" y="8656602"/>
                  </a:lnTo>
                  <a:lnTo>
                    <a:pt x="4733236" y="8685633"/>
                  </a:lnTo>
                  <a:lnTo>
                    <a:pt x="4740826" y="8716688"/>
                  </a:lnTo>
                  <a:lnTo>
                    <a:pt x="4742850" y="8751424"/>
                  </a:lnTo>
                  <a:lnTo>
                    <a:pt x="4722360" y="8781411"/>
                  </a:lnTo>
                  <a:lnTo>
                    <a:pt x="4691285" y="8832720"/>
                  </a:lnTo>
                  <a:lnTo>
                    <a:pt x="4685719" y="8869762"/>
                  </a:lnTo>
                  <a:lnTo>
                    <a:pt x="4682296" y="8892549"/>
                  </a:lnTo>
                  <a:lnTo>
                    <a:pt x="4700682" y="8919600"/>
                  </a:lnTo>
                  <a:lnTo>
                    <a:pt x="4718193" y="8953010"/>
                  </a:lnTo>
                  <a:lnTo>
                    <a:pt x="4731969" y="8985377"/>
                  </a:lnTo>
                  <a:lnTo>
                    <a:pt x="4746649" y="9010346"/>
                  </a:lnTo>
                  <a:lnTo>
                    <a:pt x="4776900" y="9030494"/>
                  </a:lnTo>
                  <a:lnTo>
                    <a:pt x="4798618" y="9047944"/>
                  </a:lnTo>
                  <a:lnTo>
                    <a:pt x="4822649" y="9067260"/>
                  </a:lnTo>
                  <a:lnTo>
                    <a:pt x="4851686" y="9087803"/>
                  </a:lnTo>
                  <a:lnTo>
                    <a:pt x="4878870" y="9095552"/>
                  </a:lnTo>
                  <a:lnTo>
                    <a:pt x="4905679" y="9100089"/>
                  </a:lnTo>
                  <a:lnTo>
                    <a:pt x="4930951" y="9091016"/>
                  </a:lnTo>
                  <a:lnTo>
                    <a:pt x="4953676" y="9064267"/>
                  </a:lnTo>
                  <a:lnTo>
                    <a:pt x="4967750" y="9041995"/>
                  </a:lnTo>
                  <a:lnTo>
                    <a:pt x="4960482" y="8997618"/>
                  </a:lnTo>
                  <a:lnTo>
                    <a:pt x="4939491" y="8968158"/>
                  </a:lnTo>
                  <a:lnTo>
                    <a:pt x="4924844" y="8940967"/>
                  </a:lnTo>
                  <a:lnTo>
                    <a:pt x="4914642" y="8922080"/>
                  </a:lnTo>
                  <a:lnTo>
                    <a:pt x="4903351" y="8899683"/>
                  </a:lnTo>
                  <a:lnTo>
                    <a:pt x="4892060" y="8877294"/>
                  </a:lnTo>
                  <a:lnTo>
                    <a:pt x="4880552" y="8851601"/>
                  </a:lnTo>
                  <a:lnTo>
                    <a:pt x="4872064" y="8826236"/>
                  </a:lnTo>
                  <a:lnTo>
                    <a:pt x="4863584" y="8800866"/>
                  </a:lnTo>
                  <a:lnTo>
                    <a:pt x="4858499" y="8776194"/>
                  </a:lnTo>
                  <a:lnTo>
                    <a:pt x="4859825" y="8754148"/>
                  </a:lnTo>
                  <a:lnTo>
                    <a:pt x="4861150" y="8732093"/>
                  </a:lnTo>
                  <a:lnTo>
                    <a:pt x="4887028" y="8701098"/>
                  </a:lnTo>
                  <a:lnTo>
                    <a:pt x="4915617" y="8698137"/>
                  </a:lnTo>
                  <a:lnTo>
                    <a:pt x="4945492" y="8709507"/>
                  </a:lnTo>
                  <a:lnTo>
                    <a:pt x="4968640" y="8728301"/>
                  </a:lnTo>
                  <a:lnTo>
                    <a:pt x="4987060" y="8747097"/>
                  </a:lnTo>
                  <a:lnTo>
                    <a:pt x="5009792" y="8757293"/>
                  </a:lnTo>
                  <a:lnTo>
                    <a:pt x="5028489" y="8774553"/>
                  </a:lnTo>
                  <a:lnTo>
                    <a:pt x="5039370" y="8799032"/>
                  </a:lnTo>
                  <a:lnTo>
                    <a:pt x="5040795" y="8820914"/>
                  </a:lnTo>
                  <a:lnTo>
                    <a:pt x="5037953" y="8847880"/>
                  </a:lnTo>
                  <a:lnTo>
                    <a:pt x="5032571" y="8879286"/>
                  </a:lnTo>
                  <a:lnTo>
                    <a:pt x="5025773" y="8912182"/>
                  </a:lnTo>
                  <a:lnTo>
                    <a:pt x="5020325" y="8947041"/>
                  </a:lnTo>
                  <a:lnTo>
                    <a:pt x="5017607" y="8982661"/>
                  </a:lnTo>
                  <a:lnTo>
                    <a:pt x="5016835" y="9018307"/>
                  </a:lnTo>
                  <a:lnTo>
                    <a:pt x="5021095" y="9053114"/>
                  </a:lnTo>
                  <a:lnTo>
                    <a:pt x="5031207" y="9086036"/>
                  </a:lnTo>
                  <a:lnTo>
                    <a:pt x="5048010" y="9116161"/>
                  </a:lnTo>
                  <a:lnTo>
                    <a:pt x="5067933" y="9136362"/>
                  </a:lnTo>
                  <a:lnTo>
                    <a:pt x="5099734" y="9157194"/>
                  </a:lnTo>
                  <a:lnTo>
                    <a:pt x="5136493" y="9164930"/>
                  </a:lnTo>
                  <a:lnTo>
                    <a:pt x="5174026" y="9166288"/>
                  </a:lnTo>
                  <a:lnTo>
                    <a:pt x="5211557" y="9167642"/>
                  </a:lnTo>
                  <a:lnTo>
                    <a:pt x="5249959" y="9162656"/>
                  </a:lnTo>
                  <a:lnTo>
                    <a:pt x="5286924" y="9155407"/>
                  </a:lnTo>
                  <a:lnTo>
                    <a:pt x="5323888" y="9148153"/>
                  </a:lnTo>
                  <a:lnTo>
                    <a:pt x="5358828" y="9138624"/>
                  </a:lnTo>
                  <a:lnTo>
                    <a:pt x="5388940" y="9133644"/>
                  </a:lnTo>
                  <a:lnTo>
                    <a:pt x="5419046" y="9128666"/>
                  </a:lnTo>
                  <a:lnTo>
                    <a:pt x="5444067" y="9128204"/>
                  </a:lnTo>
                  <a:lnTo>
                    <a:pt x="5481697" y="9146307"/>
                  </a:lnTo>
                  <a:lnTo>
                    <a:pt x="5497625" y="9161666"/>
                  </a:lnTo>
                  <a:lnTo>
                    <a:pt x="5514078" y="9178530"/>
                  </a:lnTo>
                  <a:lnTo>
                    <a:pt x="5530533" y="9195386"/>
                  </a:lnTo>
                  <a:lnTo>
                    <a:pt x="5547924" y="9213079"/>
                  </a:lnTo>
                  <a:lnTo>
                    <a:pt x="5568479" y="9224773"/>
                  </a:lnTo>
                  <a:lnTo>
                    <a:pt x="5593975" y="9224001"/>
                  </a:lnTo>
                  <a:lnTo>
                    <a:pt x="5632767" y="9225517"/>
                  </a:lnTo>
                  <a:lnTo>
                    <a:pt x="5658257" y="9230213"/>
                  </a:lnTo>
                  <a:lnTo>
                    <a:pt x="5684102" y="9246536"/>
                  </a:lnTo>
                  <a:lnTo>
                    <a:pt x="5702877" y="9259858"/>
                  </a:lnTo>
                  <a:lnTo>
                    <a:pt x="5722451" y="9271307"/>
                  </a:lnTo>
                  <a:lnTo>
                    <a:pt x="5742593" y="9279181"/>
                  </a:lnTo>
                  <a:lnTo>
                    <a:pt x="5763340" y="9283711"/>
                  </a:lnTo>
                  <a:lnTo>
                    <a:pt x="5785466" y="9279906"/>
                  </a:lnTo>
                  <a:lnTo>
                    <a:pt x="5805158" y="9266934"/>
                  </a:lnTo>
                  <a:lnTo>
                    <a:pt x="5821763" y="9249635"/>
                  </a:lnTo>
                  <a:lnTo>
                    <a:pt x="5837519" y="9229824"/>
                  </a:lnTo>
                  <a:lnTo>
                    <a:pt x="5852766" y="9209808"/>
                  </a:lnTo>
                  <a:lnTo>
                    <a:pt x="5867862" y="9193282"/>
                  </a:lnTo>
                  <a:lnTo>
                    <a:pt x="5866833" y="9169738"/>
                  </a:lnTo>
                  <a:lnTo>
                    <a:pt x="5848288" y="9151767"/>
                  </a:lnTo>
                  <a:lnTo>
                    <a:pt x="5829262" y="9133915"/>
                  </a:lnTo>
                  <a:lnTo>
                    <a:pt x="5809740" y="9116181"/>
                  </a:lnTo>
                  <a:lnTo>
                    <a:pt x="5802018" y="9087321"/>
                  </a:lnTo>
                  <a:lnTo>
                    <a:pt x="5797422" y="9062986"/>
                  </a:lnTo>
                  <a:lnTo>
                    <a:pt x="5790200" y="9038427"/>
                  </a:lnTo>
                  <a:lnTo>
                    <a:pt x="5781258" y="9015233"/>
                  </a:lnTo>
                  <a:lnTo>
                    <a:pt x="5769216" y="8993608"/>
                  </a:lnTo>
                  <a:lnTo>
                    <a:pt x="5753474" y="8974496"/>
                  </a:lnTo>
                  <a:lnTo>
                    <a:pt x="5782037" y="8939135"/>
                  </a:lnTo>
                  <a:lnTo>
                    <a:pt x="5812115" y="8945801"/>
                  </a:lnTo>
                  <a:lnTo>
                    <a:pt x="5836444" y="8935051"/>
                  </a:lnTo>
                  <a:lnTo>
                    <a:pt x="5837802" y="8899683"/>
                  </a:lnTo>
                  <a:lnTo>
                    <a:pt x="5809240" y="8890167"/>
                  </a:lnTo>
                  <a:lnTo>
                    <a:pt x="5788018" y="8879853"/>
                  </a:lnTo>
                  <a:lnTo>
                    <a:pt x="5767896" y="8867837"/>
                  </a:lnTo>
                  <a:lnTo>
                    <a:pt x="5752114" y="8853441"/>
                  </a:lnTo>
                  <a:lnTo>
                    <a:pt x="5735793" y="8828960"/>
                  </a:lnTo>
                  <a:lnTo>
                    <a:pt x="5713680" y="8814960"/>
                  </a:lnTo>
                  <a:lnTo>
                    <a:pt x="5684458" y="8802151"/>
                  </a:lnTo>
                  <a:lnTo>
                    <a:pt x="5652821" y="8789510"/>
                  </a:lnTo>
                  <a:lnTo>
                    <a:pt x="5620929" y="8775092"/>
                  </a:lnTo>
                  <a:lnTo>
                    <a:pt x="5594932" y="8757682"/>
                  </a:lnTo>
                  <a:lnTo>
                    <a:pt x="5579368" y="8735101"/>
                  </a:lnTo>
                  <a:lnTo>
                    <a:pt x="5584974" y="8704943"/>
                  </a:lnTo>
                  <a:lnTo>
                    <a:pt x="5595526" y="8680937"/>
                  </a:lnTo>
                  <a:lnTo>
                    <a:pt x="5607937" y="8658930"/>
                  </a:lnTo>
                  <a:lnTo>
                    <a:pt x="5620381" y="8635690"/>
                  </a:lnTo>
                  <a:lnTo>
                    <a:pt x="5630847" y="8606006"/>
                  </a:lnTo>
                  <a:lnTo>
                    <a:pt x="5637858" y="8565079"/>
                  </a:lnTo>
                  <a:lnTo>
                    <a:pt x="5642408" y="8535454"/>
                  </a:lnTo>
                  <a:lnTo>
                    <a:pt x="5620177" y="8526986"/>
                  </a:lnTo>
                  <a:lnTo>
                    <a:pt x="5607001" y="8549396"/>
                  </a:lnTo>
                  <a:lnTo>
                    <a:pt x="5595268" y="8567148"/>
                  </a:lnTo>
                  <a:lnTo>
                    <a:pt x="5575259" y="8584995"/>
                  </a:lnTo>
                  <a:lnTo>
                    <a:pt x="5549249" y="8588522"/>
                  </a:lnTo>
                  <a:lnTo>
                    <a:pt x="5522243" y="8581394"/>
                  </a:lnTo>
                  <a:lnTo>
                    <a:pt x="5506514" y="8561649"/>
                  </a:lnTo>
                  <a:lnTo>
                    <a:pt x="5503725" y="8539952"/>
                  </a:lnTo>
                  <a:lnTo>
                    <a:pt x="5511362" y="8512021"/>
                  </a:lnTo>
                  <a:lnTo>
                    <a:pt x="5520646" y="8483229"/>
                  </a:lnTo>
                  <a:lnTo>
                    <a:pt x="5527683" y="8452174"/>
                  </a:lnTo>
                  <a:lnTo>
                    <a:pt x="5489684" y="8441246"/>
                  </a:lnTo>
                  <a:lnTo>
                    <a:pt x="5465171" y="8440593"/>
                  </a:lnTo>
                  <a:lnTo>
                    <a:pt x="5443349" y="8437217"/>
                  </a:lnTo>
                  <a:lnTo>
                    <a:pt x="5421525" y="8433853"/>
                  </a:lnTo>
                  <a:lnTo>
                    <a:pt x="5387582" y="8416812"/>
                  </a:lnTo>
                  <a:lnTo>
                    <a:pt x="5360312" y="8392337"/>
                  </a:lnTo>
                  <a:lnTo>
                    <a:pt x="5346838" y="8354239"/>
                  </a:lnTo>
                  <a:lnTo>
                    <a:pt x="5345091" y="8331270"/>
                  </a:lnTo>
                  <a:lnTo>
                    <a:pt x="5348138" y="8301196"/>
                  </a:lnTo>
                  <a:lnTo>
                    <a:pt x="5353908" y="8274513"/>
                  </a:lnTo>
                  <a:lnTo>
                    <a:pt x="5364130" y="8248991"/>
                  </a:lnTo>
                  <a:lnTo>
                    <a:pt x="5373976" y="8223667"/>
                  </a:lnTo>
                  <a:lnTo>
                    <a:pt x="5379760" y="8195652"/>
                  </a:lnTo>
                  <a:lnTo>
                    <a:pt x="5381804" y="8167346"/>
                  </a:lnTo>
                  <a:lnTo>
                    <a:pt x="5380782" y="8139337"/>
                  </a:lnTo>
                  <a:lnTo>
                    <a:pt x="5379094" y="8110083"/>
                  </a:lnTo>
                  <a:lnTo>
                    <a:pt x="5377037" y="8081533"/>
                  </a:lnTo>
                  <a:lnTo>
                    <a:pt x="5375348" y="8053643"/>
                  </a:lnTo>
                  <a:lnTo>
                    <a:pt x="5380782" y="8030514"/>
                  </a:lnTo>
                  <a:lnTo>
                    <a:pt x="5395745" y="8010117"/>
                  </a:lnTo>
                  <a:lnTo>
                    <a:pt x="5409351" y="7989712"/>
                  </a:lnTo>
                  <a:lnTo>
                    <a:pt x="5413427" y="7966591"/>
                  </a:lnTo>
                  <a:lnTo>
                    <a:pt x="5405751" y="7945552"/>
                  </a:lnTo>
                  <a:lnTo>
                    <a:pt x="5390707" y="7930457"/>
                  </a:lnTo>
                  <a:lnTo>
                    <a:pt x="5359969" y="7904783"/>
                  </a:lnTo>
                  <a:lnTo>
                    <a:pt x="5331815" y="7882255"/>
                  </a:lnTo>
                  <a:lnTo>
                    <a:pt x="5313685" y="7857523"/>
                  </a:lnTo>
                  <a:lnTo>
                    <a:pt x="5318434" y="7831375"/>
                  </a:lnTo>
                  <a:lnTo>
                    <a:pt x="5330456" y="7810167"/>
                  </a:lnTo>
                  <a:lnTo>
                    <a:pt x="5348407" y="7785838"/>
                  </a:lnTo>
                  <a:lnTo>
                    <a:pt x="5363101" y="7770723"/>
                  </a:lnTo>
                  <a:lnTo>
                    <a:pt x="5360377" y="7740794"/>
                  </a:lnTo>
                  <a:lnTo>
                    <a:pt x="5361737" y="7710873"/>
                  </a:lnTo>
                  <a:lnTo>
                    <a:pt x="5393267" y="7704496"/>
                  </a:lnTo>
                  <a:lnTo>
                    <a:pt x="5428126" y="7706368"/>
                  </a:lnTo>
                  <a:lnTo>
                    <a:pt x="5455588" y="7690468"/>
                  </a:lnTo>
                  <a:lnTo>
                    <a:pt x="5450155" y="7656466"/>
                  </a:lnTo>
                  <a:lnTo>
                    <a:pt x="5412048" y="7643961"/>
                  </a:lnTo>
                  <a:lnTo>
                    <a:pt x="5387588" y="7633343"/>
                  </a:lnTo>
                  <a:lnTo>
                    <a:pt x="5363127" y="7622725"/>
                  </a:lnTo>
                  <a:lnTo>
                    <a:pt x="5340250" y="7610208"/>
                  </a:lnTo>
                  <a:lnTo>
                    <a:pt x="5325643" y="7589006"/>
                  </a:lnTo>
                  <a:lnTo>
                    <a:pt x="5315499" y="7568054"/>
                  </a:lnTo>
                  <a:lnTo>
                    <a:pt x="5301663" y="7551376"/>
                  </a:lnTo>
                  <a:lnTo>
                    <a:pt x="5281489" y="7536768"/>
                  </a:lnTo>
                  <a:lnTo>
                    <a:pt x="5270145" y="7517629"/>
                  </a:lnTo>
                  <a:lnTo>
                    <a:pt x="5271973" y="7493242"/>
                  </a:lnTo>
                  <a:lnTo>
                    <a:pt x="5274282" y="7462417"/>
                  </a:lnTo>
                  <a:lnTo>
                    <a:pt x="5275238" y="7431157"/>
                  </a:lnTo>
                  <a:lnTo>
                    <a:pt x="5277413" y="7399389"/>
                  </a:lnTo>
                  <a:lnTo>
                    <a:pt x="5279584" y="7367622"/>
                  </a:lnTo>
                  <a:lnTo>
                    <a:pt x="5282743" y="7335980"/>
                  </a:lnTo>
                  <a:lnTo>
                    <a:pt x="5288295" y="7305537"/>
                  </a:lnTo>
                  <a:lnTo>
                    <a:pt x="5296902" y="7270426"/>
                  </a:lnTo>
                  <a:lnTo>
                    <a:pt x="5306886" y="7234549"/>
                  </a:lnTo>
                  <a:lnTo>
                    <a:pt x="5310059" y="7198080"/>
                  </a:lnTo>
                  <a:lnTo>
                    <a:pt x="5282849" y="7176317"/>
                  </a:lnTo>
                  <a:lnTo>
                    <a:pt x="5216200" y="7203520"/>
                  </a:lnTo>
                  <a:lnTo>
                    <a:pt x="5192070" y="7190826"/>
                  </a:lnTo>
                  <a:lnTo>
                    <a:pt x="5194443" y="7164076"/>
                  </a:lnTo>
                  <a:lnTo>
                    <a:pt x="5204204" y="7133766"/>
                  </a:lnTo>
                  <a:lnTo>
                    <a:pt x="5217327" y="7101894"/>
                  </a:lnTo>
                  <a:lnTo>
                    <a:pt x="5229805" y="7071584"/>
                  </a:lnTo>
                  <a:lnTo>
                    <a:pt x="5240806" y="7042440"/>
                  </a:lnTo>
                  <a:lnTo>
                    <a:pt x="5243741" y="7014893"/>
                  </a:lnTo>
                  <a:lnTo>
                    <a:pt x="5235245" y="6989972"/>
                  </a:lnTo>
                  <a:lnTo>
                    <a:pt x="5221871" y="6967641"/>
                  </a:lnTo>
                  <a:lnTo>
                    <a:pt x="5205094" y="6949729"/>
                  </a:lnTo>
                  <a:lnTo>
                    <a:pt x="5189003" y="6934205"/>
                  </a:lnTo>
                  <a:lnTo>
                    <a:pt x="5172680" y="6909718"/>
                  </a:lnTo>
                  <a:lnTo>
                    <a:pt x="5180436" y="6882091"/>
                  </a:lnTo>
                  <a:lnTo>
                    <a:pt x="5242045" y="6858034"/>
                  </a:lnTo>
                  <a:lnTo>
                    <a:pt x="5259521" y="6826239"/>
                  </a:lnTo>
                  <a:lnTo>
                    <a:pt x="5247018" y="6805994"/>
                  </a:lnTo>
                  <a:lnTo>
                    <a:pt x="5232529" y="6785944"/>
                  </a:lnTo>
                  <a:lnTo>
                    <a:pt x="5218040" y="6765889"/>
                  </a:lnTo>
                  <a:lnTo>
                    <a:pt x="5201460" y="6747014"/>
                  </a:lnTo>
                  <a:lnTo>
                    <a:pt x="5212124" y="6717931"/>
                  </a:lnTo>
                  <a:lnTo>
                    <a:pt x="5236341" y="6712603"/>
                  </a:lnTo>
                  <a:lnTo>
                    <a:pt x="5272237" y="6715102"/>
                  </a:lnTo>
                  <a:lnTo>
                    <a:pt x="5297818" y="6719297"/>
                  </a:lnTo>
                  <a:lnTo>
                    <a:pt x="5303767" y="6688835"/>
                  </a:lnTo>
                  <a:lnTo>
                    <a:pt x="5297818" y="6664889"/>
                  </a:lnTo>
                  <a:lnTo>
                    <a:pt x="5289324" y="6640553"/>
                  </a:lnTo>
                  <a:lnTo>
                    <a:pt x="5279101" y="6618494"/>
                  </a:lnTo>
                  <a:lnTo>
                    <a:pt x="5266532" y="6596875"/>
                  </a:lnTo>
                  <a:lnTo>
                    <a:pt x="5253329" y="6574050"/>
                  </a:lnTo>
                  <a:lnTo>
                    <a:pt x="5224957" y="6524634"/>
                  </a:lnTo>
                  <a:lnTo>
                    <a:pt x="5216800" y="6497141"/>
                  </a:lnTo>
                  <a:lnTo>
                    <a:pt x="5216206" y="6474461"/>
                  </a:lnTo>
                  <a:lnTo>
                    <a:pt x="5215612" y="6451781"/>
                  </a:lnTo>
                  <a:lnTo>
                    <a:pt x="5236605" y="6417329"/>
                  </a:lnTo>
                  <a:lnTo>
                    <a:pt x="5266189" y="6386148"/>
                  </a:lnTo>
                  <a:lnTo>
                    <a:pt x="5285579" y="6368362"/>
                  </a:lnTo>
                  <a:lnTo>
                    <a:pt x="5304960" y="6350581"/>
                  </a:lnTo>
                  <a:lnTo>
                    <a:pt x="5326638" y="6330152"/>
                  </a:lnTo>
                  <a:lnTo>
                    <a:pt x="5345428" y="6303079"/>
                  </a:lnTo>
                  <a:lnTo>
                    <a:pt x="5346020" y="6280406"/>
                  </a:lnTo>
                  <a:lnTo>
                    <a:pt x="5341101" y="6257871"/>
                  </a:lnTo>
                  <a:lnTo>
                    <a:pt x="5333180" y="6235066"/>
                  </a:lnTo>
                  <a:lnTo>
                    <a:pt x="5325266" y="6212261"/>
                  </a:lnTo>
                  <a:lnTo>
                    <a:pt x="5314054" y="6189568"/>
                  </a:lnTo>
                  <a:lnTo>
                    <a:pt x="5303260" y="6168417"/>
                  </a:lnTo>
                  <a:lnTo>
                    <a:pt x="5292463" y="6147268"/>
                  </a:lnTo>
                  <a:lnTo>
                    <a:pt x="5281397" y="6127627"/>
                  </a:lnTo>
                  <a:lnTo>
                    <a:pt x="5265267" y="6092227"/>
                  </a:lnTo>
                  <a:lnTo>
                    <a:pt x="5261092" y="6063684"/>
                  </a:lnTo>
                  <a:lnTo>
                    <a:pt x="5261619" y="6040707"/>
                  </a:lnTo>
                  <a:lnTo>
                    <a:pt x="5261751" y="6019043"/>
                  </a:lnTo>
                  <a:lnTo>
                    <a:pt x="5268617" y="5977733"/>
                  </a:lnTo>
                  <a:lnTo>
                    <a:pt x="5285572" y="5938546"/>
                  </a:lnTo>
                  <a:lnTo>
                    <a:pt x="5300530" y="5912699"/>
                  </a:lnTo>
                  <a:lnTo>
                    <a:pt x="5308120" y="5892302"/>
                  </a:lnTo>
                  <a:lnTo>
                    <a:pt x="5297917" y="5856539"/>
                  </a:lnTo>
                  <a:lnTo>
                    <a:pt x="5279379" y="5841891"/>
                  </a:lnTo>
                  <a:lnTo>
                    <a:pt x="5259726" y="5822924"/>
                  </a:lnTo>
                  <a:lnTo>
                    <a:pt x="5240073" y="5803957"/>
                  </a:lnTo>
                  <a:lnTo>
                    <a:pt x="5219088" y="5780921"/>
                  </a:lnTo>
                  <a:lnTo>
                    <a:pt x="5209400" y="5739953"/>
                  </a:lnTo>
                  <a:lnTo>
                    <a:pt x="5213225" y="5706391"/>
                  </a:lnTo>
                  <a:lnTo>
                    <a:pt x="5222412" y="5675534"/>
                  </a:lnTo>
                  <a:lnTo>
                    <a:pt x="5229799" y="5644736"/>
                  </a:lnTo>
                  <a:lnTo>
                    <a:pt x="5237191" y="5613944"/>
                  </a:lnTo>
                  <a:lnTo>
                    <a:pt x="5243305" y="5582658"/>
                  </a:lnTo>
                  <a:lnTo>
                    <a:pt x="5242045" y="5548167"/>
                  </a:lnTo>
                  <a:lnTo>
                    <a:pt x="5238471" y="5521491"/>
                  </a:lnTo>
                  <a:lnTo>
                    <a:pt x="5237442" y="5495948"/>
                  </a:lnTo>
                  <a:lnTo>
                    <a:pt x="5250210" y="5470637"/>
                  </a:lnTo>
                  <a:lnTo>
                    <a:pt x="5278370" y="5436640"/>
                  </a:lnTo>
                  <a:lnTo>
                    <a:pt x="5309972" y="5422429"/>
                  </a:lnTo>
                  <a:lnTo>
                    <a:pt x="5337262" y="5412147"/>
                  </a:lnTo>
                  <a:lnTo>
                    <a:pt x="5364552" y="5401866"/>
                  </a:lnTo>
                  <a:lnTo>
                    <a:pt x="5387450" y="5396412"/>
                  </a:lnTo>
                  <a:lnTo>
                    <a:pt x="5406825" y="5362488"/>
                  </a:lnTo>
                  <a:lnTo>
                    <a:pt x="5401252" y="5340644"/>
                  </a:lnTo>
                  <a:lnTo>
                    <a:pt x="5395753" y="5316930"/>
                  </a:lnTo>
                  <a:lnTo>
                    <a:pt x="5390253" y="5293215"/>
                  </a:lnTo>
                  <a:lnTo>
                    <a:pt x="5385221" y="5267388"/>
                  </a:lnTo>
                  <a:lnTo>
                    <a:pt x="5391678" y="5243483"/>
                  </a:lnTo>
                  <a:lnTo>
                    <a:pt x="5417502" y="5223019"/>
                  </a:lnTo>
                  <a:lnTo>
                    <a:pt x="5431029" y="5204414"/>
                  </a:lnTo>
                  <a:lnTo>
                    <a:pt x="5442095" y="5168288"/>
                  </a:lnTo>
                  <a:lnTo>
                    <a:pt x="5431122" y="5133308"/>
                  </a:lnTo>
                  <a:lnTo>
                    <a:pt x="5408678" y="5096990"/>
                  </a:lnTo>
                  <a:lnTo>
                    <a:pt x="5393036" y="5077535"/>
                  </a:lnTo>
                  <a:lnTo>
                    <a:pt x="5377393" y="5058087"/>
                  </a:lnTo>
                  <a:lnTo>
                    <a:pt x="5359236" y="5036844"/>
                  </a:lnTo>
                  <a:lnTo>
                    <a:pt x="5342710" y="5013604"/>
                  </a:lnTo>
                  <a:lnTo>
                    <a:pt x="5332329" y="4990120"/>
                  </a:lnTo>
                  <a:lnTo>
                    <a:pt x="5334044" y="4963641"/>
                  </a:lnTo>
                  <a:lnTo>
                    <a:pt x="5344068" y="4936074"/>
                  </a:lnTo>
                  <a:lnTo>
                    <a:pt x="5354145" y="4908369"/>
                  </a:lnTo>
                  <a:lnTo>
                    <a:pt x="5368192" y="4881455"/>
                  </a:lnTo>
                  <a:lnTo>
                    <a:pt x="5367191" y="4859903"/>
                  </a:lnTo>
                  <a:lnTo>
                    <a:pt x="5365884" y="4831724"/>
                  </a:lnTo>
                  <a:lnTo>
                    <a:pt x="5355701" y="4804704"/>
                  </a:lnTo>
                  <a:lnTo>
                    <a:pt x="5345428" y="4778291"/>
                  </a:lnTo>
                  <a:lnTo>
                    <a:pt x="5335158" y="4751879"/>
                  </a:lnTo>
                  <a:lnTo>
                    <a:pt x="5324317" y="4724820"/>
                  </a:lnTo>
                  <a:lnTo>
                    <a:pt x="5320947" y="4698037"/>
                  </a:lnTo>
                  <a:lnTo>
                    <a:pt x="5323169" y="4663487"/>
                  </a:lnTo>
                  <a:lnTo>
                    <a:pt x="5332323" y="4626496"/>
                  </a:lnTo>
                  <a:lnTo>
                    <a:pt x="5334546" y="4590586"/>
                  </a:lnTo>
                  <a:lnTo>
                    <a:pt x="5322127" y="4560574"/>
                  </a:lnTo>
                  <a:lnTo>
                    <a:pt x="5295287" y="4536264"/>
                  </a:lnTo>
                  <a:lnTo>
                    <a:pt x="5261098" y="4514416"/>
                  </a:lnTo>
                  <a:lnTo>
                    <a:pt x="5226850" y="4493496"/>
                  </a:lnTo>
                  <a:lnTo>
                    <a:pt x="5200134" y="4470039"/>
                  </a:lnTo>
                  <a:lnTo>
                    <a:pt x="5189009" y="4442321"/>
                  </a:lnTo>
                  <a:lnTo>
                    <a:pt x="5185481" y="4418540"/>
                  </a:lnTo>
                  <a:lnTo>
                    <a:pt x="5181154" y="4393722"/>
                  </a:lnTo>
                  <a:lnTo>
                    <a:pt x="5176762" y="4368873"/>
                  </a:lnTo>
                  <a:lnTo>
                    <a:pt x="5172370" y="4344023"/>
                  </a:lnTo>
                  <a:lnTo>
                    <a:pt x="5167846" y="4318811"/>
                  </a:lnTo>
                  <a:lnTo>
                    <a:pt x="5161805" y="4294060"/>
                  </a:lnTo>
                  <a:lnTo>
                    <a:pt x="5155757" y="4269316"/>
                  </a:lnTo>
                  <a:lnTo>
                    <a:pt x="5148523" y="4244084"/>
                  </a:lnTo>
                  <a:lnTo>
                    <a:pt x="5140042" y="4220614"/>
                  </a:lnTo>
                  <a:lnTo>
                    <a:pt x="5131554" y="4197142"/>
                  </a:lnTo>
                  <a:lnTo>
                    <a:pt x="5121827" y="4174990"/>
                  </a:lnTo>
                  <a:lnTo>
                    <a:pt x="5110115" y="4153959"/>
                  </a:lnTo>
                  <a:lnTo>
                    <a:pt x="5090363" y="4118485"/>
                  </a:lnTo>
                  <a:lnTo>
                    <a:pt x="5074264" y="4091842"/>
                  </a:lnTo>
                  <a:lnTo>
                    <a:pt x="5062505" y="4069629"/>
                  </a:lnTo>
                  <a:lnTo>
                    <a:pt x="5050754" y="4047418"/>
                  </a:lnTo>
                  <a:lnTo>
                    <a:pt x="5039384" y="4012504"/>
                  </a:lnTo>
                  <a:lnTo>
                    <a:pt x="5036693" y="3975453"/>
                  </a:lnTo>
                  <a:lnTo>
                    <a:pt x="5042100" y="3952655"/>
                  </a:lnTo>
                  <a:lnTo>
                    <a:pt x="5047516" y="3929850"/>
                  </a:lnTo>
                  <a:lnTo>
                    <a:pt x="5057447" y="3902250"/>
                  </a:lnTo>
                  <a:lnTo>
                    <a:pt x="5072029" y="3865597"/>
                  </a:lnTo>
                  <a:lnTo>
                    <a:pt x="5082910" y="3838398"/>
                  </a:lnTo>
                  <a:lnTo>
                    <a:pt x="5091483" y="3818449"/>
                  </a:lnTo>
                  <a:lnTo>
                    <a:pt x="5101534" y="3798494"/>
                  </a:lnTo>
                  <a:lnTo>
                    <a:pt x="5114191" y="3781267"/>
                  </a:lnTo>
                  <a:lnTo>
                    <a:pt x="5127070" y="3764627"/>
                  </a:lnTo>
                  <a:lnTo>
                    <a:pt x="5149472" y="3756893"/>
                  </a:lnTo>
                  <a:lnTo>
                    <a:pt x="5177698" y="3742252"/>
                  </a:lnTo>
                  <a:lnTo>
                    <a:pt x="5207152" y="3729926"/>
                  </a:lnTo>
                  <a:lnTo>
                    <a:pt x="5231169" y="3714626"/>
                  </a:lnTo>
                  <a:lnTo>
                    <a:pt x="5255328" y="3687869"/>
                  </a:lnTo>
                  <a:lnTo>
                    <a:pt x="5262456" y="3664293"/>
                  </a:lnTo>
                  <a:lnTo>
                    <a:pt x="5269580" y="3640717"/>
                  </a:lnTo>
                  <a:lnTo>
                    <a:pt x="5274150" y="3611040"/>
                  </a:lnTo>
                  <a:lnTo>
                    <a:pt x="5277413" y="3581322"/>
                  </a:lnTo>
                  <a:lnTo>
                    <a:pt x="5280678" y="3551606"/>
                  </a:lnTo>
                  <a:lnTo>
                    <a:pt x="5283039" y="3521686"/>
                  </a:lnTo>
                  <a:lnTo>
                    <a:pt x="5285579" y="3494270"/>
                  </a:lnTo>
                  <a:lnTo>
                    <a:pt x="5288110" y="3466855"/>
                  </a:lnTo>
                  <a:lnTo>
                    <a:pt x="5290161" y="3441577"/>
                  </a:lnTo>
                  <a:lnTo>
                    <a:pt x="5302508" y="3399896"/>
                  </a:lnTo>
                  <a:lnTo>
                    <a:pt x="5325023" y="3370490"/>
                  </a:lnTo>
                  <a:lnTo>
                    <a:pt x="5350551" y="3347823"/>
                  </a:lnTo>
                  <a:lnTo>
                    <a:pt x="5375665" y="3327874"/>
                  </a:lnTo>
                  <a:lnTo>
                    <a:pt x="5397111" y="3302484"/>
                  </a:lnTo>
                  <a:lnTo>
                    <a:pt x="5413282" y="3267075"/>
                  </a:lnTo>
                  <a:lnTo>
                    <a:pt x="5416157" y="3238553"/>
                  </a:lnTo>
                  <a:lnTo>
                    <a:pt x="5417107" y="3212813"/>
                  </a:lnTo>
                  <a:lnTo>
                    <a:pt x="5409332" y="3185667"/>
                  </a:lnTo>
                  <a:lnTo>
                    <a:pt x="5391374" y="3165929"/>
                  </a:lnTo>
                  <a:lnTo>
                    <a:pt x="5365963" y="3146805"/>
                  </a:lnTo>
                  <a:lnTo>
                    <a:pt x="5337994" y="3124943"/>
                  </a:lnTo>
                  <a:lnTo>
                    <a:pt x="5319852" y="3109900"/>
                  </a:lnTo>
                  <a:lnTo>
                    <a:pt x="5301900" y="3094368"/>
                  </a:lnTo>
                  <a:lnTo>
                    <a:pt x="5283955" y="3078845"/>
                  </a:lnTo>
                  <a:lnTo>
                    <a:pt x="5266663" y="3063194"/>
                  </a:lnTo>
                  <a:lnTo>
                    <a:pt x="5254292" y="3045408"/>
                  </a:lnTo>
                  <a:lnTo>
                    <a:pt x="5241927" y="3027615"/>
                  </a:lnTo>
                  <a:lnTo>
                    <a:pt x="5234106" y="3008027"/>
                  </a:lnTo>
                  <a:lnTo>
                    <a:pt x="5232529" y="2986917"/>
                  </a:lnTo>
                  <a:lnTo>
                    <a:pt x="5230952" y="2965808"/>
                  </a:lnTo>
                  <a:lnTo>
                    <a:pt x="5235786" y="2943036"/>
                  </a:lnTo>
                  <a:lnTo>
                    <a:pt x="5250216" y="2917546"/>
                  </a:lnTo>
                  <a:lnTo>
                    <a:pt x="5269559" y="2879802"/>
                  </a:lnTo>
                  <a:lnTo>
                    <a:pt x="5295814" y="2858700"/>
                  </a:lnTo>
                  <a:lnTo>
                    <a:pt x="5315505" y="2845457"/>
                  </a:lnTo>
                  <a:lnTo>
                    <a:pt x="5332323" y="2830413"/>
                  </a:lnTo>
                  <a:lnTo>
                    <a:pt x="5341344" y="2810089"/>
                  </a:lnTo>
                  <a:lnTo>
                    <a:pt x="5348784" y="2763000"/>
                  </a:lnTo>
                  <a:lnTo>
                    <a:pt x="5349510" y="2728477"/>
                  </a:lnTo>
                  <a:lnTo>
                    <a:pt x="5350241" y="2693960"/>
                  </a:lnTo>
                  <a:lnTo>
                    <a:pt x="5349641" y="2658907"/>
                  </a:lnTo>
                  <a:lnTo>
                    <a:pt x="5349311" y="2625201"/>
                  </a:lnTo>
                  <a:lnTo>
                    <a:pt x="5346034" y="2594731"/>
                  </a:lnTo>
                  <a:lnTo>
                    <a:pt x="5338628" y="2565253"/>
                  </a:lnTo>
                  <a:lnTo>
                    <a:pt x="5331222" y="2535780"/>
                  </a:lnTo>
                  <a:lnTo>
                    <a:pt x="5320096" y="2508160"/>
                  </a:lnTo>
                  <a:lnTo>
                    <a:pt x="5301900" y="2494522"/>
                  </a:lnTo>
                  <a:lnTo>
                    <a:pt x="5272896" y="2472463"/>
                  </a:lnTo>
                  <a:lnTo>
                    <a:pt x="5243852" y="2451292"/>
                  </a:lnTo>
                  <a:lnTo>
                    <a:pt x="5216206" y="2429233"/>
                  </a:lnTo>
                  <a:lnTo>
                    <a:pt x="5188746" y="2406224"/>
                  </a:lnTo>
                  <a:lnTo>
                    <a:pt x="5175285" y="2383451"/>
                  </a:lnTo>
                  <a:lnTo>
                    <a:pt x="5171322" y="2359861"/>
                  </a:lnTo>
                  <a:lnTo>
                    <a:pt x="5167358" y="2336277"/>
                  </a:lnTo>
                  <a:lnTo>
                    <a:pt x="5172252" y="2312332"/>
                  </a:lnTo>
                  <a:lnTo>
                    <a:pt x="5179486" y="2287772"/>
                  </a:lnTo>
                  <a:lnTo>
                    <a:pt x="5186713" y="2263212"/>
                  </a:lnTo>
                  <a:lnTo>
                    <a:pt x="5196488" y="2238891"/>
                  </a:lnTo>
                  <a:lnTo>
                    <a:pt x="5202608" y="2212966"/>
                  </a:lnTo>
                  <a:lnTo>
                    <a:pt x="5208727" y="2187035"/>
                  </a:lnTo>
                  <a:lnTo>
                    <a:pt x="5211261" y="2159040"/>
                  </a:lnTo>
                  <a:lnTo>
                    <a:pt x="5203967" y="2131347"/>
                  </a:lnTo>
                  <a:lnTo>
                    <a:pt x="5196699" y="2103761"/>
                  </a:lnTo>
                  <a:lnTo>
                    <a:pt x="5174038" y="2072864"/>
                  </a:lnTo>
                  <a:lnTo>
                    <a:pt x="5148252" y="2050303"/>
                  </a:lnTo>
                  <a:lnTo>
                    <a:pt x="5120936" y="2035576"/>
                  </a:lnTo>
                  <a:lnTo>
                    <a:pt x="5095150" y="2019815"/>
                  </a:lnTo>
                  <a:lnTo>
                    <a:pt x="5072919" y="1998611"/>
                  </a:lnTo>
                  <a:lnTo>
                    <a:pt x="5065223" y="1979012"/>
                  </a:lnTo>
                  <a:lnTo>
                    <a:pt x="5058529" y="1950752"/>
                  </a:lnTo>
                  <a:lnTo>
                    <a:pt x="5063766" y="1925653"/>
                  </a:lnTo>
                  <a:lnTo>
                    <a:pt x="5076111" y="1902840"/>
                  </a:lnTo>
                  <a:lnTo>
                    <a:pt x="5090257" y="1880161"/>
                  </a:lnTo>
                  <a:lnTo>
                    <a:pt x="5102774" y="1857507"/>
                  </a:lnTo>
                  <a:lnTo>
                    <a:pt x="5110115" y="1833469"/>
                  </a:lnTo>
                  <a:lnTo>
                    <a:pt x="5115324" y="1798272"/>
                  </a:lnTo>
                  <a:lnTo>
                    <a:pt x="5098204" y="1754977"/>
                  </a:lnTo>
                  <a:lnTo>
                    <a:pt x="5080193" y="1715129"/>
                  </a:lnTo>
                  <a:lnTo>
                    <a:pt x="5062183" y="1675284"/>
                  </a:lnTo>
                  <a:lnTo>
                    <a:pt x="5042820" y="1639743"/>
                  </a:lnTo>
                  <a:lnTo>
                    <a:pt x="5054380" y="1585527"/>
                  </a:lnTo>
                  <a:lnTo>
                    <a:pt x="5072240" y="1554900"/>
                  </a:lnTo>
                  <a:lnTo>
                    <a:pt x="5101753" y="1532590"/>
                  </a:lnTo>
                  <a:lnTo>
                    <a:pt x="5138684" y="1513821"/>
                  </a:lnTo>
                  <a:lnTo>
                    <a:pt x="5177554" y="1499285"/>
                  </a:lnTo>
                  <a:lnTo>
                    <a:pt x="5214064" y="1487553"/>
                  </a:lnTo>
                  <a:lnTo>
                    <a:pt x="5243417" y="1478459"/>
                  </a:lnTo>
                  <a:lnTo>
                    <a:pt x="5278146" y="1468026"/>
                  </a:lnTo>
                  <a:lnTo>
                    <a:pt x="5301413" y="1467848"/>
                  </a:lnTo>
                  <a:lnTo>
                    <a:pt x="5335047" y="1453701"/>
                  </a:lnTo>
                  <a:lnTo>
                    <a:pt x="5353591" y="1402288"/>
                  </a:lnTo>
                  <a:lnTo>
                    <a:pt x="5362791" y="1368409"/>
                  </a:lnTo>
                  <a:lnTo>
                    <a:pt x="5340211" y="1337968"/>
                  </a:lnTo>
                  <a:lnTo>
                    <a:pt x="5296466" y="1338357"/>
                  </a:lnTo>
                  <a:lnTo>
                    <a:pt x="5271993" y="1336583"/>
                  </a:lnTo>
                  <a:lnTo>
                    <a:pt x="5242026" y="1331426"/>
                  </a:lnTo>
                  <a:lnTo>
                    <a:pt x="5203973" y="1304354"/>
                  </a:lnTo>
                  <a:lnTo>
                    <a:pt x="5196871" y="1276213"/>
                  </a:lnTo>
                  <a:lnTo>
                    <a:pt x="5229323" y="1229976"/>
                  </a:lnTo>
                  <a:lnTo>
                    <a:pt x="5252024" y="1228254"/>
                  </a:lnTo>
                  <a:lnTo>
                    <a:pt x="5271979" y="1221377"/>
                  </a:lnTo>
                  <a:lnTo>
                    <a:pt x="5291698" y="1213106"/>
                  </a:lnTo>
                  <a:lnTo>
                    <a:pt x="5309393" y="1191568"/>
                  </a:lnTo>
                  <a:lnTo>
                    <a:pt x="5326387" y="1146570"/>
                  </a:lnTo>
                  <a:lnTo>
                    <a:pt x="5344860" y="1108755"/>
                  </a:lnTo>
                  <a:lnTo>
                    <a:pt x="5342795" y="1077285"/>
                  </a:lnTo>
                  <a:lnTo>
                    <a:pt x="5319232" y="1061120"/>
                  </a:lnTo>
                  <a:lnTo>
                    <a:pt x="5293742" y="1041830"/>
                  </a:lnTo>
                  <a:lnTo>
                    <a:pt x="5268254" y="1022547"/>
                  </a:lnTo>
                  <a:lnTo>
                    <a:pt x="5241248" y="999689"/>
                  </a:lnTo>
                  <a:lnTo>
                    <a:pt x="5232535" y="975182"/>
                  </a:lnTo>
                  <a:lnTo>
                    <a:pt x="5245263" y="930514"/>
                  </a:lnTo>
                  <a:lnTo>
                    <a:pt x="5290802" y="929901"/>
                  </a:lnTo>
                  <a:lnTo>
                    <a:pt x="5320392" y="931392"/>
                  </a:lnTo>
                  <a:lnTo>
                    <a:pt x="5349510" y="930297"/>
                  </a:lnTo>
                  <a:lnTo>
                    <a:pt x="5378632" y="929202"/>
                  </a:lnTo>
                  <a:lnTo>
                    <a:pt x="5407723" y="925126"/>
                  </a:lnTo>
                  <a:lnTo>
                    <a:pt x="5435204" y="916692"/>
                  </a:lnTo>
                  <a:lnTo>
                    <a:pt x="5458306" y="909609"/>
                  </a:lnTo>
                  <a:lnTo>
                    <a:pt x="5481453" y="884047"/>
                  </a:lnTo>
                  <a:lnTo>
                    <a:pt x="5491076" y="851389"/>
                  </a:lnTo>
                  <a:lnTo>
                    <a:pt x="5485430" y="816053"/>
                  </a:lnTo>
                  <a:lnTo>
                    <a:pt x="5467848" y="782030"/>
                  </a:lnTo>
                  <a:lnTo>
                    <a:pt x="5444001" y="751786"/>
                  </a:lnTo>
                  <a:lnTo>
                    <a:pt x="5408883" y="725743"/>
                  </a:lnTo>
                  <a:lnTo>
                    <a:pt x="5372921" y="712184"/>
                  </a:lnTo>
                  <a:lnTo>
                    <a:pt x="5335910" y="701783"/>
                  </a:lnTo>
                  <a:lnTo>
                    <a:pt x="5298894" y="691383"/>
                  </a:lnTo>
                  <a:lnTo>
                    <a:pt x="5261394" y="682935"/>
                  </a:lnTo>
                  <a:lnTo>
                    <a:pt x="5236617" y="678662"/>
                  </a:lnTo>
                  <a:lnTo>
                    <a:pt x="5251858" y="649070"/>
                  </a:lnTo>
                  <a:lnTo>
                    <a:pt x="5308219" y="623845"/>
                  </a:lnTo>
                  <a:lnTo>
                    <a:pt x="5333193" y="620171"/>
                  </a:lnTo>
                  <a:lnTo>
                    <a:pt x="5347274" y="596773"/>
                  </a:lnTo>
                  <a:lnTo>
                    <a:pt x="5346911" y="557124"/>
                  </a:lnTo>
                  <a:lnTo>
                    <a:pt x="5344074" y="518155"/>
                  </a:lnTo>
                  <a:lnTo>
                    <a:pt x="5341239" y="479186"/>
                  </a:lnTo>
                  <a:lnTo>
                    <a:pt x="5335679" y="440975"/>
                  </a:lnTo>
                  <a:lnTo>
                    <a:pt x="5323671" y="412063"/>
                  </a:lnTo>
                  <a:lnTo>
                    <a:pt x="5229818" y="397099"/>
                  </a:lnTo>
                  <a:lnTo>
                    <a:pt x="5220659" y="366769"/>
                  </a:lnTo>
                  <a:lnTo>
                    <a:pt x="5223368" y="326237"/>
                  </a:lnTo>
                  <a:lnTo>
                    <a:pt x="5233893" y="286924"/>
                  </a:lnTo>
                  <a:lnTo>
                    <a:pt x="5244426" y="247600"/>
                  </a:lnTo>
                  <a:lnTo>
                    <a:pt x="5261876" y="210391"/>
                  </a:lnTo>
                  <a:lnTo>
                    <a:pt x="5281503" y="186267"/>
                  </a:lnTo>
                  <a:lnTo>
                    <a:pt x="5315051" y="145028"/>
                  </a:lnTo>
                  <a:lnTo>
                    <a:pt x="5337341" y="133883"/>
                  </a:lnTo>
                  <a:lnTo>
                    <a:pt x="5348085" y="105347"/>
                  </a:lnTo>
                  <a:lnTo>
                    <a:pt x="5337078" y="87475"/>
                  </a:lnTo>
                  <a:lnTo>
                    <a:pt x="5307348" y="33924"/>
                  </a:lnTo>
                  <a:lnTo>
                    <a:pt x="5281503" y="23043"/>
                  </a:lnTo>
                  <a:lnTo>
                    <a:pt x="5262839" y="48657"/>
                  </a:lnTo>
                  <a:lnTo>
                    <a:pt x="5248923" y="65508"/>
                  </a:lnTo>
                  <a:lnTo>
                    <a:pt x="5232535" y="78816"/>
                  </a:lnTo>
                  <a:lnTo>
                    <a:pt x="5216141" y="92118"/>
                  </a:lnTo>
                  <a:lnTo>
                    <a:pt x="5196231" y="102960"/>
                  </a:lnTo>
                  <a:lnTo>
                    <a:pt x="5167246" y="114177"/>
                  </a:lnTo>
                  <a:lnTo>
                    <a:pt x="5086992" y="145464"/>
                  </a:lnTo>
                  <a:lnTo>
                    <a:pt x="5061062" y="151769"/>
                  </a:lnTo>
                  <a:lnTo>
                    <a:pt x="5005453" y="126972"/>
                  </a:lnTo>
                  <a:lnTo>
                    <a:pt x="4949615" y="99214"/>
                  </a:lnTo>
                  <a:lnTo>
                    <a:pt x="4893768" y="71462"/>
                  </a:lnTo>
                  <a:lnTo>
                    <a:pt x="4838180" y="40367"/>
                  </a:lnTo>
                  <a:lnTo>
                    <a:pt x="4814953" y="31207"/>
                  </a:lnTo>
                  <a:lnTo>
                    <a:pt x="4769686" y="18341"/>
                  </a:lnTo>
                  <a:lnTo>
                    <a:pt x="4725289" y="10116"/>
                  </a:lnTo>
                  <a:lnTo>
                    <a:pt x="4699726" y="20813"/>
                  </a:lnTo>
                  <a:lnTo>
                    <a:pt x="4674850" y="35289"/>
                  </a:lnTo>
                  <a:lnTo>
                    <a:pt x="4649982" y="49765"/>
                  </a:lnTo>
                  <a:lnTo>
                    <a:pt x="4625124" y="68416"/>
                  </a:lnTo>
                  <a:lnTo>
                    <a:pt x="4598679" y="81533"/>
                  </a:lnTo>
                  <a:lnTo>
                    <a:pt x="4572241" y="94657"/>
                  </a:lnTo>
                  <a:lnTo>
                    <a:pt x="4544799" y="101239"/>
                  </a:lnTo>
                  <a:lnTo>
                    <a:pt x="4514350" y="92414"/>
                  </a:lnTo>
                  <a:lnTo>
                    <a:pt x="4483428" y="80333"/>
                  </a:lnTo>
                  <a:lnTo>
                    <a:pt x="4466742" y="66569"/>
                  </a:lnTo>
                  <a:lnTo>
                    <a:pt x="4450057" y="52812"/>
                  </a:lnTo>
                  <a:lnTo>
                    <a:pt x="4432145" y="33766"/>
                  </a:lnTo>
                  <a:lnTo>
                    <a:pt x="4413692" y="8085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19" name="Lviv¬0" descr="Lviv¬0">
              <a:extLst>
                <a:ext uri="{FF2B5EF4-FFF2-40B4-BE49-F238E27FC236}">
                  <a16:creationId xmlns:a16="http://schemas.microsoft.com/office/drawing/2014/main" id="{46AEAF36-BF72-4B76-A053-7B00909A458F}"/>
                </a:ext>
              </a:extLst>
            </p:cNvPr>
            <p:cNvSpPr/>
            <p:nvPr/>
          </p:nvSpPr>
          <p:spPr>
            <a:xfrm>
              <a:off x="1051086" y="1970904"/>
              <a:ext cx="954466" cy="869648"/>
            </a:xfrm>
            <a:custGeom>
              <a:avLst/>
              <a:gdLst/>
              <a:ahLst/>
              <a:cxnLst/>
              <a:rect l="0" t="0" r="0" b="0"/>
              <a:pathLst>
                <a:path w="9739805" h="10073762">
                  <a:moveTo>
                    <a:pt x="9497890" y="3285890"/>
                  </a:moveTo>
                  <a:lnTo>
                    <a:pt x="9440454" y="3249539"/>
                  </a:lnTo>
                  <a:lnTo>
                    <a:pt x="9384517" y="3226219"/>
                  </a:lnTo>
                  <a:lnTo>
                    <a:pt x="9336486" y="3199319"/>
                  </a:lnTo>
                  <a:lnTo>
                    <a:pt x="9296554" y="3176916"/>
                  </a:lnTo>
                  <a:lnTo>
                    <a:pt x="9246776" y="3154790"/>
                  </a:lnTo>
                  <a:lnTo>
                    <a:pt x="9214064" y="3121783"/>
                  </a:lnTo>
                  <a:lnTo>
                    <a:pt x="9155812" y="3062996"/>
                  </a:lnTo>
                  <a:lnTo>
                    <a:pt x="9086209" y="3002085"/>
                  </a:lnTo>
                  <a:lnTo>
                    <a:pt x="9039708" y="2959370"/>
                  </a:lnTo>
                  <a:lnTo>
                    <a:pt x="9002559" y="2926640"/>
                  </a:lnTo>
                  <a:lnTo>
                    <a:pt x="8965153" y="2900075"/>
                  </a:lnTo>
                  <a:lnTo>
                    <a:pt x="8944815" y="2885639"/>
                  </a:lnTo>
                  <a:lnTo>
                    <a:pt x="8903939" y="2861989"/>
                  </a:lnTo>
                  <a:lnTo>
                    <a:pt x="8877751" y="2760830"/>
                  </a:lnTo>
                  <a:lnTo>
                    <a:pt x="8862932" y="2693542"/>
                  </a:lnTo>
                  <a:lnTo>
                    <a:pt x="8861778" y="2626670"/>
                  </a:lnTo>
                  <a:lnTo>
                    <a:pt x="8860618" y="2559805"/>
                  </a:lnTo>
                  <a:lnTo>
                    <a:pt x="8871954" y="2492814"/>
                  </a:lnTo>
                  <a:lnTo>
                    <a:pt x="8899863" y="2392716"/>
                  </a:lnTo>
                  <a:lnTo>
                    <a:pt x="8880006" y="2354037"/>
                  </a:lnTo>
                  <a:lnTo>
                    <a:pt x="8852255" y="2328785"/>
                  </a:lnTo>
                  <a:lnTo>
                    <a:pt x="8824504" y="2303540"/>
                  </a:lnTo>
                  <a:lnTo>
                    <a:pt x="8794042" y="2278024"/>
                  </a:lnTo>
                  <a:lnTo>
                    <a:pt x="8783298" y="2244040"/>
                  </a:lnTo>
                  <a:lnTo>
                    <a:pt x="8803288" y="2209094"/>
                  </a:lnTo>
                  <a:lnTo>
                    <a:pt x="8815983" y="2192047"/>
                  </a:lnTo>
                  <a:lnTo>
                    <a:pt x="8833644" y="2175203"/>
                  </a:lnTo>
                  <a:lnTo>
                    <a:pt x="8852255" y="2158762"/>
                  </a:lnTo>
                  <a:lnTo>
                    <a:pt x="8870866" y="2142321"/>
                  </a:lnTo>
                  <a:lnTo>
                    <a:pt x="8889859" y="2126078"/>
                  </a:lnTo>
                  <a:lnTo>
                    <a:pt x="8906663" y="2108436"/>
                  </a:lnTo>
                  <a:lnTo>
                    <a:pt x="8923467" y="2090795"/>
                  </a:lnTo>
                  <a:lnTo>
                    <a:pt x="8937461" y="2071953"/>
                  </a:lnTo>
                  <a:lnTo>
                    <a:pt x="8944748" y="2051311"/>
                  </a:lnTo>
                  <a:lnTo>
                    <a:pt x="8952425" y="2029535"/>
                  </a:lnTo>
                  <a:lnTo>
                    <a:pt x="8956923" y="2006486"/>
                  </a:lnTo>
                  <a:lnTo>
                    <a:pt x="8956989" y="1983298"/>
                  </a:lnTo>
                  <a:lnTo>
                    <a:pt x="8957054" y="1960110"/>
                  </a:lnTo>
                  <a:lnTo>
                    <a:pt x="8953797" y="1936441"/>
                  </a:lnTo>
                  <a:lnTo>
                    <a:pt x="8946107" y="1915291"/>
                  </a:lnTo>
                  <a:lnTo>
                    <a:pt x="8938418" y="1894135"/>
                  </a:lnTo>
                  <a:lnTo>
                    <a:pt x="8926342" y="1875201"/>
                  </a:lnTo>
                  <a:lnTo>
                    <a:pt x="8910746" y="1859518"/>
                  </a:lnTo>
                  <a:lnTo>
                    <a:pt x="8895148" y="1843842"/>
                  </a:lnTo>
                  <a:lnTo>
                    <a:pt x="8875904" y="1832275"/>
                  </a:lnTo>
                  <a:lnTo>
                    <a:pt x="8852255" y="1825515"/>
                  </a:lnTo>
                  <a:lnTo>
                    <a:pt x="8831151" y="1819480"/>
                  </a:lnTo>
                  <a:lnTo>
                    <a:pt x="8809236" y="1809700"/>
                  </a:lnTo>
                  <a:lnTo>
                    <a:pt x="8786966" y="1814633"/>
                  </a:lnTo>
                  <a:lnTo>
                    <a:pt x="8757322" y="1821195"/>
                  </a:lnTo>
                  <a:lnTo>
                    <a:pt x="8735862" y="1832281"/>
                  </a:lnTo>
                  <a:lnTo>
                    <a:pt x="8717594" y="1843196"/>
                  </a:lnTo>
                  <a:lnTo>
                    <a:pt x="8699332" y="1854117"/>
                  </a:lnTo>
                  <a:lnTo>
                    <a:pt x="8668626" y="1875840"/>
                  </a:lnTo>
                  <a:lnTo>
                    <a:pt x="8633212" y="1892717"/>
                  </a:lnTo>
                  <a:lnTo>
                    <a:pt x="8608778" y="1896245"/>
                  </a:lnTo>
                  <a:lnTo>
                    <a:pt x="8584344" y="1899774"/>
                  </a:lnTo>
                  <a:lnTo>
                    <a:pt x="8554192" y="1899028"/>
                  </a:lnTo>
                  <a:lnTo>
                    <a:pt x="8512202" y="1890805"/>
                  </a:lnTo>
                  <a:lnTo>
                    <a:pt x="8467469" y="1885641"/>
                  </a:lnTo>
                  <a:lnTo>
                    <a:pt x="8442811" y="1861154"/>
                  </a:lnTo>
                  <a:lnTo>
                    <a:pt x="8439309" y="1829617"/>
                  </a:lnTo>
                  <a:lnTo>
                    <a:pt x="8439705" y="1792804"/>
                  </a:lnTo>
                  <a:lnTo>
                    <a:pt x="8442738" y="1769076"/>
                  </a:lnTo>
                  <a:lnTo>
                    <a:pt x="8445554" y="1743903"/>
                  </a:lnTo>
                  <a:lnTo>
                    <a:pt x="8448377" y="1718730"/>
                  </a:lnTo>
                  <a:lnTo>
                    <a:pt x="8451436" y="1692825"/>
                  </a:lnTo>
                  <a:lnTo>
                    <a:pt x="8450995" y="1667732"/>
                  </a:lnTo>
                  <a:lnTo>
                    <a:pt x="8450533" y="1642638"/>
                  </a:lnTo>
                  <a:lnTo>
                    <a:pt x="8447586" y="1618593"/>
                  </a:lnTo>
                  <a:lnTo>
                    <a:pt x="8438754" y="1597002"/>
                  </a:lnTo>
                  <a:lnTo>
                    <a:pt x="8429924" y="1575410"/>
                  </a:lnTo>
                  <a:lnTo>
                    <a:pt x="8414861" y="1555909"/>
                  </a:lnTo>
                  <a:lnTo>
                    <a:pt x="8392504" y="1541235"/>
                  </a:lnTo>
                  <a:lnTo>
                    <a:pt x="8365987" y="1523039"/>
                  </a:lnTo>
                  <a:lnTo>
                    <a:pt x="8206159" y="1550752"/>
                  </a:lnTo>
                  <a:lnTo>
                    <a:pt x="8184778" y="1551286"/>
                  </a:lnTo>
                  <a:lnTo>
                    <a:pt x="8155154" y="1540048"/>
                  </a:lnTo>
                  <a:lnTo>
                    <a:pt x="8128623" y="1519109"/>
                  </a:lnTo>
                  <a:lnTo>
                    <a:pt x="8112663" y="1498381"/>
                  </a:lnTo>
                  <a:lnTo>
                    <a:pt x="8095985" y="1478662"/>
                  </a:lnTo>
                  <a:lnTo>
                    <a:pt x="8079306" y="1458937"/>
                  </a:lnTo>
                  <a:lnTo>
                    <a:pt x="8061546" y="1440207"/>
                  </a:lnTo>
                  <a:lnTo>
                    <a:pt x="8041576" y="1426972"/>
                  </a:lnTo>
                  <a:lnTo>
                    <a:pt x="8021607" y="1413742"/>
                  </a:lnTo>
                  <a:lnTo>
                    <a:pt x="7999772" y="1406521"/>
                  </a:lnTo>
                  <a:lnTo>
                    <a:pt x="7972205" y="1412014"/>
                  </a:lnTo>
                  <a:lnTo>
                    <a:pt x="7964951" y="1435044"/>
                  </a:lnTo>
                  <a:lnTo>
                    <a:pt x="7965867" y="1462432"/>
                  </a:lnTo>
                  <a:lnTo>
                    <a:pt x="7970846" y="1492261"/>
                  </a:lnTo>
                  <a:lnTo>
                    <a:pt x="7975542" y="1522637"/>
                  </a:lnTo>
                  <a:lnTo>
                    <a:pt x="7979367" y="1553198"/>
                  </a:lnTo>
                  <a:lnTo>
                    <a:pt x="7965406" y="1576597"/>
                  </a:lnTo>
                  <a:lnTo>
                    <a:pt x="7927788" y="1586773"/>
                  </a:lnTo>
                  <a:lnTo>
                    <a:pt x="7854677" y="1576472"/>
                  </a:lnTo>
                  <a:lnTo>
                    <a:pt x="7803540" y="1538511"/>
                  </a:lnTo>
                  <a:lnTo>
                    <a:pt x="7778816" y="1517599"/>
                  </a:lnTo>
                  <a:lnTo>
                    <a:pt x="7754652" y="1505378"/>
                  </a:lnTo>
                  <a:lnTo>
                    <a:pt x="7728734" y="1500426"/>
                  </a:lnTo>
                  <a:lnTo>
                    <a:pt x="7702816" y="1495473"/>
                  </a:lnTo>
                  <a:lnTo>
                    <a:pt x="7675968" y="1497834"/>
                  </a:lnTo>
                  <a:lnTo>
                    <a:pt x="7644399" y="1504501"/>
                  </a:lnTo>
                  <a:lnTo>
                    <a:pt x="7622338" y="1509164"/>
                  </a:lnTo>
                  <a:lnTo>
                    <a:pt x="7588929" y="1517619"/>
                  </a:lnTo>
                  <a:lnTo>
                    <a:pt x="7568228" y="1526265"/>
                  </a:lnTo>
                  <a:lnTo>
                    <a:pt x="7515297" y="1561198"/>
                  </a:lnTo>
                  <a:lnTo>
                    <a:pt x="7481175" y="1584755"/>
                  </a:lnTo>
                  <a:lnTo>
                    <a:pt x="7447053" y="1608305"/>
                  </a:lnTo>
                  <a:lnTo>
                    <a:pt x="7414005" y="1628597"/>
                  </a:lnTo>
                  <a:lnTo>
                    <a:pt x="7360758" y="1606511"/>
                  </a:lnTo>
                  <a:lnTo>
                    <a:pt x="7324645" y="1588685"/>
                  </a:lnTo>
                  <a:lnTo>
                    <a:pt x="7288023" y="1575232"/>
                  </a:lnTo>
                  <a:lnTo>
                    <a:pt x="7238271" y="1562378"/>
                  </a:lnTo>
                  <a:lnTo>
                    <a:pt x="7213217" y="1550745"/>
                  </a:lnTo>
                  <a:lnTo>
                    <a:pt x="7189601" y="1538445"/>
                  </a:lnTo>
                  <a:lnTo>
                    <a:pt x="7174261" y="1519525"/>
                  </a:lnTo>
                  <a:lnTo>
                    <a:pt x="7171050" y="1492261"/>
                  </a:lnTo>
                  <a:lnTo>
                    <a:pt x="7175824" y="1455679"/>
                  </a:lnTo>
                  <a:lnTo>
                    <a:pt x="7178865" y="1430974"/>
                  </a:lnTo>
                  <a:lnTo>
                    <a:pt x="7179075" y="1404444"/>
                  </a:lnTo>
                  <a:lnTo>
                    <a:pt x="7167290" y="1361781"/>
                  </a:lnTo>
                  <a:lnTo>
                    <a:pt x="7151528" y="1346105"/>
                  </a:lnTo>
                  <a:lnTo>
                    <a:pt x="7131605" y="1335837"/>
                  </a:lnTo>
                  <a:lnTo>
                    <a:pt x="7111682" y="1325568"/>
                  </a:lnTo>
                  <a:lnTo>
                    <a:pt x="7088165" y="1320325"/>
                  </a:lnTo>
                  <a:lnTo>
                    <a:pt x="7064957" y="1316791"/>
                  </a:lnTo>
                  <a:lnTo>
                    <a:pt x="7041750" y="1313256"/>
                  </a:lnTo>
                  <a:lnTo>
                    <a:pt x="7018720" y="1311442"/>
                  </a:lnTo>
                  <a:lnTo>
                    <a:pt x="6980608" y="1305817"/>
                  </a:lnTo>
                  <a:lnTo>
                    <a:pt x="6957500" y="1293669"/>
                  </a:lnTo>
                  <a:lnTo>
                    <a:pt x="6949342" y="1271906"/>
                  </a:lnTo>
                  <a:lnTo>
                    <a:pt x="6950700" y="1247425"/>
                  </a:lnTo>
                  <a:lnTo>
                    <a:pt x="6952059" y="1218856"/>
                  </a:lnTo>
                  <a:lnTo>
                    <a:pt x="6946532" y="1196783"/>
                  </a:lnTo>
                  <a:lnTo>
                    <a:pt x="6925231" y="1179056"/>
                  </a:lnTo>
                  <a:lnTo>
                    <a:pt x="6889487" y="1178053"/>
                  </a:lnTo>
                  <a:lnTo>
                    <a:pt x="6849693" y="1181266"/>
                  </a:lnTo>
                  <a:lnTo>
                    <a:pt x="6809589" y="1183007"/>
                  </a:lnTo>
                  <a:lnTo>
                    <a:pt x="6773871" y="1179412"/>
                  </a:lnTo>
                  <a:lnTo>
                    <a:pt x="6744946" y="1166598"/>
                  </a:lnTo>
                  <a:lnTo>
                    <a:pt x="6731974" y="1142666"/>
                  </a:lnTo>
                  <a:lnTo>
                    <a:pt x="6723546" y="1118205"/>
                  </a:lnTo>
                  <a:lnTo>
                    <a:pt x="6716291" y="1091931"/>
                  </a:lnTo>
                  <a:lnTo>
                    <a:pt x="6708245" y="1068756"/>
                  </a:lnTo>
                  <a:lnTo>
                    <a:pt x="6684095" y="1056991"/>
                  </a:lnTo>
                  <a:lnTo>
                    <a:pt x="6657788" y="1051761"/>
                  </a:lnTo>
                  <a:lnTo>
                    <a:pt x="6632410" y="1067879"/>
                  </a:lnTo>
                  <a:lnTo>
                    <a:pt x="6617131" y="1102496"/>
                  </a:lnTo>
                  <a:lnTo>
                    <a:pt x="6626753" y="1134903"/>
                  </a:lnTo>
                  <a:lnTo>
                    <a:pt x="6626970" y="1164448"/>
                  </a:lnTo>
                  <a:lnTo>
                    <a:pt x="6624636" y="1193591"/>
                  </a:lnTo>
                  <a:lnTo>
                    <a:pt x="6607541" y="1219641"/>
                  </a:lnTo>
                  <a:lnTo>
                    <a:pt x="6567121" y="1241984"/>
                  </a:lnTo>
                  <a:lnTo>
                    <a:pt x="6510372" y="1249444"/>
                  </a:lnTo>
                  <a:lnTo>
                    <a:pt x="6489677" y="1229850"/>
                  </a:lnTo>
                  <a:lnTo>
                    <a:pt x="6472405" y="1200311"/>
                  </a:lnTo>
                  <a:lnTo>
                    <a:pt x="6471067" y="1173648"/>
                  </a:lnTo>
                  <a:lnTo>
                    <a:pt x="6482640" y="1145514"/>
                  </a:lnTo>
                  <a:lnTo>
                    <a:pt x="6485509" y="1115488"/>
                  </a:lnTo>
                  <a:lnTo>
                    <a:pt x="6485707" y="1085013"/>
                  </a:lnTo>
                  <a:lnTo>
                    <a:pt x="6474456" y="1056193"/>
                  </a:lnTo>
                  <a:lnTo>
                    <a:pt x="6446065" y="1031159"/>
                  </a:lnTo>
                  <a:lnTo>
                    <a:pt x="6424025" y="1017461"/>
                  </a:lnTo>
                  <a:lnTo>
                    <a:pt x="6388043" y="997360"/>
                  </a:lnTo>
                  <a:lnTo>
                    <a:pt x="6354930" y="974027"/>
                  </a:lnTo>
                  <a:lnTo>
                    <a:pt x="6321817" y="950694"/>
                  </a:lnTo>
                  <a:lnTo>
                    <a:pt x="6292635" y="923893"/>
                  </a:lnTo>
                  <a:lnTo>
                    <a:pt x="6285559" y="895139"/>
                  </a:lnTo>
                  <a:lnTo>
                    <a:pt x="6296862" y="872888"/>
                  </a:lnTo>
                  <a:lnTo>
                    <a:pt x="6332019" y="847062"/>
                  </a:lnTo>
                  <a:lnTo>
                    <a:pt x="6377386" y="831089"/>
                  </a:lnTo>
                  <a:lnTo>
                    <a:pt x="6426491" y="829038"/>
                  </a:lnTo>
                  <a:lnTo>
                    <a:pt x="6471904" y="818968"/>
                  </a:lnTo>
                  <a:lnTo>
                    <a:pt x="6494616" y="813929"/>
                  </a:lnTo>
                  <a:lnTo>
                    <a:pt x="6516492" y="806471"/>
                  </a:lnTo>
                  <a:lnTo>
                    <a:pt x="6535835" y="794481"/>
                  </a:lnTo>
                  <a:lnTo>
                    <a:pt x="6555184" y="782492"/>
                  </a:lnTo>
                  <a:lnTo>
                    <a:pt x="6572846" y="765846"/>
                  </a:lnTo>
                  <a:lnTo>
                    <a:pt x="6586160" y="741431"/>
                  </a:lnTo>
                  <a:lnTo>
                    <a:pt x="6600043" y="707612"/>
                  </a:lnTo>
                  <a:lnTo>
                    <a:pt x="6602206" y="674599"/>
                  </a:lnTo>
                  <a:lnTo>
                    <a:pt x="6591601" y="639421"/>
                  </a:lnTo>
                  <a:lnTo>
                    <a:pt x="6575932" y="602120"/>
                  </a:lnTo>
                  <a:lnTo>
                    <a:pt x="6539594" y="568731"/>
                  </a:lnTo>
                  <a:lnTo>
                    <a:pt x="6514072" y="538764"/>
                  </a:lnTo>
                  <a:lnTo>
                    <a:pt x="6486762" y="506712"/>
                  </a:lnTo>
                  <a:lnTo>
                    <a:pt x="6462532" y="484085"/>
                  </a:lnTo>
                  <a:lnTo>
                    <a:pt x="6421578" y="472115"/>
                  </a:lnTo>
                  <a:lnTo>
                    <a:pt x="6401391" y="466213"/>
                  </a:lnTo>
                  <a:lnTo>
                    <a:pt x="6373970" y="468039"/>
                  </a:lnTo>
                  <a:lnTo>
                    <a:pt x="6354423" y="476554"/>
                  </a:lnTo>
                  <a:lnTo>
                    <a:pt x="6331452" y="495897"/>
                  </a:lnTo>
                  <a:lnTo>
                    <a:pt x="6297798" y="512924"/>
                  </a:lnTo>
                  <a:lnTo>
                    <a:pt x="6239427" y="481361"/>
                  </a:lnTo>
                  <a:lnTo>
                    <a:pt x="6201230" y="450359"/>
                  </a:lnTo>
                  <a:lnTo>
                    <a:pt x="6163031" y="419349"/>
                  </a:lnTo>
                  <a:lnTo>
                    <a:pt x="6127465" y="385887"/>
                  </a:lnTo>
                  <a:lnTo>
                    <a:pt x="6118008" y="349365"/>
                  </a:lnTo>
                  <a:lnTo>
                    <a:pt x="6133216" y="319779"/>
                  </a:lnTo>
                  <a:lnTo>
                    <a:pt x="6148760" y="292127"/>
                  </a:lnTo>
                  <a:lnTo>
                    <a:pt x="6146135" y="255935"/>
                  </a:lnTo>
                  <a:lnTo>
                    <a:pt x="6101303" y="219352"/>
                  </a:lnTo>
                  <a:lnTo>
                    <a:pt x="6051604" y="191918"/>
                  </a:lnTo>
                  <a:lnTo>
                    <a:pt x="6026754" y="178201"/>
                  </a:lnTo>
                  <a:lnTo>
                    <a:pt x="6001193" y="166962"/>
                  </a:lnTo>
                  <a:lnTo>
                    <a:pt x="5978156" y="160632"/>
                  </a:lnTo>
                  <a:lnTo>
                    <a:pt x="5955121" y="154307"/>
                  </a:lnTo>
                  <a:lnTo>
                    <a:pt x="5922384" y="160632"/>
                  </a:lnTo>
                  <a:lnTo>
                    <a:pt x="5901353" y="190263"/>
                  </a:lnTo>
                  <a:lnTo>
                    <a:pt x="5883572" y="223501"/>
                  </a:lnTo>
                  <a:lnTo>
                    <a:pt x="5857094" y="244967"/>
                  </a:lnTo>
                  <a:lnTo>
                    <a:pt x="5825511" y="255618"/>
                  </a:lnTo>
                  <a:lnTo>
                    <a:pt x="5798907" y="258796"/>
                  </a:lnTo>
                  <a:lnTo>
                    <a:pt x="5774123" y="259924"/>
                  </a:lnTo>
                  <a:lnTo>
                    <a:pt x="5747810" y="262239"/>
                  </a:lnTo>
                  <a:lnTo>
                    <a:pt x="5716102" y="271208"/>
                  </a:lnTo>
                  <a:lnTo>
                    <a:pt x="5676190" y="291211"/>
                  </a:lnTo>
                  <a:lnTo>
                    <a:pt x="5636257" y="318797"/>
                  </a:lnTo>
                  <a:lnTo>
                    <a:pt x="5625863" y="337454"/>
                  </a:lnTo>
                  <a:lnTo>
                    <a:pt x="5588893" y="328010"/>
                  </a:lnTo>
                  <a:lnTo>
                    <a:pt x="5563291" y="314333"/>
                  </a:lnTo>
                  <a:lnTo>
                    <a:pt x="5537690" y="300654"/>
                  </a:lnTo>
                  <a:lnTo>
                    <a:pt x="5507822" y="285368"/>
                  </a:lnTo>
                  <a:lnTo>
                    <a:pt x="5477603" y="281687"/>
                  </a:lnTo>
                  <a:lnTo>
                    <a:pt x="5446318" y="210153"/>
                  </a:lnTo>
                  <a:lnTo>
                    <a:pt x="5427271" y="189194"/>
                  </a:lnTo>
                  <a:lnTo>
                    <a:pt x="5404671" y="171137"/>
                  </a:lnTo>
                  <a:lnTo>
                    <a:pt x="5376424" y="161001"/>
                  </a:lnTo>
                  <a:lnTo>
                    <a:pt x="5348383" y="151108"/>
                  </a:lnTo>
                  <a:lnTo>
                    <a:pt x="5322953" y="136600"/>
                  </a:lnTo>
                  <a:lnTo>
                    <a:pt x="5308517" y="108485"/>
                  </a:lnTo>
                  <a:lnTo>
                    <a:pt x="5310297" y="59974"/>
                  </a:lnTo>
                  <a:lnTo>
                    <a:pt x="5291884" y="28371"/>
                  </a:lnTo>
                  <a:lnTo>
                    <a:pt x="5273571" y="17812"/>
                  </a:lnTo>
                  <a:lnTo>
                    <a:pt x="5255256" y="7247"/>
                  </a:lnTo>
                  <a:lnTo>
                    <a:pt x="5232431" y="0"/>
                  </a:lnTo>
                  <a:lnTo>
                    <a:pt x="5208281" y="125"/>
                  </a:lnTo>
                  <a:lnTo>
                    <a:pt x="5184130" y="256"/>
                  </a:lnTo>
                  <a:lnTo>
                    <a:pt x="5158159" y="7129"/>
                  </a:lnTo>
                  <a:lnTo>
                    <a:pt x="5136192" y="21888"/>
                  </a:lnTo>
                  <a:lnTo>
                    <a:pt x="5115926" y="35506"/>
                  </a:lnTo>
                  <a:lnTo>
                    <a:pt x="5100441" y="57883"/>
                  </a:lnTo>
                  <a:lnTo>
                    <a:pt x="5088584" y="87177"/>
                  </a:lnTo>
                  <a:lnTo>
                    <a:pt x="5084297" y="147771"/>
                  </a:lnTo>
                  <a:lnTo>
                    <a:pt x="5065370" y="222037"/>
                  </a:lnTo>
                  <a:lnTo>
                    <a:pt x="5066820" y="255842"/>
                  </a:lnTo>
                  <a:lnTo>
                    <a:pt x="5072861" y="284365"/>
                  </a:lnTo>
                  <a:lnTo>
                    <a:pt x="5087225" y="307533"/>
                  </a:lnTo>
                  <a:lnTo>
                    <a:pt x="5093200" y="349034"/>
                  </a:lnTo>
                  <a:lnTo>
                    <a:pt x="5112708" y="422212"/>
                  </a:lnTo>
                  <a:lnTo>
                    <a:pt x="5182845" y="447141"/>
                  </a:lnTo>
                  <a:lnTo>
                    <a:pt x="5178360" y="502037"/>
                  </a:lnTo>
                  <a:lnTo>
                    <a:pt x="5134306" y="557447"/>
                  </a:lnTo>
                  <a:lnTo>
                    <a:pt x="5085992" y="548583"/>
                  </a:lnTo>
                  <a:lnTo>
                    <a:pt x="5050505" y="594530"/>
                  </a:lnTo>
                  <a:lnTo>
                    <a:pt x="5049614" y="623119"/>
                  </a:lnTo>
                  <a:lnTo>
                    <a:pt x="5031946" y="642099"/>
                  </a:lnTo>
                  <a:lnTo>
                    <a:pt x="5008337" y="655743"/>
                  </a:lnTo>
                  <a:lnTo>
                    <a:pt x="4967804" y="679116"/>
                  </a:lnTo>
                  <a:lnTo>
                    <a:pt x="4922002" y="680033"/>
                  </a:lnTo>
                  <a:lnTo>
                    <a:pt x="4879116" y="693830"/>
                  </a:lnTo>
                  <a:lnTo>
                    <a:pt x="4853488" y="717775"/>
                  </a:lnTo>
                  <a:lnTo>
                    <a:pt x="4828790" y="719668"/>
                  </a:lnTo>
                  <a:lnTo>
                    <a:pt x="4810892" y="741668"/>
                  </a:lnTo>
                  <a:lnTo>
                    <a:pt x="4788047" y="801959"/>
                  </a:lnTo>
                  <a:lnTo>
                    <a:pt x="4797504" y="828484"/>
                  </a:lnTo>
                  <a:lnTo>
                    <a:pt x="4815126" y="846660"/>
                  </a:lnTo>
                  <a:lnTo>
                    <a:pt x="4837607" y="872459"/>
                  </a:lnTo>
                  <a:lnTo>
                    <a:pt x="4830703" y="910967"/>
                  </a:lnTo>
                  <a:lnTo>
                    <a:pt x="4823349" y="933218"/>
                  </a:lnTo>
                  <a:lnTo>
                    <a:pt x="4815548" y="956854"/>
                  </a:lnTo>
                  <a:lnTo>
                    <a:pt x="4797570" y="978254"/>
                  </a:lnTo>
                  <a:lnTo>
                    <a:pt x="4787988" y="1001231"/>
                  </a:lnTo>
                  <a:lnTo>
                    <a:pt x="4765565" y="1054940"/>
                  </a:lnTo>
                  <a:lnTo>
                    <a:pt x="4749579" y="1109005"/>
                  </a:lnTo>
                  <a:lnTo>
                    <a:pt x="4732215" y="1164455"/>
                  </a:lnTo>
                  <a:lnTo>
                    <a:pt x="4721887" y="1188236"/>
                  </a:lnTo>
                  <a:lnTo>
                    <a:pt x="4703863" y="1207896"/>
                  </a:lnTo>
                  <a:lnTo>
                    <a:pt x="4684613" y="1224303"/>
                  </a:lnTo>
                  <a:lnTo>
                    <a:pt x="4607782" y="1265792"/>
                  </a:lnTo>
                  <a:lnTo>
                    <a:pt x="4187074" y="1219074"/>
                  </a:lnTo>
                  <a:lnTo>
                    <a:pt x="4062999" y="1231103"/>
                  </a:lnTo>
                  <a:lnTo>
                    <a:pt x="3989485" y="1238245"/>
                  </a:lnTo>
                  <a:lnTo>
                    <a:pt x="3804816" y="1305342"/>
                  </a:lnTo>
                  <a:lnTo>
                    <a:pt x="3735191" y="1338561"/>
                  </a:lnTo>
                  <a:lnTo>
                    <a:pt x="3625333" y="1390990"/>
                  </a:lnTo>
                  <a:lnTo>
                    <a:pt x="3636556" y="1461166"/>
                  </a:lnTo>
                  <a:lnTo>
                    <a:pt x="3616854" y="1569798"/>
                  </a:lnTo>
                  <a:lnTo>
                    <a:pt x="3612435" y="1613383"/>
                  </a:lnTo>
                  <a:lnTo>
                    <a:pt x="3567972" y="1698675"/>
                  </a:lnTo>
                  <a:lnTo>
                    <a:pt x="3480366" y="1676655"/>
                  </a:lnTo>
                  <a:lnTo>
                    <a:pt x="3430507" y="1727580"/>
                  </a:lnTo>
                  <a:lnTo>
                    <a:pt x="3392399" y="1766471"/>
                  </a:lnTo>
                  <a:lnTo>
                    <a:pt x="3380774" y="1827678"/>
                  </a:lnTo>
                  <a:lnTo>
                    <a:pt x="3348895" y="1869035"/>
                  </a:lnTo>
                  <a:lnTo>
                    <a:pt x="3297228" y="1936052"/>
                  </a:lnTo>
                  <a:lnTo>
                    <a:pt x="3226774" y="2008458"/>
                  </a:lnTo>
                  <a:lnTo>
                    <a:pt x="3153026" y="2049946"/>
                  </a:lnTo>
                  <a:lnTo>
                    <a:pt x="2968549" y="2183183"/>
                  </a:lnTo>
                  <a:lnTo>
                    <a:pt x="2925022" y="2224473"/>
                  </a:lnTo>
                  <a:lnTo>
                    <a:pt x="2860859" y="2257843"/>
                  </a:lnTo>
                  <a:lnTo>
                    <a:pt x="2818417" y="2293416"/>
                  </a:lnTo>
                  <a:lnTo>
                    <a:pt x="2764434" y="2338671"/>
                  </a:lnTo>
                  <a:lnTo>
                    <a:pt x="2732065" y="2406466"/>
                  </a:lnTo>
                  <a:lnTo>
                    <a:pt x="2682397" y="2456641"/>
                  </a:lnTo>
                  <a:lnTo>
                    <a:pt x="2642186" y="2497305"/>
                  </a:lnTo>
                  <a:lnTo>
                    <a:pt x="2590924" y="2527377"/>
                  </a:lnTo>
                  <a:lnTo>
                    <a:pt x="2547737" y="2565456"/>
                  </a:lnTo>
                  <a:lnTo>
                    <a:pt x="2470440" y="2633661"/>
                  </a:lnTo>
                  <a:lnTo>
                    <a:pt x="2326408" y="2769747"/>
                  </a:lnTo>
                  <a:lnTo>
                    <a:pt x="2262096" y="2847019"/>
                  </a:lnTo>
                  <a:lnTo>
                    <a:pt x="2231534" y="2888488"/>
                  </a:lnTo>
                  <a:lnTo>
                    <a:pt x="2207178" y="2943146"/>
                  </a:lnTo>
                  <a:lnTo>
                    <a:pt x="2172322" y="2980322"/>
                  </a:lnTo>
                  <a:lnTo>
                    <a:pt x="2148881" y="3005356"/>
                  </a:lnTo>
                  <a:lnTo>
                    <a:pt x="2115322" y="3022701"/>
                  </a:lnTo>
                  <a:lnTo>
                    <a:pt x="2089350" y="3044253"/>
                  </a:lnTo>
                  <a:lnTo>
                    <a:pt x="2054390" y="3073257"/>
                  </a:lnTo>
                  <a:lnTo>
                    <a:pt x="2025485" y="3106694"/>
                  </a:lnTo>
                  <a:lnTo>
                    <a:pt x="1992777" y="3136740"/>
                  </a:lnTo>
                  <a:lnTo>
                    <a:pt x="1955626" y="3170855"/>
                  </a:lnTo>
                  <a:lnTo>
                    <a:pt x="1967528" y="3224795"/>
                  </a:lnTo>
                  <a:lnTo>
                    <a:pt x="1946529" y="3263243"/>
                  </a:lnTo>
                  <a:lnTo>
                    <a:pt x="1919283" y="3313167"/>
                  </a:lnTo>
                  <a:lnTo>
                    <a:pt x="1862984" y="3325070"/>
                  </a:lnTo>
                  <a:lnTo>
                    <a:pt x="1824112" y="3363894"/>
                  </a:lnTo>
                  <a:lnTo>
                    <a:pt x="1720885" y="3422747"/>
                  </a:lnTo>
                  <a:lnTo>
                    <a:pt x="1686306" y="3525378"/>
                  </a:lnTo>
                  <a:lnTo>
                    <a:pt x="1607840" y="3591050"/>
                  </a:lnTo>
                  <a:lnTo>
                    <a:pt x="1560892" y="3630368"/>
                  </a:lnTo>
                  <a:lnTo>
                    <a:pt x="1585716" y="3653108"/>
                  </a:lnTo>
                  <a:lnTo>
                    <a:pt x="1560233" y="3686267"/>
                  </a:lnTo>
                  <a:lnTo>
                    <a:pt x="1535835" y="3718034"/>
                  </a:lnTo>
                  <a:lnTo>
                    <a:pt x="1504742" y="3746538"/>
                  </a:lnTo>
                  <a:lnTo>
                    <a:pt x="1479981" y="3778754"/>
                  </a:lnTo>
                  <a:lnTo>
                    <a:pt x="1444064" y="3825472"/>
                  </a:lnTo>
                  <a:lnTo>
                    <a:pt x="1412015" y="3878244"/>
                  </a:lnTo>
                  <a:lnTo>
                    <a:pt x="1380687" y="3928379"/>
                  </a:lnTo>
                  <a:lnTo>
                    <a:pt x="1355970" y="3967909"/>
                  </a:lnTo>
                  <a:lnTo>
                    <a:pt x="1282498" y="4049969"/>
                  </a:lnTo>
                  <a:lnTo>
                    <a:pt x="1250107" y="4091602"/>
                  </a:lnTo>
                  <a:lnTo>
                    <a:pt x="1223882" y="4125329"/>
                  </a:lnTo>
                  <a:lnTo>
                    <a:pt x="1197400" y="4185330"/>
                  </a:lnTo>
                  <a:lnTo>
                    <a:pt x="1153109" y="4233598"/>
                  </a:lnTo>
                  <a:lnTo>
                    <a:pt x="1091092" y="4228262"/>
                  </a:lnTo>
                  <a:lnTo>
                    <a:pt x="1073282" y="4257544"/>
                  </a:lnTo>
                  <a:lnTo>
                    <a:pt x="1056025" y="4285942"/>
                  </a:lnTo>
                  <a:lnTo>
                    <a:pt x="1044738" y="4370231"/>
                  </a:lnTo>
                  <a:lnTo>
                    <a:pt x="1043357" y="4404451"/>
                  </a:lnTo>
                  <a:lnTo>
                    <a:pt x="1038299" y="4527506"/>
                  </a:lnTo>
                  <a:lnTo>
                    <a:pt x="838711" y="4422793"/>
                  </a:lnTo>
                  <a:lnTo>
                    <a:pt x="817565" y="4677850"/>
                  </a:lnTo>
                  <a:lnTo>
                    <a:pt x="808596" y="4802262"/>
                  </a:lnTo>
                  <a:lnTo>
                    <a:pt x="721054" y="4801326"/>
                  </a:lnTo>
                  <a:lnTo>
                    <a:pt x="666583" y="4887318"/>
                  </a:lnTo>
                  <a:lnTo>
                    <a:pt x="649134" y="4914865"/>
                  </a:lnTo>
                  <a:lnTo>
                    <a:pt x="649431" y="4945471"/>
                  </a:lnTo>
                  <a:lnTo>
                    <a:pt x="627137" y="4971654"/>
                  </a:lnTo>
                  <a:lnTo>
                    <a:pt x="591262" y="4980450"/>
                  </a:lnTo>
                  <a:lnTo>
                    <a:pt x="552474" y="4964597"/>
                  </a:lnTo>
                  <a:lnTo>
                    <a:pt x="518321" y="4983893"/>
                  </a:lnTo>
                  <a:lnTo>
                    <a:pt x="430503" y="5033586"/>
                  </a:lnTo>
                  <a:lnTo>
                    <a:pt x="441236" y="5082315"/>
                  </a:lnTo>
                  <a:lnTo>
                    <a:pt x="408145" y="5167522"/>
                  </a:lnTo>
                  <a:lnTo>
                    <a:pt x="361069" y="5288729"/>
                  </a:lnTo>
                  <a:lnTo>
                    <a:pt x="304770" y="5351803"/>
                  </a:lnTo>
                  <a:lnTo>
                    <a:pt x="217717" y="5443643"/>
                  </a:lnTo>
                  <a:lnTo>
                    <a:pt x="179568" y="5483892"/>
                  </a:lnTo>
                  <a:lnTo>
                    <a:pt x="144798" y="5538683"/>
                  </a:lnTo>
                  <a:lnTo>
                    <a:pt x="111622" y="5583739"/>
                  </a:lnTo>
                  <a:lnTo>
                    <a:pt x="97849" y="5602443"/>
                  </a:lnTo>
                  <a:lnTo>
                    <a:pt x="82101" y="5621785"/>
                  </a:lnTo>
                  <a:lnTo>
                    <a:pt x="73536" y="5643588"/>
                  </a:lnTo>
                  <a:lnTo>
                    <a:pt x="65757" y="5663438"/>
                  </a:lnTo>
                  <a:lnTo>
                    <a:pt x="58573" y="5703437"/>
                  </a:lnTo>
                  <a:lnTo>
                    <a:pt x="46289" y="5743607"/>
                  </a:lnTo>
                  <a:lnTo>
                    <a:pt x="15345" y="5782009"/>
                  </a:lnTo>
                  <a:lnTo>
                    <a:pt x="5526" y="5823133"/>
                  </a:lnTo>
                  <a:lnTo>
                    <a:pt x="0" y="5846151"/>
                  </a:lnTo>
                  <a:lnTo>
                    <a:pt x="4166" y="5888424"/>
                  </a:lnTo>
                  <a:lnTo>
                    <a:pt x="18172" y="5913037"/>
                  </a:lnTo>
                  <a:lnTo>
                    <a:pt x="43356" y="5929998"/>
                  </a:lnTo>
                  <a:lnTo>
                    <a:pt x="59934" y="5952355"/>
                  </a:lnTo>
                  <a:lnTo>
                    <a:pt x="74981" y="5978326"/>
                  </a:lnTo>
                  <a:lnTo>
                    <a:pt x="99040" y="6014432"/>
                  </a:lnTo>
                  <a:lnTo>
                    <a:pt x="121015" y="6098366"/>
                  </a:lnTo>
                  <a:lnTo>
                    <a:pt x="122503" y="6127819"/>
                  </a:lnTo>
                  <a:lnTo>
                    <a:pt x="124395" y="6165674"/>
                  </a:lnTo>
                  <a:lnTo>
                    <a:pt x="143140" y="6214258"/>
                  </a:lnTo>
                  <a:lnTo>
                    <a:pt x="138826" y="6250239"/>
                  </a:lnTo>
                  <a:lnTo>
                    <a:pt x="133555" y="6294426"/>
                  </a:lnTo>
                  <a:lnTo>
                    <a:pt x="112748" y="6331318"/>
                  </a:lnTo>
                  <a:lnTo>
                    <a:pt x="125224" y="6378095"/>
                  </a:lnTo>
                  <a:lnTo>
                    <a:pt x="142184" y="6441769"/>
                  </a:lnTo>
                  <a:lnTo>
                    <a:pt x="241457" y="6455585"/>
                  </a:lnTo>
                  <a:lnTo>
                    <a:pt x="285728" y="6550843"/>
                  </a:lnTo>
                  <a:lnTo>
                    <a:pt x="313441" y="6610461"/>
                  </a:lnTo>
                  <a:lnTo>
                    <a:pt x="282580" y="6778440"/>
                  </a:lnTo>
                  <a:lnTo>
                    <a:pt x="293889" y="6859608"/>
                  </a:lnTo>
                  <a:lnTo>
                    <a:pt x="305237" y="6940944"/>
                  </a:lnTo>
                  <a:lnTo>
                    <a:pt x="370059" y="6987914"/>
                  </a:lnTo>
                  <a:lnTo>
                    <a:pt x="370059" y="7090839"/>
                  </a:lnTo>
                  <a:lnTo>
                    <a:pt x="370059" y="7144634"/>
                  </a:lnTo>
                  <a:lnTo>
                    <a:pt x="331804" y="7250898"/>
                  </a:lnTo>
                  <a:lnTo>
                    <a:pt x="307490" y="7300313"/>
                  </a:lnTo>
                  <a:lnTo>
                    <a:pt x="282391" y="7351338"/>
                  </a:lnTo>
                  <a:lnTo>
                    <a:pt x="275824" y="7412782"/>
                  </a:lnTo>
                  <a:lnTo>
                    <a:pt x="242201" y="7460813"/>
                  </a:lnTo>
                  <a:lnTo>
                    <a:pt x="240944" y="7580471"/>
                  </a:lnTo>
                  <a:lnTo>
                    <a:pt x="149493" y="7682488"/>
                  </a:lnTo>
                  <a:lnTo>
                    <a:pt x="159227" y="7750541"/>
                  </a:lnTo>
                  <a:lnTo>
                    <a:pt x="215420" y="7774190"/>
                  </a:lnTo>
                  <a:lnTo>
                    <a:pt x="219054" y="7715852"/>
                  </a:lnTo>
                  <a:lnTo>
                    <a:pt x="242199" y="7694768"/>
                  </a:lnTo>
                  <a:lnTo>
                    <a:pt x="267809" y="7687612"/>
                  </a:lnTo>
                  <a:lnTo>
                    <a:pt x="293886" y="7698850"/>
                  </a:lnTo>
                  <a:lnTo>
                    <a:pt x="294992" y="7734581"/>
                  </a:lnTo>
                  <a:lnTo>
                    <a:pt x="277564" y="7766863"/>
                  </a:lnTo>
                  <a:lnTo>
                    <a:pt x="278922" y="7789986"/>
                  </a:lnTo>
                  <a:lnTo>
                    <a:pt x="298730" y="7809578"/>
                  </a:lnTo>
                  <a:lnTo>
                    <a:pt x="346485" y="7821351"/>
                  </a:lnTo>
                  <a:lnTo>
                    <a:pt x="383572" y="7814128"/>
                  </a:lnTo>
                  <a:lnTo>
                    <a:pt x="431264" y="7829430"/>
                  </a:lnTo>
                  <a:lnTo>
                    <a:pt x="461932" y="7859778"/>
                  </a:lnTo>
                  <a:lnTo>
                    <a:pt x="451667" y="7920564"/>
                  </a:lnTo>
                  <a:lnTo>
                    <a:pt x="461911" y="7940863"/>
                  </a:lnTo>
                  <a:lnTo>
                    <a:pt x="547221" y="7967275"/>
                  </a:lnTo>
                  <a:lnTo>
                    <a:pt x="576806" y="8000818"/>
                  </a:lnTo>
                  <a:lnTo>
                    <a:pt x="591512" y="8017476"/>
                  </a:lnTo>
                  <a:lnTo>
                    <a:pt x="590619" y="8044364"/>
                  </a:lnTo>
                  <a:lnTo>
                    <a:pt x="616251" y="8051143"/>
                  </a:lnTo>
                  <a:lnTo>
                    <a:pt x="642519" y="8049230"/>
                  </a:lnTo>
                  <a:lnTo>
                    <a:pt x="671934" y="8041812"/>
                  </a:lnTo>
                  <a:lnTo>
                    <a:pt x="692422" y="8063383"/>
                  </a:lnTo>
                  <a:lnTo>
                    <a:pt x="695482" y="8102531"/>
                  </a:lnTo>
                  <a:lnTo>
                    <a:pt x="721305" y="8137240"/>
                  </a:lnTo>
                  <a:lnTo>
                    <a:pt x="750443" y="8123001"/>
                  </a:lnTo>
                  <a:lnTo>
                    <a:pt x="775394" y="8147713"/>
                  </a:lnTo>
                  <a:lnTo>
                    <a:pt x="775394" y="8184439"/>
                  </a:lnTo>
                  <a:lnTo>
                    <a:pt x="692422" y="8263585"/>
                  </a:lnTo>
                  <a:lnTo>
                    <a:pt x="732569" y="8235978"/>
                  </a:lnTo>
                  <a:lnTo>
                    <a:pt x="729148" y="8319101"/>
                  </a:lnTo>
                  <a:lnTo>
                    <a:pt x="727999" y="8347049"/>
                  </a:lnTo>
                  <a:lnTo>
                    <a:pt x="720327" y="8371339"/>
                  </a:lnTo>
                  <a:lnTo>
                    <a:pt x="727789" y="8399355"/>
                  </a:lnTo>
                  <a:lnTo>
                    <a:pt x="748704" y="8428556"/>
                  </a:lnTo>
                  <a:lnTo>
                    <a:pt x="748195" y="8468719"/>
                  </a:lnTo>
                  <a:lnTo>
                    <a:pt x="786483" y="8505050"/>
                  </a:lnTo>
                  <a:lnTo>
                    <a:pt x="814712" y="8509601"/>
                  </a:lnTo>
                  <a:lnTo>
                    <a:pt x="798522" y="8574818"/>
                  </a:lnTo>
                  <a:lnTo>
                    <a:pt x="816031" y="8590850"/>
                  </a:lnTo>
                  <a:lnTo>
                    <a:pt x="833364" y="8606626"/>
                  </a:lnTo>
                  <a:lnTo>
                    <a:pt x="855996" y="8626528"/>
                  </a:lnTo>
                  <a:lnTo>
                    <a:pt x="871984" y="8640555"/>
                  </a:lnTo>
                  <a:lnTo>
                    <a:pt x="878572" y="8685256"/>
                  </a:lnTo>
                  <a:lnTo>
                    <a:pt x="856910" y="8729376"/>
                  </a:lnTo>
                  <a:lnTo>
                    <a:pt x="841270" y="8763340"/>
                  </a:lnTo>
                  <a:lnTo>
                    <a:pt x="831167" y="8795174"/>
                  </a:lnTo>
                  <a:lnTo>
                    <a:pt x="822922" y="8826203"/>
                  </a:lnTo>
                  <a:lnTo>
                    <a:pt x="817647" y="8856632"/>
                  </a:lnTo>
                  <a:lnTo>
                    <a:pt x="816207" y="8886302"/>
                  </a:lnTo>
                  <a:lnTo>
                    <a:pt x="818466" y="8915215"/>
                  </a:lnTo>
                  <a:lnTo>
                    <a:pt x="824830" y="8944448"/>
                  </a:lnTo>
                  <a:lnTo>
                    <a:pt x="835250" y="8974719"/>
                  </a:lnTo>
                  <a:lnTo>
                    <a:pt x="850777" y="9004516"/>
                  </a:lnTo>
                  <a:lnTo>
                    <a:pt x="871410" y="9034688"/>
                  </a:lnTo>
                  <a:lnTo>
                    <a:pt x="897819" y="9064489"/>
                  </a:lnTo>
                  <a:lnTo>
                    <a:pt x="927748" y="9097213"/>
                  </a:lnTo>
                  <a:lnTo>
                    <a:pt x="949847" y="9126126"/>
                  </a:lnTo>
                  <a:lnTo>
                    <a:pt x="984872" y="9154267"/>
                  </a:lnTo>
                  <a:lnTo>
                    <a:pt x="1018048" y="9180916"/>
                  </a:lnTo>
                  <a:lnTo>
                    <a:pt x="1066909" y="9192114"/>
                  </a:lnTo>
                  <a:lnTo>
                    <a:pt x="1093688" y="9224996"/>
                  </a:lnTo>
                  <a:lnTo>
                    <a:pt x="1100040" y="9269433"/>
                  </a:lnTo>
                  <a:lnTo>
                    <a:pt x="1110155" y="9322957"/>
                  </a:lnTo>
                  <a:lnTo>
                    <a:pt x="1129650" y="9352357"/>
                  </a:lnTo>
                  <a:lnTo>
                    <a:pt x="1156257" y="9371891"/>
                  </a:lnTo>
                  <a:lnTo>
                    <a:pt x="1182863" y="9391432"/>
                  </a:lnTo>
                  <a:lnTo>
                    <a:pt x="1216288" y="9400453"/>
                  </a:lnTo>
                  <a:lnTo>
                    <a:pt x="1252831" y="9395019"/>
                  </a:lnTo>
                  <a:lnTo>
                    <a:pt x="1279484" y="9391055"/>
                  </a:lnTo>
                  <a:lnTo>
                    <a:pt x="1313296" y="9372083"/>
                  </a:lnTo>
                  <a:lnTo>
                    <a:pt x="1337164" y="9359651"/>
                  </a:lnTo>
                  <a:lnTo>
                    <a:pt x="1361265" y="9347114"/>
                  </a:lnTo>
                  <a:lnTo>
                    <a:pt x="1470463" y="9317424"/>
                  </a:lnTo>
                  <a:lnTo>
                    <a:pt x="1505330" y="9302929"/>
                  </a:lnTo>
                  <a:lnTo>
                    <a:pt x="1529154" y="9297528"/>
                  </a:lnTo>
                  <a:lnTo>
                    <a:pt x="1550715" y="9295720"/>
                  </a:lnTo>
                  <a:lnTo>
                    <a:pt x="1572275" y="9293920"/>
                  </a:lnTo>
                  <a:lnTo>
                    <a:pt x="1607843" y="9301168"/>
                  </a:lnTo>
                  <a:lnTo>
                    <a:pt x="1640296" y="9312082"/>
                  </a:lnTo>
                  <a:lnTo>
                    <a:pt x="1663137" y="9336319"/>
                  </a:lnTo>
                  <a:lnTo>
                    <a:pt x="1681294" y="9367815"/>
                  </a:lnTo>
                  <a:lnTo>
                    <a:pt x="1699451" y="9399312"/>
                  </a:lnTo>
                  <a:lnTo>
                    <a:pt x="1712933" y="9438559"/>
                  </a:lnTo>
                  <a:lnTo>
                    <a:pt x="1726180" y="9479349"/>
                  </a:lnTo>
                  <a:lnTo>
                    <a:pt x="1739427" y="9520137"/>
                  </a:lnTo>
                  <a:lnTo>
                    <a:pt x="1751982" y="9562972"/>
                  </a:lnTo>
                  <a:lnTo>
                    <a:pt x="1769706" y="9601770"/>
                  </a:lnTo>
                  <a:lnTo>
                    <a:pt x="1785612" y="9636578"/>
                  </a:lnTo>
                  <a:lnTo>
                    <a:pt x="1802768" y="9668761"/>
                  </a:lnTo>
                  <a:lnTo>
                    <a:pt x="1822754" y="9698345"/>
                  </a:lnTo>
                  <a:lnTo>
                    <a:pt x="1842741" y="9727923"/>
                  </a:lnTo>
                  <a:lnTo>
                    <a:pt x="1865287" y="9754139"/>
                  </a:lnTo>
                  <a:lnTo>
                    <a:pt x="1890764" y="9775875"/>
                  </a:lnTo>
                  <a:lnTo>
                    <a:pt x="1916242" y="9797612"/>
                  </a:lnTo>
                  <a:lnTo>
                    <a:pt x="1945444" y="9814924"/>
                  </a:lnTo>
                  <a:lnTo>
                    <a:pt x="1977817" y="9826201"/>
                  </a:lnTo>
                  <a:lnTo>
                    <a:pt x="2010189" y="9837478"/>
                  </a:lnTo>
                  <a:lnTo>
                    <a:pt x="2045959" y="9842958"/>
                  </a:lnTo>
                  <a:lnTo>
                    <a:pt x="2086633" y="9841164"/>
                  </a:lnTo>
                  <a:lnTo>
                    <a:pt x="2135069" y="9841205"/>
                  </a:lnTo>
                  <a:lnTo>
                    <a:pt x="2185991" y="9818742"/>
                  </a:lnTo>
                  <a:lnTo>
                    <a:pt x="2212941" y="9787199"/>
                  </a:lnTo>
                  <a:lnTo>
                    <a:pt x="2240336" y="9760912"/>
                  </a:lnTo>
                  <a:lnTo>
                    <a:pt x="2267540" y="9764994"/>
                  </a:lnTo>
                  <a:lnTo>
                    <a:pt x="2277613" y="9795660"/>
                  </a:lnTo>
                  <a:lnTo>
                    <a:pt x="2271135" y="9824650"/>
                  </a:lnTo>
                  <a:lnTo>
                    <a:pt x="2268898" y="9853405"/>
                  </a:lnTo>
                  <a:lnTo>
                    <a:pt x="2266647" y="9882528"/>
                  </a:lnTo>
                  <a:lnTo>
                    <a:pt x="2273868" y="9911335"/>
                  </a:lnTo>
                  <a:lnTo>
                    <a:pt x="2294738" y="9940457"/>
                  </a:lnTo>
                  <a:lnTo>
                    <a:pt x="2319222" y="9941815"/>
                  </a:lnTo>
                  <a:lnTo>
                    <a:pt x="2342752" y="9926799"/>
                  </a:lnTo>
                  <a:lnTo>
                    <a:pt x="2363701" y="9899708"/>
                  </a:lnTo>
                  <a:lnTo>
                    <a:pt x="2383151" y="9867011"/>
                  </a:lnTo>
                  <a:lnTo>
                    <a:pt x="2403666" y="9835051"/>
                  </a:lnTo>
                  <a:lnTo>
                    <a:pt x="2425205" y="9811910"/>
                  </a:lnTo>
                  <a:lnTo>
                    <a:pt x="2448441" y="9804438"/>
                  </a:lnTo>
                  <a:lnTo>
                    <a:pt x="2474412" y="9803469"/>
                  </a:lnTo>
                  <a:lnTo>
                    <a:pt x="2496048" y="9831642"/>
                  </a:lnTo>
                  <a:lnTo>
                    <a:pt x="2504395" y="9874224"/>
                  </a:lnTo>
                  <a:lnTo>
                    <a:pt x="2505569" y="9899649"/>
                  </a:lnTo>
                  <a:lnTo>
                    <a:pt x="2506743" y="9925078"/>
                  </a:lnTo>
                  <a:lnTo>
                    <a:pt x="2507778" y="9951992"/>
                  </a:lnTo>
                  <a:lnTo>
                    <a:pt x="2515091" y="9974462"/>
                  </a:lnTo>
                  <a:lnTo>
                    <a:pt x="2522396" y="9996930"/>
                  </a:lnTo>
                  <a:lnTo>
                    <a:pt x="2535547" y="10014684"/>
                  </a:lnTo>
                  <a:lnTo>
                    <a:pt x="2561337" y="10023428"/>
                  </a:lnTo>
                  <a:lnTo>
                    <a:pt x="2587076" y="10032160"/>
                  </a:lnTo>
                  <a:lnTo>
                    <a:pt x="2617870" y="10035417"/>
                  </a:lnTo>
                  <a:lnTo>
                    <a:pt x="2644309" y="10042474"/>
                  </a:lnTo>
                  <a:lnTo>
                    <a:pt x="2691268" y="10055004"/>
                  </a:lnTo>
                  <a:lnTo>
                    <a:pt x="2722202" y="10064436"/>
                  </a:lnTo>
                  <a:lnTo>
                    <a:pt x="2754485" y="10068313"/>
                  </a:lnTo>
                  <a:lnTo>
                    <a:pt x="2786769" y="10072197"/>
                  </a:lnTo>
                  <a:lnTo>
                    <a:pt x="2820000" y="10070806"/>
                  </a:lnTo>
                  <a:lnTo>
                    <a:pt x="2868742" y="10058796"/>
                  </a:lnTo>
                  <a:lnTo>
                    <a:pt x="2905618" y="10049702"/>
                  </a:lnTo>
                  <a:lnTo>
                    <a:pt x="2941917" y="10031613"/>
                  </a:lnTo>
                  <a:lnTo>
                    <a:pt x="2980279" y="10028869"/>
                  </a:lnTo>
                  <a:lnTo>
                    <a:pt x="3010562" y="10036413"/>
                  </a:lnTo>
                  <a:lnTo>
                    <a:pt x="3042150" y="10056475"/>
                  </a:lnTo>
                  <a:lnTo>
                    <a:pt x="3074132" y="10073761"/>
                  </a:lnTo>
                  <a:lnTo>
                    <a:pt x="3097850" y="10038464"/>
                  </a:lnTo>
                  <a:lnTo>
                    <a:pt x="3114305" y="9996897"/>
                  </a:lnTo>
                  <a:lnTo>
                    <a:pt x="3121751" y="9970649"/>
                  </a:lnTo>
                  <a:lnTo>
                    <a:pt x="3128540" y="9944539"/>
                  </a:lnTo>
                  <a:lnTo>
                    <a:pt x="3135329" y="9918431"/>
                  </a:lnTo>
                  <a:lnTo>
                    <a:pt x="3141380" y="9893028"/>
                  </a:lnTo>
                  <a:lnTo>
                    <a:pt x="3146223" y="9869727"/>
                  </a:lnTo>
                  <a:lnTo>
                    <a:pt x="3151064" y="9846427"/>
                  </a:lnTo>
                  <a:lnTo>
                    <a:pt x="3155413" y="9825271"/>
                  </a:lnTo>
                  <a:lnTo>
                    <a:pt x="3168317" y="9765936"/>
                  </a:lnTo>
                  <a:lnTo>
                    <a:pt x="3182565" y="9718341"/>
                  </a:lnTo>
                  <a:lnTo>
                    <a:pt x="3195190" y="9669776"/>
                  </a:lnTo>
                  <a:lnTo>
                    <a:pt x="3207815" y="9621218"/>
                  </a:lnTo>
                  <a:lnTo>
                    <a:pt x="3219235" y="9572416"/>
                  </a:lnTo>
                  <a:lnTo>
                    <a:pt x="3223754" y="9524233"/>
                  </a:lnTo>
                  <a:lnTo>
                    <a:pt x="3228271" y="9476058"/>
                  </a:lnTo>
                  <a:lnTo>
                    <a:pt x="3225970" y="9428278"/>
                  </a:lnTo>
                  <a:lnTo>
                    <a:pt x="3211512" y="9384138"/>
                  </a:lnTo>
                  <a:lnTo>
                    <a:pt x="3204284" y="9362065"/>
                  </a:lnTo>
                  <a:lnTo>
                    <a:pt x="3192880" y="9340585"/>
                  </a:lnTo>
                  <a:lnTo>
                    <a:pt x="3178868" y="9320207"/>
                  </a:lnTo>
                  <a:lnTo>
                    <a:pt x="3164855" y="9299828"/>
                  </a:lnTo>
                  <a:lnTo>
                    <a:pt x="3147974" y="9281310"/>
                  </a:lnTo>
                  <a:lnTo>
                    <a:pt x="3125819" y="9263082"/>
                  </a:lnTo>
                  <a:lnTo>
                    <a:pt x="3124151" y="9240982"/>
                  </a:lnTo>
                  <a:lnTo>
                    <a:pt x="3132922" y="9206280"/>
                  </a:lnTo>
                  <a:lnTo>
                    <a:pt x="3139541" y="9186001"/>
                  </a:lnTo>
                  <a:lnTo>
                    <a:pt x="3147579" y="9165140"/>
                  </a:lnTo>
                  <a:lnTo>
                    <a:pt x="3155619" y="9144287"/>
                  </a:lnTo>
                  <a:lnTo>
                    <a:pt x="3164648" y="9122386"/>
                  </a:lnTo>
                  <a:lnTo>
                    <a:pt x="3179480" y="9085488"/>
                  </a:lnTo>
                  <a:lnTo>
                    <a:pt x="3188385" y="9060407"/>
                  </a:lnTo>
                  <a:lnTo>
                    <a:pt x="3194307" y="9036599"/>
                  </a:lnTo>
                  <a:lnTo>
                    <a:pt x="3197998" y="9011322"/>
                  </a:lnTo>
                  <a:lnTo>
                    <a:pt x="3201987" y="8986961"/>
                  </a:lnTo>
                  <a:lnTo>
                    <a:pt x="3205977" y="8962591"/>
                  </a:lnTo>
                  <a:lnTo>
                    <a:pt x="3210245" y="8938151"/>
                  </a:lnTo>
                  <a:lnTo>
                    <a:pt x="3212869" y="8913506"/>
                  </a:lnTo>
                  <a:lnTo>
                    <a:pt x="3215494" y="8888867"/>
                  </a:lnTo>
                  <a:lnTo>
                    <a:pt x="3216489" y="8864697"/>
                  </a:lnTo>
                  <a:lnTo>
                    <a:pt x="3218310" y="8840058"/>
                  </a:lnTo>
                  <a:lnTo>
                    <a:pt x="3220136" y="8815421"/>
                  </a:lnTo>
                  <a:lnTo>
                    <a:pt x="3222168" y="8790966"/>
                  </a:lnTo>
                  <a:lnTo>
                    <a:pt x="3223751" y="8766605"/>
                  </a:lnTo>
                  <a:lnTo>
                    <a:pt x="3238509" y="8743594"/>
                  </a:lnTo>
                  <a:lnTo>
                    <a:pt x="3259708" y="8729403"/>
                  </a:lnTo>
                  <a:lnTo>
                    <a:pt x="3280934" y="8718020"/>
                  </a:lnTo>
                  <a:lnTo>
                    <a:pt x="3330554" y="8681623"/>
                  </a:lnTo>
                  <a:lnTo>
                    <a:pt x="3491880" y="8539363"/>
                  </a:lnTo>
                  <a:lnTo>
                    <a:pt x="3516194" y="8504088"/>
                  </a:lnTo>
                  <a:lnTo>
                    <a:pt x="3531262" y="8482199"/>
                  </a:lnTo>
                  <a:lnTo>
                    <a:pt x="3532729" y="8452759"/>
                  </a:lnTo>
                  <a:lnTo>
                    <a:pt x="3540677" y="8427917"/>
                  </a:lnTo>
                  <a:lnTo>
                    <a:pt x="3548158" y="8404557"/>
                  </a:lnTo>
                  <a:lnTo>
                    <a:pt x="3559296" y="8379207"/>
                  </a:lnTo>
                  <a:lnTo>
                    <a:pt x="3563800" y="8354469"/>
                  </a:lnTo>
                  <a:lnTo>
                    <a:pt x="3569010" y="8325847"/>
                  </a:lnTo>
                  <a:lnTo>
                    <a:pt x="3572482" y="8282941"/>
                  </a:lnTo>
                  <a:lnTo>
                    <a:pt x="3580123" y="8241570"/>
                  </a:lnTo>
                  <a:lnTo>
                    <a:pt x="3587764" y="8200195"/>
                  </a:lnTo>
                  <a:lnTo>
                    <a:pt x="3599867" y="8160189"/>
                  </a:lnTo>
                  <a:lnTo>
                    <a:pt x="3619569" y="8138195"/>
                  </a:lnTo>
                  <a:lnTo>
                    <a:pt x="3671001" y="8099681"/>
                  </a:lnTo>
                  <a:lnTo>
                    <a:pt x="3715914" y="8056881"/>
                  </a:lnTo>
                  <a:lnTo>
                    <a:pt x="3751254" y="8038020"/>
                  </a:lnTo>
                  <a:lnTo>
                    <a:pt x="3785513" y="8028014"/>
                  </a:lnTo>
                  <a:lnTo>
                    <a:pt x="3819772" y="8018017"/>
                  </a:lnTo>
                  <a:lnTo>
                    <a:pt x="3852791" y="8016697"/>
                  </a:lnTo>
                  <a:lnTo>
                    <a:pt x="3886167" y="8019857"/>
                  </a:lnTo>
                  <a:lnTo>
                    <a:pt x="3952921" y="8026168"/>
                  </a:lnTo>
                  <a:lnTo>
                    <a:pt x="4021550" y="8050061"/>
                  </a:lnTo>
                  <a:lnTo>
                    <a:pt x="4109240" y="8062019"/>
                  </a:lnTo>
                  <a:lnTo>
                    <a:pt x="4156573" y="8068474"/>
                  </a:lnTo>
                  <a:lnTo>
                    <a:pt x="4206824" y="8068916"/>
                  </a:lnTo>
                  <a:lnTo>
                    <a:pt x="4256142" y="8066094"/>
                  </a:lnTo>
                  <a:lnTo>
                    <a:pt x="4305460" y="8063284"/>
                  </a:lnTo>
                  <a:lnTo>
                    <a:pt x="4354266" y="8057744"/>
                  </a:lnTo>
                  <a:lnTo>
                    <a:pt x="4401682" y="8055219"/>
                  </a:lnTo>
                  <a:lnTo>
                    <a:pt x="4449737" y="8042951"/>
                  </a:lnTo>
                  <a:lnTo>
                    <a:pt x="4470883" y="8014239"/>
                  </a:lnTo>
                  <a:lnTo>
                    <a:pt x="4486568" y="7986375"/>
                  </a:lnTo>
                  <a:lnTo>
                    <a:pt x="4505058" y="7966801"/>
                  </a:lnTo>
                  <a:lnTo>
                    <a:pt x="4520631" y="7950314"/>
                  </a:lnTo>
                  <a:lnTo>
                    <a:pt x="4542321" y="7945334"/>
                  </a:lnTo>
                  <a:lnTo>
                    <a:pt x="4566267" y="7947762"/>
                  </a:lnTo>
                  <a:lnTo>
                    <a:pt x="4590213" y="7950188"/>
                  </a:lnTo>
                  <a:lnTo>
                    <a:pt x="4617483" y="7959211"/>
                  </a:lnTo>
                  <a:lnTo>
                    <a:pt x="4645155" y="7970883"/>
                  </a:lnTo>
                  <a:lnTo>
                    <a:pt x="4700507" y="7994229"/>
                  </a:lnTo>
                  <a:lnTo>
                    <a:pt x="4757822" y="8027025"/>
                  </a:lnTo>
                  <a:lnTo>
                    <a:pt x="4800221" y="8029374"/>
                  </a:lnTo>
                  <a:lnTo>
                    <a:pt x="4821753" y="8018043"/>
                  </a:lnTo>
                  <a:lnTo>
                    <a:pt x="4834225" y="8000804"/>
                  </a:lnTo>
                  <a:lnTo>
                    <a:pt x="4841209" y="7980743"/>
                  </a:lnTo>
                  <a:lnTo>
                    <a:pt x="4851912" y="7962725"/>
                  </a:lnTo>
                  <a:lnTo>
                    <a:pt x="4876649" y="7921040"/>
                  </a:lnTo>
                  <a:lnTo>
                    <a:pt x="4902396" y="7893671"/>
                  </a:lnTo>
                  <a:lnTo>
                    <a:pt x="4928083" y="7877031"/>
                  </a:lnTo>
                  <a:lnTo>
                    <a:pt x="4953764" y="7860392"/>
                  </a:lnTo>
                  <a:lnTo>
                    <a:pt x="4980110" y="7854456"/>
                  </a:lnTo>
                  <a:lnTo>
                    <a:pt x="5008330" y="7855268"/>
                  </a:lnTo>
                  <a:lnTo>
                    <a:pt x="5036550" y="7856079"/>
                  </a:lnTo>
                  <a:lnTo>
                    <a:pt x="5065759" y="7863657"/>
                  </a:lnTo>
                  <a:lnTo>
                    <a:pt x="5098106" y="7874308"/>
                  </a:lnTo>
                  <a:lnTo>
                    <a:pt x="5130455" y="7884958"/>
                  </a:lnTo>
                  <a:lnTo>
                    <a:pt x="5166133" y="7899500"/>
                  </a:lnTo>
                  <a:lnTo>
                    <a:pt x="5204198" y="7912394"/>
                  </a:lnTo>
                  <a:lnTo>
                    <a:pt x="5239805" y="7917945"/>
                  </a:lnTo>
                  <a:lnTo>
                    <a:pt x="5280132" y="7909564"/>
                  </a:lnTo>
                  <a:lnTo>
                    <a:pt x="5301902" y="7901452"/>
                  </a:lnTo>
                  <a:lnTo>
                    <a:pt x="5322538" y="7891989"/>
                  </a:lnTo>
                  <a:lnTo>
                    <a:pt x="5343173" y="7882532"/>
                  </a:lnTo>
                  <a:lnTo>
                    <a:pt x="5362523" y="7870733"/>
                  </a:lnTo>
                  <a:lnTo>
                    <a:pt x="5381028" y="7860702"/>
                  </a:lnTo>
                  <a:lnTo>
                    <a:pt x="5399527" y="7850672"/>
                  </a:lnTo>
                  <a:lnTo>
                    <a:pt x="5429995" y="7836221"/>
                  </a:lnTo>
                  <a:lnTo>
                    <a:pt x="5450571" y="7829706"/>
                  </a:lnTo>
                  <a:lnTo>
                    <a:pt x="5471985" y="7829093"/>
                  </a:lnTo>
                  <a:lnTo>
                    <a:pt x="5493926" y="7832140"/>
                  </a:lnTo>
                  <a:lnTo>
                    <a:pt x="5516896" y="7836130"/>
                  </a:lnTo>
                  <a:lnTo>
                    <a:pt x="5538962" y="7839031"/>
                  </a:lnTo>
                  <a:lnTo>
                    <a:pt x="5579640" y="7837541"/>
                  </a:lnTo>
                  <a:lnTo>
                    <a:pt x="5600342" y="7834132"/>
                  </a:lnTo>
                  <a:lnTo>
                    <a:pt x="5637774" y="7821984"/>
                  </a:lnTo>
                  <a:lnTo>
                    <a:pt x="5672107" y="7804935"/>
                  </a:lnTo>
                  <a:lnTo>
                    <a:pt x="5708056" y="7785097"/>
                  </a:lnTo>
                  <a:lnTo>
                    <a:pt x="5742257" y="7764917"/>
                  </a:lnTo>
                  <a:lnTo>
                    <a:pt x="5775482" y="7745088"/>
                  </a:lnTo>
                  <a:lnTo>
                    <a:pt x="5795227" y="7733791"/>
                  </a:lnTo>
                  <a:lnTo>
                    <a:pt x="5813956" y="7720929"/>
                  </a:lnTo>
                  <a:lnTo>
                    <a:pt x="5835331" y="7709719"/>
                  </a:lnTo>
                  <a:lnTo>
                    <a:pt x="5860992" y="7697794"/>
                  </a:lnTo>
                  <a:lnTo>
                    <a:pt x="5905336" y="7680378"/>
                  </a:lnTo>
                  <a:lnTo>
                    <a:pt x="5949588" y="7668915"/>
                  </a:lnTo>
                  <a:lnTo>
                    <a:pt x="5993846" y="7657448"/>
                  </a:lnTo>
                  <a:lnTo>
                    <a:pt x="6038150" y="7651044"/>
                  </a:lnTo>
                  <a:lnTo>
                    <a:pt x="6065203" y="7662110"/>
                  </a:lnTo>
                  <a:lnTo>
                    <a:pt x="6088747" y="7678867"/>
                  </a:lnTo>
                  <a:lnTo>
                    <a:pt x="6109672" y="7699760"/>
                  </a:lnTo>
                  <a:lnTo>
                    <a:pt x="6131857" y="7713801"/>
                  </a:lnTo>
                  <a:lnTo>
                    <a:pt x="6155573" y="7711566"/>
                  </a:lnTo>
                  <a:lnTo>
                    <a:pt x="6181590" y="7699707"/>
                  </a:lnTo>
                  <a:lnTo>
                    <a:pt x="6198506" y="7683873"/>
                  </a:lnTo>
                  <a:lnTo>
                    <a:pt x="6238405" y="7629650"/>
                  </a:lnTo>
                  <a:lnTo>
                    <a:pt x="6261559" y="7595621"/>
                  </a:lnTo>
                  <a:lnTo>
                    <a:pt x="6273318" y="7570974"/>
                  </a:lnTo>
                  <a:lnTo>
                    <a:pt x="6285077" y="7546337"/>
                  </a:lnTo>
                  <a:lnTo>
                    <a:pt x="6278759" y="7519290"/>
                  </a:lnTo>
                  <a:lnTo>
                    <a:pt x="6256126" y="7496360"/>
                  </a:lnTo>
                  <a:lnTo>
                    <a:pt x="6239308" y="7478481"/>
                  </a:lnTo>
                  <a:lnTo>
                    <a:pt x="6222557" y="7458031"/>
                  </a:lnTo>
                  <a:lnTo>
                    <a:pt x="6204375" y="7430925"/>
                  </a:lnTo>
                  <a:lnTo>
                    <a:pt x="6186265" y="7394152"/>
                  </a:lnTo>
                  <a:lnTo>
                    <a:pt x="6151919" y="7399138"/>
                  </a:lnTo>
                  <a:lnTo>
                    <a:pt x="6114513" y="7408212"/>
                  </a:lnTo>
                  <a:lnTo>
                    <a:pt x="6076091" y="7417273"/>
                  </a:lnTo>
                  <a:lnTo>
                    <a:pt x="6038282" y="7421686"/>
                  </a:lnTo>
                  <a:lnTo>
                    <a:pt x="6002353" y="7415579"/>
                  </a:lnTo>
                  <a:lnTo>
                    <a:pt x="5969992" y="7394152"/>
                  </a:lnTo>
                  <a:lnTo>
                    <a:pt x="5961320" y="7319656"/>
                  </a:lnTo>
                  <a:lnTo>
                    <a:pt x="5953056" y="7262723"/>
                  </a:lnTo>
                  <a:lnTo>
                    <a:pt x="5950946" y="7206441"/>
                  </a:lnTo>
                  <a:lnTo>
                    <a:pt x="5957224" y="7176790"/>
                  </a:lnTo>
                  <a:lnTo>
                    <a:pt x="5974602" y="7149046"/>
                  </a:lnTo>
                  <a:lnTo>
                    <a:pt x="5993114" y="7122113"/>
                  </a:lnTo>
                  <a:lnTo>
                    <a:pt x="6005888" y="7096524"/>
                  </a:lnTo>
                  <a:lnTo>
                    <a:pt x="5999385" y="7068799"/>
                  </a:lnTo>
                  <a:lnTo>
                    <a:pt x="5963193" y="7039135"/>
                  </a:lnTo>
                  <a:lnTo>
                    <a:pt x="5944166" y="7027198"/>
                  </a:lnTo>
                  <a:lnTo>
                    <a:pt x="5925681" y="7013613"/>
                  </a:lnTo>
                  <a:lnTo>
                    <a:pt x="5901986" y="7020096"/>
                  </a:lnTo>
                  <a:lnTo>
                    <a:pt x="5877947" y="7035033"/>
                  </a:lnTo>
                  <a:lnTo>
                    <a:pt x="5852570" y="7059567"/>
                  </a:lnTo>
                  <a:lnTo>
                    <a:pt x="5825815" y="7086745"/>
                  </a:lnTo>
                  <a:lnTo>
                    <a:pt x="5797938" y="7112233"/>
                  </a:lnTo>
                  <a:lnTo>
                    <a:pt x="5769349" y="7126552"/>
                  </a:lnTo>
                  <a:lnTo>
                    <a:pt x="5741479" y="7123465"/>
                  </a:lnTo>
                  <a:lnTo>
                    <a:pt x="5719695" y="7109477"/>
                  </a:lnTo>
                  <a:lnTo>
                    <a:pt x="5703413" y="7083044"/>
                  </a:lnTo>
                  <a:lnTo>
                    <a:pt x="5693870" y="7050017"/>
                  </a:lnTo>
                  <a:lnTo>
                    <a:pt x="5692380" y="7016792"/>
                  </a:lnTo>
                  <a:lnTo>
                    <a:pt x="5703531" y="6988025"/>
                  </a:lnTo>
                  <a:lnTo>
                    <a:pt x="5730597" y="6968405"/>
                  </a:lnTo>
                  <a:lnTo>
                    <a:pt x="5757438" y="6956982"/>
                  </a:lnTo>
                  <a:lnTo>
                    <a:pt x="5783937" y="6950876"/>
                  </a:lnTo>
                  <a:lnTo>
                    <a:pt x="5810850" y="6946642"/>
                  </a:lnTo>
                  <a:lnTo>
                    <a:pt x="5837764" y="6942402"/>
                  </a:lnTo>
                  <a:lnTo>
                    <a:pt x="5864975" y="6941003"/>
                  </a:lnTo>
                  <a:lnTo>
                    <a:pt x="5889739" y="6939842"/>
                  </a:lnTo>
                  <a:lnTo>
                    <a:pt x="5914509" y="6938675"/>
                  </a:lnTo>
                  <a:lnTo>
                    <a:pt x="5937367" y="6937949"/>
                  </a:lnTo>
                  <a:lnTo>
                    <a:pt x="5978137" y="6933577"/>
                  </a:lnTo>
                  <a:lnTo>
                    <a:pt x="6009436" y="6922161"/>
                  </a:lnTo>
                  <a:lnTo>
                    <a:pt x="6028482" y="6901758"/>
                  </a:lnTo>
                  <a:lnTo>
                    <a:pt x="6038006" y="6874553"/>
                  </a:lnTo>
                  <a:lnTo>
                    <a:pt x="6046163" y="6845990"/>
                  </a:lnTo>
                  <a:lnTo>
                    <a:pt x="6059769" y="6821504"/>
                  </a:lnTo>
                  <a:lnTo>
                    <a:pt x="6074647" y="6805379"/>
                  </a:lnTo>
                  <a:lnTo>
                    <a:pt x="6107370" y="6783418"/>
                  </a:lnTo>
                  <a:lnTo>
                    <a:pt x="6139237" y="6762644"/>
                  </a:lnTo>
                  <a:lnTo>
                    <a:pt x="6168004" y="6741632"/>
                  </a:lnTo>
                  <a:lnTo>
                    <a:pt x="6190347" y="6714053"/>
                  </a:lnTo>
                  <a:lnTo>
                    <a:pt x="6202971" y="6677371"/>
                  </a:lnTo>
                  <a:lnTo>
                    <a:pt x="6202588" y="6650122"/>
                  </a:lnTo>
                  <a:lnTo>
                    <a:pt x="6178121" y="6628728"/>
                  </a:lnTo>
                  <a:lnTo>
                    <a:pt x="6145443" y="6608943"/>
                  </a:lnTo>
                  <a:lnTo>
                    <a:pt x="6110094" y="6590273"/>
                  </a:lnTo>
                  <a:lnTo>
                    <a:pt x="6075775" y="6571069"/>
                  </a:lnTo>
                  <a:lnTo>
                    <a:pt x="6049203" y="6549629"/>
                  </a:lnTo>
                  <a:lnTo>
                    <a:pt x="6035282" y="6523626"/>
                  </a:lnTo>
                  <a:lnTo>
                    <a:pt x="6026919" y="6499593"/>
                  </a:lnTo>
                  <a:lnTo>
                    <a:pt x="6031417" y="6478035"/>
                  </a:lnTo>
                  <a:lnTo>
                    <a:pt x="6043446" y="6456971"/>
                  </a:lnTo>
                  <a:lnTo>
                    <a:pt x="6055469" y="6435913"/>
                  </a:lnTo>
                  <a:lnTo>
                    <a:pt x="6075154" y="6415192"/>
                  </a:lnTo>
                  <a:lnTo>
                    <a:pt x="6096489" y="6395764"/>
                  </a:lnTo>
                  <a:lnTo>
                    <a:pt x="6117830" y="6376342"/>
                  </a:lnTo>
                  <a:lnTo>
                    <a:pt x="6140853" y="6357763"/>
                  </a:lnTo>
                  <a:lnTo>
                    <a:pt x="6160420" y="6338638"/>
                  </a:lnTo>
                  <a:lnTo>
                    <a:pt x="6179994" y="6319506"/>
                  </a:lnTo>
                  <a:lnTo>
                    <a:pt x="6195861" y="6300315"/>
                  </a:lnTo>
                  <a:lnTo>
                    <a:pt x="6202588" y="6280147"/>
                  </a:lnTo>
                  <a:lnTo>
                    <a:pt x="6210897" y="6249949"/>
                  </a:lnTo>
                  <a:lnTo>
                    <a:pt x="6213318" y="6223294"/>
                  </a:lnTo>
                  <a:lnTo>
                    <a:pt x="6210752" y="6199895"/>
                  </a:lnTo>
                  <a:lnTo>
                    <a:pt x="6206229" y="6177149"/>
                  </a:lnTo>
                  <a:lnTo>
                    <a:pt x="6198948" y="6157350"/>
                  </a:lnTo>
                  <a:lnTo>
                    <a:pt x="6172093" y="6105957"/>
                  </a:lnTo>
                  <a:lnTo>
                    <a:pt x="6149585" y="6082280"/>
                  </a:lnTo>
                  <a:lnTo>
                    <a:pt x="6156344" y="6061158"/>
                  </a:lnTo>
                  <a:lnTo>
                    <a:pt x="6168584" y="6033953"/>
                  </a:lnTo>
                  <a:lnTo>
                    <a:pt x="6180825" y="6008108"/>
                  </a:lnTo>
                  <a:lnTo>
                    <a:pt x="6196534" y="5969773"/>
                  </a:lnTo>
                  <a:lnTo>
                    <a:pt x="6216806" y="5934905"/>
                  </a:lnTo>
                  <a:lnTo>
                    <a:pt x="6247480" y="5907449"/>
                  </a:lnTo>
                  <a:lnTo>
                    <a:pt x="6291052" y="5902650"/>
                  </a:lnTo>
                  <a:lnTo>
                    <a:pt x="6319568" y="5910173"/>
                  </a:lnTo>
                  <a:lnTo>
                    <a:pt x="6348078" y="5917698"/>
                  </a:lnTo>
                  <a:lnTo>
                    <a:pt x="6376469" y="5927986"/>
                  </a:lnTo>
                  <a:lnTo>
                    <a:pt x="6432559" y="5937530"/>
                  </a:lnTo>
                  <a:lnTo>
                    <a:pt x="6489519" y="5927143"/>
                  </a:lnTo>
                  <a:lnTo>
                    <a:pt x="6545358" y="5911533"/>
                  </a:lnTo>
                  <a:lnTo>
                    <a:pt x="6601197" y="5895915"/>
                  </a:lnTo>
                  <a:lnTo>
                    <a:pt x="6655921" y="5875557"/>
                  </a:lnTo>
                  <a:lnTo>
                    <a:pt x="6696341" y="5863923"/>
                  </a:lnTo>
                  <a:lnTo>
                    <a:pt x="6748092" y="5863990"/>
                  </a:lnTo>
                  <a:lnTo>
                    <a:pt x="6793003" y="5872695"/>
                  </a:lnTo>
                  <a:lnTo>
                    <a:pt x="6826578" y="5880522"/>
                  </a:lnTo>
                  <a:lnTo>
                    <a:pt x="6854125" y="5897927"/>
                  </a:lnTo>
                  <a:lnTo>
                    <a:pt x="6900698" y="5937094"/>
                  </a:lnTo>
                  <a:lnTo>
                    <a:pt x="6931654" y="5964574"/>
                  </a:lnTo>
                  <a:lnTo>
                    <a:pt x="6962617" y="5992057"/>
                  </a:lnTo>
                  <a:lnTo>
                    <a:pt x="6993706" y="6017664"/>
                  </a:lnTo>
                  <a:lnTo>
                    <a:pt x="7037753" y="5994497"/>
                  </a:lnTo>
                  <a:lnTo>
                    <a:pt x="7062048" y="6004902"/>
                  </a:lnTo>
                  <a:lnTo>
                    <a:pt x="7086905" y="6019458"/>
                  </a:lnTo>
                  <a:lnTo>
                    <a:pt x="7112559" y="6033947"/>
                  </a:lnTo>
                  <a:lnTo>
                    <a:pt x="7137580" y="6045098"/>
                  </a:lnTo>
                  <a:lnTo>
                    <a:pt x="7163716" y="6047269"/>
                  </a:lnTo>
                  <a:lnTo>
                    <a:pt x="7190096" y="6035305"/>
                  </a:lnTo>
                  <a:lnTo>
                    <a:pt x="7213217" y="6013542"/>
                  </a:lnTo>
                  <a:lnTo>
                    <a:pt x="7224825" y="5991475"/>
                  </a:lnTo>
                  <a:lnTo>
                    <a:pt x="7234248" y="5964878"/>
                  </a:lnTo>
                  <a:lnTo>
                    <a:pt x="7240421" y="5937371"/>
                  </a:lnTo>
                  <a:lnTo>
                    <a:pt x="7245420" y="5914190"/>
                  </a:lnTo>
                  <a:lnTo>
                    <a:pt x="7246620" y="5892123"/>
                  </a:lnTo>
                  <a:lnTo>
                    <a:pt x="7243145" y="5862559"/>
                  </a:lnTo>
                  <a:lnTo>
                    <a:pt x="7248520" y="5817904"/>
                  </a:lnTo>
                  <a:lnTo>
                    <a:pt x="7262184" y="5775143"/>
                  </a:lnTo>
                  <a:lnTo>
                    <a:pt x="7262184" y="5729262"/>
                  </a:lnTo>
                  <a:lnTo>
                    <a:pt x="7253051" y="5687945"/>
                  </a:lnTo>
                  <a:lnTo>
                    <a:pt x="7262184" y="5668048"/>
                  </a:lnTo>
                  <a:lnTo>
                    <a:pt x="7301121" y="5658261"/>
                  </a:lnTo>
                  <a:lnTo>
                    <a:pt x="7337511" y="5661520"/>
                  </a:lnTo>
                  <a:lnTo>
                    <a:pt x="7369642" y="5672130"/>
                  </a:lnTo>
                  <a:lnTo>
                    <a:pt x="7401601" y="5682432"/>
                  </a:lnTo>
                  <a:lnTo>
                    <a:pt x="7428633" y="5694013"/>
                  </a:lnTo>
                  <a:lnTo>
                    <a:pt x="7461627" y="5657787"/>
                  </a:lnTo>
                  <a:lnTo>
                    <a:pt x="7502879" y="5610244"/>
                  </a:lnTo>
                  <a:lnTo>
                    <a:pt x="7527425" y="5594602"/>
                  </a:lnTo>
                  <a:lnTo>
                    <a:pt x="7587867" y="5556094"/>
                  </a:lnTo>
                  <a:lnTo>
                    <a:pt x="7661895" y="5536157"/>
                  </a:lnTo>
                  <a:lnTo>
                    <a:pt x="7726017" y="5504830"/>
                  </a:lnTo>
                  <a:lnTo>
                    <a:pt x="7763100" y="5486721"/>
                  </a:lnTo>
                  <a:lnTo>
                    <a:pt x="7799313" y="5463586"/>
                  </a:lnTo>
                  <a:lnTo>
                    <a:pt x="7836192" y="5444983"/>
                  </a:lnTo>
                  <a:lnTo>
                    <a:pt x="7872582" y="5426615"/>
                  </a:lnTo>
                  <a:lnTo>
                    <a:pt x="7914308" y="5409390"/>
                  </a:lnTo>
                  <a:lnTo>
                    <a:pt x="7954530" y="5387850"/>
                  </a:lnTo>
                  <a:lnTo>
                    <a:pt x="7994753" y="5366312"/>
                  </a:lnTo>
                  <a:lnTo>
                    <a:pt x="8032298" y="5340374"/>
                  </a:lnTo>
                  <a:lnTo>
                    <a:pt x="8057905" y="5306239"/>
                  </a:lnTo>
                  <a:lnTo>
                    <a:pt x="8073278" y="5285741"/>
                  </a:lnTo>
                  <a:lnTo>
                    <a:pt x="8081640" y="5263899"/>
                  </a:lnTo>
                  <a:lnTo>
                    <a:pt x="8093268" y="5242308"/>
                  </a:lnTo>
                  <a:lnTo>
                    <a:pt x="8113606" y="5204500"/>
                  </a:lnTo>
                  <a:lnTo>
                    <a:pt x="8135329" y="5166460"/>
                  </a:lnTo>
                  <a:lnTo>
                    <a:pt x="8154475" y="5128052"/>
                  </a:lnTo>
                  <a:lnTo>
                    <a:pt x="8169868" y="5097193"/>
                  </a:lnTo>
                  <a:lnTo>
                    <a:pt x="8194770" y="5018556"/>
                  </a:lnTo>
                  <a:lnTo>
                    <a:pt x="8225212" y="4949863"/>
                  </a:lnTo>
                  <a:lnTo>
                    <a:pt x="8240426" y="4915518"/>
                  </a:lnTo>
                  <a:lnTo>
                    <a:pt x="8257579" y="4883552"/>
                  </a:lnTo>
                  <a:lnTo>
                    <a:pt x="8275537" y="4861453"/>
                  </a:lnTo>
                  <a:lnTo>
                    <a:pt x="8293495" y="4839359"/>
                  </a:lnTo>
                  <a:lnTo>
                    <a:pt x="8312653" y="4826901"/>
                  </a:lnTo>
                  <a:lnTo>
                    <a:pt x="8336171" y="4845071"/>
                  </a:lnTo>
                  <a:lnTo>
                    <a:pt x="8343907" y="4869359"/>
                  </a:lnTo>
                  <a:lnTo>
                    <a:pt x="8389557" y="4886684"/>
                  </a:lnTo>
                  <a:lnTo>
                    <a:pt x="8413833" y="4888690"/>
                  </a:lnTo>
                  <a:lnTo>
                    <a:pt x="8437402" y="4884574"/>
                  </a:lnTo>
                  <a:lnTo>
                    <a:pt x="8460966" y="4880459"/>
                  </a:lnTo>
                  <a:lnTo>
                    <a:pt x="8483844" y="4870665"/>
                  </a:lnTo>
                  <a:lnTo>
                    <a:pt x="8516291" y="4854647"/>
                  </a:lnTo>
                  <a:lnTo>
                    <a:pt x="8536741" y="4844550"/>
                  </a:lnTo>
                  <a:lnTo>
                    <a:pt x="8565258" y="4824725"/>
                  </a:lnTo>
                  <a:lnTo>
                    <a:pt x="8587536" y="4798201"/>
                  </a:lnTo>
                  <a:lnTo>
                    <a:pt x="8592462" y="4774399"/>
                  </a:lnTo>
                  <a:lnTo>
                    <a:pt x="8600501" y="4735536"/>
                  </a:lnTo>
                  <a:lnTo>
                    <a:pt x="8594322" y="4708760"/>
                  </a:lnTo>
                  <a:lnTo>
                    <a:pt x="8581580" y="4683265"/>
                  </a:lnTo>
                  <a:lnTo>
                    <a:pt x="8568839" y="4657761"/>
                  </a:lnTo>
                  <a:lnTo>
                    <a:pt x="8548876" y="4634857"/>
                  </a:lnTo>
                  <a:lnTo>
                    <a:pt x="8528531" y="4604369"/>
                  </a:lnTo>
                  <a:lnTo>
                    <a:pt x="8507704" y="4571005"/>
                  </a:lnTo>
                  <a:lnTo>
                    <a:pt x="8492701" y="4543229"/>
                  </a:lnTo>
                  <a:lnTo>
                    <a:pt x="8487728" y="4522757"/>
                  </a:lnTo>
                  <a:lnTo>
                    <a:pt x="8517505" y="4340494"/>
                  </a:lnTo>
                  <a:lnTo>
                    <a:pt x="8533378" y="4323341"/>
                  </a:lnTo>
                  <a:lnTo>
                    <a:pt x="8731331" y="4303405"/>
                  </a:lnTo>
                  <a:lnTo>
                    <a:pt x="8773261" y="4297772"/>
                  </a:lnTo>
                  <a:lnTo>
                    <a:pt x="8814876" y="4270041"/>
                  </a:lnTo>
                  <a:lnTo>
                    <a:pt x="8854979" y="4262965"/>
                  </a:lnTo>
                  <a:lnTo>
                    <a:pt x="8890703" y="4256646"/>
                  </a:lnTo>
                  <a:lnTo>
                    <a:pt x="9058036" y="4237013"/>
                  </a:lnTo>
                  <a:lnTo>
                    <a:pt x="9078052" y="4227597"/>
                  </a:lnTo>
                  <a:lnTo>
                    <a:pt x="9120239" y="4207765"/>
                  </a:lnTo>
                  <a:lnTo>
                    <a:pt x="9157157" y="4173102"/>
                  </a:lnTo>
                  <a:lnTo>
                    <a:pt x="9200473" y="4156866"/>
                  </a:lnTo>
                  <a:lnTo>
                    <a:pt x="9235366" y="4143755"/>
                  </a:lnTo>
                  <a:lnTo>
                    <a:pt x="9276386" y="4145048"/>
                  </a:lnTo>
                  <a:lnTo>
                    <a:pt x="9310647" y="4125580"/>
                  </a:lnTo>
                  <a:lnTo>
                    <a:pt x="9336321" y="4111005"/>
                  </a:lnTo>
                  <a:lnTo>
                    <a:pt x="9353092" y="4087435"/>
                  </a:lnTo>
                  <a:lnTo>
                    <a:pt x="9382736" y="4076612"/>
                  </a:lnTo>
                  <a:lnTo>
                    <a:pt x="9411206" y="4083464"/>
                  </a:lnTo>
                  <a:lnTo>
                    <a:pt x="9436728" y="4084751"/>
                  </a:lnTo>
                  <a:lnTo>
                    <a:pt x="9460266" y="4082054"/>
                  </a:lnTo>
                  <a:lnTo>
                    <a:pt x="9483809" y="4079362"/>
                  </a:lnTo>
                  <a:lnTo>
                    <a:pt x="9505414" y="4073045"/>
                  </a:lnTo>
                  <a:lnTo>
                    <a:pt x="9524197" y="4061649"/>
                  </a:lnTo>
                  <a:lnTo>
                    <a:pt x="9542979" y="4050259"/>
                  </a:lnTo>
                  <a:lnTo>
                    <a:pt x="9558965" y="4034649"/>
                  </a:lnTo>
                  <a:lnTo>
                    <a:pt x="9573164" y="4015405"/>
                  </a:lnTo>
                  <a:lnTo>
                    <a:pt x="9587369" y="3996161"/>
                  </a:lnTo>
                  <a:lnTo>
                    <a:pt x="9598739" y="3972281"/>
                  </a:lnTo>
                  <a:lnTo>
                    <a:pt x="9608533" y="3946034"/>
                  </a:lnTo>
                  <a:lnTo>
                    <a:pt x="9608862" y="3923854"/>
                  </a:lnTo>
                  <a:lnTo>
                    <a:pt x="9596285" y="3884825"/>
                  </a:lnTo>
                  <a:lnTo>
                    <a:pt x="9580464" y="3845843"/>
                  </a:lnTo>
                  <a:lnTo>
                    <a:pt x="9568587" y="3809553"/>
                  </a:lnTo>
                  <a:lnTo>
                    <a:pt x="9569088" y="3774652"/>
                  </a:lnTo>
                  <a:lnTo>
                    <a:pt x="9586004" y="3738017"/>
                  </a:lnTo>
                  <a:lnTo>
                    <a:pt x="9609891" y="3718885"/>
                  </a:lnTo>
                  <a:lnTo>
                    <a:pt x="9638453" y="3717527"/>
                  </a:lnTo>
                  <a:lnTo>
                    <a:pt x="9665657" y="3721603"/>
                  </a:lnTo>
                  <a:lnTo>
                    <a:pt x="9692861" y="3725671"/>
                  </a:lnTo>
                  <a:lnTo>
                    <a:pt x="9718706" y="3722955"/>
                  </a:lnTo>
                  <a:lnTo>
                    <a:pt x="9735029" y="3698474"/>
                  </a:lnTo>
                  <a:lnTo>
                    <a:pt x="9739804" y="3675372"/>
                  </a:lnTo>
                  <a:lnTo>
                    <a:pt x="9738419" y="3650846"/>
                  </a:lnTo>
                  <a:lnTo>
                    <a:pt x="9732306" y="3627743"/>
                  </a:lnTo>
                  <a:lnTo>
                    <a:pt x="9724220" y="3607022"/>
                  </a:lnTo>
                  <a:lnTo>
                    <a:pt x="9673815" y="3547490"/>
                  </a:lnTo>
                  <a:lnTo>
                    <a:pt x="9657836" y="3528728"/>
                  </a:lnTo>
                  <a:lnTo>
                    <a:pt x="9662960" y="3498075"/>
                  </a:lnTo>
                  <a:lnTo>
                    <a:pt x="9646611" y="3480842"/>
                  </a:lnTo>
                  <a:lnTo>
                    <a:pt x="9619935" y="3458407"/>
                  </a:lnTo>
                  <a:lnTo>
                    <a:pt x="9594399" y="3443429"/>
                  </a:lnTo>
                  <a:lnTo>
                    <a:pt x="9570440" y="3430517"/>
                  </a:lnTo>
                  <a:lnTo>
                    <a:pt x="9546738" y="3414471"/>
                  </a:lnTo>
                  <a:lnTo>
                    <a:pt x="9526135" y="3389430"/>
                  </a:lnTo>
                  <a:lnTo>
                    <a:pt x="9509232" y="3348905"/>
                  </a:lnTo>
                  <a:lnTo>
                    <a:pt x="9498694" y="3313008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20" name="Khmelnytsky¬0" descr="Khmelnytsky¬0">
              <a:extLst>
                <a:ext uri="{FF2B5EF4-FFF2-40B4-BE49-F238E27FC236}">
                  <a16:creationId xmlns:a16="http://schemas.microsoft.com/office/drawing/2014/main" id="{0C5C579D-048E-47E2-BA29-E10DBCAC983E}"/>
                </a:ext>
              </a:extLst>
            </p:cNvPr>
            <p:cNvSpPr/>
            <p:nvPr/>
          </p:nvSpPr>
          <p:spPr>
            <a:xfrm>
              <a:off x="2250084" y="1994736"/>
              <a:ext cx="599041" cy="971534"/>
            </a:xfrm>
            <a:custGeom>
              <a:avLst/>
              <a:gdLst/>
              <a:ahLst/>
              <a:cxnLst/>
              <a:rect l="0" t="0" r="0" b="0"/>
              <a:pathLst>
                <a:path w="6112888" h="11253986">
                  <a:moveTo>
                    <a:pt x="4288341" y="10295067"/>
                  </a:moveTo>
                  <a:lnTo>
                    <a:pt x="4292741" y="10266965"/>
                  </a:lnTo>
                  <a:lnTo>
                    <a:pt x="4300054" y="10236939"/>
                  </a:lnTo>
                  <a:lnTo>
                    <a:pt x="4314834" y="10192363"/>
                  </a:lnTo>
                  <a:lnTo>
                    <a:pt x="4327483" y="10163010"/>
                  </a:lnTo>
                  <a:lnTo>
                    <a:pt x="4338985" y="10133669"/>
                  </a:lnTo>
                  <a:lnTo>
                    <a:pt x="4350493" y="10104328"/>
                  </a:lnTo>
                  <a:lnTo>
                    <a:pt x="4361790" y="10074922"/>
                  </a:lnTo>
                  <a:lnTo>
                    <a:pt x="4370270" y="10045251"/>
                  </a:lnTo>
                  <a:lnTo>
                    <a:pt x="4378751" y="10015588"/>
                  </a:lnTo>
                  <a:lnTo>
                    <a:pt x="4384449" y="9984822"/>
                  </a:lnTo>
                  <a:lnTo>
                    <a:pt x="4385235" y="9954123"/>
                  </a:lnTo>
                  <a:lnTo>
                    <a:pt x="4385952" y="9925877"/>
                  </a:lnTo>
                  <a:lnTo>
                    <a:pt x="4382965" y="9895916"/>
                  </a:lnTo>
                  <a:lnTo>
                    <a:pt x="4382517" y="9865706"/>
                  </a:lnTo>
                  <a:lnTo>
                    <a:pt x="4382055" y="9835507"/>
                  </a:lnTo>
                  <a:lnTo>
                    <a:pt x="4384535" y="9806252"/>
                  </a:lnTo>
                  <a:lnTo>
                    <a:pt x="4393398" y="9778658"/>
                  </a:lnTo>
                  <a:lnTo>
                    <a:pt x="4404002" y="9754746"/>
                  </a:lnTo>
                  <a:lnTo>
                    <a:pt x="4397435" y="9727970"/>
                  </a:lnTo>
                  <a:lnTo>
                    <a:pt x="4386599" y="9705205"/>
                  </a:lnTo>
                  <a:lnTo>
                    <a:pt x="4382860" y="9678343"/>
                  </a:lnTo>
                  <a:lnTo>
                    <a:pt x="4370257" y="9593559"/>
                  </a:lnTo>
                  <a:lnTo>
                    <a:pt x="4381159" y="9571908"/>
                  </a:lnTo>
                  <a:lnTo>
                    <a:pt x="4446065" y="9582019"/>
                  </a:lnTo>
                  <a:lnTo>
                    <a:pt x="4470420" y="9586470"/>
                  </a:lnTo>
                  <a:lnTo>
                    <a:pt x="4491334" y="9571908"/>
                  </a:lnTo>
                  <a:lnTo>
                    <a:pt x="4492751" y="9550337"/>
                  </a:lnTo>
                  <a:lnTo>
                    <a:pt x="4482074" y="9522361"/>
                  </a:lnTo>
                  <a:lnTo>
                    <a:pt x="4470671" y="9504469"/>
                  </a:lnTo>
                  <a:lnTo>
                    <a:pt x="4458695" y="9486214"/>
                  </a:lnTo>
                  <a:lnTo>
                    <a:pt x="4447504" y="9467485"/>
                  </a:lnTo>
                  <a:lnTo>
                    <a:pt x="4433258" y="9430355"/>
                  </a:lnTo>
                  <a:lnTo>
                    <a:pt x="4421645" y="9400072"/>
                  </a:lnTo>
                  <a:lnTo>
                    <a:pt x="4413803" y="9371957"/>
                  </a:lnTo>
                  <a:lnTo>
                    <a:pt x="4401979" y="9329558"/>
                  </a:lnTo>
                  <a:lnTo>
                    <a:pt x="4390095" y="9282406"/>
                  </a:lnTo>
                  <a:lnTo>
                    <a:pt x="4382523" y="9234580"/>
                  </a:lnTo>
                  <a:lnTo>
                    <a:pt x="4374945" y="9186747"/>
                  </a:lnTo>
                  <a:lnTo>
                    <a:pt x="4371755" y="9138181"/>
                  </a:lnTo>
                  <a:lnTo>
                    <a:pt x="4379807" y="9094477"/>
                  </a:lnTo>
                  <a:lnTo>
                    <a:pt x="4383670" y="9073545"/>
                  </a:lnTo>
                  <a:lnTo>
                    <a:pt x="4392957" y="9052864"/>
                  </a:lnTo>
                  <a:lnTo>
                    <a:pt x="4396129" y="9031905"/>
                  </a:lnTo>
                  <a:lnTo>
                    <a:pt x="4347412" y="8839123"/>
                  </a:lnTo>
                  <a:lnTo>
                    <a:pt x="4329520" y="8796276"/>
                  </a:lnTo>
                  <a:lnTo>
                    <a:pt x="4307988" y="8760353"/>
                  </a:lnTo>
                  <a:lnTo>
                    <a:pt x="4290030" y="8725862"/>
                  </a:lnTo>
                  <a:lnTo>
                    <a:pt x="4286568" y="8701203"/>
                  </a:lnTo>
                  <a:lnTo>
                    <a:pt x="4293493" y="8668909"/>
                  </a:lnTo>
                  <a:lnTo>
                    <a:pt x="4307711" y="8649690"/>
                  </a:lnTo>
                  <a:lnTo>
                    <a:pt x="4373001" y="8619769"/>
                  </a:lnTo>
                  <a:lnTo>
                    <a:pt x="4393478" y="8600177"/>
                  </a:lnTo>
                  <a:lnTo>
                    <a:pt x="4390609" y="8568627"/>
                  </a:lnTo>
                  <a:lnTo>
                    <a:pt x="4373001" y="8531351"/>
                  </a:lnTo>
                  <a:lnTo>
                    <a:pt x="4351804" y="8495403"/>
                  </a:lnTo>
                  <a:lnTo>
                    <a:pt x="4320789" y="8461663"/>
                  </a:lnTo>
                  <a:lnTo>
                    <a:pt x="4306353" y="8443620"/>
                  </a:lnTo>
                  <a:lnTo>
                    <a:pt x="4308205" y="8406728"/>
                  </a:lnTo>
                  <a:lnTo>
                    <a:pt x="4327990" y="8372955"/>
                  </a:lnTo>
                  <a:lnTo>
                    <a:pt x="4343839" y="8353922"/>
                  </a:lnTo>
                  <a:lnTo>
                    <a:pt x="4353961" y="8332767"/>
                  </a:lnTo>
                  <a:lnTo>
                    <a:pt x="4364090" y="8311604"/>
                  </a:lnTo>
                  <a:lnTo>
                    <a:pt x="4368978" y="8288079"/>
                  </a:lnTo>
                  <a:lnTo>
                    <a:pt x="4363484" y="8259312"/>
                  </a:lnTo>
                  <a:lnTo>
                    <a:pt x="4384951" y="8229898"/>
                  </a:lnTo>
                  <a:lnTo>
                    <a:pt x="4432962" y="8187625"/>
                  </a:lnTo>
                  <a:lnTo>
                    <a:pt x="4479654" y="8172193"/>
                  </a:lnTo>
                  <a:lnTo>
                    <a:pt x="4500869" y="8139614"/>
                  </a:lnTo>
                  <a:lnTo>
                    <a:pt x="4526497" y="8100257"/>
                  </a:lnTo>
                  <a:lnTo>
                    <a:pt x="4525218" y="8058900"/>
                  </a:lnTo>
                  <a:lnTo>
                    <a:pt x="4534872" y="8028081"/>
                  </a:lnTo>
                  <a:lnTo>
                    <a:pt x="4546915" y="8000072"/>
                  </a:lnTo>
                  <a:lnTo>
                    <a:pt x="4577238" y="7982636"/>
                  </a:lnTo>
                  <a:lnTo>
                    <a:pt x="4600479" y="7978098"/>
                  </a:lnTo>
                  <a:lnTo>
                    <a:pt x="4635523" y="7979114"/>
                  </a:lnTo>
                  <a:lnTo>
                    <a:pt x="4653204" y="7946469"/>
                  </a:lnTo>
                  <a:lnTo>
                    <a:pt x="4630651" y="7890446"/>
                  </a:lnTo>
                  <a:lnTo>
                    <a:pt x="4638241" y="7870299"/>
                  </a:lnTo>
                  <a:lnTo>
                    <a:pt x="4647995" y="7844302"/>
                  </a:lnTo>
                  <a:lnTo>
                    <a:pt x="4681767" y="7814525"/>
                  </a:lnTo>
                  <a:lnTo>
                    <a:pt x="4698836" y="7792827"/>
                  </a:lnTo>
                  <a:lnTo>
                    <a:pt x="4688996" y="7736659"/>
                  </a:lnTo>
                  <a:lnTo>
                    <a:pt x="4704890" y="7702993"/>
                  </a:lnTo>
                  <a:lnTo>
                    <a:pt x="4725294" y="7681230"/>
                  </a:lnTo>
                  <a:lnTo>
                    <a:pt x="4766782" y="7680768"/>
                  </a:lnTo>
                  <a:lnTo>
                    <a:pt x="4810500" y="7677701"/>
                  </a:lnTo>
                  <a:lnTo>
                    <a:pt x="4851791" y="7679870"/>
                  </a:lnTo>
                  <a:lnTo>
                    <a:pt x="4877431" y="7681222"/>
                  </a:lnTo>
                  <a:lnTo>
                    <a:pt x="4901510" y="7688390"/>
                  </a:lnTo>
                  <a:lnTo>
                    <a:pt x="4926603" y="7694835"/>
                  </a:lnTo>
                  <a:lnTo>
                    <a:pt x="4951696" y="7701270"/>
                  </a:lnTo>
                  <a:lnTo>
                    <a:pt x="4976961" y="7706639"/>
                  </a:lnTo>
                  <a:lnTo>
                    <a:pt x="5002774" y="7704351"/>
                  </a:lnTo>
                  <a:lnTo>
                    <a:pt x="5034186" y="7680543"/>
                  </a:lnTo>
                  <a:lnTo>
                    <a:pt x="5049775" y="7646684"/>
                  </a:lnTo>
                  <a:lnTo>
                    <a:pt x="5062623" y="7610499"/>
                  </a:lnTo>
                  <a:lnTo>
                    <a:pt x="5075470" y="7574312"/>
                  </a:lnTo>
                  <a:lnTo>
                    <a:pt x="5086542" y="7535732"/>
                  </a:lnTo>
                  <a:lnTo>
                    <a:pt x="5108873" y="7505764"/>
                  </a:lnTo>
                  <a:lnTo>
                    <a:pt x="5153758" y="7502290"/>
                  </a:lnTo>
                  <a:lnTo>
                    <a:pt x="5187761" y="7511206"/>
                  </a:lnTo>
                  <a:lnTo>
                    <a:pt x="5221765" y="7520122"/>
                  </a:lnTo>
                  <a:lnTo>
                    <a:pt x="5255960" y="7532527"/>
                  </a:lnTo>
                  <a:lnTo>
                    <a:pt x="5305355" y="7549187"/>
                  </a:lnTo>
                  <a:lnTo>
                    <a:pt x="5337493" y="7592988"/>
                  </a:lnTo>
                  <a:lnTo>
                    <a:pt x="5375472" y="7610499"/>
                  </a:lnTo>
                  <a:lnTo>
                    <a:pt x="5394934" y="7619488"/>
                  </a:lnTo>
                  <a:lnTo>
                    <a:pt x="5416156" y="7620714"/>
                  </a:lnTo>
                  <a:lnTo>
                    <a:pt x="5438039" y="7622745"/>
                  </a:lnTo>
                  <a:lnTo>
                    <a:pt x="5459919" y="7624769"/>
                  </a:lnTo>
                  <a:lnTo>
                    <a:pt x="5481650" y="7626966"/>
                  </a:lnTo>
                  <a:lnTo>
                    <a:pt x="5499246" y="7639068"/>
                  </a:lnTo>
                  <a:lnTo>
                    <a:pt x="5522604" y="7655113"/>
                  </a:lnTo>
                  <a:lnTo>
                    <a:pt x="5542263" y="7680741"/>
                  </a:lnTo>
                  <a:lnTo>
                    <a:pt x="5565893" y="7696193"/>
                  </a:lnTo>
                  <a:lnTo>
                    <a:pt x="5587281" y="7710181"/>
                  </a:lnTo>
                  <a:lnTo>
                    <a:pt x="5625300" y="7725757"/>
                  </a:lnTo>
                  <a:lnTo>
                    <a:pt x="5650229" y="7731555"/>
                  </a:lnTo>
                  <a:lnTo>
                    <a:pt x="5671003" y="7736395"/>
                  </a:lnTo>
                  <a:lnTo>
                    <a:pt x="5701914" y="7732913"/>
                  </a:lnTo>
                  <a:lnTo>
                    <a:pt x="5727238" y="7722401"/>
                  </a:lnTo>
                  <a:lnTo>
                    <a:pt x="5757369" y="7692744"/>
                  </a:lnTo>
                  <a:lnTo>
                    <a:pt x="5772452" y="7662744"/>
                  </a:lnTo>
                  <a:lnTo>
                    <a:pt x="5791690" y="7630904"/>
                  </a:lnTo>
                  <a:lnTo>
                    <a:pt x="5809371" y="7613215"/>
                  </a:lnTo>
                  <a:lnTo>
                    <a:pt x="5827863" y="7599115"/>
                  </a:lnTo>
                  <a:lnTo>
                    <a:pt x="5885272" y="7573205"/>
                  </a:lnTo>
                  <a:lnTo>
                    <a:pt x="5911459" y="7562614"/>
                  </a:lnTo>
                  <a:lnTo>
                    <a:pt x="5939949" y="7558814"/>
                  </a:lnTo>
                  <a:lnTo>
                    <a:pt x="5968446" y="7555009"/>
                  </a:lnTo>
                  <a:lnTo>
                    <a:pt x="5998842" y="7557991"/>
                  </a:lnTo>
                  <a:lnTo>
                    <a:pt x="6061013" y="7558814"/>
                  </a:lnTo>
                  <a:lnTo>
                    <a:pt x="6097034" y="7538984"/>
                  </a:lnTo>
                  <a:lnTo>
                    <a:pt x="6112887" y="7516402"/>
                  </a:lnTo>
                  <a:lnTo>
                    <a:pt x="6108112" y="7492542"/>
                  </a:lnTo>
                  <a:lnTo>
                    <a:pt x="6100463" y="7467680"/>
                  </a:lnTo>
                  <a:lnTo>
                    <a:pt x="6092800" y="7442816"/>
                  </a:lnTo>
                  <a:lnTo>
                    <a:pt x="6081726" y="7417373"/>
                  </a:lnTo>
                  <a:lnTo>
                    <a:pt x="6072738" y="7376980"/>
                  </a:lnTo>
                  <a:lnTo>
                    <a:pt x="6075917" y="7349710"/>
                  </a:lnTo>
                  <a:lnTo>
                    <a:pt x="6077334" y="7322137"/>
                  </a:lnTo>
                  <a:lnTo>
                    <a:pt x="6078759" y="7294563"/>
                  </a:lnTo>
                  <a:lnTo>
                    <a:pt x="6077862" y="7266996"/>
                  </a:lnTo>
                  <a:lnTo>
                    <a:pt x="6066459" y="7240525"/>
                  </a:lnTo>
                  <a:lnTo>
                    <a:pt x="6053494" y="7210472"/>
                  </a:lnTo>
                  <a:lnTo>
                    <a:pt x="6036321" y="7190390"/>
                  </a:lnTo>
                  <a:lnTo>
                    <a:pt x="6020209" y="7168436"/>
                  </a:lnTo>
                  <a:lnTo>
                    <a:pt x="6004099" y="7146475"/>
                  </a:lnTo>
                  <a:lnTo>
                    <a:pt x="5989385" y="7122245"/>
                  </a:lnTo>
                  <a:lnTo>
                    <a:pt x="5982125" y="7086824"/>
                  </a:lnTo>
                  <a:lnTo>
                    <a:pt x="5983404" y="7058472"/>
                  </a:lnTo>
                  <a:lnTo>
                    <a:pt x="5989444" y="7023347"/>
                  </a:lnTo>
                  <a:lnTo>
                    <a:pt x="6000761" y="7004981"/>
                  </a:lnTo>
                  <a:lnTo>
                    <a:pt x="6026058" y="6975515"/>
                  </a:lnTo>
                  <a:lnTo>
                    <a:pt x="6051496" y="6953521"/>
                  </a:lnTo>
                  <a:lnTo>
                    <a:pt x="6070383" y="6929779"/>
                  </a:lnTo>
                  <a:lnTo>
                    <a:pt x="6070739" y="6895657"/>
                  </a:lnTo>
                  <a:lnTo>
                    <a:pt x="6062371" y="6873380"/>
                  </a:lnTo>
                  <a:lnTo>
                    <a:pt x="6041972" y="6841988"/>
                  </a:lnTo>
                  <a:lnTo>
                    <a:pt x="6014940" y="6814165"/>
                  </a:lnTo>
                  <a:lnTo>
                    <a:pt x="5975899" y="6768705"/>
                  </a:lnTo>
                  <a:lnTo>
                    <a:pt x="5972607" y="6744054"/>
                  </a:lnTo>
                  <a:lnTo>
                    <a:pt x="5968803" y="6715530"/>
                  </a:lnTo>
                  <a:lnTo>
                    <a:pt x="5981134" y="6679246"/>
                  </a:lnTo>
                  <a:lnTo>
                    <a:pt x="5983489" y="6647477"/>
                  </a:lnTo>
                  <a:lnTo>
                    <a:pt x="5983291" y="6617287"/>
                  </a:lnTo>
                  <a:lnTo>
                    <a:pt x="5970062" y="6593333"/>
                  </a:lnTo>
                  <a:lnTo>
                    <a:pt x="5937239" y="6578106"/>
                  </a:lnTo>
                  <a:lnTo>
                    <a:pt x="5902511" y="6568676"/>
                  </a:lnTo>
                  <a:lnTo>
                    <a:pt x="5858351" y="6553626"/>
                  </a:lnTo>
                  <a:lnTo>
                    <a:pt x="5846085" y="6524747"/>
                  </a:lnTo>
                  <a:lnTo>
                    <a:pt x="5846130" y="6484565"/>
                  </a:lnTo>
                  <a:lnTo>
                    <a:pt x="5847463" y="6463461"/>
                  </a:lnTo>
                  <a:lnTo>
                    <a:pt x="5836740" y="6428613"/>
                  </a:lnTo>
                  <a:lnTo>
                    <a:pt x="5808025" y="6398561"/>
                  </a:lnTo>
                  <a:lnTo>
                    <a:pt x="5792257" y="6376664"/>
                  </a:lnTo>
                  <a:lnTo>
                    <a:pt x="5798502" y="6341435"/>
                  </a:lnTo>
                  <a:lnTo>
                    <a:pt x="5822204" y="6313696"/>
                  </a:lnTo>
                  <a:lnTo>
                    <a:pt x="5842028" y="6303349"/>
                  </a:lnTo>
                  <a:lnTo>
                    <a:pt x="5881677" y="6282655"/>
                  </a:lnTo>
                  <a:lnTo>
                    <a:pt x="5935202" y="6271449"/>
                  </a:lnTo>
                  <a:lnTo>
                    <a:pt x="5959008" y="6266623"/>
                  </a:lnTo>
                  <a:lnTo>
                    <a:pt x="5951333" y="6210242"/>
                  </a:lnTo>
                  <a:lnTo>
                    <a:pt x="5935881" y="6167330"/>
                  </a:lnTo>
                  <a:lnTo>
                    <a:pt x="5920435" y="6124410"/>
                  </a:lnTo>
                  <a:lnTo>
                    <a:pt x="5900941" y="6083792"/>
                  </a:lnTo>
                  <a:lnTo>
                    <a:pt x="5845953" y="6077631"/>
                  </a:lnTo>
                  <a:lnTo>
                    <a:pt x="5799168" y="6083798"/>
                  </a:lnTo>
                  <a:lnTo>
                    <a:pt x="5753618" y="6087076"/>
                  </a:lnTo>
                  <a:lnTo>
                    <a:pt x="5708065" y="6090353"/>
                  </a:lnTo>
                  <a:lnTo>
                    <a:pt x="5663247" y="6089787"/>
                  </a:lnTo>
                  <a:lnTo>
                    <a:pt x="5623038" y="6074836"/>
                  </a:lnTo>
                  <a:lnTo>
                    <a:pt x="5596553" y="6061191"/>
                  </a:lnTo>
                  <a:lnTo>
                    <a:pt x="5578793" y="6039507"/>
                  </a:lnTo>
                  <a:lnTo>
                    <a:pt x="5569989" y="6013629"/>
                  </a:lnTo>
                  <a:lnTo>
                    <a:pt x="5569330" y="5985818"/>
                  </a:lnTo>
                  <a:lnTo>
                    <a:pt x="5578799" y="5959821"/>
                  </a:lnTo>
                  <a:lnTo>
                    <a:pt x="5599909" y="5937451"/>
                  </a:lnTo>
                  <a:lnTo>
                    <a:pt x="5617993" y="5923576"/>
                  </a:lnTo>
                  <a:lnTo>
                    <a:pt x="5663307" y="5911975"/>
                  </a:lnTo>
                  <a:lnTo>
                    <a:pt x="5673358" y="5891207"/>
                  </a:lnTo>
                  <a:lnTo>
                    <a:pt x="5661341" y="5864089"/>
                  </a:lnTo>
                  <a:lnTo>
                    <a:pt x="5620975" y="5835962"/>
                  </a:lnTo>
                  <a:lnTo>
                    <a:pt x="5583588" y="5806871"/>
                  </a:lnTo>
                  <a:lnTo>
                    <a:pt x="5546201" y="5777788"/>
                  </a:lnTo>
                  <a:lnTo>
                    <a:pt x="5511195" y="5748665"/>
                  </a:lnTo>
                  <a:lnTo>
                    <a:pt x="5513879" y="5708305"/>
                  </a:lnTo>
                  <a:lnTo>
                    <a:pt x="5516459" y="5668339"/>
                  </a:lnTo>
                  <a:lnTo>
                    <a:pt x="5525097" y="5634131"/>
                  </a:lnTo>
                  <a:lnTo>
                    <a:pt x="5535056" y="5601098"/>
                  </a:lnTo>
                  <a:lnTo>
                    <a:pt x="5553232" y="5577389"/>
                  </a:lnTo>
                  <a:lnTo>
                    <a:pt x="5582228" y="5567483"/>
                  </a:lnTo>
                  <a:lnTo>
                    <a:pt x="5616060" y="5562405"/>
                  </a:lnTo>
                  <a:lnTo>
                    <a:pt x="5648475" y="5593408"/>
                  </a:lnTo>
                  <a:lnTo>
                    <a:pt x="5681521" y="5604204"/>
                  </a:lnTo>
                  <a:lnTo>
                    <a:pt x="5712702" y="5595913"/>
                  </a:lnTo>
                  <a:lnTo>
                    <a:pt x="5737394" y="5568968"/>
                  </a:lnTo>
                  <a:lnTo>
                    <a:pt x="5753610" y="5533474"/>
                  </a:lnTo>
                  <a:lnTo>
                    <a:pt x="5759341" y="5498811"/>
                  </a:lnTo>
                  <a:lnTo>
                    <a:pt x="5744575" y="5470994"/>
                  </a:lnTo>
                  <a:lnTo>
                    <a:pt x="5731445" y="5454507"/>
                  </a:lnTo>
                  <a:lnTo>
                    <a:pt x="5702322" y="5424736"/>
                  </a:lnTo>
                  <a:lnTo>
                    <a:pt x="5671998" y="5398812"/>
                  </a:lnTo>
                  <a:lnTo>
                    <a:pt x="5667283" y="5363345"/>
                  </a:lnTo>
                  <a:lnTo>
                    <a:pt x="5702540" y="5334334"/>
                  </a:lnTo>
                  <a:lnTo>
                    <a:pt x="5750339" y="5260946"/>
                  </a:lnTo>
                  <a:lnTo>
                    <a:pt x="5777946" y="5200992"/>
                  </a:lnTo>
                  <a:lnTo>
                    <a:pt x="5806659" y="5139019"/>
                  </a:lnTo>
                  <a:lnTo>
                    <a:pt x="5833765" y="5080503"/>
                  </a:lnTo>
                  <a:lnTo>
                    <a:pt x="5850913" y="5042271"/>
                  </a:lnTo>
                  <a:lnTo>
                    <a:pt x="5848821" y="5007081"/>
                  </a:lnTo>
                  <a:lnTo>
                    <a:pt x="5842530" y="4973369"/>
                  </a:lnTo>
                  <a:lnTo>
                    <a:pt x="5829782" y="4955391"/>
                  </a:lnTo>
                  <a:lnTo>
                    <a:pt x="5817034" y="4937413"/>
                  </a:lnTo>
                  <a:lnTo>
                    <a:pt x="5797314" y="4918051"/>
                  </a:lnTo>
                  <a:lnTo>
                    <a:pt x="5769933" y="4895542"/>
                  </a:lnTo>
                  <a:lnTo>
                    <a:pt x="5744919" y="4874985"/>
                  </a:lnTo>
                  <a:lnTo>
                    <a:pt x="5716099" y="4862819"/>
                  </a:lnTo>
                  <a:lnTo>
                    <a:pt x="5686963" y="4850657"/>
                  </a:lnTo>
                  <a:lnTo>
                    <a:pt x="5657827" y="4838496"/>
                  </a:lnTo>
                  <a:lnTo>
                    <a:pt x="5628875" y="4826605"/>
                  </a:lnTo>
                  <a:lnTo>
                    <a:pt x="5603985" y="4805773"/>
                  </a:lnTo>
                  <a:lnTo>
                    <a:pt x="5617195" y="4750784"/>
                  </a:lnTo>
                  <a:lnTo>
                    <a:pt x="5633913" y="4714637"/>
                  </a:lnTo>
                  <a:lnTo>
                    <a:pt x="5650632" y="4678490"/>
                  </a:lnTo>
                  <a:lnTo>
                    <a:pt x="5669493" y="4644310"/>
                  </a:lnTo>
                  <a:lnTo>
                    <a:pt x="5702243" y="4635412"/>
                  </a:lnTo>
                  <a:lnTo>
                    <a:pt x="5724851" y="4642384"/>
                  </a:lnTo>
                  <a:lnTo>
                    <a:pt x="5746812" y="4649348"/>
                  </a:lnTo>
                  <a:lnTo>
                    <a:pt x="5768766" y="4656312"/>
                  </a:lnTo>
                  <a:lnTo>
                    <a:pt x="5790028" y="4662688"/>
                  </a:lnTo>
                  <a:lnTo>
                    <a:pt x="5813459" y="4662946"/>
                  </a:lnTo>
                  <a:lnTo>
                    <a:pt x="5858456" y="4633065"/>
                  </a:lnTo>
                  <a:lnTo>
                    <a:pt x="5884190" y="4608538"/>
                  </a:lnTo>
                  <a:lnTo>
                    <a:pt x="5909923" y="4584019"/>
                  </a:lnTo>
                  <a:lnTo>
                    <a:pt x="5932294" y="4556644"/>
                  </a:lnTo>
                  <a:lnTo>
                    <a:pt x="5931329" y="4524301"/>
                  </a:lnTo>
                  <a:lnTo>
                    <a:pt x="5909211" y="4506845"/>
                  </a:lnTo>
                  <a:lnTo>
                    <a:pt x="5884190" y="4491564"/>
                  </a:lnTo>
                  <a:lnTo>
                    <a:pt x="5859168" y="4476284"/>
                  </a:lnTo>
                  <a:lnTo>
                    <a:pt x="5832439" y="4463469"/>
                  </a:lnTo>
                  <a:lnTo>
                    <a:pt x="5855627" y="4442598"/>
                  </a:lnTo>
                  <a:lnTo>
                    <a:pt x="5893336" y="4440217"/>
                  </a:lnTo>
                  <a:lnTo>
                    <a:pt x="5955672" y="4443277"/>
                  </a:lnTo>
                  <a:lnTo>
                    <a:pt x="5997285" y="4447497"/>
                  </a:lnTo>
                  <a:lnTo>
                    <a:pt x="6015000" y="4420906"/>
                  </a:lnTo>
                  <a:lnTo>
                    <a:pt x="6022471" y="4371774"/>
                  </a:lnTo>
                  <a:lnTo>
                    <a:pt x="6028367" y="4351469"/>
                  </a:lnTo>
                  <a:lnTo>
                    <a:pt x="6010714" y="4334600"/>
                  </a:lnTo>
                  <a:lnTo>
                    <a:pt x="5989391" y="4329857"/>
                  </a:lnTo>
                  <a:lnTo>
                    <a:pt x="5967160" y="4328347"/>
                  </a:lnTo>
                  <a:lnTo>
                    <a:pt x="5944929" y="4326830"/>
                  </a:lnTo>
                  <a:lnTo>
                    <a:pt x="5922276" y="4327417"/>
                  </a:lnTo>
                  <a:lnTo>
                    <a:pt x="5899153" y="4324272"/>
                  </a:lnTo>
                  <a:lnTo>
                    <a:pt x="5867419" y="4319945"/>
                  </a:lnTo>
                  <a:lnTo>
                    <a:pt x="5835335" y="4307053"/>
                  </a:lnTo>
                  <a:lnTo>
                    <a:pt x="5805295" y="4291627"/>
                  </a:lnTo>
                  <a:lnTo>
                    <a:pt x="5775261" y="4276202"/>
                  </a:lnTo>
                  <a:lnTo>
                    <a:pt x="5746435" y="4258197"/>
                  </a:lnTo>
                  <a:lnTo>
                    <a:pt x="5718242" y="4245377"/>
                  </a:lnTo>
                  <a:lnTo>
                    <a:pt x="5683210" y="4229450"/>
                  </a:lnTo>
                  <a:lnTo>
                    <a:pt x="5647584" y="4222413"/>
                  </a:lnTo>
                  <a:lnTo>
                    <a:pt x="5610791" y="4216815"/>
                  </a:lnTo>
                  <a:lnTo>
                    <a:pt x="5573991" y="4211215"/>
                  </a:lnTo>
                  <a:lnTo>
                    <a:pt x="5536045" y="4207443"/>
                  </a:lnTo>
                  <a:lnTo>
                    <a:pt x="5499252" y="4200492"/>
                  </a:lnTo>
                  <a:lnTo>
                    <a:pt x="5478425" y="4196554"/>
                  </a:lnTo>
                  <a:lnTo>
                    <a:pt x="5457400" y="4187644"/>
                  </a:lnTo>
                  <a:lnTo>
                    <a:pt x="5436687" y="4182811"/>
                  </a:lnTo>
                  <a:lnTo>
                    <a:pt x="5409073" y="4176368"/>
                  </a:lnTo>
                  <a:lnTo>
                    <a:pt x="5376838" y="4181453"/>
                  </a:lnTo>
                  <a:lnTo>
                    <a:pt x="5343150" y="4178538"/>
                  </a:lnTo>
                  <a:lnTo>
                    <a:pt x="5312907" y="4154248"/>
                  </a:lnTo>
                  <a:lnTo>
                    <a:pt x="5268100" y="4106040"/>
                  </a:lnTo>
                  <a:lnTo>
                    <a:pt x="5260549" y="4076515"/>
                  </a:lnTo>
                  <a:lnTo>
                    <a:pt x="5253058" y="4045433"/>
                  </a:lnTo>
                  <a:lnTo>
                    <a:pt x="5245565" y="4014351"/>
                  </a:lnTo>
                  <a:lnTo>
                    <a:pt x="5238139" y="3982161"/>
                  </a:lnTo>
                  <a:lnTo>
                    <a:pt x="5204090" y="3940698"/>
                  </a:lnTo>
                  <a:lnTo>
                    <a:pt x="5186383" y="3919134"/>
                  </a:lnTo>
                  <a:lnTo>
                    <a:pt x="5157003" y="3888348"/>
                  </a:lnTo>
                  <a:lnTo>
                    <a:pt x="5130636" y="3855004"/>
                  </a:lnTo>
                  <a:lnTo>
                    <a:pt x="5104270" y="3821661"/>
                  </a:lnTo>
                  <a:lnTo>
                    <a:pt x="5081319" y="3786201"/>
                  </a:lnTo>
                  <a:lnTo>
                    <a:pt x="5078952" y="3755711"/>
                  </a:lnTo>
                  <a:lnTo>
                    <a:pt x="5099337" y="3707404"/>
                  </a:lnTo>
                  <a:lnTo>
                    <a:pt x="5102740" y="3675558"/>
                  </a:lnTo>
                  <a:lnTo>
                    <a:pt x="5095275" y="3655054"/>
                  </a:lnTo>
                  <a:lnTo>
                    <a:pt x="5087809" y="3634549"/>
                  </a:lnTo>
                  <a:lnTo>
                    <a:pt x="5047665" y="3621051"/>
                  </a:lnTo>
                  <a:lnTo>
                    <a:pt x="5025803" y="3616889"/>
                  </a:lnTo>
                  <a:lnTo>
                    <a:pt x="4999747" y="3617614"/>
                  </a:lnTo>
                  <a:lnTo>
                    <a:pt x="4976935" y="3618333"/>
                  </a:lnTo>
                  <a:lnTo>
                    <a:pt x="4954124" y="3619053"/>
                  </a:lnTo>
                  <a:lnTo>
                    <a:pt x="4923885" y="3614258"/>
                  </a:lnTo>
                  <a:lnTo>
                    <a:pt x="4899003" y="3592217"/>
                  </a:lnTo>
                  <a:lnTo>
                    <a:pt x="4883262" y="3575638"/>
                  </a:lnTo>
                  <a:lnTo>
                    <a:pt x="4882641" y="3535718"/>
                  </a:lnTo>
                  <a:lnTo>
                    <a:pt x="4885801" y="3494560"/>
                  </a:lnTo>
                  <a:lnTo>
                    <a:pt x="4888967" y="3453401"/>
                  </a:lnTo>
                  <a:lnTo>
                    <a:pt x="4896332" y="3412163"/>
                  </a:lnTo>
                  <a:lnTo>
                    <a:pt x="4906462" y="3380771"/>
                  </a:lnTo>
                  <a:lnTo>
                    <a:pt x="4945083" y="3379472"/>
                  </a:lnTo>
                  <a:lnTo>
                    <a:pt x="4970135" y="3377587"/>
                  </a:lnTo>
                  <a:lnTo>
                    <a:pt x="4995190" y="3375727"/>
                  </a:lnTo>
                  <a:lnTo>
                    <a:pt x="5020179" y="3371414"/>
                  </a:lnTo>
                  <a:lnTo>
                    <a:pt x="5030183" y="3333117"/>
                  </a:lnTo>
                  <a:lnTo>
                    <a:pt x="5020983" y="3304924"/>
                  </a:lnTo>
                  <a:lnTo>
                    <a:pt x="5008221" y="3278287"/>
                  </a:lnTo>
                  <a:lnTo>
                    <a:pt x="4995461" y="3251657"/>
                  </a:lnTo>
                  <a:lnTo>
                    <a:pt x="4977971" y="3227143"/>
                  </a:lnTo>
                  <a:lnTo>
                    <a:pt x="4960613" y="3202116"/>
                  </a:lnTo>
                  <a:lnTo>
                    <a:pt x="4943263" y="3177094"/>
                  </a:lnTo>
                  <a:lnTo>
                    <a:pt x="4926563" y="3151981"/>
                  </a:lnTo>
                  <a:lnTo>
                    <a:pt x="4913004" y="3125945"/>
                  </a:lnTo>
                  <a:lnTo>
                    <a:pt x="4899451" y="3099915"/>
                  </a:lnTo>
                  <a:lnTo>
                    <a:pt x="4889889" y="3072638"/>
                  </a:lnTo>
                  <a:lnTo>
                    <a:pt x="4888525" y="3042974"/>
                  </a:lnTo>
                  <a:lnTo>
                    <a:pt x="4912134" y="3049747"/>
                  </a:lnTo>
                  <a:lnTo>
                    <a:pt x="4935644" y="3055248"/>
                  </a:lnTo>
                  <a:lnTo>
                    <a:pt x="4959254" y="3059296"/>
                  </a:lnTo>
                  <a:lnTo>
                    <a:pt x="4982680" y="3064295"/>
                  </a:lnTo>
                  <a:lnTo>
                    <a:pt x="5006559" y="3067896"/>
                  </a:lnTo>
                  <a:lnTo>
                    <a:pt x="5029984" y="3070172"/>
                  </a:lnTo>
                  <a:lnTo>
                    <a:pt x="5082487" y="3077347"/>
                  </a:lnTo>
                  <a:lnTo>
                    <a:pt x="5114677" y="3075474"/>
                  </a:lnTo>
                  <a:lnTo>
                    <a:pt x="5136077" y="3067455"/>
                  </a:lnTo>
                  <a:lnTo>
                    <a:pt x="5157484" y="3059435"/>
                  </a:lnTo>
                  <a:lnTo>
                    <a:pt x="5178245" y="3032092"/>
                  </a:lnTo>
                  <a:lnTo>
                    <a:pt x="5195734" y="3003497"/>
                  </a:lnTo>
                  <a:lnTo>
                    <a:pt x="5228769" y="2981793"/>
                  </a:lnTo>
                  <a:lnTo>
                    <a:pt x="5253862" y="2974816"/>
                  </a:lnTo>
                  <a:lnTo>
                    <a:pt x="5296584" y="2976326"/>
                  </a:lnTo>
                  <a:lnTo>
                    <a:pt x="5309753" y="2945020"/>
                  </a:lnTo>
                  <a:lnTo>
                    <a:pt x="5318347" y="2904230"/>
                  </a:lnTo>
                  <a:lnTo>
                    <a:pt x="5322238" y="2883556"/>
                  </a:lnTo>
                  <a:lnTo>
                    <a:pt x="5325114" y="2861641"/>
                  </a:lnTo>
                  <a:lnTo>
                    <a:pt x="5325187" y="2821689"/>
                  </a:lnTo>
                  <a:lnTo>
                    <a:pt x="5312907" y="2787257"/>
                  </a:lnTo>
                  <a:lnTo>
                    <a:pt x="5287958" y="2759413"/>
                  </a:lnTo>
                  <a:lnTo>
                    <a:pt x="5263939" y="2751889"/>
                  </a:lnTo>
                  <a:lnTo>
                    <a:pt x="5234651" y="2742722"/>
                  </a:lnTo>
                  <a:lnTo>
                    <a:pt x="5205113" y="2742029"/>
                  </a:lnTo>
                  <a:lnTo>
                    <a:pt x="5179609" y="2723326"/>
                  </a:lnTo>
                  <a:lnTo>
                    <a:pt x="5166117" y="2689527"/>
                  </a:lnTo>
                  <a:lnTo>
                    <a:pt x="5167364" y="2667560"/>
                  </a:lnTo>
                  <a:lnTo>
                    <a:pt x="5168610" y="2645592"/>
                  </a:lnTo>
                  <a:lnTo>
                    <a:pt x="5174737" y="2620940"/>
                  </a:lnTo>
                  <a:lnTo>
                    <a:pt x="5183685" y="2598187"/>
                  </a:lnTo>
                  <a:lnTo>
                    <a:pt x="5192641" y="2575435"/>
                  </a:lnTo>
                  <a:lnTo>
                    <a:pt x="5204485" y="2554753"/>
                  </a:lnTo>
                  <a:lnTo>
                    <a:pt x="5217689" y="2538339"/>
                  </a:lnTo>
                  <a:lnTo>
                    <a:pt x="5230899" y="2521924"/>
                  </a:lnTo>
                  <a:lnTo>
                    <a:pt x="5258498" y="2507052"/>
                  </a:lnTo>
                  <a:lnTo>
                    <a:pt x="5271140" y="2479789"/>
                  </a:lnTo>
                  <a:lnTo>
                    <a:pt x="5248342" y="2439112"/>
                  </a:lnTo>
                  <a:lnTo>
                    <a:pt x="5192740" y="2421873"/>
                  </a:lnTo>
                  <a:lnTo>
                    <a:pt x="5182716" y="2399496"/>
                  </a:lnTo>
                  <a:lnTo>
                    <a:pt x="5181628" y="2377812"/>
                  </a:lnTo>
                  <a:lnTo>
                    <a:pt x="5188164" y="2352639"/>
                  </a:lnTo>
                  <a:lnTo>
                    <a:pt x="5259849" y="2315266"/>
                  </a:lnTo>
                  <a:lnTo>
                    <a:pt x="5273844" y="2295930"/>
                  </a:lnTo>
                  <a:lnTo>
                    <a:pt x="5283209" y="2269814"/>
                  </a:lnTo>
                  <a:lnTo>
                    <a:pt x="5272097" y="2229572"/>
                  </a:lnTo>
                  <a:lnTo>
                    <a:pt x="5263714" y="2209128"/>
                  </a:lnTo>
                  <a:lnTo>
                    <a:pt x="5249166" y="2189138"/>
                  </a:lnTo>
                  <a:lnTo>
                    <a:pt x="5232653" y="2169723"/>
                  </a:lnTo>
                  <a:lnTo>
                    <a:pt x="5199631" y="2130899"/>
                  </a:lnTo>
                  <a:lnTo>
                    <a:pt x="5157880" y="2095274"/>
                  </a:lnTo>
                  <a:lnTo>
                    <a:pt x="5136077" y="2071789"/>
                  </a:lnTo>
                  <a:lnTo>
                    <a:pt x="5119815" y="2054266"/>
                  </a:lnTo>
                  <a:lnTo>
                    <a:pt x="5108913" y="2005972"/>
                  </a:lnTo>
                  <a:lnTo>
                    <a:pt x="5111596" y="1982019"/>
                  </a:lnTo>
                  <a:lnTo>
                    <a:pt x="5123369" y="1917488"/>
                  </a:lnTo>
                  <a:lnTo>
                    <a:pt x="5127919" y="1863680"/>
                  </a:lnTo>
                  <a:lnTo>
                    <a:pt x="5130194" y="1836779"/>
                  </a:lnTo>
                  <a:lnTo>
                    <a:pt x="5131460" y="1809074"/>
                  </a:lnTo>
                  <a:lnTo>
                    <a:pt x="5129278" y="1787509"/>
                  </a:lnTo>
                  <a:lnTo>
                    <a:pt x="5127095" y="1765943"/>
                  </a:lnTo>
                  <a:lnTo>
                    <a:pt x="5111596" y="1745342"/>
                  </a:lnTo>
                  <a:lnTo>
                    <a:pt x="5060756" y="1735779"/>
                  </a:lnTo>
                  <a:lnTo>
                    <a:pt x="5027261" y="1746707"/>
                  </a:lnTo>
                  <a:lnTo>
                    <a:pt x="5005584" y="1808870"/>
                  </a:lnTo>
                  <a:lnTo>
                    <a:pt x="4987863" y="1824638"/>
                  </a:lnTo>
                  <a:lnTo>
                    <a:pt x="4967413" y="1839200"/>
                  </a:lnTo>
                  <a:lnTo>
                    <a:pt x="4958074" y="1878242"/>
                  </a:lnTo>
                  <a:lnTo>
                    <a:pt x="4946830" y="1914408"/>
                  </a:lnTo>
                  <a:lnTo>
                    <a:pt x="4919810" y="1945292"/>
                  </a:lnTo>
                  <a:lnTo>
                    <a:pt x="4855714" y="1944897"/>
                  </a:lnTo>
                  <a:lnTo>
                    <a:pt x="4801471" y="1938493"/>
                  </a:lnTo>
                  <a:lnTo>
                    <a:pt x="4747228" y="1932096"/>
                  </a:lnTo>
                  <a:lnTo>
                    <a:pt x="4693803" y="1922810"/>
                  </a:lnTo>
                  <a:lnTo>
                    <a:pt x="4687162" y="1898442"/>
                  </a:lnTo>
                  <a:lnTo>
                    <a:pt x="4695372" y="1865039"/>
                  </a:lnTo>
                  <a:lnTo>
                    <a:pt x="4701045" y="1830046"/>
                  </a:lnTo>
                  <a:lnTo>
                    <a:pt x="4684491" y="1789877"/>
                  </a:lnTo>
                  <a:lnTo>
                    <a:pt x="4655928" y="1768470"/>
                  </a:lnTo>
                  <a:lnTo>
                    <a:pt x="4626877" y="1756427"/>
                  </a:lnTo>
                  <a:lnTo>
                    <a:pt x="4583438" y="1751745"/>
                  </a:lnTo>
                  <a:lnTo>
                    <a:pt x="4556306" y="1757087"/>
                  </a:lnTo>
                  <a:lnTo>
                    <a:pt x="4538948" y="1745342"/>
                  </a:lnTo>
                  <a:lnTo>
                    <a:pt x="4521623" y="1714543"/>
                  </a:lnTo>
                  <a:lnTo>
                    <a:pt x="4519909" y="1693657"/>
                  </a:lnTo>
                  <a:lnTo>
                    <a:pt x="4518188" y="1672765"/>
                  </a:lnTo>
                  <a:lnTo>
                    <a:pt x="4517594" y="1650685"/>
                  </a:lnTo>
                  <a:lnTo>
                    <a:pt x="4479640" y="1630458"/>
                  </a:lnTo>
                  <a:lnTo>
                    <a:pt x="4451896" y="1644690"/>
                  </a:lnTo>
                  <a:lnTo>
                    <a:pt x="4428826" y="1660333"/>
                  </a:lnTo>
                  <a:lnTo>
                    <a:pt x="4396129" y="1650130"/>
                  </a:lnTo>
                  <a:lnTo>
                    <a:pt x="4379807" y="1617486"/>
                  </a:lnTo>
                  <a:lnTo>
                    <a:pt x="4385247" y="1597082"/>
                  </a:lnTo>
                  <a:lnTo>
                    <a:pt x="4429709" y="1561462"/>
                  </a:lnTo>
                  <a:lnTo>
                    <a:pt x="4410307" y="1518147"/>
                  </a:lnTo>
                  <a:lnTo>
                    <a:pt x="4370284" y="1504588"/>
                  </a:lnTo>
                  <a:lnTo>
                    <a:pt x="4346587" y="1488542"/>
                  </a:lnTo>
                  <a:lnTo>
                    <a:pt x="4322655" y="1467504"/>
                  </a:lnTo>
                  <a:lnTo>
                    <a:pt x="4299553" y="1450180"/>
                  </a:lnTo>
                  <a:lnTo>
                    <a:pt x="4276623" y="1432987"/>
                  </a:lnTo>
                  <a:lnTo>
                    <a:pt x="4251840" y="1410353"/>
                  </a:lnTo>
                  <a:lnTo>
                    <a:pt x="4227464" y="1395772"/>
                  </a:lnTo>
                  <a:lnTo>
                    <a:pt x="4206176" y="1383043"/>
                  </a:lnTo>
                  <a:lnTo>
                    <a:pt x="4183134" y="1372677"/>
                  </a:lnTo>
                  <a:lnTo>
                    <a:pt x="4159451" y="1361769"/>
                  </a:lnTo>
                  <a:lnTo>
                    <a:pt x="4135775" y="1350860"/>
                  </a:lnTo>
                  <a:lnTo>
                    <a:pt x="4110932" y="1340005"/>
                  </a:lnTo>
                  <a:lnTo>
                    <a:pt x="4088727" y="1327765"/>
                  </a:lnTo>
                  <a:lnTo>
                    <a:pt x="4069814" y="1317339"/>
                  </a:lnTo>
                  <a:lnTo>
                    <a:pt x="4050635" y="1288314"/>
                  </a:lnTo>
                  <a:lnTo>
                    <a:pt x="4039800" y="1257200"/>
                  </a:lnTo>
                  <a:lnTo>
                    <a:pt x="4034273" y="1224218"/>
                  </a:lnTo>
                  <a:lnTo>
                    <a:pt x="4027514" y="1193104"/>
                  </a:lnTo>
                  <a:lnTo>
                    <a:pt x="4015893" y="1164145"/>
                  </a:lnTo>
                  <a:lnTo>
                    <a:pt x="3979720" y="1134653"/>
                  </a:lnTo>
                  <a:lnTo>
                    <a:pt x="3952233" y="1128164"/>
                  </a:lnTo>
                  <a:lnTo>
                    <a:pt x="3924139" y="1125090"/>
                  </a:lnTo>
                  <a:lnTo>
                    <a:pt x="3896044" y="1122024"/>
                  </a:lnTo>
                  <a:lnTo>
                    <a:pt x="3868313" y="1122973"/>
                  </a:lnTo>
                  <a:lnTo>
                    <a:pt x="3845251" y="1118291"/>
                  </a:lnTo>
                  <a:lnTo>
                    <a:pt x="3822181" y="1113609"/>
                  </a:lnTo>
                  <a:lnTo>
                    <a:pt x="3803141" y="1102701"/>
                  </a:lnTo>
                  <a:lnTo>
                    <a:pt x="3794917" y="1078847"/>
                  </a:lnTo>
                  <a:lnTo>
                    <a:pt x="3786701" y="1054993"/>
                  </a:lnTo>
                  <a:lnTo>
                    <a:pt x="3789366" y="1017000"/>
                  </a:lnTo>
                  <a:lnTo>
                    <a:pt x="3805806" y="956426"/>
                  </a:lnTo>
                  <a:lnTo>
                    <a:pt x="3835727" y="847610"/>
                  </a:lnTo>
                  <a:lnTo>
                    <a:pt x="3847723" y="803371"/>
                  </a:lnTo>
                  <a:lnTo>
                    <a:pt x="3855802" y="773727"/>
                  </a:lnTo>
                  <a:lnTo>
                    <a:pt x="3869730" y="748317"/>
                  </a:lnTo>
                  <a:lnTo>
                    <a:pt x="3883659" y="722907"/>
                  </a:lnTo>
                  <a:lnTo>
                    <a:pt x="3903252" y="701671"/>
                  </a:lnTo>
                  <a:lnTo>
                    <a:pt x="3937744" y="669429"/>
                  </a:lnTo>
                  <a:lnTo>
                    <a:pt x="3972083" y="648418"/>
                  </a:lnTo>
                  <a:lnTo>
                    <a:pt x="3993978" y="638473"/>
                  </a:lnTo>
                  <a:lnTo>
                    <a:pt x="4015273" y="627261"/>
                  </a:lnTo>
                  <a:lnTo>
                    <a:pt x="4036568" y="616043"/>
                  </a:lnTo>
                  <a:lnTo>
                    <a:pt x="4057059" y="603025"/>
                  </a:lnTo>
                  <a:lnTo>
                    <a:pt x="4073764" y="586452"/>
                  </a:lnTo>
                  <a:lnTo>
                    <a:pt x="4040558" y="560422"/>
                  </a:lnTo>
                  <a:lnTo>
                    <a:pt x="4012319" y="555285"/>
                  </a:lnTo>
                  <a:lnTo>
                    <a:pt x="3983988" y="549732"/>
                  </a:lnTo>
                  <a:lnTo>
                    <a:pt x="3955648" y="544462"/>
                  </a:lnTo>
                  <a:lnTo>
                    <a:pt x="3927996" y="535961"/>
                  </a:lnTo>
                  <a:lnTo>
                    <a:pt x="3901016" y="522528"/>
                  </a:lnTo>
                  <a:lnTo>
                    <a:pt x="3886073" y="498984"/>
                  </a:lnTo>
                  <a:lnTo>
                    <a:pt x="3877875" y="475341"/>
                  </a:lnTo>
                  <a:lnTo>
                    <a:pt x="3873813" y="451797"/>
                  </a:lnTo>
                  <a:lnTo>
                    <a:pt x="3870013" y="429078"/>
                  </a:lnTo>
                  <a:lnTo>
                    <a:pt x="3864012" y="406497"/>
                  </a:lnTo>
                  <a:lnTo>
                    <a:pt x="3852050" y="383784"/>
                  </a:lnTo>
                  <a:lnTo>
                    <a:pt x="3828927" y="381067"/>
                  </a:lnTo>
                  <a:lnTo>
                    <a:pt x="3799001" y="375626"/>
                  </a:lnTo>
                  <a:lnTo>
                    <a:pt x="3777633" y="371161"/>
                  </a:lnTo>
                  <a:lnTo>
                    <a:pt x="3754589" y="359561"/>
                  </a:lnTo>
                  <a:lnTo>
                    <a:pt x="3741776" y="331651"/>
                  </a:lnTo>
                  <a:lnTo>
                    <a:pt x="3739257" y="310785"/>
                  </a:lnTo>
                  <a:lnTo>
                    <a:pt x="3732088" y="282123"/>
                  </a:lnTo>
                  <a:lnTo>
                    <a:pt x="3716029" y="266810"/>
                  </a:lnTo>
                  <a:lnTo>
                    <a:pt x="3694266" y="257287"/>
                  </a:lnTo>
                  <a:lnTo>
                    <a:pt x="3665928" y="248450"/>
                  </a:lnTo>
                  <a:lnTo>
                    <a:pt x="3643940" y="240964"/>
                  </a:lnTo>
                  <a:lnTo>
                    <a:pt x="3592125" y="238768"/>
                  </a:lnTo>
                  <a:lnTo>
                    <a:pt x="3551447" y="228725"/>
                  </a:lnTo>
                  <a:lnTo>
                    <a:pt x="3501794" y="216464"/>
                  </a:lnTo>
                  <a:lnTo>
                    <a:pt x="3455222" y="200723"/>
                  </a:lnTo>
                  <a:lnTo>
                    <a:pt x="3445737" y="175807"/>
                  </a:lnTo>
                  <a:lnTo>
                    <a:pt x="3449754" y="140775"/>
                  </a:lnTo>
                  <a:lnTo>
                    <a:pt x="3453513" y="106310"/>
                  </a:lnTo>
                  <a:lnTo>
                    <a:pt x="3457265" y="71838"/>
                  </a:lnTo>
                  <a:lnTo>
                    <a:pt x="3459620" y="37374"/>
                  </a:lnTo>
                  <a:lnTo>
                    <a:pt x="3440680" y="8837"/>
                  </a:lnTo>
                  <a:lnTo>
                    <a:pt x="3411173" y="3139"/>
                  </a:lnTo>
                  <a:lnTo>
                    <a:pt x="3380059" y="1570"/>
                  </a:lnTo>
                  <a:lnTo>
                    <a:pt x="3348951" y="0"/>
                  </a:lnTo>
                  <a:lnTo>
                    <a:pt x="3316491" y="2098"/>
                  </a:lnTo>
                  <a:lnTo>
                    <a:pt x="3289215" y="25067"/>
                  </a:lnTo>
                  <a:lnTo>
                    <a:pt x="3278761" y="47417"/>
                  </a:lnTo>
                  <a:lnTo>
                    <a:pt x="3271242" y="70941"/>
                  </a:lnTo>
                  <a:lnTo>
                    <a:pt x="3263725" y="94466"/>
                  </a:lnTo>
                  <a:lnTo>
                    <a:pt x="3258844" y="119612"/>
                  </a:lnTo>
                  <a:lnTo>
                    <a:pt x="3256279" y="141672"/>
                  </a:lnTo>
                  <a:lnTo>
                    <a:pt x="3209672" y="172404"/>
                  </a:lnTo>
                  <a:lnTo>
                    <a:pt x="3166509" y="186557"/>
                  </a:lnTo>
                  <a:lnTo>
                    <a:pt x="3123346" y="200716"/>
                  </a:lnTo>
                  <a:lnTo>
                    <a:pt x="3076245" y="213741"/>
                  </a:lnTo>
                  <a:lnTo>
                    <a:pt x="3053610" y="228725"/>
                  </a:lnTo>
                  <a:lnTo>
                    <a:pt x="3030865" y="246162"/>
                  </a:lnTo>
                  <a:lnTo>
                    <a:pt x="3008343" y="265695"/>
                  </a:lnTo>
                  <a:lnTo>
                    <a:pt x="2985604" y="284491"/>
                  </a:lnTo>
                  <a:lnTo>
                    <a:pt x="2964962" y="312473"/>
                  </a:lnTo>
                  <a:lnTo>
                    <a:pt x="2946391" y="343568"/>
                  </a:lnTo>
                  <a:lnTo>
                    <a:pt x="2917591" y="366103"/>
                  </a:lnTo>
                  <a:lnTo>
                    <a:pt x="2894588" y="377261"/>
                  </a:lnTo>
                  <a:lnTo>
                    <a:pt x="2871915" y="379042"/>
                  </a:lnTo>
                  <a:lnTo>
                    <a:pt x="2849584" y="374267"/>
                  </a:lnTo>
                  <a:lnTo>
                    <a:pt x="2827254" y="369493"/>
                  </a:lnTo>
                  <a:lnTo>
                    <a:pt x="2806046" y="358149"/>
                  </a:lnTo>
                  <a:lnTo>
                    <a:pt x="2784289" y="345705"/>
                  </a:lnTo>
                  <a:lnTo>
                    <a:pt x="2740781" y="320809"/>
                  </a:lnTo>
                  <a:lnTo>
                    <a:pt x="2698224" y="289107"/>
                  </a:lnTo>
                  <a:lnTo>
                    <a:pt x="2656433" y="283132"/>
                  </a:lnTo>
                  <a:lnTo>
                    <a:pt x="2620682" y="297080"/>
                  </a:lnTo>
                  <a:lnTo>
                    <a:pt x="2603384" y="311695"/>
                  </a:lnTo>
                  <a:lnTo>
                    <a:pt x="2586086" y="326310"/>
                  </a:lnTo>
                  <a:lnTo>
                    <a:pt x="2569572" y="344089"/>
                  </a:lnTo>
                  <a:lnTo>
                    <a:pt x="2526046" y="383065"/>
                  </a:lnTo>
                  <a:lnTo>
                    <a:pt x="2493209" y="403720"/>
                  </a:lnTo>
                  <a:lnTo>
                    <a:pt x="2457847" y="427317"/>
                  </a:lnTo>
                  <a:lnTo>
                    <a:pt x="2437205" y="441048"/>
                  </a:lnTo>
                  <a:lnTo>
                    <a:pt x="2372661" y="432633"/>
                  </a:lnTo>
                  <a:lnTo>
                    <a:pt x="2346308" y="431392"/>
                  </a:lnTo>
                  <a:lnTo>
                    <a:pt x="2321847" y="446864"/>
                  </a:lnTo>
                  <a:lnTo>
                    <a:pt x="2298125" y="475341"/>
                  </a:lnTo>
                  <a:lnTo>
                    <a:pt x="2282377" y="508922"/>
                  </a:lnTo>
                  <a:lnTo>
                    <a:pt x="2278512" y="537630"/>
                  </a:lnTo>
                  <a:lnTo>
                    <a:pt x="2283524" y="564544"/>
                  </a:lnTo>
                  <a:lnTo>
                    <a:pt x="2290541" y="595975"/>
                  </a:lnTo>
                  <a:lnTo>
                    <a:pt x="2295125" y="633124"/>
                  </a:lnTo>
                  <a:lnTo>
                    <a:pt x="2291900" y="659906"/>
                  </a:lnTo>
                  <a:lnTo>
                    <a:pt x="2254678" y="681096"/>
                  </a:lnTo>
                  <a:lnTo>
                    <a:pt x="2218452" y="677580"/>
                  </a:lnTo>
                  <a:lnTo>
                    <a:pt x="2189217" y="664806"/>
                  </a:lnTo>
                  <a:lnTo>
                    <a:pt x="2166069" y="646828"/>
                  </a:lnTo>
                  <a:lnTo>
                    <a:pt x="2143640" y="629972"/>
                  </a:lnTo>
                  <a:lnTo>
                    <a:pt x="2115381" y="617085"/>
                  </a:lnTo>
                  <a:lnTo>
                    <a:pt x="2082775" y="619802"/>
                  </a:lnTo>
                  <a:lnTo>
                    <a:pt x="2070185" y="643577"/>
                  </a:lnTo>
                  <a:lnTo>
                    <a:pt x="2063262" y="674903"/>
                  </a:lnTo>
                  <a:lnTo>
                    <a:pt x="2059555" y="731909"/>
                  </a:lnTo>
                  <a:lnTo>
                    <a:pt x="2059713" y="774084"/>
                  </a:lnTo>
                  <a:lnTo>
                    <a:pt x="2048422" y="794561"/>
                  </a:lnTo>
                  <a:lnTo>
                    <a:pt x="2022551" y="809782"/>
                  </a:lnTo>
                  <a:lnTo>
                    <a:pt x="1989965" y="820136"/>
                  </a:lnTo>
                  <a:lnTo>
                    <a:pt x="1970892" y="836722"/>
                  </a:lnTo>
                  <a:lnTo>
                    <a:pt x="1961376" y="949613"/>
                  </a:lnTo>
                  <a:lnTo>
                    <a:pt x="1959366" y="972953"/>
                  </a:lnTo>
                  <a:lnTo>
                    <a:pt x="1934180" y="998581"/>
                  </a:lnTo>
                  <a:lnTo>
                    <a:pt x="1898343" y="1015253"/>
                  </a:lnTo>
                  <a:lnTo>
                    <a:pt x="1877047" y="1020344"/>
                  </a:lnTo>
                  <a:lnTo>
                    <a:pt x="1855752" y="1025435"/>
                  </a:lnTo>
                  <a:lnTo>
                    <a:pt x="1833731" y="1030526"/>
                  </a:lnTo>
                  <a:lnTo>
                    <a:pt x="1813116" y="1036666"/>
                  </a:lnTo>
                  <a:lnTo>
                    <a:pt x="1792508" y="1042806"/>
                  </a:lnTo>
                  <a:lnTo>
                    <a:pt x="1761432" y="1063870"/>
                  </a:lnTo>
                  <a:lnTo>
                    <a:pt x="1749983" y="1083708"/>
                  </a:lnTo>
                  <a:lnTo>
                    <a:pt x="1757356" y="1123719"/>
                  </a:lnTo>
                  <a:lnTo>
                    <a:pt x="1760060" y="1144981"/>
                  </a:lnTo>
                  <a:lnTo>
                    <a:pt x="1760858" y="1168762"/>
                  </a:lnTo>
                  <a:lnTo>
                    <a:pt x="1741035" y="1202613"/>
                  </a:lnTo>
                  <a:lnTo>
                    <a:pt x="1728405" y="1224173"/>
                  </a:lnTo>
                  <a:lnTo>
                    <a:pt x="1693630" y="1247459"/>
                  </a:lnTo>
                  <a:lnTo>
                    <a:pt x="1656699" y="1269262"/>
                  </a:lnTo>
                  <a:lnTo>
                    <a:pt x="1619774" y="1291058"/>
                  </a:lnTo>
                  <a:lnTo>
                    <a:pt x="1580052" y="1312115"/>
                  </a:lnTo>
                  <a:lnTo>
                    <a:pt x="1557406" y="1331827"/>
                  </a:lnTo>
                  <a:lnTo>
                    <a:pt x="1529641" y="1355998"/>
                  </a:lnTo>
                  <a:lnTo>
                    <a:pt x="1510378" y="1397546"/>
                  </a:lnTo>
                  <a:lnTo>
                    <a:pt x="1492117" y="1437926"/>
                  </a:lnTo>
                  <a:lnTo>
                    <a:pt x="1473854" y="1478307"/>
                  </a:lnTo>
                  <a:lnTo>
                    <a:pt x="1456998" y="1517243"/>
                  </a:lnTo>
                  <a:lnTo>
                    <a:pt x="1432268" y="1534502"/>
                  </a:lnTo>
                  <a:lnTo>
                    <a:pt x="1387858" y="1555164"/>
                  </a:lnTo>
                  <a:lnTo>
                    <a:pt x="1361537" y="1564423"/>
                  </a:lnTo>
                  <a:lnTo>
                    <a:pt x="1335216" y="1573689"/>
                  </a:lnTo>
                  <a:lnTo>
                    <a:pt x="1310861" y="1582606"/>
                  </a:lnTo>
                  <a:lnTo>
                    <a:pt x="1293022" y="1608088"/>
                  </a:lnTo>
                  <a:lnTo>
                    <a:pt x="1264064" y="1650447"/>
                  </a:lnTo>
                  <a:lnTo>
                    <a:pt x="1233681" y="1690920"/>
                  </a:lnTo>
                  <a:lnTo>
                    <a:pt x="1203292" y="1731393"/>
                  </a:lnTo>
                  <a:lnTo>
                    <a:pt x="1171201" y="1769960"/>
                  </a:lnTo>
                  <a:lnTo>
                    <a:pt x="1086780" y="1786137"/>
                  </a:lnTo>
                  <a:lnTo>
                    <a:pt x="1064932" y="1789646"/>
                  </a:lnTo>
                  <a:lnTo>
                    <a:pt x="1028204" y="1795614"/>
                  </a:lnTo>
                  <a:lnTo>
                    <a:pt x="1005162" y="1790213"/>
                  </a:lnTo>
                  <a:lnTo>
                    <a:pt x="972286" y="1782497"/>
                  </a:lnTo>
                  <a:lnTo>
                    <a:pt x="937986" y="1756783"/>
                  </a:lnTo>
                  <a:lnTo>
                    <a:pt x="903151" y="1758927"/>
                  </a:lnTo>
                  <a:lnTo>
                    <a:pt x="870910" y="1773238"/>
                  </a:lnTo>
                  <a:lnTo>
                    <a:pt x="842083" y="1792923"/>
                  </a:lnTo>
                  <a:lnTo>
                    <a:pt x="816099" y="1814693"/>
                  </a:lnTo>
                  <a:lnTo>
                    <a:pt x="790115" y="1836463"/>
                  </a:lnTo>
                  <a:lnTo>
                    <a:pt x="766690" y="1861411"/>
                  </a:lnTo>
                  <a:lnTo>
                    <a:pt x="745368" y="1888148"/>
                  </a:lnTo>
                  <a:lnTo>
                    <a:pt x="724047" y="1914876"/>
                  </a:lnTo>
                  <a:lnTo>
                    <a:pt x="705134" y="1943281"/>
                  </a:lnTo>
                  <a:lnTo>
                    <a:pt x="686879" y="1972477"/>
                  </a:lnTo>
                  <a:lnTo>
                    <a:pt x="668624" y="2001679"/>
                  </a:lnTo>
                  <a:lnTo>
                    <a:pt x="651979" y="2031719"/>
                  </a:lnTo>
                  <a:lnTo>
                    <a:pt x="635194" y="2060894"/>
                  </a:lnTo>
                  <a:lnTo>
                    <a:pt x="621898" y="2083996"/>
                  </a:lnTo>
                  <a:lnTo>
                    <a:pt x="605346" y="2110818"/>
                  </a:lnTo>
                  <a:lnTo>
                    <a:pt x="586226" y="2135700"/>
                  </a:lnTo>
                  <a:lnTo>
                    <a:pt x="567102" y="2160589"/>
                  </a:lnTo>
                  <a:lnTo>
                    <a:pt x="544640" y="2182544"/>
                  </a:lnTo>
                  <a:lnTo>
                    <a:pt x="519573" y="2194190"/>
                  </a:lnTo>
                  <a:lnTo>
                    <a:pt x="490489" y="2203193"/>
                  </a:lnTo>
                  <a:lnTo>
                    <a:pt x="458887" y="2209668"/>
                  </a:lnTo>
                  <a:lnTo>
                    <a:pt x="429802" y="2221395"/>
                  </a:lnTo>
                  <a:lnTo>
                    <a:pt x="392297" y="2244417"/>
                  </a:lnTo>
                  <a:lnTo>
                    <a:pt x="369954" y="2259480"/>
                  </a:lnTo>
                  <a:lnTo>
                    <a:pt x="346343" y="2273798"/>
                  </a:lnTo>
                  <a:lnTo>
                    <a:pt x="314609" y="2286763"/>
                  </a:lnTo>
                  <a:lnTo>
                    <a:pt x="296500" y="2297565"/>
                  </a:lnTo>
                  <a:lnTo>
                    <a:pt x="271531" y="2301246"/>
                  </a:lnTo>
                  <a:lnTo>
                    <a:pt x="215165" y="2326471"/>
                  </a:lnTo>
                  <a:lnTo>
                    <a:pt x="197207" y="2343809"/>
                  </a:lnTo>
                  <a:lnTo>
                    <a:pt x="224707" y="2360329"/>
                  </a:lnTo>
                  <a:lnTo>
                    <a:pt x="262206" y="2368777"/>
                  </a:lnTo>
                  <a:lnTo>
                    <a:pt x="299217" y="2379177"/>
                  </a:lnTo>
                  <a:lnTo>
                    <a:pt x="336234" y="2389577"/>
                  </a:lnTo>
                  <a:lnTo>
                    <a:pt x="372190" y="2403137"/>
                  </a:lnTo>
                  <a:lnTo>
                    <a:pt x="393075" y="2418621"/>
                  </a:lnTo>
                  <a:lnTo>
                    <a:pt x="420813" y="2443102"/>
                  </a:lnTo>
                  <a:lnTo>
                    <a:pt x="441502" y="2475760"/>
                  </a:lnTo>
                  <a:lnTo>
                    <a:pt x="451558" y="2511115"/>
                  </a:lnTo>
                  <a:lnTo>
                    <a:pt x="453082" y="2546859"/>
                  </a:lnTo>
                  <a:lnTo>
                    <a:pt x="436437" y="2576029"/>
                  </a:lnTo>
                  <a:lnTo>
                    <a:pt x="398517" y="2594086"/>
                  </a:lnTo>
                  <a:lnTo>
                    <a:pt x="371028" y="2602520"/>
                  </a:lnTo>
                  <a:lnTo>
                    <a:pt x="341939" y="2606596"/>
                  </a:lnTo>
                  <a:lnTo>
                    <a:pt x="312823" y="2607690"/>
                  </a:lnTo>
                  <a:lnTo>
                    <a:pt x="283705" y="2608786"/>
                  </a:lnTo>
                  <a:lnTo>
                    <a:pt x="254107" y="2607295"/>
                  </a:lnTo>
                  <a:lnTo>
                    <a:pt x="225769" y="2607690"/>
                  </a:lnTo>
                  <a:lnTo>
                    <a:pt x="196607" y="2639043"/>
                  </a:lnTo>
                  <a:lnTo>
                    <a:pt x="204560" y="2677082"/>
                  </a:lnTo>
                  <a:lnTo>
                    <a:pt x="231566" y="2699941"/>
                  </a:lnTo>
                  <a:lnTo>
                    <a:pt x="257056" y="2719230"/>
                  </a:lnTo>
                  <a:lnTo>
                    <a:pt x="282538" y="2738514"/>
                  </a:lnTo>
                  <a:lnTo>
                    <a:pt x="306102" y="2754678"/>
                  </a:lnTo>
                  <a:lnTo>
                    <a:pt x="308172" y="2786156"/>
                  </a:lnTo>
                  <a:lnTo>
                    <a:pt x="295788" y="2804766"/>
                  </a:lnTo>
                  <a:lnTo>
                    <a:pt x="280922" y="2851630"/>
                  </a:lnTo>
                  <a:lnTo>
                    <a:pt x="263855" y="2879730"/>
                  </a:lnTo>
                  <a:lnTo>
                    <a:pt x="245270" y="2895334"/>
                  </a:lnTo>
                  <a:lnTo>
                    <a:pt x="215336" y="2905648"/>
                  </a:lnTo>
                  <a:lnTo>
                    <a:pt x="192636" y="2907370"/>
                  </a:lnTo>
                  <a:lnTo>
                    <a:pt x="161838" y="2942296"/>
                  </a:lnTo>
                  <a:lnTo>
                    <a:pt x="161773" y="2971525"/>
                  </a:lnTo>
                  <a:lnTo>
                    <a:pt x="205332" y="3008819"/>
                  </a:lnTo>
                  <a:lnTo>
                    <a:pt x="235299" y="3013977"/>
                  </a:lnTo>
                  <a:lnTo>
                    <a:pt x="259773" y="3015751"/>
                  </a:lnTo>
                  <a:lnTo>
                    <a:pt x="284246" y="3017524"/>
                  </a:lnTo>
                  <a:lnTo>
                    <a:pt x="322345" y="3029355"/>
                  </a:lnTo>
                  <a:lnTo>
                    <a:pt x="320518" y="3063913"/>
                  </a:lnTo>
                  <a:lnTo>
                    <a:pt x="308259" y="3117371"/>
                  </a:lnTo>
                  <a:lnTo>
                    <a:pt x="281536" y="3138165"/>
                  </a:lnTo>
                  <a:lnTo>
                    <a:pt x="241452" y="3145420"/>
                  </a:lnTo>
                  <a:lnTo>
                    <a:pt x="206724" y="3155852"/>
                  </a:lnTo>
                  <a:lnTo>
                    <a:pt x="177375" y="3164947"/>
                  </a:lnTo>
                  <a:lnTo>
                    <a:pt x="140860" y="3176679"/>
                  </a:lnTo>
                  <a:lnTo>
                    <a:pt x="101989" y="3191215"/>
                  </a:lnTo>
                  <a:lnTo>
                    <a:pt x="65058" y="3209983"/>
                  </a:lnTo>
                  <a:lnTo>
                    <a:pt x="35547" y="3232294"/>
                  </a:lnTo>
                  <a:lnTo>
                    <a:pt x="19019" y="3259227"/>
                  </a:lnTo>
                  <a:lnTo>
                    <a:pt x="6871" y="3297544"/>
                  </a:lnTo>
                  <a:lnTo>
                    <a:pt x="25488" y="3352677"/>
                  </a:lnTo>
                  <a:lnTo>
                    <a:pt x="43500" y="3392524"/>
                  </a:lnTo>
                  <a:lnTo>
                    <a:pt x="61517" y="3432377"/>
                  </a:lnTo>
                  <a:lnTo>
                    <a:pt x="78637" y="3475666"/>
                  </a:lnTo>
                  <a:lnTo>
                    <a:pt x="73426" y="3510862"/>
                  </a:lnTo>
                  <a:lnTo>
                    <a:pt x="66080" y="3534901"/>
                  </a:lnTo>
                  <a:lnTo>
                    <a:pt x="53563" y="3557554"/>
                  </a:lnTo>
                  <a:lnTo>
                    <a:pt x="39424" y="3580235"/>
                  </a:lnTo>
                  <a:lnTo>
                    <a:pt x="27077" y="3603046"/>
                  </a:lnTo>
                  <a:lnTo>
                    <a:pt x="21842" y="3628147"/>
                  </a:lnTo>
                  <a:lnTo>
                    <a:pt x="28536" y="3656406"/>
                  </a:lnTo>
                  <a:lnTo>
                    <a:pt x="36232" y="3676012"/>
                  </a:lnTo>
                  <a:lnTo>
                    <a:pt x="58457" y="3697208"/>
                  </a:lnTo>
                  <a:lnTo>
                    <a:pt x="84249" y="3712969"/>
                  </a:lnTo>
                  <a:lnTo>
                    <a:pt x="111565" y="3727697"/>
                  </a:lnTo>
                  <a:lnTo>
                    <a:pt x="137351" y="3750257"/>
                  </a:lnTo>
                  <a:lnTo>
                    <a:pt x="160012" y="3781162"/>
                  </a:lnTo>
                  <a:lnTo>
                    <a:pt x="167272" y="3808748"/>
                  </a:lnTo>
                  <a:lnTo>
                    <a:pt x="174566" y="3836433"/>
                  </a:lnTo>
                  <a:lnTo>
                    <a:pt x="172027" y="3864428"/>
                  </a:lnTo>
                  <a:lnTo>
                    <a:pt x="165914" y="3890360"/>
                  </a:lnTo>
                  <a:lnTo>
                    <a:pt x="159793" y="3916284"/>
                  </a:lnTo>
                  <a:lnTo>
                    <a:pt x="150020" y="3940607"/>
                  </a:lnTo>
                  <a:lnTo>
                    <a:pt x="142793" y="3965173"/>
                  </a:lnTo>
                  <a:lnTo>
                    <a:pt x="135564" y="3989732"/>
                  </a:lnTo>
                  <a:lnTo>
                    <a:pt x="130665" y="4013672"/>
                  </a:lnTo>
                  <a:lnTo>
                    <a:pt x="134634" y="4037261"/>
                  </a:lnTo>
                  <a:lnTo>
                    <a:pt x="138598" y="4060844"/>
                  </a:lnTo>
                  <a:lnTo>
                    <a:pt x="152051" y="4083623"/>
                  </a:lnTo>
                  <a:lnTo>
                    <a:pt x="179519" y="4106626"/>
                  </a:lnTo>
                  <a:lnTo>
                    <a:pt x="207166" y="4128693"/>
                  </a:lnTo>
                  <a:lnTo>
                    <a:pt x="236209" y="4149856"/>
                  </a:lnTo>
                  <a:lnTo>
                    <a:pt x="265213" y="4171917"/>
                  </a:lnTo>
                  <a:lnTo>
                    <a:pt x="283409" y="4185561"/>
                  </a:lnTo>
                  <a:lnTo>
                    <a:pt x="294528" y="4213173"/>
                  </a:lnTo>
                  <a:lnTo>
                    <a:pt x="301933" y="4242646"/>
                  </a:lnTo>
                  <a:lnTo>
                    <a:pt x="309339" y="4272126"/>
                  </a:lnTo>
                  <a:lnTo>
                    <a:pt x="312637" y="4302594"/>
                  </a:lnTo>
                  <a:lnTo>
                    <a:pt x="312947" y="4336300"/>
                  </a:lnTo>
                  <a:lnTo>
                    <a:pt x="313554" y="4371353"/>
                  </a:lnTo>
                  <a:lnTo>
                    <a:pt x="312815" y="4405870"/>
                  </a:lnTo>
                  <a:lnTo>
                    <a:pt x="312089" y="4440395"/>
                  </a:lnTo>
                  <a:lnTo>
                    <a:pt x="310006" y="4475427"/>
                  </a:lnTo>
                  <a:lnTo>
                    <a:pt x="295628" y="4507814"/>
                  </a:lnTo>
                  <a:lnTo>
                    <a:pt x="278812" y="4522850"/>
                  </a:lnTo>
                  <a:lnTo>
                    <a:pt x="259127" y="4536093"/>
                  </a:lnTo>
                  <a:lnTo>
                    <a:pt x="232865" y="4557197"/>
                  </a:lnTo>
                  <a:lnTo>
                    <a:pt x="219762" y="4583919"/>
                  </a:lnTo>
                  <a:lnTo>
                    <a:pt x="199099" y="4620429"/>
                  </a:lnTo>
                  <a:lnTo>
                    <a:pt x="194266" y="4643201"/>
                  </a:lnTo>
                  <a:lnTo>
                    <a:pt x="195842" y="4664311"/>
                  </a:lnTo>
                  <a:lnTo>
                    <a:pt x="197417" y="4685422"/>
                  </a:lnTo>
                  <a:lnTo>
                    <a:pt x="205232" y="4705008"/>
                  </a:lnTo>
                  <a:lnTo>
                    <a:pt x="217605" y="4722801"/>
                  </a:lnTo>
                  <a:lnTo>
                    <a:pt x="229970" y="4740587"/>
                  </a:lnTo>
                  <a:lnTo>
                    <a:pt x="247262" y="4756244"/>
                  </a:lnTo>
                  <a:lnTo>
                    <a:pt x="265213" y="4771768"/>
                  </a:lnTo>
                  <a:lnTo>
                    <a:pt x="283158" y="4787293"/>
                  </a:lnTo>
                  <a:lnTo>
                    <a:pt x="301301" y="4802343"/>
                  </a:lnTo>
                  <a:lnTo>
                    <a:pt x="319621" y="4816654"/>
                  </a:lnTo>
                  <a:lnTo>
                    <a:pt x="338964" y="4830787"/>
                  </a:lnTo>
                  <a:lnTo>
                    <a:pt x="361815" y="4849140"/>
                  </a:lnTo>
                  <a:lnTo>
                    <a:pt x="375797" y="4870956"/>
                  </a:lnTo>
                  <a:lnTo>
                    <a:pt x="380901" y="4901681"/>
                  </a:lnTo>
                  <a:lnTo>
                    <a:pt x="376588" y="4944470"/>
                  </a:lnTo>
                  <a:lnTo>
                    <a:pt x="369999" y="4964828"/>
                  </a:lnTo>
                  <a:lnTo>
                    <a:pt x="350848" y="4994927"/>
                  </a:lnTo>
                  <a:lnTo>
                    <a:pt x="326420" y="5015247"/>
                  </a:lnTo>
                  <a:lnTo>
                    <a:pt x="300166" y="5034596"/>
                  </a:lnTo>
                  <a:lnTo>
                    <a:pt x="276498" y="5061180"/>
                  </a:lnTo>
                  <a:lnTo>
                    <a:pt x="258407" y="5102292"/>
                  </a:lnTo>
                  <a:lnTo>
                    <a:pt x="251423" y="5144250"/>
                  </a:lnTo>
                  <a:lnTo>
                    <a:pt x="248884" y="5171663"/>
                  </a:lnTo>
                  <a:lnTo>
                    <a:pt x="246352" y="5199085"/>
                  </a:lnTo>
                  <a:lnTo>
                    <a:pt x="243991" y="5228999"/>
                  </a:lnTo>
                  <a:lnTo>
                    <a:pt x="240726" y="5258717"/>
                  </a:lnTo>
                  <a:lnTo>
                    <a:pt x="237461" y="5288433"/>
                  </a:lnTo>
                  <a:lnTo>
                    <a:pt x="232891" y="5318116"/>
                  </a:lnTo>
                  <a:lnTo>
                    <a:pt x="225763" y="5341693"/>
                  </a:lnTo>
                  <a:lnTo>
                    <a:pt x="218641" y="5365264"/>
                  </a:lnTo>
                  <a:lnTo>
                    <a:pt x="194476" y="5392019"/>
                  </a:lnTo>
                  <a:lnTo>
                    <a:pt x="170464" y="5407320"/>
                  </a:lnTo>
                  <a:lnTo>
                    <a:pt x="141005" y="5419645"/>
                  </a:lnTo>
                  <a:lnTo>
                    <a:pt x="115588" y="5432823"/>
                  </a:lnTo>
                  <a:lnTo>
                    <a:pt x="90382" y="5442022"/>
                  </a:lnTo>
                  <a:lnTo>
                    <a:pt x="77502" y="5458661"/>
                  </a:lnTo>
                  <a:lnTo>
                    <a:pt x="64847" y="5475887"/>
                  </a:lnTo>
                  <a:lnTo>
                    <a:pt x="54797" y="5495850"/>
                  </a:lnTo>
                  <a:lnTo>
                    <a:pt x="46216" y="5515793"/>
                  </a:lnTo>
                  <a:lnTo>
                    <a:pt x="35334" y="5542996"/>
                  </a:lnTo>
                  <a:lnTo>
                    <a:pt x="20760" y="5579651"/>
                  </a:lnTo>
                  <a:lnTo>
                    <a:pt x="10821" y="5607251"/>
                  </a:lnTo>
                  <a:lnTo>
                    <a:pt x="5414" y="5630049"/>
                  </a:lnTo>
                  <a:lnTo>
                    <a:pt x="0" y="5652848"/>
                  </a:lnTo>
                  <a:lnTo>
                    <a:pt x="2696" y="5689898"/>
                  </a:lnTo>
                  <a:lnTo>
                    <a:pt x="14060" y="5724811"/>
                  </a:lnTo>
                  <a:lnTo>
                    <a:pt x="25819" y="5747024"/>
                  </a:lnTo>
                  <a:lnTo>
                    <a:pt x="37577" y="5769235"/>
                  </a:lnTo>
                  <a:lnTo>
                    <a:pt x="53668" y="5795878"/>
                  </a:lnTo>
                  <a:lnTo>
                    <a:pt x="73426" y="5831358"/>
                  </a:lnTo>
                  <a:lnTo>
                    <a:pt x="85133" y="5852383"/>
                  </a:lnTo>
                  <a:lnTo>
                    <a:pt x="94861" y="5874535"/>
                  </a:lnTo>
                  <a:lnTo>
                    <a:pt x="103349" y="5898007"/>
                  </a:lnTo>
                  <a:lnTo>
                    <a:pt x="111835" y="5921478"/>
                  </a:lnTo>
                  <a:lnTo>
                    <a:pt x="119070" y="5946711"/>
                  </a:lnTo>
                  <a:lnTo>
                    <a:pt x="125112" y="5971461"/>
                  </a:lnTo>
                  <a:lnTo>
                    <a:pt x="131159" y="5996205"/>
                  </a:lnTo>
                  <a:lnTo>
                    <a:pt x="135683" y="6021418"/>
                  </a:lnTo>
                  <a:lnTo>
                    <a:pt x="140075" y="6046267"/>
                  </a:lnTo>
                  <a:lnTo>
                    <a:pt x="144467" y="6071123"/>
                  </a:lnTo>
                  <a:lnTo>
                    <a:pt x="148794" y="6095933"/>
                  </a:lnTo>
                  <a:lnTo>
                    <a:pt x="152315" y="6119720"/>
                  </a:lnTo>
                  <a:lnTo>
                    <a:pt x="163441" y="6147440"/>
                  </a:lnTo>
                  <a:lnTo>
                    <a:pt x="190157" y="6170891"/>
                  </a:lnTo>
                  <a:lnTo>
                    <a:pt x="224405" y="6191810"/>
                  </a:lnTo>
                  <a:lnTo>
                    <a:pt x="258592" y="6213665"/>
                  </a:lnTo>
                  <a:lnTo>
                    <a:pt x="285434" y="6237967"/>
                  </a:lnTo>
                  <a:lnTo>
                    <a:pt x="297858" y="6267981"/>
                  </a:lnTo>
                  <a:lnTo>
                    <a:pt x="295636" y="6303897"/>
                  </a:lnTo>
                  <a:lnTo>
                    <a:pt x="286482" y="6340888"/>
                  </a:lnTo>
                  <a:lnTo>
                    <a:pt x="284252" y="6375438"/>
                  </a:lnTo>
                  <a:lnTo>
                    <a:pt x="287629" y="6402213"/>
                  </a:lnTo>
                  <a:lnTo>
                    <a:pt x="298472" y="6429280"/>
                  </a:lnTo>
                  <a:lnTo>
                    <a:pt x="308739" y="6455692"/>
                  </a:lnTo>
                  <a:lnTo>
                    <a:pt x="319008" y="6482098"/>
                  </a:lnTo>
                  <a:lnTo>
                    <a:pt x="329197" y="6509117"/>
                  </a:lnTo>
                  <a:lnTo>
                    <a:pt x="330502" y="6537304"/>
                  </a:lnTo>
                  <a:lnTo>
                    <a:pt x="331505" y="6558849"/>
                  </a:lnTo>
                  <a:lnTo>
                    <a:pt x="317452" y="6585769"/>
                  </a:lnTo>
                  <a:lnTo>
                    <a:pt x="307381" y="6613475"/>
                  </a:lnTo>
                  <a:lnTo>
                    <a:pt x="297351" y="6641042"/>
                  </a:lnTo>
                  <a:lnTo>
                    <a:pt x="295642" y="6667513"/>
                  </a:lnTo>
                  <a:lnTo>
                    <a:pt x="306015" y="6691005"/>
                  </a:lnTo>
                  <a:lnTo>
                    <a:pt x="322549" y="6714237"/>
                  </a:lnTo>
                  <a:lnTo>
                    <a:pt x="340699" y="6735480"/>
                  </a:lnTo>
                  <a:lnTo>
                    <a:pt x="356349" y="6754936"/>
                  </a:lnTo>
                  <a:lnTo>
                    <a:pt x="371991" y="6774384"/>
                  </a:lnTo>
                  <a:lnTo>
                    <a:pt x="386144" y="6792975"/>
                  </a:lnTo>
                  <a:lnTo>
                    <a:pt x="402716" y="6828429"/>
                  </a:lnTo>
                  <a:lnTo>
                    <a:pt x="399875" y="6863751"/>
                  </a:lnTo>
                  <a:lnTo>
                    <a:pt x="380815" y="6900412"/>
                  </a:lnTo>
                  <a:lnTo>
                    <a:pt x="354983" y="6920876"/>
                  </a:lnTo>
                  <a:lnTo>
                    <a:pt x="348534" y="6944789"/>
                  </a:lnTo>
                  <a:lnTo>
                    <a:pt x="353558" y="6970608"/>
                  </a:lnTo>
                  <a:lnTo>
                    <a:pt x="359059" y="6994324"/>
                  </a:lnTo>
                  <a:lnTo>
                    <a:pt x="364559" y="7018045"/>
                  </a:lnTo>
                  <a:lnTo>
                    <a:pt x="370139" y="7039887"/>
                  </a:lnTo>
                  <a:lnTo>
                    <a:pt x="350755" y="7073806"/>
                  </a:lnTo>
                  <a:lnTo>
                    <a:pt x="327859" y="7079260"/>
                  </a:lnTo>
                  <a:lnTo>
                    <a:pt x="300569" y="7089540"/>
                  </a:lnTo>
                  <a:lnTo>
                    <a:pt x="273279" y="7099822"/>
                  </a:lnTo>
                  <a:lnTo>
                    <a:pt x="241677" y="7114035"/>
                  </a:lnTo>
                  <a:lnTo>
                    <a:pt x="213516" y="7148031"/>
                  </a:lnTo>
                  <a:lnTo>
                    <a:pt x="200768" y="7173343"/>
                  </a:lnTo>
                  <a:lnTo>
                    <a:pt x="201803" y="7198892"/>
                  </a:lnTo>
                  <a:lnTo>
                    <a:pt x="205352" y="7225561"/>
                  </a:lnTo>
                  <a:lnTo>
                    <a:pt x="206611" y="7260052"/>
                  </a:lnTo>
                  <a:lnTo>
                    <a:pt x="200498" y="7291339"/>
                  </a:lnTo>
                  <a:lnTo>
                    <a:pt x="193111" y="7322137"/>
                  </a:lnTo>
                  <a:lnTo>
                    <a:pt x="185719" y="7352929"/>
                  </a:lnTo>
                  <a:lnTo>
                    <a:pt x="176532" y="7383792"/>
                  </a:lnTo>
                  <a:lnTo>
                    <a:pt x="172707" y="7417346"/>
                  </a:lnTo>
                  <a:lnTo>
                    <a:pt x="182395" y="7458315"/>
                  </a:lnTo>
                  <a:lnTo>
                    <a:pt x="203380" y="7481350"/>
                  </a:lnTo>
                  <a:lnTo>
                    <a:pt x="223033" y="7500324"/>
                  </a:lnTo>
                  <a:lnTo>
                    <a:pt x="242686" y="7519291"/>
                  </a:lnTo>
                  <a:lnTo>
                    <a:pt x="261223" y="7533932"/>
                  </a:lnTo>
                  <a:lnTo>
                    <a:pt x="269283" y="7560173"/>
                  </a:lnTo>
                  <a:lnTo>
                    <a:pt x="263841" y="7590094"/>
                  </a:lnTo>
                  <a:lnTo>
                    <a:pt x="253118" y="7608434"/>
                  </a:lnTo>
                  <a:lnTo>
                    <a:pt x="237581" y="7635908"/>
                  </a:lnTo>
                  <a:lnTo>
                    <a:pt x="228473" y="7675788"/>
                  </a:lnTo>
                  <a:lnTo>
                    <a:pt x="224899" y="7718102"/>
                  </a:lnTo>
                  <a:lnTo>
                    <a:pt x="224397" y="7741077"/>
                  </a:lnTo>
                  <a:lnTo>
                    <a:pt x="228578" y="7769627"/>
                  </a:lnTo>
                  <a:lnTo>
                    <a:pt x="244703" y="7805022"/>
                  </a:lnTo>
                  <a:lnTo>
                    <a:pt x="255769" y="7824661"/>
                  </a:lnTo>
                  <a:lnTo>
                    <a:pt x="266565" y="7845812"/>
                  </a:lnTo>
                  <a:lnTo>
                    <a:pt x="277361" y="7866961"/>
                  </a:lnTo>
                  <a:lnTo>
                    <a:pt x="288573" y="7889654"/>
                  </a:lnTo>
                  <a:lnTo>
                    <a:pt x="296486" y="7912459"/>
                  </a:lnTo>
                  <a:lnTo>
                    <a:pt x="304406" y="7935265"/>
                  </a:lnTo>
                  <a:lnTo>
                    <a:pt x="309307" y="7957807"/>
                  </a:lnTo>
                  <a:lnTo>
                    <a:pt x="308733" y="7980473"/>
                  </a:lnTo>
                  <a:lnTo>
                    <a:pt x="289951" y="8007551"/>
                  </a:lnTo>
                  <a:lnTo>
                    <a:pt x="268267" y="8027976"/>
                  </a:lnTo>
                  <a:lnTo>
                    <a:pt x="248884" y="8045762"/>
                  </a:lnTo>
                  <a:lnTo>
                    <a:pt x="229496" y="8063543"/>
                  </a:lnTo>
                  <a:lnTo>
                    <a:pt x="212843" y="8078407"/>
                  </a:lnTo>
                  <a:lnTo>
                    <a:pt x="186992" y="8111045"/>
                  </a:lnTo>
                  <a:lnTo>
                    <a:pt x="179513" y="8151855"/>
                  </a:lnTo>
                  <a:lnTo>
                    <a:pt x="180107" y="8174534"/>
                  </a:lnTo>
                  <a:lnTo>
                    <a:pt x="188264" y="8202029"/>
                  </a:lnTo>
                  <a:lnTo>
                    <a:pt x="209434" y="8238907"/>
                  </a:lnTo>
                  <a:lnTo>
                    <a:pt x="223586" y="8263064"/>
                  </a:lnTo>
                  <a:lnTo>
                    <a:pt x="236091" y="8285481"/>
                  </a:lnTo>
                  <a:lnTo>
                    <a:pt x="247520" y="8306920"/>
                  </a:lnTo>
                  <a:lnTo>
                    <a:pt x="257366" y="8330274"/>
                  </a:lnTo>
                  <a:lnTo>
                    <a:pt x="264883" y="8354292"/>
                  </a:lnTo>
                  <a:lnTo>
                    <a:pt x="269283" y="8380368"/>
                  </a:lnTo>
                  <a:lnTo>
                    <a:pt x="253705" y="8395212"/>
                  </a:lnTo>
                  <a:lnTo>
                    <a:pt x="217598" y="8391250"/>
                  </a:lnTo>
                  <a:lnTo>
                    <a:pt x="181874" y="8390352"/>
                  </a:lnTo>
                  <a:lnTo>
                    <a:pt x="164548" y="8408931"/>
                  </a:lnTo>
                  <a:lnTo>
                    <a:pt x="181345" y="8443284"/>
                  </a:lnTo>
                  <a:lnTo>
                    <a:pt x="195835" y="8463338"/>
                  </a:lnTo>
                  <a:lnTo>
                    <a:pt x="210324" y="8483393"/>
                  </a:lnTo>
                  <a:lnTo>
                    <a:pt x="222828" y="8503634"/>
                  </a:lnTo>
                  <a:lnTo>
                    <a:pt x="205358" y="8535427"/>
                  </a:lnTo>
                  <a:lnTo>
                    <a:pt x="152308" y="8553108"/>
                  </a:lnTo>
                  <a:lnTo>
                    <a:pt x="136330" y="8576831"/>
                  </a:lnTo>
                  <a:lnTo>
                    <a:pt x="144797" y="8603533"/>
                  </a:lnTo>
                  <a:lnTo>
                    <a:pt x="159820" y="8619664"/>
                  </a:lnTo>
                  <a:lnTo>
                    <a:pt x="176789" y="8636086"/>
                  </a:lnTo>
                  <a:lnTo>
                    <a:pt x="193230" y="8655804"/>
                  </a:lnTo>
                  <a:lnTo>
                    <a:pt x="203874" y="8678925"/>
                  </a:lnTo>
                  <a:lnTo>
                    <a:pt x="205358" y="8708175"/>
                  </a:lnTo>
                  <a:lnTo>
                    <a:pt x="199140" y="8733900"/>
                  </a:lnTo>
                  <a:lnTo>
                    <a:pt x="187083" y="8764060"/>
                  </a:lnTo>
                  <a:lnTo>
                    <a:pt x="174071" y="8795227"/>
                  </a:lnTo>
                  <a:lnTo>
                    <a:pt x="160606" y="8827233"/>
                  </a:lnTo>
                  <a:lnTo>
                    <a:pt x="154894" y="8855708"/>
                  </a:lnTo>
                  <a:lnTo>
                    <a:pt x="160466" y="8878197"/>
                  </a:lnTo>
                  <a:lnTo>
                    <a:pt x="246160" y="8853710"/>
                  </a:lnTo>
                  <a:lnTo>
                    <a:pt x="273365" y="8875473"/>
                  </a:lnTo>
                  <a:lnTo>
                    <a:pt x="270193" y="8911944"/>
                  </a:lnTo>
                  <a:lnTo>
                    <a:pt x="260207" y="8947821"/>
                  </a:lnTo>
                  <a:lnTo>
                    <a:pt x="251602" y="8982932"/>
                  </a:lnTo>
                  <a:lnTo>
                    <a:pt x="246048" y="9013373"/>
                  </a:lnTo>
                  <a:lnTo>
                    <a:pt x="242883" y="9045016"/>
                  </a:lnTo>
                  <a:lnTo>
                    <a:pt x="240720" y="9076783"/>
                  </a:lnTo>
                  <a:lnTo>
                    <a:pt x="238550" y="9108550"/>
                  </a:lnTo>
                  <a:lnTo>
                    <a:pt x="237587" y="9139810"/>
                  </a:lnTo>
                  <a:lnTo>
                    <a:pt x="235279" y="9170635"/>
                  </a:lnTo>
                  <a:lnTo>
                    <a:pt x="233452" y="9195022"/>
                  </a:lnTo>
                  <a:lnTo>
                    <a:pt x="244796" y="9214161"/>
                  </a:lnTo>
                  <a:lnTo>
                    <a:pt x="264970" y="9228775"/>
                  </a:lnTo>
                  <a:lnTo>
                    <a:pt x="278806" y="9245447"/>
                  </a:lnTo>
                  <a:lnTo>
                    <a:pt x="288942" y="9266400"/>
                  </a:lnTo>
                  <a:lnTo>
                    <a:pt x="303557" y="9287603"/>
                  </a:lnTo>
                  <a:lnTo>
                    <a:pt x="326434" y="9300120"/>
                  </a:lnTo>
                  <a:lnTo>
                    <a:pt x="350895" y="9310738"/>
                  </a:lnTo>
                  <a:lnTo>
                    <a:pt x="375355" y="9321356"/>
                  </a:lnTo>
                  <a:lnTo>
                    <a:pt x="400975" y="9330186"/>
                  </a:lnTo>
                  <a:lnTo>
                    <a:pt x="421625" y="9348822"/>
                  </a:lnTo>
                  <a:lnTo>
                    <a:pt x="407558" y="9383400"/>
                  </a:lnTo>
                  <a:lnTo>
                    <a:pt x="374022" y="9382827"/>
                  </a:lnTo>
                  <a:lnTo>
                    <a:pt x="338430" y="9379655"/>
                  </a:lnTo>
                  <a:lnTo>
                    <a:pt x="323011" y="9397407"/>
                  </a:lnTo>
                  <a:lnTo>
                    <a:pt x="324158" y="9428594"/>
                  </a:lnTo>
                  <a:lnTo>
                    <a:pt x="311720" y="9463231"/>
                  </a:lnTo>
                  <a:lnTo>
                    <a:pt x="293770" y="9487566"/>
                  </a:lnTo>
                  <a:lnTo>
                    <a:pt x="281747" y="9508775"/>
                  </a:lnTo>
                  <a:lnTo>
                    <a:pt x="276999" y="9534918"/>
                  </a:lnTo>
                  <a:lnTo>
                    <a:pt x="295128" y="9559656"/>
                  </a:lnTo>
                  <a:lnTo>
                    <a:pt x="323289" y="9582183"/>
                  </a:lnTo>
                  <a:lnTo>
                    <a:pt x="354020" y="9607858"/>
                  </a:lnTo>
                  <a:lnTo>
                    <a:pt x="369063" y="9622953"/>
                  </a:lnTo>
                  <a:lnTo>
                    <a:pt x="376740" y="9643984"/>
                  </a:lnTo>
                  <a:lnTo>
                    <a:pt x="372664" y="9667113"/>
                  </a:lnTo>
                  <a:lnTo>
                    <a:pt x="359065" y="9687510"/>
                  </a:lnTo>
                  <a:lnTo>
                    <a:pt x="344101" y="9707915"/>
                  </a:lnTo>
                  <a:lnTo>
                    <a:pt x="338661" y="9731038"/>
                  </a:lnTo>
                  <a:lnTo>
                    <a:pt x="340350" y="9758928"/>
                  </a:lnTo>
                  <a:lnTo>
                    <a:pt x="342407" y="9787482"/>
                  </a:lnTo>
                  <a:lnTo>
                    <a:pt x="344095" y="9816732"/>
                  </a:lnTo>
                  <a:lnTo>
                    <a:pt x="345111" y="9844747"/>
                  </a:lnTo>
                  <a:lnTo>
                    <a:pt x="343072" y="9873045"/>
                  </a:lnTo>
                  <a:lnTo>
                    <a:pt x="337289" y="9901060"/>
                  </a:lnTo>
                  <a:lnTo>
                    <a:pt x="327436" y="9926392"/>
                  </a:lnTo>
                  <a:lnTo>
                    <a:pt x="317221" y="9951907"/>
                  </a:lnTo>
                  <a:lnTo>
                    <a:pt x="311451" y="9978596"/>
                  </a:lnTo>
                  <a:lnTo>
                    <a:pt x="308403" y="10008663"/>
                  </a:lnTo>
                  <a:lnTo>
                    <a:pt x="310152" y="10031633"/>
                  </a:lnTo>
                  <a:lnTo>
                    <a:pt x="323625" y="10069738"/>
                  </a:lnTo>
                  <a:lnTo>
                    <a:pt x="350895" y="10094213"/>
                  </a:lnTo>
                  <a:lnTo>
                    <a:pt x="384838" y="10111253"/>
                  </a:lnTo>
                  <a:lnTo>
                    <a:pt x="406660" y="10114616"/>
                  </a:lnTo>
                  <a:lnTo>
                    <a:pt x="428490" y="10117980"/>
                  </a:lnTo>
                  <a:lnTo>
                    <a:pt x="452997" y="10118653"/>
                  </a:lnTo>
                  <a:lnTo>
                    <a:pt x="480115" y="10117334"/>
                  </a:lnTo>
                  <a:lnTo>
                    <a:pt x="490996" y="10151336"/>
                  </a:lnTo>
                  <a:lnTo>
                    <a:pt x="479106" y="10175284"/>
                  </a:lnTo>
                  <a:lnTo>
                    <a:pt x="470229" y="10203562"/>
                  </a:lnTo>
                  <a:lnTo>
                    <a:pt x="466509" y="10228866"/>
                  </a:lnTo>
                  <a:lnTo>
                    <a:pt x="477391" y="10251823"/>
                  </a:lnTo>
                  <a:lnTo>
                    <a:pt x="500078" y="10263728"/>
                  </a:lnTo>
                  <a:lnTo>
                    <a:pt x="522277" y="10265594"/>
                  </a:lnTo>
                  <a:lnTo>
                    <a:pt x="545404" y="10257435"/>
                  </a:lnTo>
                  <a:lnTo>
                    <a:pt x="564445" y="10235666"/>
                  </a:lnTo>
                  <a:lnTo>
                    <a:pt x="576664" y="10216495"/>
                  </a:lnTo>
                  <a:lnTo>
                    <a:pt x="601171" y="10200310"/>
                  </a:lnTo>
                  <a:lnTo>
                    <a:pt x="602279" y="10230871"/>
                  </a:lnTo>
                  <a:lnTo>
                    <a:pt x="598962" y="10265666"/>
                  </a:lnTo>
                  <a:lnTo>
                    <a:pt x="588931" y="10298245"/>
                  </a:lnTo>
                  <a:lnTo>
                    <a:pt x="577495" y="10325211"/>
                  </a:lnTo>
                  <a:lnTo>
                    <a:pt x="564992" y="10347444"/>
                  </a:lnTo>
                  <a:lnTo>
                    <a:pt x="553563" y="10370334"/>
                  </a:lnTo>
                  <a:lnTo>
                    <a:pt x="544982" y="10394985"/>
                  </a:lnTo>
                  <a:lnTo>
                    <a:pt x="548162" y="10424458"/>
                  </a:lnTo>
                  <a:lnTo>
                    <a:pt x="571243" y="10443782"/>
                  </a:lnTo>
                  <a:lnTo>
                    <a:pt x="600089" y="10460057"/>
                  </a:lnTo>
                  <a:lnTo>
                    <a:pt x="632174" y="10473761"/>
                  </a:lnTo>
                  <a:lnTo>
                    <a:pt x="662378" y="10485948"/>
                  </a:lnTo>
                  <a:lnTo>
                    <a:pt x="690393" y="10498994"/>
                  </a:lnTo>
                  <a:lnTo>
                    <a:pt x="707882" y="10523270"/>
                  </a:lnTo>
                  <a:lnTo>
                    <a:pt x="722973" y="10538406"/>
                  </a:lnTo>
                  <a:lnTo>
                    <a:pt x="741273" y="10551239"/>
                  </a:lnTo>
                  <a:lnTo>
                    <a:pt x="762291" y="10563373"/>
                  </a:lnTo>
                  <a:lnTo>
                    <a:pt x="782814" y="10571755"/>
                  </a:lnTo>
                  <a:lnTo>
                    <a:pt x="806563" y="10594765"/>
                  </a:lnTo>
                  <a:lnTo>
                    <a:pt x="790538" y="10618678"/>
                  </a:lnTo>
                  <a:lnTo>
                    <a:pt x="764395" y="10623334"/>
                  </a:lnTo>
                  <a:lnTo>
                    <a:pt x="716786" y="10635581"/>
                  </a:lnTo>
                  <a:lnTo>
                    <a:pt x="724430" y="10660431"/>
                  </a:lnTo>
                  <a:lnTo>
                    <a:pt x="738549" y="10681825"/>
                  </a:lnTo>
                  <a:lnTo>
                    <a:pt x="749272" y="10703805"/>
                  </a:lnTo>
                  <a:lnTo>
                    <a:pt x="757760" y="10727856"/>
                  </a:lnTo>
                  <a:lnTo>
                    <a:pt x="763036" y="10752555"/>
                  </a:lnTo>
                  <a:lnTo>
                    <a:pt x="766921" y="10776679"/>
                  </a:lnTo>
                  <a:lnTo>
                    <a:pt x="779728" y="10799886"/>
                  </a:lnTo>
                  <a:lnTo>
                    <a:pt x="798787" y="10817396"/>
                  </a:lnTo>
                  <a:lnTo>
                    <a:pt x="818328" y="10834794"/>
                  </a:lnTo>
                  <a:lnTo>
                    <a:pt x="835639" y="10853424"/>
                  </a:lnTo>
                  <a:lnTo>
                    <a:pt x="868838" y="10845998"/>
                  </a:lnTo>
                  <a:lnTo>
                    <a:pt x="893899" y="10835935"/>
                  </a:lnTo>
                  <a:lnTo>
                    <a:pt x="916730" y="10832808"/>
                  </a:lnTo>
                  <a:lnTo>
                    <a:pt x="941231" y="10834060"/>
                  </a:lnTo>
                  <a:lnTo>
                    <a:pt x="968408" y="10834299"/>
                  </a:lnTo>
                  <a:lnTo>
                    <a:pt x="1001066" y="10830092"/>
                  </a:lnTo>
                  <a:lnTo>
                    <a:pt x="1029629" y="10821926"/>
                  </a:lnTo>
                  <a:lnTo>
                    <a:pt x="1049651" y="10813499"/>
                  </a:lnTo>
                  <a:lnTo>
                    <a:pt x="1069456" y="10805875"/>
                  </a:lnTo>
                  <a:lnTo>
                    <a:pt x="1099640" y="10797743"/>
                  </a:lnTo>
                  <a:lnTo>
                    <a:pt x="1120764" y="10797446"/>
                  </a:lnTo>
                  <a:lnTo>
                    <a:pt x="1142454" y="10798568"/>
                  </a:lnTo>
                  <a:lnTo>
                    <a:pt x="1166724" y="10808183"/>
                  </a:lnTo>
                  <a:lnTo>
                    <a:pt x="1191495" y="10824650"/>
                  </a:lnTo>
                  <a:lnTo>
                    <a:pt x="1216264" y="10841124"/>
                  </a:lnTo>
                  <a:lnTo>
                    <a:pt x="1241537" y="10864100"/>
                  </a:lnTo>
                  <a:lnTo>
                    <a:pt x="1264941" y="10888581"/>
                  </a:lnTo>
                  <a:lnTo>
                    <a:pt x="1288346" y="10913062"/>
                  </a:lnTo>
                  <a:lnTo>
                    <a:pt x="1309918" y="10939592"/>
                  </a:lnTo>
                  <a:lnTo>
                    <a:pt x="1327514" y="10964752"/>
                  </a:lnTo>
                  <a:lnTo>
                    <a:pt x="1345102" y="10989911"/>
                  </a:lnTo>
                  <a:lnTo>
                    <a:pt x="1358260" y="11014254"/>
                  </a:lnTo>
                  <a:lnTo>
                    <a:pt x="1373236" y="11052036"/>
                  </a:lnTo>
                  <a:lnTo>
                    <a:pt x="1386004" y="11087167"/>
                  </a:lnTo>
                  <a:lnTo>
                    <a:pt x="1398818" y="11121474"/>
                  </a:lnTo>
                  <a:lnTo>
                    <a:pt x="1413993" y="11153518"/>
                  </a:lnTo>
                  <a:lnTo>
                    <a:pt x="1433605" y="11183743"/>
                  </a:lnTo>
                  <a:lnTo>
                    <a:pt x="1459643" y="11212820"/>
                  </a:lnTo>
                  <a:lnTo>
                    <a:pt x="1477133" y="11227269"/>
                  </a:lnTo>
                  <a:lnTo>
                    <a:pt x="1509190" y="11246796"/>
                  </a:lnTo>
                  <a:lnTo>
                    <a:pt x="1530183" y="11250398"/>
                  </a:lnTo>
                  <a:lnTo>
                    <a:pt x="1551173" y="11253985"/>
                  </a:lnTo>
                  <a:lnTo>
                    <a:pt x="1574598" y="11252996"/>
                  </a:lnTo>
                  <a:lnTo>
                    <a:pt x="1595472" y="11249038"/>
                  </a:lnTo>
                  <a:lnTo>
                    <a:pt x="1616345" y="11245068"/>
                  </a:lnTo>
                  <a:lnTo>
                    <a:pt x="1647161" y="11225911"/>
                  </a:lnTo>
                  <a:lnTo>
                    <a:pt x="1667323" y="11198984"/>
                  </a:lnTo>
                  <a:lnTo>
                    <a:pt x="1663478" y="11169009"/>
                  </a:lnTo>
                  <a:lnTo>
                    <a:pt x="1659403" y="11148381"/>
                  </a:lnTo>
                  <a:lnTo>
                    <a:pt x="1647161" y="11119818"/>
                  </a:lnTo>
                  <a:lnTo>
                    <a:pt x="1634922" y="11092614"/>
                  </a:lnTo>
                  <a:lnTo>
                    <a:pt x="1624833" y="11073364"/>
                  </a:lnTo>
                  <a:lnTo>
                    <a:pt x="1614128" y="11052912"/>
                  </a:lnTo>
                  <a:lnTo>
                    <a:pt x="1602277" y="11031400"/>
                  </a:lnTo>
                  <a:lnTo>
                    <a:pt x="1593889" y="11012136"/>
                  </a:lnTo>
                  <a:lnTo>
                    <a:pt x="1593796" y="10984992"/>
                  </a:lnTo>
                  <a:lnTo>
                    <a:pt x="1615111" y="10961673"/>
                  </a:lnTo>
                  <a:lnTo>
                    <a:pt x="1645144" y="10949367"/>
                  </a:lnTo>
                  <a:lnTo>
                    <a:pt x="1678448" y="10951154"/>
                  </a:lnTo>
                  <a:lnTo>
                    <a:pt x="1699275" y="10961778"/>
                  </a:lnTo>
                  <a:lnTo>
                    <a:pt x="1713968" y="10982044"/>
                  </a:lnTo>
                  <a:lnTo>
                    <a:pt x="1728767" y="11000120"/>
                  </a:lnTo>
                  <a:lnTo>
                    <a:pt x="1743580" y="11018204"/>
                  </a:lnTo>
                  <a:lnTo>
                    <a:pt x="1758307" y="11034896"/>
                  </a:lnTo>
                  <a:lnTo>
                    <a:pt x="1780459" y="11039572"/>
                  </a:lnTo>
                  <a:lnTo>
                    <a:pt x="1801219" y="11043950"/>
                  </a:lnTo>
                  <a:lnTo>
                    <a:pt x="1836224" y="11034130"/>
                  </a:lnTo>
                  <a:lnTo>
                    <a:pt x="1861141" y="11034988"/>
                  </a:lnTo>
                  <a:lnTo>
                    <a:pt x="1882046" y="11038715"/>
                  </a:lnTo>
                  <a:lnTo>
                    <a:pt x="1910834" y="11043198"/>
                  </a:lnTo>
                  <a:lnTo>
                    <a:pt x="1938294" y="11036400"/>
                  </a:lnTo>
                  <a:lnTo>
                    <a:pt x="1960004" y="11019173"/>
                  </a:lnTo>
                  <a:lnTo>
                    <a:pt x="1974566" y="11003280"/>
                  </a:lnTo>
                  <a:lnTo>
                    <a:pt x="1973545" y="10977058"/>
                  </a:lnTo>
                  <a:lnTo>
                    <a:pt x="1958646" y="10958606"/>
                  </a:lnTo>
                  <a:lnTo>
                    <a:pt x="1940965" y="10943003"/>
                  </a:lnTo>
                  <a:lnTo>
                    <a:pt x="1923278" y="10927399"/>
                  </a:lnTo>
                  <a:lnTo>
                    <a:pt x="1902247" y="10914235"/>
                  </a:lnTo>
                  <a:lnTo>
                    <a:pt x="1861939" y="10882937"/>
                  </a:lnTo>
                  <a:lnTo>
                    <a:pt x="1843354" y="10866052"/>
                  </a:lnTo>
                  <a:lnTo>
                    <a:pt x="1815497" y="10840406"/>
                  </a:lnTo>
                  <a:lnTo>
                    <a:pt x="1796780" y="10826022"/>
                  </a:lnTo>
                  <a:lnTo>
                    <a:pt x="1774654" y="10818345"/>
                  </a:lnTo>
                  <a:lnTo>
                    <a:pt x="1737302" y="10817403"/>
                  </a:lnTo>
                  <a:lnTo>
                    <a:pt x="1711192" y="10819235"/>
                  </a:lnTo>
                  <a:lnTo>
                    <a:pt x="1671642" y="10820588"/>
                  </a:lnTo>
                  <a:lnTo>
                    <a:pt x="1645797" y="10809705"/>
                  </a:lnTo>
                  <a:lnTo>
                    <a:pt x="1633558" y="10782502"/>
                  </a:lnTo>
                  <a:lnTo>
                    <a:pt x="1629553" y="10760468"/>
                  </a:lnTo>
                  <a:lnTo>
                    <a:pt x="1629415" y="10739246"/>
                  </a:lnTo>
                  <a:lnTo>
                    <a:pt x="1636413" y="10714001"/>
                  </a:lnTo>
                  <a:lnTo>
                    <a:pt x="1656717" y="10692449"/>
                  </a:lnTo>
                  <a:lnTo>
                    <a:pt x="1681093" y="10675479"/>
                  </a:lnTo>
                  <a:lnTo>
                    <a:pt x="1708192" y="10667190"/>
                  </a:lnTo>
                  <a:lnTo>
                    <a:pt x="1764063" y="10669142"/>
                  </a:lnTo>
                  <a:lnTo>
                    <a:pt x="1789316" y="10677340"/>
                  </a:lnTo>
                  <a:lnTo>
                    <a:pt x="1809028" y="10688651"/>
                  </a:lnTo>
                  <a:lnTo>
                    <a:pt x="1828739" y="10699960"/>
                  </a:lnTo>
                  <a:lnTo>
                    <a:pt x="1853913" y="10729459"/>
                  </a:lnTo>
                  <a:lnTo>
                    <a:pt x="1875174" y="10762111"/>
                  </a:lnTo>
                  <a:lnTo>
                    <a:pt x="1897940" y="10792018"/>
                  </a:lnTo>
                  <a:lnTo>
                    <a:pt x="1930084" y="10815153"/>
                  </a:lnTo>
                  <a:lnTo>
                    <a:pt x="1954571" y="10821953"/>
                  </a:lnTo>
                  <a:lnTo>
                    <a:pt x="1977692" y="10821953"/>
                  </a:lnTo>
                  <a:lnTo>
                    <a:pt x="2002172" y="10816513"/>
                  </a:lnTo>
                  <a:lnTo>
                    <a:pt x="2023942" y="10804265"/>
                  </a:lnTo>
                  <a:lnTo>
                    <a:pt x="2052755" y="10784448"/>
                  </a:lnTo>
                  <a:lnTo>
                    <a:pt x="2068450" y="10764762"/>
                  </a:lnTo>
                  <a:lnTo>
                    <a:pt x="2082801" y="10726796"/>
                  </a:lnTo>
                  <a:lnTo>
                    <a:pt x="2074267" y="10690009"/>
                  </a:lnTo>
                  <a:lnTo>
                    <a:pt x="2052867" y="10651428"/>
                  </a:lnTo>
                  <a:lnTo>
                    <a:pt x="2037541" y="10631525"/>
                  </a:lnTo>
                  <a:lnTo>
                    <a:pt x="2022214" y="10611615"/>
                  </a:lnTo>
                  <a:lnTo>
                    <a:pt x="2004764" y="10590616"/>
                  </a:lnTo>
                  <a:lnTo>
                    <a:pt x="1988573" y="10568953"/>
                  </a:lnTo>
                  <a:lnTo>
                    <a:pt x="1982618" y="10522003"/>
                  </a:lnTo>
                  <a:lnTo>
                    <a:pt x="1996739" y="10498222"/>
                  </a:lnTo>
                  <a:lnTo>
                    <a:pt x="2034831" y="10496864"/>
                  </a:lnTo>
                  <a:lnTo>
                    <a:pt x="2064784" y="10512342"/>
                  </a:lnTo>
                  <a:lnTo>
                    <a:pt x="2083863" y="10532370"/>
                  </a:lnTo>
                  <a:lnTo>
                    <a:pt x="2096038" y="10555353"/>
                  </a:lnTo>
                  <a:lnTo>
                    <a:pt x="2108205" y="10578336"/>
                  </a:lnTo>
                  <a:lnTo>
                    <a:pt x="2113429" y="10604420"/>
                  </a:lnTo>
                  <a:lnTo>
                    <a:pt x="2116435" y="10628808"/>
                  </a:lnTo>
                  <a:lnTo>
                    <a:pt x="2119449" y="10653189"/>
                  </a:lnTo>
                  <a:lnTo>
                    <a:pt x="2120768" y="10675771"/>
                  </a:lnTo>
                  <a:lnTo>
                    <a:pt x="2125721" y="10715142"/>
                  </a:lnTo>
                  <a:lnTo>
                    <a:pt x="2140922" y="10740341"/>
                  </a:lnTo>
                  <a:lnTo>
                    <a:pt x="2173904" y="10741488"/>
                  </a:lnTo>
                  <a:lnTo>
                    <a:pt x="2197711" y="10728318"/>
                  </a:lnTo>
                  <a:lnTo>
                    <a:pt x="2213012" y="10704978"/>
                  </a:lnTo>
                  <a:lnTo>
                    <a:pt x="2227276" y="10679391"/>
                  </a:lnTo>
                  <a:lnTo>
                    <a:pt x="2234149" y="10645222"/>
                  </a:lnTo>
                  <a:lnTo>
                    <a:pt x="2238857" y="10617926"/>
                  </a:lnTo>
                  <a:lnTo>
                    <a:pt x="2238263" y="10591658"/>
                  </a:lnTo>
                  <a:lnTo>
                    <a:pt x="2234820" y="10565641"/>
                  </a:lnTo>
                  <a:lnTo>
                    <a:pt x="2230732" y="10537514"/>
                  </a:lnTo>
                  <a:lnTo>
                    <a:pt x="2228748" y="10507290"/>
                  </a:lnTo>
                  <a:lnTo>
                    <a:pt x="2230144" y="10477679"/>
                  </a:lnTo>
                  <a:lnTo>
                    <a:pt x="2237728" y="10451405"/>
                  </a:lnTo>
                  <a:lnTo>
                    <a:pt x="2252845" y="10428468"/>
                  </a:lnTo>
                  <a:lnTo>
                    <a:pt x="2275537" y="10416373"/>
                  </a:lnTo>
                  <a:lnTo>
                    <a:pt x="2297314" y="10412364"/>
                  </a:lnTo>
                  <a:lnTo>
                    <a:pt x="2319117" y="10415258"/>
                  </a:lnTo>
                  <a:lnTo>
                    <a:pt x="2344579" y="10424591"/>
                  </a:lnTo>
                  <a:lnTo>
                    <a:pt x="2365090" y="10440847"/>
                  </a:lnTo>
                  <a:lnTo>
                    <a:pt x="2376881" y="10459886"/>
                  </a:lnTo>
                  <a:lnTo>
                    <a:pt x="2378966" y="10483265"/>
                  </a:lnTo>
                  <a:lnTo>
                    <a:pt x="2373083" y="10507093"/>
                  </a:lnTo>
                  <a:lnTo>
                    <a:pt x="2363718" y="10532944"/>
                  </a:lnTo>
                  <a:lnTo>
                    <a:pt x="2354486" y="10556713"/>
                  </a:lnTo>
                  <a:lnTo>
                    <a:pt x="2347804" y="10578502"/>
                  </a:lnTo>
                  <a:lnTo>
                    <a:pt x="2350404" y="10602963"/>
                  </a:lnTo>
                  <a:lnTo>
                    <a:pt x="2360625" y="10622424"/>
                  </a:lnTo>
                  <a:lnTo>
                    <a:pt x="2374488" y="10644839"/>
                  </a:lnTo>
                  <a:lnTo>
                    <a:pt x="2387130" y="10662812"/>
                  </a:lnTo>
                  <a:lnTo>
                    <a:pt x="2399607" y="10680775"/>
                  </a:lnTo>
                  <a:lnTo>
                    <a:pt x="2412732" y="10699248"/>
                  </a:lnTo>
                  <a:lnTo>
                    <a:pt x="2425209" y="10717213"/>
                  </a:lnTo>
                  <a:lnTo>
                    <a:pt x="2444255" y="10740341"/>
                  </a:lnTo>
                  <a:lnTo>
                    <a:pt x="2459219" y="10758022"/>
                  </a:lnTo>
                  <a:lnTo>
                    <a:pt x="2479849" y="10772326"/>
                  </a:lnTo>
                  <a:lnTo>
                    <a:pt x="2500021" y="10779785"/>
                  </a:lnTo>
                  <a:lnTo>
                    <a:pt x="2528591" y="10786584"/>
                  </a:lnTo>
                  <a:lnTo>
                    <a:pt x="2557154" y="10789308"/>
                  </a:lnTo>
                  <a:lnTo>
                    <a:pt x="2584357" y="10785232"/>
                  </a:lnTo>
                  <a:lnTo>
                    <a:pt x="2608838" y="10777075"/>
                  </a:lnTo>
                  <a:lnTo>
                    <a:pt x="2631966" y="10762111"/>
                  </a:lnTo>
                  <a:lnTo>
                    <a:pt x="2652364" y="10743064"/>
                  </a:lnTo>
                  <a:lnTo>
                    <a:pt x="2670045" y="10717226"/>
                  </a:lnTo>
                  <a:lnTo>
                    <a:pt x="2683796" y="10691638"/>
                  </a:lnTo>
                  <a:lnTo>
                    <a:pt x="2696649" y="10663120"/>
                  </a:lnTo>
                  <a:lnTo>
                    <a:pt x="2712213" y="10636972"/>
                  </a:lnTo>
                  <a:lnTo>
                    <a:pt x="2727776" y="10610823"/>
                  </a:lnTo>
                  <a:lnTo>
                    <a:pt x="2746071" y="10586350"/>
                  </a:lnTo>
                  <a:lnTo>
                    <a:pt x="2769344" y="10567601"/>
                  </a:lnTo>
                  <a:lnTo>
                    <a:pt x="2801555" y="10557339"/>
                  </a:lnTo>
                  <a:lnTo>
                    <a:pt x="2834633" y="10566243"/>
                  </a:lnTo>
                  <a:lnTo>
                    <a:pt x="2864389" y="10579781"/>
                  </a:lnTo>
                  <a:lnTo>
                    <a:pt x="2890400" y="10577124"/>
                  </a:lnTo>
                  <a:lnTo>
                    <a:pt x="2935629" y="10547137"/>
                  </a:lnTo>
                  <a:lnTo>
                    <a:pt x="2972428" y="10547433"/>
                  </a:lnTo>
                  <a:lnTo>
                    <a:pt x="2984781" y="10567950"/>
                  </a:lnTo>
                  <a:lnTo>
                    <a:pt x="2996499" y="10590730"/>
                  </a:lnTo>
                  <a:lnTo>
                    <a:pt x="3008212" y="10613502"/>
                  </a:lnTo>
                  <a:lnTo>
                    <a:pt x="3020471" y="10638258"/>
                  </a:lnTo>
                  <a:lnTo>
                    <a:pt x="3041385" y="10647853"/>
                  </a:lnTo>
                  <a:lnTo>
                    <a:pt x="3062732" y="10657654"/>
                  </a:lnTo>
                  <a:lnTo>
                    <a:pt x="3086460" y="10654377"/>
                  </a:lnTo>
                  <a:lnTo>
                    <a:pt x="3110750" y="10649213"/>
                  </a:lnTo>
                  <a:lnTo>
                    <a:pt x="3135044" y="10644049"/>
                  </a:lnTo>
                  <a:lnTo>
                    <a:pt x="3159261" y="10637579"/>
                  </a:lnTo>
                  <a:lnTo>
                    <a:pt x="3182844" y="10639689"/>
                  </a:lnTo>
                  <a:lnTo>
                    <a:pt x="3227795" y="10659673"/>
                  </a:lnTo>
                  <a:lnTo>
                    <a:pt x="3282521" y="10663919"/>
                  </a:lnTo>
                  <a:lnTo>
                    <a:pt x="3333420" y="10669829"/>
                  </a:lnTo>
                  <a:lnTo>
                    <a:pt x="3382789" y="10670976"/>
                  </a:lnTo>
                  <a:lnTo>
                    <a:pt x="3406406" y="10671503"/>
                  </a:lnTo>
                  <a:lnTo>
                    <a:pt x="3438562" y="10653295"/>
                  </a:lnTo>
                  <a:lnTo>
                    <a:pt x="3463365" y="10627107"/>
                  </a:lnTo>
                  <a:lnTo>
                    <a:pt x="3484482" y="10595148"/>
                  </a:lnTo>
                  <a:lnTo>
                    <a:pt x="3507935" y="10564883"/>
                  </a:lnTo>
                  <a:lnTo>
                    <a:pt x="3537381" y="10541464"/>
                  </a:lnTo>
                  <a:lnTo>
                    <a:pt x="3559618" y="10537680"/>
                  </a:lnTo>
                  <a:lnTo>
                    <a:pt x="3586663" y="10533069"/>
                  </a:lnTo>
                  <a:lnTo>
                    <a:pt x="3615384" y="10544478"/>
                  </a:lnTo>
                  <a:lnTo>
                    <a:pt x="3639297" y="10565457"/>
                  </a:lnTo>
                  <a:lnTo>
                    <a:pt x="3658911" y="10579840"/>
                  </a:lnTo>
                  <a:lnTo>
                    <a:pt x="3689544" y="10602302"/>
                  </a:lnTo>
                  <a:lnTo>
                    <a:pt x="3718700" y="10614339"/>
                  </a:lnTo>
                  <a:lnTo>
                    <a:pt x="3754129" y="10627450"/>
                  </a:lnTo>
                  <a:lnTo>
                    <a:pt x="3799356" y="10642176"/>
                  </a:lnTo>
                  <a:lnTo>
                    <a:pt x="3820776" y="10639689"/>
                  </a:lnTo>
                  <a:lnTo>
                    <a:pt x="3846971" y="10627304"/>
                  </a:lnTo>
                  <a:lnTo>
                    <a:pt x="3876193" y="10608555"/>
                  </a:lnTo>
                  <a:lnTo>
                    <a:pt x="3896948" y="10586646"/>
                  </a:lnTo>
                  <a:lnTo>
                    <a:pt x="3912980" y="10540911"/>
                  </a:lnTo>
                  <a:lnTo>
                    <a:pt x="3918235" y="10506156"/>
                  </a:lnTo>
                  <a:lnTo>
                    <a:pt x="3907830" y="10481907"/>
                  </a:lnTo>
                  <a:lnTo>
                    <a:pt x="3893610" y="10459649"/>
                  </a:lnTo>
                  <a:lnTo>
                    <a:pt x="3864916" y="10447039"/>
                  </a:lnTo>
                  <a:lnTo>
                    <a:pt x="3820776" y="10443821"/>
                  </a:lnTo>
                  <a:lnTo>
                    <a:pt x="3804236" y="10424102"/>
                  </a:lnTo>
                  <a:lnTo>
                    <a:pt x="3796508" y="10400980"/>
                  </a:lnTo>
                  <a:lnTo>
                    <a:pt x="3804447" y="10378532"/>
                  </a:lnTo>
                  <a:lnTo>
                    <a:pt x="3830168" y="10356029"/>
                  </a:lnTo>
                  <a:lnTo>
                    <a:pt x="3860340" y="10341191"/>
                  </a:lnTo>
                  <a:lnTo>
                    <a:pt x="3892865" y="10333646"/>
                  </a:lnTo>
                  <a:lnTo>
                    <a:pt x="3930389" y="10333317"/>
                  </a:lnTo>
                  <a:lnTo>
                    <a:pt x="3961426" y="10342160"/>
                  </a:lnTo>
                  <a:lnTo>
                    <a:pt x="3986718" y="10358127"/>
                  </a:lnTo>
                  <a:lnTo>
                    <a:pt x="4010842" y="10375775"/>
                  </a:lnTo>
                  <a:lnTo>
                    <a:pt x="4029776" y="10400862"/>
                  </a:lnTo>
                  <a:lnTo>
                    <a:pt x="4047925" y="10422058"/>
                  </a:lnTo>
                  <a:lnTo>
                    <a:pt x="4066074" y="10443253"/>
                  </a:lnTo>
                  <a:lnTo>
                    <a:pt x="4083788" y="10460855"/>
                  </a:lnTo>
                  <a:lnTo>
                    <a:pt x="4106414" y="10466943"/>
                  </a:lnTo>
                  <a:lnTo>
                    <a:pt x="4130111" y="10469818"/>
                  </a:lnTo>
                  <a:lnTo>
                    <a:pt x="4158890" y="10461350"/>
                  </a:lnTo>
                  <a:lnTo>
                    <a:pt x="4194826" y="10439739"/>
                  </a:lnTo>
                  <a:lnTo>
                    <a:pt x="4207937" y="10416095"/>
                  </a:lnTo>
                  <a:lnTo>
                    <a:pt x="4213602" y="10387468"/>
                  </a:lnTo>
                  <a:lnTo>
                    <a:pt x="4224754" y="10363568"/>
                  </a:lnTo>
                  <a:lnTo>
                    <a:pt x="4237079" y="10341218"/>
                  </a:lnTo>
                  <a:lnTo>
                    <a:pt x="4255948" y="10323352"/>
                  </a:lnTo>
                  <a:lnTo>
                    <a:pt x="4284602" y="10311883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21" name="Vinnytsia¬0" descr="Vinnytsia¬0">
              <a:extLst>
                <a:ext uri="{FF2B5EF4-FFF2-40B4-BE49-F238E27FC236}">
                  <a16:creationId xmlns:a16="http://schemas.microsoft.com/office/drawing/2014/main" id="{EE1BA594-A7B3-4C07-9AA7-056037E0B872}"/>
                </a:ext>
              </a:extLst>
            </p:cNvPr>
            <p:cNvSpPr/>
            <p:nvPr/>
          </p:nvSpPr>
          <p:spPr>
            <a:xfrm>
              <a:off x="2670090" y="2314498"/>
              <a:ext cx="929330" cy="849649"/>
            </a:xfrm>
            <a:custGeom>
              <a:avLst/>
              <a:gdLst/>
              <a:ahLst/>
              <a:cxnLst/>
              <a:rect l="0" t="0" r="0" b="0"/>
              <a:pathLst>
                <a:path w="9483300" h="9842096">
                  <a:moveTo>
                    <a:pt x="7272498" y="1213760"/>
                  </a:moveTo>
                  <a:lnTo>
                    <a:pt x="7244529" y="1209664"/>
                  </a:lnTo>
                  <a:lnTo>
                    <a:pt x="7211580" y="1208245"/>
                  </a:lnTo>
                  <a:lnTo>
                    <a:pt x="7188504" y="1209585"/>
                  </a:lnTo>
                  <a:lnTo>
                    <a:pt x="7139630" y="1239512"/>
                  </a:lnTo>
                  <a:lnTo>
                    <a:pt x="7122905" y="1271465"/>
                  </a:lnTo>
                  <a:lnTo>
                    <a:pt x="7101610" y="1303047"/>
                  </a:lnTo>
                  <a:lnTo>
                    <a:pt x="7078996" y="1333819"/>
                  </a:lnTo>
                  <a:lnTo>
                    <a:pt x="7062160" y="1349297"/>
                  </a:lnTo>
                  <a:lnTo>
                    <a:pt x="7045330" y="1364769"/>
                  </a:lnTo>
                  <a:lnTo>
                    <a:pt x="7023211" y="1379898"/>
                  </a:lnTo>
                  <a:lnTo>
                    <a:pt x="6992795" y="1394183"/>
                  </a:lnTo>
                  <a:lnTo>
                    <a:pt x="6962551" y="1403019"/>
                  </a:lnTo>
                  <a:lnTo>
                    <a:pt x="6933263" y="1398944"/>
                  </a:lnTo>
                  <a:lnTo>
                    <a:pt x="6905742" y="1387383"/>
                  </a:lnTo>
                  <a:lnTo>
                    <a:pt x="6878281" y="1375275"/>
                  </a:lnTo>
                  <a:lnTo>
                    <a:pt x="6852449" y="1360912"/>
                  </a:lnTo>
                  <a:lnTo>
                    <a:pt x="6829571" y="1364254"/>
                  </a:lnTo>
                  <a:lnTo>
                    <a:pt x="6806864" y="1367578"/>
                  </a:lnTo>
                  <a:lnTo>
                    <a:pt x="6782728" y="1374682"/>
                  </a:lnTo>
                  <a:lnTo>
                    <a:pt x="6758841" y="1383301"/>
                  </a:lnTo>
                  <a:lnTo>
                    <a:pt x="6734954" y="1391921"/>
                  </a:lnTo>
                  <a:lnTo>
                    <a:pt x="6711766" y="1401629"/>
                  </a:lnTo>
                  <a:lnTo>
                    <a:pt x="6690828" y="1410504"/>
                  </a:lnTo>
                  <a:lnTo>
                    <a:pt x="6669776" y="1435625"/>
                  </a:lnTo>
                  <a:lnTo>
                    <a:pt x="6664849" y="1462011"/>
                  </a:lnTo>
                  <a:lnTo>
                    <a:pt x="6663623" y="1489392"/>
                  </a:lnTo>
                  <a:lnTo>
                    <a:pt x="6662397" y="1516781"/>
                  </a:lnTo>
                  <a:lnTo>
                    <a:pt x="6664732" y="1544863"/>
                  </a:lnTo>
                  <a:lnTo>
                    <a:pt x="6659547" y="1573728"/>
                  </a:lnTo>
                  <a:lnTo>
                    <a:pt x="6576069" y="1556661"/>
                  </a:lnTo>
                  <a:lnTo>
                    <a:pt x="6550732" y="1554683"/>
                  </a:lnTo>
                  <a:lnTo>
                    <a:pt x="6514578" y="1551860"/>
                  </a:lnTo>
                  <a:lnTo>
                    <a:pt x="6481427" y="1561422"/>
                  </a:lnTo>
                  <a:lnTo>
                    <a:pt x="6445998" y="1564205"/>
                  </a:lnTo>
                  <a:lnTo>
                    <a:pt x="6404344" y="1567502"/>
                  </a:lnTo>
                  <a:lnTo>
                    <a:pt x="6362474" y="1566013"/>
                  </a:lnTo>
                  <a:lnTo>
                    <a:pt x="6320860" y="1569646"/>
                  </a:lnTo>
                  <a:lnTo>
                    <a:pt x="6272084" y="1573900"/>
                  </a:lnTo>
                  <a:lnTo>
                    <a:pt x="6226921" y="1584887"/>
                  </a:lnTo>
                  <a:lnTo>
                    <a:pt x="6176682" y="1583252"/>
                  </a:lnTo>
                  <a:lnTo>
                    <a:pt x="6144480" y="1582190"/>
                  </a:lnTo>
                  <a:lnTo>
                    <a:pt x="6117255" y="1569073"/>
                  </a:lnTo>
                  <a:lnTo>
                    <a:pt x="6086905" y="1562847"/>
                  </a:lnTo>
                  <a:lnTo>
                    <a:pt x="6025613" y="1550303"/>
                  </a:lnTo>
                  <a:lnTo>
                    <a:pt x="5965717" y="1541400"/>
                  </a:lnTo>
                  <a:lnTo>
                    <a:pt x="5904642" y="1526120"/>
                  </a:lnTo>
                  <a:lnTo>
                    <a:pt x="5850082" y="1550964"/>
                  </a:lnTo>
                  <a:lnTo>
                    <a:pt x="5805290" y="1560816"/>
                  </a:lnTo>
                  <a:lnTo>
                    <a:pt x="5760590" y="1557287"/>
                  </a:lnTo>
                  <a:lnTo>
                    <a:pt x="5721014" y="1542442"/>
                  </a:lnTo>
                  <a:lnTo>
                    <a:pt x="5701223" y="1535016"/>
                  </a:lnTo>
                  <a:lnTo>
                    <a:pt x="5682123" y="1524986"/>
                  </a:lnTo>
                  <a:lnTo>
                    <a:pt x="5651082" y="1500057"/>
                  </a:lnTo>
                  <a:lnTo>
                    <a:pt x="5631237" y="1467629"/>
                  </a:lnTo>
                  <a:lnTo>
                    <a:pt x="5647402" y="1437946"/>
                  </a:lnTo>
                  <a:lnTo>
                    <a:pt x="5663883" y="1420028"/>
                  </a:lnTo>
                  <a:lnTo>
                    <a:pt x="5680362" y="1402103"/>
                  </a:lnTo>
                  <a:lnTo>
                    <a:pt x="5698459" y="1383056"/>
                  </a:lnTo>
                  <a:lnTo>
                    <a:pt x="5711036" y="1345097"/>
                  </a:lnTo>
                  <a:lnTo>
                    <a:pt x="5687334" y="1319225"/>
                  </a:lnTo>
                  <a:lnTo>
                    <a:pt x="5665241" y="1286726"/>
                  </a:lnTo>
                  <a:lnTo>
                    <a:pt x="5643958" y="1252505"/>
                  </a:lnTo>
                  <a:lnTo>
                    <a:pt x="5638036" y="1232317"/>
                  </a:lnTo>
                  <a:lnTo>
                    <a:pt x="5632120" y="1212130"/>
                  </a:lnTo>
                  <a:lnTo>
                    <a:pt x="5630894" y="1190426"/>
                  </a:lnTo>
                  <a:lnTo>
                    <a:pt x="5638036" y="1165670"/>
                  </a:lnTo>
                  <a:lnTo>
                    <a:pt x="5616279" y="1144110"/>
                  </a:lnTo>
                  <a:lnTo>
                    <a:pt x="5594247" y="1137291"/>
                  </a:lnTo>
                  <a:lnTo>
                    <a:pt x="5574113" y="1128942"/>
                  </a:lnTo>
                  <a:lnTo>
                    <a:pt x="5553978" y="1120593"/>
                  </a:lnTo>
                  <a:lnTo>
                    <a:pt x="5527862" y="1096297"/>
                  </a:lnTo>
                  <a:lnTo>
                    <a:pt x="5530454" y="1049520"/>
                  </a:lnTo>
                  <a:lnTo>
                    <a:pt x="5550990" y="1017409"/>
                  </a:lnTo>
                  <a:lnTo>
                    <a:pt x="5571521" y="985299"/>
                  </a:lnTo>
                  <a:lnTo>
                    <a:pt x="5602041" y="949106"/>
                  </a:lnTo>
                  <a:lnTo>
                    <a:pt x="5632602" y="914034"/>
                  </a:lnTo>
                  <a:lnTo>
                    <a:pt x="5663157" y="878955"/>
                  </a:lnTo>
                  <a:lnTo>
                    <a:pt x="5694568" y="844227"/>
                  </a:lnTo>
                  <a:lnTo>
                    <a:pt x="5716932" y="816100"/>
                  </a:lnTo>
                  <a:lnTo>
                    <a:pt x="5739295" y="787965"/>
                  </a:lnTo>
                  <a:lnTo>
                    <a:pt x="5752266" y="766164"/>
                  </a:lnTo>
                  <a:lnTo>
                    <a:pt x="5724687" y="742125"/>
                  </a:lnTo>
                  <a:lnTo>
                    <a:pt x="5699296" y="732549"/>
                  </a:lnTo>
                  <a:lnTo>
                    <a:pt x="5674764" y="720883"/>
                  </a:lnTo>
                  <a:lnTo>
                    <a:pt x="5650231" y="709217"/>
                  </a:lnTo>
                  <a:lnTo>
                    <a:pt x="5627221" y="695334"/>
                  </a:lnTo>
                  <a:lnTo>
                    <a:pt x="5606757" y="677357"/>
                  </a:lnTo>
                  <a:lnTo>
                    <a:pt x="5567920" y="624281"/>
                  </a:lnTo>
                  <a:lnTo>
                    <a:pt x="5546908" y="582145"/>
                  </a:lnTo>
                  <a:lnTo>
                    <a:pt x="5525890" y="540004"/>
                  </a:lnTo>
                  <a:lnTo>
                    <a:pt x="5507286" y="495844"/>
                  </a:lnTo>
                  <a:lnTo>
                    <a:pt x="5495118" y="453242"/>
                  </a:lnTo>
                  <a:lnTo>
                    <a:pt x="5508374" y="428082"/>
                  </a:lnTo>
                  <a:lnTo>
                    <a:pt x="5506092" y="403958"/>
                  </a:lnTo>
                  <a:lnTo>
                    <a:pt x="5503672" y="378600"/>
                  </a:lnTo>
                  <a:lnTo>
                    <a:pt x="5481822" y="342704"/>
                  </a:lnTo>
                  <a:lnTo>
                    <a:pt x="5484335" y="319622"/>
                  </a:lnTo>
                  <a:lnTo>
                    <a:pt x="5487726" y="288554"/>
                  </a:lnTo>
                  <a:lnTo>
                    <a:pt x="5527243" y="227043"/>
                  </a:lnTo>
                  <a:lnTo>
                    <a:pt x="5508585" y="193937"/>
                  </a:lnTo>
                  <a:lnTo>
                    <a:pt x="5483967" y="179553"/>
                  </a:lnTo>
                  <a:lnTo>
                    <a:pt x="5457125" y="168645"/>
                  </a:lnTo>
                  <a:lnTo>
                    <a:pt x="5430291" y="157737"/>
                  </a:lnTo>
                  <a:lnTo>
                    <a:pt x="5401702" y="149177"/>
                  </a:lnTo>
                  <a:lnTo>
                    <a:pt x="5379596" y="145516"/>
                  </a:lnTo>
                  <a:lnTo>
                    <a:pt x="5409286" y="71792"/>
                  </a:lnTo>
                  <a:lnTo>
                    <a:pt x="5402723" y="47583"/>
                  </a:lnTo>
                  <a:lnTo>
                    <a:pt x="5367949" y="35962"/>
                  </a:lnTo>
                  <a:lnTo>
                    <a:pt x="5109000" y="0"/>
                  </a:lnTo>
                  <a:lnTo>
                    <a:pt x="5091141" y="24111"/>
                  </a:lnTo>
                  <a:lnTo>
                    <a:pt x="5086003" y="49145"/>
                  </a:lnTo>
                  <a:lnTo>
                    <a:pt x="5080352" y="73428"/>
                  </a:lnTo>
                  <a:lnTo>
                    <a:pt x="5074706" y="97710"/>
                  </a:lnTo>
                  <a:lnTo>
                    <a:pt x="5068269" y="121597"/>
                  </a:lnTo>
                  <a:lnTo>
                    <a:pt x="5051790" y="138717"/>
                  </a:lnTo>
                  <a:lnTo>
                    <a:pt x="5023953" y="167636"/>
                  </a:lnTo>
                  <a:lnTo>
                    <a:pt x="4983836" y="181221"/>
                  </a:lnTo>
                  <a:lnTo>
                    <a:pt x="4945691" y="194484"/>
                  </a:lnTo>
                  <a:lnTo>
                    <a:pt x="4907552" y="207753"/>
                  </a:lnTo>
                  <a:lnTo>
                    <a:pt x="4870765" y="221253"/>
                  </a:lnTo>
                  <a:lnTo>
                    <a:pt x="4847763" y="250257"/>
                  </a:lnTo>
                  <a:lnTo>
                    <a:pt x="4828439" y="274612"/>
                  </a:lnTo>
                  <a:lnTo>
                    <a:pt x="4810970" y="319965"/>
                  </a:lnTo>
                  <a:lnTo>
                    <a:pt x="4796072" y="348191"/>
                  </a:lnTo>
                  <a:lnTo>
                    <a:pt x="4781642" y="375560"/>
                  </a:lnTo>
                  <a:lnTo>
                    <a:pt x="4780112" y="414608"/>
                  </a:lnTo>
                  <a:lnTo>
                    <a:pt x="4762068" y="442044"/>
                  </a:lnTo>
                  <a:lnTo>
                    <a:pt x="4746385" y="465877"/>
                  </a:lnTo>
                  <a:lnTo>
                    <a:pt x="4721398" y="477036"/>
                  </a:lnTo>
                  <a:lnTo>
                    <a:pt x="4692697" y="480128"/>
                  </a:lnTo>
                  <a:lnTo>
                    <a:pt x="4663996" y="483221"/>
                  </a:lnTo>
                  <a:lnTo>
                    <a:pt x="4631595" y="478474"/>
                  </a:lnTo>
                  <a:lnTo>
                    <a:pt x="4597480" y="470607"/>
                  </a:lnTo>
                  <a:lnTo>
                    <a:pt x="4529256" y="454883"/>
                  </a:lnTo>
                  <a:lnTo>
                    <a:pt x="4456705" y="427898"/>
                  </a:lnTo>
                  <a:lnTo>
                    <a:pt x="4412492" y="427079"/>
                  </a:lnTo>
                  <a:lnTo>
                    <a:pt x="4389753" y="433285"/>
                  </a:lnTo>
                  <a:lnTo>
                    <a:pt x="4327246" y="479832"/>
                  </a:lnTo>
                  <a:lnTo>
                    <a:pt x="4285996" y="491010"/>
                  </a:lnTo>
                  <a:lnTo>
                    <a:pt x="4194867" y="515491"/>
                  </a:lnTo>
                  <a:lnTo>
                    <a:pt x="4188233" y="488888"/>
                  </a:lnTo>
                  <a:lnTo>
                    <a:pt x="4146797" y="444160"/>
                  </a:lnTo>
                  <a:lnTo>
                    <a:pt x="4126854" y="427079"/>
                  </a:lnTo>
                  <a:lnTo>
                    <a:pt x="4095983" y="400640"/>
                  </a:lnTo>
                  <a:lnTo>
                    <a:pt x="4071636" y="390122"/>
                  </a:lnTo>
                  <a:lnTo>
                    <a:pt x="4049324" y="387635"/>
                  </a:lnTo>
                  <a:lnTo>
                    <a:pt x="4027014" y="385150"/>
                  </a:lnTo>
                  <a:lnTo>
                    <a:pt x="4007123" y="391751"/>
                  </a:lnTo>
                  <a:lnTo>
                    <a:pt x="3971828" y="410723"/>
                  </a:lnTo>
                  <a:lnTo>
                    <a:pt x="3939151" y="432520"/>
                  </a:lnTo>
                  <a:lnTo>
                    <a:pt x="3904778" y="448631"/>
                  </a:lnTo>
                  <a:lnTo>
                    <a:pt x="3857367" y="442703"/>
                  </a:lnTo>
                  <a:lnTo>
                    <a:pt x="3823502" y="422330"/>
                  </a:lnTo>
                  <a:lnTo>
                    <a:pt x="3789524" y="406676"/>
                  </a:lnTo>
                  <a:lnTo>
                    <a:pt x="3755384" y="392667"/>
                  </a:lnTo>
                  <a:lnTo>
                    <a:pt x="3723015" y="385320"/>
                  </a:lnTo>
                  <a:lnTo>
                    <a:pt x="3694308" y="390353"/>
                  </a:lnTo>
                  <a:lnTo>
                    <a:pt x="3670519" y="409286"/>
                  </a:lnTo>
                  <a:lnTo>
                    <a:pt x="3658946" y="428439"/>
                  </a:lnTo>
                  <a:lnTo>
                    <a:pt x="3647372" y="447589"/>
                  </a:lnTo>
                  <a:lnTo>
                    <a:pt x="3634538" y="471245"/>
                  </a:lnTo>
                  <a:lnTo>
                    <a:pt x="3620860" y="495086"/>
                  </a:lnTo>
                  <a:lnTo>
                    <a:pt x="3607182" y="518934"/>
                  </a:lnTo>
                  <a:lnTo>
                    <a:pt x="3592001" y="542873"/>
                  </a:lnTo>
                  <a:lnTo>
                    <a:pt x="3573252" y="561741"/>
                  </a:lnTo>
                  <a:lnTo>
                    <a:pt x="3554509" y="580609"/>
                  </a:lnTo>
                  <a:lnTo>
                    <a:pt x="3532027" y="594233"/>
                  </a:lnTo>
                  <a:lnTo>
                    <a:pt x="3505245" y="598461"/>
                  </a:lnTo>
                  <a:lnTo>
                    <a:pt x="3475463" y="603163"/>
                  </a:lnTo>
                  <a:lnTo>
                    <a:pt x="3449254" y="600836"/>
                  </a:lnTo>
                  <a:lnTo>
                    <a:pt x="3423633" y="594385"/>
                  </a:lnTo>
                  <a:lnTo>
                    <a:pt x="3398012" y="587930"/>
                  </a:lnTo>
                  <a:lnTo>
                    <a:pt x="3373703" y="578195"/>
                  </a:lnTo>
                  <a:lnTo>
                    <a:pt x="3350179" y="565822"/>
                  </a:lnTo>
                  <a:lnTo>
                    <a:pt x="3303131" y="541086"/>
                  </a:lnTo>
                  <a:lnTo>
                    <a:pt x="3258417" y="509384"/>
                  </a:lnTo>
                  <a:lnTo>
                    <a:pt x="3207360" y="492376"/>
                  </a:lnTo>
                  <a:lnTo>
                    <a:pt x="3183947" y="484573"/>
                  </a:lnTo>
                  <a:lnTo>
                    <a:pt x="3162462" y="489579"/>
                  </a:lnTo>
                  <a:lnTo>
                    <a:pt x="3142071" y="499175"/>
                  </a:lnTo>
                  <a:lnTo>
                    <a:pt x="3121678" y="508770"/>
                  </a:lnTo>
                  <a:lnTo>
                    <a:pt x="3101855" y="523089"/>
                  </a:lnTo>
                  <a:lnTo>
                    <a:pt x="3082222" y="530462"/>
                  </a:lnTo>
                  <a:lnTo>
                    <a:pt x="3049979" y="542563"/>
                  </a:lnTo>
                  <a:lnTo>
                    <a:pt x="3018060" y="542892"/>
                  </a:lnTo>
                  <a:lnTo>
                    <a:pt x="2985646" y="546783"/>
                  </a:lnTo>
                  <a:lnTo>
                    <a:pt x="2931897" y="553240"/>
                  </a:lnTo>
                  <a:lnTo>
                    <a:pt x="2871264" y="565974"/>
                  </a:lnTo>
                  <a:lnTo>
                    <a:pt x="2816980" y="559024"/>
                  </a:lnTo>
                  <a:lnTo>
                    <a:pt x="2794413" y="556135"/>
                  </a:lnTo>
                  <a:lnTo>
                    <a:pt x="2771562" y="548867"/>
                  </a:lnTo>
                  <a:lnTo>
                    <a:pt x="2748974" y="546783"/>
                  </a:lnTo>
                  <a:lnTo>
                    <a:pt x="2728049" y="544852"/>
                  </a:lnTo>
                  <a:lnTo>
                    <a:pt x="2696538" y="550048"/>
                  </a:lnTo>
                  <a:lnTo>
                    <a:pt x="2664639" y="557659"/>
                  </a:lnTo>
                  <a:lnTo>
                    <a:pt x="2632745" y="565269"/>
                  </a:lnTo>
                  <a:lnTo>
                    <a:pt x="2601169" y="574371"/>
                  </a:lnTo>
                  <a:lnTo>
                    <a:pt x="2580310" y="579428"/>
                  </a:lnTo>
                  <a:lnTo>
                    <a:pt x="2540438" y="589097"/>
                  </a:lnTo>
                  <a:lnTo>
                    <a:pt x="2481669" y="613886"/>
                  </a:lnTo>
                  <a:lnTo>
                    <a:pt x="2422527" y="632471"/>
                  </a:lnTo>
                  <a:lnTo>
                    <a:pt x="2392955" y="641764"/>
                  </a:lnTo>
                  <a:lnTo>
                    <a:pt x="2362638" y="649123"/>
                  </a:lnTo>
                  <a:lnTo>
                    <a:pt x="2335473" y="652876"/>
                  </a:lnTo>
                  <a:lnTo>
                    <a:pt x="2308309" y="656628"/>
                  </a:lnTo>
                  <a:lnTo>
                    <a:pt x="2283322" y="657130"/>
                  </a:lnTo>
                  <a:lnTo>
                    <a:pt x="2263385" y="650152"/>
                  </a:lnTo>
                  <a:lnTo>
                    <a:pt x="2225807" y="635564"/>
                  </a:lnTo>
                  <a:lnTo>
                    <a:pt x="2186700" y="621213"/>
                  </a:lnTo>
                  <a:lnTo>
                    <a:pt x="2165885" y="614810"/>
                  </a:lnTo>
                  <a:lnTo>
                    <a:pt x="2110740" y="599338"/>
                  </a:lnTo>
                  <a:lnTo>
                    <a:pt x="2039073" y="606513"/>
                  </a:lnTo>
                  <a:lnTo>
                    <a:pt x="1966859" y="618866"/>
                  </a:lnTo>
                  <a:lnTo>
                    <a:pt x="1894645" y="631218"/>
                  </a:lnTo>
                  <a:lnTo>
                    <a:pt x="1822542" y="648265"/>
                  </a:lnTo>
                  <a:lnTo>
                    <a:pt x="1785953" y="655592"/>
                  </a:lnTo>
                  <a:lnTo>
                    <a:pt x="1752880" y="654571"/>
                  </a:lnTo>
                  <a:lnTo>
                    <a:pt x="1736611" y="671461"/>
                  </a:lnTo>
                  <a:lnTo>
                    <a:pt x="1728769" y="717348"/>
                  </a:lnTo>
                  <a:lnTo>
                    <a:pt x="1711346" y="743463"/>
                  </a:lnTo>
                  <a:lnTo>
                    <a:pt x="1669725" y="739243"/>
                  </a:lnTo>
                  <a:lnTo>
                    <a:pt x="1628171" y="737198"/>
                  </a:lnTo>
                  <a:lnTo>
                    <a:pt x="1586787" y="736803"/>
                  </a:lnTo>
                  <a:lnTo>
                    <a:pt x="1552574" y="740291"/>
                  </a:lnTo>
                  <a:lnTo>
                    <a:pt x="1534319" y="752161"/>
                  </a:lnTo>
                  <a:lnTo>
                    <a:pt x="1573222" y="772250"/>
                  </a:lnTo>
                  <a:lnTo>
                    <a:pt x="1598242" y="787524"/>
                  </a:lnTo>
                  <a:lnTo>
                    <a:pt x="1623264" y="802805"/>
                  </a:lnTo>
                  <a:lnTo>
                    <a:pt x="1645384" y="820267"/>
                  </a:lnTo>
                  <a:lnTo>
                    <a:pt x="1646353" y="852602"/>
                  </a:lnTo>
                  <a:lnTo>
                    <a:pt x="1623976" y="879978"/>
                  </a:lnTo>
                  <a:lnTo>
                    <a:pt x="1598242" y="904504"/>
                  </a:lnTo>
                  <a:lnTo>
                    <a:pt x="1572509" y="929024"/>
                  </a:lnTo>
                  <a:lnTo>
                    <a:pt x="1543657" y="950399"/>
                  </a:lnTo>
                  <a:lnTo>
                    <a:pt x="1504081" y="958648"/>
                  </a:lnTo>
                  <a:lnTo>
                    <a:pt x="1482819" y="952272"/>
                  </a:lnTo>
                  <a:lnTo>
                    <a:pt x="1460865" y="945306"/>
                  </a:lnTo>
                  <a:lnTo>
                    <a:pt x="1438903" y="938350"/>
                  </a:lnTo>
                  <a:lnTo>
                    <a:pt x="1416295" y="931358"/>
                  </a:lnTo>
                  <a:lnTo>
                    <a:pt x="1394216" y="931709"/>
                  </a:lnTo>
                  <a:lnTo>
                    <a:pt x="1364685" y="974450"/>
                  </a:lnTo>
                  <a:lnTo>
                    <a:pt x="1347966" y="1010597"/>
                  </a:lnTo>
                  <a:lnTo>
                    <a:pt x="1331254" y="1046743"/>
                  </a:lnTo>
                  <a:lnTo>
                    <a:pt x="1317425" y="1085495"/>
                  </a:lnTo>
                  <a:lnTo>
                    <a:pt x="1342934" y="1122571"/>
                  </a:lnTo>
                  <a:lnTo>
                    <a:pt x="1371880" y="1134456"/>
                  </a:lnTo>
                  <a:lnTo>
                    <a:pt x="1401016" y="1146616"/>
                  </a:lnTo>
                  <a:lnTo>
                    <a:pt x="1430152" y="1158785"/>
                  </a:lnTo>
                  <a:lnTo>
                    <a:pt x="1458972" y="1170945"/>
                  </a:lnTo>
                  <a:lnTo>
                    <a:pt x="1483986" y="1191508"/>
                  </a:lnTo>
                  <a:lnTo>
                    <a:pt x="1511369" y="1214009"/>
                  </a:lnTo>
                  <a:lnTo>
                    <a:pt x="1531087" y="1233379"/>
                  </a:lnTo>
                  <a:lnTo>
                    <a:pt x="1543835" y="1251357"/>
                  </a:lnTo>
                  <a:lnTo>
                    <a:pt x="1556583" y="1269328"/>
                  </a:lnTo>
                  <a:lnTo>
                    <a:pt x="1562880" y="1303041"/>
                  </a:lnTo>
                  <a:lnTo>
                    <a:pt x="1564972" y="1338231"/>
                  </a:lnTo>
                  <a:lnTo>
                    <a:pt x="1547825" y="1376461"/>
                  </a:lnTo>
                  <a:lnTo>
                    <a:pt x="1520714" y="1434979"/>
                  </a:lnTo>
                  <a:lnTo>
                    <a:pt x="1492006" y="1496958"/>
                  </a:lnTo>
                  <a:lnTo>
                    <a:pt x="1464393" y="1556912"/>
                  </a:lnTo>
                  <a:lnTo>
                    <a:pt x="1426861" y="1614524"/>
                  </a:lnTo>
                  <a:lnTo>
                    <a:pt x="1381336" y="1659311"/>
                  </a:lnTo>
                  <a:lnTo>
                    <a:pt x="1386052" y="1694778"/>
                  </a:lnTo>
                  <a:lnTo>
                    <a:pt x="1416382" y="1720702"/>
                  </a:lnTo>
                  <a:lnTo>
                    <a:pt x="1445504" y="1750473"/>
                  </a:lnTo>
                  <a:lnTo>
                    <a:pt x="1458635" y="1766952"/>
                  </a:lnTo>
                  <a:lnTo>
                    <a:pt x="1473402" y="1794777"/>
                  </a:lnTo>
                  <a:lnTo>
                    <a:pt x="1467664" y="1829440"/>
                  </a:lnTo>
                  <a:lnTo>
                    <a:pt x="1451447" y="1864934"/>
                  </a:lnTo>
                  <a:lnTo>
                    <a:pt x="1426755" y="1891879"/>
                  </a:lnTo>
                  <a:lnTo>
                    <a:pt x="1395574" y="1900170"/>
                  </a:lnTo>
                  <a:lnTo>
                    <a:pt x="1362534" y="1889374"/>
                  </a:lnTo>
                  <a:lnTo>
                    <a:pt x="1345249" y="1864802"/>
                  </a:lnTo>
                  <a:lnTo>
                    <a:pt x="1311820" y="1861787"/>
                  </a:lnTo>
                  <a:lnTo>
                    <a:pt x="1279386" y="1865250"/>
                  </a:lnTo>
                  <a:lnTo>
                    <a:pt x="1258197" y="1885205"/>
                  </a:lnTo>
                  <a:lnTo>
                    <a:pt x="1243470" y="1912990"/>
                  </a:lnTo>
                  <a:lnTo>
                    <a:pt x="1230518" y="1964305"/>
                  </a:lnTo>
                  <a:lnTo>
                    <a:pt x="1227932" y="2004271"/>
                  </a:lnTo>
                  <a:lnTo>
                    <a:pt x="1220111" y="2030749"/>
                  </a:lnTo>
                  <a:lnTo>
                    <a:pt x="1260254" y="2073747"/>
                  </a:lnTo>
                  <a:lnTo>
                    <a:pt x="1297641" y="2102837"/>
                  </a:lnTo>
                  <a:lnTo>
                    <a:pt x="1335028" y="2131928"/>
                  </a:lnTo>
                  <a:lnTo>
                    <a:pt x="1375394" y="2160055"/>
                  </a:lnTo>
                  <a:lnTo>
                    <a:pt x="1387417" y="2187173"/>
                  </a:lnTo>
                  <a:lnTo>
                    <a:pt x="1377360" y="2207935"/>
                  </a:lnTo>
                  <a:lnTo>
                    <a:pt x="1332053" y="2219542"/>
                  </a:lnTo>
                  <a:lnTo>
                    <a:pt x="1313964" y="2233417"/>
                  </a:lnTo>
                  <a:lnTo>
                    <a:pt x="1292853" y="2255787"/>
                  </a:lnTo>
                  <a:lnTo>
                    <a:pt x="1283389" y="2281784"/>
                  </a:lnTo>
                  <a:lnTo>
                    <a:pt x="1284041" y="2309587"/>
                  </a:lnTo>
                  <a:lnTo>
                    <a:pt x="1292846" y="2335473"/>
                  </a:lnTo>
                  <a:lnTo>
                    <a:pt x="1310614" y="2357157"/>
                  </a:lnTo>
                  <a:lnTo>
                    <a:pt x="1337091" y="2370802"/>
                  </a:lnTo>
                  <a:lnTo>
                    <a:pt x="1377301" y="2385753"/>
                  </a:lnTo>
                  <a:lnTo>
                    <a:pt x="1422120" y="2386319"/>
                  </a:lnTo>
                  <a:lnTo>
                    <a:pt x="1467671" y="2383042"/>
                  </a:lnTo>
                  <a:lnTo>
                    <a:pt x="1513227" y="2379764"/>
                  </a:lnTo>
                  <a:lnTo>
                    <a:pt x="1560006" y="2373591"/>
                  </a:lnTo>
                  <a:lnTo>
                    <a:pt x="1602332" y="2377602"/>
                  </a:lnTo>
                  <a:lnTo>
                    <a:pt x="1634488" y="2420376"/>
                  </a:lnTo>
                  <a:lnTo>
                    <a:pt x="1649940" y="2463296"/>
                  </a:lnTo>
                  <a:lnTo>
                    <a:pt x="1665392" y="2506208"/>
                  </a:lnTo>
                  <a:lnTo>
                    <a:pt x="1676484" y="2550974"/>
                  </a:lnTo>
                  <a:lnTo>
                    <a:pt x="1649261" y="2567415"/>
                  </a:lnTo>
                  <a:lnTo>
                    <a:pt x="1595731" y="2578621"/>
                  </a:lnTo>
                  <a:lnTo>
                    <a:pt x="1556082" y="2599315"/>
                  </a:lnTo>
                  <a:lnTo>
                    <a:pt x="1536263" y="2609662"/>
                  </a:lnTo>
                  <a:lnTo>
                    <a:pt x="1512555" y="2637401"/>
                  </a:lnTo>
                  <a:lnTo>
                    <a:pt x="1506310" y="2672630"/>
                  </a:lnTo>
                  <a:lnTo>
                    <a:pt x="1522078" y="2694527"/>
                  </a:lnTo>
                  <a:lnTo>
                    <a:pt x="1535077" y="2712577"/>
                  </a:lnTo>
                  <a:lnTo>
                    <a:pt x="1557447" y="2746216"/>
                  </a:lnTo>
                  <a:lnTo>
                    <a:pt x="1560191" y="2780531"/>
                  </a:lnTo>
                  <a:lnTo>
                    <a:pt x="1560138" y="2820713"/>
                  </a:lnTo>
                  <a:lnTo>
                    <a:pt x="1572404" y="2849592"/>
                  </a:lnTo>
                  <a:lnTo>
                    <a:pt x="1599608" y="2867273"/>
                  </a:lnTo>
                  <a:lnTo>
                    <a:pt x="1635121" y="2870214"/>
                  </a:lnTo>
                  <a:lnTo>
                    <a:pt x="1671940" y="2878999"/>
                  </a:lnTo>
                  <a:lnTo>
                    <a:pt x="1690742" y="2901277"/>
                  </a:lnTo>
                  <a:lnTo>
                    <a:pt x="1698723" y="2927564"/>
                  </a:lnTo>
                  <a:lnTo>
                    <a:pt x="1695188" y="2975212"/>
                  </a:lnTo>
                  <a:lnTo>
                    <a:pt x="1682856" y="3011496"/>
                  </a:lnTo>
                  <a:lnTo>
                    <a:pt x="1686660" y="3040020"/>
                  </a:lnTo>
                  <a:lnTo>
                    <a:pt x="1689952" y="3064671"/>
                  </a:lnTo>
                  <a:lnTo>
                    <a:pt x="1729000" y="3110131"/>
                  </a:lnTo>
                  <a:lnTo>
                    <a:pt x="1742427" y="3127072"/>
                  </a:lnTo>
                  <a:lnTo>
                    <a:pt x="1776424" y="3169346"/>
                  </a:lnTo>
                  <a:lnTo>
                    <a:pt x="1784754" y="3191623"/>
                  </a:lnTo>
                  <a:lnTo>
                    <a:pt x="1784397" y="3225739"/>
                  </a:lnTo>
                  <a:lnTo>
                    <a:pt x="1765549" y="3249487"/>
                  </a:lnTo>
                  <a:lnTo>
                    <a:pt x="1740113" y="3271481"/>
                  </a:lnTo>
                  <a:lnTo>
                    <a:pt x="1714821" y="3300947"/>
                  </a:lnTo>
                  <a:lnTo>
                    <a:pt x="1703504" y="3319313"/>
                  </a:lnTo>
                  <a:lnTo>
                    <a:pt x="1698901" y="3346062"/>
                  </a:lnTo>
                  <a:lnTo>
                    <a:pt x="1694305" y="3373629"/>
                  </a:lnTo>
                  <a:lnTo>
                    <a:pt x="1703445" y="3418205"/>
                  </a:lnTo>
                  <a:lnTo>
                    <a:pt x="1718165" y="3442441"/>
                  </a:lnTo>
                  <a:lnTo>
                    <a:pt x="1734270" y="3464402"/>
                  </a:lnTo>
                  <a:lnTo>
                    <a:pt x="1750380" y="3486356"/>
                  </a:lnTo>
                  <a:lnTo>
                    <a:pt x="1767555" y="3506438"/>
                  </a:lnTo>
                  <a:lnTo>
                    <a:pt x="1780520" y="3536491"/>
                  </a:lnTo>
                  <a:lnTo>
                    <a:pt x="1791935" y="3562956"/>
                  </a:lnTo>
                  <a:lnTo>
                    <a:pt x="1792818" y="3590529"/>
                  </a:lnTo>
                  <a:lnTo>
                    <a:pt x="1791401" y="3618103"/>
                  </a:lnTo>
                  <a:lnTo>
                    <a:pt x="1789983" y="3645676"/>
                  </a:lnTo>
                  <a:lnTo>
                    <a:pt x="1786805" y="3672946"/>
                  </a:lnTo>
                  <a:lnTo>
                    <a:pt x="1792759" y="3699715"/>
                  </a:lnTo>
                  <a:lnTo>
                    <a:pt x="1806865" y="3738782"/>
                  </a:lnTo>
                  <a:lnTo>
                    <a:pt x="1814522" y="3763646"/>
                  </a:lnTo>
                  <a:lnTo>
                    <a:pt x="1822179" y="3788508"/>
                  </a:lnTo>
                  <a:lnTo>
                    <a:pt x="1826954" y="3812368"/>
                  </a:lnTo>
                  <a:lnTo>
                    <a:pt x="1811093" y="3834950"/>
                  </a:lnTo>
                  <a:lnTo>
                    <a:pt x="1789053" y="3854958"/>
                  </a:lnTo>
                  <a:lnTo>
                    <a:pt x="1712902" y="3853957"/>
                  </a:lnTo>
                  <a:lnTo>
                    <a:pt x="1682506" y="3850969"/>
                  </a:lnTo>
                  <a:lnTo>
                    <a:pt x="1654010" y="3854774"/>
                  </a:lnTo>
                  <a:lnTo>
                    <a:pt x="1625520" y="3858580"/>
                  </a:lnTo>
                  <a:lnTo>
                    <a:pt x="1599331" y="3869171"/>
                  </a:lnTo>
                  <a:lnTo>
                    <a:pt x="1543835" y="3894224"/>
                  </a:lnTo>
                  <a:lnTo>
                    <a:pt x="1523436" y="3909181"/>
                  </a:lnTo>
                  <a:lnTo>
                    <a:pt x="1507056" y="3924714"/>
                  </a:lnTo>
                  <a:lnTo>
                    <a:pt x="1486511" y="3958710"/>
                  </a:lnTo>
                  <a:lnTo>
                    <a:pt x="1471430" y="3988710"/>
                  </a:lnTo>
                  <a:lnTo>
                    <a:pt x="1451341" y="4008481"/>
                  </a:lnTo>
                  <a:lnTo>
                    <a:pt x="1430099" y="4025272"/>
                  </a:lnTo>
                  <a:lnTo>
                    <a:pt x="1401859" y="4032493"/>
                  </a:lnTo>
                  <a:lnTo>
                    <a:pt x="1364289" y="4027521"/>
                  </a:lnTo>
                  <a:lnTo>
                    <a:pt x="1339361" y="4021723"/>
                  </a:lnTo>
                  <a:lnTo>
                    <a:pt x="1301340" y="4006140"/>
                  </a:lnTo>
                  <a:lnTo>
                    <a:pt x="1279960" y="3992159"/>
                  </a:lnTo>
                  <a:lnTo>
                    <a:pt x="1256324" y="3976707"/>
                  </a:lnTo>
                  <a:lnTo>
                    <a:pt x="1236665" y="3951073"/>
                  </a:lnTo>
                  <a:lnTo>
                    <a:pt x="1213305" y="3935034"/>
                  </a:lnTo>
                  <a:lnTo>
                    <a:pt x="1195710" y="3922926"/>
                  </a:lnTo>
                  <a:lnTo>
                    <a:pt x="1173980" y="3920735"/>
                  </a:lnTo>
                  <a:lnTo>
                    <a:pt x="1152098" y="3918705"/>
                  </a:lnTo>
                  <a:lnTo>
                    <a:pt x="1130223" y="3916674"/>
                  </a:lnTo>
                  <a:lnTo>
                    <a:pt x="1108999" y="3915454"/>
                  </a:lnTo>
                  <a:lnTo>
                    <a:pt x="1089532" y="3906465"/>
                  </a:lnTo>
                  <a:lnTo>
                    <a:pt x="1051552" y="3888954"/>
                  </a:lnTo>
                  <a:lnTo>
                    <a:pt x="1019414" y="3845153"/>
                  </a:lnTo>
                  <a:lnTo>
                    <a:pt x="983433" y="3833017"/>
                  </a:lnTo>
                  <a:lnTo>
                    <a:pt x="935824" y="3816081"/>
                  </a:lnTo>
                  <a:lnTo>
                    <a:pt x="901821" y="3807172"/>
                  </a:lnTo>
                  <a:lnTo>
                    <a:pt x="867817" y="3798256"/>
                  </a:lnTo>
                  <a:lnTo>
                    <a:pt x="835074" y="3792174"/>
                  </a:lnTo>
                  <a:lnTo>
                    <a:pt x="800603" y="3831698"/>
                  </a:lnTo>
                  <a:lnTo>
                    <a:pt x="789537" y="3870278"/>
                  </a:lnTo>
                  <a:lnTo>
                    <a:pt x="776683" y="3906465"/>
                  </a:lnTo>
                  <a:lnTo>
                    <a:pt x="763836" y="3942650"/>
                  </a:lnTo>
                  <a:lnTo>
                    <a:pt x="748252" y="3976503"/>
                  </a:lnTo>
                  <a:lnTo>
                    <a:pt x="716834" y="4000317"/>
                  </a:lnTo>
                  <a:lnTo>
                    <a:pt x="691022" y="4002605"/>
                  </a:lnTo>
                  <a:lnTo>
                    <a:pt x="665763" y="3997244"/>
                  </a:lnTo>
                  <a:lnTo>
                    <a:pt x="640664" y="3990801"/>
                  </a:lnTo>
                  <a:lnTo>
                    <a:pt x="615569" y="3984364"/>
                  </a:lnTo>
                  <a:lnTo>
                    <a:pt x="591498" y="3977182"/>
                  </a:lnTo>
                  <a:lnTo>
                    <a:pt x="565850" y="3975836"/>
                  </a:lnTo>
                  <a:lnTo>
                    <a:pt x="524559" y="3973667"/>
                  </a:lnTo>
                  <a:lnTo>
                    <a:pt x="480842" y="3976713"/>
                  </a:lnTo>
                  <a:lnTo>
                    <a:pt x="439354" y="3977196"/>
                  </a:lnTo>
                  <a:lnTo>
                    <a:pt x="421845" y="3989989"/>
                  </a:lnTo>
                  <a:lnTo>
                    <a:pt x="403055" y="4032625"/>
                  </a:lnTo>
                  <a:lnTo>
                    <a:pt x="412901" y="4088793"/>
                  </a:lnTo>
                  <a:lnTo>
                    <a:pt x="395827" y="4110491"/>
                  </a:lnTo>
                  <a:lnTo>
                    <a:pt x="380297" y="4130282"/>
                  </a:lnTo>
                  <a:lnTo>
                    <a:pt x="352301" y="4166265"/>
                  </a:lnTo>
                  <a:lnTo>
                    <a:pt x="344717" y="4186412"/>
                  </a:lnTo>
                  <a:lnTo>
                    <a:pt x="358189" y="4224920"/>
                  </a:lnTo>
                  <a:lnTo>
                    <a:pt x="363189" y="4262834"/>
                  </a:lnTo>
                  <a:lnTo>
                    <a:pt x="314538" y="4274064"/>
                  </a:lnTo>
                  <a:lnTo>
                    <a:pt x="291297" y="4278608"/>
                  </a:lnTo>
                  <a:lnTo>
                    <a:pt x="260975" y="4296038"/>
                  </a:lnTo>
                  <a:lnTo>
                    <a:pt x="248933" y="4324047"/>
                  </a:lnTo>
                  <a:lnTo>
                    <a:pt x="239277" y="4354866"/>
                  </a:lnTo>
                  <a:lnTo>
                    <a:pt x="240556" y="4396223"/>
                  </a:lnTo>
                  <a:lnTo>
                    <a:pt x="214928" y="4435580"/>
                  </a:lnTo>
                  <a:lnTo>
                    <a:pt x="193713" y="4468159"/>
                  </a:lnTo>
                  <a:lnTo>
                    <a:pt x="147021" y="4483591"/>
                  </a:lnTo>
                  <a:lnTo>
                    <a:pt x="115637" y="4526716"/>
                  </a:lnTo>
                  <a:lnTo>
                    <a:pt x="82180" y="4539978"/>
                  </a:lnTo>
                  <a:lnTo>
                    <a:pt x="83043" y="4584045"/>
                  </a:lnTo>
                  <a:lnTo>
                    <a:pt x="78137" y="4607570"/>
                  </a:lnTo>
                  <a:lnTo>
                    <a:pt x="68027" y="4628733"/>
                  </a:lnTo>
                  <a:lnTo>
                    <a:pt x="57904" y="4649888"/>
                  </a:lnTo>
                  <a:lnTo>
                    <a:pt x="42057" y="4668921"/>
                  </a:lnTo>
                  <a:lnTo>
                    <a:pt x="24501" y="4691298"/>
                  </a:lnTo>
                  <a:lnTo>
                    <a:pt x="20426" y="4739586"/>
                  </a:lnTo>
                  <a:lnTo>
                    <a:pt x="34848" y="4757629"/>
                  </a:lnTo>
                  <a:lnTo>
                    <a:pt x="65865" y="4791369"/>
                  </a:lnTo>
                  <a:lnTo>
                    <a:pt x="87066" y="4827317"/>
                  </a:lnTo>
                  <a:lnTo>
                    <a:pt x="104675" y="4864593"/>
                  </a:lnTo>
                  <a:lnTo>
                    <a:pt x="107544" y="4896143"/>
                  </a:lnTo>
                  <a:lnTo>
                    <a:pt x="87066" y="4915729"/>
                  </a:lnTo>
                  <a:lnTo>
                    <a:pt x="21771" y="4945656"/>
                  </a:lnTo>
                  <a:lnTo>
                    <a:pt x="7558" y="4964867"/>
                  </a:lnTo>
                  <a:lnTo>
                    <a:pt x="628" y="4997169"/>
                  </a:lnTo>
                  <a:lnTo>
                    <a:pt x="4090" y="5021828"/>
                  </a:lnTo>
                  <a:lnTo>
                    <a:pt x="22047" y="5056319"/>
                  </a:lnTo>
                  <a:lnTo>
                    <a:pt x="43581" y="5092242"/>
                  </a:lnTo>
                  <a:lnTo>
                    <a:pt x="58498" y="5127919"/>
                  </a:lnTo>
                  <a:lnTo>
                    <a:pt x="111995" y="5315928"/>
                  </a:lnTo>
                  <a:lnTo>
                    <a:pt x="107023" y="5348830"/>
                  </a:lnTo>
                  <a:lnTo>
                    <a:pt x="97737" y="5369504"/>
                  </a:lnTo>
                  <a:lnTo>
                    <a:pt x="93866" y="5390443"/>
                  </a:lnTo>
                  <a:lnTo>
                    <a:pt x="85820" y="5434147"/>
                  </a:lnTo>
                  <a:lnTo>
                    <a:pt x="89012" y="5482713"/>
                  </a:lnTo>
                  <a:lnTo>
                    <a:pt x="96584" y="5530538"/>
                  </a:lnTo>
                  <a:lnTo>
                    <a:pt x="104154" y="5578372"/>
                  </a:lnTo>
                  <a:lnTo>
                    <a:pt x="116038" y="5625524"/>
                  </a:lnTo>
                  <a:lnTo>
                    <a:pt x="127862" y="5667923"/>
                  </a:lnTo>
                  <a:lnTo>
                    <a:pt x="135712" y="5696038"/>
                  </a:lnTo>
                  <a:lnTo>
                    <a:pt x="147319" y="5726321"/>
                  </a:lnTo>
                  <a:lnTo>
                    <a:pt x="157791" y="5753611"/>
                  </a:lnTo>
                  <a:lnTo>
                    <a:pt x="166721" y="5773191"/>
                  </a:lnTo>
                  <a:lnTo>
                    <a:pt x="178790" y="5791162"/>
                  </a:lnTo>
                  <a:lnTo>
                    <a:pt x="190435" y="5809385"/>
                  </a:lnTo>
                  <a:lnTo>
                    <a:pt x="204035" y="5836589"/>
                  </a:lnTo>
                  <a:lnTo>
                    <a:pt x="205393" y="5867868"/>
                  </a:lnTo>
                  <a:lnTo>
                    <a:pt x="184481" y="5882430"/>
                  </a:lnTo>
                  <a:lnTo>
                    <a:pt x="160126" y="5877985"/>
                  </a:lnTo>
                  <a:lnTo>
                    <a:pt x="110327" y="5859710"/>
                  </a:lnTo>
                  <a:lnTo>
                    <a:pt x="85702" y="5882839"/>
                  </a:lnTo>
                  <a:lnTo>
                    <a:pt x="96926" y="5974309"/>
                  </a:lnTo>
                  <a:lnTo>
                    <a:pt x="100659" y="6001171"/>
                  </a:lnTo>
                  <a:lnTo>
                    <a:pt x="111494" y="6023936"/>
                  </a:lnTo>
                  <a:lnTo>
                    <a:pt x="118063" y="6050712"/>
                  </a:lnTo>
                  <a:lnTo>
                    <a:pt x="107459" y="6074624"/>
                  </a:lnTo>
                  <a:lnTo>
                    <a:pt x="98602" y="6102218"/>
                  </a:lnTo>
                  <a:lnTo>
                    <a:pt x="96128" y="6131473"/>
                  </a:lnTo>
                  <a:lnTo>
                    <a:pt x="96578" y="6161678"/>
                  </a:lnTo>
                  <a:lnTo>
                    <a:pt x="97038" y="6191882"/>
                  </a:lnTo>
                  <a:lnTo>
                    <a:pt x="100013" y="6221843"/>
                  </a:lnTo>
                  <a:lnTo>
                    <a:pt x="99294" y="6250089"/>
                  </a:lnTo>
                  <a:lnTo>
                    <a:pt x="98509" y="6280788"/>
                  </a:lnTo>
                  <a:lnTo>
                    <a:pt x="92812" y="6311554"/>
                  </a:lnTo>
                  <a:lnTo>
                    <a:pt x="84330" y="6341223"/>
                  </a:lnTo>
                  <a:lnTo>
                    <a:pt x="75849" y="6370888"/>
                  </a:lnTo>
                  <a:lnTo>
                    <a:pt x="64552" y="6400294"/>
                  </a:lnTo>
                  <a:lnTo>
                    <a:pt x="53050" y="6429635"/>
                  </a:lnTo>
                  <a:lnTo>
                    <a:pt x="41542" y="6458976"/>
                  </a:lnTo>
                  <a:lnTo>
                    <a:pt x="28899" y="6488329"/>
                  </a:lnTo>
                  <a:lnTo>
                    <a:pt x="19047" y="6518047"/>
                  </a:lnTo>
                  <a:lnTo>
                    <a:pt x="10440" y="6547848"/>
                  </a:lnTo>
                  <a:lnTo>
                    <a:pt x="4453" y="6572685"/>
                  </a:lnTo>
                  <a:lnTo>
                    <a:pt x="0" y="6607823"/>
                  </a:lnTo>
                  <a:lnTo>
                    <a:pt x="36062" y="6611120"/>
                  </a:lnTo>
                  <a:lnTo>
                    <a:pt x="73198" y="6626466"/>
                  </a:lnTo>
                  <a:lnTo>
                    <a:pt x="91941" y="6638787"/>
                  </a:lnTo>
                  <a:lnTo>
                    <a:pt x="110175" y="6651349"/>
                  </a:lnTo>
                  <a:lnTo>
                    <a:pt x="146652" y="6676470"/>
                  </a:lnTo>
                  <a:lnTo>
                    <a:pt x="180814" y="6706245"/>
                  </a:lnTo>
                  <a:lnTo>
                    <a:pt x="206751" y="6726161"/>
                  </a:lnTo>
                  <a:lnTo>
                    <a:pt x="235169" y="6746086"/>
                  </a:lnTo>
                  <a:lnTo>
                    <a:pt x="262670" y="6766073"/>
                  </a:lnTo>
                  <a:lnTo>
                    <a:pt x="285647" y="6794168"/>
                  </a:lnTo>
                  <a:lnTo>
                    <a:pt x="300808" y="6817706"/>
                  </a:lnTo>
                  <a:lnTo>
                    <a:pt x="312197" y="6846921"/>
                  </a:lnTo>
                  <a:lnTo>
                    <a:pt x="321007" y="6877140"/>
                  </a:lnTo>
                  <a:lnTo>
                    <a:pt x="329825" y="6907356"/>
                  </a:lnTo>
                  <a:lnTo>
                    <a:pt x="336163" y="6937753"/>
                  </a:lnTo>
                  <a:lnTo>
                    <a:pt x="344130" y="6964192"/>
                  </a:lnTo>
                  <a:lnTo>
                    <a:pt x="357352" y="7005555"/>
                  </a:lnTo>
                  <a:lnTo>
                    <a:pt x="363175" y="7026765"/>
                  </a:lnTo>
                  <a:lnTo>
                    <a:pt x="369000" y="7047973"/>
                  </a:lnTo>
                  <a:lnTo>
                    <a:pt x="372996" y="7069948"/>
                  </a:lnTo>
                  <a:lnTo>
                    <a:pt x="376774" y="7090695"/>
                  </a:lnTo>
                  <a:lnTo>
                    <a:pt x="382222" y="7120563"/>
                  </a:lnTo>
                  <a:lnTo>
                    <a:pt x="393136" y="7189796"/>
                  </a:lnTo>
                  <a:lnTo>
                    <a:pt x="406703" y="7257994"/>
                  </a:lnTo>
                  <a:lnTo>
                    <a:pt x="420268" y="7326199"/>
                  </a:lnTo>
                  <a:lnTo>
                    <a:pt x="436498" y="7392748"/>
                  </a:lnTo>
                  <a:lnTo>
                    <a:pt x="455669" y="7417136"/>
                  </a:lnTo>
                  <a:lnTo>
                    <a:pt x="485802" y="7440654"/>
                  </a:lnTo>
                  <a:lnTo>
                    <a:pt x="505994" y="7447064"/>
                  </a:lnTo>
                  <a:lnTo>
                    <a:pt x="577299" y="7447954"/>
                  </a:lnTo>
                  <a:lnTo>
                    <a:pt x="674593" y="7425492"/>
                  </a:lnTo>
                  <a:lnTo>
                    <a:pt x="720904" y="7395373"/>
                  </a:lnTo>
                  <a:lnTo>
                    <a:pt x="749215" y="7376966"/>
                  </a:lnTo>
                  <a:lnTo>
                    <a:pt x="767575" y="7342007"/>
                  </a:lnTo>
                  <a:lnTo>
                    <a:pt x="805238" y="7338248"/>
                  </a:lnTo>
                  <a:lnTo>
                    <a:pt x="867996" y="7372779"/>
                  </a:lnTo>
                  <a:lnTo>
                    <a:pt x="794614" y="7462555"/>
                  </a:lnTo>
                  <a:lnTo>
                    <a:pt x="832443" y="7508272"/>
                  </a:lnTo>
                  <a:lnTo>
                    <a:pt x="897369" y="7536194"/>
                  </a:lnTo>
                  <a:lnTo>
                    <a:pt x="1009925" y="7588011"/>
                  </a:lnTo>
                  <a:lnTo>
                    <a:pt x="1058240" y="7591242"/>
                  </a:lnTo>
                  <a:lnTo>
                    <a:pt x="1229192" y="7555537"/>
                  </a:lnTo>
                  <a:lnTo>
                    <a:pt x="1295464" y="7529118"/>
                  </a:lnTo>
                  <a:lnTo>
                    <a:pt x="1305620" y="7505996"/>
                  </a:lnTo>
                  <a:lnTo>
                    <a:pt x="1369723" y="7531393"/>
                  </a:lnTo>
                  <a:lnTo>
                    <a:pt x="1402751" y="7539339"/>
                  </a:lnTo>
                  <a:lnTo>
                    <a:pt x="1435012" y="7566755"/>
                  </a:lnTo>
                  <a:lnTo>
                    <a:pt x="1454157" y="7589369"/>
                  </a:lnTo>
                  <a:lnTo>
                    <a:pt x="1487786" y="7613051"/>
                  </a:lnTo>
                  <a:lnTo>
                    <a:pt x="1499959" y="7644838"/>
                  </a:lnTo>
                  <a:lnTo>
                    <a:pt x="1516624" y="7666054"/>
                  </a:lnTo>
                  <a:lnTo>
                    <a:pt x="1541488" y="7696147"/>
                  </a:lnTo>
                  <a:lnTo>
                    <a:pt x="1566099" y="7722203"/>
                  </a:lnTo>
                  <a:lnTo>
                    <a:pt x="1605036" y="7734061"/>
                  </a:lnTo>
                  <a:lnTo>
                    <a:pt x="1636361" y="7743584"/>
                  </a:lnTo>
                  <a:lnTo>
                    <a:pt x="1663566" y="7759312"/>
                  </a:lnTo>
                  <a:lnTo>
                    <a:pt x="1693448" y="7770787"/>
                  </a:lnTo>
                  <a:lnTo>
                    <a:pt x="1715659" y="7773979"/>
                  </a:lnTo>
                  <a:lnTo>
                    <a:pt x="1787814" y="7808233"/>
                  </a:lnTo>
                  <a:lnTo>
                    <a:pt x="1786943" y="7973628"/>
                  </a:lnTo>
                  <a:lnTo>
                    <a:pt x="1872993" y="8034663"/>
                  </a:lnTo>
                  <a:lnTo>
                    <a:pt x="1897500" y="8073263"/>
                  </a:lnTo>
                  <a:lnTo>
                    <a:pt x="1954163" y="8102716"/>
                  </a:lnTo>
                  <a:lnTo>
                    <a:pt x="1988608" y="8132604"/>
                  </a:lnTo>
                  <a:lnTo>
                    <a:pt x="2089774" y="8220290"/>
                  </a:lnTo>
                  <a:lnTo>
                    <a:pt x="2165504" y="8186326"/>
                  </a:lnTo>
                  <a:lnTo>
                    <a:pt x="2200799" y="8210134"/>
                  </a:lnTo>
                  <a:lnTo>
                    <a:pt x="2237276" y="8234700"/>
                  </a:lnTo>
                  <a:lnTo>
                    <a:pt x="2282286" y="8234826"/>
                  </a:lnTo>
                  <a:lnTo>
                    <a:pt x="2324580" y="8237337"/>
                  </a:lnTo>
                  <a:lnTo>
                    <a:pt x="2408954" y="8242310"/>
                  </a:lnTo>
                  <a:lnTo>
                    <a:pt x="2489993" y="8236230"/>
                  </a:lnTo>
                  <a:lnTo>
                    <a:pt x="2531330" y="8320309"/>
                  </a:lnTo>
                  <a:lnTo>
                    <a:pt x="2550758" y="8359798"/>
                  </a:lnTo>
                  <a:lnTo>
                    <a:pt x="2548970" y="8408297"/>
                  </a:lnTo>
                  <a:lnTo>
                    <a:pt x="2538135" y="8450887"/>
                  </a:lnTo>
                  <a:lnTo>
                    <a:pt x="2526377" y="8497045"/>
                  </a:lnTo>
                  <a:lnTo>
                    <a:pt x="2512759" y="8530330"/>
                  </a:lnTo>
                  <a:lnTo>
                    <a:pt x="2501409" y="8581467"/>
                  </a:lnTo>
                  <a:lnTo>
                    <a:pt x="2467999" y="8719438"/>
                  </a:lnTo>
                  <a:lnTo>
                    <a:pt x="2624634" y="8722583"/>
                  </a:lnTo>
                  <a:lnTo>
                    <a:pt x="2670073" y="8668519"/>
                  </a:lnTo>
                  <a:lnTo>
                    <a:pt x="2690134" y="8644672"/>
                  </a:lnTo>
                  <a:lnTo>
                    <a:pt x="2701676" y="8608414"/>
                  </a:lnTo>
                  <a:lnTo>
                    <a:pt x="2717675" y="8581467"/>
                  </a:lnTo>
                  <a:lnTo>
                    <a:pt x="2746686" y="8532499"/>
                  </a:lnTo>
                  <a:lnTo>
                    <a:pt x="2820286" y="8526419"/>
                  </a:lnTo>
                  <a:lnTo>
                    <a:pt x="2844179" y="8581467"/>
                  </a:lnTo>
                  <a:lnTo>
                    <a:pt x="2863178" y="8646717"/>
                  </a:lnTo>
                  <a:lnTo>
                    <a:pt x="2819566" y="8746049"/>
                  </a:lnTo>
                  <a:lnTo>
                    <a:pt x="2887705" y="8784135"/>
                  </a:lnTo>
                  <a:lnTo>
                    <a:pt x="3005786" y="8850103"/>
                  </a:lnTo>
                  <a:lnTo>
                    <a:pt x="3031988" y="8816358"/>
                  </a:lnTo>
                  <a:lnTo>
                    <a:pt x="3118936" y="8736525"/>
                  </a:lnTo>
                  <a:lnTo>
                    <a:pt x="3139341" y="8717743"/>
                  </a:lnTo>
                  <a:lnTo>
                    <a:pt x="3166505" y="8704778"/>
                  </a:lnTo>
                  <a:lnTo>
                    <a:pt x="3186949" y="8686200"/>
                  </a:lnTo>
                  <a:lnTo>
                    <a:pt x="3210005" y="8660572"/>
                  </a:lnTo>
                  <a:lnTo>
                    <a:pt x="3283220" y="8619763"/>
                  </a:lnTo>
                  <a:lnTo>
                    <a:pt x="3314276" y="8685950"/>
                  </a:lnTo>
                  <a:lnTo>
                    <a:pt x="3351531" y="8668519"/>
                  </a:lnTo>
                  <a:lnTo>
                    <a:pt x="3388620" y="8630090"/>
                  </a:lnTo>
                  <a:lnTo>
                    <a:pt x="3417863" y="8612923"/>
                  </a:lnTo>
                  <a:lnTo>
                    <a:pt x="3442857" y="8615477"/>
                  </a:lnTo>
                  <a:lnTo>
                    <a:pt x="3493671" y="8662181"/>
                  </a:lnTo>
                  <a:lnTo>
                    <a:pt x="3499429" y="8691218"/>
                  </a:lnTo>
                  <a:lnTo>
                    <a:pt x="3512031" y="8736525"/>
                  </a:lnTo>
                  <a:lnTo>
                    <a:pt x="3522787" y="8775165"/>
                  </a:lnTo>
                  <a:lnTo>
                    <a:pt x="3516944" y="8803010"/>
                  </a:lnTo>
                  <a:lnTo>
                    <a:pt x="3509313" y="8841266"/>
                  </a:lnTo>
                  <a:lnTo>
                    <a:pt x="3491904" y="8928490"/>
                  </a:lnTo>
                  <a:lnTo>
                    <a:pt x="3456714" y="8963978"/>
                  </a:lnTo>
                  <a:lnTo>
                    <a:pt x="3389617" y="9018088"/>
                  </a:lnTo>
                  <a:lnTo>
                    <a:pt x="3369595" y="9028799"/>
                  </a:lnTo>
                  <a:lnTo>
                    <a:pt x="3352632" y="9045339"/>
                  </a:lnTo>
                  <a:lnTo>
                    <a:pt x="3337925" y="9064338"/>
                  </a:lnTo>
                  <a:lnTo>
                    <a:pt x="3310425" y="9085805"/>
                  </a:lnTo>
                  <a:lnTo>
                    <a:pt x="3291187" y="9134772"/>
                  </a:lnTo>
                  <a:lnTo>
                    <a:pt x="3303005" y="9154069"/>
                  </a:lnTo>
                  <a:lnTo>
                    <a:pt x="3314804" y="9182678"/>
                  </a:lnTo>
                  <a:lnTo>
                    <a:pt x="3327790" y="9214088"/>
                  </a:lnTo>
                  <a:lnTo>
                    <a:pt x="3344006" y="9228281"/>
                  </a:lnTo>
                  <a:lnTo>
                    <a:pt x="3378728" y="9233003"/>
                  </a:lnTo>
                  <a:lnTo>
                    <a:pt x="3493262" y="9248514"/>
                  </a:lnTo>
                  <a:lnTo>
                    <a:pt x="3478363" y="9083806"/>
                  </a:lnTo>
                  <a:lnTo>
                    <a:pt x="3600443" y="9020812"/>
                  </a:lnTo>
                  <a:lnTo>
                    <a:pt x="3623353" y="9008955"/>
                  </a:lnTo>
                  <a:lnTo>
                    <a:pt x="3648967" y="8998963"/>
                  </a:lnTo>
                  <a:lnTo>
                    <a:pt x="3675255" y="9005848"/>
                  </a:lnTo>
                  <a:lnTo>
                    <a:pt x="3711534" y="9041890"/>
                  </a:lnTo>
                  <a:lnTo>
                    <a:pt x="3755039" y="9139527"/>
                  </a:lnTo>
                  <a:lnTo>
                    <a:pt x="3741902" y="9190836"/>
                  </a:lnTo>
                  <a:lnTo>
                    <a:pt x="3736166" y="9213278"/>
                  </a:lnTo>
                  <a:lnTo>
                    <a:pt x="3698779" y="9223863"/>
                  </a:lnTo>
                  <a:lnTo>
                    <a:pt x="3683413" y="9253408"/>
                  </a:lnTo>
                  <a:lnTo>
                    <a:pt x="3699379" y="9302968"/>
                  </a:lnTo>
                  <a:lnTo>
                    <a:pt x="3744139" y="9418070"/>
                  </a:lnTo>
                  <a:lnTo>
                    <a:pt x="3730810" y="9464194"/>
                  </a:lnTo>
                  <a:lnTo>
                    <a:pt x="3828956" y="9525448"/>
                  </a:lnTo>
                  <a:lnTo>
                    <a:pt x="3849255" y="9493310"/>
                  </a:lnTo>
                  <a:lnTo>
                    <a:pt x="3866724" y="9422962"/>
                  </a:lnTo>
                  <a:lnTo>
                    <a:pt x="3856199" y="9318394"/>
                  </a:lnTo>
                  <a:lnTo>
                    <a:pt x="3882005" y="9273806"/>
                  </a:lnTo>
                  <a:lnTo>
                    <a:pt x="3897160" y="9251364"/>
                  </a:lnTo>
                  <a:lnTo>
                    <a:pt x="4135962" y="9054776"/>
                  </a:lnTo>
                  <a:lnTo>
                    <a:pt x="4166371" y="9039470"/>
                  </a:lnTo>
                  <a:lnTo>
                    <a:pt x="4188134" y="9036324"/>
                  </a:lnTo>
                  <a:lnTo>
                    <a:pt x="4219335" y="9043934"/>
                  </a:lnTo>
                  <a:lnTo>
                    <a:pt x="4269086" y="9053793"/>
                  </a:lnTo>
                  <a:lnTo>
                    <a:pt x="4316655" y="9072878"/>
                  </a:lnTo>
                  <a:lnTo>
                    <a:pt x="4367594" y="9080661"/>
                  </a:lnTo>
                  <a:lnTo>
                    <a:pt x="4412480" y="9087546"/>
                  </a:lnTo>
                  <a:lnTo>
                    <a:pt x="4457964" y="9084064"/>
                  </a:lnTo>
                  <a:lnTo>
                    <a:pt x="4500898" y="9101066"/>
                  </a:lnTo>
                  <a:lnTo>
                    <a:pt x="4524276" y="9110332"/>
                  </a:lnTo>
                  <a:lnTo>
                    <a:pt x="4573072" y="9160064"/>
                  </a:lnTo>
                  <a:lnTo>
                    <a:pt x="4596108" y="9178596"/>
                  </a:lnTo>
                  <a:lnTo>
                    <a:pt x="4619230" y="9181312"/>
                  </a:lnTo>
                  <a:lnTo>
                    <a:pt x="4656662" y="9152196"/>
                  </a:lnTo>
                  <a:lnTo>
                    <a:pt x="4688344" y="9164991"/>
                  </a:lnTo>
                  <a:lnTo>
                    <a:pt x="4730769" y="9164991"/>
                  </a:lnTo>
                  <a:lnTo>
                    <a:pt x="4752236" y="9164991"/>
                  </a:lnTo>
                  <a:lnTo>
                    <a:pt x="4791976" y="9167714"/>
                  </a:lnTo>
                  <a:lnTo>
                    <a:pt x="4830616" y="9183436"/>
                  </a:lnTo>
                  <a:lnTo>
                    <a:pt x="4859971" y="9221356"/>
                  </a:lnTo>
                  <a:lnTo>
                    <a:pt x="4902157" y="9233003"/>
                  </a:lnTo>
                  <a:lnTo>
                    <a:pt x="4937499" y="9242777"/>
                  </a:lnTo>
                  <a:lnTo>
                    <a:pt x="4964578" y="9218594"/>
                  </a:lnTo>
                  <a:lnTo>
                    <a:pt x="5000086" y="9223480"/>
                  </a:lnTo>
                  <a:lnTo>
                    <a:pt x="5059749" y="9231684"/>
                  </a:lnTo>
                  <a:lnTo>
                    <a:pt x="5130749" y="9321797"/>
                  </a:lnTo>
                  <a:lnTo>
                    <a:pt x="5129306" y="9381263"/>
                  </a:lnTo>
                  <a:lnTo>
                    <a:pt x="5128627" y="9409825"/>
                  </a:lnTo>
                  <a:lnTo>
                    <a:pt x="5112389" y="9436351"/>
                  </a:lnTo>
                  <a:lnTo>
                    <a:pt x="5106183" y="9464234"/>
                  </a:lnTo>
                  <a:lnTo>
                    <a:pt x="5102339" y="9518259"/>
                  </a:lnTo>
                  <a:lnTo>
                    <a:pt x="5180041" y="9544276"/>
                  </a:lnTo>
                  <a:lnTo>
                    <a:pt x="5195955" y="9586655"/>
                  </a:lnTo>
                  <a:lnTo>
                    <a:pt x="5212217" y="9629964"/>
                  </a:lnTo>
                  <a:lnTo>
                    <a:pt x="5187070" y="9673708"/>
                  </a:lnTo>
                  <a:lnTo>
                    <a:pt x="5193237" y="9728116"/>
                  </a:lnTo>
                  <a:lnTo>
                    <a:pt x="5288830" y="9839821"/>
                  </a:lnTo>
                  <a:lnTo>
                    <a:pt x="5311655" y="9842095"/>
                  </a:lnTo>
                  <a:lnTo>
                    <a:pt x="5344214" y="9834207"/>
                  </a:lnTo>
                  <a:lnTo>
                    <a:pt x="5373245" y="9826623"/>
                  </a:lnTo>
                  <a:lnTo>
                    <a:pt x="5409008" y="9816013"/>
                  </a:lnTo>
                  <a:lnTo>
                    <a:pt x="5446231" y="9804286"/>
                  </a:lnTo>
                  <a:lnTo>
                    <a:pt x="5520667" y="9780823"/>
                  </a:lnTo>
                  <a:lnTo>
                    <a:pt x="5598124" y="9753189"/>
                  </a:lnTo>
                  <a:lnTo>
                    <a:pt x="5617613" y="9738997"/>
                  </a:lnTo>
                  <a:lnTo>
                    <a:pt x="5629027" y="9709643"/>
                  </a:lnTo>
                  <a:lnTo>
                    <a:pt x="5640734" y="9690030"/>
                  </a:lnTo>
                  <a:lnTo>
                    <a:pt x="5652446" y="9670417"/>
                  </a:lnTo>
                  <a:lnTo>
                    <a:pt x="5665300" y="9651299"/>
                  </a:lnTo>
                  <a:lnTo>
                    <a:pt x="5691791" y="9607402"/>
                  </a:lnTo>
                  <a:lnTo>
                    <a:pt x="5711029" y="9583167"/>
                  </a:lnTo>
                  <a:lnTo>
                    <a:pt x="5729145" y="9564892"/>
                  </a:lnTo>
                  <a:lnTo>
                    <a:pt x="5747268" y="9546611"/>
                  </a:lnTo>
                  <a:lnTo>
                    <a:pt x="5780837" y="9524082"/>
                  </a:lnTo>
                  <a:lnTo>
                    <a:pt x="5814523" y="9503579"/>
                  </a:lnTo>
                  <a:lnTo>
                    <a:pt x="5847861" y="9489907"/>
                  </a:lnTo>
                  <a:lnTo>
                    <a:pt x="5886934" y="9449269"/>
                  </a:lnTo>
                  <a:lnTo>
                    <a:pt x="5893464" y="9413104"/>
                  </a:lnTo>
                  <a:lnTo>
                    <a:pt x="5889652" y="9389422"/>
                  </a:lnTo>
                  <a:lnTo>
                    <a:pt x="5885840" y="9365746"/>
                  </a:lnTo>
                  <a:lnTo>
                    <a:pt x="5878718" y="9339261"/>
                  </a:lnTo>
                  <a:lnTo>
                    <a:pt x="5871965" y="9313250"/>
                  </a:lnTo>
                  <a:lnTo>
                    <a:pt x="5865218" y="9287247"/>
                  </a:lnTo>
                  <a:lnTo>
                    <a:pt x="5858999" y="9261982"/>
                  </a:lnTo>
                  <a:lnTo>
                    <a:pt x="5857007" y="9239803"/>
                  </a:lnTo>
                  <a:lnTo>
                    <a:pt x="5855009" y="9217625"/>
                  </a:lnTo>
                  <a:lnTo>
                    <a:pt x="5866523" y="9186754"/>
                  </a:lnTo>
                  <a:lnTo>
                    <a:pt x="5926366" y="9158988"/>
                  </a:lnTo>
                  <a:lnTo>
                    <a:pt x="5969898" y="9141868"/>
                  </a:lnTo>
                  <a:lnTo>
                    <a:pt x="6013438" y="9124748"/>
                  </a:lnTo>
                  <a:lnTo>
                    <a:pt x="6056530" y="9110516"/>
                  </a:lnTo>
                  <a:lnTo>
                    <a:pt x="6084888" y="9140358"/>
                  </a:lnTo>
                  <a:lnTo>
                    <a:pt x="6104488" y="9165808"/>
                  </a:lnTo>
                  <a:lnTo>
                    <a:pt x="6126323" y="9188112"/>
                  </a:lnTo>
                  <a:lnTo>
                    <a:pt x="6148159" y="9210422"/>
                  </a:lnTo>
                  <a:lnTo>
                    <a:pt x="6172388" y="9230069"/>
                  </a:lnTo>
                  <a:lnTo>
                    <a:pt x="6198413" y="9246603"/>
                  </a:lnTo>
                  <a:lnTo>
                    <a:pt x="6222900" y="9262924"/>
                  </a:lnTo>
                  <a:lnTo>
                    <a:pt x="6248745" y="9279247"/>
                  </a:lnTo>
                  <a:lnTo>
                    <a:pt x="6266268" y="9303430"/>
                  </a:lnTo>
                  <a:lnTo>
                    <a:pt x="6280183" y="9325793"/>
                  </a:lnTo>
                  <a:lnTo>
                    <a:pt x="6323551" y="9349978"/>
                  </a:lnTo>
                  <a:lnTo>
                    <a:pt x="6359994" y="9365172"/>
                  </a:lnTo>
                  <a:lnTo>
                    <a:pt x="6402273" y="9377089"/>
                  </a:lnTo>
                  <a:lnTo>
                    <a:pt x="6443248" y="9392144"/>
                  </a:lnTo>
                  <a:lnTo>
                    <a:pt x="6484222" y="9407194"/>
                  </a:lnTo>
                  <a:lnTo>
                    <a:pt x="6524061" y="9425086"/>
                  </a:lnTo>
                  <a:lnTo>
                    <a:pt x="6553428" y="9453353"/>
                  </a:lnTo>
                  <a:lnTo>
                    <a:pt x="6578081" y="9455351"/>
                  </a:lnTo>
                  <a:lnTo>
                    <a:pt x="6600550" y="9452185"/>
                  </a:lnTo>
                  <a:lnTo>
                    <a:pt x="6622795" y="9447911"/>
                  </a:lnTo>
                  <a:lnTo>
                    <a:pt x="6645038" y="9443645"/>
                  </a:lnTo>
                  <a:lnTo>
                    <a:pt x="6667184" y="9439490"/>
                  </a:lnTo>
                  <a:lnTo>
                    <a:pt x="6690808" y="9437030"/>
                  </a:lnTo>
                  <a:lnTo>
                    <a:pt x="6735013" y="9432433"/>
                  </a:lnTo>
                  <a:lnTo>
                    <a:pt x="6781639" y="9443150"/>
                  </a:lnTo>
                  <a:lnTo>
                    <a:pt x="6825469" y="9446553"/>
                  </a:lnTo>
                  <a:lnTo>
                    <a:pt x="6945101" y="9441963"/>
                  </a:lnTo>
                  <a:lnTo>
                    <a:pt x="6986193" y="9434754"/>
                  </a:lnTo>
                  <a:lnTo>
                    <a:pt x="7007732" y="9415267"/>
                  </a:lnTo>
                  <a:lnTo>
                    <a:pt x="7023936" y="9395759"/>
                  </a:lnTo>
                  <a:lnTo>
                    <a:pt x="7054957" y="9384534"/>
                  </a:lnTo>
                  <a:lnTo>
                    <a:pt x="7078358" y="9386664"/>
                  </a:lnTo>
                  <a:lnTo>
                    <a:pt x="7126995" y="9371873"/>
                  </a:lnTo>
                  <a:lnTo>
                    <a:pt x="7156388" y="9359704"/>
                  </a:lnTo>
                  <a:lnTo>
                    <a:pt x="7183196" y="9343178"/>
                  </a:lnTo>
                  <a:lnTo>
                    <a:pt x="7210012" y="9326650"/>
                  </a:lnTo>
                  <a:lnTo>
                    <a:pt x="7233588" y="9306049"/>
                  </a:lnTo>
                  <a:lnTo>
                    <a:pt x="7251209" y="9277888"/>
                  </a:lnTo>
                  <a:lnTo>
                    <a:pt x="7272972" y="9277888"/>
                  </a:lnTo>
                  <a:lnTo>
                    <a:pt x="7291590" y="9291744"/>
                  </a:lnTo>
                  <a:lnTo>
                    <a:pt x="7318920" y="9328511"/>
                  </a:lnTo>
                  <a:lnTo>
                    <a:pt x="7348800" y="9344879"/>
                  </a:lnTo>
                  <a:lnTo>
                    <a:pt x="7379065" y="9363582"/>
                  </a:lnTo>
                  <a:lnTo>
                    <a:pt x="7403953" y="9379009"/>
                  </a:lnTo>
                  <a:lnTo>
                    <a:pt x="7430497" y="9398476"/>
                  </a:lnTo>
                  <a:lnTo>
                    <a:pt x="7456595" y="9411185"/>
                  </a:lnTo>
                  <a:lnTo>
                    <a:pt x="7478194" y="9421730"/>
                  </a:lnTo>
                  <a:lnTo>
                    <a:pt x="7510455" y="9427117"/>
                  </a:lnTo>
                  <a:lnTo>
                    <a:pt x="7543647" y="9430230"/>
                  </a:lnTo>
                  <a:lnTo>
                    <a:pt x="7576845" y="9433343"/>
                  </a:lnTo>
                  <a:lnTo>
                    <a:pt x="7611035" y="9433931"/>
                  </a:lnTo>
                  <a:lnTo>
                    <a:pt x="7634783" y="9434306"/>
                  </a:lnTo>
                  <a:lnTo>
                    <a:pt x="7717903" y="9435751"/>
                  </a:lnTo>
                  <a:lnTo>
                    <a:pt x="7803771" y="9440723"/>
                  </a:lnTo>
                  <a:lnTo>
                    <a:pt x="7886423" y="9432948"/>
                  </a:lnTo>
                  <a:lnTo>
                    <a:pt x="7930054" y="9428872"/>
                  </a:lnTo>
                  <a:lnTo>
                    <a:pt x="8003148" y="9400561"/>
                  </a:lnTo>
                  <a:lnTo>
                    <a:pt x="8041992" y="9399031"/>
                  </a:lnTo>
                  <a:lnTo>
                    <a:pt x="8064797" y="9436476"/>
                  </a:lnTo>
                  <a:lnTo>
                    <a:pt x="8097250" y="9438388"/>
                  </a:lnTo>
                  <a:lnTo>
                    <a:pt x="8121736" y="9413901"/>
                  </a:lnTo>
                  <a:lnTo>
                    <a:pt x="8110750" y="9349806"/>
                  </a:lnTo>
                  <a:lnTo>
                    <a:pt x="8116421" y="9320009"/>
                  </a:lnTo>
                  <a:lnTo>
                    <a:pt x="8132619" y="9305092"/>
                  </a:lnTo>
                  <a:lnTo>
                    <a:pt x="8156993" y="9270297"/>
                  </a:lnTo>
                  <a:lnTo>
                    <a:pt x="8168843" y="9245620"/>
                  </a:lnTo>
                  <a:lnTo>
                    <a:pt x="8167981" y="9220756"/>
                  </a:lnTo>
                  <a:lnTo>
                    <a:pt x="8167116" y="9195894"/>
                  </a:lnTo>
                  <a:lnTo>
                    <a:pt x="8153371" y="9170088"/>
                  </a:lnTo>
                  <a:lnTo>
                    <a:pt x="8128535" y="9136420"/>
                  </a:lnTo>
                  <a:lnTo>
                    <a:pt x="8078210" y="9068414"/>
                  </a:lnTo>
                  <a:lnTo>
                    <a:pt x="8057213" y="9039958"/>
                  </a:lnTo>
                  <a:lnTo>
                    <a:pt x="8042525" y="9017224"/>
                  </a:lnTo>
                  <a:lnTo>
                    <a:pt x="8040125" y="8996325"/>
                  </a:lnTo>
                  <a:lnTo>
                    <a:pt x="8037725" y="8975419"/>
                  </a:lnTo>
                  <a:lnTo>
                    <a:pt x="8047985" y="8956050"/>
                  </a:lnTo>
                  <a:lnTo>
                    <a:pt x="8079568" y="8932394"/>
                  </a:lnTo>
                  <a:lnTo>
                    <a:pt x="8109278" y="8909867"/>
                  </a:lnTo>
                  <a:lnTo>
                    <a:pt x="8129893" y="8916072"/>
                  </a:lnTo>
                  <a:lnTo>
                    <a:pt x="8150425" y="8925766"/>
                  </a:lnTo>
                  <a:lnTo>
                    <a:pt x="8153867" y="8955642"/>
                  </a:lnTo>
                  <a:lnTo>
                    <a:pt x="8173419" y="8967756"/>
                  </a:lnTo>
                  <a:lnTo>
                    <a:pt x="8224991" y="8951652"/>
                  </a:lnTo>
                  <a:lnTo>
                    <a:pt x="8261839" y="8928312"/>
                  </a:lnTo>
                  <a:lnTo>
                    <a:pt x="8280259" y="8916646"/>
                  </a:lnTo>
                  <a:lnTo>
                    <a:pt x="8299886" y="8903865"/>
                  </a:lnTo>
                  <a:lnTo>
                    <a:pt x="8335320" y="8887470"/>
                  </a:lnTo>
                  <a:lnTo>
                    <a:pt x="8365212" y="8886144"/>
                  </a:lnTo>
                  <a:lnTo>
                    <a:pt x="8381193" y="8862897"/>
                  </a:lnTo>
                  <a:lnTo>
                    <a:pt x="8417730" y="8852484"/>
                  </a:lnTo>
                  <a:lnTo>
                    <a:pt x="8426421" y="8829019"/>
                  </a:lnTo>
                  <a:lnTo>
                    <a:pt x="8425063" y="8807256"/>
                  </a:lnTo>
                  <a:lnTo>
                    <a:pt x="8416899" y="8786851"/>
                  </a:lnTo>
                  <a:lnTo>
                    <a:pt x="8430284" y="8757670"/>
                  </a:lnTo>
                  <a:lnTo>
                    <a:pt x="8455201" y="8726264"/>
                  </a:lnTo>
                  <a:lnTo>
                    <a:pt x="8475389" y="8695717"/>
                  </a:lnTo>
                  <a:lnTo>
                    <a:pt x="8469953" y="8657631"/>
                  </a:lnTo>
                  <a:lnTo>
                    <a:pt x="8455985" y="8640221"/>
                  </a:lnTo>
                  <a:lnTo>
                    <a:pt x="8459889" y="8613762"/>
                  </a:lnTo>
                  <a:lnTo>
                    <a:pt x="8468660" y="8585159"/>
                  </a:lnTo>
                  <a:lnTo>
                    <a:pt x="8461796" y="8562420"/>
                  </a:lnTo>
                  <a:lnTo>
                    <a:pt x="8439723" y="8547754"/>
                  </a:lnTo>
                  <a:lnTo>
                    <a:pt x="8399858" y="8542998"/>
                  </a:lnTo>
                  <a:lnTo>
                    <a:pt x="8363861" y="8533857"/>
                  </a:lnTo>
                  <a:lnTo>
                    <a:pt x="8329001" y="8523589"/>
                  </a:lnTo>
                  <a:lnTo>
                    <a:pt x="8303511" y="8506034"/>
                  </a:lnTo>
                  <a:lnTo>
                    <a:pt x="8293133" y="8476726"/>
                  </a:lnTo>
                  <a:lnTo>
                    <a:pt x="8317070" y="8430648"/>
                  </a:lnTo>
                  <a:lnTo>
                    <a:pt x="8342249" y="8398913"/>
                  </a:lnTo>
                  <a:lnTo>
                    <a:pt x="8366580" y="8363829"/>
                  </a:lnTo>
                  <a:lnTo>
                    <a:pt x="8390907" y="8328742"/>
                  </a:lnTo>
                  <a:lnTo>
                    <a:pt x="8413529" y="8290697"/>
                  </a:lnTo>
                  <a:lnTo>
                    <a:pt x="8430511" y="8233249"/>
                  </a:lnTo>
                  <a:lnTo>
                    <a:pt x="8438892" y="8204897"/>
                  </a:lnTo>
                  <a:lnTo>
                    <a:pt x="8438761" y="8164537"/>
                  </a:lnTo>
                  <a:lnTo>
                    <a:pt x="8437310" y="8127156"/>
                  </a:lnTo>
                  <a:lnTo>
                    <a:pt x="8435859" y="8089777"/>
                  </a:lnTo>
                  <a:lnTo>
                    <a:pt x="8432883" y="8054956"/>
                  </a:lnTo>
                  <a:lnTo>
                    <a:pt x="8456956" y="8004927"/>
                  </a:lnTo>
                  <a:lnTo>
                    <a:pt x="8486349" y="7976733"/>
                  </a:lnTo>
                  <a:lnTo>
                    <a:pt x="8517563" y="7948969"/>
                  </a:lnTo>
                  <a:lnTo>
                    <a:pt x="8548783" y="7921211"/>
                  </a:lnTo>
                  <a:lnTo>
                    <a:pt x="8583091" y="7894983"/>
                  </a:lnTo>
                  <a:lnTo>
                    <a:pt x="8608698" y="7865999"/>
                  </a:lnTo>
                  <a:lnTo>
                    <a:pt x="8626905" y="7843615"/>
                  </a:lnTo>
                  <a:lnTo>
                    <a:pt x="8644904" y="7820369"/>
                  </a:lnTo>
                  <a:lnTo>
                    <a:pt x="8663104" y="7796626"/>
                  </a:lnTo>
                  <a:lnTo>
                    <a:pt x="8676803" y="7774620"/>
                  </a:lnTo>
                  <a:lnTo>
                    <a:pt x="8687593" y="7755824"/>
                  </a:lnTo>
                  <a:lnTo>
                    <a:pt x="8698383" y="7737022"/>
                  </a:lnTo>
                  <a:lnTo>
                    <a:pt x="8710311" y="7715549"/>
                  </a:lnTo>
                  <a:lnTo>
                    <a:pt x="8732582" y="7686895"/>
                  </a:lnTo>
                  <a:lnTo>
                    <a:pt x="8776207" y="7645590"/>
                  </a:lnTo>
                  <a:lnTo>
                    <a:pt x="8822248" y="7615722"/>
                  </a:lnTo>
                  <a:lnTo>
                    <a:pt x="8845270" y="7600791"/>
                  </a:lnTo>
                  <a:lnTo>
                    <a:pt x="8868372" y="7588155"/>
                  </a:lnTo>
                  <a:lnTo>
                    <a:pt x="8909430" y="7580717"/>
                  </a:lnTo>
                  <a:lnTo>
                    <a:pt x="8937869" y="7602117"/>
                  </a:lnTo>
                  <a:lnTo>
                    <a:pt x="8943078" y="7622541"/>
                  </a:lnTo>
                  <a:lnTo>
                    <a:pt x="8937277" y="7644502"/>
                  </a:lnTo>
                  <a:lnTo>
                    <a:pt x="8931069" y="7666048"/>
                  </a:lnTo>
                  <a:lnTo>
                    <a:pt x="8924850" y="7687592"/>
                  </a:lnTo>
                  <a:lnTo>
                    <a:pt x="8917848" y="7709448"/>
                  </a:lnTo>
                  <a:lnTo>
                    <a:pt x="8922905" y="7731337"/>
                  </a:lnTo>
                  <a:lnTo>
                    <a:pt x="8948057" y="7755856"/>
                  </a:lnTo>
                  <a:lnTo>
                    <a:pt x="8963043" y="7793870"/>
                  </a:lnTo>
                  <a:lnTo>
                    <a:pt x="8968403" y="7815448"/>
                  </a:lnTo>
                  <a:lnTo>
                    <a:pt x="8973231" y="7837436"/>
                  </a:lnTo>
                  <a:lnTo>
                    <a:pt x="8978059" y="7859416"/>
                  </a:lnTo>
                  <a:lnTo>
                    <a:pt x="8981717" y="7880923"/>
                  </a:lnTo>
                  <a:lnTo>
                    <a:pt x="8994672" y="7916364"/>
                  </a:lnTo>
                  <a:lnTo>
                    <a:pt x="9015399" y="7936729"/>
                  </a:lnTo>
                  <a:lnTo>
                    <a:pt x="9041540" y="7933833"/>
                  </a:lnTo>
                  <a:lnTo>
                    <a:pt x="9063877" y="7917729"/>
                  </a:lnTo>
                  <a:lnTo>
                    <a:pt x="9094445" y="7888751"/>
                  </a:lnTo>
                  <a:lnTo>
                    <a:pt x="9122856" y="7859199"/>
                  </a:lnTo>
                  <a:lnTo>
                    <a:pt x="9151267" y="7829647"/>
                  </a:lnTo>
                  <a:lnTo>
                    <a:pt x="9176902" y="7799686"/>
                  </a:lnTo>
                  <a:lnTo>
                    <a:pt x="9183522" y="7772654"/>
                  </a:lnTo>
                  <a:lnTo>
                    <a:pt x="9188145" y="7739502"/>
                  </a:lnTo>
                  <a:lnTo>
                    <a:pt x="9190387" y="7706811"/>
                  </a:lnTo>
                  <a:lnTo>
                    <a:pt x="9204460" y="7676929"/>
                  </a:lnTo>
                  <a:lnTo>
                    <a:pt x="9240945" y="7656168"/>
                  </a:lnTo>
                  <a:lnTo>
                    <a:pt x="9279510" y="7656314"/>
                  </a:lnTo>
                  <a:lnTo>
                    <a:pt x="9316001" y="7653807"/>
                  </a:lnTo>
                  <a:lnTo>
                    <a:pt x="9352485" y="7651302"/>
                  </a:lnTo>
                  <a:lnTo>
                    <a:pt x="9385987" y="7646606"/>
                  </a:lnTo>
                  <a:lnTo>
                    <a:pt x="9401689" y="7629320"/>
                  </a:lnTo>
                  <a:lnTo>
                    <a:pt x="9418044" y="7611330"/>
                  </a:lnTo>
                  <a:lnTo>
                    <a:pt x="9436787" y="7592192"/>
                  </a:lnTo>
                  <a:lnTo>
                    <a:pt x="9452020" y="7572195"/>
                  </a:lnTo>
                  <a:lnTo>
                    <a:pt x="9467247" y="7552199"/>
                  </a:lnTo>
                  <a:lnTo>
                    <a:pt x="9479371" y="7531050"/>
                  </a:lnTo>
                  <a:lnTo>
                    <a:pt x="9483299" y="7505548"/>
                  </a:lnTo>
                  <a:lnTo>
                    <a:pt x="9467294" y="7480672"/>
                  </a:lnTo>
                  <a:lnTo>
                    <a:pt x="9444898" y="7459693"/>
                  </a:lnTo>
                  <a:lnTo>
                    <a:pt x="9422094" y="7441617"/>
                  </a:lnTo>
                  <a:lnTo>
                    <a:pt x="9404690" y="7425875"/>
                  </a:lnTo>
                  <a:lnTo>
                    <a:pt x="9371768" y="7410330"/>
                  </a:lnTo>
                  <a:lnTo>
                    <a:pt x="9339327" y="7403841"/>
                  </a:lnTo>
                  <a:lnTo>
                    <a:pt x="9289739" y="7411082"/>
                  </a:lnTo>
                  <a:lnTo>
                    <a:pt x="9255670" y="7428783"/>
                  </a:lnTo>
                  <a:lnTo>
                    <a:pt x="9216701" y="7449781"/>
                  </a:lnTo>
                  <a:lnTo>
                    <a:pt x="9174989" y="7471967"/>
                  </a:lnTo>
                  <a:lnTo>
                    <a:pt x="9143255" y="7483791"/>
                  </a:lnTo>
                  <a:lnTo>
                    <a:pt x="9111520" y="7495609"/>
                  </a:lnTo>
                  <a:lnTo>
                    <a:pt x="9078282" y="7503641"/>
                  </a:lnTo>
                  <a:lnTo>
                    <a:pt x="9052634" y="7471835"/>
                  </a:lnTo>
                  <a:lnTo>
                    <a:pt x="9053477" y="7438899"/>
                  </a:lnTo>
                  <a:lnTo>
                    <a:pt x="9067228" y="7409829"/>
                  </a:lnTo>
                  <a:lnTo>
                    <a:pt x="9103515" y="7370550"/>
                  </a:lnTo>
                  <a:lnTo>
                    <a:pt x="9137305" y="7347277"/>
                  </a:lnTo>
                  <a:lnTo>
                    <a:pt x="9155493" y="7326008"/>
                  </a:lnTo>
                  <a:lnTo>
                    <a:pt x="9170425" y="7308550"/>
                  </a:lnTo>
                  <a:lnTo>
                    <a:pt x="9181339" y="7270235"/>
                  </a:lnTo>
                  <a:lnTo>
                    <a:pt x="9190393" y="7232386"/>
                  </a:lnTo>
                  <a:lnTo>
                    <a:pt x="9208544" y="7215827"/>
                  </a:lnTo>
                  <a:lnTo>
                    <a:pt x="9240622" y="7216150"/>
                  </a:lnTo>
                  <a:lnTo>
                    <a:pt x="9260333" y="7192685"/>
                  </a:lnTo>
                  <a:lnTo>
                    <a:pt x="9273827" y="7165494"/>
                  </a:lnTo>
                  <a:lnTo>
                    <a:pt x="9287320" y="7138303"/>
                  </a:lnTo>
                  <a:lnTo>
                    <a:pt x="9295069" y="7108119"/>
                  </a:lnTo>
                  <a:lnTo>
                    <a:pt x="9293636" y="7078995"/>
                  </a:lnTo>
                  <a:lnTo>
                    <a:pt x="9288790" y="7052597"/>
                  </a:lnTo>
                  <a:lnTo>
                    <a:pt x="9283969" y="7027543"/>
                  </a:lnTo>
                  <a:lnTo>
                    <a:pt x="9278713" y="6996566"/>
                  </a:lnTo>
                  <a:lnTo>
                    <a:pt x="9268332" y="6972428"/>
                  </a:lnTo>
                  <a:lnTo>
                    <a:pt x="9256147" y="6950580"/>
                  </a:lnTo>
                  <a:lnTo>
                    <a:pt x="9243953" y="6928738"/>
                  </a:lnTo>
                  <a:lnTo>
                    <a:pt x="9229851" y="6908366"/>
                  </a:lnTo>
                  <a:lnTo>
                    <a:pt x="9185417" y="6855369"/>
                  </a:lnTo>
                  <a:lnTo>
                    <a:pt x="9152770" y="6814560"/>
                  </a:lnTo>
                  <a:lnTo>
                    <a:pt x="9132899" y="6785258"/>
                  </a:lnTo>
                  <a:lnTo>
                    <a:pt x="9115511" y="6751374"/>
                  </a:lnTo>
                  <a:lnTo>
                    <a:pt x="9101081" y="6719349"/>
                  </a:lnTo>
                  <a:lnTo>
                    <a:pt x="9082080" y="6679575"/>
                  </a:lnTo>
                  <a:lnTo>
                    <a:pt x="9072806" y="6645453"/>
                  </a:lnTo>
                  <a:lnTo>
                    <a:pt x="9068435" y="6615974"/>
                  </a:lnTo>
                  <a:lnTo>
                    <a:pt x="9064069" y="6586495"/>
                  </a:lnTo>
                  <a:lnTo>
                    <a:pt x="9064512" y="6561757"/>
                  </a:lnTo>
                  <a:lnTo>
                    <a:pt x="9067076" y="6539804"/>
                  </a:lnTo>
                  <a:lnTo>
                    <a:pt x="9072208" y="6495887"/>
                  </a:lnTo>
                  <a:lnTo>
                    <a:pt x="9083156" y="6464205"/>
                  </a:lnTo>
                  <a:lnTo>
                    <a:pt x="9069793" y="6433711"/>
                  </a:lnTo>
                  <a:lnTo>
                    <a:pt x="9031907" y="6415067"/>
                  </a:lnTo>
                  <a:lnTo>
                    <a:pt x="9008612" y="6407337"/>
                  </a:lnTo>
                  <a:lnTo>
                    <a:pt x="8985466" y="6399700"/>
                  </a:lnTo>
                  <a:lnTo>
                    <a:pt x="8962311" y="6392070"/>
                  </a:lnTo>
                  <a:lnTo>
                    <a:pt x="8938771" y="6385047"/>
                  </a:lnTo>
                  <a:lnTo>
                    <a:pt x="8916093" y="6376579"/>
                  </a:lnTo>
                  <a:lnTo>
                    <a:pt x="8892476" y="6364946"/>
                  </a:lnTo>
                  <a:lnTo>
                    <a:pt x="8868980" y="6350133"/>
                  </a:lnTo>
                  <a:lnTo>
                    <a:pt x="8848085" y="6335777"/>
                  </a:lnTo>
                  <a:lnTo>
                    <a:pt x="8815579" y="6313954"/>
                  </a:lnTo>
                  <a:lnTo>
                    <a:pt x="8780753" y="6293068"/>
                  </a:lnTo>
                  <a:lnTo>
                    <a:pt x="8752869" y="6266405"/>
                  </a:lnTo>
                  <a:lnTo>
                    <a:pt x="8726725" y="6238185"/>
                  </a:lnTo>
                  <a:lnTo>
                    <a:pt x="8708286" y="6204847"/>
                  </a:lnTo>
                  <a:lnTo>
                    <a:pt x="8699818" y="6164388"/>
                  </a:lnTo>
                  <a:lnTo>
                    <a:pt x="8698460" y="6141267"/>
                  </a:lnTo>
                  <a:lnTo>
                    <a:pt x="8703902" y="6118138"/>
                  </a:lnTo>
                  <a:lnTo>
                    <a:pt x="8717389" y="6094304"/>
                  </a:lnTo>
                  <a:lnTo>
                    <a:pt x="8738873" y="6080521"/>
                  </a:lnTo>
                  <a:lnTo>
                    <a:pt x="8762391" y="6069178"/>
                  </a:lnTo>
                  <a:lnTo>
                    <a:pt x="8785909" y="6057834"/>
                  </a:lnTo>
                  <a:lnTo>
                    <a:pt x="8811424" y="6048127"/>
                  </a:lnTo>
                  <a:lnTo>
                    <a:pt x="8830406" y="6029726"/>
                  </a:lnTo>
                  <a:lnTo>
                    <a:pt x="8835847" y="6007963"/>
                  </a:lnTo>
                  <a:lnTo>
                    <a:pt x="8800463" y="5975919"/>
                  </a:lnTo>
                  <a:lnTo>
                    <a:pt x="8765802" y="5965203"/>
                  </a:lnTo>
                  <a:lnTo>
                    <a:pt x="8735202" y="5956279"/>
                  </a:lnTo>
                  <a:lnTo>
                    <a:pt x="8732347" y="5911988"/>
                  </a:lnTo>
                  <a:lnTo>
                    <a:pt x="8727035" y="5888273"/>
                  </a:lnTo>
                  <a:lnTo>
                    <a:pt x="8714791" y="5865144"/>
                  </a:lnTo>
                  <a:lnTo>
                    <a:pt x="8675438" y="5870097"/>
                  </a:lnTo>
                  <a:lnTo>
                    <a:pt x="8617833" y="5875736"/>
                  </a:lnTo>
                  <a:lnTo>
                    <a:pt x="8561089" y="5876025"/>
                  </a:lnTo>
                  <a:lnTo>
                    <a:pt x="8504345" y="5876356"/>
                  </a:lnTo>
                  <a:lnTo>
                    <a:pt x="8448612" y="5871832"/>
                  </a:lnTo>
                  <a:lnTo>
                    <a:pt x="8414186" y="5856986"/>
                  </a:lnTo>
                  <a:lnTo>
                    <a:pt x="8397313" y="5835282"/>
                  </a:lnTo>
                  <a:lnTo>
                    <a:pt x="8387537" y="5797072"/>
                  </a:lnTo>
                  <a:lnTo>
                    <a:pt x="8384703" y="5773390"/>
                  </a:lnTo>
                  <a:lnTo>
                    <a:pt x="8382901" y="5749529"/>
                  </a:lnTo>
                  <a:lnTo>
                    <a:pt x="8379308" y="5701808"/>
                  </a:lnTo>
                  <a:lnTo>
                    <a:pt x="8380256" y="5651562"/>
                  </a:lnTo>
                  <a:lnTo>
                    <a:pt x="8377460" y="5629831"/>
                  </a:lnTo>
                  <a:lnTo>
                    <a:pt x="8371755" y="5600267"/>
                  </a:lnTo>
                  <a:lnTo>
                    <a:pt x="8364118" y="5569621"/>
                  </a:lnTo>
                  <a:lnTo>
                    <a:pt x="8357055" y="5540061"/>
                  </a:lnTo>
                  <a:lnTo>
                    <a:pt x="8351002" y="5505643"/>
                  </a:lnTo>
                  <a:lnTo>
                    <a:pt x="8346175" y="5482930"/>
                  </a:lnTo>
                  <a:lnTo>
                    <a:pt x="8341347" y="5460217"/>
                  </a:lnTo>
                  <a:lnTo>
                    <a:pt x="8335220" y="5438620"/>
                  </a:lnTo>
                  <a:lnTo>
                    <a:pt x="8256999" y="5416474"/>
                  </a:lnTo>
                  <a:lnTo>
                    <a:pt x="8222883" y="5411375"/>
                  </a:lnTo>
                  <a:lnTo>
                    <a:pt x="8201998" y="5391795"/>
                  </a:lnTo>
                  <a:lnTo>
                    <a:pt x="8181112" y="5372222"/>
                  </a:lnTo>
                  <a:lnTo>
                    <a:pt x="8173581" y="5338759"/>
                  </a:lnTo>
                  <a:lnTo>
                    <a:pt x="8154388" y="5265298"/>
                  </a:lnTo>
                  <a:lnTo>
                    <a:pt x="8176074" y="5240759"/>
                  </a:lnTo>
                  <a:lnTo>
                    <a:pt x="8197914" y="5228572"/>
                  </a:lnTo>
                  <a:lnTo>
                    <a:pt x="8219764" y="5216384"/>
                  </a:lnTo>
                  <a:lnTo>
                    <a:pt x="8243477" y="5203609"/>
                  </a:lnTo>
                  <a:lnTo>
                    <a:pt x="8254915" y="5176102"/>
                  </a:lnTo>
                  <a:lnTo>
                    <a:pt x="8248240" y="5153759"/>
                  </a:lnTo>
                  <a:lnTo>
                    <a:pt x="8238256" y="5131085"/>
                  </a:lnTo>
                  <a:lnTo>
                    <a:pt x="8217482" y="5078088"/>
                  </a:lnTo>
                  <a:lnTo>
                    <a:pt x="8201371" y="5054486"/>
                  </a:lnTo>
                  <a:lnTo>
                    <a:pt x="8185673" y="5039509"/>
                  </a:lnTo>
                  <a:lnTo>
                    <a:pt x="8169978" y="5024525"/>
                  </a:lnTo>
                  <a:lnTo>
                    <a:pt x="8139425" y="5017738"/>
                  </a:lnTo>
                  <a:lnTo>
                    <a:pt x="8109926" y="5015945"/>
                  </a:lnTo>
                  <a:lnTo>
                    <a:pt x="8083986" y="5030679"/>
                  </a:lnTo>
                  <a:lnTo>
                    <a:pt x="8063252" y="5017738"/>
                  </a:lnTo>
                  <a:lnTo>
                    <a:pt x="8045499" y="4987349"/>
                  </a:lnTo>
                  <a:lnTo>
                    <a:pt x="8012955" y="4969656"/>
                  </a:lnTo>
                  <a:lnTo>
                    <a:pt x="7984364" y="4953815"/>
                  </a:lnTo>
                  <a:lnTo>
                    <a:pt x="7955777" y="4937966"/>
                  </a:lnTo>
                  <a:lnTo>
                    <a:pt x="7930411" y="4924843"/>
                  </a:lnTo>
                  <a:lnTo>
                    <a:pt x="7931406" y="4895154"/>
                  </a:lnTo>
                  <a:lnTo>
                    <a:pt x="7950360" y="4880361"/>
                  </a:lnTo>
                  <a:lnTo>
                    <a:pt x="7970567" y="4867197"/>
                  </a:lnTo>
                  <a:lnTo>
                    <a:pt x="7982631" y="4845888"/>
                  </a:lnTo>
                  <a:lnTo>
                    <a:pt x="7977559" y="4816436"/>
                  </a:lnTo>
                  <a:lnTo>
                    <a:pt x="7974235" y="4782683"/>
                  </a:lnTo>
                  <a:lnTo>
                    <a:pt x="7985722" y="4762022"/>
                  </a:lnTo>
                  <a:lnTo>
                    <a:pt x="8011780" y="4746715"/>
                  </a:lnTo>
                  <a:lnTo>
                    <a:pt x="8046720" y="4739250"/>
                  </a:lnTo>
                  <a:lnTo>
                    <a:pt x="8075500" y="4737541"/>
                  </a:lnTo>
                  <a:lnTo>
                    <a:pt x="8094308" y="4711399"/>
                  </a:lnTo>
                  <a:lnTo>
                    <a:pt x="8084826" y="4678971"/>
                  </a:lnTo>
                  <a:lnTo>
                    <a:pt x="8071416" y="4649130"/>
                  </a:lnTo>
                  <a:lnTo>
                    <a:pt x="8058009" y="4619282"/>
                  </a:lnTo>
                  <a:lnTo>
                    <a:pt x="8040203" y="4592276"/>
                  </a:lnTo>
                  <a:lnTo>
                    <a:pt x="8003021" y="4571383"/>
                  </a:lnTo>
                  <a:lnTo>
                    <a:pt x="7973689" y="4570815"/>
                  </a:lnTo>
                  <a:lnTo>
                    <a:pt x="7943554" y="4571600"/>
                  </a:lnTo>
                  <a:lnTo>
                    <a:pt x="7913429" y="4572386"/>
                  </a:lnTo>
                  <a:lnTo>
                    <a:pt x="7883015" y="4574350"/>
                  </a:lnTo>
                  <a:lnTo>
                    <a:pt x="7855144" y="4566153"/>
                  </a:lnTo>
                  <a:lnTo>
                    <a:pt x="7830795" y="4553584"/>
                  </a:lnTo>
                  <a:lnTo>
                    <a:pt x="7811485" y="4532486"/>
                  </a:lnTo>
                  <a:lnTo>
                    <a:pt x="7798013" y="4509028"/>
                  </a:lnTo>
                  <a:lnTo>
                    <a:pt x="7785421" y="4474029"/>
                  </a:lnTo>
                  <a:lnTo>
                    <a:pt x="7783412" y="4437935"/>
                  </a:lnTo>
                  <a:lnTo>
                    <a:pt x="7789855" y="4401570"/>
                  </a:lnTo>
                  <a:lnTo>
                    <a:pt x="7800189" y="4366327"/>
                  </a:lnTo>
                  <a:lnTo>
                    <a:pt x="7821608" y="4334302"/>
                  </a:lnTo>
                  <a:lnTo>
                    <a:pt x="7848345" y="4310436"/>
                  </a:lnTo>
                  <a:lnTo>
                    <a:pt x="7881121" y="4286113"/>
                  </a:lnTo>
                  <a:lnTo>
                    <a:pt x="7916220" y="4266758"/>
                  </a:lnTo>
                  <a:lnTo>
                    <a:pt x="7951721" y="4247869"/>
                  </a:lnTo>
                  <a:lnTo>
                    <a:pt x="7971354" y="4233130"/>
                  </a:lnTo>
                  <a:lnTo>
                    <a:pt x="7995985" y="4220078"/>
                  </a:lnTo>
                  <a:lnTo>
                    <a:pt x="8018052" y="4213583"/>
                  </a:lnTo>
                  <a:lnTo>
                    <a:pt x="8038773" y="4205703"/>
                  </a:lnTo>
                  <a:lnTo>
                    <a:pt x="8059495" y="4197827"/>
                  </a:lnTo>
                  <a:lnTo>
                    <a:pt x="8078666" y="4188172"/>
                  </a:lnTo>
                  <a:lnTo>
                    <a:pt x="8090451" y="4147410"/>
                  </a:lnTo>
                  <a:lnTo>
                    <a:pt x="8086343" y="4126616"/>
                  </a:lnTo>
                  <a:lnTo>
                    <a:pt x="8075534" y="4086203"/>
                  </a:lnTo>
                  <a:lnTo>
                    <a:pt x="8069665" y="4065956"/>
                  </a:lnTo>
                  <a:lnTo>
                    <a:pt x="8064611" y="4042478"/>
                  </a:lnTo>
                  <a:lnTo>
                    <a:pt x="8069742" y="4018697"/>
                  </a:lnTo>
                  <a:lnTo>
                    <a:pt x="8095824" y="4003278"/>
                  </a:lnTo>
                  <a:lnTo>
                    <a:pt x="8125825" y="3989429"/>
                  </a:lnTo>
                  <a:lnTo>
                    <a:pt x="8155820" y="3975586"/>
                  </a:lnTo>
                  <a:lnTo>
                    <a:pt x="8189270" y="3964223"/>
                  </a:lnTo>
                  <a:lnTo>
                    <a:pt x="8210155" y="3949985"/>
                  </a:lnTo>
                  <a:lnTo>
                    <a:pt x="8214626" y="3912789"/>
                  </a:lnTo>
                  <a:lnTo>
                    <a:pt x="8197526" y="3875647"/>
                  </a:lnTo>
                  <a:lnTo>
                    <a:pt x="8183763" y="3856997"/>
                  </a:lnTo>
                  <a:lnTo>
                    <a:pt x="8173435" y="3838452"/>
                  </a:lnTo>
                  <a:lnTo>
                    <a:pt x="8163107" y="3819906"/>
                  </a:lnTo>
                  <a:lnTo>
                    <a:pt x="8159836" y="3784043"/>
                  </a:lnTo>
                  <a:lnTo>
                    <a:pt x="8175577" y="3748168"/>
                  </a:lnTo>
                  <a:lnTo>
                    <a:pt x="8207445" y="3730994"/>
                  </a:lnTo>
                  <a:lnTo>
                    <a:pt x="8218601" y="3704358"/>
                  </a:lnTo>
                  <a:lnTo>
                    <a:pt x="8218759" y="3683345"/>
                  </a:lnTo>
                  <a:lnTo>
                    <a:pt x="8201560" y="3650780"/>
                  </a:lnTo>
                  <a:lnTo>
                    <a:pt x="8165271" y="3627618"/>
                  </a:lnTo>
                  <a:lnTo>
                    <a:pt x="8146237" y="3616269"/>
                  </a:lnTo>
                  <a:lnTo>
                    <a:pt x="8124204" y="3605454"/>
                  </a:lnTo>
                  <a:lnTo>
                    <a:pt x="8104062" y="3593616"/>
                  </a:lnTo>
                  <a:lnTo>
                    <a:pt x="8083921" y="3581772"/>
                  </a:lnTo>
                  <a:lnTo>
                    <a:pt x="8065662" y="3569208"/>
                  </a:lnTo>
                  <a:lnTo>
                    <a:pt x="8053737" y="3551448"/>
                  </a:lnTo>
                  <a:lnTo>
                    <a:pt x="8056902" y="3524884"/>
                  </a:lnTo>
                  <a:lnTo>
                    <a:pt x="8076824" y="3501973"/>
                  </a:lnTo>
                  <a:lnTo>
                    <a:pt x="8098621" y="3482075"/>
                  </a:lnTo>
                  <a:lnTo>
                    <a:pt x="8120418" y="3462185"/>
                  </a:lnTo>
                  <a:lnTo>
                    <a:pt x="8144826" y="3444716"/>
                  </a:lnTo>
                  <a:lnTo>
                    <a:pt x="8152047" y="3411602"/>
                  </a:lnTo>
                  <a:lnTo>
                    <a:pt x="8144857" y="3382598"/>
                  </a:lnTo>
                  <a:lnTo>
                    <a:pt x="8125825" y="3359661"/>
                  </a:lnTo>
                  <a:lnTo>
                    <a:pt x="8104062" y="3355585"/>
                  </a:lnTo>
                  <a:lnTo>
                    <a:pt x="8080941" y="3352862"/>
                  </a:lnTo>
                  <a:lnTo>
                    <a:pt x="8058347" y="3366296"/>
                  </a:lnTo>
                  <a:lnTo>
                    <a:pt x="8039886" y="3377046"/>
                  </a:lnTo>
                  <a:lnTo>
                    <a:pt x="8002289" y="3385804"/>
                  </a:lnTo>
                  <a:lnTo>
                    <a:pt x="7959879" y="3370543"/>
                  </a:lnTo>
                  <a:lnTo>
                    <a:pt x="7948956" y="3340140"/>
                  </a:lnTo>
                  <a:lnTo>
                    <a:pt x="7943601" y="3308452"/>
                  </a:lnTo>
                  <a:lnTo>
                    <a:pt x="7936755" y="3278049"/>
                  </a:lnTo>
                  <a:lnTo>
                    <a:pt x="7930064" y="3257368"/>
                  </a:lnTo>
                  <a:lnTo>
                    <a:pt x="7908192" y="3234523"/>
                  </a:lnTo>
                  <a:lnTo>
                    <a:pt x="7881729" y="3215259"/>
                  </a:lnTo>
                  <a:lnTo>
                    <a:pt x="7854254" y="3184060"/>
                  </a:lnTo>
                  <a:lnTo>
                    <a:pt x="7844019" y="3140994"/>
                  </a:lnTo>
                  <a:lnTo>
                    <a:pt x="7829304" y="3101227"/>
                  </a:lnTo>
                  <a:lnTo>
                    <a:pt x="7821946" y="3081337"/>
                  </a:lnTo>
                  <a:lnTo>
                    <a:pt x="7803461" y="3048178"/>
                  </a:lnTo>
                  <a:lnTo>
                    <a:pt x="7779890" y="3023624"/>
                  </a:lnTo>
                  <a:lnTo>
                    <a:pt x="7741719" y="3020519"/>
                  </a:lnTo>
                  <a:lnTo>
                    <a:pt x="7701662" y="3020142"/>
                  </a:lnTo>
                  <a:lnTo>
                    <a:pt x="7661999" y="3016891"/>
                  </a:lnTo>
                  <a:lnTo>
                    <a:pt x="7622331" y="3013640"/>
                  </a:lnTo>
                  <a:lnTo>
                    <a:pt x="7582631" y="3008073"/>
                  </a:lnTo>
                  <a:lnTo>
                    <a:pt x="7564064" y="2995128"/>
                  </a:lnTo>
                  <a:lnTo>
                    <a:pt x="7547309" y="2972342"/>
                  </a:lnTo>
                  <a:lnTo>
                    <a:pt x="7542630" y="2948206"/>
                  </a:lnTo>
                  <a:lnTo>
                    <a:pt x="7540937" y="2923040"/>
                  </a:lnTo>
                  <a:lnTo>
                    <a:pt x="7539253" y="2897874"/>
                  </a:lnTo>
                  <a:lnTo>
                    <a:pt x="7540615" y="2871071"/>
                  </a:lnTo>
                  <a:lnTo>
                    <a:pt x="7536860" y="2844144"/>
                  </a:lnTo>
                  <a:lnTo>
                    <a:pt x="7533945" y="2823120"/>
                  </a:lnTo>
                  <a:lnTo>
                    <a:pt x="7517822" y="2796542"/>
                  </a:lnTo>
                  <a:lnTo>
                    <a:pt x="7497727" y="2773553"/>
                  </a:lnTo>
                  <a:lnTo>
                    <a:pt x="7478067" y="2751518"/>
                  </a:lnTo>
                  <a:lnTo>
                    <a:pt x="7464771" y="2723089"/>
                  </a:lnTo>
                  <a:lnTo>
                    <a:pt x="7458737" y="2684257"/>
                  </a:lnTo>
                  <a:lnTo>
                    <a:pt x="7464771" y="2653717"/>
                  </a:lnTo>
                  <a:lnTo>
                    <a:pt x="7476860" y="2616119"/>
                  </a:lnTo>
                  <a:lnTo>
                    <a:pt x="7498940" y="2585222"/>
                  </a:lnTo>
                  <a:lnTo>
                    <a:pt x="7530060" y="2562589"/>
                  </a:lnTo>
                  <a:lnTo>
                    <a:pt x="7590934" y="2531651"/>
                  </a:lnTo>
                  <a:lnTo>
                    <a:pt x="7630721" y="2506816"/>
                  </a:lnTo>
                  <a:lnTo>
                    <a:pt x="7650611" y="2494404"/>
                  </a:lnTo>
                  <a:lnTo>
                    <a:pt x="7669677" y="2481168"/>
                  </a:lnTo>
                  <a:lnTo>
                    <a:pt x="7697861" y="2453574"/>
                  </a:lnTo>
                  <a:lnTo>
                    <a:pt x="7708248" y="2425204"/>
                  </a:lnTo>
                  <a:lnTo>
                    <a:pt x="7710967" y="2369436"/>
                  </a:lnTo>
                  <a:lnTo>
                    <a:pt x="7713683" y="2315029"/>
                  </a:lnTo>
                  <a:lnTo>
                    <a:pt x="7684566" y="2249521"/>
                  </a:lnTo>
                  <a:lnTo>
                    <a:pt x="7655194" y="2199414"/>
                  </a:lnTo>
                  <a:lnTo>
                    <a:pt x="7640512" y="2174352"/>
                  </a:lnTo>
                  <a:lnTo>
                    <a:pt x="7626169" y="2147735"/>
                  </a:lnTo>
                  <a:lnTo>
                    <a:pt x="7615748" y="2123242"/>
                  </a:lnTo>
                  <a:lnTo>
                    <a:pt x="7605330" y="2098743"/>
                  </a:lnTo>
                  <a:lnTo>
                    <a:pt x="7599023" y="2076425"/>
                  </a:lnTo>
                  <a:lnTo>
                    <a:pt x="7602105" y="2044163"/>
                  </a:lnTo>
                  <a:lnTo>
                    <a:pt x="7618473" y="2026667"/>
                  </a:lnTo>
                  <a:lnTo>
                    <a:pt x="7639306" y="2013833"/>
                  </a:lnTo>
                  <a:lnTo>
                    <a:pt x="7662923" y="2004138"/>
                  </a:lnTo>
                  <a:lnTo>
                    <a:pt x="7683762" y="1994022"/>
                  </a:lnTo>
                  <a:lnTo>
                    <a:pt x="7698720" y="1969541"/>
                  </a:lnTo>
                  <a:lnTo>
                    <a:pt x="7698317" y="1938038"/>
                  </a:lnTo>
                  <a:lnTo>
                    <a:pt x="7704167" y="1902887"/>
                  </a:lnTo>
                  <a:lnTo>
                    <a:pt x="7706738" y="1867960"/>
                  </a:lnTo>
                  <a:lnTo>
                    <a:pt x="7701867" y="1836226"/>
                  </a:lnTo>
                  <a:lnTo>
                    <a:pt x="7668799" y="1815835"/>
                  </a:lnTo>
                  <a:lnTo>
                    <a:pt x="7649312" y="1805626"/>
                  </a:lnTo>
                  <a:lnTo>
                    <a:pt x="7623596" y="1795997"/>
                  </a:lnTo>
                  <a:lnTo>
                    <a:pt x="7596710" y="1784554"/>
                  </a:lnTo>
                  <a:lnTo>
                    <a:pt x="7569822" y="1773105"/>
                  </a:lnTo>
                  <a:lnTo>
                    <a:pt x="7542308" y="1759719"/>
                  </a:lnTo>
                  <a:lnTo>
                    <a:pt x="7517816" y="1741028"/>
                  </a:lnTo>
                  <a:lnTo>
                    <a:pt x="7493328" y="1722332"/>
                  </a:lnTo>
                  <a:lnTo>
                    <a:pt x="7471636" y="1698161"/>
                  </a:lnTo>
                  <a:lnTo>
                    <a:pt x="7459333" y="1666216"/>
                  </a:lnTo>
                  <a:lnTo>
                    <a:pt x="7448363" y="1637746"/>
                  </a:lnTo>
                  <a:lnTo>
                    <a:pt x="7443979" y="1601077"/>
                  </a:lnTo>
                  <a:lnTo>
                    <a:pt x="7444366" y="1564199"/>
                  </a:lnTo>
                  <a:lnTo>
                    <a:pt x="7444763" y="1527320"/>
                  </a:lnTo>
                  <a:lnTo>
                    <a:pt x="7450357" y="1490594"/>
                  </a:lnTo>
                  <a:lnTo>
                    <a:pt x="7460691" y="1462183"/>
                  </a:lnTo>
                  <a:lnTo>
                    <a:pt x="7473992" y="1440657"/>
                  </a:lnTo>
                  <a:lnTo>
                    <a:pt x="7491349" y="1408645"/>
                  </a:lnTo>
                  <a:lnTo>
                    <a:pt x="7502164" y="1388630"/>
                  </a:lnTo>
                  <a:lnTo>
                    <a:pt x="7509658" y="1368330"/>
                  </a:lnTo>
                  <a:lnTo>
                    <a:pt x="7517149" y="1348032"/>
                  </a:lnTo>
                  <a:lnTo>
                    <a:pt x="7521896" y="1303041"/>
                  </a:lnTo>
                  <a:lnTo>
                    <a:pt x="7511947" y="1280512"/>
                  </a:lnTo>
                  <a:lnTo>
                    <a:pt x="7497027" y="1264434"/>
                  </a:lnTo>
                  <a:lnTo>
                    <a:pt x="7478370" y="1254073"/>
                  </a:lnTo>
                  <a:lnTo>
                    <a:pt x="7459714" y="1243713"/>
                  </a:lnTo>
                  <a:lnTo>
                    <a:pt x="7437514" y="1238484"/>
                  </a:lnTo>
                  <a:lnTo>
                    <a:pt x="7414439" y="1235034"/>
                  </a:lnTo>
                  <a:lnTo>
                    <a:pt x="7368295" y="1228123"/>
                  </a:lnTo>
                  <a:lnTo>
                    <a:pt x="7317890" y="1229593"/>
                  </a:lnTo>
                  <a:lnTo>
                    <a:pt x="7279786" y="1218711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22" name="Zhytomyr¬0" descr="Zhytomyr¬0">
              <a:extLst>
                <a:ext uri="{FF2B5EF4-FFF2-40B4-BE49-F238E27FC236}">
                  <a16:creationId xmlns:a16="http://schemas.microsoft.com/office/drawing/2014/main" id="{3378FB86-08FD-4580-9B5D-92A2808CA0EA}"/>
                </a:ext>
              </a:extLst>
            </p:cNvPr>
            <p:cNvSpPr/>
            <p:nvPr/>
          </p:nvSpPr>
          <p:spPr>
            <a:xfrm>
              <a:off x="2607352" y="1507563"/>
              <a:ext cx="877423" cy="943753"/>
            </a:xfrm>
            <a:custGeom>
              <a:avLst/>
              <a:gdLst/>
              <a:ahLst/>
              <a:cxnLst/>
              <a:rect l="0" t="0" r="0" b="0"/>
              <a:pathLst>
                <a:path w="8953623" h="10932180">
                  <a:moveTo>
                    <a:pt x="3647014" y="0"/>
                  </a:moveTo>
                  <a:lnTo>
                    <a:pt x="3540790" y="46501"/>
                  </a:lnTo>
                  <a:lnTo>
                    <a:pt x="3473503" y="134660"/>
                  </a:lnTo>
                  <a:lnTo>
                    <a:pt x="3444900" y="172129"/>
                  </a:lnTo>
                  <a:lnTo>
                    <a:pt x="3421179" y="226877"/>
                  </a:lnTo>
                  <a:lnTo>
                    <a:pt x="3400054" y="269320"/>
                  </a:lnTo>
                  <a:lnTo>
                    <a:pt x="3374526" y="320518"/>
                  </a:lnTo>
                  <a:lnTo>
                    <a:pt x="3360097" y="382853"/>
                  </a:lnTo>
                  <a:lnTo>
                    <a:pt x="3321160" y="425742"/>
                  </a:lnTo>
                  <a:lnTo>
                    <a:pt x="3302504" y="446294"/>
                  </a:lnTo>
                  <a:lnTo>
                    <a:pt x="3241652" y="480001"/>
                  </a:lnTo>
                  <a:lnTo>
                    <a:pt x="3215069" y="489671"/>
                  </a:lnTo>
                  <a:lnTo>
                    <a:pt x="3137577" y="517896"/>
                  </a:lnTo>
                  <a:lnTo>
                    <a:pt x="3062363" y="508714"/>
                  </a:lnTo>
                  <a:lnTo>
                    <a:pt x="2982472" y="508714"/>
                  </a:lnTo>
                  <a:lnTo>
                    <a:pt x="2935734" y="508714"/>
                  </a:lnTo>
                  <a:lnTo>
                    <a:pt x="2896336" y="522423"/>
                  </a:lnTo>
                  <a:lnTo>
                    <a:pt x="2843735" y="516875"/>
                  </a:lnTo>
                  <a:lnTo>
                    <a:pt x="2817679" y="510138"/>
                  </a:lnTo>
                  <a:lnTo>
                    <a:pt x="2786690" y="501850"/>
                  </a:lnTo>
                  <a:lnTo>
                    <a:pt x="2762116" y="491032"/>
                  </a:lnTo>
                  <a:lnTo>
                    <a:pt x="2737530" y="480192"/>
                  </a:lnTo>
                  <a:lnTo>
                    <a:pt x="2717060" y="463743"/>
                  </a:lnTo>
                  <a:lnTo>
                    <a:pt x="2691394" y="452946"/>
                  </a:lnTo>
                  <a:lnTo>
                    <a:pt x="2630588" y="421024"/>
                  </a:lnTo>
                  <a:lnTo>
                    <a:pt x="2554418" y="329890"/>
                  </a:lnTo>
                  <a:lnTo>
                    <a:pt x="2503683" y="280201"/>
                  </a:lnTo>
                  <a:lnTo>
                    <a:pt x="2484471" y="261392"/>
                  </a:lnTo>
                  <a:lnTo>
                    <a:pt x="2469382" y="229916"/>
                  </a:lnTo>
                  <a:lnTo>
                    <a:pt x="2445192" y="216272"/>
                  </a:lnTo>
                  <a:lnTo>
                    <a:pt x="2374356" y="191108"/>
                  </a:lnTo>
                  <a:lnTo>
                    <a:pt x="2342648" y="208408"/>
                  </a:lnTo>
                  <a:lnTo>
                    <a:pt x="2313254" y="225792"/>
                  </a:lnTo>
                  <a:lnTo>
                    <a:pt x="2255253" y="267024"/>
                  </a:lnTo>
                  <a:lnTo>
                    <a:pt x="2179022" y="353163"/>
                  </a:lnTo>
                  <a:lnTo>
                    <a:pt x="2182676" y="428463"/>
                  </a:lnTo>
                  <a:lnTo>
                    <a:pt x="2184119" y="458451"/>
                  </a:lnTo>
                  <a:lnTo>
                    <a:pt x="2200442" y="489204"/>
                  </a:lnTo>
                  <a:lnTo>
                    <a:pt x="2207163" y="518236"/>
                  </a:lnTo>
                  <a:lnTo>
                    <a:pt x="2212834" y="542762"/>
                  </a:lnTo>
                  <a:lnTo>
                    <a:pt x="2217082" y="665669"/>
                  </a:lnTo>
                  <a:lnTo>
                    <a:pt x="2208521" y="686900"/>
                  </a:lnTo>
                  <a:lnTo>
                    <a:pt x="2188862" y="717802"/>
                  </a:lnTo>
                  <a:lnTo>
                    <a:pt x="2144122" y="766918"/>
                  </a:lnTo>
                  <a:lnTo>
                    <a:pt x="2117999" y="806279"/>
                  </a:lnTo>
                  <a:lnTo>
                    <a:pt x="2091540" y="850124"/>
                  </a:lnTo>
                  <a:lnTo>
                    <a:pt x="2069737" y="886276"/>
                  </a:lnTo>
                  <a:lnTo>
                    <a:pt x="2030459" y="912205"/>
                  </a:lnTo>
                  <a:lnTo>
                    <a:pt x="2008570" y="946698"/>
                  </a:lnTo>
                  <a:lnTo>
                    <a:pt x="1994246" y="969269"/>
                  </a:lnTo>
                  <a:lnTo>
                    <a:pt x="1995816" y="996431"/>
                  </a:lnTo>
                  <a:lnTo>
                    <a:pt x="1978642" y="1020149"/>
                  </a:lnTo>
                  <a:lnTo>
                    <a:pt x="1934179" y="1025399"/>
                  </a:lnTo>
                  <a:lnTo>
                    <a:pt x="1883728" y="970672"/>
                  </a:lnTo>
                  <a:lnTo>
                    <a:pt x="1857586" y="953499"/>
                  </a:lnTo>
                  <a:lnTo>
                    <a:pt x="1828575" y="934435"/>
                  </a:lnTo>
                  <a:lnTo>
                    <a:pt x="1742842" y="901068"/>
                  </a:lnTo>
                  <a:lnTo>
                    <a:pt x="1727008" y="875967"/>
                  </a:lnTo>
                  <a:lnTo>
                    <a:pt x="1735165" y="851485"/>
                  </a:lnTo>
                  <a:lnTo>
                    <a:pt x="1712782" y="876946"/>
                  </a:lnTo>
                  <a:lnTo>
                    <a:pt x="1689357" y="893860"/>
                  </a:lnTo>
                  <a:lnTo>
                    <a:pt x="1668338" y="903094"/>
                  </a:lnTo>
                  <a:lnTo>
                    <a:pt x="1645395" y="905892"/>
                  </a:lnTo>
                  <a:lnTo>
                    <a:pt x="1621318" y="908831"/>
                  </a:lnTo>
                  <a:lnTo>
                    <a:pt x="1583509" y="908230"/>
                  </a:lnTo>
                  <a:lnTo>
                    <a:pt x="1561066" y="915413"/>
                  </a:lnTo>
                  <a:lnTo>
                    <a:pt x="1535221" y="930376"/>
                  </a:lnTo>
                  <a:lnTo>
                    <a:pt x="1480813" y="957580"/>
                  </a:lnTo>
                  <a:lnTo>
                    <a:pt x="1450865" y="969907"/>
                  </a:lnTo>
                  <a:lnTo>
                    <a:pt x="1425831" y="967908"/>
                  </a:lnTo>
                  <a:lnTo>
                    <a:pt x="1396477" y="990225"/>
                  </a:lnTo>
                  <a:lnTo>
                    <a:pt x="1370473" y="1049656"/>
                  </a:lnTo>
                  <a:lnTo>
                    <a:pt x="1357033" y="1097680"/>
                  </a:lnTo>
                  <a:lnTo>
                    <a:pt x="1343592" y="1145704"/>
                  </a:lnTo>
                  <a:lnTo>
                    <a:pt x="1332994" y="1194775"/>
                  </a:lnTo>
                  <a:lnTo>
                    <a:pt x="1369267" y="1254836"/>
                  </a:lnTo>
                  <a:lnTo>
                    <a:pt x="1405446" y="1275433"/>
                  </a:lnTo>
                  <a:lnTo>
                    <a:pt x="1430480" y="1301710"/>
                  </a:lnTo>
                  <a:lnTo>
                    <a:pt x="1452606" y="1329992"/>
                  </a:lnTo>
                  <a:lnTo>
                    <a:pt x="1462769" y="1368642"/>
                  </a:lnTo>
                  <a:lnTo>
                    <a:pt x="1463738" y="1392854"/>
                  </a:lnTo>
                  <a:lnTo>
                    <a:pt x="1457684" y="1425489"/>
                  </a:lnTo>
                  <a:lnTo>
                    <a:pt x="1416031" y="1424276"/>
                  </a:lnTo>
                  <a:lnTo>
                    <a:pt x="1369557" y="1393547"/>
                  </a:lnTo>
                  <a:lnTo>
                    <a:pt x="1325747" y="1358838"/>
                  </a:lnTo>
                  <a:lnTo>
                    <a:pt x="1281937" y="1324130"/>
                  </a:lnTo>
                  <a:lnTo>
                    <a:pt x="1240026" y="1286036"/>
                  </a:lnTo>
                  <a:lnTo>
                    <a:pt x="1226454" y="1264984"/>
                  </a:lnTo>
                  <a:lnTo>
                    <a:pt x="1213977" y="1212207"/>
                  </a:lnTo>
                  <a:lnTo>
                    <a:pt x="1195167" y="1186093"/>
                  </a:lnTo>
                  <a:lnTo>
                    <a:pt x="1175330" y="1161590"/>
                  </a:lnTo>
                  <a:lnTo>
                    <a:pt x="1152433" y="1145307"/>
                  </a:lnTo>
                  <a:lnTo>
                    <a:pt x="1128520" y="1142567"/>
                  </a:lnTo>
                  <a:lnTo>
                    <a:pt x="1103802" y="1154788"/>
                  </a:lnTo>
                  <a:lnTo>
                    <a:pt x="1086701" y="1201269"/>
                  </a:lnTo>
                  <a:lnTo>
                    <a:pt x="1081952" y="1233318"/>
                  </a:lnTo>
                  <a:lnTo>
                    <a:pt x="1085013" y="1263923"/>
                  </a:lnTo>
                  <a:lnTo>
                    <a:pt x="1080911" y="1293549"/>
                  </a:lnTo>
                  <a:lnTo>
                    <a:pt x="1077001" y="1321816"/>
                  </a:lnTo>
                  <a:lnTo>
                    <a:pt x="1067781" y="1353504"/>
                  </a:lnTo>
                  <a:lnTo>
                    <a:pt x="1061871" y="1381961"/>
                  </a:lnTo>
                  <a:lnTo>
                    <a:pt x="1053047" y="1424489"/>
                  </a:lnTo>
                  <a:lnTo>
                    <a:pt x="1032393" y="1462362"/>
                  </a:lnTo>
                  <a:lnTo>
                    <a:pt x="1027869" y="1505740"/>
                  </a:lnTo>
                  <a:lnTo>
                    <a:pt x="1037470" y="1530797"/>
                  </a:lnTo>
                  <a:lnTo>
                    <a:pt x="1059808" y="1546812"/>
                  </a:lnTo>
                  <a:lnTo>
                    <a:pt x="1082270" y="1562868"/>
                  </a:lnTo>
                  <a:lnTo>
                    <a:pt x="1104739" y="1578926"/>
                  </a:lnTo>
                  <a:lnTo>
                    <a:pt x="1127511" y="1595428"/>
                  </a:lnTo>
                  <a:lnTo>
                    <a:pt x="1138042" y="1619997"/>
                  </a:lnTo>
                  <a:lnTo>
                    <a:pt x="1146880" y="1647626"/>
                  </a:lnTo>
                  <a:lnTo>
                    <a:pt x="1136090" y="1674744"/>
                  </a:lnTo>
                  <a:lnTo>
                    <a:pt x="1127160" y="1700249"/>
                  </a:lnTo>
                  <a:lnTo>
                    <a:pt x="1118423" y="1725263"/>
                  </a:lnTo>
                  <a:lnTo>
                    <a:pt x="1090434" y="1757377"/>
                  </a:lnTo>
                  <a:lnTo>
                    <a:pt x="1066699" y="1786141"/>
                  </a:lnTo>
                  <a:lnTo>
                    <a:pt x="1044995" y="1804504"/>
                  </a:lnTo>
                  <a:lnTo>
                    <a:pt x="1023785" y="1815865"/>
                  </a:lnTo>
                  <a:lnTo>
                    <a:pt x="1002570" y="1827227"/>
                  </a:lnTo>
                  <a:lnTo>
                    <a:pt x="981579" y="1831874"/>
                  </a:lnTo>
                  <a:lnTo>
                    <a:pt x="959854" y="1834908"/>
                  </a:lnTo>
                  <a:lnTo>
                    <a:pt x="916414" y="1840976"/>
                  </a:lnTo>
                  <a:lnTo>
                    <a:pt x="868437" y="1838969"/>
                  </a:lnTo>
                  <a:lnTo>
                    <a:pt x="804796" y="1866193"/>
                  </a:lnTo>
                  <a:lnTo>
                    <a:pt x="811569" y="1941195"/>
                  </a:lnTo>
                  <a:lnTo>
                    <a:pt x="855899" y="2002002"/>
                  </a:lnTo>
                  <a:lnTo>
                    <a:pt x="885042" y="2055260"/>
                  </a:lnTo>
                  <a:lnTo>
                    <a:pt x="904952" y="2091648"/>
                  </a:lnTo>
                  <a:lnTo>
                    <a:pt x="921427" y="2126142"/>
                  </a:lnTo>
                  <a:lnTo>
                    <a:pt x="929928" y="2162716"/>
                  </a:lnTo>
                  <a:lnTo>
                    <a:pt x="938436" y="2199290"/>
                  </a:lnTo>
                  <a:lnTo>
                    <a:pt x="939259" y="2237495"/>
                  </a:lnTo>
                  <a:lnTo>
                    <a:pt x="927210" y="2279693"/>
                  </a:lnTo>
                  <a:lnTo>
                    <a:pt x="918446" y="2310393"/>
                  </a:lnTo>
                  <a:lnTo>
                    <a:pt x="905777" y="2331897"/>
                  </a:lnTo>
                  <a:lnTo>
                    <a:pt x="891848" y="2347703"/>
                  </a:lnTo>
                  <a:lnTo>
                    <a:pt x="877920" y="2363509"/>
                  </a:lnTo>
                  <a:lnTo>
                    <a:pt x="845606" y="2381708"/>
                  </a:lnTo>
                  <a:lnTo>
                    <a:pt x="812321" y="2399134"/>
                  </a:lnTo>
                  <a:lnTo>
                    <a:pt x="778231" y="2418690"/>
                  </a:lnTo>
                  <a:lnTo>
                    <a:pt x="746306" y="2448358"/>
                  </a:lnTo>
                  <a:lnTo>
                    <a:pt x="727958" y="2471162"/>
                  </a:lnTo>
                  <a:lnTo>
                    <a:pt x="722004" y="2500528"/>
                  </a:lnTo>
                  <a:lnTo>
                    <a:pt x="719102" y="2527249"/>
                  </a:lnTo>
                  <a:lnTo>
                    <a:pt x="716199" y="2553968"/>
                  </a:lnTo>
                  <a:lnTo>
                    <a:pt x="715824" y="2578976"/>
                  </a:lnTo>
                  <a:lnTo>
                    <a:pt x="692511" y="2621315"/>
                  </a:lnTo>
                  <a:lnTo>
                    <a:pt x="671486" y="2640784"/>
                  </a:lnTo>
                  <a:lnTo>
                    <a:pt x="651095" y="2660548"/>
                  </a:lnTo>
                  <a:lnTo>
                    <a:pt x="630696" y="2680313"/>
                  </a:lnTo>
                  <a:lnTo>
                    <a:pt x="611142" y="2699458"/>
                  </a:lnTo>
                  <a:lnTo>
                    <a:pt x="598045" y="2727196"/>
                  </a:lnTo>
                  <a:lnTo>
                    <a:pt x="581189" y="2762921"/>
                  </a:lnTo>
                  <a:lnTo>
                    <a:pt x="580450" y="2817823"/>
                  </a:lnTo>
                  <a:lnTo>
                    <a:pt x="580364" y="2867299"/>
                  </a:lnTo>
                  <a:lnTo>
                    <a:pt x="580299" y="2916774"/>
                  </a:lnTo>
                  <a:lnTo>
                    <a:pt x="581268" y="2961296"/>
                  </a:lnTo>
                  <a:lnTo>
                    <a:pt x="565401" y="2978838"/>
                  </a:lnTo>
                  <a:lnTo>
                    <a:pt x="550219" y="2995642"/>
                  </a:lnTo>
                  <a:lnTo>
                    <a:pt x="458563" y="3081910"/>
                  </a:lnTo>
                  <a:lnTo>
                    <a:pt x="436714" y="3130924"/>
                  </a:lnTo>
                  <a:lnTo>
                    <a:pt x="439643" y="3205584"/>
                  </a:lnTo>
                  <a:lnTo>
                    <a:pt x="422582" y="3219592"/>
                  </a:lnTo>
                  <a:lnTo>
                    <a:pt x="384007" y="3238163"/>
                  </a:lnTo>
                  <a:lnTo>
                    <a:pt x="336953" y="3277673"/>
                  </a:lnTo>
                  <a:lnTo>
                    <a:pt x="296078" y="3288964"/>
                  </a:lnTo>
                  <a:lnTo>
                    <a:pt x="271585" y="3295724"/>
                  </a:lnTo>
                  <a:lnTo>
                    <a:pt x="239408" y="3296620"/>
                  </a:lnTo>
                  <a:lnTo>
                    <a:pt x="207666" y="3301204"/>
                  </a:lnTo>
                  <a:lnTo>
                    <a:pt x="175925" y="3305787"/>
                  </a:lnTo>
                  <a:lnTo>
                    <a:pt x="145516" y="3313833"/>
                  </a:lnTo>
                  <a:lnTo>
                    <a:pt x="124696" y="3331125"/>
                  </a:lnTo>
                  <a:lnTo>
                    <a:pt x="103170" y="3354246"/>
                  </a:lnTo>
                  <a:lnTo>
                    <a:pt x="94530" y="3381457"/>
                  </a:lnTo>
                  <a:lnTo>
                    <a:pt x="90693" y="3411378"/>
                  </a:lnTo>
                  <a:lnTo>
                    <a:pt x="83544" y="3443370"/>
                  </a:lnTo>
                  <a:lnTo>
                    <a:pt x="65191" y="3477320"/>
                  </a:lnTo>
                  <a:lnTo>
                    <a:pt x="51282" y="3495490"/>
                  </a:lnTo>
                  <a:lnTo>
                    <a:pt x="28121" y="3513395"/>
                  </a:lnTo>
                  <a:lnTo>
                    <a:pt x="42788" y="3563232"/>
                  </a:lnTo>
                  <a:lnTo>
                    <a:pt x="86314" y="3602531"/>
                  </a:lnTo>
                  <a:lnTo>
                    <a:pt x="107015" y="3650773"/>
                  </a:lnTo>
                  <a:lnTo>
                    <a:pt x="108551" y="3683220"/>
                  </a:lnTo>
                  <a:lnTo>
                    <a:pt x="102761" y="3721702"/>
                  </a:lnTo>
                  <a:lnTo>
                    <a:pt x="109733" y="3756872"/>
                  </a:lnTo>
                  <a:lnTo>
                    <a:pt x="135987" y="3776307"/>
                  </a:lnTo>
                  <a:lnTo>
                    <a:pt x="165083" y="3802726"/>
                  </a:lnTo>
                  <a:lnTo>
                    <a:pt x="184545" y="3830320"/>
                  </a:lnTo>
                  <a:lnTo>
                    <a:pt x="184999" y="3853098"/>
                  </a:lnTo>
                  <a:lnTo>
                    <a:pt x="168836" y="3877057"/>
                  </a:lnTo>
                  <a:lnTo>
                    <a:pt x="142515" y="3891903"/>
                  </a:lnTo>
                  <a:lnTo>
                    <a:pt x="118576" y="3894943"/>
                  </a:lnTo>
                  <a:lnTo>
                    <a:pt x="87976" y="3907849"/>
                  </a:lnTo>
                  <a:lnTo>
                    <a:pt x="96180" y="3931056"/>
                  </a:lnTo>
                  <a:lnTo>
                    <a:pt x="117943" y="3957073"/>
                  </a:lnTo>
                  <a:lnTo>
                    <a:pt x="141962" y="3982174"/>
                  </a:lnTo>
                  <a:lnTo>
                    <a:pt x="161423" y="4008507"/>
                  </a:lnTo>
                  <a:lnTo>
                    <a:pt x="180885" y="4034834"/>
                  </a:lnTo>
                  <a:lnTo>
                    <a:pt x="195994" y="4063007"/>
                  </a:lnTo>
                  <a:lnTo>
                    <a:pt x="192709" y="4090119"/>
                  </a:lnTo>
                  <a:lnTo>
                    <a:pt x="187599" y="4132254"/>
                  </a:lnTo>
                  <a:lnTo>
                    <a:pt x="180496" y="4172279"/>
                  </a:lnTo>
                  <a:lnTo>
                    <a:pt x="172306" y="4212534"/>
                  </a:lnTo>
                  <a:lnTo>
                    <a:pt x="164114" y="4252795"/>
                  </a:lnTo>
                  <a:lnTo>
                    <a:pt x="154914" y="4292899"/>
                  </a:lnTo>
                  <a:lnTo>
                    <a:pt x="145101" y="4333596"/>
                  </a:lnTo>
                  <a:lnTo>
                    <a:pt x="138652" y="4360319"/>
                  </a:lnTo>
                  <a:lnTo>
                    <a:pt x="131970" y="4384990"/>
                  </a:lnTo>
                  <a:lnTo>
                    <a:pt x="127420" y="4409767"/>
                  </a:lnTo>
                  <a:lnTo>
                    <a:pt x="122876" y="4434538"/>
                  </a:lnTo>
                  <a:lnTo>
                    <a:pt x="119335" y="4459849"/>
                  </a:lnTo>
                  <a:lnTo>
                    <a:pt x="120620" y="4487297"/>
                  </a:lnTo>
                  <a:lnTo>
                    <a:pt x="122124" y="4519540"/>
                  </a:lnTo>
                  <a:lnTo>
                    <a:pt x="139925" y="4563514"/>
                  </a:lnTo>
                  <a:lnTo>
                    <a:pt x="161423" y="4605636"/>
                  </a:lnTo>
                  <a:lnTo>
                    <a:pt x="182922" y="4647751"/>
                  </a:lnTo>
                  <a:lnTo>
                    <a:pt x="209085" y="4687512"/>
                  </a:lnTo>
                  <a:lnTo>
                    <a:pt x="226713" y="4713087"/>
                  </a:lnTo>
                  <a:lnTo>
                    <a:pt x="250454" y="4738932"/>
                  </a:lnTo>
                  <a:lnTo>
                    <a:pt x="277276" y="4774512"/>
                  </a:lnTo>
                  <a:lnTo>
                    <a:pt x="304586" y="4866729"/>
                  </a:lnTo>
                  <a:lnTo>
                    <a:pt x="302884" y="4891274"/>
                  </a:lnTo>
                  <a:lnTo>
                    <a:pt x="301202" y="4915570"/>
                  </a:lnTo>
                  <a:lnTo>
                    <a:pt x="290815" y="4956056"/>
                  </a:lnTo>
                  <a:lnTo>
                    <a:pt x="283844" y="4979686"/>
                  </a:lnTo>
                  <a:lnTo>
                    <a:pt x="272290" y="5018918"/>
                  </a:lnTo>
                  <a:lnTo>
                    <a:pt x="254147" y="5055329"/>
                  </a:lnTo>
                  <a:lnTo>
                    <a:pt x="233513" y="5091226"/>
                  </a:lnTo>
                  <a:lnTo>
                    <a:pt x="212877" y="5127121"/>
                  </a:lnTo>
                  <a:lnTo>
                    <a:pt x="189010" y="5162596"/>
                  </a:lnTo>
                  <a:lnTo>
                    <a:pt x="168222" y="5197318"/>
                  </a:lnTo>
                  <a:lnTo>
                    <a:pt x="147950" y="5231176"/>
                  </a:lnTo>
                  <a:lnTo>
                    <a:pt x="113182" y="5260609"/>
                  </a:lnTo>
                  <a:lnTo>
                    <a:pt x="83894" y="5295252"/>
                  </a:lnTo>
                  <a:lnTo>
                    <a:pt x="74581" y="5321117"/>
                  </a:lnTo>
                  <a:lnTo>
                    <a:pt x="80365" y="5347984"/>
                  </a:lnTo>
                  <a:lnTo>
                    <a:pt x="71653" y="5374146"/>
                  </a:lnTo>
                  <a:lnTo>
                    <a:pt x="57561" y="5416374"/>
                  </a:lnTo>
                  <a:lnTo>
                    <a:pt x="30528" y="5451446"/>
                  </a:lnTo>
                  <a:lnTo>
                    <a:pt x="6358" y="5488404"/>
                  </a:lnTo>
                  <a:lnTo>
                    <a:pt x="0" y="5522703"/>
                  </a:lnTo>
                  <a:lnTo>
                    <a:pt x="7280" y="5546498"/>
                  </a:lnTo>
                  <a:lnTo>
                    <a:pt x="32202" y="5568657"/>
                  </a:lnTo>
                  <a:lnTo>
                    <a:pt x="62672" y="5587611"/>
                  </a:lnTo>
                  <a:lnTo>
                    <a:pt x="114098" y="5612348"/>
                  </a:lnTo>
                  <a:lnTo>
                    <a:pt x="151260" y="5629013"/>
                  </a:lnTo>
                  <a:lnTo>
                    <a:pt x="173664" y="5661144"/>
                  </a:lnTo>
                  <a:lnTo>
                    <a:pt x="175510" y="5686138"/>
                  </a:lnTo>
                  <a:lnTo>
                    <a:pt x="167504" y="5731109"/>
                  </a:lnTo>
                  <a:lnTo>
                    <a:pt x="157341" y="5749561"/>
                  </a:lnTo>
                  <a:lnTo>
                    <a:pt x="137227" y="5764671"/>
                  </a:lnTo>
                  <a:lnTo>
                    <a:pt x="111097" y="5791722"/>
                  </a:lnTo>
                  <a:lnTo>
                    <a:pt x="95890" y="5807465"/>
                  </a:lnTo>
                  <a:lnTo>
                    <a:pt x="80933" y="5825568"/>
                  </a:lnTo>
                  <a:lnTo>
                    <a:pt x="66207" y="5842055"/>
                  </a:lnTo>
                  <a:lnTo>
                    <a:pt x="51487" y="5858535"/>
                  </a:lnTo>
                  <a:lnTo>
                    <a:pt x="36819" y="5874271"/>
                  </a:lnTo>
                  <a:lnTo>
                    <a:pt x="18603" y="5886940"/>
                  </a:lnTo>
                  <a:lnTo>
                    <a:pt x="45123" y="5899411"/>
                  </a:lnTo>
                  <a:lnTo>
                    <a:pt x="70289" y="5910062"/>
                  </a:lnTo>
                  <a:lnTo>
                    <a:pt x="86354" y="5925375"/>
                  </a:lnTo>
                  <a:lnTo>
                    <a:pt x="93515" y="5954030"/>
                  </a:lnTo>
                  <a:lnTo>
                    <a:pt x="96034" y="5974903"/>
                  </a:lnTo>
                  <a:lnTo>
                    <a:pt x="104299" y="5997115"/>
                  </a:lnTo>
                  <a:lnTo>
                    <a:pt x="123338" y="6010713"/>
                  </a:lnTo>
                  <a:lnTo>
                    <a:pt x="153265" y="6018878"/>
                  </a:lnTo>
                  <a:lnTo>
                    <a:pt x="183187" y="6024318"/>
                  </a:lnTo>
                  <a:lnTo>
                    <a:pt x="206308" y="6027042"/>
                  </a:lnTo>
                  <a:lnTo>
                    <a:pt x="218272" y="6049755"/>
                  </a:lnTo>
                  <a:lnTo>
                    <a:pt x="224273" y="6072336"/>
                  </a:lnTo>
                  <a:lnTo>
                    <a:pt x="228071" y="6095049"/>
                  </a:lnTo>
                  <a:lnTo>
                    <a:pt x="232134" y="6118592"/>
                  </a:lnTo>
                  <a:lnTo>
                    <a:pt x="240339" y="6142235"/>
                  </a:lnTo>
                  <a:lnTo>
                    <a:pt x="255276" y="6165779"/>
                  </a:lnTo>
                  <a:lnTo>
                    <a:pt x="282262" y="6179220"/>
                  </a:lnTo>
                  <a:lnTo>
                    <a:pt x="309908" y="6187714"/>
                  </a:lnTo>
                  <a:lnTo>
                    <a:pt x="338246" y="6192983"/>
                  </a:lnTo>
                  <a:lnTo>
                    <a:pt x="366577" y="6198536"/>
                  </a:lnTo>
                  <a:lnTo>
                    <a:pt x="394818" y="6203673"/>
                  </a:lnTo>
                  <a:lnTo>
                    <a:pt x="422582" y="6213387"/>
                  </a:lnTo>
                  <a:lnTo>
                    <a:pt x="411317" y="6246276"/>
                  </a:lnTo>
                  <a:lnTo>
                    <a:pt x="390827" y="6259302"/>
                  </a:lnTo>
                  <a:lnTo>
                    <a:pt x="369532" y="6270520"/>
                  </a:lnTo>
                  <a:lnTo>
                    <a:pt x="348237" y="6281731"/>
                  </a:lnTo>
                  <a:lnTo>
                    <a:pt x="326343" y="6291676"/>
                  </a:lnTo>
                  <a:lnTo>
                    <a:pt x="305601" y="6301799"/>
                  </a:lnTo>
                  <a:lnTo>
                    <a:pt x="257511" y="6344923"/>
                  </a:lnTo>
                  <a:lnTo>
                    <a:pt x="237917" y="6366165"/>
                  </a:lnTo>
                  <a:lnTo>
                    <a:pt x="223995" y="6391576"/>
                  </a:lnTo>
                  <a:lnTo>
                    <a:pt x="210061" y="6416986"/>
                  </a:lnTo>
                  <a:lnTo>
                    <a:pt x="201989" y="6446630"/>
                  </a:lnTo>
                  <a:lnTo>
                    <a:pt x="189985" y="6490868"/>
                  </a:lnTo>
                  <a:lnTo>
                    <a:pt x="160064" y="6599684"/>
                  </a:lnTo>
                  <a:lnTo>
                    <a:pt x="143630" y="6660259"/>
                  </a:lnTo>
                  <a:lnTo>
                    <a:pt x="140959" y="6698252"/>
                  </a:lnTo>
                  <a:lnTo>
                    <a:pt x="149183" y="6722105"/>
                  </a:lnTo>
                  <a:lnTo>
                    <a:pt x="157407" y="6745953"/>
                  </a:lnTo>
                  <a:lnTo>
                    <a:pt x="176446" y="6756860"/>
                  </a:lnTo>
                  <a:lnTo>
                    <a:pt x="199509" y="6761549"/>
                  </a:lnTo>
                  <a:lnTo>
                    <a:pt x="222571" y="6766232"/>
                  </a:lnTo>
                  <a:lnTo>
                    <a:pt x="250302" y="6765282"/>
                  </a:lnTo>
                  <a:lnTo>
                    <a:pt x="278397" y="6768349"/>
                  </a:lnTo>
                  <a:lnTo>
                    <a:pt x="306491" y="6771415"/>
                  </a:lnTo>
                  <a:lnTo>
                    <a:pt x="333979" y="6777905"/>
                  </a:lnTo>
                  <a:lnTo>
                    <a:pt x="357291" y="6796911"/>
                  </a:lnTo>
                  <a:lnTo>
                    <a:pt x="377242" y="6821365"/>
                  </a:lnTo>
                  <a:lnTo>
                    <a:pt x="386303" y="6851359"/>
                  </a:lnTo>
                  <a:lnTo>
                    <a:pt x="391295" y="6883964"/>
                  </a:lnTo>
                  <a:lnTo>
                    <a:pt x="397343" y="6916602"/>
                  </a:lnTo>
                  <a:lnTo>
                    <a:pt x="412452" y="6946543"/>
                  </a:lnTo>
                  <a:lnTo>
                    <a:pt x="442987" y="6971017"/>
                  </a:lnTo>
                  <a:lnTo>
                    <a:pt x="465192" y="6983264"/>
                  </a:lnTo>
                  <a:lnTo>
                    <a:pt x="490033" y="6994119"/>
                  </a:lnTo>
                  <a:lnTo>
                    <a:pt x="513716" y="7005027"/>
                  </a:lnTo>
                  <a:lnTo>
                    <a:pt x="537392" y="7015935"/>
                  </a:lnTo>
                  <a:lnTo>
                    <a:pt x="560442" y="7026295"/>
                  </a:lnTo>
                  <a:lnTo>
                    <a:pt x="581722" y="7039030"/>
                  </a:lnTo>
                  <a:lnTo>
                    <a:pt x="606104" y="7053605"/>
                  </a:lnTo>
                  <a:lnTo>
                    <a:pt x="630882" y="7076245"/>
                  </a:lnTo>
                  <a:lnTo>
                    <a:pt x="653813" y="7093438"/>
                  </a:lnTo>
                  <a:lnTo>
                    <a:pt x="676920" y="7110756"/>
                  </a:lnTo>
                  <a:lnTo>
                    <a:pt x="700847" y="7131800"/>
                  </a:lnTo>
                  <a:lnTo>
                    <a:pt x="724549" y="7147846"/>
                  </a:lnTo>
                  <a:lnTo>
                    <a:pt x="750177" y="7165191"/>
                  </a:lnTo>
                  <a:lnTo>
                    <a:pt x="785756" y="7188649"/>
                  </a:lnTo>
                  <a:lnTo>
                    <a:pt x="751345" y="7231859"/>
                  </a:lnTo>
                  <a:lnTo>
                    <a:pt x="734065" y="7260744"/>
                  </a:lnTo>
                  <a:lnTo>
                    <a:pt x="750388" y="7293382"/>
                  </a:lnTo>
                  <a:lnTo>
                    <a:pt x="783092" y="7303591"/>
                  </a:lnTo>
                  <a:lnTo>
                    <a:pt x="806154" y="7287941"/>
                  </a:lnTo>
                  <a:lnTo>
                    <a:pt x="833905" y="7273716"/>
                  </a:lnTo>
                  <a:lnTo>
                    <a:pt x="860569" y="7282507"/>
                  </a:lnTo>
                  <a:lnTo>
                    <a:pt x="872446" y="7316022"/>
                  </a:lnTo>
                  <a:lnTo>
                    <a:pt x="874168" y="7336909"/>
                  </a:lnTo>
                  <a:lnTo>
                    <a:pt x="875889" y="7357801"/>
                  </a:lnTo>
                  <a:lnTo>
                    <a:pt x="893213" y="7388599"/>
                  </a:lnTo>
                  <a:lnTo>
                    <a:pt x="937702" y="7395003"/>
                  </a:lnTo>
                  <a:lnTo>
                    <a:pt x="966662" y="7398123"/>
                  </a:lnTo>
                  <a:lnTo>
                    <a:pt x="995824" y="7403504"/>
                  </a:lnTo>
                  <a:lnTo>
                    <a:pt x="1024551" y="7419945"/>
                  </a:lnTo>
                  <a:lnTo>
                    <a:pt x="1050990" y="7453889"/>
                  </a:lnTo>
                  <a:lnTo>
                    <a:pt x="1053008" y="7491064"/>
                  </a:lnTo>
                  <a:lnTo>
                    <a:pt x="1046262" y="7525530"/>
                  </a:lnTo>
                  <a:lnTo>
                    <a:pt x="1042832" y="7559981"/>
                  </a:lnTo>
                  <a:lnTo>
                    <a:pt x="1101488" y="7575354"/>
                  </a:lnTo>
                  <a:lnTo>
                    <a:pt x="1155731" y="7581744"/>
                  </a:lnTo>
                  <a:lnTo>
                    <a:pt x="1209974" y="7588148"/>
                  </a:lnTo>
                  <a:lnTo>
                    <a:pt x="1264613" y="7592514"/>
                  </a:lnTo>
                  <a:lnTo>
                    <a:pt x="1292014" y="7574609"/>
                  </a:lnTo>
                  <a:lnTo>
                    <a:pt x="1306714" y="7539583"/>
                  </a:lnTo>
                  <a:lnTo>
                    <a:pt x="1314397" y="7501313"/>
                  </a:lnTo>
                  <a:lnTo>
                    <a:pt x="1326361" y="7470311"/>
                  </a:lnTo>
                  <a:lnTo>
                    <a:pt x="1350240" y="7460688"/>
                  </a:lnTo>
                  <a:lnTo>
                    <a:pt x="1377616" y="7402225"/>
                  </a:lnTo>
                  <a:lnTo>
                    <a:pt x="1396484" y="7379077"/>
                  </a:lnTo>
                  <a:lnTo>
                    <a:pt x="1448319" y="7381094"/>
                  </a:lnTo>
                  <a:lnTo>
                    <a:pt x="1476032" y="7394047"/>
                  </a:lnTo>
                  <a:lnTo>
                    <a:pt x="1483537" y="7430767"/>
                  </a:lnTo>
                  <a:lnTo>
                    <a:pt x="1485720" y="7452333"/>
                  </a:lnTo>
                  <a:lnTo>
                    <a:pt x="1484453" y="7480031"/>
                  </a:lnTo>
                  <a:lnTo>
                    <a:pt x="1482178" y="7506939"/>
                  </a:lnTo>
                  <a:lnTo>
                    <a:pt x="1477621" y="7560746"/>
                  </a:lnTo>
                  <a:lnTo>
                    <a:pt x="1467030" y="7614824"/>
                  </a:lnTo>
                  <a:lnTo>
                    <a:pt x="1463171" y="7649224"/>
                  </a:lnTo>
                  <a:lnTo>
                    <a:pt x="1474073" y="7697525"/>
                  </a:lnTo>
                  <a:lnTo>
                    <a:pt x="1490343" y="7715047"/>
                  </a:lnTo>
                  <a:lnTo>
                    <a:pt x="1512139" y="7738532"/>
                  </a:lnTo>
                  <a:lnTo>
                    <a:pt x="1553891" y="7774151"/>
                  </a:lnTo>
                  <a:lnTo>
                    <a:pt x="1586918" y="7812981"/>
                  </a:lnTo>
                  <a:lnTo>
                    <a:pt x="1603426" y="7832397"/>
                  </a:lnTo>
                  <a:lnTo>
                    <a:pt x="1617974" y="7852380"/>
                  </a:lnTo>
                  <a:lnTo>
                    <a:pt x="1626363" y="7872830"/>
                  </a:lnTo>
                  <a:lnTo>
                    <a:pt x="1634745" y="7893281"/>
                  </a:lnTo>
                  <a:lnTo>
                    <a:pt x="1630438" y="7932679"/>
                  </a:lnTo>
                  <a:lnTo>
                    <a:pt x="1621020" y="7955504"/>
                  </a:lnTo>
                  <a:lnTo>
                    <a:pt x="1547460" y="7988446"/>
                  </a:lnTo>
                  <a:lnTo>
                    <a:pt x="1537318" y="8010235"/>
                  </a:lnTo>
                  <a:lnTo>
                    <a:pt x="1535227" y="8031972"/>
                  </a:lnTo>
                  <a:lnTo>
                    <a:pt x="1547000" y="8065131"/>
                  </a:lnTo>
                  <a:lnTo>
                    <a:pt x="1602601" y="8082363"/>
                  </a:lnTo>
                  <a:lnTo>
                    <a:pt x="1623639" y="8112225"/>
                  </a:lnTo>
                  <a:lnTo>
                    <a:pt x="1620447" y="8142021"/>
                  </a:lnTo>
                  <a:lnTo>
                    <a:pt x="1598749" y="8153272"/>
                  </a:lnTo>
                  <a:lnTo>
                    <a:pt x="1571955" y="8181597"/>
                  </a:lnTo>
                  <a:lnTo>
                    <a:pt x="1558745" y="8198012"/>
                  </a:lnTo>
                  <a:lnTo>
                    <a:pt x="1546901" y="8218694"/>
                  </a:lnTo>
                  <a:lnTo>
                    <a:pt x="1537945" y="8241446"/>
                  </a:lnTo>
                  <a:lnTo>
                    <a:pt x="1528995" y="8264192"/>
                  </a:lnTo>
                  <a:lnTo>
                    <a:pt x="1522868" y="8288844"/>
                  </a:lnTo>
                  <a:lnTo>
                    <a:pt x="1521622" y="8310818"/>
                  </a:lnTo>
                  <a:lnTo>
                    <a:pt x="1520375" y="8332785"/>
                  </a:lnTo>
                  <a:lnTo>
                    <a:pt x="1533869" y="8366584"/>
                  </a:lnTo>
                  <a:lnTo>
                    <a:pt x="1559371" y="8385287"/>
                  </a:lnTo>
                  <a:lnTo>
                    <a:pt x="1588911" y="8385973"/>
                  </a:lnTo>
                  <a:lnTo>
                    <a:pt x="1618197" y="8395146"/>
                  </a:lnTo>
                  <a:lnTo>
                    <a:pt x="1642216" y="8402672"/>
                  </a:lnTo>
                  <a:lnTo>
                    <a:pt x="1667165" y="8430515"/>
                  </a:lnTo>
                  <a:lnTo>
                    <a:pt x="1679445" y="8464947"/>
                  </a:lnTo>
                  <a:lnTo>
                    <a:pt x="1679372" y="8504892"/>
                  </a:lnTo>
                  <a:lnTo>
                    <a:pt x="1676497" y="8526807"/>
                  </a:lnTo>
                  <a:lnTo>
                    <a:pt x="1672606" y="8547489"/>
                  </a:lnTo>
                  <a:lnTo>
                    <a:pt x="1668721" y="8568171"/>
                  </a:lnTo>
                  <a:lnTo>
                    <a:pt x="1661725" y="8605979"/>
                  </a:lnTo>
                  <a:lnTo>
                    <a:pt x="1608120" y="8618068"/>
                  </a:lnTo>
                  <a:lnTo>
                    <a:pt x="1583027" y="8625052"/>
                  </a:lnTo>
                  <a:lnTo>
                    <a:pt x="1549994" y="8646755"/>
                  </a:lnTo>
                  <a:lnTo>
                    <a:pt x="1532503" y="8675344"/>
                  </a:lnTo>
                  <a:lnTo>
                    <a:pt x="1511743" y="8702687"/>
                  </a:lnTo>
                  <a:lnTo>
                    <a:pt x="1490343" y="8710712"/>
                  </a:lnTo>
                  <a:lnTo>
                    <a:pt x="1468935" y="8718738"/>
                  </a:lnTo>
                  <a:lnTo>
                    <a:pt x="1436746" y="8720605"/>
                  </a:lnTo>
                  <a:lnTo>
                    <a:pt x="1384244" y="8713430"/>
                  </a:lnTo>
                  <a:lnTo>
                    <a:pt x="1360819" y="8711154"/>
                  </a:lnTo>
                  <a:lnTo>
                    <a:pt x="1336938" y="8707554"/>
                  </a:lnTo>
                  <a:lnTo>
                    <a:pt x="1313513" y="8702555"/>
                  </a:lnTo>
                  <a:lnTo>
                    <a:pt x="1289904" y="8698499"/>
                  </a:lnTo>
                  <a:lnTo>
                    <a:pt x="1266392" y="8693005"/>
                  </a:lnTo>
                  <a:lnTo>
                    <a:pt x="1242783" y="8686233"/>
                  </a:lnTo>
                  <a:lnTo>
                    <a:pt x="1244149" y="8715897"/>
                  </a:lnTo>
                  <a:lnTo>
                    <a:pt x="1253711" y="8743173"/>
                  </a:lnTo>
                  <a:lnTo>
                    <a:pt x="1267270" y="8769203"/>
                  </a:lnTo>
                  <a:lnTo>
                    <a:pt x="1280829" y="8795240"/>
                  </a:lnTo>
                  <a:lnTo>
                    <a:pt x="1297521" y="8820353"/>
                  </a:lnTo>
                  <a:lnTo>
                    <a:pt x="1314871" y="8845374"/>
                  </a:lnTo>
                  <a:lnTo>
                    <a:pt x="1332230" y="8870395"/>
                  </a:lnTo>
                  <a:lnTo>
                    <a:pt x="1349719" y="8894915"/>
                  </a:lnTo>
                  <a:lnTo>
                    <a:pt x="1362481" y="8921545"/>
                  </a:lnTo>
                  <a:lnTo>
                    <a:pt x="1375241" y="8948176"/>
                  </a:lnTo>
                  <a:lnTo>
                    <a:pt x="1384475" y="8976375"/>
                  </a:lnTo>
                  <a:lnTo>
                    <a:pt x="1384244" y="9007239"/>
                  </a:lnTo>
                  <a:lnTo>
                    <a:pt x="1349449" y="9018984"/>
                  </a:lnTo>
                  <a:lnTo>
                    <a:pt x="1324395" y="9020839"/>
                  </a:lnTo>
                  <a:lnTo>
                    <a:pt x="1299341" y="9022711"/>
                  </a:lnTo>
                  <a:lnTo>
                    <a:pt x="1273463" y="9022460"/>
                  </a:lnTo>
                  <a:lnTo>
                    <a:pt x="1252438" y="9037338"/>
                  </a:lnTo>
                  <a:lnTo>
                    <a:pt x="1243225" y="9096660"/>
                  </a:lnTo>
                  <a:lnTo>
                    <a:pt x="1240065" y="9137811"/>
                  </a:lnTo>
                  <a:lnTo>
                    <a:pt x="1236893" y="9178970"/>
                  </a:lnTo>
                  <a:lnTo>
                    <a:pt x="1237527" y="9218896"/>
                  </a:lnTo>
                  <a:lnTo>
                    <a:pt x="1253263" y="9235469"/>
                  </a:lnTo>
                  <a:lnTo>
                    <a:pt x="1275751" y="9256151"/>
                  </a:lnTo>
                  <a:lnTo>
                    <a:pt x="1308382" y="9262311"/>
                  </a:lnTo>
                  <a:lnTo>
                    <a:pt x="1331195" y="9261585"/>
                  </a:lnTo>
                  <a:lnTo>
                    <a:pt x="1354013" y="9260873"/>
                  </a:lnTo>
                  <a:lnTo>
                    <a:pt x="1380063" y="9260148"/>
                  </a:lnTo>
                  <a:lnTo>
                    <a:pt x="1401925" y="9264315"/>
                  </a:lnTo>
                  <a:lnTo>
                    <a:pt x="1423794" y="9268470"/>
                  </a:lnTo>
                  <a:lnTo>
                    <a:pt x="1449533" y="9298319"/>
                  </a:lnTo>
                  <a:lnTo>
                    <a:pt x="1456999" y="9318822"/>
                  </a:lnTo>
                  <a:lnTo>
                    <a:pt x="1453596" y="9350662"/>
                  </a:lnTo>
                  <a:lnTo>
                    <a:pt x="1433212" y="9398970"/>
                  </a:lnTo>
                  <a:lnTo>
                    <a:pt x="1435579" y="9429459"/>
                  </a:lnTo>
                  <a:lnTo>
                    <a:pt x="1458529" y="9464918"/>
                  </a:lnTo>
                  <a:lnTo>
                    <a:pt x="1484895" y="9498270"/>
                  </a:lnTo>
                  <a:lnTo>
                    <a:pt x="1511269" y="9531614"/>
                  </a:lnTo>
                  <a:lnTo>
                    <a:pt x="1540648" y="9562398"/>
                  </a:lnTo>
                  <a:lnTo>
                    <a:pt x="1558350" y="9583958"/>
                  </a:lnTo>
                  <a:lnTo>
                    <a:pt x="1592399" y="9625426"/>
                  </a:lnTo>
                  <a:lnTo>
                    <a:pt x="1599825" y="9657615"/>
                  </a:lnTo>
                  <a:lnTo>
                    <a:pt x="1607316" y="9688697"/>
                  </a:lnTo>
                  <a:lnTo>
                    <a:pt x="1614808" y="9719773"/>
                  </a:lnTo>
                  <a:lnTo>
                    <a:pt x="1622366" y="9749298"/>
                  </a:lnTo>
                  <a:lnTo>
                    <a:pt x="1657641" y="9789348"/>
                  </a:lnTo>
                  <a:lnTo>
                    <a:pt x="1697409" y="9821802"/>
                  </a:lnTo>
                  <a:lnTo>
                    <a:pt x="1731096" y="9824717"/>
                  </a:lnTo>
                  <a:lnTo>
                    <a:pt x="1763332" y="9819639"/>
                  </a:lnTo>
                  <a:lnTo>
                    <a:pt x="1790945" y="9826068"/>
                  </a:lnTo>
                  <a:lnTo>
                    <a:pt x="1811660" y="9830910"/>
                  </a:lnTo>
                  <a:lnTo>
                    <a:pt x="1832683" y="9839820"/>
                  </a:lnTo>
                  <a:lnTo>
                    <a:pt x="1853510" y="9843757"/>
                  </a:lnTo>
                  <a:lnTo>
                    <a:pt x="1890303" y="9850701"/>
                  </a:lnTo>
                  <a:lnTo>
                    <a:pt x="1928251" y="9854481"/>
                  </a:lnTo>
                  <a:lnTo>
                    <a:pt x="1965050" y="9860079"/>
                  </a:lnTo>
                  <a:lnTo>
                    <a:pt x="2001844" y="9865678"/>
                  </a:lnTo>
                  <a:lnTo>
                    <a:pt x="2037469" y="9872715"/>
                  </a:lnTo>
                  <a:lnTo>
                    <a:pt x="2072501" y="9888641"/>
                  </a:lnTo>
                  <a:lnTo>
                    <a:pt x="2100695" y="9901456"/>
                  </a:lnTo>
                  <a:lnTo>
                    <a:pt x="2129521" y="9919460"/>
                  </a:lnTo>
                  <a:lnTo>
                    <a:pt x="2159561" y="9934885"/>
                  </a:lnTo>
                  <a:lnTo>
                    <a:pt x="2189593" y="9950317"/>
                  </a:lnTo>
                  <a:lnTo>
                    <a:pt x="2221678" y="9963210"/>
                  </a:lnTo>
                  <a:lnTo>
                    <a:pt x="2253413" y="9967536"/>
                  </a:lnTo>
                  <a:lnTo>
                    <a:pt x="2276534" y="9970683"/>
                  </a:lnTo>
                  <a:lnTo>
                    <a:pt x="2299188" y="9970095"/>
                  </a:lnTo>
                  <a:lnTo>
                    <a:pt x="2321419" y="9971611"/>
                  </a:lnTo>
                  <a:lnTo>
                    <a:pt x="2343657" y="9973123"/>
                  </a:lnTo>
                  <a:lnTo>
                    <a:pt x="2364972" y="9977864"/>
                  </a:lnTo>
                  <a:lnTo>
                    <a:pt x="2382633" y="9994734"/>
                  </a:lnTo>
                  <a:lnTo>
                    <a:pt x="2415040" y="10005121"/>
                  </a:lnTo>
                  <a:lnTo>
                    <a:pt x="2462741" y="9995565"/>
                  </a:lnTo>
                  <a:lnTo>
                    <a:pt x="2534850" y="9978516"/>
                  </a:lnTo>
                  <a:lnTo>
                    <a:pt x="2607064" y="9966165"/>
                  </a:lnTo>
                  <a:lnTo>
                    <a:pt x="2679278" y="9953813"/>
                  </a:lnTo>
                  <a:lnTo>
                    <a:pt x="2750945" y="9946638"/>
                  </a:lnTo>
                  <a:lnTo>
                    <a:pt x="2786610" y="9956642"/>
                  </a:lnTo>
                  <a:lnTo>
                    <a:pt x="2826905" y="9968506"/>
                  </a:lnTo>
                  <a:lnTo>
                    <a:pt x="2866006" y="9982864"/>
                  </a:lnTo>
                  <a:lnTo>
                    <a:pt x="2903584" y="9997450"/>
                  </a:lnTo>
                  <a:lnTo>
                    <a:pt x="2923527" y="10004428"/>
                  </a:lnTo>
                  <a:lnTo>
                    <a:pt x="2948514" y="10003921"/>
                  </a:lnTo>
                  <a:lnTo>
                    <a:pt x="2975680" y="10000174"/>
                  </a:lnTo>
                  <a:lnTo>
                    <a:pt x="3002844" y="9996422"/>
                  </a:lnTo>
                  <a:lnTo>
                    <a:pt x="3033154" y="9989062"/>
                  </a:lnTo>
                  <a:lnTo>
                    <a:pt x="3062732" y="9979771"/>
                  </a:lnTo>
                  <a:lnTo>
                    <a:pt x="3121876" y="9961186"/>
                  </a:lnTo>
                  <a:lnTo>
                    <a:pt x="3180643" y="9936395"/>
                  </a:lnTo>
                  <a:lnTo>
                    <a:pt x="3220515" y="9926721"/>
                  </a:lnTo>
                  <a:lnTo>
                    <a:pt x="3241376" y="9921663"/>
                  </a:lnTo>
                  <a:lnTo>
                    <a:pt x="3272952" y="9912569"/>
                  </a:lnTo>
                  <a:lnTo>
                    <a:pt x="3304845" y="9904957"/>
                  </a:lnTo>
                  <a:lnTo>
                    <a:pt x="3336737" y="9897354"/>
                  </a:lnTo>
                  <a:lnTo>
                    <a:pt x="3368255" y="9892143"/>
                  </a:lnTo>
                  <a:lnTo>
                    <a:pt x="3389173" y="9894075"/>
                  </a:lnTo>
                  <a:lnTo>
                    <a:pt x="3411768" y="9896160"/>
                  </a:lnTo>
                  <a:lnTo>
                    <a:pt x="3434620" y="9903428"/>
                  </a:lnTo>
                  <a:lnTo>
                    <a:pt x="3457187" y="9906316"/>
                  </a:lnTo>
                  <a:lnTo>
                    <a:pt x="3511469" y="9913266"/>
                  </a:lnTo>
                  <a:lnTo>
                    <a:pt x="3572103" y="9900538"/>
                  </a:lnTo>
                  <a:lnTo>
                    <a:pt x="3625851" y="9894075"/>
                  </a:lnTo>
                  <a:lnTo>
                    <a:pt x="3658259" y="9890185"/>
                  </a:lnTo>
                  <a:lnTo>
                    <a:pt x="3690184" y="9889855"/>
                  </a:lnTo>
                  <a:lnTo>
                    <a:pt x="3722427" y="9877754"/>
                  </a:lnTo>
                  <a:lnTo>
                    <a:pt x="3742060" y="9870380"/>
                  </a:lnTo>
                  <a:lnTo>
                    <a:pt x="3761885" y="9856070"/>
                  </a:lnTo>
                  <a:lnTo>
                    <a:pt x="3782276" y="9846467"/>
                  </a:lnTo>
                  <a:lnTo>
                    <a:pt x="3802667" y="9836871"/>
                  </a:lnTo>
                  <a:lnTo>
                    <a:pt x="3824154" y="9831873"/>
                  </a:lnTo>
                  <a:lnTo>
                    <a:pt x="3847565" y="9839668"/>
                  </a:lnTo>
                  <a:lnTo>
                    <a:pt x="3898622" y="9856682"/>
                  </a:lnTo>
                  <a:lnTo>
                    <a:pt x="3943336" y="9888378"/>
                  </a:lnTo>
                  <a:lnTo>
                    <a:pt x="3990384" y="9913122"/>
                  </a:lnTo>
                  <a:lnTo>
                    <a:pt x="4013908" y="9925493"/>
                  </a:lnTo>
                  <a:lnTo>
                    <a:pt x="4038217" y="9935228"/>
                  </a:lnTo>
                  <a:lnTo>
                    <a:pt x="4063839" y="9941685"/>
                  </a:lnTo>
                  <a:lnTo>
                    <a:pt x="4089453" y="9948140"/>
                  </a:lnTo>
                  <a:lnTo>
                    <a:pt x="4115668" y="9950462"/>
                  </a:lnTo>
                  <a:lnTo>
                    <a:pt x="4145451" y="9945760"/>
                  </a:lnTo>
                  <a:lnTo>
                    <a:pt x="4172232" y="9941533"/>
                  </a:lnTo>
                  <a:lnTo>
                    <a:pt x="4194708" y="9927901"/>
                  </a:lnTo>
                  <a:lnTo>
                    <a:pt x="4213457" y="9909032"/>
                  </a:lnTo>
                  <a:lnTo>
                    <a:pt x="4232207" y="9890165"/>
                  </a:lnTo>
                  <a:lnTo>
                    <a:pt x="4247389" y="9866226"/>
                  </a:lnTo>
                  <a:lnTo>
                    <a:pt x="4261065" y="9842385"/>
                  </a:lnTo>
                  <a:lnTo>
                    <a:pt x="4274744" y="9818545"/>
                  </a:lnTo>
                  <a:lnTo>
                    <a:pt x="4287577" y="9794881"/>
                  </a:lnTo>
                  <a:lnTo>
                    <a:pt x="4299151" y="9775737"/>
                  </a:lnTo>
                  <a:lnTo>
                    <a:pt x="4310718" y="9756586"/>
                  </a:lnTo>
                  <a:lnTo>
                    <a:pt x="4334514" y="9737651"/>
                  </a:lnTo>
                  <a:lnTo>
                    <a:pt x="4363214" y="9732620"/>
                  </a:lnTo>
                  <a:lnTo>
                    <a:pt x="4395589" y="9739967"/>
                  </a:lnTo>
                  <a:lnTo>
                    <a:pt x="4429731" y="9753974"/>
                  </a:lnTo>
                  <a:lnTo>
                    <a:pt x="4463707" y="9769630"/>
                  </a:lnTo>
                  <a:lnTo>
                    <a:pt x="4497572" y="9790001"/>
                  </a:lnTo>
                  <a:lnTo>
                    <a:pt x="4524941" y="9793418"/>
                  </a:lnTo>
                  <a:lnTo>
                    <a:pt x="4562459" y="9789295"/>
                  </a:lnTo>
                  <a:lnTo>
                    <a:pt x="4596245" y="9770342"/>
                  </a:lnTo>
                  <a:lnTo>
                    <a:pt x="4629682" y="9748532"/>
                  </a:lnTo>
                  <a:lnTo>
                    <a:pt x="4667219" y="9732448"/>
                  </a:lnTo>
                  <a:lnTo>
                    <a:pt x="4689531" y="9734928"/>
                  </a:lnTo>
                  <a:lnTo>
                    <a:pt x="4711841" y="9737421"/>
                  </a:lnTo>
                  <a:lnTo>
                    <a:pt x="4736188" y="9747940"/>
                  </a:lnTo>
                  <a:lnTo>
                    <a:pt x="4767059" y="9774379"/>
                  </a:lnTo>
                  <a:lnTo>
                    <a:pt x="4787002" y="9791452"/>
                  </a:lnTo>
                  <a:lnTo>
                    <a:pt x="4828438" y="9836179"/>
                  </a:lnTo>
                  <a:lnTo>
                    <a:pt x="4835066" y="9862790"/>
                  </a:lnTo>
                  <a:lnTo>
                    <a:pt x="4926201" y="9838310"/>
                  </a:lnTo>
                  <a:lnTo>
                    <a:pt x="4967453" y="9827124"/>
                  </a:lnTo>
                  <a:lnTo>
                    <a:pt x="5029959" y="9780584"/>
                  </a:lnTo>
                  <a:lnTo>
                    <a:pt x="5052698" y="9774379"/>
                  </a:lnTo>
                  <a:lnTo>
                    <a:pt x="5096904" y="9775196"/>
                  </a:lnTo>
                  <a:lnTo>
                    <a:pt x="5169461" y="9802175"/>
                  </a:lnTo>
                  <a:lnTo>
                    <a:pt x="5237685" y="9817905"/>
                  </a:lnTo>
                  <a:lnTo>
                    <a:pt x="5271800" y="9825766"/>
                  </a:lnTo>
                  <a:lnTo>
                    <a:pt x="5304202" y="9830515"/>
                  </a:lnTo>
                  <a:lnTo>
                    <a:pt x="5332902" y="9827428"/>
                  </a:lnTo>
                  <a:lnTo>
                    <a:pt x="5361603" y="9824335"/>
                  </a:lnTo>
                  <a:lnTo>
                    <a:pt x="5386592" y="9813176"/>
                  </a:lnTo>
                  <a:lnTo>
                    <a:pt x="5402275" y="9789336"/>
                  </a:lnTo>
                  <a:lnTo>
                    <a:pt x="5420319" y="9761900"/>
                  </a:lnTo>
                  <a:lnTo>
                    <a:pt x="5421847" y="9722859"/>
                  </a:lnTo>
                  <a:lnTo>
                    <a:pt x="5436277" y="9695484"/>
                  </a:lnTo>
                  <a:lnTo>
                    <a:pt x="5451176" y="9667264"/>
                  </a:lnTo>
                  <a:lnTo>
                    <a:pt x="5468646" y="9621904"/>
                  </a:lnTo>
                  <a:lnTo>
                    <a:pt x="5487962" y="9597549"/>
                  </a:lnTo>
                  <a:lnTo>
                    <a:pt x="5510972" y="9568551"/>
                  </a:lnTo>
                  <a:lnTo>
                    <a:pt x="5547757" y="9555051"/>
                  </a:lnTo>
                  <a:lnTo>
                    <a:pt x="5585896" y="9541782"/>
                  </a:lnTo>
                  <a:lnTo>
                    <a:pt x="5624041" y="9528513"/>
                  </a:lnTo>
                  <a:lnTo>
                    <a:pt x="5664152" y="9514928"/>
                  </a:lnTo>
                  <a:lnTo>
                    <a:pt x="5691995" y="9486016"/>
                  </a:lnTo>
                  <a:lnTo>
                    <a:pt x="5708476" y="9468896"/>
                  </a:lnTo>
                  <a:lnTo>
                    <a:pt x="5714911" y="9445010"/>
                  </a:lnTo>
                  <a:lnTo>
                    <a:pt x="5720558" y="9420727"/>
                  </a:lnTo>
                  <a:lnTo>
                    <a:pt x="5726202" y="9396443"/>
                  </a:lnTo>
                  <a:lnTo>
                    <a:pt x="5731340" y="9371409"/>
                  </a:lnTo>
                  <a:lnTo>
                    <a:pt x="5740963" y="9351355"/>
                  </a:lnTo>
                  <a:lnTo>
                    <a:pt x="6008154" y="9383254"/>
                  </a:lnTo>
                  <a:lnTo>
                    <a:pt x="6042922" y="9394881"/>
                  </a:lnTo>
                  <a:lnTo>
                    <a:pt x="6049491" y="9419092"/>
                  </a:lnTo>
                  <a:lnTo>
                    <a:pt x="6018719" y="9481703"/>
                  </a:lnTo>
                  <a:lnTo>
                    <a:pt x="6041907" y="9496468"/>
                  </a:lnTo>
                  <a:lnTo>
                    <a:pt x="6070496" y="9505029"/>
                  </a:lnTo>
                  <a:lnTo>
                    <a:pt x="6097332" y="9515937"/>
                  </a:lnTo>
                  <a:lnTo>
                    <a:pt x="6124172" y="9526845"/>
                  </a:lnTo>
                  <a:lnTo>
                    <a:pt x="6148784" y="9541228"/>
                  </a:lnTo>
                  <a:lnTo>
                    <a:pt x="6165344" y="9556747"/>
                  </a:lnTo>
                  <a:lnTo>
                    <a:pt x="6127937" y="9635852"/>
                  </a:lnTo>
                  <a:lnTo>
                    <a:pt x="6124534" y="9666922"/>
                  </a:lnTo>
                  <a:lnTo>
                    <a:pt x="6122029" y="9690002"/>
                  </a:lnTo>
                  <a:lnTo>
                    <a:pt x="6143877" y="9725899"/>
                  </a:lnTo>
                  <a:lnTo>
                    <a:pt x="6146298" y="9751250"/>
                  </a:lnTo>
                  <a:lnTo>
                    <a:pt x="6148573" y="9775374"/>
                  </a:lnTo>
                  <a:lnTo>
                    <a:pt x="6135317" y="9800540"/>
                  </a:lnTo>
                  <a:lnTo>
                    <a:pt x="6142222" y="9824704"/>
                  </a:lnTo>
                  <a:lnTo>
                    <a:pt x="6166096" y="9887303"/>
                  </a:lnTo>
                  <a:lnTo>
                    <a:pt x="6187114" y="9929437"/>
                  </a:lnTo>
                  <a:lnTo>
                    <a:pt x="6208125" y="9971579"/>
                  </a:lnTo>
                  <a:lnTo>
                    <a:pt x="6232137" y="10011637"/>
                  </a:lnTo>
                  <a:lnTo>
                    <a:pt x="6267427" y="10042632"/>
                  </a:lnTo>
                  <a:lnTo>
                    <a:pt x="6290436" y="10056515"/>
                  </a:lnTo>
                  <a:lnTo>
                    <a:pt x="6314969" y="10068181"/>
                  </a:lnTo>
                  <a:lnTo>
                    <a:pt x="6339503" y="10079848"/>
                  </a:lnTo>
                  <a:lnTo>
                    <a:pt x="6364892" y="10089423"/>
                  </a:lnTo>
                  <a:lnTo>
                    <a:pt x="6388424" y="10102185"/>
                  </a:lnTo>
                  <a:lnTo>
                    <a:pt x="6379500" y="10135265"/>
                  </a:lnTo>
                  <a:lnTo>
                    <a:pt x="6357137" y="10163392"/>
                  </a:lnTo>
                  <a:lnTo>
                    <a:pt x="6334774" y="10191519"/>
                  </a:lnTo>
                  <a:lnTo>
                    <a:pt x="6303362" y="10226255"/>
                  </a:lnTo>
                  <a:lnTo>
                    <a:pt x="6272801" y="10261326"/>
                  </a:lnTo>
                  <a:lnTo>
                    <a:pt x="6242247" y="10296404"/>
                  </a:lnTo>
                  <a:lnTo>
                    <a:pt x="6211726" y="10332591"/>
                  </a:lnTo>
                  <a:lnTo>
                    <a:pt x="6191189" y="10364701"/>
                  </a:lnTo>
                  <a:lnTo>
                    <a:pt x="6170660" y="10396812"/>
                  </a:lnTo>
                  <a:lnTo>
                    <a:pt x="6160365" y="10424353"/>
                  </a:lnTo>
                  <a:lnTo>
                    <a:pt x="6176114" y="10457571"/>
                  </a:lnTo>
                  <a:lnTo>
                    <a:pt x="6214318" y="10476241"/>
                  </a:lnTo>
                  <a:lnTo>
                    <a:pt x="6234452" y="10484583"/>
                  </a:lnTo>
                  <a:lnTo>
                    <a:pt x="6256478" y="10491403"/>
                  </a:lnTo>
                  <a:lnTo>
                    <a:pt x="6278243" y="10512961"/>
                  </a:lnTo>
                  <a:lnTo>
                    <a:pt x="6271099" y="10537726"/>
                  </a:lnTo>
                  <a:lnTo>
                    <a:pt x="6272327" y="10559422"/>
                  </a:lnTo>
                  <a:lnTo>
                    <a:pt x="6278243" y="10579616"/>
                  </a:lnTo>
                  <a:lnTo>
                    <a:pt x="6284157" y="10599803"/>
                  </a:lnTo>
                  <a:lnTo>
                    <a:pt x="6305446" y="10634024"/>
                  </a:lnTo>
                  <a:lnTo>
                    <a:pt x="6327539" y="10666524"/>
                  </a:lnTo>
                  <a:lnTo>
                    <a:pt x="6351235" y="10692395"/>
                  </a:lnTo>
                  <a:lnTo>
                    <a:pt x="6346256" y="10712912"/>
                  </a:lnTo>
                  <a:lnTo>
                    <a:pt x="6320569" y="10749401"/>
                  </a:lnTo>
                  <a:lnTo>
                    <a:pt x="6304088" y="10767320"/>
                  </a:lnTo>
                  <a:lnTo>
                    <a:pt x="6287607" y="10785246"/>
                  </a:lnTo>
                  <a:lnTo>
                    <a:pt x="6272868" y="10801891"/>
                  </a:lnTo>
                  <a:lnTo>
                    <a:pt x="6278928" y="10832069"/>
                  </a:lnTo>
                  <a:lnTo>
                    <a:pt x="6306812" y="10859813"/>
                  </a:lnTo>
                  <a:lnTo>
                    <a:pt x="6341428" y="10882316"/>
                  </a:lnTo>
                  <a:lnTo>
                    <a:pt x="6361213" y="10889741"/>
                  </a:lnTo>
                  <a:lnTo>
                    <a:pt x="6400795" y="10904587"/>
                  </a:lnTo>
                  <a:lnTo>
                    <a:pt x="6445496" y="10908114"/>
                  </a:lnTo>
                  <a:lnTo>
                    <a:pt x="6479552" y="10900623"/>
                  </a:lnTo>
                  <a:lnTo>
                    <a:pt x="6534553" y="10870847"/>
                  </a:lnTo>
                  <a:lnTo>
                    <a:pt x="6605924" y="10888700"/>
                  </a:lnTo>
                  <a:lnTo>
                    <a:pt x="6665818" y="10897603"/>
                  </a:lnTo>
                  <a:lnTo>
                    <a:pt x="6727112" y="10910146"/>
                  </a:lnTo>
                  <a:lnTo>
                    <a:pt x="6757460" y="10916365"/>
                  </a:lnTo>
                  <a:lnTo>
                    <a:pt x="6784685" y="10929482"/>
                  </a:lnTo>
                  <a:lnTo>
                    <a:pt x="6816881" y="10930544"/>
                  </a:lnTo>
                  <a:lnTo>
                    <a:pt x="6867128" y="10932179"/>
                  </a:lnTo>
                  <a:lnTo>
                    <a:pt x="6912290" y="10921198"/>
                  </a:lnTo>
                  <a:lnTo>
                    <a:pt x="6961065" y="10916946"/>
                  </a:lnTo>
                  <a:lnTo>
                    <a:pt x="7002679" y="10913312"/>
                  </a:lnTo>
                  <a:lnTo>
                    <a:pt x="7044543" y="10914802"/>
                  </a:lnTo>
                  <a:lnTo>
                    <a:pt x="7086203" y="10911505"/>
                  </a:lnTo>
                  <a:lnTo>
                    <a:pt x="7121632" y="10908722"/>
                  </a:lnTo>
                  <a:lnTo>
                    <a:pt x="7154785" y="10899160"/>
                  </a:lnTo>
                  <a:lnTo>
                    <a:pt x="7190938" y="10901981"/>
                  </a:lnTo>
                  <a:lnTo>
                    <a:pt x="7216268" y="10903959"/>
                  </a:lnTo>
                  <a:lnTo>
                    <a:pt x="7282811" y="10926871"/>
                  </a:lnTo>
                  <a:lnTo>
                    <a:pt x="7304937" y="10892161"/>
                  </a:lnTo>
                  <a:lnTo>
                    <a:pt x="7302608" y="10864073"/>
                  </a:lnTo>
                  <a:lnTo>
                    <a:pt x="7303828" y="10836692"/>
                  </a:lnTo>
                  <a:lnTo>
                    <a:pt x="7305048" y="10809309"/>
                  </a:lnTo>
                  <a:lnTo>
                    <a:pt x="7309982" y="10782923"/>
                  </a:lnTo>
                  <a:lnTo>
                    <a:pt x="7331033" y="10757804"/>
                  </a:lnTo>
                  <a:lnTo>
                    <a:pt x="7351965" y="10748927"/>
                  </a:lnTo>
                  <a:lnTo>
                    <a:pt x="7375159" y="10739219"/>
                  </a:lnTo>
                  <a:lnTo>
                    <a:pt x="7399046" y="10730593"/>
                  </a:lnTo>
                  <a:lnTo>
                    <a:pt x="7422927" y="10721973"/>
                  </a:lnTo>
                  <a:lnTo>
                    <a:pt x="7447063" y="10714878"/>
                  </a:lnTo>
                  <a:lnTo>
                    <a:pt x="7469770" y="10711554"/>
                  </a:lnTo>
                  <a:lnTo>
                    <a:pt x="7492654" y="10708210"/>
                  </a:lnTo>
                  <a:lnTo>
                    <a:pt x="7518487" y="10722567"/>
                  </a:lnTo>
                  <a:lnTo>
                    <a:pt x="7545947" y="10734675"/>
                  </a:lnTo>
                  <a:lnTo>
                    <a:pt x="7573468" y="10746243"/>
                  </a:lnTo>
                  <a:lnTo>
                    <a:pt x="7602756" y="10750319"/>
                  </a:lnTo>
                  <a:lnTo>
                    <a:pt x="7633001" y="10741475"/>
                  </a:lnTo>
                  <a:lnTo>
                    <a:pt x="7663416" y="10727196"/>
                  </a:lnTo>
                  <a:lnTo>
                    <a:pt x="7685529" y="10712069"/>
                  </a:lnTo>
                  <a:lnTo>
                    <a:pt x="7702365" y="10696590"/>
                  </a:lnTo>
                  <a:lnTo>
                    <a:pt x="7719201" y="10681119"/>
                  </a:lnTo>
                  <a:lnTo>
                    <a:pt x="7741809" y="10650347"/>
                  </a:lnTo>
                  <a:lnTo>
                    <a:pt x="7763104" y="10618756"/>
                  </a:lnTo>
                  <a:lnTo>
                    <a:pt x="7779835" y="10586811"/>
                  </a:lnTo>
                  <a:lnTo>
                    <a:pt x="7820704" y="10559211"/>
                  </a:lnTo>
                  <a:lnTo>
                    <a:pt x="7851786" y="10555551"/>
                  </a:lnTo>
                  <a:lnTo>
                    <a:pt x="7873753" y="10556494"/>
                  </a:lnTo>
                  <a:lnTo>
                    <a:pt x="7895340" y="10557675"/>
                  </a:lnTo>
                  <a:lnTo>
                    <a:pt x="7919997" y="10561929"/>
                  </a:lnTo>
                  <a:lnTo>
                    <a:pt x="7914821" y="10537019"/>
                  </a:lnTo>
                  <a:lnTo>
                    <a:pt x="7917129" y="10506459"/>
                  </a:lnTo>
                  <a:lnTo>
                    <a:pt x="7924087" y="10478957"/>
                  </a:lnTo>
                  <a:lnTo>
                    <a:pt x="7953987" y="10461258"/>
                  </a:lnTo>
                  <a:lnTo>
                    <a:pt x="7992120" y="10447691"/>
                  </a:lnTo>
                  <a:lnTo>
                    <a:pt x="8026102" y="10439507"/>
                  </a:lnTo>
                  <a:lnTo>
                    <a:pt x="8040611" y="10386768"/>
                  </a:lnTo>
                  <a:lnTo>
                    <a:pt x="8045143" y="10347020"/>
                  </a:lnTo>
                  <a:lnTo>
                    <a:pt x="8049673" y="10307267"/>
                  </a:lnTo>
                  <a:lnTo>
                    <a:pt x="8047978" y="10267552"/>
                  </a:lnTo>
                  <a:lnTo>
                    <a:pt x="7997065" y="10252614"/>
                  </a:lnTo>
                  <a:lnTo>
                    <a:pt x="7967824" y="10266107"/>
                  </a:lnTo>
                  <a:lnTo>
                    <a:pt x="7933602" y="10272207"/>
                  </a:lnTo>
                  <a:lnTo>
                    <a:pt x="7893889" y="10279284"/>
                  </a:lnTo>
                  <a:lnTo>
                    <a:pt x="7845468" y="10274416"/>
                  </a:lnTo>
                  <a:lnTo>
                    <a:pt x="7805747" y="10270849"/>
                  </a:lnTo>
                  <a:lnTo>
                    <a:pt x="7815586" y="10247345"/>
                  </a:lnTo>
                  <a:lnTo>
                    <a:pt x="7832278" y="10234530"/>
                  </a:lnTo>
                  <a:lnTo>
                    <a:pt x="7846557" y="10215083"/>
                  </a:lnTo>
                  <a:lnTo>
                    <a:pt x="7869929" y="10183230"/>
                  </a:lnTo>
                  <a:lnTo>
                    <a:pt x="7893704" y="10142065"/>
                  </a:lnTo>
                  <a:lnTo>
                    <a:pt x="7910481" y="10099461"/>
                  </a:lnTo>
                  <a:lnTo>
                    <a:pt x="7927259" y="10056857"/>
                  </a:lnTo>
                  <a:lnTo>
                    <a:pt x="7936880" y="10013114"/>
                  </a:lnTo>
                  <a:lnTo>
                    <a:pt x="7934968" y="9972963"/>
                  </a:lnTo>
                  <a:lnTo>
                    <a:pt x="7933464" y="9941460"/>
                  </a:lnTo>
                  <a:lnTo>
                    <a:pt x="7917926" y="9920481"/>
                  </a:lnTo>
                  <a:lnTo>
                    <a:pt x="7902324" y="9898151"/>
                  </a:lnTo>
                  <a:lnTo>
                    <a:pt x="7886720" y="9875828"/>
                  </a:lnTo>
                  <a:lnTo>
                    <a:pt x="7871755" y="9850985"/>
                  </a:lnTo>
                  <a:lnTo>
                    <a:pt x="7872395" y="9809741"/>
                  </a:lnTo>
                  <a:lnTo>
                    <a:pt x="7900662" y="9798351"/>
                  </a:lnTo>
                  <a:lnTo>
                    <a:pt x="7916369" y="9766663"/>
                  </a:lnTo>
                  <a:lnTo>
                    <a:pt x="7944490" y="9762131"/>
                  </a:lnTo>
                  <a:lnTo>
                    <a:pt x="7972203" y="9757646"/>
                  </a:lnTo>
                  <a:lnTo>
                    <a:pt x="8002361" y="9779898"/>
                  </a:lnTo>
                  <a:lnTo>
                    <a:pt x="8028820" y="9768937"/>
                  </a:lnTo>
                  <a:lnTo>
                    <a:pt x="8054665" y="9745810"/>
                  </a:lnTo>
                  <a:lnTo>
                    <a:pt x="8063118" y="9696822"/>
                  </a:lnTo>
                  <a:lnTo>
                    <a:pt x="8089328" y="9681028"/>
                  </a:lnTo>
                  <a:lnTo>
                    <a:pt x="8121313" y="9692766"/>
                  </a:lnTo>
                  <a:lnTo>
                    <a:pt x="8152778" y="9699361"/>
                  </a:lnTo>
                  <a:lnTo>
                    <a:pt x="8170281" y="9687325"/>
                  </a:lnTo>
                  <a:lnTo>
                    <a:pt x="8206558" y="9662351"/>
                  </a:lnTo>
                  <a:lnTo>
                    <a:pt x="8266895" y="9607685"/>
                  </a:lnTo>
                  <a:lnTo>
                    <a:pt x="8296779" y="9590749"/>
                  </a:lnTo>
                  <a:lnTo>
                    <a:pt x="8320889" y="9577091"/>
                  </a:lnTo>
                  <a:lnTo>
                    <a:pt x="8345954" y="9570107"/>
                  </a:lnTo>
                  <a:lnTo>
                    <a:pt x="8370232" y="9560823"/>
                  </a:lnTo>
                  <a:lnTo>
                    <a:pt x="8394500" y="9551543"/>
                  </a:lnTo>
                  <a:lnTo>
                    <a:pt x="8417701" y="9540687"/>
                  </a:lnTo>
                  <a:lnTo>
                    <a:pt x="8439604" y="9521379"/>
                  </a:lnTo>
                  <a:lnTo>
                    <a:pt x="8475816" y="9476770"/>
                  </a:lnTo>
                  <a:lnTo>
                    <a:pt x="8560660" y="9450648"/>
                  </a:lnTo>
                  <a:lnTo>
                    <a:pt x="8577701" y="9437602"/>
                  </a:lnTo>
                  <a:lnTo>
                    <a:pt x="8603566" y="9407102"/>
                  </a:lnTo>
                  <a:lnTo>
                    <a:pt x="8636829" y="9379917"/>
                  </a:lnTo>
                  <a:lnTo>
                    <a:pt x="8648515" y="9359129"/>
                  </a:lnTo>
                  <a:lnTo>
                    <a:pt x="8667965" y="9323471"/>
                  </a:lnTo>
                  <a:lnTo>
                    <a:pt x="8658316" y="9302322"/>
                  </a:lnTo>
                  <a:lnTo>
                    <a:pt x="8673549" y="9272460"/>
                  </a:lnTo>
                  <a:lnTo>
                    <a:pt x="8704890" y="9250229"/>
                  </a:lnTo>
                  <a:lnTo>
                    <a:pt x="8730681" y="9238456"/>
                  </a:lnTo>
                  <a:lnTo>
                    <a:pt x="8756475" y="9226685"/>
                  </a:lnTo>
                  <a:lnTo>
                    <a:pt x="8786653" y="9214036"/>
                  </a:lnTo>
                  <a:lnTo>
                    <a:pt x="8816378" y="9197654"/>
                  </a:lnTo>
                  <a:lnTo>
                    <a:pt x="8846094" y="9181272"/>
                  </a:lnTo>
                  <a:lnTo>
                    <a:pt x="8874827" y="9161876"/>
                  </a:lnTo>
                  <a:lnTo>
                    <a:pt x="8896630" y="9136441"/>
                  </a:lnTo>
                  <a:lnTo>
                    <a:pt x="8918428" y="9111010"/>
                  </a:lnTo>
                  <a:lnTo>
                    <a:pt x="8934042" y="9080147"/>
                  </a:lnTo>
                  <a:lnTo>
                    <a:pt x="8936073" y="9041230"/>
                  </a:lnTo>
                  <a:lnTo>
                    <a:pt x="8910986" y="8990231"/>
                  </a:lnTo>
                  <a:lnTo>
                    <a:pt x="8885741" y="8950095"/>
                  </a:lnTo>
                  <a:lnTo>
                    <a:pt x="8860502" y="8909958"/>
                  </a:lnTo>
                  <a:lnTo>
                    <a:pt x="8828545" y="8862336"/>
                  </a:lnTo>
                  <a:lnTo>
                    <a:pt x="8798695" y="8815433"/>
                  </a:lnTo>
                  <a:lnTo>
                    <a:pt x="8768840" y="8768537"/>
                  </a:lnTo>
                  <a:lnTo>
                    <a:pt x="8740897" y="8722919"/>
                  </a:lnTo>
                  <a:lnTo>
                    <a:pt x="8721159" y="8684854"/>
                  </a:lnTo>
                  <a:lnTo>
                    <a:pt x="8701421" y="8646795"/>
                  </a:lnTo>
                  <a:lnTo>
                    <a:pt x="8690209" y="8616874"/>
                  </a:lnTo>
                  <a:lnTo>
                    <a:pt x="8710006" y="8590876"/>
                  </a:lnTo>
                  <a:lnTo>
                    <a:pt x="8742624" y="8578399"/>
                  </a:lnTo>
                  <a:lnTo>
                    <a:pt x="8757504" y="8548069"/>
                  </a:lnTo>
                  <a:lnTo>
                    <a:pt x="8691573" y="8311840"/>
                  </a:lnTo>
                  <a:lnTo>
                    <a:pt x="8687155" y="8268636"/>
                  </a:lnTo>
                  <a:lnTo>
                    <a:pt x="8685012" y="8247783"/>
                  </a:lnTo>
                  <a:lnTo>
                    <a:pt x="8712257" y="8218159"/>
                  </a:lnTo>
                  <a:lnTo>
                    <a:pt x="8739809" y="8216978"/>
                  </a:lnTo>
                  <a:lnTo>
                    <a:pt x="8788125" y="8206407"/>
                  </a:lnTo>
                  <a:lnTo>
                    <a:pt x="8836780" y="8189742"/>
                  </a:lnTo>
                  <a:lnTo>
                    <a:pt x="8885431" y="8173076"/>
                  </a:lnTo>
                  <a:lnTo>
                    <a:pt x="8934427" y="8150298"/>
                  </a:lnTo>
                  <a:lnTo>
                    <a:pt x="8947951" y="8112469"/>
                  </a:lnTo>
                  <a:lnTo>
                    <a:pt x="8953622" y="8088326"/>
                  </a:lnTo>
                  <a:lnTo>
                    <a:pt x="8952398" y="8067327"/>
                  </a:lnTo>
                  <a:lnTo>
                    <a:pt x="8928762" y="8053643"/>
                  </a:lnTo>
                  <a:lnTo>
                    <a:pt x="8891440" y="8060996"/>
                  </a:lnTo>
                  <a:lnTo>
                    <a:pt x="8872142" y="8044205"/>
                  </a:lnTo>
                  <a:lnTo>
                    <a:pt x="8865727" y="8011435"/>
                  </a:lnTo>
                  <a:lnTo>
                    <a:pt x="8870409" y="7987199"/>
                  </a:lnTo>
                  <a:lnTo>
                    <a:pt x="8881673" y="7968035"/>
                  </a:lnTo>
                  <a:lnTo>
                    <a:pt x="8893787" y="7950017"/>
                  </a:lnTo>
                  <a:lnTo>
                    <a:pt x="8906152" y="7913626"/>
                  </a:lnTo>
                  <a:lnTo>
                    <a:pt x="8889831" y="7883699"/>
                  </a:lnTo>
                  <a:lnTo>
                    <a:pt x="8865299" y="7872778"/>
                  </a:lnTo>
                  <a:lnTo>
                    <a:pt x="8842209" y="7861012"/>
                  </a:lnTo>
                  <a:lnTo>
                    <a:pt x="8823184" y="7846971"/>
                  </a:lnTo>
                  <a:lnTo>
                    <a:pt x="8804155" y="7832937"/>
                  </a:lnTo>
                  <a:lnTo>
                    <a:pt x="8789028" y="7816114"/>
                  </a:lnTo>
                  <a:lnTo>
                    <a:pt x="8779655" y="7791205"/>
                  </a:lnTo>
                  <a:lnTo>
                    <a:pt x="8774300" y="7732523"/>
                  </a:lnTo>
                  <a:lnTo>
                    <a:pt x="8779655" y="7687553"/>
                  </a:lnTo>
                  <a:lnTo>
                    <a:pt x="8779655" y="7644304"/>
                  </a:lnTo>
                  <a:lnTo>
                    <a:pt x="8779655" y="7605644"/>
                  </a:lnTo>
                  <a:lnTo>
                    <a:pt x="8770840" y="7564775"/>
                  </a:lnTo>
                  <a:lnTo>
                    <a:pt x="8768775" y="7525965"/>
                  </a:lnTo>
                  <a:lnTo>
                    <a:pt x="8766539" y="7483757"/>
                  </a:lnTo>
                  <a:lnTo>
                    <a:pt x="8771162" y="7440805"/>
                  </a:lnTo>
                  <a:lnTo>
                    <a:pt x="8767417" y="7398110"/>
                  </a:lnTo>
                  <a:lnTo>
                    <a:pt x="8776511" y="7376300"/>
                  </a:lnTo>
                  <a:lnTo>
                    <a:pt x="8790882" y="7352967"/>
                  </a:lnTo>
                  <a:lnTo>
                    <a:pt x="8806859" y="7335537"/>
                  </a:lnTo>
                  <a:lnTo>
                    <a:pt x="8778297" y="7297451"/>
                  </a:lnTo>
                  <a:lnTo>
                    <a:pt x="8731837" y="7288509"/>
                  </a:lnTo>
                  <a:lnTo>
                    <a:pt x="8690593" y="7255659"/>
                  </a:lnTo>
                  <a:lnTo>
                    <a:pt x="8670446" y="7207622"/>
                  </a:lnTo>
                  <a:lnTo>
                    <a:pt x="8650441" y="7161431"/>
                  </a:lnTo>
                  <a:lnTo>
                    <a:pt x="8630426" y="7115247"/>
                  </a:lnTo>
                  <a:lnTo>
                    <a:pt x="8611758" y="7071174"/>
                  </a:lnTo>
                  <a:lnTo>
                    <a:pt x="8591951" y="7058056"/>
                  </a:lnTo>
                  <a:lnTo>
                    <a:pt x="8571388" y="7051376"/>
                  </a:lnTo>
                  <a:lnTo>
                    <a:pt x="8538606" y="7053987"/>
                  </a:lnTo>
                  <a:lnTo>
                    <a:pt x="8508973" y="7056698"/>
                  </a:lnTo>
                  <a:lnTo>
                    <a:pt x="8479344" y="7059402"/>
                  </a:lnTo>
                  <a:lnTo>
                    <a:pt x="8451585" y="7062297"/>
                  </a:lnTo>
                  <a:lnTo>
                    <a:pt x="8434169" y="7043099"/>
                  </a:lnTo>
                  <a:lnTo>
                    <a:pt x="8428622" y="6993281"/>
                  </a:lnTo>
                  <a:lnTo>
                    <a:pt x="8455609" y="6939190"/>
                  </a:lnTo>
                  <a:lnTo>
                    <a:pt x="8461373" y="6889398"/>
                  </a:lnTo>
                  <a:lnTo>
                    <a:pt x="8412359" y="6867015"/>
                  </a:lnTo>
                  <a:lnTo>
                    <a:pt x="8394726" y="6851313"/>
                  </a:lnTo>
                  <a:lnTo>
                    <a:pt x="8387728" y="6824794"/>
                  </a:lnTo>
                  <a:lnTo>
                    <a:pt x="8389099" y="6799483"/>
                  </a:lnTo>
                  <a:lnTo>
                    <a:pt x="8392007" y="6775141"/>
                  </a:lnTo>
                  <a:lnTo>
                    <a:pt x="8394903" y="6750793"/>
                  </a:lnTo>
                  <a:lnTo>
                    <a:pt x="8399123" y="6726788"/>
                  </a:lnTo>
                  <a:lnTo>
                    <a:pt x="8397442" y="6700329"/>
                  </a:lnTo>
                  <a:lnTo>
                    <a:pt x="8395926" y="6676468"/>
                  </a:lnTo>
                  <a:lnTo>
                    <a:pt x="8365897" y="6625253"/>
                  </a:lnTo>
                  <a:lnTo>
                    <a:pt x="8330795" y="6580632"/>
                  </a:lnTo>
                  <a:lnTo>
                    <a:pt x="8313240" y="6558321"/>
                  </a:lnTo>
                  <a:lnTo>
                    <a:pt x="8295042" y="6538582"/>
                  </a:lnTo>
                  <a:lnTo>
                    <a:pt x="8277744" y="6523499"/>
                  </a:lnTo>
                  <a:lnTo>
                    <a:pt x="8260446" y="6508424"/>
                  </a:lnTo>
                  <a:lnTo>
                    <a:pt x="8232860" y="6499020"/>
                  </a:lnTo>
                  <a:lnTo>
                    <a:pt x="8184274" y="6500892"/>
                  </a:lnTo>
                  <a:lnTo>
                    <a:pt x="8129809" y="6498268"/>
                  </a:lnTo>
                  <a:lnTo>
                    <a:pt x="8081877" y="6504460"/>
                  </a:lnTo>
                  <a:lnTo>
                    <a:pt x="8047873" y="6518059"/>
                  </a:lnTo>
                  <a:lnTo>
                    <a:pt x="8025773" y="6526817"/>
                  </a:lnTo>
                  <a:lnTo>
                    <a:pt x="8005646" y="6542632"/>
                  </a:lnTo>
                  <a:lnTo>
                    <a:pt x="7983948" y="6550704"/>
                  </a:lnTo>
                  <a:lnTo>
                    <a:pt x="7955274" y="6561394"/>
                  </a:lnTo>
                  <a:lnTo>
                    <a:pt x="7922312" y="6567983"/>
                  </a:lnTo>
                  <a:lnTo>
                    <a:pt x="7892813" y="6576549"/>
                  </a:lnTo>
                  <a:lnTo>
                    <a:pt x="7864250" y="6573826"/>
                  </a:lnTo>
                  <a:lnTo>
                    <a:pt x="7842982" y="6566492"/>
                  </a:lnTo>
                  <a:lnTo>
                    <a:pt x="7826666" y="6530629"/>
                  </a:lnTo>
                  <a:lnTo>
                    <a:pt x="7828367" y="6494601"/>
                  </a:lnTo>
                  <a:lnTo>
                    <a:pt x="7850645" y="6471809"/>
                  </a:lnTo>
                  <a:lnTo>
                    <a:pt x="7954020" y="6465009"/>
                  </a:lnTo>
                  <a:lnTo>
                    <a:pt x="7986236" y="6420382"/>
                  </a:lnTo>
                  <a:lnTo>
                    <a:pt x="7992106" y="6391563"/>
                  </a:lnTo>
                  <a:lnTo>
                    <a:pt x="7902330" y="6348036"/>
                  </a:lnTo>
                  <a:lnTo>
                    <a:pt x="7894501" y="6322190"/>
                  </a:lnTo>
                  <a:lnTo>
                    <a:pt x="7905054" y="6296345"/>
                  </a:lnTo>
                  <a:lnTo>
                    <a:pt x="7940270" y="6292032"/>
                  </a:lnTo>
                  <a:lnTo>
                    <a:pt x="8005131" y="6311560"/>
                  </a:lnTo>
                  <a:lnTo>
                    <a:pt x="8026110" y="6307227"/>
                  </a:lnTo>
                  <a:lnTo>
                    <a:pt x="8045234" y="6292948"/>
                  </a:lnTo>
                  <a:lnTo>
                    <a:pt x="8058753" y="6274582"/>
                  </a:lnTo>
                  <a:lnTo>
                    <a:pt x="8066721" y="6250590"/>
                  </a:lnTo>
                  <a:lnTo>
                    <a:pt x="8075077" y="6229697"/>
                  </a:lnTo>
                  <a:lnTo>
                    <a:pt x="8089356" y="6193992"/>
                  </a:lnTo>
                  <a:lnTo>
                    <a:pt x="8102226" y="6169835"/>
                  </a:lnTo>
                  <a:lnTo>
                    <a:pt x="8106362" y="6145361"/>
                  </a:lnTo>
                  <a:lnTo>
                    <a:pt x="8110499" y="6120894"/>
                  </a:lnTo>
                  <a:lnTo>
                    <a:pt x="8106034" y="6096809"/>
                  </a:lnTo>
                  <a:lnTo>
                    <a:pt x="8085957" y="6061032"/>
                  </a:lnTo>
                  <a:lnTo>
                    <a:pt x="8002987" y="6035187"/>
                  </a:lnTo>
                  <a:lnTo>
                    <a:pt x="7998437" y="5968156"/>
                  </a:lnTo>
                  <a:lnTo>
                    <a:pt x="8012973" y="5939508"/>
                  </a:lnTo>
                  <a:lnTo>
                    <a:pt x="8043797" y="5945417"/>
                  </a:lnTo>
                  <a:lnTo>
                    <a:pt x="8074609" y="5949968"/>
                  </a:lnTo>
                  <a:lnTo>
                    <a:pt x="8102921" y="5914823"/>
                  </a:lnTo>
                  <a:lnTo>
                    <a:pt x="8116036" y="5878426"/>
                  </a:lnTo>
                  <a:lnTo>
                    <a:pt x="8128125" y="5840683"/>
                  </a:lnTo>
                  <a:lnTo>
                    <a:pt x="8140208" y="5802940"/>
                  </a:lnTo>
                  <a:lnTo>
                    <a:pt x="8150515" y="5762996"/>
                  </a:lnTo>
                  <a:lnTo>
                    <a:pt x="8160771" y="5733226"/>
                  </a:lnTo>
                  <a:lnTo>
                    <a:pt x="8147417" y="5714569"/>
                  </a:lnTo>
                  <a:lnTo>
                    <a:pt x="8112238" y="5695121"/>
                  </a:lnTo>
                  <a:lnTo>
                    <a:pt x="8080516" y="5673377"/>
                  </a:lnTo>
                  <a:lnTo>
                    <a:pt x="8049588" y="5650638"/>
                  </a:lnTo>
                  <a:lnTo>
                    <a:pt x="8027118" y="5628110"/>
                  </a:lnTo>
                  <a:lnTo>
                    <a:pt x="8019310" y="5605370"/>
                  </a:lnTo>
                  <a:lnTo>
                    <a:pt x="8044344" y="5559206"/>
                  </a:lnTo>
                  <a:lnTo>
                    <a:pt x="8062666" y="5508900"/>
                  </a:lnTo>
                  <a:lnTo>
                    <a:pt x="8088683" y="5463910"/>
                  </a:lnTo>
                  <a:lnTo>
                    <a:pt x="8121710" y="5406758"/>
                  </a:lnTo>
                  <a:lnTo>
                    <a:pt x="8177180" y="5358365"/>
                  </a:lnTo>
                  <a:lnTo>
                    <a:pt x="8202939" y="5297963"/>
                  </a:lnTo>
                  <a:lnTo>
                    <a:pt x="8238788" y="5202178"/>
                  </a:lnTo>
                  <a:lnTo>
                    <a:pt x="8329276" y="5162226"/>
                  </a:lnTo>
                  <a:lnTo>
                    <a:pt x="8380712" y="5141102"/>
                  </a:lnTo>
                  <a:lnTo>
                    <a:pt x="8408332" y="5108893"/>
                  </a:lnTo>
                  <a:lnTo>
                    <a:pt x="8422132" y="5092795"/>
                  </a:lnTo>
                  <a:lnTo>
                    <a:pt x="8432811" y="5050410"/>
                  </a:lnTo>
                  <a:lnTo>
                    <a:pt x="8434612" y="5026226"/>
                  </a:lnTo>
                  <a:lnTo>
                    <a:pt x="8429822" y="4996938"/>
                  </a:lnTo>
                  <a:lnTo>
                    <a:pt x="8419205" y="4959275"/>
                  </a:lnTo>
                  <a:lnTo>
                    <a:pt x="8406034" y="4912516"/>
                  </a:lnTo>
                  <a:lnTo>
                    <a:pt x="8390689" y="4863701"/>
                  </a:lnTo>
                  <a:lnTo>
                    <a:pt x="8379760" y="4816456"/>
                  </a:lnTo>
                  <a:lnTo>
                    <a:pt x="8369646" y="4772652"/>
                  </a:lnTo>
                  <a:lnTo>
                    <a:pt x="8369360" y="4730168"/>
                  </a:lnTo>
                  <a:lnTo>
                    <a:pt x="8352558" y="4687235"/>
                  </a:lnTo>
                  <a:lnTo>
                    <a:pt x="8343588" y="4664311"/>
                  </a:lnTo>
                  <a:lnTo>
                    <a:pt x="8326448" y="4649808"/>
                  </a:lnTo>
                  <a:lnTo>
                    <a:pt x="8304949" y="4640985"/>
                  </a:lnTo>
                  <a:lnTo>
                    <a:pt x="8283455" y="4632168"/>
                  </a:lnTo>
                  <a:lnTo>
                    <a:pt x="8258251" y="4628619"/>
                  </a:lnTo>
                  <a:lnTo>
                    <a:pt x="8231502" y="4628745"/>
                  </a:lnTo>
                  <a:lnTo>
                    <a:pt x="8177995" y="4629008"/>
                  </a:lnTo>
                  <a:lnTo>
                    <a:pt x="8120910" y="4642502"/>
                  </a:lnTo>
                  <a:lnTo>
                    <a:pt x="8090041" y="4647791"/>
                  </a:lnTo>
                  <a:lnTo>
                    <a:pt x="8066920" y="4647791"/>
                  </a:lnTo>
                  <a:lnTo>
                    <a:pt x="8064790" y="4544673"/>
                  </a:lnTo>
                  <a:lnTo>
                    <a:pt x="8099287" y="4385656"/>
                  </a:lnTo>
                  <a:lnTo>
                    <a:pt x="8121326" y="4292781"/>
                  </a:lnTo>
                  <a:lnTo>
                    <a:pt x="8126259" y="4271993"/>
                  </a:lnTo>
                  <a:lnTo>
                    <a:pt x="8135182" y="4251120"/>
                  </a:lnTo>
                  <a:lnTo>
                    <a:pt x="8139008" y="4230208"/>
                  </a:lnTo>
                  <a:lnTo>
                    <a:pt x="8142959" y="4186490"/>
                  </a:lnTo>
                  <a:lnTo>
                    <a:pt x="8107107" y="4132722"/>
                  </a:lnTo>
                  <a:lnTo>
                    <a:pt x="8069273" y="4106560"/>
                  </a:lnTo>
                  <a:lnTo>
                    <a:pt x="8041073" y="4071066"/>
                  </a:lnTo>
                  <a:lnTo>
                    <a:pt x="7988980" y="4005434"/>
                  </a:lnTo>
                  <a:lnTo>
                    <a:pt x="7948705" y="3933813"/>
                  </a:lnTo>
                  <a:lnTo>
                    <a:pt x="7902330" y="3864316"/>
                  </a:lnTo>
                  <a:lnTo>
                    <a:pt x="7876510" y="3825591"/>
                  </a:lnTo>
                  <a:lnTo>
                    <a:pt x="7846840" y="3790038"/>
                  </a:lnTo>
                  <a:lnTo>
                    <a:pt x="7824800" y="3748701"/>
                  </a:lnTo>
                  <a:lnTo>
                    <a:pt x="7792267" y="3737225"/>
                  </a:lnTo>
                  <a:lnTo>
                    <a:pt x="7756681" y="3743847"/>
                  </a:lnTo>
                  <a:lnTo>
                    <a:pt x="7722783" y="3739178"/>
                  </a:lnTo>
                  <a:lnTo>
                    <a:pt x="7715259" y="3702754"/>
                  </a:lnTo>
                  <a:lnTo>
                    <a:pt x="7722256" y="3643519"/>
                  </a:lnTo>
                  <a:lnTo>
                    <a:pt x="7714625" y="3597717"/>
                  </a:lnTo>
                  <a:lnTo>
                    <a:pt x="7774942" y="3577062"/>
                  </a:lnTo>
                  <a:lnTo>
                    <a:pt x="7832773" y="3575776"/>
                  </a:lnTo>
                  <a:lnTo>
                    <a:pt x="7883291" y="3584118"/>
                  </a:lnTo>
                  <a:lnTo>
                    <a:pt x="7915599" y="3606535"/>
                  </a:lnTo>
                  <a:lnTo>
                    <a:pt x="7932257" y="3623563"/>
                  </a:lnTo>
                  <a:lnTo>
                    <a:pt x="7948910" y="3640597"/>
                  </a:lnTo>
                  <a:lnTo>
                    <a:pt x="7967513" y="3655937"/>
                  </a:lnTo>
                  <a:lnTo>
                    <a:pt x="7989382" y="3650766"/>
                  </a:lnTo>
                  <a:lnTo>
                    <a:pt x="7996214" y="3600461"/>
                  </a:lnTo>
                  <a:lnTo>
                    <a:pt x="7990742" y="3565079"/>
                  </a:lnTo>
                  <a:lnTo>
                    <a:pt x="7985267" y="3529691"/>
                  </a:lnTo>
                  <a:lnTo>
                    <a:pt x="7976654" y="3493815"/>
                  </a:lnTo>
                  <a:lnTo>
                    <a:pt x="7972216" y="3462436"/>
                  </a:lnTo>
                  <a:lnTo>
                    <a:pt x="7971437" y="3430503"/>
                  </a:lnTo>
                  <a:lnTo>
                    <a:pt x="7973060" y="3399131"/>
                  </a:lnTo>
                  <a:lnTo>
                    <a:pt x="7974682" y="3367760"/>
                  </a:lnTo>
                  <a:lnTo>
                    <a:pt x="7978883" y="3336658"/>
                  </a:lnTo>
                  <a:lnTo>
                    <a:pt x="7995845" y="3300452"/>
                  </a:lnTo>
                  <a:lnTo>
                    <a:pt x="8012432" y="3281993"/>
                  </a:lnTo>
                  <a:lnTo>
                    <a:pt x="8028832" y="3263112"/>
                  </a:lnTo>
                  <a:lnTo>
                    <a:pt x="8045228" y="3244231"/>
                  </a:lnTo>
                  <a:lnTo>
                    <a:pt x="8061478" y="3224973"/>
                  </a:lnTo>
                  <a:lnTo>
                    <a:pt x="8070994" y="3203263"/>
                  </a:lnTo>
                  <a:lnTo>
                    <a:pt x="8072352" y="3173342"/>
                  </a:lnTo>
                  <a:lnTo>
                    <a:pt x="8067624" y="3152535"/>
                  </a:lnTo>
                  <a:lnTo>
                    <a:pt x="8060092" y="3119396"/>
                  </a:lnTo>
                  <a:lnTo>
                    <a:pt x="8050313" y="3100514"/>
                  </a:lnTo>
                  <a:lnTo>
                    <a:pt x="8023670" y="3069340"/>
                  </a:lnTo>
                  <a:lnTo>
                    <a:pt x="7989382" y="3046838"/>
                  </a:lnTo>
                  <a:lnTo>
                    <a:pt x="7952457" y="3027442"/>
                  </a:lnTo>
                  <a:lnTo>
                    <a:pt x="7906840" y="3017168"/>
                  </a:lnTo>
                  <a:lnTo>
                    <a:pt x="7865610" y="3006036"/>
                  </a:lnTo>
                  <a:lnTo>
                    <a:pt x="7848628" y="2972560"/>
                  </a:lnTo>
                  <a:lnTo>
                    <a:pt x="7845158" y="2942401"/>
                  </a:lnTo>
                  <a:lnTo>
                    <a:pt x="7831599" y="2923065"/>
                  </a:lnTo>
                  <a:lnTo>
                    <a:pt x="7810811" y="2881392"/>
                  </a:lnTo>
                  <a:lnTo>
                    <a:pt x="7790797" y="2859134"/>
                  </a:lnTo>
                  <a:lnTo>
                    <a:pt x="7770781" y="2836876"/>
                  </a:lnTo>
                  <a:lnTo>
                    <a:pt x="7745377" y="2814473"/>
                  </a:lnTo>
                  <a:lnTo>
                    <a:pt x="7718701" y="2793845"/>
                  </a:lnTo>
                  <a:lnTo>
                    <a:pt x="7665361" y="2752580"/>
                  </a:lnTo>
                  <a:lnTo>
                    <a:pt x="7605573" y="2718195"/>
                  </a:lnTo>
                  <a:lnTo>
                    <a:pt x="7566358" y="2708150"/>
                  </a:lnTo>
                  <a:lnTo>
                    <a:pt x="7538158" y="2735697"/>
                  </a:lnTo>
                  <a:lnTo>
                    <a:pt x="7462772" y="2868592"/>
                  </a:lnTo>
                  <a:lnTo>
                    <a:pt x="7431044" y="2838993"/>
                  </a:lnTo>
                  <a:lnTo>
                    <a:pt x="7415705" y="2787065"/>
                  </a:lnTo>
                  <a:lnTo>
                    <a:pt x="7403136" y="2735355"/>
                  </a:lnTo>
                  <a:lnTo>
                    <a:pt x="7390572" y="2683644"/>
                  </a:lnTo>
                  <a:lnTo>
                    <a:pt x="7381464" y="2631696"/>
                  </a:lnTo>
                  <a:lnTo>
                    <a:pt x="7378655" y="2597976"/>
                  </a:lnTo>
                  <a:lnTo>
                    <a:pt x="7374849" y="2552300"/>
                  </a:lnTo>
                  <a:lnTo>
                    <a:pt x="7373531" y="2502953"/>
                  </a:lnTo>
                  <a:lnTo>
                    <a:pt x="7366414" y="2457875"/>
                  </a:lnTo>
                  <a:lnTo>
                    <a:pt x="7360591" y="2420936"/>
                  </a:lnTo>
                  <a:lnTo>
                    <a:pt x="7339125" y="2373861"/>
                  </a:lnTo>
                  <a:lnTo>
                    <a:pt x="7328329" y="2336817"/>
                  </a:lnTo>
                  <a:lnTo>
                    <a:pt x="7318700" y="2296500"/>
                  </a:lnTo>
                  <a:lnTo>
                    <a:pt x="7284848" y="2232677"/>
                  </a:lnTo>
                  <a:lnTo>
                    <a:pt x="7287526" y="2208958"/>
                  </a:lnTo>
                  <a:lnTo>
                    <a:pt x="7336270" y="2201900"/>
                  </a:lnTo>
                  <a:lnTo>
                    <a:pt x="7370398" y="2197876"/>
                  </a:lnTo>
                  <a:lnTo>
                    <a:pt x="7401770" y="2187192"/>
                  </a:lnTo>
                  <a:lnTo>
                    <a:pt x="7433141" y="2176507"/>
                  </a:lnTo>
                  <a:lnTo>
                    <a:pt x="7461909" y="2159286"/>
                  </a:lnTo>
                  <a:lnTo>
                    <a:pt x="7495621" y="2135506"/>
                  </a:lnTo>
                  <a:lnTo>
                    <a:pt x="7547913" y="2098628"/>
                  </a:lnTo>
                  <a:lnTo>
                    <a:pt x="7584211" y="2074174"/>
                  </a:lnTo>
                  <a:lnTo>
                    <a:pt x="7613961" y="2044372"/>
                  </a:lnTo>
                  <a:lnTo>
                    <a:pt x="7643710" y="2014570"/>
                  </a:lnTo>
                  <a:lnTo>
                    <a:pt x="7667650" y="1978661"/>
                  </a:lnTo>
                  <a:lnTo>
                    <a:pt x="7695572" y="1920594"/>
                  </a:lnTo>
                  <a:lnTo>
                    <a:pt x="7707377" y="1896050"/>
                  </a:lnTo>
                  <a:lnTo>
                    <a:pt x="7724965" y="1854391"/>
                  </a:lnTo>
                  <a:lnTo>
                    <a:pt x="7724135" y="1825380"/>
                  </a:lnTo>
                  <a:lnTo>
                    <a:pt x="7723054" y="1786806"/>
                  </a:lnTo>
                  <a:lnTo>
                    <a:pt x="7717296" y="1752737"/>
                  </a:lnTo>
                  <a:lnTo>
                    <a:pt x="7721412" y="1713843"/>
                  </a:lnTo>
                  <a:lnTo>
                    <a:pt x="7729102" y="1659970"/>
                  </a:lnTo>
                  <a:lnTo>
                    <a:pt x="7729576" y="1624070"/>
                  </a:lnTo>
                  <a:lnTo>
                    <a:pt x="7730038" y="1588172"/>
                  </a:lnTo>
                  <a:lnTo>
                    <a:pt x="7724550" y="1553744"/>
                  </a:lnTo>
                  <a:lnTo>
                    <a:pt x="7707813" y="1539738"/>
                  </a:lnTo>
                  <a:lnTo>
                    <a:pt x="7685266" y="1552681"/>
                  </a:lnTo>
                  <a:lnTo>
                    <a:pt x="7664392" y="1572980"/>
                  </a:lnTo>
                  <a:lnTo>
                    <a:pt x="7630283" y="1572383"/>
                  </a:lnTo>
                  <a:lnTo>
                    <a:pt x="7601047" y="1524060"/>
                  </a:lnTo>
                  <a:lnTo>
                    <a:pt x="7586751" y="1500293"/>
                  </a:lnTo>
                  <a:lnTo>
                    <a:pt x="7559836" y="1516632"/>
                  </a:lnTo>
                  <a:lnTo>
                    <a:pt x="7527818" y="1512110"/>
                  </a:lnTo>
                  <a:lnTo>
                    <a:pt x="7505145" y="1496212"/>
                  </a:lnTo>
                  <a:lnTo>
                    <a:pt x="7368017" y="1416492"/>
                  </a:lnTo>
                  <a:lnTo>
                    <a:pt x="7413964" y="1261492"/>
                  </a:lnTo>
                  <a:lnTo>
                    <a:pt x="7340556" y="1145281"/>
                  </a:lnTo>
                  <a:lnTo>
                    <a:pt x="7305748" y="1090129"/>
                  </a:lnTo>
                  <a:lnTo>
                    <a:pt x="7239608" y="1083477"/>
                  </a:lnTo>
                  <a:lnTo>
                    <a:pt x="7192296" y="1043266"/>
                  </a:lnTo>
                  <a:lnTo>
                    <a:pt x="7180056" y="1024223"/>
                  </a:lnTo>
                  <a:lnTo>
                    <a:pt x="7167176" y="989920"/>
                  </a:lnTo>
                  <a:lnTo>
                    <a:pt x="7218313" y="902209"/>
                  </a:lnTo>
                  <a:lnTo>
                    <a:pt x="7227658" y="846037"/>
                  </a:lnTo>
                  <a:lnTo>
                    <a:pt x="7234695" y="803105"/>
                  </a:lnTo>
                  <a:lnTo>
                    <a:pt x="7215931" y="672782"/>
                  </a:lnTo>
                  <a:lnTo>
                    <a:pt x="7200453" y="631126"/>
                  </a:lnTo>
                  <a:lnTo>
                    <a:pt x="7160693" y="572105"/>
                  </a:lnTo>
                  <a:lnTo>
                    <a:pt x="7123946" y="536103"/>
                  </a:lnTo>
                  <a:lnTo>
                    <a:pt x="7090240" y="518377"/>
                  </a:lnTo>
                  <a:lnTo>
                    <a:pt x="7071239" y="488305"/>
                  </a:lnTo>
                  <a:lnTo>
                    <a:pt x="7056467" y="464884"/>
                  </a:lnTo>
                  <a:lnTo>
                    <a:pt x="7048580" y="435809"/>
                  </a:lnTo>
                  <a:lnTo>
                    <a:pt x="7041313" y="409413"/>
                  </a:lnTo>
                  <a:lnTo>
                    <a:pt x="6992173" y="230866"/>
                  </a:lnTo>
                  <a:lnTo>
                    <a:pt x="7016871" y="193524"/>
                  </a:lnTo>
                  <a:lnTo>
                    <a:pt x="6815522" y="141454"/>
                  </a:lnTo>
                  <a:lnTo>
                    <a:pt x="6747450" y="123835"/>
                  </a:lnTo>
                  <a:lnTo>
                    <a:pt x="6676608" y="108320"/>
                  </a:lnTo>
                  <a:lnTo>
                    <a:pt x="6607407" y="130572"/>
                  </a:lnTo>
                  <a:lnTo>
                    <a:pt x="6544841" y="150678"/>
                  </a:lnTo>
                  <a:lnTo>
                    <a:pt x="6472053" y="188126"/>
                  </a:lnTo>
                  <a:lnTo>
                    <a:pt x="6456431" y="258431"/>
                  </a:lnTo>
                  <a:lnTo>
                    <a:pt x="6450969" y="282978"/>
                  </a:lnTo>
                  <a:lnTo>
                    <a:pt x="6464252" y="322552"/>
                  </a:lnTo>
                  <a:lnTo>
                    <a:pt x="6452355" y="344124"/>
                  </a:lnTo>
                  <a:lnTo>
                    <a:pt x="6432781" y="379595"/>
                  </a:lnTo>
                  <a:lnTo>
                    <a:pt x="6386168" y="420125"/>
                  </a:lnTo>
                  <a:lnTo>
                    <a:pt x="6353062" y="443418"/>
                  </a:lnTo>
                  <a:lnTo>
                    <a:pt x="6319836" y="461143"/>
                  </a:lnTo>
                  <a:lnTo>
                    <a:pt x="6263266" y="471684"/>
                  </a:lnTo>
                  <a:lnTo>
                    <a:pt x="6232342" y="452153"/>
                  </a:lnTo>
                  <a:lnTo>
                    <a:pt x="6195271" y="444778"/>
                  </a:lnTo>
                  <a:lnTo>
                    <a:pt x="6174702" y="440696"/>
                  </a:lnTo>
                  <a:lnTo>
                    <a:pt x="6145738" y="442885"/>
                  </a:lnTo>
                  <a:lnTo>
                    <a:pt x="6124541" y="443420"/>
                  </a:lnTo>
                  <a:lnTo>
                    <a:pt x="6063611" y="445014"/>
                  </a:lnTo>
                  <a:lnTo>
                    <a:pt x="5964107" y="486564"/>
                  </a:lnTo>
                  <a:lnTo>
                    <a:pt x="5910992" y="516871"/>
                  </a:lnTo>
                  <a:lnTo>
                    <a:pt x="5888760" y="529559"/>
                  </a:lnTo>
                  <a:lnTo>
                    <a:pt x="5843724" y="542736"/>
                  </a:lnTo>
                  <a:lnTo>
                    <a:pt x="5810340" y="561758"/>
                  </a:lnTo>
                  <a:lnTo>
                    <a:pt x="5695082" y="627472"/>
                  </a:lnTo>
                  <a:lnTo>
                    <a:pt x="5645540" y="735778"/>
                  </a:lnTo>
                  <a:lnTo>
                    <a:pt x="5577745" y="847399"/>
                  </a:lnTo>
                  <a:lnTo>
                    <a:pt x="5530611" y="911690"/>
                  </a:lnTo>
                  <a:lnTo>
                    <a:pt x="5510160" y="970072"/>
                  </a:lnTo>
                  <a:lnTo>
                    <a:pt x="5526061" y="1048709"/>
                  </a:lnTo>
                  <a:lnTo>
                    <a:pt x="5530775" y="1072130"/>
                  </a:lnTo>
                  <a:lnTo>
                    <a:pt x="5545100" y="1096338"/>
                  </a:lnTo>
                  <a:lnTo>
                    <a:pt x="5545100" y="1120799"/>
                  </a:lnTo>
                  <a:lnTo>
                    <a:pt x="5531436" y="1272206"/>
                  </a:lnTo>
                  <a:lnTo>
                    <a:pt x="5517744" y="1297901"/>
                  </a:lnTo>
                  <a:lnTo>
                    <a:pt x="5485251" y="1313948"/>
                  </a:lnTo>
                  <a:lnTo>
                    <a:pt x="5357819" y="1318517"/>
                  </a:lnTo>
                  <a:lnTo>
                    <a:pt x="5427230" y="1131065"/>
                  </a:lnTo>
                  <a:lnTo>
                    <a:pt x="5368271" y="1097676"/>
                  </a:lnTo>
                  <a:lnTo>
                    <a:pt x="5329809" y="1101054"/>
                  </a:lnTo>
                  <a:lnTo>
                    <a:pt x="5304834" y="1178310"/>
                  </a:lnTo>
                  <a:lnTo>
                    <a:pt x="5244498" y="1169767"/>
                  </a:lnTo>
                  <a:lnTo>
                    <a:pt x="5145607" y="1155782"/>
                  </a:lnTo>
                  <a:lnTo>
                    <a:pt x="5131685" y="991900"/>
                  </a:lnTo>
                  <a:lnTo>
                    <a:pt x="5116636" y="918130"/>
                  </a:lnTo>
                  <a:lnTo>
                    <a:pt x="5111920" y="895007"/>
                  </a:lnTo>
                  <a:lnTo>
                    <a:pt x="5102332" y="870969"/>
                  </a:lnTo>
                  <a:lnTo>
                    <a:pt x="5094873" y="846039"/>
                  </a:lnTo>
                  <a:lnTo>
                    <a:pt x="5090072" y="797752"/>
                  </a:lnTo>
                  <a:lnTo>
                    <a:pt x="5067991" y="737967"/>
                  </a:lnTo>
                  <a:lnTo>
                    <a:pt x="5064951" y="677375"/>
                  </a:lnTo>
                  <a:lnTo>
                    <a:pt x="5062762" y="634061"/>
                  </a:lnTo>
                  <a:lnTo>
                    <a:pt x="5078214" y="566965"/>
                  </a:lnTo>
                  <a:lnTo>
                    <a:pt x="5066311" y="527753"/>
                  </a:lnTo>
                  <a:lnTo>
                    <a:pt x="5057888" y="500060"/>
                  </a:lnTo>
                  <a:lnTo>
                    <a:pt x="5032834" y="485587"/>
                  </a:lnTo>
                  <a:lnTo>
                    <a:pt x="5005096" y="485587"/>
                  </a:lnTo>
                  <a:lnTo>
                    <a:pt x="4951374" y="485587"/>
                  </a:lnTo>
                  <a:lnTo>
                    <a:pt x="4892990" y="515043"/>
                  </a:lnTo>
                  <a:lnTo>
                    <a:pt x="4841879" y="511430"/>
                  </a:lnTo>
                  <a:lnTo>
                    <a:pt x="4792292" y="507922"/>
                  </a:lnTo>
                  <a:lnTo>
                    <a:pt x="4741155" y="460402"/>
                  </a:lnTo>
                  <a:lnTo>
                    <a:pt x="4694977" y="443420"/>
                  </a:lnTo>
                  <a:lnTo>
                    <a:pt x="4666580" y="432985"/>
                  </a:lnTo>
                  <a:lnTo>
                    <a:pt x="4634635" y="431008"/>
                  </a:lnTo>
                  <a:lnTo>
                    <a:pt x="4601119" y="423017"/>
                  </a:lnTo>
                  <a:lnTo>
                    <a:pt x="4395390" y="400702"/>
                  </a:lnTo>
                  <a:lnTo>
                    <a:pt x="4173340" y="690996"/>
                  </a:lnTo>
                  <a:lnTo>
                    <a:pt x="4107371" y="686896"/>
                  </a:lnTo>
                  <a:lnTo>
                    <a:pt x="4073275" y="603116"/>
                  </a:lnTo>
                  <a:lnTo>
                    <a:pt x="4063542" y="527943"/>
                  </a:lnTo>
                  <a:lnTo>
                    <a:pt x="4035276" y="458382"/>
                  </a:lnTo>
                  <a:lnTo>
                    <a:pt x="4026030" y="435642"/>
                  </a:lnTo>
                  <a:lnTo>
                    <a:pt x="4007135" y="421720"/>
                  </a:lnTo>
                  <a:lnTo>
                    <a:pt x="3990392" y="405335"/>
                  </a:lnTo>
                  <a:lnTo>
                    <a:pt x="3961572" y="377111"/>
                  </a:lnTo>
                  <a:lnTo>
                    <a:pt x="3934282" y="341172"/>
                  </a:lnTo>
                  <a:lnTo>
                    <a:pt x="3900614" y="318282"/>
                  </a:lnTo>
                  <a:lnTo>
                    <a:pt x="3868821" y="296689"/>
                  </a:lnTo>
                  <a:lnTo>
                    <a:pt x="3777673" y="259581"/>
                  </a:lnTo>
                  <a:lnTo>
                    <a:pt x="3761877" y="228509"/>
                  </a:lnTo>
                  <a:lnTo>
                    <a:pt x="3746446" y="198139"/>
                  </a:lnTo>
                  <a:lnTo>
                    <a:pt x="3781202" y="65285"/>
                  </a:lnTo>
                  <a:lnTo>
                    <a:pt x="3779558" y="24479"/>
                  </a:lnTo>
                  <a:lnTo>
                    <a:pt x="3764595" y="3182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23" name="Rivne¬0" descr="Rivne¬0">
              <a:extLst>
                <a:ext uri="{FF2B5EF4-FFF2-40B4-BE49-F238E27FC236}">
                  <a16:creationId xmlns:a16="http://schemas.microsoft.com/office/drawing/2014/main" id="{AE0D22F2-9078-40C1-9B28-23930B22F03F}"/>
                </a:ext>
              </a:extLst>
            </p:cNvPr>
            <p:cNvSpPr/>
            <p:nvPr/>
          </p:nvSpPr>
          <p:spPr>
            <a:xfrm>
              <a:off x="1878053" y="1381238"/>
              <a:ext cx="916515" cy="874194"/>
            </a:xfrm>
            <a:custGeom>
              <a:avLst/>
              <a:gdLst/>
              <a:ahLst/>
              <a:cxnLst/>
              <a:rect l="0" t="0" r="0" b="0"/>
              <a:pathLst>
                <a:path w="9352529" h="10126420">
                  <a:moveTo>
                    <a:pt x="2446795" y="7689"/>
                  </a:moveTo>
                  <a:lnTo>
                    <a:pt x="2374171" y="56316"/>
                  </a:lnTo>
                  <a:lnTo>
                    <a:pt x="2321868" y="73191"/>
                  </a:lnTo>
                  <a:lnTo>
                    <a:pt x="2229651" y="102967"/>
                  </a:lnTo>
                  <a:lnTo>
                    <a:pt x="2097984" y="83733"/>
                  </a:lnTo>
                  <a:lnTo>
                    <a:pt x="2002219" y="89514"/>
                  </a:lnTo>
                  <a:lnTo>
                    <a:pt x="1943564" y="93064"/>
                  </a:lnTo>
                  <a:lnTo>
                    <a:pt x="1887475" y="110385"/>
                  </a:lnTo>
                  <a:lnTo>
                    <a:pt x="1828114" y="108557"/>
                  </a:lnTo>
                  <a:lnTo>
                    <a:pt x="1782549" y="107143"/>
                  </a:lnTo>
                  <a:lnTo>
                    <a:pt x="1738885" y="98654"/>
                  </a:lnTo>
                  <a:lnTo>
                    <a:pt x="1694818" y="90874"/>
                  </a:lnTo>
                  <a:lnTo>
                    <a:pt x="1690148" y="116753"/>
                  </a:lnTo>
                  <a:lnTo>
                    <a:pt x="1685255" y="140784"/>
                  </a:lnTo>
                  <a:lnTo>
                    <a:pt x="1681654" y="178976"/>
                  </a:lnTo>
                  <a:lnTo>
                    <a:pt x="1680962" y="202240"/>
                  </a:lnTo>
                  <a:lnTo>
                    <a:pt x="1699678" y="226108"/>
                  </a:lnTo>
                  <a:lnTo>
                    <a:pt x="1799057" y="230093"/>
                  </a:lnTo>
                  <a:lnTo>
                    <a:pt x="1898844" y="233695"/>
                  </a:lnTo>
                  <a:lnTo>
                    <a:pt x="1998625" y="237298"/>
                  </a:lnTo>
                  <a:lnTo>
                    <a:pt x="2098822" y="241623"/>
                  </a:lnTo>
                  <a:lnTo>
                    <a:pt x="2116476" y="255459"/>
                  </a:lnTo>
                  <a:lnTo>
                    <a:pt x="2039454" y="296201"/>
                  </a:lnTo>
                  <a:lnTo>
                    <a:pt x="2003492" y="322475"/>
                  </a:lnTo>
                  <a:lnTo>
                    <a:pt x="1984532" y="354753"/>
                  </a:lnTo>
                  <a:lnTo>
                    <a:pt x="1977060" y="389451"/>
                  </a:lnTo>
                  <a:lnTo>
                    <a:pt x="1983153" y="444500"/>
                  </a:lnTo>
                  <a:lnTo>
                    <a:pt x="2000432" y="483749"/>
                  </a:lnTo>
                  <a:lnTo>
                    <a:pt x="2011742" y="520697"/>
                  </a:lnTo>
                  <a:lnTo>
                    <a:pt x="2018984" y="544416"/>
                  </a:lnTo>
                  <a:lnTo>
                    <a:pt x="2037429" y="562544"/>
                  </a:lnTo>
                  <a:lnTo>
                    <a:pt x="2033505" y="591428"/>
                  </a:lnTo>
                  <a:lnTo>
                    <a:pt x="2029753" y="618929"/>
                  </a:lnTo>
                  <a:lnTo>
                    <a:pt x="2009308" y="662408"/>
                  </a:lnTo>
                  <a:lnTo>
                    <a:pt x="1984532" y="702964"/>
                  </a:lnTo>
                  <a:lnTo>
                    <a:pt x="1959761" y="743520"/>
                  </a:lnTo>
                  <a:lnTo>
                    <a:pt x="1930117" y="781941"/>
                  </a:lnTo>
                  <a:lnTo>
                    <a:pt x="1908367" y="799538"/>
                  </a:lnTo>
                  <a:lnTo>
                    <a:pt x="1876487" y="825340"/>
                  </a:lnTo>
                  <a:lnTo>
                    <a:pt x="1840737" y="848314"/>
                  </a:lnTo>
                  <a:lnTo>
                    <a:pt x="1810433" y="875709"/>
                  </a:lnTo>
                  <a:lnTo>
                    <a:pt x="1761037" y="920362"/>
                  </a:lnTo>
                  <a:lnTo>
                    <a:pt x="1725537" y="975021"/>
                  </a:lnTo>
                  <a:lnTo>
                    <a:pt x="1686653" y="1028052"/>
                  </a:lnTo>
                  <a:lnTo>
                    <a:pt x="1636374" y="1096620"/>
                  </a:lnTo>
                  <a:lnTo>
                    <a:pt x="1606849" y="1132891"/>
                  </a:lnTo>
                  <a:lnTo>
                    <a:pt x="1588719" y="1170872"/>
                  </a:lnTo>
                  <a:lnTo>
                    <a:pt x="1570590" y="1208854"/>
                  </a:lnTo>
                  <a:lnTo>
                    <a:pt x="1563711" y="1249700"/>
                  </a:lnTo>
                  <a:lnTo>
                    <a:pt x="1556074" y="1330016"/>
                  </a:lnTo>
                  <a:lnTo>
                    <a:pt x="1547975" y="1415155"/>
                  </a:lnTo>
                  <a:lnTo>
                    <a:pt x="1544342" y="1477406"/>
                  </a:lnTo>
                  <a:lnTo>
                    <a:pt x="1553350" y="1570770"/>
                  </a:lnTo>
                  <a:lnTo>
                    <a:pt x="1554465" y="1620673"/>
                  </a:lnTo>
                  <a:lnTo>
                    <a:pt x="1552117" y="1657645"/>
                  </a:lnTo>
                  <a:lnTo>
                    <a:pt x="1564232" y="1683667"/>
                  </a:lnTo>
                  <a:lnTo>
                    <a:pt x="1580561" y="1705890"/>
                  </a:lnTo>
                  <a:lnTo>
                    <a:pt x="1610468" y="1721293"/>
                  </a:lnTo>
                  <a:lnTo>
                    <a:pt x="1658084" y="1729913"/>
                  </a:lnTo>
                  <a:lnTo>
                    <a:pt x="1681206" y="1732251"/>
                  </a:lnTo>
                  <a:lnTo>
                    <a:pt x="1716911" y="1726384"/>
                  </a:lnTo>
                  <a:lnTo>
                    <a:pt x="1736972" y="1712231"/>
                  </a:lnTo>
                  <a:lnTo>
                    <a:pt x="1748348" y="1738809"/>
                  </a:lnTo>
                  <a:lnTo>
                    <a:pt x="1750083" y="1775428"/>
                  </a:lnTo>
                  <a:lnTo>
                    <a:pt x="1761459" y="1803365"/>
                  </a:lnTo>
                  <a:lnTo>
                    <a:pt x="1787977" y="1814047"/>
                  </a:lnTo>
                  <a:lnTo>
                    <a:pt x="1827434" y="1819887"/>
                  </a:lnTo>
                  <a:lnTo>
                    <a:pt x="1850879" y="1825798"/>
                  </a:lnTo>
                  <a:lnTo>
                    <a:pt x="1875716" y="1846891"/>
                  </a:lnTo>
                  <a:lnTo>
                    <a:pt x="1887409" y="1867868"/>
                  </a:lnTo>
                  <a:lnTo>
                    <a:pt x="1896121" y="1902659"/>
                  </a:lnTo>
                  <a:lnTo>
                    <a:pt x="1897050" y="1934814"/>
                  </a:lnTo>
                  <a:lnTo>
                    <a:pt x="1882021" y="1977091"/>
                  </a:lnTo>
                  <a:lnTo>
                    <a:pt x="1859539" y="2001233"/>
                  </a:lnTo>
                  <a:lnTo>
                    <a:pt x="1833555" y="2023717"/>
                  </a:lnTo>
                  <a:lnTo>
                    <a:pt x="1807570" y="2046201"/>
                  </a:lnTo>
                  <a:lnTo>
                    <a:pt x="1777808" y="2068235"/>
                  </a:lnTo>
                  <a:lnTo>
                    <a:pt x="1753302" y="2093087"/>
                  </a:lnTo>
                  <a:lnTo>
                    <a:pt x="1728795" y="2117938"/>
                  </a:lnTo>
                  <a:lnTo>
                    <a:pt x="1709920" y="2144854"/>
                  </a:lnTo>
                  <a:lnTo>
                    <a:pt x="1704334" y="2180140"/>
                  </a:lnTo>
                  <a:lnTo>
                    <a:pt x="1699421" y="2211185"/>
                  </a:lnTo>
                  <a:lnTo>
                    <a:pt x="1699856" y="2241736"/>
                  </a:lnTo>
                  <a:lnTo>
                    <a:pt x="1704334" y="2271273"/>
                  </a:lnTo>
                  <a:lnTo>
                    <a:pt x="1708812" y="2300810"/>
                  </a:lnTo>
                  <a:lnTo>
                    <a:pt x="1716218" y="2329523"/>
                  </a:lnTo>
                  <a:lnTo>
                    <a:pt x="1724739" y="2358325"/>
                  </a:lnTo>
                  <a:lnTo>
                    <a:pt x="1741774" y="2415932"/>
                  </a:lnTo>
                  <a:lnTo>
                    <a:pt x="1761762" y="2473103"/>
                  </a:lnTo>
                  <a:lnTo>
                    <a:pt x="1762824" y="2532432"/>
                  </a:lnTo>
                  <a:lnTo>
                    <a:pt x="1763781" y="2585097"/>
                  </a:lnTo>
                  <a:lnTo>
                    <a:pt x="1742974" y="2639696"/>
                  </a:lnTo>
                  <a:lnTo>
                    <a:pt x="1739702" y="2692934"/>
                  </a:lnTo>
                  <a:lnTo>
                    <a:pt x="1735944" y="2754611"/>
                  </a:lnTo>
                  <a:lnTo>
                    <a:pt x="1745440" y="2786895"/>
                  </a:lnTo>
                  <a:lnTo>
                    <a:pt x="1747860" y="2839836"/>
                  </a:lnTo>
                  <a:lnTo>
                    <a:pt x="1750413" y="2895881"/>
                  </a:lnTo>
                  <a:lnTo>
                    <a:pt x="1728584" y="2963379"/>
                  </a:lnTo>
                  <a:lnTo>
                    <a:pt x="1717939" y="3018022"/>
                  </a:lnTo>
                  <a:lnTo>
                    <a:pt x="1711061" y="3053333"/>
                  </a:lnTo>
                  <a:lnTo>
                    <a:pt x="1717610" y="3095448"/>
                  </a:lnTo>
                  <a:lnTo>
                    <a:pt x="1735621" y="3129558"/>
                  </a:lnTo>
                  <a:lnTo>
                    <a:pt x="1756487" y="3161582"/>
                  </a:lnTo>
                  <a:lnTo>
                    <a:pt x="1785484" y="3184587"/>
                  </a:lnTo>
                  <a:lnTo>
                    <a:pt x="1822673" y="3194848"/>
                  </a:lnTo>
                  <a:lnTo>
                    <a:pt x="1844119" y="3182836"/>
                  </a:lnTo>
                  <a:lnTo>
                    <a:pt x="1858358" y="3160613"/>
                  </a:lnTo>
                  <a:lnTo>
                    <a:pt x="1867558" y="3132279"/>
                  </a:lnTo>
                  <a:lnTo>
                    <a:pt x="1877517" y="3103088"/>
                  </a:lnTo>
                  <a:lnTo>
                    <a:pt x="1886281" y="3070549"/>
                  </a:lnTo>
                  <a:lnTo>
                    <a:pt x="1905643" y="3049306"/>
                  </a:lnTo>
                  <a:lnTo>
                    <a:pt x="1937049" y="3029871"/>
                  </a:lnTo>
                  <a:lnTo>
                    <a:pt x="1979177" y="3013876"/>
                  </a:lnTo>
                  <a:lnTo>
                    <a:pt x="2021259" y="3005781"/>
                  </a:lnTo>
                  <a:lnTo>
                    <a:pt x="2063348" y="2997685"/>
                  </a:lnTo>
                  <a:lnTo>
                    <a:pt x="2106511" y="2997393"/>
                  </a:lnTo>
                  <a:lnTo>
                    <a:pt x="2142321" y="3011221"/>
                  </a:lnTo>
                  <a:lnTo>
                    <a:pt x="2168464" y="3021323"/>
                  </a:lnTo>
                  <a:lnTo>
                    <a:pt x="2195365" y="3037065"/>
                  </a:lnTo>
                  <a:lnTo>
                    <a:pt x="2224369" y="3041900"/>
                  </a:lnTo>
                  <a:lnTo>
                    <a:pt x="2253855" y="3031624"/>
                  </a:lnTo>
                  <a:lnTo>
                    <a:pt x="2302208" y="2985717"/>
                  </a:lnTo>
                  <a:lnTo>
                    <a:pt x="2318788" y="2942877"/>
                  </a:lnTo>
                  <a:lnTo>
                    <a:pt x="2330025" y="2921448"/>
                  </a:lnTo>
                  <a:lnTo>
                    <a:pt x="2341296" y="2901214"/>
                  </a:lnTo>
                  <a:lnTo>
                    <a:pt x="2359564" y="2889994"/>
                  </a:lnTo>
                  <a:lnTo>
                    <a:pt x="2385792" y="2892884"/>
                  </a:lnTo>
                  <a:lnTo>
                    <a:pt x="2399180" y="2925912"/>
                  </a:lnTo>
                  <a:lnTo>
                    <a:pt x="2412996" y="2955453"/>
                  </a:lnTo>
                  <a:lnTo>
                    <a:pt x="2435538" y="2977879"/>
                  </a:lnTo>
                  <a:lnTo>
                    <a:pt x="2482183" y="2996293"/>
                  </a:lnTo>
                  <a:lnTo>
                    <a:pt x="2521924" y="2996525"/>
                  </a:lnTo>
                  <a:lnTo>
                    <a:pt x="2554457" y="2992178"/>
                  </a:lnTo>
                  <a:lnTo>
                    <a:pt x="2591309" y="2973922"/>
                  </a:lnTo>
                  <a:lnTo>
                    <a:pt x="2645104" y="2914350"/>
                  </a:lnTo>
                  <a:lnTo>
                    <a:pt x="2668713" y="2907846"/>
                  </a:lnTo>
                  <a:lnTo>
                    <a:pt x="2677900" y="2950990"/>
                  </a:lnTo>
                  <a:lnTo>
                    <a:pt x="2660957" y="2984952"/>
                  </a:lnTo>
                  <a:lnTo>
                    <a:pt x="2649674" y="3015302"/>
                  </a:lnTo>
                  <a:lnTo>
                    <a:pt x="2637157" y="3048988"/>
                  </a:lnTo>
                  <a:lnTo>
                    <a:pt x="2620201" y="3079274"/>
                  </a:lnTo>
                  <a:lnTo>
                    <a:pt x="2610230" y="3110516"/>
                  </a:lnTo>
                  <a:lnTo>
                    <a:pt x="2600258" y="3141757"/>
                  </a:lnTo>
                  <a:lnTo>
                    <a:pt x="2597528" y="3173701"/>
                  </a:lnTo>
                  <a:lnTo>
                    <a:pt x="2612948" y="3211170"/>
                  </a:lnTo>
                  <a:lnTo>
                    <a:pt x="2621363" y="3231616"/>
                  </a:lnTo>
                  <a:lnTo>
                    <a:pt x="2630436" y="3257523"/>
                  </a:lnTo>
                  <a:lnTo>
                    <a:pt x="2649668" y="3271019"/>
                  </a:lnTo>
                  <a:lnTo>
                    <a:pt x="2693305" y="3290360"/>
                  </a:lnTo>
                  <a:lnTo>
                    <a:pt x="2723121" y="3303664"/>
                  </a:lnTo>
                  <a:lnTo>
                    <a:pt x="2752938" y="3316969"/>
                  </a:lnTo>
                  <a:lnTo>
                    <a:pt x="2780503" y="3332324"/>
                  </a:lnTo>
                  <a:lnTo>
                    <a:pt x="2785061" y="3387932"/>
                  </a:lnTo>
                  <a:lnTo>
                    <a:pt x="2782838" y="3409279"/>
                  </a:lnTo>
                  <a:lnTo>
                    <a:pt x="2793991" y="3442885"/>
                  </a:lnTo>
                  <a:lnTo>
                    <a:pt x="2837377" y="3479129"/>
                  </a:lnTo>
                  <a:lnTo>
                    <a:pt x="2895485" y="3523697"/>
                  </a:lnTo>
                  <a:lnTo>
                    <a:pt x="2947809" y="3564142"/>
                  </a:lnTo>
                  <a:lnTo>
                    <a:pt x="2992438" y="3623310"/>
                  </a:lnTo>
                  <a:lnTo>
                    <a:pt x="3012974" y="3674637"/>
                  </a:lnTo>
                  <a:lnTo>
                    <a:pt x="3199188" y="3749809"/>
                  </a:lnTo>
                  <a:lnTo>
                    <a:pt x="3223397" y="3767194"/>
                  </a:lnTo>
                  <a:lnTo>
                    <a:pt x="3256167" y="3784048"/>
                  </a:lnTo>
                  <a:lnTo>
                    <a:pt x="3279679" y="3789956"/>
                  </a:lnTo>
                  <a:lnTo>
                    <a:pt x="3301205" y="3802857"/>
                  </a:lnTo>
                  <a:lnTo>
                    <a:pt x="3325921" y="3817691"/>
                  </a:lnTo>
                  <a:lnTo>
                    <a:pt x="3340503" y="3847212"/>
                  </a:lnTo>
                  <a:lnTo>
                    <a:pt x="3361052" y="3866786"/>
                  </a:lnTo>
                  <a:lnTo>
                    <a:pt x="3399185" y="3903129"/>
                  </a:lnTo>
                  <a:lnTo>
                    <a:pt x="3441116" y="3936730"/>
                  </a:lnTo>
                  <a:lnTo>
                    <a:pt x="3480750" y="3971521"/>
                  </a:lnTo>
                  <a:lnTo>
                    <a:pt x="3498115" y="3986770"/>
                  </a:lnTo>
                  <a:lnTo>
                    <a:pt x="3503872" y="4027288"/>
                  </a:lnTo>
                  <a:lnTo>
                    <a:pt x="3498418" y="4069251"/>
                  </a:lnTo>
                  <a:lnTo>
                    <a:pt x="3495722" y="4108009"/>
                  </a:lnTo>
                  <a:lnTo>
                    <a:pt x="3500594" y="4132239"/>
                  </a:lnTo>
                  <a:lnTo>
                    <a:pt x="3492325" y="4176477"/>
                  </a:lnTo>
                  <a:lnTo>
                    <a:pt x="3483890" y="4197133"/>
                  </a:lnTo>
                  <a:lnTo>
                    <a:pt x="3464012" y="4230140"/>
                  </a:lnTo>
                  <a:lnTo>
                    <a:pt x="3437224" y="4253084"/>
                  </a:lnTo>
                  <a:lnTo>
                    <a:pt x="3408101" y="4273667"/>
                  </a:lnTo>
                  <a:lnTo>
                    <a:pt x="3370022" y="4284693"/>
                  </a:lnTo>
                  <a:lnTo>
                    <a:pt x="3325692" y="4296610"/>
                  </a:lnTo>
                  <a:lnTo>
                    <a:pt x="3256173" y="4315294"/>
                  </a:lnTo>
                  <a:lnTo>
                    <a:pt x="3178876" y="4327171"/>
                  </a:lnTo>
                  <a:lnTo>
                    <a:pt x="3106694" y="4322456"/>
                  </a:lnTo>
                  <a:lnTo>
                    <a:pt x="3105079" y="4365217"/>
                  </a:lnTo>
                  <a:lnTo>
                    <a:pt x="3111561" y="4423575"/>
                  </a:lnTo>
                  <a:lnTo>
                    <a:pt x="3098279" y="4509903"/>
                  </a:lnTo>
                  <a:lnTo>
                    <a:pt x="3086295" y="4555045"/>
                  </a:lnTo>
                  <a:lnTo>
                    <a:pt x="3128267" y="4565247"/>
                  </a:lnTo>
                  <a:lnTo>
                    <a:pt x="3173264" y="4585969"/>
                  </a:lnTo>
                  <a:lnTo>
                    <a:pt x="3210069" y="4608094"/>
                  </a:lnTo>
                  <a:lnTo>
                    <a:pt x="3236627" y="4608048"/>
                  </a:lnTo>
                  <a:lnTo>
                    <a:pt x="3265843" y="4580891"/>
                  </a:lnTo>
                  <a:lnTo>
                    <a:pt x="3286564" y="4566348"/>
                  </a:lnTo>
                  <a:lnTo>
                    <a:pt x="3318568" y="4554622"/>
                  </a:lnTo>
                  <a:lnTo>
                    <a:pt x="3339230" y="4549604"/>
                  </a:lnTo>
                  <a:lnTo>
                    <a:pt x="3367852" y="4548245"/>
                  </a:lnTo>
                  <a:lnTo>
                    <a:pt x="3392584" y="4561296"/>
                  </a:lnTo>
                  <a:lnTo>
                    <a:pt x="3417486" y="4578898"/>
                  </a:lnTo>
                  <a:lnTo>
                    <a:pt x="3439948" y="4599936"/>
                  </a:lnTo>
                  <a:lnTo>
                    <a:pt x="3462403" y="4620967"/>
                  </a:lnTo>
                  <a:lnTo>
                    <a:pt x="3482082" y="4645745"/>
                  </a:lnTo>
                  <a:lnTo>
                    <a:pt x="3499796" y="4672025"/>
                  </a:lnTo>
                  <a:lnTo>
                    <a:pt x="3517511" y="4698306"/>
                  </a:lnTo>
                  <a:lnTo>
                    <a:pt x="3532837" y="4726203"/>
                  </a:lnTo>
                  <a:lnTo>
                    <a:pt x="3543323" y="4754995"/>
                  </a:lnTo>
                  <a:lnTo>
                    <a:pt x="3553810" y="4783789"/>
                  </a:lnTo>
                  <a:lnTo>
                    <a:pt x="3560226" y="4813473"/>
                  </a:lnTo>
                  <a:lnTo>
                    <a:pt x="3561004" y="4842048"/>
                  </a:lnTo>
                  <a:lnTo>
                    <a:pt x="3587739" y="4866172"/>
                  </a:lnTo>
                  <a:lnTo>
                    <a:pt x="3610175" y="4894458"/>
                  </a:lnTo>
                  <a:lnTo>
                    <a:pt x="3606594" y="4956945"/>
                  </a:lnTo>
                  <a:lnTo>
                    <a:pt x="3609970" y="4979427"/>
                  </a:lnTo>
                  <a:lnTo>
                    <a:pt x="3621010" y="5023250"/>
                  </a:lnTo>
                  <a:lnTo>
                    <a:pt x="3622212" y="5047440"/>
                  </a:lnTo>
                  <a:lnTo>
                    <a:pt x="3622171" y="5071439"/>
                  </a:lnTo>
                  <a:lnTo>
                    <a:pt x="3614093" y="5091455"/>
                  </a:lnTo>
                  <a:lnTo>
                    <a:pt x="3595013" y="5104565"/>
                  </a:lnTo>
                  <a:lnTo>
                    <a:pt x="3530470" y="5105864"/>
                  </a:lnTo>
                  <a:lnTo>
                    <a:pt x="3454701" y="5131789"/>
                  </a:lnTo>
                  <a:lnTo>
                    <a:pt x="3389623" y="5137210"/>
                  </a:lnTo>
                  <a:lnTo>
                    <a:pt x="3360572" y="5139637"/>
                  </a:lnTo>
                  <a:lnTo>
                    <a:pt x="3331494" y="5140593"/>
                  </a:lnTo>
                  <a:lnTo>
                    <a:pt x="3302569" y="5144016"/>
                  </a:lnTo>
                  <a:lnTo>
                    <a:pt x="3260810" y="5150940"/>
                  </a:lnTo>
                  <a:lnTo>
                    <a:pt x="3216261" y="5159996"/>
                  </a:lnTo>
                  <a:lnTo>
                    <a:pt x="3195112" y="5191618"/>
                  </a:lnTo>
                  <a:lnTo>
                    <a:pt x="3179488" y="5212933"/>
                  </a:lnTo>
                  <a:lnTo>
                    <a:pt x="3184231" y="5244667"/>
                  </a:lnTo>
                  <a:lnTo>
                    <a:pt x="3204312" y="5272425"/>
                  </a:lnTo>
                  <a:lnTo>
                    <a:pt x="3237603" y="5295797"/>
                  </a:lnTo>
                  <a:lnTo>
                    <a:pt x="3257118" y="5306145"/>
                  </a:lnTo>
                  <a:lnTo>
                    <a:pt x="3288173" y="5330098"/>
                  </a:lnTo>
                  <a:lnTo>
                    <a:pt x="3302569" y="5358924"/>
                  </a:lnTo>
                  <a:lnTo>
                    <a:pt x="3328323" y="5374066"/>
                  </a:lnTo>
                  <a:lnTo>
                    <a:pt x="3336671" y="5395473"/>
                  </a:lnTo>
                  <a:lnTo>
                    <a:pt x="3335214" y="5425572"/>
                  </a:lnTo>
                  <a:lnTo>
                    <a:pt x="3329978" y="5484907"/>
                  </a:lnTo>
                  <a:lnTo>
                    <a:pt x="3310279" y="5518521"/>
                  </a:lnTo>
                  <a:lnTo>
                    <a:pt x="3280332" y="5529356"/>
                  </a:lnTo>
                  <a:lnTo>
                    <a:pt x="3246796" y="5549352"/>
                  </a:lnTo>
                  <a:lnTo>
                    <a:pt x="3212635" y="5571669"/>
                  </a:lnTo>
                  <a:lnTo>
                    <a:pt x="3195112" y="5588796"/>
                  </a:lnTo>
                  <a:lnTo>
                    <a:pt x="3177589" y="5605923"/>
                  </a:lnTo>
                  <a:lnTo>
                    <a:pt x="3160542" y="5628108"/>
                  </a:lnTo>
                  <a:lnTo>
                    <a:pt x="3144786" y="5658167"/>
                  </a:lnTo>
                  <a:lnTo>
                    <a:pt x="3144786" y="5679930"/>
                  </a:lnTo>
                  <a:lnTo>
                    <a:pt x="3165705" y="5706957"/>
                  </a:lnTo>
                  <a:lnTo>
                    <a:pt x="3197315" y="5726359"/>
                  </a:lnTo>
                  <a:lnTo>
                    <a:pt x="3233198" y="5741138"/>
                  </a:lnTo>
                  <a:lnTo>
                    <a:pt x="3268011" y="5756049"/>
                  </a:lnTo>
                  <a:lnTo>
                    <a:pt x="3293594" y="5772477"/>
                  </a:lnTo>
                  <a:lnTo>
                    <a:pt x="3303927" y="5794188"/>
                  </a:lnTo>
                  <a:lnTo>
                    <a:pt x="3290283" y="5819690"/>
                  </a:lnTo>
                  <a:lnTo>
                    <a:pt x="3264292" y="5862471"/>
                  </a:lnTo>
                  <a:lnTo>
                    <a:pt x="3239996" y="5879882"/>
                  </a:lnTo>
                  <a:lnTo>
                    <a:pt x="3216822" y="5879420"/>
                  </a:lnTo>
                  <a:lnTo>
                    <a:pt x="3180149" y="5859477"/>
                  </a:lnTo>
                  <a:lnTo>
                    <a:pt x="3160437" y="5850105"/>
                  </a:lnTo>
                  <a:lnTo>
                    <a:pt x="3138033" y="5842805"/>
                  </a:lnTo>
                  <a:lnTo>
                    <a:pt x="3099895" y="5848595"/>
                  </a:lnTo>
                  <a:lnTo>
                    <a:pt x="3072163" y="5852803"/>
                  </a:lnTo>
                  <a:lnTo>
                    <a:pt x="3049879" y="5867985"/>
                  </a:lnTo>
                  <a:lnTo>
                    <a:pt x="3030530" y="5886681"/>
                  </a:lnTo>
                  <a:lnTo>
                    <a:pt x="3011181" y="5905384"/>
                  </a:lnTo>
                  <a:lnTo>
                    <a:pt x="2994535" y="5927794"/>
                  </a:lnTo>
                  <a:lnTo>
                    <a:pt x="2974757" y="5945171"/>
                  </a:lnTo>
                  <a:lnTo>
                    <a:pt x="2939883" y="5975798"/>
                  </a:lnTo>
                  <a:lnTo>
                    <a:pt x="2853615" y="6000792"/>
                  </a:lnTo>
                  <a:lnTo>
                    <a:pt x="2834661" y="6025425"/>
                  </a:lnTo>
                  <a:lnTo>
                    <a:pt x="2820634" y="6056473"/>
                  </a:lnTo>
                  <a:lnTo>
                    <a:pt x="2816828" y="6095449"/>
                  </a:lnTo>
                  <a:lnTo>
                    <a:pt x="2824201" y="6172597"/>
                  </a:lnTo>
                  <a:lnTo>
                    <a:pt x="2800552" y="6279606"/>
                  </a:lnTo>
                  <a:lnTo>
                    <a:pt x="2808816" y="6331467"/>
                  </a:lnTo>
                  <a:lnTo>
                    <a:pt x="2825138" y="6429402"/>
                  </a:lnTo>
                  <a:lnTo>
                    <a:pt x="2831905" y="6471913"/>
                  </a:lnTo>
                  <a:lnTo>
                    <a:pt x="2832472" y="6500416"/>
                  </a:lnTo>
                  <a:lnTo>
                    <a:pt x="2829213" y="6521895"/>
                  </a:lnTo>
                  <a:lnTo>
                    <a:pt x="2825956" y="6543368"/>
                  </a:lnTo>
                  <a:lnTo>
                    <a:pt x="2808809" y="6569504"/>
                  </a:lnTo>
                  <a:lnTo>
                    <a:pt x="2787052" y="6593760"/>
                  </a:lnTo>
                  <a:lnTo>
                    <a:pt x="2762559" y="6624136"/>
                  </a:lnTo>
                  <a:lnTo>
                    <a:pt x="2750668" y="6642945"/>
                  </a:lnTo>
                  <a:lnTo>
                    <a:pt x="2739444" y="6672879"/>
                  </a:lnTo>
                  <a:lnTo>
                    <a:pt x="2719659" y="6725626"/>
                  </a:lnTo>
                  <a:lnTo>
                    <a:pt x="2719653" y="6798182"/>
                  </a:lnTo>
                  <a:lnTo>
                    <a:pt x="2712239" y="6853784"/>
                  </a:lnTo>
                  <a:lnTo>
                    <a:pt x="2692811" y="6882466"/>
                  </a:lnTo>
                  <a:lnTo>
                    <a:pt x="2664836" y="6891817"/>
                  </a:lnTo>
                  <a:lnTo>
                    <a:pt x="2627905" y="6885070"/>
                  </a:lnTo>
                  <a:lnTo>
                    <a:pt x="2593367" y="6867185"/>
                  </a:lnTo>
                  <a:lnTo>
                    <a:pt x="2546001" y="6826982"/>
                  </a:lnTo>
                  <a:lnTo>
                    <a:pt x="2518679" y="6791581"/>
                  </a:lnTo>
                  <a:lnTo>
                    <a:pt x="2494608" y="6769448"/>
                  </a:lnTo>
                  <a:lnTo>
                    <a:pt x="2452777" y="6739653"/>
                  </a:lnTo>
                  <a:lnTo>
                    <a:pt x="2415311" y="6721523"/>
                  </a:lnTo>
                  <a:lnTo>
                    <a:pt x="2325238" y="6717038"/>
                  </a:lnTo>
                  <a:lnTo>
                    <a:pt x="2286492" y="6712323"/>
                  </a:lnTo>
                  <a:lnTo>
                    <a:pt x="2261669" y="6698230"/>
                  </a:lnTo>
                  <a:lnTo>
                    <a:pt x="2274253" y="6655192"/>
                  </a:lnTo>
                  <a:lnTo>
                    <a:pt x="2241080" y="6599003"/>
                  </a:lnTo>
                  <a:lnTo>
                    <a:pt x="2207696" y="6561142"/>
                  </a:lnTo>
                  <a:lnTo>
                    <a:pt x="2173601" y="6527336"/>
                  </a:lnTo>
                  <a:lnTo>
                    <a:pt x="2143851" y="6497831"/>
                  </a:lnTo>
                  <a:lnTo>
                    <a:pt x="2125333" y="6485254"/>
                  </a:lnTo>
                  <a:lnTo>
                    <a:pt x="2102871" y="6479727"/>
                  </a:lnTo>
                  <a:lnTo>
                    <a:pt x="2080409" y="6474201"/>
                  </a:lnTo>
                  <a:lnTo>
                    <a:pt x="2054985" y="6475652"/>
                  </a:lnTo>
                  <a:lnTo>
                    <a:pt x="2011735" y="6475652"/>
                  </a:lnTo>
                  <a:lnTo>
                    <a:pt x="1959458" y="6475652"/>
                  </a:lnTo>
                  <a:lnTo>
                    <a:pt x="1902115" y="6471998"/>
                  </a:lnTo>
                  <a:lnTo>
                    <a:pt x="1851236" y="6487892"/>
                  </a:lnTo>
                  <a:lnTo>
                    <a:pt x="1825713" y="6512933"/>
                  </a:lnTo>
                  <a:lnTo>
                    <a:pt x="1816085" y="6550933"/>
                  </a:lnTo>
                  <a:lnTo>
                    <a:pt x="1788663" y="6576304"/>
                  </a:lnTo>
                  <a:lnTo>
                    <a:pt x="1751343" y="6590502"/>
                  </a:lnTo>
                  <a:lnTo>
                    <a:pt x="1710348" y="6593094"/>
                  </a:lnTo>
                  <a:lnTo>
                    <a:pt x="1674406" y="6606231"/>
                  </a:lnTo>
                  <a:lnTo>
                    <a:pt x="1652755" y="6614158"/>
                  </a:lnTo>
                  <a:lnTo>
                    <a:pt x="1631645" y="6629162"/>
                  </a:lnTo>
                  <a:lnTo>
                    <a:pt x="1610482" y="6638876"/>
                  </a:lnTo>
                  <a:lnTo>
                    <a:pt x="1577474" y="6654011"/>
                  </a:lnTo>
                  <a:lnTo>
                    <a:pt x="1536771" y="6668183"/>
                  </a:lnTo>
                  <a:lnTo>
                    <a:pt x="1501666" y="6678320"/>
                  </a:lnTo>
                  <a:lnTo>
                    <a:pt x="1475122" y="6685014"/>
                  </a:lnTo>
                  <a:lnTo>
                    <a:pt x="1443980" y="6713833"/>
                  </a:lnTo>
                  <a:lnTo>
                    <a:pt x="1431569" y="6741677"/>
                  </a:lnTo>
                  <a:lnTo>
                    <a:pt x="1422771" y="6772179"/>
                  </a:lnTo>
                  <a:lnTo>
                    <a:pt x="1330186" y="6755619"/>
                  </a:lnTo>
                  <a:lnTo>
                    <a:pt x="1269466" y="6748180"/>
                  </a:lnTo>
                  <a:lnTo>
                    <a:pt x="1213304" y="6730011"/>
                  </a:lnTo>
                  <a:lnTo>
                    <a:pt x="1185223" y="6720923"/>
                  </a:lnTo>
                  <a:lnTo>
                    <a:pt x="1157940" y="6709454"/>
                  </a:lnTo>
                  <a:lnTo>
                    <a:pt x="1131692" y="6691925"/>
                  </a:lnTo>
                  <a:lnTo>
                    <a:pt x="1105438" y="6674396"/>
                  </a:lnTo>
                  <a:lnTo>
                    <a:pt x="1080258" y="6650714"/>
                  </a:lnTo>
                  <a:lnTo>
                    <a:pt x="1054156" y="6618472"/>
                  </a:lnTo>
                  <a:lnTo>
                    <a:pt x="1031034" y="6614396"/>
                  </a:lnTo>
                  <a:lnTo>
                    <a:pt x="1023239" y="6650167"/>
                  </a:lnTo>
                  <a:lnTo>
                    <a:pt x="1037187" y="6675122"/>
                  </a:lnTo>
                  <a:lnTo>
                    <a:pt x="1047356" y="6700090"/>
                  </a:lnTo>
                  <a:lnTo>
                    <a:pt x="1057532" y="6725058"/>
                  </a:lnTo>
                  <a:lnTo>
                    <a:pt x="1064048" y="6749756"/>
                  </a:lnTo>
                  <a:lnTo>
                    <a:pt x="1056880" y="6770820"/>
                  </a:lnTo>
                  <a:lnTo>
                    <a:pt x="1041857" y="6790269"/>
                  </a:lnTo>
                  <a:lnTo>
                    <a:pt x="1022494" y="6802508"/>
                  </a:lnTo>
                  <a:lnTo>
                    <a:pt x="999748" y="6811630"/>
                  </a:lnTo>
                  <a:lnTo>
                    <a:pt x="989143" y="6839084"/>
                  </a:lnTo>
                  <a:lnTo>
                    <a:pt x="1007773" y="6879761"/>
                  </a:lnTo>
                  <a:lnTo>
                    <a:pt x="1054954" y="6902125"/>
                  </a:lnTo>
                  <a:lnTo>
                    <a:pt x="1090883" y="6924521"/>
                  </a:lnTo>
                  <a:lnTo>
                    <a:pt x="1108847" y="6935719"/>
                  </a:lnTo>
                  <a:lnTo>
                    <a:pt x="1130327" y="6958531"/>
                  </a:lnTo>
                  <a:lnTo>
                    <a:pt x="1136414" y="6984686"/>
                  </a:lnTo>
                  <a:lnTo>
                    <a:pt x="1104488" y="7004774"/>
                  </a:lnTo>
                  <a:lnTo>
                    <a:pt x="1010379" y="6974358"/>
                  </a:lnTo>
                  <a:lnTo>
                    <a:pt x="906786" y="6970560"/>
                  </a:lnTo>
                  <a:lnTo>
                    <a:pt x="809320" y="6954449"/>
                  </a:lnTo>
                  <a:lnTo>
                    <a:pt x="772771" y="6975592"/>
                  </a:lnTo>
                  <a:lnTo>
                    <a:pt x="767390" y="7027645"/>
                  </a:lnTo>
                  <a:lnTo>
                    <a:pt x="792997" y="7056465"/>
                  </a:lnTo>
                  <a:lnTo>
                    <a:pt x="816719" y="7098013"/>
                  </a:lnTo>
                  <a:lnTo>
                    <a:pt x="841635" y="7141348"/>
                  </a:lnTo>
                  <a:lnTo>
                    <a:pt x="848771" y="7189762"/>
                  </a:lnTo>
                  <a:lnTo>
                    <a:pt x="852820" y="7217249"/>
                  </a:lnTo>
                  <a:lnTo>
                    <a:pt x="851837" y="7255618"/>
                  </a:lnTo>
                  <a:lnTo>
                    <a:pt x="840606" y="7289054"/>
                  </a:lnTo>
                  <a:lnTo>
                    <a:pt x="827166" y="7321877"/>
                  </a:lnTo>
                  <a:lnTo>
                    <a:pt x="805086" y="7346008"/>
                  </a:lnTo>
                  <a:lnTo>
                    <a:pt x="772599" y="7358426"/>
                  </a:lnTo>
                  <a:lnTo>
                    <a:pt x="750230" y="7362667"/>
                  </a:lnTo>
                  <a:lnTo>
                    <a:pt x="719471" y="7362001"/>
                  </a:lnTo>
                  <a:lnTo>
                    <a:pt x="682823" y="7359785"/>
                  </a:lnTo>
                  <a:lnTo>
                    <a:pt x="646182" y="7357562"/>
                  </a:lnTo>
                  <a:lnTo>
                    <a:pt x="604423" y="7353573"/>
                  </a:lnTo>
                  <a:lnTo>
                    <a:pt x="563125" y="7347544"/>
                  </a:lnTo>
                  <a:lnTo>
                    <a:pt x="480537" y="7335489"/>
                  </a:lnTo>
                  <a:lnTo>
                    <a:pt x="398484" y="7318098"/>
                  </a:lnTo>
                  <a:lnTo>
                    <a:pt x="355017" y="7306735"/>
                  </a:lnTo>
                  <a:lnTo>
                    <a:pt x="325393" y="7295419"/>
                  </a:lnTo>
                  <a:lnTo>
                    <a:pt x="292147" y="7285414"/>
                  </a:lnTo>
                  <a:lnTo>
                    <a:pt x="259800" y="7289054"/>
                  </a:lnTo>
                  <a:lnTo>
                    <a:pt x="239889" y="7301294"/>
                  </a:lnTo>
                  <a:lnTo>
                    <a:pt x="197168" y="7368120"/>
                  </a:lnTo>
                  <a:lnTo>
                    <a:pt x="184993" y="7389712"/>
                  </a:lnTo>
                  <a:lnTo>
                    <a:pt x="197307" y="7426789"/>
                  </a:lnTo>
                  <a:lnTo>
                    <a:pt x="231191" y="7449838"/>
                  </a:lnTo>
                  <a:lnTo>
                    <a:pt x="267964" y="7474041"/>
                  </a:lnTo>
                  <a:lnTo>
                    <a:pt x="304737" y="7498251"/>
                  </a:lnTo>
                  <a:lnTo>
                    <a:pt x="344867" y="7523279"/>
                  </a:lnTo>
                  <a:lnTo>
                    <a:pt x="365899" y="7550212"/>
                  </a:lnTo>
                  <a:lnTo>
                    <a:pt x="355096" y="7611169"/>
                  </a:lnTo>
                  <a:lnTo>
                    <a:pt x="325814" y="7653317"/>
                  </a:lnTo>
                  <a:lnTo>
                    <a:pt x="299244" y="7686232"/>
                  </a:lnTo>
                  <a:lnTo>
                    <a:pt x="270978" y="7721238"/>
                  </a:lnTo>
                  <a:lnTo>
                    <a:pt x="250131" y="7740033"/>
                  </a:lnTo>
                  <a:lnTo>
                    <a:pt x="215053" y="7757570"/>
                  </a:lnTo>
                  <a:lnTo>
                    <a:pt x="189069" y="7751529"/>
                  </a:lnTo>
                  <a:lnTo>
                    <a:pt x="163620" y="7741353"/>
                  </a:lnTo>
                  <a:lnTo>
                    <a:pt x="135624" y="7734493"/>
                  </a:lnTo>
                  <a:lnTo>
                    <a:pt x="99293" y="7744722"/>
                  </a:lnTo>
                  <a:lnTo>
                    <a:pt x="92625" y="7776398"/>
                  </a:lnTo>
                  <a:lnTo>
                    <a:pt x="118339" y="7804571"/>
                  </a:lnTo>
                  <a:lnTo>
                    <a:pt x="152276" y="7833780"/>
                  </a:lnTo>
                  <a:lnTo>
                    <a:pt x="172747" y="7849462"/>
                  </a:lnTo>
                  <a:lnTo>
                    <a:pt x="193211" y="7865145"/>
                  </a:lnTo>
                  <a:lnTo>
                    <a:pt x="215185" y="7882002"/>
                  </a:lnTo>
                  <a:lnTo>
                    <a:pt x="233954" y="7898430"/>
                  </a:lnTo>
                  <a:lnTo>
                    <a:pt x="252716" y="7914851"/>
                  </a:lnTo>
                  <a:lnTo>
                    <a:pt x="267872" y="7930751"/>
                  </a:lnTo>
                  <a:lnTo>
                    <a:pt x="299244" y="7985483"/>
                  </a:lnTo>
                  <a:lnTo>
                    <a:pt x="321007" y="8023568"/>
                  </a:lnTo>
                  <a:lnTo>
                    <a:pt x="342770" y="8061654"/>
                  </a:lnTo>
                  <a:lnTo>
                    <a:pt x="365892" y="8099732"/>
                  </a:lnTo>
                  <a:lnTo>
                    <a:pt x="394764" y="8120223"/>
                  </a:lnTo>
                  <a:lnTo>
                    <a:pt x="417582" y="8124219"/>
                  </a:lnTo>
                  <a:lnTo>
                    <a:pt x="440401" y="8128216"/>
                  </a:lnTo>
                  <a:lnTo>
                    <a:pt x="464677" y="8130109"/>
                  </a:lnTo>
                  <a:lnTo>
                    <a:pt x="495113" y="8166381"/>
                  </a:lnTo>
                  <a:lnTo>
                    <a:pt x="484231" y="8260240"/>
                  </a:lnTo>
                  <a:lnTo>
                    <a:pt x="473943" y="8283764"/>
                  </a:lnTo>
                  <a:lnTo>
                    <a:pt x="450993" y="8291124"/>
                  </a:lnTo>
                  <a:lnTo>
                    <a:pt x="420300" y="8288802"/>
                  </a:lnTo>
                  <a:lnTo>
                    <a:pt x="387780" y="8283427"/>
                  </a:lnTo>
                  <a:lnTo>
                    <a:pt x="357609" y="8280572"/>
                  </a:lnTo>
                  <a:lnTo>
                    <a:pt x="334606" y="8286071"/>
                  </a:lnTo>
                  <a:lnTo>
                    <a:pt x="318224" y="8299650"/>
                  </a:lnTo>
                  <a:lnTo>
                    <a:pt x="304751" y="8316019"/>
                  </a:lnTo>
                  <a:lnTo>
                    <a:pt x="293803" y="8335039"/>
                  </a:lnTo>
                  <a:lnTo>
                    <a:pt x="280198" y="8363608"/>
                  </a:lnTo>
                  <a:lnTo>
                    <a:pt x="271236" y="8384355"/>
                  </a:lnTo>
                  <a:lnTo>
                    <a:pt x="258830" y="8408915"/>
                  </a:lnTo>
                  <a:lnTo>
                    <a:pt x="240813" y="8427981"/>
                  </a:lnTo>
                  <a:lnTo>
                    <a:pt x="218991" y="8449296"/>
                  </a:lnTo>
                  <a:lnTo>
                    <a:pt x="197174" y="8470617"/>
                  </a:lnTo>
                  <a:lnTo>
                    <a:pt x="171521" y="8493442"/>
                  </a:lnTo>
                  <a:lnTo>
                    <a:pt x="144178" y="8515950"/>
                  </a:lnTo>
                  <a:lnTo>
                    <a:pt x="116842" y="8538452"/>
                  </a:lnTo>
                  <a:lnTo>
                    <a:pt x="88266" y="8560927"/>
                  </a:lnTo>
                  <a:lnTo>
                    <a:pt x="63931" y="8579874"/>
                  </a:lnTo>
                  <a:lnTo>
                    <a:pt x="39589" y="8598828"/>
                  </a:lnTo>
                  <a:lnTo>
                    <a:pt x="19607" y="8614109"/>
                  </a:lnTo>
                  <a:lnTo>
                    <a:pt x="0" y="8643805"/>
                  </a:lnTo>
                  <a:lnTo>
                    <a:pt x="4056" y="8691692"/>
                  </a:lnTo>
                  <a:lnTo>
                    <a:pt x="28715" y="8716172"/>
                  </a:lnTo>
                  <a:lnTo>
                    <a:pt x="54791" y="8717681"/>
                  </a:lnTo>
                  <a:lnTo>
                    <a:pt x="115437" y="8729559"/>
                  </a:lnTo>
                  <a:lnTo>
                    <a:pt x="145589" y="8730305"/>
                  </a:lnTo>
                  <a:lnTo>
                    <a:pt x="170023" y="8726776"/>
                  </a:lnTo>
                  <a:lnTo>
                    <a:pt x="194457" y="8723248"/>
                  </a:lnTo>
                  <a:lnTo>
                    <a:pt x="229872" y="8706371"/>
                  </a:lnTo>
                  <a:lnTo>
                    <a:pt x="260578" y="8684648"/>
                  </a:lnTo>
                  <a:lnTo>
                    <a:pt x="278839" y="8673727"/>
                  </a:lnTo>
                  <a:lnTo>
                    <a:pt x="297101" y="8662812"/>
                  </a:lnTo>
                  <a:lnTo>
                    <a:pt x="318567" y="8651726"/>
                  </a:lnTo>
                  <a:lnTo>
                    <a:pt x="348211" y="8645164"/>
                  </a:lnTo>
                  <a:lnTo>
                    <a:pt x="370482" y="8640231"/>
                  </a:lnTo>
                  <a:lnTo>
                    <a:pt x="392397" y="8650011"/>
                  </a:lnTo>
                  <a:lnTo>
                    <a:pt x="413500" y="8656046"/>
                  </a:lnTo>
                  <a:lnTo>
                    <a:pt x="437150" y="8662806"/>
                  </a:lnTo>
                  <a:lnTo>
                    <a:pt x="456394" y="8674373"/>
                  </a:lnTo>
                  <a:lnTo>
                    <a:pt x="471991" y="8690049"/>
                  </a:lnTo>
                  <a:lnTo>
                    <a:pt x="487587" y="8705732"/>
                  </a:lnTo>
                  <a:lnTo>
                    <a:pt x="499663" y="8724666"/>
                  </a:lnTo>
                  <a:lnTo>
                    <a:pt x="507353" y="8745822"/>
                  </a:lnTo>
                  <a:lnTo>
                    <a:pt x="515042" y="8766972"/>
                  </a:lnTo>
                  <a:lnTo>
                    <a:pt x="518306" y="8790641"/>
                  </a:lnTo>
                  <a:lnTo>
                    <a:pt x="518234" y="8813829"/>
                  </a:lnTo>
                  <a:lnTo>
                    <a:pt x="518168" y="8837017"/>
                  </a:lnTo>
                  <a:lnTo>
                    <a:pt x="513670" y="8860066"/>
                  </a:lnTo>
                  <a:lnTo>
                    <a:pt x="505994" y="8881842"/>
                  </a:lnTo>
                  <a:lnTo>
                    <a:pt x="498707" y="8902484"/>
                  </a:lnTo>
                  <a:lnTo>
                    <a:pt x="484712" y="8921326"/>
                  </a:lnTo>
                  <a:lnTo>
                    <a:pt x="467909" y="8938967"/>
                  </a:lnTo>
                  <a:lnTo>
                    <a:pt x="451104" y="8956609"/>
                  </a:lnTo>
                  <a:lnTo>
                    <a:pt x="432111" y="8972852"/>
                  </a:lnTo>
                  <a:lnTo>
                    <a:pt x="413500" y="8989293"/>
                  </a:lnTo>
                  <a:lnTo>
                    <a:pt x="394890" y="9005734"/>
                  </a:lnTo>
                  <a:lnTo>
                    <a:pt x="377228" y="9022578"/>
                  </a:lnTo>
                  <a:lnTo>
                    <a:pt x="364534" y="9039625"/>
                  </a:lnTo>
                  <a:lnTo>
                    <a:pt x="351838" y="9056673"/>
                  </a:lnTo>
                  <a:lnTo>
                    <a:pt x="345488" y="9094033"/>
                  </a:lnTo>
                  <a:lnTo>
                    <a:pt x="385749" y="9134071"/>
                  </a:lnTo>
                  <a:lnTo>
                    <a:pt x="413500" y="9159323"/>
                  </a:lnTo>
                  <a:lnTo>
                    <a:pt x="441251" y="9184568"/>
                  </a:lnTo>
                  <a:lnTo>
                    <a:pt x="465119" y="9208851"/>
                  </a:lnTo>
                  <a:lnTo>
                    <a:pt x="433193" y="9323345"/>
                  </a:lnTo>
                  <a:lnTo>
                    <a:pt x="421863" y="9390336"/>
                  </a:lnTo>
                  <a:lnTo>
                    <a:pt x="423024" y="9457201"/>
                  </a:lnTo>
                  <a:lnTo>
                    <a:pt x="424184" y="9524073"/>
                  </a:lnTo>
                  <a:lnTo>
                    <a:pt x="438997" y="9591361"/>
                  </a:lnTo>
                  <a:lnTo>
                    <a:pt x="465185" y="9692520"/>
                  </a:lnTo>
                  <a:lnTo>
                    <a:pt x="485609" y="9720654"/>
                  </a:lnTo>
                  <a:lnTo>
                    <a:pt x="526399" y="9730606"/>
                  </a:lnTo>
                  <a:lnTo>
                    <a:pt x="563805" y="9757171"/>
                  </a:lnTo>
                  <a:lnTo>
                    <a:pt x="600954" y="9789901"/>
                  </a:lnTo>
                  <a:lnTo>
                    <a:pt x="636573" y="9819017"/>
                  </a:lnTo>
                  <a:lnTo>
                    <a:pt x="720183" y="9882711"/>
                  </a:lnTo>
                  <a:lnTo>
                    <a:pt x="775310" y="9952314"/>
                  </a:lnTo>
                  <a:lnTo>
                    <a:pt x="808021" y="9985321"/>
                  </a:lnTo>
                  <a:lnTo>
                    <a:pt x="857799" y="10007447"/>
                  </a:lnTo>
                  <a:lnTo>
                    <a:pt x="897731" y="10029850"/>
                  </a:lnTo>
                  <a:lnTo>
                    <a:pt x="945762" y="10056750"/>
                  </a:lnTo>
                  <a:lnTo>
                    <a:pt x="1001700" y="10080070"/>
                  </a:lnTo>
                  <a:lnTo>
                    <a:pt x="1051432" y="10106021"/>
                  </a:lnTo>
                  <a:lnTo>
                    <a:pt x="1066396" y="10126419"/>
                  </a:lnTo>
                  <a:lnTo>
                    <a:pt x="1067636" y="10084852"/>
                  </a:lnTo>
                  <a:lnTo>
                    <a:pt x="1070471" y="10063854"/>
                  </a:lnTo>
                  <a:lnTo>
                    <a:pt x="1073314" y="10042855"/>
                  </a:lnTo>
                  <a:lnTo>
                    <a:pt x="1081353" y="10002646"/>
                  </a:lnTo>
                  <a:lnTo>
                    <a:pt x="1111274" y="9992055"/>
                  </a:lnTo>
                  <a:lnTo>
                    <a:pt x="1168234" y="9999540"/>
                  </a:lnTo>
                  <a:lnTo>
                    <a:pt x="1189041" y="10022641"/>
                  </a:lnTo>
                  <a:lnTo>
                    <a:pt x="1201117" y="10042387"/>
                  </a:lnTo>
                  <a:lnTo>
                    <a:pt x="1220090" y="10066570"/>
                  </a:lnTo>
                  <a:lnTo>
                    <a:pt x="1228822" y="10024396"/>
                  </a:lnTo>
                  <a:lnTo>
                    <a:pt x="1232337" y="9998564"/>
                  </a:lnTo>
                  <a:lnTo>
                    <a:pt x="1235852" y="9972731"/>
                  </a:lnTo>
                  <a:lnTo>
                    <a:pt x="1237053" y="9947031"/>
                  </a:lnTo>
                  <a:lnTo>
                    <a:pt x="1233933" y="9921337"/>
                  </a:lnTo>
                  <a:lnTo>
                    <a:pt x="1229613" y="9900629"/>
                  </a:lnTo>
                  <a:lnTo>
                    <a:pt x="1225538" y="9872067"/>
                  </a:lnTo>
                  <a:lnTo>
                    <a:pt x="1233827" y="9834700"/>
                  </a:lnTo>
                  <a:lnTo>
                    <a:pt x="1258182" y="9805419"/>
                  </a:lnTo>
                  <a:lnTo>
                    <a:pt x="1296446" y="9800202"/>
                  </a:lnTo>
                  <a:lnTo>
                    <a:pt x="1319389" y="9797261"/>
                  </a:lnTo>
                  <a:lnTo>
                    <a:pt x="1342333" y="9794313"/>
                  </a:lnTo>
                  <a:lnTo>
                    <a:pt x="1365317" y="9788819"/>
                  </a:lnTo>
                  <a:lnTo>
                    <a:pt x="1375486" y="9750622"/>
                  </a:lnTo>
                  <a:lnTo>
                    <a:pt x="1376838" y="9727718"/>
                  </a:lnTo>
                  <a:lnTo>
                    <a:pt x="1383320" y="9706126"/>
                  </a:lnTo>
                  <a:lnTo>
                    <a:pt x="1389797" y="9684541"/>
                  </a:lnTo>
                  <a:lnTo>
                    <a:pt x="1401503" y="9665244"/>
                  </a:lnTo>
                  <a:lnTo>
                    <a:pt x="1420041" y="9644919"/>
                  </a:lnTo>
                  <a:lnTo>
                    <a:pt x="1420041" y="9621797"/>
                  </a:lnTo>
                  <a:lnTo>
                    <a:pt x="1404464" y="9601741"/>
                  </a:lnTo>
                  <a:lnTo>
                    <a:pt x="1384679" y="9586428"/>
                  </a:lnTo>
                  <a:lnTo>
                    <a:pt x="1365614" y="9573878"/>
                  </a:lnTo>
                  <a:lnTo>
                    <a:pt x="1341423" y="9553361"/>
                  </a:lnTo>
                  <a:lnTo>
                    <a:pt x="1328913" y="9521139"/>
                  </a:lnTo>
                  <a:lnTo>
                    <a:pt x="1324296" y="9484584"/>
                  </a:lnTo>
                  <a:lnTo>
                    <a:pt x="1329988" y="9426944"/>
                  </a:lnTo>
                  <a:lnTo>
                    <a:pt x="1342913" y="9387289"/>
                  </a:lnTo>
                  <a:lnTo>
                    <a:pt x="1354758" y="9360638"/>
                  </a:lnTo>
                  <a:lnTo>
                    <a:pt x="1368357" y="9333435"/>
                  </a:lnTo>
                  <a:lnTo>
                    <a:pt x="1383143" y="9318016"/>
                  </a:lnTo>
                  <a:lnTo>
                    <a:pt x="1419771" y="9319532"/>
                  </a:lnTo>
                  <a:lnTo>
                    <a:pt x="1539343" y="9320707"/>
                  </a:lnTo>
                  <a:lnTo>
                    <a:pt x="1565591" y="9344310"/>
                  </a:lnTo>
                  <a:lnTo>
                    <a:pt x="1565525" y="9373538"/>
                  </a:lnTo>
                  <a:lnTo>
                    <a:pt x="1581049" y="9395809"/>
                  </a:lnTo>
                  <a:lnTo>
                    <a:pt x="1603676" y="9402800"/>
                  </a:lnTo>
                  <a:lnTo>
                    <a:pt x="1627570" y="9400215"/>
                  </a:lnTo>
                  <a:lnTo>
                    <a:pt x="1661982" y="9387572"/>
                  </a:lnTo>
                  <a:lnTo>
                    <a:pt x="1682789" y="9374310"/>
                  </a:lnTo>
                  <a:lnTo>
                    <a:pt x="1709194" y="9388595"/>
                  </a:lnTo>
                  <a:lnTo>
                    <a:pt x="1716567" y="9421846"/>
                  </a:lnTo>
                  <a:lnTo>
                    <a:pt x="1722583" y="9453699"/>
                  </a:lnTo>
                  <a:lnTo>
                    <a:pt x="1757377" y="9466731"/>
                  </a:lnTo>
                  <a:lnTo>
                    <a:pt x="1786962" y="9455625"/>
                  </a:lnTo>
                  <a:lnTo>
                    <a:pt x="1812418" y="9432108"/>
                  </a:lnTo>
                  <a:lnTo>
                    <a:pt x="1837631" y="9406882"/>
                  </a:lnTo>
                  <a:lnTo>
                    <a:pt x="1862836" y="9381656"/>
                  </a:lnTo>
                  <a:lnTo>
                    <a:pt x="1888272" y="9354195"/>
                  </a:lnTo>
                  <a:lnTo>
                    <a:pt x="1916519" y="9334793"/>
                  </a:lnTo>
                  <a:lnTo>
                    <a:pt x="1946446" y="9344316"/>
                  </a:lnTo>
                  <a:lnTo>
                    <a:pt x="1961404" y="9396574"/>
                  </a:lnTo>
                  <a:lnTo>
                    <a:pt x="1987994" y="9416504"/>
                  </a:lnTo>
                  <a:lnTo>
                    <a:pt x="2018535" y="9416406"/>
                  </a:lnTo>
                  <a:lnTo>
                    <a:pt x="2044506" y="9391859"/>
                  </a:lnTo>
                  <a:lnTo>
                    <a:pt x="2056858" y="9374270"/>
                  </a:lnTo>
                  <a:lnTo>
                    <a:pt x="2070219" y="9357915"/>
                  </a:lnTo>
                  <a:lnTo>
                    <a:pt x="2083587" y="9341566"/>
                  </a:lnTo>
                  <a:lnTo>
                    <a:pt x="2097806" y="9325937"/>
                  </a:lnTo>
                  <a:lnTo>
                    <a:pt x="2140897" y="9294716"/>
                  </a:lnTo>
                  <a:lnTo>
                    <a:pt x="2199499" y="9284600"/>
                  </a:lnTo>
                  <a:lnTo>
                    <a:pt x="2260647" y="9279027"/>
                  </a:lnTo>
                  <a:lnTo>
                    <a:pt x="2321802" y="9273448"/>
                  </a:lnTo>
                  <a:lnTo>
                    <a:pt x="2385310" y="9272603"/>
                  </a:lnTo>
                  <a:lnTo>
                    <a:pt x="2421154" y="9272221"/>
                  </a:lnTo>
                  <a:lnTo>
                    <a:pt x="2454623" y="9276296"/>
                  </a:lnTo>
                  <a:lnTo>
                    <a:pt x="2515461" y="9276296"/>
                  </a:lnTo>
                  <a:lnTo>
                    <a:pt x="2561230" y="9270236"/>
                  </a:lnTo>
                  <a:lnTo>
                    <a:pt x="2603418" y="9255898"/>
                  </a:lnTo>
                  <a:lnTo>
                    <a:pt x="2645611" y="9241554"/>
                  </a:lnTo>
                  <a:lnTo>
                    <a:pt x="2683987" y="9218433"/>
                  </a:lnTo>
                  <a:lnTo>
                    <a:pt x="2713599" y="9183803"/>
                  </a:lnTo>
                  <a:lnTo>
                    <a:pt x="2778004" y="9108469"/>
                  </a:lnTo>
                  <a:lnTo>
                    <a:pt x="2843062" y="9053026"/>
                  </a:lnTo>
                  <a:lnTo>
                    <a:pt x="2909467" y="8982493"/>
                  </a:lnTo>
                  <a:lnTo>
                    <a:pt x="2930689" y="8959952"/>
                  </a:lnTo>
                  <a:lnTo>
                    <a:pt x="2975429" y="8904938"/>
                  </a:lnTo>
                  <a:lnTo>
                    <a:pt x="3025082" y="8858720"/>
                  </a:lnTo>
                  <a:lnTo>
                    <a:pt x="3049905" y="8835612"/>
                  </a:lnTo>
                  <a:lnTo>
                    <a:pt x="3075724" y="8814489"/>
                  </a:lnTo>
                  <a:lnTo>
                    <a:pt x="3101253" y="8801589"/>
                  </a:lnTo>
                  <a:lnTo>
                    <a:pt x="3126783" y="8788689"/>
                  </a:lnTo>
                  <a:lnTo>
                    <a:pt x="3151375" y="8784000"/>
                  </a:lnTo>
                  <a:lnTo>
                    <a:pt x="3173343" y="8792065"/>
                  </a:lnTo>
                  <a:lnTo>
                    <a:pt x="3191788" y="8817753"/>
                  </a:lnTo>
                  <a:lnTo>
                    <a:pt x="3209707" y="8836799"/>
                  </a:lnTo>
                  <a:lnTo>
                    <a:pt x="3226392" y="8850556"/>
                  </a:lnTo>
                  <a:lnTo>
                    <a:pt x="3243077" y="8864320"/>
                  </a:lnTo>
                  <a:lnTo>
                    <a:pt x="3274000" y="8876401"/>
                  </a:lnTo>
                  <a:lnTo>
                    <a:pt x="3304450" y="8885226"/>
                  </a:lnTo>
                  <a:lnTo>
                    <a:pt x="3331890" y="8878637"/>
                  </a:lnTo>
                  <a:lnTo>
                    <a:pt x="3358330" y="8865520"/>
                  </a:lnTo>
                  <a:lnTo>
                    <a:pt x="3384775" y="8852396"/>
                  </a:lnTo>
                  <a:lnTo>
                    <a:pt x="3409631" y="8833746"/>
                  </a:lnTo>
                  <a:lnTo>
                    <a:pt x="3434501" y="8819270"/>
                  </a:lnTo>
                  <a:lnTo>
                    <a:pt x="3459370" y="8804800"/>
                  </a:lnTo>
                  <a:lnTo>
                    <a:pt x="3484938" y="8794103"/>
                  </a:lnTo>
                  <a:lnTo>
                    <a:pt x="3510671" y="8798872"/>
                  </a:lnTo>
                  <a:lnTo>
                    <a:pt x="3557133" y="8808302"/>
                  </a:lnTo>
                  <a:lnTo>
                    <a:pt x="3597830" y="8824348"/>
                  </a:lnTo>
                  <a:lnTo>
                    <a:pt x="3653419" y="8855449"/>
                  </a:lnTo>
                  <a:lnTo>
                    <a:pt x="3709264" y="8883201"/>
                  </a:lnTo>
                  <a:lnTo>
                    <a:pt x="3765104" y="8910959"/>
                  </a:lnTo>
                  <a:lnTo>
                    <a:pt x="3820711" y="8935749"/>
                  </a:lnTo>
                  <a:lnTo>
                    <a:pt x="3846643" y="8929451"/>
                  </a:lnTo>
                  <a:lnTo>
                    <a:pt x="3926895" y="8898164"/>
                  </a:lnTo>
                  <a:lnTo>
                    <a:pt x="3955880" y="8886940"/>
                  </a:lnTo>
                  <a:lnTo>
                    <a:pt x="3975790" y="8876104"/>
                  </a:lnTo>
                  <a:lnTo>
                    <a:pt x="3992186" y="8862796"/>
                  </a:lnTo>
                  <a:lnTo>
                    <a:pt x="4008574" y="8849494"/>
                  </a:lnTo>
                  <a:lnTo>
                    <a:pt x="4022489" y="8832644"/>
                  </a:lnTo>
                  <a:lnTo>
                    <a:pt x="4041152" y="8807030"/>
                  </a:lnTo>
                  <a:lnTo>
                    <a:pt x="4064433" y="8813308"/>
                  </a:lnTo>
                  <a:lnTo>
                    <a:pt x="4096728" y="8871468"/>
                  </a:lnTo>
                  <a:lnTo>
                    <a:pt x="4107728" y="8889341"/>
                  </a:lnTo>
                  <a:lnTo>
                    <a:pt x="4096984" y="8917877"/>
                  </a:lnTo>
                  <a:lnTo>
                    <a:pt x="4074700" y="8929015"/>
                  </a:lnTo>
                  <a:lnTo>
                    <a:pt x="4041152" y="8970260"/>
                  </a:lnTo>
                  <a:lnTo>
                    <a:pt x="4021525" y="8994384"/>
                  </a:lnTo>
                  <a:lnTo>
                    <a:pt x="4004069" y="9031593"/>
                  </a:lnTo>
                  <a:lnTo>
                    <a:pt x="3993544" y="9070911"/>
                  </a:lnTo>
                  <a:lnTo>
                    <a:pt x="3983011" y="9110230"/>
                  </a:lnTo>
                  <a:lnTo>
                    <a:pt x="3980301" y="9150763"/>
                  </a:lnTo>
                  <a:lnTo>
                    <a:pt x="3989468" y="9181086"/>
                  </a:lnTo>
                  <a:lnTo>
                    <a:pt x="4083320" y="9196050"/>
                  </a:lnTo>
                  <a:lnTo>
                    <a:pt x="4095322" y="9224968"/>
                  </a:lnTo>
                  <a:lnTo>
                    <a:pt x="4100889" y="9263179"/>
                  </a:lnTo>
                  <a:lnTo>
                    <a:pt x="4103725" y="9302148"/>
                  </a:lnTo>
                  <a:lnTo>
                    <a:pt x="4106560" y="9341118"/>
                  </a:lnTo>
                  <a:lnTo>
                    <a:pt x="4106923" y="9380760"/>
                  </a:lnTo>
                  <a:lnTo>
                    <a:pt x="4132294" y="9386478"/>
                  </a:lnTo>
                  <a:lnTo>
                    <a:pt x="4155125" y="9373604"/>
                  </a:lnTo>
                  <a:lnTo>
                    <a:pt x="4188641" y="9351010"/>
                  </a:lnTo>
                  <a:lnTo>
                    <a:pt x="4210720" y="9335842"/>
                  </a:lnTo>
                  <a:lnTo>
                    <a:pt x="4240318" y="9320779"/>
                  </a:lnTo>
                  <a:lnTo>
                    <a:pt x="4271031" y="9313023"/>
                  </a:lnTo>
                  <a:lnTo>
                    <a:pt x="4302779" y="9306884"/>
                  </a:lnTo>
                  <a:lnTo>
                    <a:pt x="4340989" y="9289144"/>
                  </a:lnTo>
                  <a:lnTo>
                    <a:pt x="4363452" y="9267182"/>
                  </a:lnTo>
                  <a:lnTo>
                    <a:pt x="4382570" y="9242293"/>
                  </a:lnTo>
                  <a:lnTo>
                    <a:pt x="4401696" y="9217411"/>
                  </a:lnTo>
                  <a:lnTo>
                    <a:pt x="4418248" y="9190589"/>
                  </a:lnTo>
                  <a:lnTo>
                    <a:pt x="4431537" y="9167487"/>
                  </a:lnTo>
                  <a:lnTo>
                    <a:pt x="4448322" y="9138312"/>
                  </a:lnTo>
                  <a:lnTo>
                    <a:pt x="4464968" y="9108272"/>
                  </a:lnTo>
                  <a:lnTo>
                    <a:pt x="4483223" y="9079070"/>
                  </a:lnTo>
                  <a:lnTo>
                    <a:pt x="4501483" y="9049874"/>
                  </a:lnTo>
                  <a:lnTo>
                    <a:pt x="4520391" y="9021469"/>
                  </a:lnTo>
                  <a:lnTo>
                    <a:pt x="4541712" y="8994741"/>
                  </a:lnTo>
                  <a:lnTo>
                    <a:pt x="4563039" y="8968004"/>
                  </a:lnTo>
                  <a:lnTo>
                    <a:pt x="4586458" y="8943062"/>
                  </a:lnTo>
                  <a:lnTo>
                    <a:pt x="4612443" y="8921286"/>
                  </a:lnTo>
                  <a:lnTo>
                    <a:pt x="4638427" y="8899516"/>
                  </a:lnTo>
                  <a:lnTo>
                    <a:pt x="4667253" y="8879837"/>
                  </a:lnTo>
                  <a:lnTo>
                    <a:pt x="4699495" y="8865520"/>
                  </a:lnTo>
                  <a:lnTo>
                    <a:pt x="4734330" y="8863376"/>
                  </a:lnTo>
                  <a:lnTo>
                    <a:pt x="4768630" y="8889090"/>
                  </a:lnTo>
                  <a:lnTo>
                    <a:pt x="4801512" y="8896806"/>
                  </a:lnTo>
                  <a:lnTo>
                    <a:pt x="4824547" y="8902200"/>
                  </a:lnTo>
                  <a:lnTo>
                    <a:pt x="4861275" y="8896212"/>
                  </a:lnTo>
                  <a:lnTo>
                    <a:pt x="4883124" y="8892730"/>
                  </a:lnTo>
                  <a:lnTo>
                    <a:pt x="4949772" y="8881849"/>
                  </a:lnTo>
                  <a:lnTo>
                    <a:pt x="4999642" y="8837993"/>
                  </a:lnTo>
                  <a:lnTo>
                    <a:pt x="5030025" y="8797513"/>
                  </a:lnTo>
                  <a:lnTo>
                    <a:pt x="5060414" y="8757040"/>
                  </a:lnTo>
                  <a:lnTo>
                    <a:pt x="5089373" y="8714681"/>
                  </a:lnTo>
                  <a:lnTo>
                    <a:pt x="5107205" y="8689199"/>
                  </a:lnTo>
                  <a:lnTo>
                    <a:pt x="5131568" y="8680282"/>
                  </a:lnTo>
                  <a:lnTo>
                    <a:pt x="5157887" y="8671016"/>
                  </a:lnTo>
                  <a:lnTo>
                    <a:pt x="5184202" y="8661757"/>
                  </a:lnTo>
                  <a:lnTo>
                    <a:pt x="5212618" y="8652254"/>
                  </a:lnTo>
                  <a:lnTo>
                    <a:pt x="5253341" y="8623836"/>
                  </a:lnTo>
                  <a:lnTo>
                    <a:pt x="5270206" y="8584900"/>
                  </a:lnTo>
                  <a:lnTo>
                    <a:pt x="5288460" y="8544519"/>
                  </a:lnTo>
                  <a:lnTo>
                    <a:pt x="5306727" y="8504139"/>
                  </a:lnTo>
                  <a:lnTo>
                    <a:pt x="5325985" y="8462591"/>
                  </a:lnTo>
                  <a:lnTo>
                    <a:pt x="5353756" y="8438420"/>
                  </a:lnTo>
                  <a:lnTo>
                    <a:pt x="5376396" y="8418708"/>
                  </a:lnTo>
                  <a:lnTo>
                    <a:pt x="5416118" y="8397658"/>
                  </a:lnTo>
                  <a:lnTo>
                    <a:pt x="5453049" y="8375855"/>
                  </a:lnTo>
                  <a:lnTo>
                    <a:pt x="5489980" y="8354052"/>
                  </a:lnTo>
                  <a:lnTo>
                    <a:pt x="5524748" y="8330766"/>
                  </a:lnTo>
                  <a:lnTo>
                    <a:pt x="5537378" y="8309206"/>
                  </a:lnTo>
                  <a:lnTo>
                    <a:pt x="5557208" y="8275355"/>
                  </a:lnTo>
                  <a:lnTo>
                    <a:pt x="5556410" y="8251574"/>
                  </a:lnTo>
                  <a:lnTo>
                    <a:pt x="5553700" y="8230312"/>
                  </a:lnTo>
                  <a:lnTo>
                    <a:pt x="5550996" y="8209057"/>
                  </a:lnTo>
                  <a:lnTo>
                    <a:pt x="5557776" y="8170463"/>
                  </a:lnTo>
                  <a:lnTo>
                    <a:pt x="5588851" y="8149399"/>
                  </a:lnTo>
                  <a:lnTo>
                    <a:pt x="5609467" y="8143259"/>
                  </a:lnTo>
                  <a:lnTo>
                    <a:pt x="5630075" y="8137119"/>
                  </a:lnTo>
                  <a:lnTo>
                    <a:pt x="5652095" y="8132028"/>
                  </a:lnTo>
                  <a:lnTo>
                    <a:pt x="5673398" y="8126937"/>
                  </a:lnTo>
                  <a:lnTo>
                    <a:pt x="5694693" y="8121846"/>
                  </a:lnTo>
                  <a:lnTo>
                    <a:pt x="5715426" y="8116003"/>
                  </a:lnTo>
                  <a:lnTo>
                    <a:pt x="5745618" y="8094351"/>
                  </a:lnTo>
                  <a:lnTo>
                    <a:pt x="5757726" y="8056206"/>
                  </a:lnTo>
                  <a:lnTo>
                    <a:pt x="5767250" y="7943309"/>
                  </a:lnTo>
                  <a:lnTo>
                    <a:pt x="5786321" y="7926729"/>
                  </a:lnTo>
                  <a:lnTo>
                    <a:pt x="5818907" y="7916368"/>
                  </a:lnTo>
                  <a:lnTo>
                    <a:pt x="5844780" y="7901147"/>
                  </a:lnTo>
                  <a:lnTo>
                    <a:pt x="5856063" y="7880670"/>
                  </a:lnTo>
                  <a:lnTo>
                    <a:pt x="5855911" y="7838496"/>
                  </a:lnTo>
                  <a:lnTo>
                    <a:pt x="5858385" y="7800489"/>
                  </a:lnTo>
                  <a:lnTo>
                    <a:pt x="5861352" y="7763913"/>
                  </a:lnTo>
                  <a:lnTo>
                    <a:pt x="5871739" y="7736413"/>
                  </a:lnTo>
                  <a:lnTo>
                    <a:pt x="5892388" y="7724318"/>
                  </a:lnTo>
                  <a:lnTo>
                    <a:pt x="5927347" y="7729112"/>
                  </a:lnTo>
                  <a:lnTo>
                    <a:pt x="5952638" y="7744010"/>
                  </a:lnTo>
                  <a:lnTo>
                    <a:pt x="5974000" y="7762403"/>
                  </a:lnTo>
                  <a:lnTo>
                    <a:pt x="5998665" y="7780190"/>
                  </a:lnTo>
                  <a:lnTo>
                    <a:pt x="6030947" y="7788144"/>
                  </a:lnTo>
                  <a:lnTo>
                    <a:pt x="6077375" y="7780084"/>
                  </a:lnTo>
                  <a:lnTo>
                    <a:pt x="6091481" y="7739704"/>
                  </a:lnTo>
                  <a:lnTo>
                    <a:pt x="6086898" y="7702555"/>
                  </a:lnTo>
                  <a:lnTo>
                    <a:pt x="6079882" y="7671124"/>
                  </a:lnTo>
                  <a:lnTo>
                    <a:pt x="6074870" y="7644210"/>
                  </a:lnTo>
                  <a:lnTo>
                    <a:pt x="6078733" y="7615502"/>
                  </a:lnTo>
                  <a:lnTo>
                    <a:pt x="6094482" y="7581921"/>
                  </a:lnTo>
                  <a:lnTo>
                    <a:pt x="6114101" y="7558370"/>
                  </a:lnTo>
                  <a:lnTo>
                    <a:pt x="6132739" y="7537524"/>
                  </a:lnTo>
                  <a:lnTo>
                    <a:pt x="6169017" y="7539205"/>
                  </a:lnTo>
                  <a:lnTo>
                    <a:pt x="6233562" y="7547620"/>
                  </a:lnTo>
                  <a:lnTo>
                    <a:pt x="6254198" y="7533890"/>
                  </a:lnTo>
                  <a:lnTo>
                    <a:pt x="6289567" y="7510300"/>
                  </a:lnTo>
                  <a:lnTo>
                    <a:pt x="6322402" y="7489639"/>
                  </a:lnTo>
                  <a:lnTo>
                    <a:pt x="6353498" y="7461801"/>
                  </a:lnTo>
                  <a:lnTo>
                    <a:pt x="6382442" y="7432882"/>
                  </a:lnTo>
                  <a:lnTo>
                    <a:pt x="6399740" y="7418275"/>
                  </a:lnTo>
                  <a:lnTo>
                    <a:pt x="6417039" y="7403660"/>
                  </a:lnTo>
                  <a:lnTo>
                    <a:pt x="6435148" y="7391697"/>
                  </a:lnTo>
                  <a:lnTo>
                    <a:pt x="6494582" y="7395681"/>
                  </a:lnTo>
                  <a:lnTo>
                    <a:pt x="6537139" y="7427383"/>
                  </a:lnTo>
                  <a:lnTo>
                    <a:pt x="6580645" y="7452278"/>
                  </a:lnTo>
                  <a:lnTo>
                    <a:pt x="6602402" y="7464723"/>
                  </a:lnTo>
                  <a:lnTo>
                    <a:pt x="6623605" y="7476066"/>
                  </a:lnTo>
                  <a:lnTo>
                    <a:pt x="6645934" y="7480841"/>
                  </a:lnTo>
                  <a:lnTo>
                    <a:pt x="6668264" y="7485616"/>
                  </a:lnTo>
                  <a:lnTo>
                    <a:pt x="6690945" y="7483835"/>
                  </a:lnTo>
                  <a:lnTo>
                    <a:pt x="6713948" y="7472683"/>
                  </a:lnTo>
                  <a:lnTo>
                    <a:pt x="6742742" y="7450141"/>
                  </a:lnTo>
                  <a:lnTo>
                    <a:pt x="6761319" y="7419046"/>
                  </a:lnTo>
                  <a:lnTo>
                    <a:pt x="6781955" y="7391071"/>
                  </a:lnTo>
                  <a:lnTo>
                    <a:pt x="6804701" y="7372269"/>
                  </a:lnTo>
                  <a:lnTo>
                    <a:pt x="6827222" y="7352742"/>
                  </a:lnTo>
                  <a:lnTo>
                    <a:pt x="6849968" y="7335298"/>
                  </a:lnTo>
                  <a:lnTo>
                    <a:pt x="6872601" y="7320321"/>
                  </a:lnTo>
                  <a:lnTo>
                    <a:pt x="6919696" y="7307289"/>
                  </a:lnTo>
                  <a:lnTo>
                    <a:pt x="6962867" y="7293137"/>
                  </a:lnTo>
                  <a:lnTo>
                    <a:pt x="7006030" y="7278977"/>
                  </a:lnTo>
                  <a:lnTo>
                    <a:pt x="7044517" y="7264231"/>
                  </a:lnTo>
                  <a:lnTo>
                    <a:pt x="7055194" y="7226185"/>
                  </a:lnTo>
                  <a:lnTo>
                    <a:pt x="7060081" y="7201038"/>
                  </a:lnTo>
                  <a:lnTo>
                    <a:pt x="7067600" y="7177515"/>
                  </a:lnTo>
                  <a:lnTo>
                    <a:pt x="7075117" y="7153991"/>
                  </a:lnTo>
                  <a:lnTo>
                    <a:pt x="7085565" y="7131640"/>
                  </a:lnTo>
                  <a:lnTo>
                    <a:pt x="7101602" y="7114949"/>
                  </a:lnTo>
                  <a:lnTo>
                    <a:pt x="7145300" y="7106580"/>
                  </a:lnTo>
                  <a:lnTo>
                    <a:pt x="7176415" y="7108150"/>
                  </a:lnTo>
                  <a:lnTo>
                    <a:pt x="7207523" y="7109719"/>
                  </a:lnTo>
                  <a:lnTo>
                    <a:pt x="7237036" y="7115417"/>
                  </a:lnTo>
                  <a:lnTo>
                    <a:pt x="7255976" y="7143947"/>
                  </a:lnTo>
                  <a:lnTo>
                    <a:pt x="7253622" y="7178412"/>
                  </a:lnTo>
                  <a:lnTo>
                    <a:pt x="7249863" y="7212883"/>
                  </a:lnTo>
                  <a:lnTo>
                    <a:pt x="7246104" y="7247355"/>
                  </a:lnTo>
                  <a:lnTo>
                    <a:pt x="7242095" y="7282380"/>
                  </a:lnTo>
                  <a:lnTo>
                    <a:pt x="7251578" y="7307295"/>
                  </a:lnTo>
                  <a:lnTo>
                    <a:pt x="7298152" y="7323038"/>
                  </a:lnTo>
                  <a:lnTo>
                    <a:pt x="7347797" y="7335298"/>
                  </a:lnTo>
                  <a:lnTo>
                    <a:pt x="7397451" y="7347564"/>
                  </a:lnTo>
                  <a:lnTo>
                    <a:pt x="7450024" y="7356105"/>
                  </a:lnTo>
                  <a:lnTo>
                    <a:pt x="7478911" y="7337593"/>
                  </a:lnTo>
                  <a:lnTo>
                    <a:pt x="7493585" y="7321857"/>
                  </a:lnTo>
                  <a:lnTo>
                    <a:pt x="7508305" y="7305377"/>
                  </a:lnTo>
                  <a:lnTo>
                    <a:pt x="7523025" y="7288890"/>
                  </a:lnTo>
                  <a:lnTo>
                    <a:pt x="7537988" y="7270786"/>
                  </a:lnTo>
                  <a:lnTo>
                    <a:pt x="7553189" y="7255051"/>
                  </a:lnTo>
                  <a:lnTo>
                    <a:pt x="7579325" y="7227992"/>
                  </a:lnTo>
                  <a:lnTo>
                    <a:pt x="7599439" y="7212883"/>
                  </a:lnTo>
                  <a:lnTo>
                    <a:pt x="7609602" y="7194430"/>
                  </a:lnTo>
                  <a:lnTo>
                    <a:pt x="7615762" y="7159834"/>
                  </a:lnTo>
                  <a:lnTo>
                    <a:pt x="7619764" y="7135050"/>
                  </a:lnTo>
                  <a:lnTo>
                    <a:pt x="7593358" y="7092335"/>
                  </a:lnTo>
                  <a:lnTo>
                    <a:pt x="7556190" y="7075669"/>
                  </a:lnTo>
                  <a:lnTo>
                    <a:pt x="7521910" y="7059182"/>
                  </a:lnTo>
                  <a:lnTo>
                    <a:pt x="7488143" y="7042128"/>
                  </a:lnTo>
                  <a:lnTo>
                    <a:pt x="7460452" y="7021828"/>
                  </a:lnTo>
                  <a:lnTo>
                    <a:pt x="7443014" y="6993893"/>
                  </a:lnTo>
                  <a:lnTo>
                    <a:pt x="7444333" y="6958036"/>
                  </a:lnTo>
                  <a:lnTo>
                    <a:pt x="7472618" y="6914768"/>
                  </a:lnTo>
                  <a:lnTo>
                    <a:pt x="7499651" y="6879695"/>
                  </a:lnTo>
                  <a:lnTo>
                    <a:pt x="7513745" y="6837468"/>
                  </a:lnTo>
                  <a:lnTo>
                    <a:pt x="7522457" y="6811306"/>
                  </a:lnTo>
                  <a:lnTo>
                    <a:pt x="7516673" y="6784439"/>
                  </a:lnTo>
                  <a:lnTo>
                    <a:pt x="7525986" y="6758573"/>
                  </a:lnTo>
                  <a:lnTo>
                    <a:pt x="7555272" y="6723930"/>
                  </a:lnTo>
                  <a:lnTo>
                    <a:pt x="7590041" y="6694497"/>
                  </a:lnTo>
                  <a:lnTo>
                    <a:pt x="7610320" y="6660639"/>
                  </a:lnTo>
                  <a:lnTo>
                    <a:pt x="7631102" y="6625911"/>
                  </a:lnTo>
                  <a:lnTo>
                    <a:pt x="7654975" y="6590443"/>
                  </a:lnTo>
                  <a:lnTo>
                    <a:pt x="7675611" y="6554547"/>
                  </a:lnTo>
                  <a:lnTo>
                    <a:pt x="7696239" y="6518651"/>
                  </a:lnTo>
                  <a:lnTo>
                    <a:pt x="7714382" y="6482240"/>
                  </a:lnTo>
                  <a:lnTo>
                    <a:pt x="7725936" y="6443007"/>
                  </a:lnTo>
                  <a:lnTo>
                    <a:pt x="7732906" y="6419378"/>
                  </a:lnTo>
                  <a:lnTo>
                    <a:pt x="7743300" y="6378892"/>
                  </a:lnTo>
                  <a:lnTo>
                    <a:pt x="7744975" y="6354596"/>
                  </a:lnTo>
                  <a:lnTo>
                    <a:pt x="7746676" y="6330050"/>
                  </a:lnTo>
                  <a:lnTo>
                    <a:pt x="7719368" y="6237834"/>
                  </a:lnTo>
                  <a:lnTo>
                    <a:pt x="7702814" y="6215859"/>
                  </a:lnTo>
                  <a:lnTo>
                    <a:pt x="7678414" y="6190350"/>
                  </a:lnTo>
                  <a:lnTo>
                    <a:pt x="7651177" y="6150834"/>
                  </a:lnTo>
                  <a:lnTo>
                    <a:pt x="7625020" y="6111079"/>
                  </a:lnTo>
                  <a:lnTo>
                    <a:pt x="7603514" y="6068958"/>
                  </a:lnTo>
                  <a:lnTo>
                    <a:pt x="7582015" y="6026836"/>
                  </a:lnTo>
                  <a:lnTo>
                    <a:pt x="7564216" y="5982861"/>
                  </a:lnTo>
                  <a:lnTo>
                    <a:pt x="7562712" y="5950619"/>
                  </a:lnTo>
                  <a:lnTo>
                    <a:pt x="7561433" y="5923171"/>
                  </a:lnTo>
                  <a:lnTo>
                    <a:pt x="7564968" y="5897859"/>
                  </a:lnTo>
                  <a:lnTo>
                    <a:pt x="7569512" y="5873089"/>
                  </a:lnTo>
                  <a:lnTo>
                    <a:pt x="7574062" y="5848319"/>
                  </a:lnTo>
                  <a:lnTo>
                    <a:pt x="7580750" y="5823640"/>
                  </a:lnTo>
                  <a:lnTo>
                    <a:pt x="7587193" y="5796918"/>
                  </a:lnTo>
                  <a:lnTo>
                    <a:pt x="7597012" y="5756220"/>
                  </a:lnTo>
                  <a:lnTo>
                    <a:pt x="7606206" y="5716117"/>
                  </a:lnTo>
                  <a:lnTo>
                    <a:pt x="7614396" y="5675856"/>
                  </a:lnTo>
                  <a:lnTo>
                    <a:pt x="7622594" y="5635600"/>
                  </a:lnTo>
                  <a:lnTo>
                    <a:pt x="7629697" y="5595575"/>
                  </a:lnTo>
                  <a:lnTo>
                    <a:pt x="7634801" y="5553441"/>
                  </a:lnTo>
                  <a:lnTo>
                    <a:pt x="7638086" y="5526329"/>
                  </a:lnTo>
                  <a:lnTo>
                    <a:pt x="7622977" y="5498156"/>
                  </a:lnTo>
                  <a:lnTo>
                    <a:pt x="7603514" y="5471828"/>
                  </a:lnTo>
                  <a:lnTo>
                    <a:pt x="7584060" y="5445495"/>
                  </a:lnTo>
                  <a:lnTo>
                    <a:pt x="7560035" y="5420395"/>
                  </a:lnTo>
                  <a:lnTo>
                    <a:pt x="7545031" y="5402457"/>
                  </a:lnTo>
                  <a:lnTo>
                    <a:pt x="7532297" y="5381373"/>
                  </a:lnTo>
                  <a:lnTo>
                    <a:pt x="7542301" y="5357566"/>
                  </a:lnTo>
                  <a:lnTo>
                    <a:pt x="7584607" y="5355218"/>
                  </a:lnTo>
                  <a:lnTo>
                    <a:pt x="7610928" y="5340372"/>
                  </a:lnTo>
                  <a:lnTo>
                    <a:pt x="7627079" y="5316420"/>
                  </a:lnTo>
                  <a:lnTo>
                    <a:pt x="7626629" y="5293641"/>
                  </a:lnTo>
                  <a:lnTo>
                    <a:pt x="7607175" y="5266041"/>
                  </a:lnTo>
                  <a:lnTo>
                    <a:pt x="7578079" y="5239622"/>
                  </a:lnTo>
                  <a:lnTo>
                    <a:pt x="7551817" y="5220187"/>
                  </a:lnTo>
                  <a:lnTo>
                    <a:pt x="7544840" y="5185023"/>
                  </a:lnTo>
                  <a:lnTo>
                    <a:pt x="7550637" y="5146535"/>
                  </a:lnTo>
                  <a:lnTo>
                    <a:pt x="7549101" y="5114094"/>
                  </a:lnTo>
                  <a:lnTo>
                    <a:pt x="7528398" y="5065846"/>
                  </a:lnTo>
                  <a:lnTo>
                    <a:pt x="7484872" y="5026554"/>
                  </a:lnTo>
                  <a:lnTo>
                    <a:pt x="7470205" y="4976716"/>
                  </a:lnTo>
                  <a:lnTo>
                    <a:pt x="7493366" y="4958805"/>
                  </a:lnTo>
                  <a:lnTo>
                    <a:pt x="7507275" y="4940642"/>
                  </a:lnTo>
                  <a:lnTo>
                    <a:pt x="7525635" y="4906685"/>
                  </a:lnTo>
                  <a:lnTo>
                    <a:pt x="7532778" y="4874700"/>
                  </a:lnTo>
                  <a:lnTo>
                    <a:pt x="7536622" y="4844778"/>
                  </a:lnTo>
                  <a:lnTo>
                    <a:pt x="7545256" y="4817568"/>
                  </a:lnTo>
                  <a:lnTo>
                    <a:pt x="7566782" y="4794447"/>
                  </a:lnTo>
                  <a:lnTo>
                    <a:pt x="7587608" y="4777155"/>
                  </a:lnTo>
                  <a:lnTo>
                    <a:pt x="7618017" y="4769102"/>
                  </a:lnTo>
                  <a:lnTo>
                    <a:pt x="7649752" y="4764519"/>
                  </a:lnTo>
                  <a:lnTo>
                    <a:pt x="7681499" y="4759942"/>
                  </a:lnTo>
                  <a:lnTo>
                    <a:pt x="7713677" y="4759052"/>
                  </a:lnTo>
                  <a:lnTo>
                    <a:pt x="7738170" y="4752279"/>
                  </a:lnTo>
                  <a:lnTo>
                    <a:pt x="7779038" y="4740995"/>
                  </a:lnTo>
                  <a:lnTo>
                    <a:pt x="7826093" y="4701485"/>
                  </a:lnTo>
                  <a:lnTo>
                    <a:pt x="7864666" y="4682913"/>
                  </a:lnTo>
                  <a:lnTo>
                    <a:pt x="7881735" y="4668906"/>
                  </a:lnTo>
                  <a:lnTo>
                    <a:pt x="7878800" y="4594245"/>
                  </a:lnTo>
                  <a:lnTo>
                    <a:pt x="7893228" y="4561851"/>
                  </a:lnTo>
                  <a:lnTo>
                    <a:pt x="7992305" y="4458957"/>
                  </a:lnTo>
                  <a:lnTo>
                    <a:pt x="8007485" y="4442153"/>
                  </a:lnTo>
                  <a:lnTo>
                    <a:pt x="8023352" y="4424617"/>
                  </a:lnTo>
                  <a:lnTo>
                    <a:pt x="8022363" y="4380089"/>
                  </a:lnTo>
                  <a:lnTo>
                    <a:pt x="8022450" y="4330621"/>
                  </a:lnTo>
                  <a:lnTo>
                    <a:pt x="8022515" y="4281145"/>
                  </a:lnTo>
                  <a:lnTo>
                    <a:pt x="8023273" y="4226242"/>
                  </a:lnTo>
                  <a:lnTo>
                    <a:pt x="8040137" y="4190518"/>
                  </a:lnTo>
                  <a:lnTo>
                    <a:pt x="8053228" y="4162780"/>
                  </a:lnTo>
                  <a:lnTo>
                    <a:pt x="8072788" y="4143635"/>
                  </a:lnTo>
                  <a:lnTo>
                    <a:pt x="8093179" y="4123870"/>
                  </a:lnTo>
                  <a:lnTo>
                    <a:pt x="8113572" y="4104105"/>
                  </a:lnTo>
                  <a:lnTo>
                    <a:pt x="8134603" y="4084637"/>
                  </a:lnTo>
                  <a:lnTo>
                    <a:pt x="8148946" y="4058581"/>
                  </a:lnTo>
                  <a:lnTo>
                    <a:pt x="8158285" y="4017290"/>
                  </a:lnTo>
                  <a:lnTo>
                    <a:pt x="8161193" y="3990569"/>
                  </a:lnTo>
                  <a:lnTo>
                    <a:pt x="8164094" y="3963848"/>
                  </a:lnTo>
                  <a:lnTo>
                    <a:pt x="8170043" y="3934481"/>
                  </a:lnTo>
                  <a:lnTo>
                    <a:pt x="8188396" y="3911678"/>
                  </a:lnTo>
                  <a:lnTo>
                    <a:pt x="8203400" y="3893033"/>
                  </a:lnTo>
                  <a:lnTo>
                    <a:pt x="8237364" y="3872232"/>
                  </a:lnTo>
                  <a:lnTo>
                    <a:pt x="8271005" y="3853859"/>
                  </a:lnTo>
                  <a:lnTo>
                    <a:pt x="8304375" y="3836196"/>
                  </a:lnTo>
                  <a:lnTo>
                    <a:pt x="8333933" y="3811022"/>
                  </a:lnTo>
                  <a:lnTo>
                    <a:pt x="8347861" y="3795217"/>
                  </a:lnTo>
                  <a:lnTo>
                    <a:pt x="8360536" y="3773713"/>
                  </a:lnTo>
                  <a:lnTo>
                    <a:pt x="8369302" y="3743012"/>
                  </a:lnTo>
                  <a:lnTo>
                    <a:pt x="8381351" y="3700815"/>
                  </a:lnTo>
                  <a:lnTo>
                    <a:pt x="8380526" y="3662609"/>
                  </a:lnTo>
                  <a:lnTo>
                    <a:pt x="8372019" y="3626035"/>
                  </a:lnTo>
                  <a:lnTo>
                    <a:pt x="8363518" y="3589462"/>
                  </a:lnTo>
                  <a:lnTo>
                    <a:pt x="8347044" y="3554967"/>
                  </a:lnTo>
                  <a:lnTo>
                    <a:pt x="8327134" y="3518580"/>
                  </a:lnTo>
                  <a:lnTo>
                    <a:pt x="8297991" y="3465321"/>
                  </a:lnTo>
                  <a:lnTo>
                    <a:pt x="8253661" y="3404514"/>
                  </a:lnTo>
                  <a:lnTo>
                    <a:pt x="8237358" y="3345834"/>
                  </a:lnTo>
                  <a:lnTo>
                    <a:pt x="8310521" y="3302287"/>
                  </a:lnTo>
                  <a:lnTo>
                    <a:pt x="8358499" y="3304296"/>
                  </a:lnTo>
                  <a:lnTo>
                    <a:pt x="8401940" y="3298228"/>
                  </a:lnTo>
                  <a:lnTo>
                    <a:pt x="8423663" y="3295194"/>
                  </a:lnTo>
                  <a:lnTo>
                    <a:pt x="8444661" y="3290546"/>
                  </a:lnTo>
                  <a:lnTo>
                    <a:pt x="8465871" y="3279185"/>
                  </a:lnTo>
                  <a:lnTo>
                    <a:pt x="8487087" y="3267824"/>
                  </a:lnTo>
                  <a:lnTo>
                    <a:pt x="8508785" y="3249461"/>
                  </a:lnTo>
                  <a:lnTo>
                    <a:pt x="8532520" y="3220697"/>
                  </a:lnTo>
                  <a:lnTo>
                    <a:pt x="8549204" y="3200482"/>
                  </a:lnTo>
                  <a:lnTo>
                    <a:pt x="8569246" y="3163568"/>
                  </a:lnTo>
                  <a:lnTo>
                    <a:pt x="8578176" y="3138065"/>
                  </a:lnTo>
                  <a:lnTo>
                    <a:pt x="8588972" y="3110945"/>
                  </a:lnTo>
                  <a:lnTo>
                    <a:pt x="8580128" y="3083316"/>
                  </a:lnTo>
                  <a:lnTo>
                    <a:pt x="8569595" y="3058747"/>
                  </a:lnTo>
                  <a:lnTo>
                    <a:pt x="8546830" y="3042245"/>
                  </a:lnTo>
                  <a:lnTo>
                    <a:pt x="8524360" y="3026188"/>
                  </a:lnTo>
                  <a:lnTo>
                    <a:pt x="8501892" y="3010131"/>
                  </a:lnTo>
                  <a:lnTo>
                    <a:pt x="8479555" y="2994117"/>
                  </a:lnTo>
                  <a:lnTo>
                    <a:pt x="8469953" y="2969060"/>
                  </a:lnTo>
                  <a:lnTo>
                    <a:pt x="8474477" y="2925682"/>
                  </a:lnTo>
                  <a:lnTo>
                    <a:pt x="8495139" y="2887809"/>
                  </a:lnTo>
                  <a:lnTo>
                    <a:pt x="8503957" y="2845282"/>
                  </a:lnTo>
                  <a:lnTo>
                    <a:pt x="8509865" y="2816823"/>
                  </a:lnTo>
                  <a:lnTo>
                    <a:pt x="8519091" y="2785135"/>
                  </a:lnTo>
                  <a:lnTo>
                    <a:pt x="8523002" y="2756869"/>
                  </a:lnTo>
                  <a:lnTo>
                    <a:pt x="8527104" y="2727242"/>
                  </a:lnTo>
                  <a:lnTo>
                    <a:pt x="8524044" y="2696637"/>
                  </a:lnTo>
                  <a:lnTo>
                    <a:pt x="8528436" y="2667095"/>
                  </a:lnTo>
                  <a:lnTo>
                    <a:pt x="8540722" y="2629093"/>
                  </a:lnTo>
                  <a:lnTo>
                    <a:pt x="8561913" y="2607692"/>
                  </a:lnTo>
                  <a:lnTo>
                    <a:pt x="8594524" y="2608628"/>
                  </a:lnTo>
                  <a:lnTo>
                    <a:pt x="8617421" y="2624910"/>
                  </a:lnTo>
                  <a:lnTo>
                    <a:pt x="8637259" y="2649413"/>
                  </a:lnTo>
                  <a:lnTo>
                    <a:pt x="8656061" y="2675528"/>
                  </a:lnTo>
                  <a:lnTo>
                    <a:pt x="8668803" y="2708072"/>
                  </a:lnTo>
                  <a:lnTo>
                    <a:pt x="8682110" y="2749355"/>
                  </a:lnTo>
                  <a:lnTo>
                    <a:pt x="8724021" y="2787450"/>
                  </a:lnTo>
                  <a:lnTo>
                    <a:pt x="8767839" y="2822158"/>
                  </a:lnTo>
                  <a:lnTo>
                    <a:pt x="8811648" y="2856867"/>
                  </a:lnTo>
                  <a:lnTo>
                    <a:pt x="8858115" y="2887597"/>
                  </a:lnTo>
                  <a:lnTo>
                    <a:pt x="8883453" y="2895609"/>
                  </a:lnTo>
                  <a:lnTo>
                    <a:pt x="8905824" y="2856173"/>
                  </a:lnTo>
                  <a:lnTo>
                    <a:pt x="8904861" y="2831962"/>
                  </a:lnTo>
                  <a:lnTo>
                    <a:pt x="8894691" y="2793311"/>
                  </a:lnTo>
                  <a:lnTo>
                    <a:pt x="8872572" y="2765030"/>
                  </a:lnTo>
                  <a:lnTo>
                    <a:pt x="8847531" y="2738753"/>
                  </a:lnTo>
                  <a:lnTo>
                    <a:pt x="8811352" y="2718156"/>
                  </a:lnTo>
                  <a:lnTo>
                    <a:pt x="8778720" y="2673896"/>
                  </a:lnTo>
                  <a:lnTo>
                    <a:pt x="8785684" y="2609024"/>
                  </a:lnTo>
                  <a:lnTo>
                    <a:pt x="8799117" y="2561000"/>
                  </a:lnTo>
                  <a:lnTo>
                    <a:pt x="8812558" y="2512976"/>
                  </a:lnTo>
                  <a:lnTo>
                    <a:pt x="8829309" y="2466062"/>
                  </a:lnTo>
                  <a:lnTo>
                    <a:pt x="8867916" y="2431228"/>
                  </a:lnTo>
                  <a:lnTo>
                    <a:pt x="8892950" y="2433226"/>
                  </a:lnTo>
                  <a:lnTo>
                    <a:pt x="8922897" y="2420899"/>
                  </a:lnTo>
                  <a:lnTo>
                    <a:pt x="8977305" y="2393695"/>
                  </a:lnTo>
                  <a:lnTo>
                    <a:pt x="9003151" y="2378733"/>
                  </a:lnTo>
                  <a:lnTo>
                    <a:pt x="9025593" y="2371549"/>
                  </a:lnTo>
                  <a:lnTo>
                    <a:pt x="9063402" y="2372149"/>
                  </a:lnTo>
                  <a:lnTo>
                    <a:pt x="9087480" y="2369212"/>
                  </a:lnTo>
                  <a:lnTo>
                    <a:pt x="9110424" y="2366413"/>
                  </a:lnTo>
                  <a:lnTo>
                    <a:pt x="9131449" y="2357180"/>
                  </a:lnTo>
                  <a:lnTo>
                    <a:pt x="9148687" y="2344728"/>
                  </a:lnTo>
                  <a:lnTo>
                    <a:pt x="9165419" y="2326117"/>
                  </a:lnTo>
                  <a:lnTo>
                    <a:pt x="9209802" y="2224812"/>
                  </a:lnTo>
                  <a:lnTo>
                    <a:pt x="9241926" y="2134322"/>
                  </a:lnTo>
                  <a:lnTo>
                    <a:pt x="9273833" y="2044124"/>
                  </a:lnTo>
                  <a:lnTo>
                    <a:pt x="9287497" y="2005529"/>
                  </a:lnTo>
                  <a:lnTo>
                    <a:pt x="9352528" y="1972353"/>
                  </a:lnTo>
                  <a:lnTo>
                    <a:pt x="9341839" y="1886341"/>
                  </a:lnTo>
                  <a:lnTo>
                    <a:pt x="9324264" y="1744711"/>
                  </a:lnTo>
                  <a:lnTo>
                    <a:pt x="9095750" y="1789236"/>
                  </a:lnTo>
                  <a:lnTo>
                    <a:pt x="9004509" y="1761203"/>
                  </a:lnTo>
                  <a:lnTo>
                    <a:pt x="8940347" y="1741501"/>
                  </a:lnTo>
                  <a:lnTo>
                    <a:pt x="8886236" y="1696487"/>
                  </a:lnTo>
                  <a:lnTo>
                    <a:pt x="8822246" y="1678231"/>
                  </a:lnTo>
                  <a:lnTo>
                    <a:pt x="8754318" y="1658869"/>
                  </a:lnTo>
                  <a:lnTo>
                    <a:pt x="8655025" y="1681931"/>
                  </a:lnTo>
                  <a:lnTo>
                    <a:pt x="8600533" y="1630624"/>
                  </a:lnTo>
                  <a:lnTo>
                    <a:pt x="8576046" y="1626546"/>
                  </a:lnTo>
                  <a:lnTo>
                    <a:pt x="8541660" y="1623081"/>
                  </a:lnTo>
                  <a:lnTo>
                    <a:pt x="8465362" y="1610287"/>
                  </a:lnTo>
                  <a:lnTo>
                    <a:pt x="8440026" y="1630624"/>
                  </a:lnTo>
                  <a:lnTo>
                    <a:pt x="8432375" y="1671387"/>
                  </a:lnTo>
                  <a:lnTo>
                    <a:pt x="8440618" y="1733999"/>
                  </a:lnTo>
                  <a:lnTo>
                    <a:pt x="8401940" y="1761203"/>
                  </a:lnTo>
                  <a:lnTo>
                    <a:pt x="8364065" y="1787854"/>
                  </a:lnTo>
                  <a:lnTo>
                    <a:pt x="8177020" y="1807173"/>
                  </a:lnTo>
                  <a:lnTo>
                    <a:pt x="8132623" y="1795208"/>
                  </a:lnTo>
                  <a:lnTo>
                    <a:pt x="8095876" y="1785304"/>
                  </a:lnTo>
                  <a:lnTo>
                    <a:pt x="8069458" y="1763392"/>
                  </a:lnTo>
                  <a:lnTo>
                    <a:pt x="8029248" y="1761203"/>
                  </a:lnTo>
                  <a:lnTo>
                    <a:pt x="7937883" y="1756230"/>
                  </a:lnTo>
                  <a:lnTo>
                    <a:pt x="7808260" y="1856162"/>
                  </a:lnTo>
                  <a:lnTo>
                    <a:pt x="7743603" y="1770724"/>
                  </a:lnTo>
                  <a:lnTo>
                    <a:pt x="7720825" y="1707114"/>
                  </a:lnTo>
                  <a:lnTo>
                    <a:pt x="7869487" y="1608266"/>
                  </a:lnTo>
                  <a:lnTo>
                    <a:pt x="7833379" y="1498684"/>
                  </a:lnTo>
                  <a:lnTo>
                    <a:pt x="7796594" y="1387063"/>
                  </a:lnTo>
                  <a:lnTo>
                    <a:pt x="7548651" y="1522956"/>
                  </a:lnTo>
                  <a:lnTo>
                    <a:pt x="7487886" y="1415712"/>
                  </a:lnTo>
                  <a:lnTo>
                    <a:pt x="7467614" y="1379965"/>
                  </a:lnTo>
                  <a:lnTo>
                    <a:pt x="7505297" y="1193171"/>
                  </a:lnTo>
                  <a:lnTo>
                    <a:pt x="7508291" y="1145032"/>
                  </a:lnTo>
                  <a:lnTo>
                    <a:pt x="7510520" y="1109030"/>
                  </a:lnTo>
                  <a:lnTo>
                    <a:pt x="7511008" y="1069478"/>
                  </a:lnTo>
                  <a:lnTo>
                    <a:pt x="7511008" y="1033496"/>
                  </a:lnTo>
                  <a:lnTo>
                    <a:pt x="7496558" y="978281"/>
                  </a:lnTo>
                  <a:lnTo>
                    <a:pt x="7458196" y="918007"/>
                  </a:lnTo>
                  <a:lnTo>
                    <a:pt x="7249936" y="907699"/>
                  </a:lnTo>
                  <a:lnTo>
                    <a:pt x="7195442" y="901557"/>
                  </a:lnTo>
                  <a:lnTo>
                    <a:pt x="7153723" y="896882"/>
                  </a:lnTo>
                  <a:lnTo>
                    <a:pt x="7112109" y="887890"/>
                  </a:lnTo>
                  <a:lnTo>
                    <a:pt x="7070303" y="885235"/>
                  </a:lnTo>
                  <a:lnTo>
                    <a:pt x="7016087" y="881792"/>
                  </a:lnTo>
                  <a:lnTo>
                    <a:pt x="6900729" y="889061"/>
                  </a:lnTo>
                  <a:lnTo>
                    <a:pt x="6847230" y="898837"/>
                  </a:lnTo>
                  <a:lnTo>
                    <a:pt x="6756585" y="915393"/>
                  </a:lnTo>
                  <a:lnTo>
                    <a:pt x="6704392" y="1002212"/>
                  </a:lnTo>
                  <a:lnTo>
                    <a:pt x="6605119" y="1002212"/>
                  </a:lnTo>
                  <a:lnTo>
                    <a:pt x="6462999" y="1002212"/>
                  </a:lnTo>
                  <a:lnTo>
                    <a:pt x="6130491" y="866511"/>
                  </a:lnTo>
                  <a:lnTo>
                    <a:pt x="5988951" y="807703"/>
                  </a:lnTo>
                  <a:lnTo>
                    <a:pt x="5954855" y="793549"/>
                  </a:lnTo>
                  <a:lnTo>
                    <a:pt x="5918662" y="771956"/>
                  </a:lnTo>
                  <a:lnTo>
                    <a:pt x="5885568" y="754656"/>
                  </a:lnTo>
                  <a:lnTo>
                    <a:pt x="5825680" y="723350"/>
                  </a:lnTo>
                  <a:lnTo>
                    <a:pt x="5760430" y="699143"/>
                  </a:lnTo>
                  <a:lnTo>
                    <a:pt x="5693783" y="679845"/>
                  </a:lnTo>
                  <a:lnTo>
                    <a:pt x="5650044" y="663416"/>
                  </a:lnTo>
                  <a:lnTo>
                    <a:pt x="5604013" y="638890"/>
                  </a:lnTo>
                  <a:lnTo>
                    <a:pt x="5559121" y="626797"/>
                  </a:lnTo>
                  <a:lnTo>
                    <a:pt x="5430817" y="592218"/>
                  </a:lnTo>
                  <a:lnTo>
                    <a:pt x="5176188" y="670323"/>
                  </a:lnTo>
                  <a:lnTo>
                    <a:pt x="5030005" y="670323"/>
                  </a:lnTo>
                  <a:lnTo>
                    <a:pt x="4968435" y="670323"/>
                  </a:lnTo>
                  <a:lnTo>
                    <a:pt x="4899934" y="672957"/>
                  </a:lnTo>
                  <a:lnTo>
                    <a:pt x="4840943" y="655362"/>
                  </a:lnTo>
                  <a:lnTo>
                    <a:pt x="4801050" y="613535"/>
                  </a:lnTo>
                  <a:lnTo>
                    <a:pt x="4821086" y="500193"/>
                  </a:lnTo>
                  <a:lnTo>
                    <a:pt x="4828696" y="445891"/>
                  </a:lnTo>
                  <a:lnTo>
                    <a:pt x="4808634" y="418772"/>
                  </a:lnTo>
                  <a:lnTo>
                    <a:pt x="4516572" y="426062"/>
                  </a:lnTo>
                  <a:lnTo>
                    <a:pt x="4469603" y="430929"/>
                  </a:lnTo>
                  <a:lnTo>
                    <a:pt x="4414219" y="436667"/>
                  </a:lnTo>
                  <a:lnTo>
                    <a:pt x="4355010" y="456006"/>
                  </a:lnTo>
                  <a:lnTo>
                    <a:pt x="4299580" y="454052"/>
                  </a:lnTo>
                  <a:lnTo>
                    <a:pt x="4258560" y="452607"/>
                  </a:lnTo>
                  <a:lnTo>
                    <a:pt x="4210997" y="427953"/>
                  </a:lnTo>
                  <a:lnTo>
                    <a:pt x="4170360" y="420047"/>
                  </a:lnTo>
                  <a:lnTo>
                    <a:pt x="4072939" y="401174"/>
                  </a:lnTo>
                  <a:lnTo>
                    <a:pt x="3977618" y="452820"/>
                  </a:lnTo>
                  <a:lnTo>
                    <a:pt x="3877915" y="394204"/>
                  </a:lnTo>
                  <a:lnTo>
                    <a:pt x="3847421" y="376266"/>
                  </a:lnTo>
                  <a:lnTo>
                    <a:pt x="3790612" y="330423"/>
                  </a:lnTo>
                  <a:lnTo>
                    <a:pt x="3770465" y="301710"/>
                  </a:lnTo>
                  <a:lnTo>
                    <a:pt x="3754650" y="269766"/>
                  </a:lnTo>
                  <a:lnTo>
                    <a:pt x="3727532" y="231149"/>
                  </a:lnTo>
                  <a:lnTo>
                    <a:pt x="3701199" y="212850"/>
                  </a:lnTo>
                  <a:lnTo>
                    <a:pt x="3683412" y="188813"/>
                  </a:lnTo>
                  <a:lnTo>
                    <a:pt x="3671548" y="153852"/>
                  </a:lnTo>
                  <a:lnTo>
                    <a:pt x="3656498" y="136956"/>
                  </a:lnTo>
                  <a:lnTo>
                    <a:pt x="3633298" y="124246"/>
                  </a:lnTo>
                  <a:lnTo>
                    <a:pt x="3612167" y="116511"/>
                  </a:lnTo>
                  <a:lnTo>
                    <a:pt x="3581395" y="118082"/>
                  </a:lnTo>
                  <a:lnTo>
                    <a:pt x="3545519" y="131302"/>
                  </a:lnTo>
                  <a:lnTo>
                    <a:pt x="3480230" y="151811"/>
                  </a:lnTo>
                  <a:lnTo>
                    <a:pt x="3332477" y="156041"/>
                  </a:lnTo>
                  <a:lnTo>
                    <a:pt x="3278070" y="149367"/>
                  </a:lnTo>
                  <a:lnTo>
                    <a:pt x="3221452" y="145924"/>
                  </a:lnTo>
                  <a:lnTo>
                    <a:pt x="3166728" y="136828"/>
                  </a:lnTo>
                  <a:lnTo>
                    <a:pt x="3110764" y="130324"/>
                  </a:lnTo>
                  <a:lnTo>
                    <a:pt x="3089191" y="132025"/>
                  </a:lnTo>
                  <a:lnTo>
                    <a:pt x="3035469" y="122546"/>
                  </a:lnTo>
                  <a:lnTo>
                    <a:pt x="2989813" y="107137"/>
                  </a:lnTo>
                  <a:lnTo>
                    <a:pt x="2946182" y="99039"/>
                  </a:lnTo>
                  <a:lnTo>
                    <a:pt x="2913430" y="92961"/>
                  </a:lnTo>
                  <a:lnTo>
                    <a:pt x="2878339" y="96851"/>
                  </a:lnTo>
                  <a:lnTo>
                    <a:pt x="2845529" y="88158"/>
                  </a:lnTo>
                  <a:lnTo>
                    <a:pt x="2735435" y="59020"/>
                  </a:lnTo>
                  <a:lnTo>
                    <a:pt x="2698133" y="25695"/>
                  </a:lnTo>
                  <a:lnTo>
                    <a:pt x="2570766" y="10627"/>
                  </a:lnTo>
                  <a:lnTo>
                    <a:pt x="2547302" y="7843"/>
                  </a:lnTo>
                  <a:lnTo>
                    <a:pt x="2520994" y="0"/>
                  </a:lnTo>
                  <a:lnTo>
                    <a:pt x="2497319" y="2466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24" name="Volyn¬0" descr="Volyn¬0">
              <a:extLst>
                <a:ext uri="{FF2B5EF4-FFF2-40B4-BE49-F238E27FC236}">
                  <a16:creationId xmlns:a16="http://schemas.microsoft.com/office/drawing/2014/main" id="{1C2B6061-D9D2-497E-B2DA-ACEE00B5D804}"/>
                </a:ext>
              </a:extLst>
            </p:cNvPr>
            <p:cNvSpPr/>
            <p:nvPr/>
          </p:nvSpPr>
          <p:spPr>
            <a:xfrm>
              <a:off x="1377266" y="1370587"/>
              <a:ext cx="855751" cy="756853"/>
            </a:xfrm>
            <a:custGeom>
              <a:avLst/>
              <a:gdLst/>
              <a:ahLst/>
              <a:cxnLst/>
              <a:rect l="0" t="0" r="0" b="0"/>
              <a:pathLst>
                <a:path w="8732468" h="8767178">
                  <a:moveTo>
                    <a:pt x="5704370" y="14983"/>
                  </a:moveTo>
                  <a:lnTo>
                    <a:pt x="5671725" y="38276"/>
                  </a:lnTo>
                  <a:lnTo>
                    <a:pt x="5633449" y="54323"/>
                  </a:lnTo>
                  <a:lnTo>
                    <a:pt x="5609839" y="50199"/>
                  </a:lnTo>
                  <a:lnTo>
                    <a:pt x="5587693" y="52388"/>
                  </a:lnTo>
                  <a:lnTo>
                    <a:pt x="5514430" y="23782"/>
                  </a:lnTo>
                  <a:lnTo>
                    <a:pt x="5543633" y="0"/>
                  </a:lnTo>
                  <a:lnTo>
                    <a:pt x="5443508" y="33346"/>
                  </a:lnTo>
                  <a:lnTo>
                    <a:pt x="5406953" y="54705"/>
                  </a:lnTo>
                  <a:lnTo>
                    <a:pt x="5358626" y="72834"/>
                  </a:lnTo>
                  <a:lnTo>
                    <a:pt x="5321727" y="78105"/>
                  </a:lnTo>
                  <a:lnTo>
                    <a:pt x="5291167" y="86394"/>
                  </a:lnTo>
                  <a:lnTo>
                    <a:pt x="5246769" y="98423"/>
                  </a:lnTo>
                  <a:lnTo>
                    <a:pt x="5206772" y="115511"/>
                  </a:lnTo>
                  <a:lnTo>
                    <a:pt x="5164670" y="132640"/>
                  </a:lnTo>
                  <a:lnTo>
                    <a:pt x="5134471" y="144946"/>
                  </a:lnTo>
                  <a:lnTo>
                    <a:pt x="5101484" y="151407"/>
                  </a:lnTo>
                  <a:lnTo>
                    <a:pt x="5070817" y="162565"/>
                  </a:lnTo>
                  <a:lnTo>
                    <a:pt x="5004631" y="186666"/>
                  </a:lnTo>
                  <a:lnTo>
                    <a:pt x="4922281" y="249724"/>
                  </a:lnTo>
                  <a:lnTo>
                    <a:pt x="4859985" y="268660"/>
                  </a:lnTo>
                  <a:lnTo>
                    <a:pt x="4806428" y="284919"/>
                  </a:lnTo>
                  <a:lnTo>
                    <a:pt x="4749982" y="266599"/>
                  </a:lnTo>
                  <a:lnTo>
                    <a:pt x="4698120" y="275461"/>
                  </a:lnTo>
                  <a:lnTo>
                    <a:pt x="4668726" y="280478"/>
                  </a:lnTo>
                  <a:lnTo>
                    <a:pt x="4634235" y="295418"/>
                  </a:lnTo>
                  <a:lnTo>
                    <a:pt x="4606991" y="306746"/>
                  </a:lnTo>
                  <a:lnTo>
                    <a:pt x="4549411" y="330720"/>
                  </a:lnTo>
                  <a:lnTo>
                    <a:pt x="4436493" y="345384"/>
                  </a:lnTo>
                  <a:lnTo>
                    <a:pt x="4374395" y="343471"/>
                  </a:lnTo>
                  <a:lnTo>
                    <a:pt x="4341922" y="342451"/>
                  </a:lnTo>
                  <a:lnTo>
                    <a:pt x="4307444" y="340219"/>
                  </a:lnTo>
                  <a:lnTo>
                    <a:pt x="4275096" y="335310"/>
                  </a:lnTo>
                  <a:lnTo>
                    <a:pt x="4243625" y="330528"/>
                  </a:lnTo>
                  <a:lnTo>
                    <a:pt x="4218525" y="319413"/>
                  </a:lnTo>
                  <a:lnTo>
                    <a:pt x="4185326" y="321708"/>
                  </a:lnTo>
                  <a:lnTo>
                    <a:pt x="4098867" y="327659"/>
                  </a:lnTo>
                  <a:lnTo>
                    <a:pt x="4024187" y="383555"/>
                  </a:lnTo>
                  <a:lnTo>
                    <a:pt x="3937767" y="392438"/>
                  </a:lnTo>
                  <a:lnTo>
                    <a:pt x="3886887" y="397667"/>
                  </a:lnTo>
                  <a:lnTo>
                    <a:pt x="3827619" y="356754"/>
                  </a:lnTo>
                  <a:lnTo>
                    <a:pt x="3777267" y="344831"/>
                  </a:lnTo>
                  <a:lnTo>
                    <a:pt x="3744814" y="337138"/>
                  </a:lnTo>
                  <a:lnTo>
                    <a:pt x="3712637" y="333610"/>
                  </a:lnTo>
                  <a:lnTo>
                    <a:pt x="3679332" y="332589"/>
                  </a:lnTo>
                  <a:lnTo>
                    <a:pt x="3567687" y="329104"/>
                  </a:lnTo>
                  <a:lnTo>
                    <a:pt x="3456623" y="353397"/>
                  </a:lnTo>
                  <a:lnTo>
                    <a:pt x="3346085" y="363874"/>
                  </a:lnTo>
                  <a:lnTo>
                    <a:pt x="3311356" y="367168"/>
                  </a:lnTo>
                  <a:lnTo>
                    <a:pt x="3277373" y="381004"/>
                  </a:lnTo>
                  <a:lnTo>
                    <a:pt x="3242710" y="384277"/>
                  </a:lnTo>
                  <a:lnTo>
                    <a:pt x="3183772" y="389867"/>
                  </a:lnTo>
                  <a:lnTo>
                    <a:pt x="3120883" y="394564"/>
                  </a:lnTo>
                  <a:lnTo>
                    <a:pt x="3061799" y="396519"/>
                  </a:lnTo>
                  <a:lnTo>
                    <a:pt x="3008651" y="398262"/>
                  </a:lnTo>
                  <a:lnTo>
                    <a:pt x="2790294" y="388931"/>
                  </a:lnTo>
                  <a:lnTo>
                    <a:pt x="2755756" y="407400"/>
                  </a:lnTo>
                  <a:lnTo>
                    <a:pt x="2698650" y="437963"/>
                  </a:lnTo>
                  <a:lnTo>
                    <a:pt x="2684326" y="504867"/>
                  </a:lnTo>
                  <a:lnTo>
                    <a:pt x="2649663" y="554302"/>
                  </a:lnTo>
                  <a:lnTo>
                    <a:pt x="2636612" y="572877"/>
                  </a:lnTo>
                  <a:lnTo>
                    <a:pt x="2623713" y="595533"/>
                  </a:lnTo>
                  <a:lnTo>
                    <a:pt x="2607495" y="611430"/>
                  </a:lnTo>
                  <a:lnTo>
                    <a:pt x="2573980" y="644245"/>
                  </a:lnTo>
                  <a:lnTo>
                    <a:pt x="2500507" y="698738"/>
                  </a:lnTo>
                  <a:lnTo>
                    <a:pt x="2482357" y="739289"/>
                  </a:lnTo>
                  <a:lnTo>
                    <a:pt x="2459190" y="791189"/>
                  </a:lnTo>
                  <a:lnTo>
                    <a:pt x="2460786" y="833185"/>
                  </a:lnTo>
                  <a:lnTo>
                    <a:pt x="2452437" y="887550"/>
                  </a:lnTo>
                  <a:lnTo>
                    <a:pt x="2449132" y="908910"/>
                  </a:lnTo>
                  <a:lnTo>
                    <a:pt x="2441740" y="929420"/>
                  </a:lnTo>
                  <a:lnTo>
                    <a:pt x="2437473" y="950119"/>
                  </a:lnTo>
                  <a:lnTo>
                    <a:pt x="2423168" y="1019533"/>
                  </a:lnTo>
                  <a:lnTo>
                    <a:pt x="2431392" y="1040913"/>
                  </a:lnTo>
                  <a:lnTo>
                    <a:pt x="2402104" y="1121505"/>
                  </a:lnTo>
                  <a:lnTo>
                    <a:pt x="2373885" y="1201353"/>
                  </a:lnTo>
                  <a:lnTo>
                    <a:pt x="2270483" y="1253211"/>
                  </a:lnTo>
                  <a:lnTo>
                    <a:pt x="2203519" y="1298331"/>
                  </a:lnTo>
                  <a:lnTo>
                    <a:pt x="2170149" y="1320795"/>
                  </a:lnTo>
                  <a:lnTo>
                    <a:pt x="2139779" y="1351824"/>
                  </a:lnTo>
                  <a:lnTo>
                    <a:pt x="2108301" y="1377222"/>
                  </a:lnTo>
                  <a:lnTo>
                    <a:pt x="2081183" y="1399113"/>
                  </a:lnTo>
                  <a:lnTo>
                    <a:pt x="2048413" y="1417773"/>
                  </a:lnTo>
                  <a:lnTo>
                    <a:pt x="2019890" y="1438431"/>
                  </a:lnTo>
                  <a:lnTo>
                    <a:pt x="1995324" y="1456220"/>
                  </a:lnTo>
                  <a:lnTo>
                    <a:pt x="1963484" y="1466336"/>
                  </a:lnTo>
                  <a:lnTo>
                    <a:pt x="1938278" y="1483318"/>
                  </a:lnTo>
                  <a:lnTo>
                    <a:pt x="1901511" y="1508099"/>
                  </a:lnTo>
                  <a:lnTo>
                    <a:pt x="1857557" y="1537810"/>
                  </a:lnTo>
                  <a:lnTo>
                    <a:pt x="1825380" y="1569010"/>
                  </a:lnTo>
                  <a:lnTo>
                    <a:pt x="1779004" y="1614025"/>
                  </a:lnTo>
                  <a:lnTo>
                    <a:pt x="1743623" y="1673448"/>
                  </a:lnTo>
                  <a:lnTo>
                    <a:pt x="1697525" y="1718632"/>
                  </a:lnTo>
                  <a:lnTo>
                    <a:pt x="1651743" y="1763477"/>
                  </a:lnTo>
                  <a:lnTo>
                    <a:pt x="1589579" y="1820094"/>
                  </a:lnTo>
                  <a:lnTo>
                    <a:pt x="1535659" y="1854652"/>
                  </a:lnTo>
                  <a:lnTo>
                    <a:pt x="1503014" y="1875586"/>
                  </a:lnTo>
                  <a:lnTo>
                    <a:pt x="1468649" y="1892440"/>
                  </a:lnTo>
                  <a:lnTo>
                    <a:pt x="1435001" y="1911781"/>
                  </a:lnTo>
                  <a:lnTo>
                    <a:pt x="1351503" y="1959812"/>
                  </a:lnTo>
                  <a:lnTo>
                    <a:pt x="1326509" y="1979726"/>
                  </a:lnTo>
                  <a:lnTo>
                    <a:pt x="1222810" y="1986591"/>
                  </a:lnTo>
                  <a:lnTo>
                    <a:pt x="1184835" y="1971884"/>
                  </a:lnTo>
                  <a:lnTo>
                    <a:pt x="1168679" y="1946338"/>
                  </a:lnTo>
                  <a:lnTo>
                    <a:pt x="1165686" y="1919942"/>
                  </a:lnTo>
                  <a:lnTo>
                    <a:pt x="1153571" y="1876479"/>
                  </a:lnTo>
                  <a:lnTo>
                    <a:pt x="1104667" y="1776653"/>
                  </a:lnTo>
                  <a:lnTo>
                    <a:pt x="1071832" y="1747196"/>
                  </a:lnTo>
                  <a:lnTo>
                    <a:pt x="1020909" y="1701503"/>
                  </a:lnTo>
                  <a:lnTo>
                    <a:pt x="854518" y="1711916"/>
                  </a:lnTo>
                  <a:lnTo>
                    <a:pt x="782109" y="1707751"/>
                  </a:lnTo>
                  <a:lnTo>
                    <a:pt x="674717" y="1701566"/>
                  </a:lnTo>
                  <a:lnTo>
                    <a:pt x="624156" y="1628158"/>
                  </a:lnTo>
                  <a:lnTo>
                    <a:pt x="520951" y="1631579"/>
                  </a:lnTo>
                  <a:lnTo>
                    <a:pt x="480039" y="1632920"/>
                  </a:lnTo>
                  <a:lnTo>
                    <a:pt x="405143" y="1653831"/>
                  </a:lnTo>
                  <a:lnTo>
                    <a:pt x="375410" y="1683267"/>
                  </a:lnTo>
                  <a:lnTo>
                    <a:pt x="321937" y="1691725"/>
                  </a:lnTo>
                  <a:lnTo>
                    <a:pt x="270441" y="1684011"/>
                  </a:lnTo>
                  <a:lnTo>
                    <a:pt x="216266" y="1695509"/>
                  </a:lnTo>
                  <a:lnTo>
                    <a:pt x="134017" y="1712894"/>
                  </a:lnTo>
                  <a:lnTo>
                    <a:pt x="6456" y="1796163"/>
                  </a:lnTo>
                  <a:lnTo>
                    <a:pt x="10877" y="1891377"/>
                  </a:lnTo>
                  <a:lnTo>
                    <a:pt x="13046" y="1937475"/>
                  </a:lnTo>
                  <a:lnTo>
                    <a:pt x="49685" y="1944574"/>
                  </a:lnTo>
                  <a:lnTo>
                    <a:pt x="66644" y="1979790"/>
                  </a:lnTo>
                  <a:lnTo>
                    <a:pt x="95464" y="2039597"/>
                  </a:lnTo>
                  <a:lnTo>
                    <a:pt x="103880" y="2105099"/>
                  </a:lnTo>
                  <a:lnTo>
                    <a:pt x="123773" y="2167498"/>
                  </a:lnTo>
                  <a:lnTo>
                    <a:pt x="130275" y="2187837"/>
                  </a:lnTo>
                  <a:lnTo>
                    <a:pt x="144135" y="2211024"/>
                  </a:lnTo>
                  <a:lnTo>
                    <a:pt x="151890" y="2249343"/>
                  </a:lnTo>
                  <a:lnTo>
                    <a:pt x="146107" y="2303433"/>
                  </a:lnTo>
                  <a:lnTo>
                    <a:pt x="130579" y="2336162"/>
                  </a:lnTo>
                  <a:lnTo>
                    <a:pt x="84992" y="2343601"/>
                  </a:lnTo>
                  <a:lnTo>
                    <a:pt x="65756" y="2270935"/>
                  </a:lnTo>
                  <a:lnTo>
                    <a:pt x="0" y="2288555"/>
                  </a:lnTo>
                  <a:lnTo>
                    <a:pt x="11775" y="2333591"/>
                  </a:lnTo>
                  <a:lnTo>
                    <a:pt x="9351" y="2392186"/>
                  </a:lnTo>
                  <a:lnTo>
                    <a:pt x="28564" y="2434097"/>
                  </a:lnTo>
                  <a:lnTo>
                    <a:pt x="48754" y="2532988"/>
                  </a:lnTo>
                  <a:lnTo>
                    <a:pt x="118783" y="2484360"/>
                  </a:lnTo>
                  <a:lnTo>
                    <a:pt x="172745" y="2514348"/>
                  </a:lnTo>
                  <a:lnTo>
                    <a:pt x="237418" y="2603675"/>
                  </a:lnTo>
                  <a:lnTo>
                    <a:pt x="111282" y="2643716"/>
                  </a:lnTo>
                  <a:lnTo>
                    <a:pt x="121058" y="2703416"/>
                  </a:lnTo>
                  <a:lnTo>
                    <a:pt x="166858" y="2755167"/>
                  </a:lnTo>
                  <a:lnTo>
                    <a:pt x="171130" y="2732405"/>
                  </a:lnTo>
                  <a:lnTo>
                    <a:pt x="214911" y="2761905"/>
                  </a:lnTo>
                  <a:lnTo>
                    <a:pt x="244665" y="2781946"/>
                  </a:lnTo>
                  <a:lnTo>
                    <a:pt x="224348" y="2811191"/>
                  </a:lnTo>
                  <a:lnTo>
                    <a:pt x="238035" y="2833995"/>
                  </a:lnTo>
                  <a:lnTo>
                    <a:pt x="263666" y="2876714"/>
                  </a:lnTo>
                  <a:lnTo>
                    <a:pt x="341792" y="2904513"/>
                  </a:lnTo>
                  <a:lnTo>
                    <a:pt x="300604" y="2976816"/>
                  </a:lnTo>
                  <a:lnTo>
                    <a:pt x="252997" y="3004020"/>
                  </a:lnTo>
                  <a:lnTo>
                    <a:pt x="239881" y="3055325"/>
                  </a:lnTo>
                  <a:lnTo>
                    <a:pt x="270592" y="3081020"/>
                  </a:lnTo>
                  <a:lnTo>
                    <a:pt x="270680" y="3111476"/>
                  </a:lnTo>
                  <a:lnTo>
                    <a:pt x="248256" y="3134323"/>
                  </a:lnTo>
                  <a:lnTo>
                    <a:pt x="191573" y="3158912"/>
                  </a:lnTo>
                  <a:lnTo>
                    <a:pt x="147516" y="3194448"/>
                  </a:lnTo>
                  <a:lnTo>
                    <a:pt x="129153" y="3267644"/>
                  </a:lnTo>
                  <a:lnTo>
                    <a:pt x="112894" y="3304624"/>
                  </a:lnTo>
                  <a:lnTo>
                    <a:pt x="98846" y="3325218"/>
                  </a:lnTo>
                  <a:lnTo>
                    <a:pt x="88019" y="3397308"/>
                  </a:lnTo>
                  <a:lnTo>
                    <a:pt x="89452" y="3431717"/>
                  </a:lnTo>
                  <a:lnTo>
                    <a:pt x="110833" y="3491290"/>
                  </a:lnTo>
                  <a:lnTo>
                    <a:pt x="127857" y="3510014"/>
                  </a:lnTo>
                  <a:lnTo>
                    <a:pt x="168322" y="3554584"/>
                  </a:lnTo>
                  <a:lnTo>
                    <a:pt x="245663" y="3525231"/>
                  </a:lnTo>
                  <a:lnTo>
                    <a:pt x="293801" y="3553540"/>
                  </a:lnTo>
                  <a:lnTo>
                    <a:pt x="355031" y="3589544"/>
                  </a:lnTo>
                  <a:lnTo>
                    <a:pt x="366571" y="3683375"/>
                  </a:lnTo>
                  <a:lnTo>
                    <a:pt x="391735" y="3748049"/>
                  </a:lnTo>
                  <a:lnTo>
                    <a:pt x="413711" y="3852040"/>
                  </a:lnTo>
                  <a:lnTo>
                    <a:pt x="410587" y="3790003"/>
                  </a:lnTo>
                  <a:lnTo>
                    <a:pt x="458384" y="3850064"/>
                  </a:lnTo>
                  <a:lnTo>
                    <a:pt x="463423" y="3881306"/>
                  </a:lnTo>
                  <a:lnTo>
                    <a:pt x="447207" y="3903557"/>
                  </a:lnTo>
                  <a:lnTo>
                    <a:pt x="444783" y="3933036"/>
                  </a:lnTo>
                  <a:lnTo>
                    <a:pt x="480467" y="3946532"/>
                  </a:lnTo>
                  <a:lnTo>
                    <a:pt x="513473" y="3971292"/>
                  </a:lnTo>
                  <a:lnTo>
                    <a:pt x="516555" y="3997837"/>
                  </a:lnTo>
                  <a:lnTo>
                    <a:pt x="531835" y="4013288"/>
                  </a:lnTo>
                  <a:lnTo>
                    <a:pt x="546840" y="4028441"/>
                  </a:lnTo>
                  <a:lnTo>
                    <a:pt x="568816" y="4026125"/>
                  </a:lnTo>
                  <a:lnTo>
                    <a:pt x="629536" y="4057175"/>
                  </a:lnTo>
                  <a:lnTo>
                    <a:pt x="601099" y="4085846"/>
                  </a:lnTo>
                  <a:lnTo>
                    <a:pt x="689618" y="4109861"/>
                  </a:lnTo>
                  <a:lnTo>
                    <a:pt x="713167" y="4128819"/>
                  </a:lnTo>
                  <a:lnTo>
                    <a:pt x="707684" y="4171387"/>
                  </a:lnTo>
                  <a:lnTo>
                    <a:pt x="737226" y="4186034"/>
                  </a:lnTo>
                  <a:lnTo>
                    <a:pt x="757310" y="4195999"/>
                  </a:lnTo>
                  <a:lnTo>
                    <a:pt x="781921" y="4187821"/>
                  </a:lnTo>
                  <a:lnTo>
                    <a:pt x="803875" y="4194192"/>
                  </a:lnTo>
                  <a:lnTo>
                    <a:pt x="828359" y="4201315"/>
                  </a:lnTo>
                  <a:lnTo>
                    <a:pt x="842684" y="4221614"/>
                  </a:lnTo>
                  <a:lnTo>
                    <a:pt x="862364" y="4236360"/>
                  </a:lnTo>
                  <a:lnTo>
                    <a:pt x="933391" y="4289660"/>
                  </a:lnTo>
                  <a:lnTo>
                    <a:pt x="926292" y="4379179"/>
                  </a:lnTo>
                  <a:lnTo>
                    <a:pt x="895815" y="4398331"/>
                  </a:lnTo>
                  <a:lnTo>
                    <a:pt x="876241" y="4449019"/>
                  </a:lnTo>
                  <a:lnTo>
                    <a:pt x="888185" y="4505234"/>
                  </a:lnTo>
                  <a:lnTo>
                    <a:pt x="903170" y="4545126"/>
                  </a:lnTo>
                  <a:lnTo>
                    <a:pt x="912734" y="4570629"/>
                  </a:lnTo>
                  <a:lnTo>
                    <a:pt x="938407" y="4596046"/>
                  </a:lnTo>
                  <a:lnTo>
                    <a:pt x="950776" y="4621298"/>
                  </a:lnTo>
                  <a:lnTo>
                    <a:pt x="958194" y="4642230"/>
                  </a:lnTo>
                  <a:lnTo>
                    <a:pt x="994919" y="4670581"/>
                  </a:lnTo>
                  <a:lnTo>
                    <a:pt x="1050071" y="4696110"/>
                  </a:lnTo>
                  <a:lnTo>
                    <a:pt x="1053236" y="4783651"/>
                  </a:lnTo>
                  <a:lnTo>
                    <a:pt x="1064263" y="4814574"/>
                  </a:lnTo>
                  <a:lnTo>
                    <a:pt x="1085432" y="4843012"/>
                  </a:lnTo>
                  <a:lnTo>
                    <a:pt x="1093083" y="4862540"/>
                  </a:lnTo>
                  <a:lnTo>
                    <a:pt x="1084614" y="4905624"/>
                  </a:lnTo>
                  <a:lnTo>
                    <a:pt x="1063668" y="4915101"/>
                  </a:lnTo>
                  <a:lnTo>
                    <a:pt x="1062989" y="4949849"/>
                  </a:lnTo>
                  <a:lnTo>
                    <a:pt x="1085432" y="4979032"/>
                  </a:lnTo>
                  <a:lnTo>
                    <a:pt x="1083222" y="5007318"/>
                  </a:lnTo>
                  <a:lnTo>
                    <a:pt x="1063672" y="5022558"/>
                  </a:lnTo>
                  <a:lnTo>
                    <a:pt x="1085009" y="5050481"/>
                  </a:lnTo>
                  <a:lnTo>
                    <a:pt x="1133319" y="5086377"/>
                  </a:lnTo>
                  <a:lnTo>
                    <a:pt x="1173699" y="5105891"/>
                  </a:lnTo>
                  <a:lnTo>
                    <a:pt x="1205136" y="5134091"/>
                  </a:lnTo>
                  <a:lnTo>
                    <a:pt x="1221946" y="5149160"/>
                  </a:lnTo>
                  <a:lnTo>
                    <a:pt x="1232590" y="5169967"/>
                  </a:lnTo>
                  <a:lnTo>
                    <a:pt x="1250021" y="5185782"/>
                  </a:lnTo>
                  <a:lnTo>
                    <a:pt x="1258799" y="5227713"/>
                  </a:lnTo>
                  <a:lnTo>
                    <a:pt x="1248023" y="5275677"/>
                  </a:lnTo>
                  <a:lnTo>
                    <a:pt x="1258179" y="5314996"/>
                  </a:lnTo>
                  <a:lnTo>
                    <a:pt x="1264747" y="5340393"/>
                  </a:lnTo>
                  <a:lnTo>
                    <a:pt x="1311782" y="5368876"/>
                  </a:lnTo>
                  <a:lnTo>
                    <a:pt x="1328909" y="5391167"/>
                  </a:lnTo>
                  <a:lnTo>
                    <a:pt x="1337627" y="5413398"/>
                  </a:lnTo>
                  <a:lnTo>
                    <a:pt x="1351140" y="5435887"/>
                  </a:lnTo>
                  <a:lnTo>
                    <a:pt x="1371202" y="5452381"/>
                  </a:lnTo>
                  <a:lnTo>
                    <a:pt x="1457794" y="5513397"/>
                  </a:lnTo>
                  <a:lnTo>
                    <a:pt x="1456856" y="5555835"/>
                  </a:lnTo>
                  <a:lnTo>
                    <a:pt x="1509814" y="5603358"/>
                  </a:lnTo>
                  <a:lnTo>
                    <a:pt x="1566649" y="5654343"/>
                  </a:lnTo>
                  <a:lnTo>
                    <a:pt x="1634635" y="5650393"/>
                  </a:lnTo>
                  <a:lnTo>
                    <a:pt x="1697525" y="5680894"/>
                  </a:lnTo>
                  <a:lnTo>
                    <a:pt x="1725454" y="5694453"/>
                  </a:lnTo>
                  <a:lnTo>
                    <a:pt x="1729233" y="5724988"/>
                  </a:lnTo>
                  <a:lnTo>
                    <a:pt x="1754656" y="5740743"/>
                  </a:lnTo>
                  <a:lnTo>
                    <a:pt x="1796798" y="5766859"/>
                  </a:lnTo>
                  <a:lnTo>
                    <a:pt x="1838201" y="5772834"/>
                  </a:lnTo>
                  <a:lnTo>
                    <a:pt x="1882512" y="5792427"/>
                  </a:lnTo>
                  <a:lnTo>
                    <a:pt x="1893037" y="5817699"/>
                  </a:lnTo>
                  <a:lnTo>
                    <a:pt x="1889311" y="5865644"/>
                  </a:lnTo>
                  <a:lnTo>
                    <a:pt x="1870271" y="5883562"/>
                  </a:lnTo>
                  <a:lnTo>
                    <a:pt x="1863406" y="5908979"/>
                  </a:lnTo>
                  <a:lnTo>
                    <a:pt x="1829634" y="5950441"/>
                  </a:lnTo>
                  <a:lnTo>
                    <a:pt x="1694062" y="5958375"/>
                  </a:lnTo>
                  <a:lnTo>
                    <a:pt x="1653998" y="5958375"/>
                  </a:lnTo>
                  <a:lnTo>
                    <a:pt x="1625686" y="5958375"/>
                  </a:lnTo>
                  <a:lnTo>
                    <a:pt x="1595468" y="5941690"/>
                  </a:lnTo>
                  <a:lnTo>
                    <a:pt x="1568304" y="5947493"/>
                  </a:lnTo>
                  <a:lnTo>
                    <a:pt x="1549027" y="5963156"/>
                  </a:lnTo>
                  <a:lnTo>
                    <a:pt x="1488097" y="5938201"/>
                  </a:lnTo>
                  <a:lnTo>
                    <a:pt x="1420044" y="5952934"/>
                  </a:lnTo>
                  <a:lnTo>
                    <a:pt x="1353396" y="5957418"/>
                  </a:lnTo>
                  <a:lnTo>
                    <a:pt x="1275840" y="5936421"/>
                  </a:lnTo>
                  <a:lnTo>
                    <a:pt x="1240498" y="6015500"/>
                  </a:lnTo>
                  <a:lnTo>
                    <a:pt x="1234141" y="6051145"/>
                  </a:lnTo>
                  <a:lnTo>
                    <a:pt x="1215674" y="6110183"/>
                  </a:lnTo>
                  <a:lnTo>
                    <a:pt x="1213676" y="6159361"/>
                  </a:lnTo>
                  <a:lnTo>
                    <a:pt x="1236416" y="6199129"/>
                  </a:lnTo>
                  <a:lnTo>
                    <a:pt x="1257671" y="6225884"/>
                  </a:lnTo>
                  <a:lnTo>
                    <a:pt x="1278689" y="6241784"/>
                  </a:lnTo>
                  <a:lnTo>
                    <a:pt x="1301705" y="6253536"/>
                  </a:lnTo>
                  <a:lnTo>
                    <a:pt x="1320388" y="6282672"/>
                  </a:lnTo>
                  <a:lnTo>
                    <a:pt x="1382552" y="6315363"/>
                  </a:lnTo>
                  <a:lnTo>
                    <a:pt x="1399811" y="6268091"/>
                  </a:lnTo>
                  <a:lnTo>
                    <a:pt x="1455406" y="6298415"/>
                  </a:lnTo>
                  <a:lnTo>
                    <a:pt x="1468503" y="6325579"/>
                  </a:lnTo>
                  <a:lnTo>
                    <a:pt x="1454898" y="6357841"/>
                  </a:lnTo>
                  <a:lnTo>
                    <a:pt x="1437171" y="6382559"/>
                  </a:lnTo>
                  <a:lnTo>
                    <a:pt x="1435008" y="6407231"/>
                  </a:lnTo>
                  <a:lnTo>
                    <a:pt x="1429205" y="6473476"/>
                  </a:lnTo>
                  <a:lnTo>
                    <a:pt x="1487398" y="6564526"/>
                  </a:lnTo>
                  <a:lnTo>
                    <a:pt x="1551982" y="6582701"/>
                  </a:lnTo>
                  <a:lnTo>
                    <a:pt x="1586624" y="6592449"/>
                  </a:lnTo>
                  <a:lnTo>
                    <a:pt x="1619652" y="6576285"/>
                  </a:lnTo>
                  <a:lnTo>
                    <a:pt x="1655357" y="6596300"/>
                  </a:lnTo>
                  <a:lnTo>
                    <a:pt x="1664332" y="6632348"/>
                  </a:lnTo>
                  <a:lnTo>
                    <a:pt x="1637676" y="6660231"/>
                  </a:lnTo>
                  <a:lnTo>
                    <a:pt x="1614976" y="6806176"/>
                  </a:lnTo>
                  <a:lnTo>
                    <a:pt x="1668474" y="6772529"/>
                  </a:lnTo>
                  <a:lnTo>
                    <a:pt x="1694808" y="6816655"/>
                  </a:lnTo>
                  <a:lnTo>
                    <a:pt x="1705821" y="6835141"/>
                  </a:lnTo>
                  <a:lnTo>
                    <a:pt x="1700631" y="6856396"/>
                  </a:lnTo>
                  <a:lnTo>
                    <a:pt x="1718035" y="6920987"/>
                  </a:lnTo>
                  <a:lnTo>
                    <a:pt x="1759305" y="6955412"/>
                  </a:lnTo>
                  <a:lnTo>
                    <a:pt x="1764173" y="7007083"/>
                  </a:lnTo>
                  <a:lnTo>
                    <a:pt x="1760954" y="7028886"/>
                  </a:lnTo>
                  <a:lnTo>
                    <a:pt x="1787439" y="6989415"/>
                  </a:lnTo>
                  <a:lnTo>
                    <a:pt x="1807706" y="6975797"/>
                  </a:lnTo>
                  <a:lnTo>
                    <a:pt x="1829673" y="6961031"/>
                  </a:lnTo>
                  <a:lnTo>
                    <a:pt x="1855644" y="6954165"/>
                  </a:lnTo>
                  <a:lnTo>
                    <a:pt x="1879794" y="6954034"/>
                  </a:lnTo>
                  <a:lnTo>
                    <a:pt x="1903945" y="6953902"/>
                  </a:lnTo>
                  <a:lnTo>
                    <a:pt x="1926770" y="6961156"/>
                  </a:lnTo>
                  <a:lnTo>
                    <a:pt x="1945084" y="6971715"/>
                  </a:lnTo>
                  <a:lnTo>
                    <a:pt x="1963398" y="6982273"/>
                  </a:lnTo>
                  <a:lnTo>
                    <a:pt x="1981811" y="7013883"/>
                  </a:lnTo>
                  <a:lnTo>
                    <a:pt x="1977867" y="7042709"/>
                  </a:lnTo>
                  <a:lnTo>
                    <a:pt x="1987252" y="7076449"/>
                  </a:lnTo>
                  <a:lnTo>
                    <a:pt x="2006654" y="7098877"/>
                  </a:lnTo>
                  <a:lnTo>
                    <a:pt x="2033139" y="7111150"/>
                  </a:lnTo>
                  <a:lnTo>
                    <a:pt x="2062064" y="7119975"/>
                  </a:lnTo>
                  <a:lnTo>
                    <a:pt x="2088926" y="7132248"/>
                  </a:lnTo>
                  <a:lnTo>
                    <a:pt x="2117831" y="7164055"/>
                  </a:lnTo>
                  <a:lnTo>
                    <a:pt x="2132069" y="7224247"/>
                  </a:lnTo>
                  <a:lnTo>
                    <a:pt x="2179335" y="7239277"/>
                  </a:lnTo>
                  <a:lnTo>
                    <a:pt x="2209204" y="7254557"/>
                  </a:lnTo>
                  <a:lnTo>
                    <a:pt x="2234811" y="7268242"/>
                  </a:lnTo>
                  <a:lnTo>
                    <a:pt x="2260413" y="7281919"/>
                  </a:lnTo>
                  <a:lnTo>
                    <a:pt x="2282063" y="7294159"/>
                  </a:lnTo>
                  <a:lnTo>
                    <a:pt x="2307770" y="7272699"/>
                  </a:lnTo>
                  <a:lnTo>
                    <a:pt x="2329916" y="7255342"/>
                  </a:lnTo>
                  <a:lnTo>
                    <a:pt x="2370119" y="7232233"/>
                  </a:lnTo>
                  <a:lnTo>
                    <a:pt x="2403476" y="7220633"/>
                  </a:lnTo>
                  <a:lnTo>
                    <a:pt x="2432823" y="7214553"/>
                  </a:lnTo>
                  <a:lnTo>
                    <a:pt x="2458457" y="7213115"/>
                  </a:lnTo>
                  <a:lnTo>
                    <a:pt x="2483722" y="7211116"/>
                  </a:lnTo>
                  <a:lnTo>
                    <a:pt x="2511296" y="7205959"/>
                  </a:lnTo>
                  <a:lnTo>
                    <a:pt x="2545009" y="7192162"/>
                  </a:lnTo>
                  <a:lnTo>
                    <a:pt x="2563976" y="7160784"/>
                  </a:lnTo>
                  <a:lnTo>
                    <a:pt x="2580628" y="7126035"/>
                  </a:lnTo>
                  <a:lnTo>
                    <a:pt x="2606196" y="7107141"/>
                  </a:lnTo>
                  <a:lnTo>
                    <a:pt x="2649670" y="7114541"/>
                  </a:lnTo>
                  <a:lnTo>
                    <a:pt x="2672706" y="7120865"/>
                  </a:lnTo>
                  <a:lnTo>
                    <a:pt x="2698268" y="7132103"/>
                  </a:lnTo>
                  <a:lnTo>
                    <a:pt x="2723118" y="7145827"/>
                  </a:lnTo>
                  <a:lnTo>
                    <a:pt x="2772817" y="7173261"/>
                  </a:lnTo>
                  <a:lnTo>
                    <a:pt x="2817656" y="7209837"/>
                  </a:lnTo>
                  <a:lnTo>
                    <a:pt x="2820274" y="7246030"/>
                  </a:lnTo>
                  <a:lnTo>
                    <a:pt x="2804730" y="7273682"/>
                  </a:lnTo>
                  <a:lnTo>
                    <a:pt x="2789529" y="7303267"/>
                  </a:lnTo>
                  <a:lnTo>
                    <a:pt x="2798985" y="7339789"/>
                  </a:lnTo>
                  <a:lnTo>
                    <a:pt x="2834545" y="7373258"/>
                  </a:lnTo>
                  <a:lnTo>
                    <a:pt x="2872743" y="7404261"/>
                  </a:lnTo>
                  <a:lnTo>
                    <a:pt x="2910941" y="7435264"/>
                  </a:lnTo>
                  <a:lnTo>
                    <a:pt x="2952409" y="7463536"/>
                  </a:lnTo>
                  <a:lnTo>
                    <a:pt x="2991629" y="7466240"/>
                  </a:lnTo>
                  <a:lnTo>
                    <a:pt x="3018279" y="7436906"/>
                  </a:lnTo>
                  <a:lnTo>
                    <a:pt x="3045490" y="7421942"/>
                  </a:lnTo>
                  <a:lnTo>
                    <a:pt x="3072905" y="7420122"/>
                  </a:lnTo>
                  <a:lnTo>
                    <a:pt x="3093091" y="7426018"/>
                  </a:lnTo>
                  <a:lnTo>
                    <a:pt x="3134046" y="7437988"/>
                  </a:lnTo>
                  <a:lnTo>
                    <a:pt x="3158276" y="7460621"/>
                  </a:lnTo>
                  <a:lnTo>
                    <a:pt x="3185585" y="7492673"/>
                  </a:lnTo>
                  <a:lnTo>
                    <a:pt x="3211114" y="7522640"/>
                  </a:lnTo>
                  <a:lnTo>
                    <a:pt x="3247446" y="7556029"/>
                  </a:lnTo>
                  <a:lnTo>
                    <a:pt x="3263121" y="7593324"/>
                  </a:lnTo>
                  <a:lnTo>
                    <a:pt x="3273720" y="7628501"/>
                  </a:lnTo>
                  <a:lnTo>
                    <a:pt x="3271556" y="7661521"/>
                  </a:lnTo>
                  <a:lnTo>
                    <a:pt x="3257681" y="7695340"/>
                  </a:lnTo>
                  <a:lnTo>
                    <a:pt x="3244359" y="7719748"/>
                  </a:lnTo>
                  <a:lnTo>
                    <a:pt x="3226698" y="7736401"/>
                  </a:lnTo>
                  <a:lnTo>
                    <a:pt x="3207349" y="7748390"/>
                  </a:lnTo>
                  <a:lnTo>
                    <a:pt x="3188006" y="7760373"/>
                  </a:lnTo>
                  <a:lnTo>
                    <a:pt x="3166130" y="7767832"/>
                  </a:lnTo>
                  <a:lnTo>
                    <a:pt x="3143424" y="7772870"/>
                  </a:lnTo>
                  <a:lnTo>
                    <a:pt x="3098005" y="7782940"/>
                  </a:lnTo>
                  <a:lnTo>
                    <a:pt x="3048900" y="7784998"/>
                  </a:lnTo>
                  <a:lnTo>
                    <a:pt x="3006039" y="7800074"/>
                  </a:lnTo>
                  <a:lnTo>
                    <a:pt x="2968382" y="7826790"/>
                  </a:lnTo>
                  <a:lnTo>
                    <a:pt x="2957072" y="7849041"/>
                  </a:lnTo>
                  <a:lnTo>
                    <a:pt x="2964148" y="7877795"/>
                  </a:lnTo>
                  <a:lnTo>
                    <a:pt x="2993331" y="7904603"/>
                  </a:lnTo>
                  <a:lnTo>
                    <a:pt x="3026444" y="7927936"/>
                  </a:lnTo>
                  <a:lnTo>
                    <a:pt x="3059557" y="7951269"/>
                  </a:lnTo>
                  <a:lnTo>
                    <a:pt x="3095539" y="7971364"/>
                  </a:lnTo>
                  <a:lnTo>
                    <a:pt x="3117578" y="7985061"/>
                  </a:lnTo>
                  <a:lnTo>
                    <a:pt x="3135556" y="7996233"/>
                  </a:lnTo>
                  <a:lnTo>
                    <a:pt x="3151582" y="8024505"/>
                  </a:lnTo>
                  <a:lnTo>
                    <a:pt x="3158454" y="8054380"/>
                  </a:lnTo>
                  <a:lnTo>
                    <a:pt x="3154154" y="8099416"/>
                  </a:lnTo>
                  <a:lnTo>
                    <a:pt x="3142587" y="8127550"/>
                  </a:lnTo>
                  <a:lnTo>
                    <a:pt x="3143945" y="8154214"/>
                  </a:lnTo>
                  <a:lnTo>
                    <a:pt x="3161190" y="8183759"/>
                  </a:lnTo>
                  <a:lnTo>
                    <a:pt x="3181892" y="8203353"/>
                  </a:lnTo>
                  <a:lnTo>
                    <a:pt x="3222761" y="8202693"/>
                  </a:lnTo>
                  <a:lnTo>
                    <a:pt x="3264190" y="8184939"/>
                  </a:lnTo>
                  <a:lnTo>
                    <a:pt x="3287602" y="8160525"/>
                  </a:lnTo>
                  <a:lnTo>
                    <a:pt x="3298589" y="8133130"/>
                  </a:lnTo>
                  <a:lnTo>
                    <a:pt x="3298286" y="8088812"/>
                  </a:lnTo>
                  <a:lnTo>
                    <a:pt x="3288644" y="8056405"/>
                  </a:lnTo>
                  <a:lnTo>
                    <a:pt x="3303924" y="8021782"/>
                  </a:lnTo>
                  <a:lnTo>
                    <a:pt x="3329302" y="8005670"/>
                  </a:lnTo>
                  <a:lnTo>
                    <a:pt x="3355615" y="8010900"/>
                  </a:lnTo>
                  <a:lnTo>
                    <a:pt x="3379759" y="8022659"/>
                  </a:lnTo>
                  <a:lnTo>
                    <a:pt x="3387811" y="8045840"/>
                  </a:lnTo>
                  <a:lnTo>
                    <a:pt x="3395059" y="8072107"/>
                  </a:lnTo>
                  <a:lnTo>
                    <a:pt x="3403487" y="8096575"/>
                  </a:lnTo>
                  <a:lnTo>
                    <a:pt x="3416460" y="8120507"/>
                  </a:lnTo>
                  <a:lnTo>
                    <a:pt x="3445385" y="8133314"/>
                  </a:lnTo>
                  <a:lnTo>
                    <a:pt x="3481103" y="8136909"/>
                  </a:lnTo>
                  <a:lnTo>
                    <a:pt x="3521206" y="8135168"/>
                  </a:lnTo>
                  <a:lnTo>
                    <a:pt x="3561000" y="8131962"/>
                  </a:lnTo>
                  <a:lnTo>
                    <a:pt x="3596744" y="8132965"/>
                  </a:lnTo>
                  <a:lnTo>
                    <a:pt x="3618046" y="8150692"/>
                  </a:lnTo>
                  <a:lnTo>
                    <a:pt x="3623573" y="8172772"/>
                  </a:lnTo>
                  <a:lnTo>
                    <a:pt x="3622214" y="8201334"/>
                  </a:lnTo>
                  <a:lnTo>
                    <a:pt x="3620855" y="8225821"/>
                  </a:lnTo>
                  <a:lnTo>
                    <a:pt x="3629014" y="8247584"/>
                  </a:lnTo>
                  <a:lnTo>
                    <a:pt x="3652122" y="8259726"/>
                  </a:lnTo>
                  <a:lnTo>
                    <a:pt x="3690240" y="8265357"/>
                  </a:lnTo>
                  <a:lnTo>
                    <a:pt x="3713264" y="8267165"/>
                  </a:lnTo>
                  <a:lnTo>
                    <a:pt x="3736471" y="8270706"/>
                  </a:lnTo>
                  <a:lnTo>
                    <a:pt x="3759678" y="8274241"/>
                  </a:lnTo>
                  <a:lnTo>
                    <a:pt x="3783196" y="8279477"/>
                  </a:lnTo>
                  <a:lnTo>
                    <a:pt x="3803119" y="8289746"/>
                  </a:lnTo>
                  <a:lnTo>
                    <a:pt x="3823048" y="8300020"/>
                  </a:lnTo>
                  <a:lnTo>
                    <a:pt x="3838804" y="8315690"/>
                  </a:lnTo>
                  <a:lnTo>
                    <a:pt x="3848003" y="8338713"/>
                  </a:lnTo>
                  <a:lnTo>
                    <a:pt x="3850721" y="8367282"/>
                  </a:lnTo>
                  <a:lnTo>
                    <a:pt x="3849362" y="8393121"/>
                  </a:lnTo>
                  <a:lnTo>
                    <a:pt x="3844489" y="8425521"/>
                  </a:lnTo>
                  <a:lnTo>
                    <a:pt x="3841185" y="8460956"/>
                  </a:lnTo>
                  <a:lnTo>
                    <a:pt x="3853444" y="8482897"/>
                  </a:lnTo>
                  <a:lnTo>
                    <a:pt x="3872200" y="8498844"/>
                  </a:lnTo>
                  <a:lnTo>
                    <a:pt x="3909785" y="8516287"/>
                  </a:lnTo>
                  <a:lnTo>
                    <a:pt x="3940200" y="8522038"/>
                  </a:lnTo>
                  <a:lnTo>
                    <a:pt x="3996158" y="8542601"/>
                  </a:lnTo>
                  <a:lnTo>
                    <a:pt x="4032272" y="8560427"/>
                  </a:lnTo>
                  <a:lnTo>
                    <a:pt x="4068359" y="8575390"/>
                  </a:lnTo>
                  <a:lnTo>
                    <a:pt x="4118566" y="8562221"/>
                  </a:lnTo>
                  <a:lnTo>
                    <a:pt x="4152688" y="8538664"/>
                  </a:lnTo>
                  <a:lnTo>
                    <a:pt x="4186811" y="8515113"/>
                  </a:lnTo>
                  <a:lnTo>
                    <a:pt x="4221117" y="8487955"/>
                  </a:lnTo>
                  <a:lnTo>
                    <a:pt x="4260443" y="8471528"/>
                  </a:lnTo>
                  <a:lnTo>
                    <a:pt x="4293852" y="8463073"/>
                  </a:lnTo>
                  <a:lnTo>
                    <a:pt x="4315912" y="8458410"/>
                  </a:lnTo>
                  <a:lnTo>
                    <a:pt x="4347482" y="8451743"/>
                  </a:lnTo>
                  <a:lnTo>
                    <a:pt x="4374329" y="8449382"/>
                  </a:lnTo>
                  <a:lnTo>
                    <a:pt x="4400248" y="8454328"/>
                  </a:lnTo>
                  <a:lnTo>
                    <a:pt x="4426166" y="8459280"/>
                  </a:lnTo>
                  <a:lnTo>
                    <a:pt x="4450330" y="8471501"/>
                  </a:lnTo>
                  <a:lnTo>
                    <a:pt x="4475054" y="8492413"/>
                  </a:lnTo>
                  <a:lnTo>
                    <a:pt x="4510422" y="8522341"/>
                  </a:lnTo>
                  <a:lnTo>
                    <a:pt x="4599302" y="8540662"/>
                  </a:lnTo>
                  <a:lnTo>
                    <a:pt x="4620597" y="8540022"/>
                  </a:lnTo>
                  <a:lnTo>
                    <a:pt x="4650881" y="8507101"/>
                  </a:lnTo>
                  <a:lnTo>
                    <a:pt x="4647055" y="8476546"/>
                  </a:lnTo>
                  <a:lnTo>
                    <a:pt x="4642360" y="8446170"/>
                  </a:lnTo>
                  <a:lnTo>
                    <a:pt x="4637374" y="8416341"/>
                  </a:lnTo>
                  <a:lnTo>
                    <a:pt x="4636458" y="8388946"/>
                  </a:lnTo>
                  <a:lnTo>
                    <a:pt x="4643718" y="8365917"/>
                  </a:lnTo>
                  <a:lnTo>
                    <a:pt x="4671285" y="8360423"/>
                  </a:lnTo>
                  <a:lnTo>
                    <a:pt x="4693121" y="8367645"/>
                  </a:lnTo>
                  <a:lnTo>
                    <a:pt x="4713090" y="8380881"/>
                  </a:lnTo>
                  <a:lnTo>
                    <a:pt x="4733060" y="8394116"/>
                  </a:lnTo>
                  <a:lnTo>
                    <a:pt x="4750820" y="8412846"/>
                  </a:lnTo>
                  <a:lnTo>
                    <a:pt x="4767499" y="8432565"/>
                  </a:lnTo>
                  <a:lnTo>
                    <a:pt x="4784177" y="8452290"/>
                  </a:lnTo>
                  <a:lnTo>
                    <a:pt x="4800136" y="8473018"/>
                  </a:lnTo>
                  <a:lnTo>
                    <a:pt x="4817824" y="8486973"/>
                  </a:lnTo>
                  <a:lnTo>
                    <a:pt x="4836487" y="8498692"/>
                  </a:lnTo>
                  <a:lnTo>
                    <a:pt x="4866171" y="8506678"/>
                  </a:lnTo>
                  <a:lnTo>
                    <a:pt x="5019134" y="8480180"/>
                  </a:lnTo>
                  <a:lnTo>
                    <a:pt x="5049681" y="8485726"/>
                  </a:lnTo>
                  <a:lnTo>
                    <a:pt x="5086375" y="8509818"/>
                  </a:lnTo>
                  <a:lnTo>
                    <a:pt x="5101438" y="8529312"/>
                  </a:lnTo>
                  <a:lnTo>
                    <a:pt x="5110268" y="8550911"/>
                  </a:lnTo>
                  <a:lnTo>
                    <a:pt x="5119099" y="8572502"/>
                  </a:lnTo>
                  <a:lnTo>
                    <a:pt x="5122073" y="8596547"/>
                  </a:lnTo>
                  <a:lnTo>
                    <a:pt x="5122509" y="8621641"/>
                  </a:lnTo>
                  <a:lnTo>
                    <a:pt x="5122970" y="8646734"/>
                  </a:lnTo>
                  <a:lnTo>
                    <a:pt x="5119890" y="8672639"/>
                  </a:lnTo>
                  <a:lnTo>
                    <a:pt x="5117068" y="8697812"/>
                  </a:lnTo>
                  <a:lnTo>
                    <a:pt x="5114298" y="8722503"/>
                  </a:lnTo>
                  <a:lnTo>
                    <a:pt x="5111278" y="8745691"/>
                  </a:lnTo>
                  <a:lnTo>
                    <a:pt x="5110268" y="8767177"/>
                  </a:lnTo>
                  <a:lnTo>
                    <a:pt x="5129875" y="8737487"/>
                  </a:lnTo>
                  <a:lnTo>
                    <a:pt x="5149864" y="8722200"/>
                  </a:lnTo>
                  <a:lnTo>
                    <a:pt x="5174199" y="8703252"/>
                  </a:lnTo>
                  <a:lnTo>
                    <a:pt x="5198534" y="8684299"/>
                  </a:lnTo>
                  <a:lnTo>
                    <a:pt x="5227110" y="8661830"/>
                  </a:lnTo>
                  <a:lnTo>
                    <a:pt x="5254453" y="8639321"/>
                  </a:lnTo>
                  <a:lnTo>
                    <a:pt x="5281795" y="8616813"/>
                  </a:lnTo>
                  <a:lnTo>
                    <a:pt x="5307442" y="8593989"/>
                  </a:lnTo>
                  <a:lnTo>
                    <a:pt x="5329259" y="8572674"/>
                  </a:lnTo>
                  <a:lnTo>
                    <a:pt x="5351082" y="8551352"/>
                  </a:lnTo>
                  <a:lnTo>
                    <a:pt x="5369098" y="8532286"/>
                  </a:lnTo>
                  <a:lnTo>
                    <a:pt x="5381504" y="8507727"/>
                  </a:lnTo>
                  <a:lnTo>
                    <a:pt x="5390472" y="8486980"/>
                  </a:lnTo>
                  <a:lnTo>
                    <a:pt x="5404071" y="8458417"/>
                  </a:lnTo>
                  <a:lnTo>
                    <a:pt x="5415019" y="8439397"/>
                  </a:lnTo>
                  <a:lnTo>
                    <a:pt x="5428492" y="8423028"/>
                  </a:lnTo>
                  <a:lnTo>
                    <a:pt x="5444880" y="8409449"/>
                  </a:lnTo>
                  <a:lnTo>
                    <a:pt x="5467877" y="8403943"/>
                  </a:lnTo>
                  <a:lnTo>
                    <a:pt x="5498055" y="8406798"/>
                  </a:lnTo>
                  <a:lnTo>
                    <a:pt x="5530568" y="8412173"/>
                  </a:lnTo>
                  <a:lnTo>
                    <a:pt x="5561261" y="8414489"/>
                  </a:lnTo>
                  <a:lnTo>
                    <a:pt x="5584218" y="8407135"/>
                  </a:lnTo>
                  <a:lnTo>
                    <a:pt x="5594499" y="8383611"/>
                  </a:lnTo>
                  <a:lnTo>
                    <a:pt x="5605381" y="8289759"/>
                  </a:lnTo>
                  <a:lnTo>
                    <a:pt x="5590417" y="8258473"/>
                  </a:lnTo>
                  <a:lnTo>
                    <a:pt x="5550669" y="8251588"/>
                  </a:lnTo>
                  <a:lnTo>
                    <a:pt x="5527851" y="8247591"/>
                  </a:lnTo>
                  <a:lnTo>
                    <a:pt x="5505033" y="8243594"/>
                  </a:lnTo>
                  <a:lnTo>
                    <a:pt x="5484292" y="8237178"/>
                  </a:lnTo>
                  <a:lnTo>
                    <a:pt x="5453038" y="8185019"/>
                  </a:lnTo>
                  <a:lnTo>
                    <a:pt x="5431275" y="8146933"/>
                  </a:lnTo>
                  <a:lnTo>
                    <a:pt x="5409512" y="8108848"/>
                  </a:lnTo>
                  <a:lnTo>
                    <a:pt x="5387749" y="8070762"/>
                  </a:lnTo>
                  <a:lnTo>
                    <a:pt x="5362992" y="8038222"/>
                  </a:lnTo>
                  <a:lnTo>
                    <a:pt x="5344222" y="8021795"/>
                  </a:lnTo>
                  <a:lnTo>
                    <a:pt x="5325460" y="8005373"/>
                  </a:lnTo>
                  <a:lnTo>
                    <a:pt x="5303479" y="7988517"/>
                  </a:lnTo>
                  <a:lnTo>
                    <a:pt x="5283015" y="7972827"/>
                  </a:lnTo>
                  <a:lnTo>
                    <a:pt x="5262544" y="7957145"/>
                  </a:lnTo>
                  <a:lnTo>
                    <a:pt x="5243314" y="7942366"/>
                  </a:lnTo>
                  <a:lnTo>
                    <a:pt x="5213901" y="7913526"/>
                  </a:lnTo>
                  <a:lnTo>
                    <a:pt x="5201403" y="7887140"/>
                  </a:lnTo>
                  <a:lnTo>
                    <a:pt x="5230744" y="7857489"/>
                  </a:lnTo>
                  <a:lnTo>
                    <a:pt x="5259893" y="7861294"/>
                  </a:lnTo>
                  <a:lnTo>
                    <a:pt x="5286550" y="7870850"/>
                  </a:lnTo>
                  <a:lnTo>
                    <a:pt x="5312119" y="7878936"/>
                  </a:lnTo>
                  <a:lnTo>
                    <a:pt x="5342864" y="7872176"/>
                  </a:lnTo>
                  <a:lnTo>
                    <a:pt x="5381253" y="7844616"/>
                  </a:lnTo>
                  <a:lnTo>
                    <a:pt x="5409512" y="7809610"/>
                  </a:lnTo>
                  <a:lnTo>
                    <a:pt x="5436089" y="7776695"/>
                  </a:lnTo>
                  <a:lnTo>
                    <a:pt x="5465364" y="7734547"/>
                  </a:lnTo>
                  <a:lnTo>
                    <a:pt x="5478884" y="7693995"/>
                  </a:lnTo>
                  <a:lnTo>
                    <a:pt x="5455122" y="7646650"/>
                  </a:lnTo>
                  <a:lnTo>
                    <a:pt x="5414992" y="7621622"/>
                  </a:lnTo>
                  <a:lnTo>
                    <a:pt x="5378219" y="7597419"/>
                  </a:lnTo>
                  <a:lnTo>
                    <a:pt x="5341446" y="7573210"/>
                  </a:lnTo>
                  <a:lnTo>
                    <a:pt x="5307562" y="7550160"/>
                  </a:lnTo>
                  <a:lnTo>
                    <a:pt x="5296607" y="7529406"/>
                  </a:lnTo>
                  <a:lnTo>
                    <a:pt x="5307423" y="7491492"/>
                  </a:lnTo>
                  <a:lnTo>
                    <a:pt x="5350144" y="7424672"/>
                  </a:lnTo>
                  <a:lnTo>
                    <a:pt x="5370061" y="7412432"/>
                  </a:lnTo>
                  <a:lnTo>
                    <a:pt x="5402402" y="7408792"/>
                  </a:lnTo>
                  <a:lnTo>
                    <a:pt x="5435648" y="7418790"/>
                  </a:lnTo>
                  <a:lnTo>
                    <a:pt x="5465272" y="7430113"/>
                  </a:lnTo>
                  <a:lnTo>
                    <a:pt x="5508739" y="7441470"/>
                  </a:lnTo>
                  <a:lnTo>
                    <a:pt x="5590792" y="7458867"/>
                  </a:lnTo>
                  <a:lnTo>
                    <a:pt x="5673380" y="7470916"/>
                  </a:lnTo>
                  <a:lnTo>
                    <a:pt x="5714678" y="7476944"/>
                  </a:lnTo>
                  <a:lnTo>
                    <a:pt x="5756437" y="7480940"/>
                  </a:lnTo>
                  <a:lnTo>
                    <a:pt x="5793078" y="7483163"/>
                  </a:lnTo>
                  <a:lnTo>
                    <a:pt x="5829726" y="7485385"/>
                  </a:lnTo>
                  <a:lnTo>
                    <a:pt x="5860485" y="7486052"/>
                  </a:lnTo>
                  <a:lnTo>
                    <a:pt x="5882854" y="7481804"/>
                  </a:lnTo>
                  <a:lnTo>
                    <a:pt x="5915341" y="7469386"/>
                  </a:lnTo>
                  <a:lnTo>
                    <a:pt x="5937421" y="7445249"/>
                  </a:lnTo>
                  <a:lnTo>
                    <a:pt x="5950861" y="7412432"/>
                  </a:lnTo>
                  <a:lnTo>
                    <a:pt x="5962086" y="7378996"/>
                  </a:lnTo>
                  <a:lnTo>
                    <a:pt x="5963075" y="7340627"/>
                  </a:lnTo>
                  <a:lnTo>
                    <a:pt x="5959026" y="7313140"/>
                  </a:lnTo>
                  <a:lnTo>
                    <a:pt x="5951890" y="7264719"/>
                  </a:lnTo>
                  <a:lnTo>
                    <a:pt x="5926974" y="7221391"/>
                  </a:lnTo>
                  <a:lnTo>
                    <a:pt x="5903259" y="7179837"/>
                  </a:lnTo>
                  <a:lnTo>
                    <a:pt x="5887636" y="7152508"/>
                  </a:lnTo>
                  <a:lnTo>
                    <a:pt x="5878773" y="7111830"/>
                  </a:lnTo>
                  <a:lnTo>
                    <a:pt x="5904617" y="7075334"/>
                  </a:lnTo>
                  <a:lnTo>
                    <a:pt x="6017048" y="7093931"/>
                  </a:lnTo>
                  <a:lnTo>
                    <a:pt x="6120634" y="7097736"/>
                  </a:lnTo>
                  <a:lnTo>
                    <a:pt x="6214743" y="7128152"/>
                  </a:lnTo>
                  <a:lnTo>
                    <a:pt x="6246669" y="7108064"/>
                  </a:lnTo>
                  <a:lnTo>
                    <a:pt x="6240588" y="7081903"/>
                  </a:lnTo>
                  <a:lnTo>
                    <a:pt x="6219102" y="7059097"/>
                  </a:lnTo>
                  <a:lnTo>
                    <a:pt x="6201138" y="7047899"/>
                  </a:lnTo>
                  <a:lnTo>
                    <a:pt x="6165216" y="7025503"/>
                  </a:lnTo>
                  <a:lnTo>
                    <a:pt x="6118028" y="7003139"/>
                  </a:lnTo>
                  <a:lnTo>
                    <a:pt x="6101845" y="6973087"/>
                  </a:lnTo>
                  <a:lnTo>
                    <a:pt x="6102109" y="6943120"/>
                  </a:lnTo>
                  <a:lnTo>
                    <a:pt x="6132749" y="6925886"/>
                  </a:lnTo>
                  <a:lnTo>
                    <a:pt x="6152112" y="6913640"/>
                  </a:lnTo>
                  <a:lnTo>
                    <a:pt x="6167135" y="6894198"/>
                  </a:lnTo>
                  <a:lnTo>
                    <a:pt x="6174310" y="6873134"/>
                  </a:lnTo>
                  <a:lnTo>
                    <a:pt x="6167794" y="6848436"/>
                  </a:lnTo>
                  <a:lnTo>
                    <a:pt x="6157611" y="6823468"/>
                  </a:lnTo>
                  <a:lnTo>
                    <a:pt x="6147442" y="6798500"/>
                  </a:lnTo>
                  <a:lnTo>
                    <a:pt x="6133494" y="6773545"/>
                  </a:lnTo>
                  <a:lnTo>
                    <a:pt x="6129049" y="6751372"/>
                  </a:lnTo>
                  <a:lnTo>
                    <a:pt x="6164417" y="6741850"/>
                  </a:lnTo>
                  <a:lnTo>
                    <a:pt x="6190513" y="6774092"/>
                  </a:lnTo>
                  <a:lnTo>
                    <a:pt x="6215693" y="6797767"/>
                  </a:lnTo>
                  <a:lnTo>
                    <a:pt x="6241947" y="6815297"/>
                  </a:lnTo>
                  <a:lnTo>
                    <a:pt x="6268201" y="6832832"/>
                  </a:lnTo>
                  <a:lnTo>
                    <a:pt x="6295478" y="6844301"/>
                  </a:lnTo>
                  <a:lnTo>
                    <a:pt x="6323559" y="6853382"/>
                  </a:lnTo>
                  <a:lnTo>
                    <a:pt x="6379721" y="6871558"/>
                  </a:lnTo>
                  <a:lnTo>
                    <a:pt x="6440441" y="6878997"/>
                  </a:lnTo>
                  <a:lnTo>
                    <a:pt x="6513986" y="6900991"/>
                  </a:lnTo>
                  <a:lnTo>
                    <a:pt x="6541831" y="6865055"/>
                  </a:lnTo>
                  <a:lnTo>
                    <a:pt x="6554242" y="6837211"/>
                  </a:lnTo>
                  <a:lnTo>
                    <a:pt x="6577917" y="6815297"/>
                  </a:lnTo>
                  <a:lnTo>
                    <a:pt x="6604079" y="6803973"/>
                  </a:lnTo>
                  <a:lnTo>
                    <a:pt x="6647033" y="6791561"/>
                  </a:lnTo>
                  <a:lnTo>
                    <a:pt x="6687729" y="6777382"/>
                  </a:lnTo>
                  <a:lnTo>
                    <a:pt x="6720737" y="6762254"/>
                  </a:lnTo>
                  <a:lnTo>
                    <a:pt x="6741907" y="6752540"/>
                  </a:lnTo>
                  <a:lnTo>
                    <a:pt x="6763010" y="6737536"/>
                  </a:lnTo>
                  <a:lnTo>
                    <a:pt x="6784668" y="6729609"/>
                  </a:lnTo>
                  <a:lnTo>
                    <a:pt x="6820603" y="6716472"/>
                  </a:lnTo>
                  <a:lnTo>
                    <a:pt x="6861604" y="6713880"/>
                  </a:lnTo>
                  <a:lnTo>
                    <a:pt x="6898925" y="6699682"/>
                  </a:lnTo>
                  <a:lnTo>
                    <a:pt x="6926340" y="6674304"/>
                  </a:lnTo>
                  <a:lnTo>
                    <a:pt x="6935968" y="6636304"/>
                  </a:lnTo>
                  <a:lnTo>
                    <a:pt x="6961491" y="6611270"/>
                  </a:lnTo>
                  <a:lnTo>
                    <a:pt x="7012370" y="6595376"/>
                  </a:lnTo>
                  <a:lnTo>
                    <a:pt x="7069713" y="6599030"/>
                  </a:lnTo>
                  <a:lnTo>
                    <a:pt x="7121997" y="6599030"/>
                  </a:lnTo>
                  <a:lnTo>
                    <a:pt x="7165247" y="6599030"/>
                  </a:lnTo>
                  <a:lnTo>
                    <a:pt x="7190664" y="6597579"/>
                  </a:lnTo>
                  <a:lnTo>
                    <a:pt x="7213126" y="6603105"/>
                  </a:lnTo>
                  <a:lnTo>
                    <a:pt x="7235594" y="6608632"/>
                  </a:lnTo>
                  <a:lnTo>
                    <a:pt x="7254106" y="6621209"/>
                  </a:lnTo>
                  <a:lnTo>
                    <a:pt x="7283856" y="6650714"/>
                  </a:lnTo>
                  <a:lnTo>
                    <a:pt x="7317951" y="6684520"/>
                  </a:lnTo>
                  <a:lnTo>
                    <a:pt x="7351335" y="6722375"/>
                  </a:lnTo>
                  <a:lnTo>
                    <a:pt x="7381790" y="6759524"/>
                  </a:lnTo>
                  <a:lnTo>
                    <a:pt x="7368185" y="6813938"/>
                  </a:lnTo>
                  <a:lnTo>
                    <a:pt x="7388484" y="6834679"/>
                  </a:lnTo>
                  <a:lnTo>
                    <a:pt x="7435499" y="6840423"/>
                  </a:lnTo>
                  <a:lnTo>
                    <a:pt x="7525566" y="6844901"/>
                  </a:lnTo>
                  <a:lnTo>
                    <a:pt x="7559978" y="6861540"/>
                  </a:lnTo>
                  <a:lnTo>
                    <a:pt x="7602304" y="6890479"/>
                  </a:lnTo>
                  <a:lnTo>
                    <a:pt x="7628934" y="6914959"/>
                  </a:lnTo>
                  <a:lnTo>
                    <a:pt x="7656256" y="6950360"/>
                  </a:lnTo>
                  <a:lnTo>
                    <a:pt x="7687834" y="6977155"/>
                  </a:lnTo>
                  <a:lnTo>
                    <a:pt x="7720248" y="7002308"/>
                  </a:lnTo>
                  <a:lnTo>
                    <a:pt x="7756070" y="7014582"/>
                  </a:lnTo>
                  <a:lnTo>
                    <a:pt x="7795291" y="7008442"/>
                  </a:lnTo>
                  <a:lnTo>
                    <a:pt x="7821387" y="6985386"/>
                  </a:lnTo>
                  <a:lnTo>
                    <a:pt x="7829914" y="6921560"/>
                  </a:lnTo>
                  <a:lnTo>
                    <a:pt x="7829914" y="6849004"/>
                  </a:lnTo>
                  <a:lnTo>
                    <a:pt x="7849699" y="6796251"/>
                  </a:lnTo>
                  <a:lnTo>
                    <a:pt x="7860923" y="6766323"/>
                  </a:lnTo>
                  <a:lnTo>
                    <a:pt x="7872814" y="6747507"/>
                  </a:lnTo>
                  <a:lnTo>
                    <a:pt x="7897307" y="6717138"/>
                  </a:lnTo>
                  <a:lnTo>
                    <a:pt x="7919071" y="6692876"/>
                  </a:lnTo>
                  <a:lnTo>
                    <a:pt x="7936218" y="6666746"/>
                  </a:lnTo>
                  <a:lnTo>
                    <a:pt x="7939468" y="6645267"/>
                  </a:lnTo>
                  <a:lnTo>
                    <a:pt x="7942727" y="6623794"/>
                  </a:lnTo>
                  <a:lnTo>
                    <a:pt x="7942146" y="6595291"/>
                  </a:lnTo>
                  <a:lnTo>
                    <a:pt x="7935393" y="6552774"/>
                  </a:lnTo>
                  <a:lnTo>
                    <a:pt x="7919071" y="6454839"/>
                  </a:lnTo>
                  <a:lnTo>
                    <a:pt x="7910807" y="6402984"/>
                  </a:lnTo>
                  <a:lnTo>
                    <a:pt x="7934463" y="6295975"/>
                  </a:lnTo>
                  <a:lnTo>
                    <a:pt x="7928593" y="6234490"/>
                  </a:lnTo>
                  <a:lnTo>
                    <a:pt x="7925038" y="6198363"/>
                  </a:lnTo>
                  <a:lnTo>
                    <a:pt x="7943532" y="6150583"/>
                  </a:lnTo>
                  <a:lnTo>
                    <a:pt x="7963870" y="6124164"/>
                  </a:lnTo>
                  <a:lnTo>
                    <a:pt x="8050138" y="6099169"/>
                  </a:lnTo>
                  <a:lnTo>
                    <a:pt x="8085018" y="6068549"/>
                  </a:lnTo>
                  <a:lnTo>
                    <a:pt x="8104790" y="6051172"/>
                  </a:lnTo>
                  <a:lnTo>
                    <a:pt x="8121436" y="6028756"/>
                  </a:lnTo>
                  <a:lnTo>
                    <a:pt x="8140785" y="6010059"/>
                  </a:lnTo>
                  <a:lnTo>
                    <a:pt x="8160134" y="5991356"/>
                  </a:lnTo>
                  <a:lnTo>
                    <a:pt x="8182418" y="5976181"/>
                  </a:lnTo>
                  <a:lnTo>
                    <a:pt x="8210156" y="5971973"/>
                  </a:lnTo>
                  <a:lnTo>
                    <a:pt x="8248295" y="5966183"/>
                  </a:lnTo>
                  <a:lnTo>
                    <a:pt x="8270692" y="5973483"/>
                  </a:lnTo>
                  <a:lnTo>
                    <a:pt x="8290404" y="5982855"/>
                  </a:lnTo>
                  <a:lnTo>
                    <a:pt x="8310116" y="5992226"/>
                  </a:lnTo>
                  <a:lnTo>
                    <a:pt x="8350251" y="6003253"/>
                  </a:lnTo>
                  <a:lnTo>
                    <a:pt x="8374547" y="5985849"/>
                  </a:lnTo>
                  <a:lnTo>
                    <a:pt x="8400538" y="5943068"/>
                  </a:lnTo>
                  <a:lnTo>
                    <a:pt x="8414182" y="5917566"/>
                  </a:lnTo>
                  <a:lnTo>
                    <a:pt x="8403856" y="5895855"/>
                  </a:lnTo>
                  <a:lnTo>
                    <a:pt x="8378266" y="5879427"/>
                  </a:lnTo>
                  <a:lnTo>
                    <a:pt x="8343453" y="5864516"/>
                  </a:lnTo>
                  <a:lnTo>
                    <a:pt x="8307570" y="5849737"/>
                  </a:lnTo>
                  <a:lnTo>
                    <a:pt x="8275960" y="5830329"/>
                  </a:lnTo>
                  <a:lnTo>
                    <a:pt x="8255041" y="5803308"/>
                  </a:lnTo>
                  <a:lnTo>
                    <a:pt x="8255041" y="5781545"/>
                  </a:lnTo>
                  <a:lnTo>
                    <a:pt x="8270803" y="5751486"/>
                  </a:lnTo>
                  <a:lnTo>
                    <a:pt x="8287844" y="5729301"/>
                  </a:lnTo>
                  <a:lnTo>
                    <a:pt x="8305367" y="5712174"/>
                  </a:lnTo>
                  <a:lnTo>
                    <a:pt x="8322890" y="5695047"/>
                  </a:lnTo>
                  <a:lnTo>
                    <a:pt x="8340287" y="5682727"/>
                  </a:lnTo>
                  <a:lnTo>
                    <a:pt x="8390587" y="5652728"/>
                  </a:lnTo>
                  <a:lnTo>
                    <a:pt x="8420534" y="5641899"/>
                  </a:lnTo>
                  <a:lnTo>
                    <a:pt x="8435947" y="5615598"/>
                  </a:lnTo>
                  <a:lnTo>
                    <a:pt x="8444769" y="5555920"/>
                  </a:lnTo>
                  <a:lnTo>
                    <a:pt x="8447138" y="5532503"/>
                  </a:lnTo>
                  <a:lnTo>
                    <a:pt x="8442752" y="5508147"/>
                  </a:lnTo>
                  <a:lnTo>
                    <a:pt x="8429595" y="5489220"/>
                  </a:lnTo>
                  <a:lnTo>
                    <a:pt x="8409916" y="5466632"/>
                  </a:lnTo>
                  <a:lnTo>
                    <a:pt x="8382903" y="5441493"/>
                  </a:lnTo>
                  <a:lnTo>
                    <a:pt x="8347865" y="5419175"/>
                  </a:lnTo>
                  <a:lnTo>
                    <a:pt x="8314567" y="5395803"/>
                  </a:lnTo>
                  <a:lnTo>
                    <a:pt x="8294492" y="5368045"/>
                  </a:lnTo>
                  <a:lnTo>
                    <a:pt x="8289743" y="5336311"/>
                  </a:lnTo>
                  <a:lnTo>
                    <a:pt x="8305373" y="5314996"/>
                  </a:lnTo>
                  <a:lnTo>
                    <a:pt x="8319895" y="5295191"/>
                  </a:lnTo>
                  <a:lnTo>
                    <a:pt x="8351617" y="5278268"/>
                  </a:lnTo>
                  <a:lnTo>
                    <a:pt x="8393145" y="5269708"/>
                  </a:lnTo>
                  <a:lnTo>
                    <a:pt x="8441749" y="5263965"/>
                  </a:lnTo>
                  <a:lnTo>
                    <a:pt x="8470827" y="5263008"/>
                  </a:lnTo>
                  <a:lnTo>
                    <a:pt x="8499878" y="5260588"/>
                  </a:lnTo>
                  <a:lnTo>
                    <a:pt x="8564956" y="5255167"/>
                  </a:lnTo>
                  <a:lnTo>
                    <a:pt x="8640725" y="5229242"/>
                  </a:lnTo>
                  <a:lnTo>
                    <a:pt x="8705268" y="5227943"/>
                  </a:lnTo>
                  <a:lnTo>
                    <a:pt x="8724354" y="5214826"/>
                  </a:lnTo>
                  <a:lnTo>
                    <a:pt x="8732432" y="5194810"/>
                  </a:lnTo>
                  <a:lnTo>
                    <a:pt x="8732467" y="5170811"/>
                  </a:lnTo>
                  <a:lnTo>
                    <a:pt x="8731265" y="5146628"/>
                  </a:lnTo>
                  <a:lnTo>
                    <a:pt x="8722903" y="5120704"/>
                  </a:lnTo>
                  <a:lnTo>
                    <a:pt x="8716849" y="5080316"/>
                  </a:lnTo>
                  <a:lnTo>
                    <a:pt x="8720424" y="5017836"/>
                  </a:lnTo>
                  <a:lnTo>
                    <a:pt x="8697994" y="4989550"/>
                  </a:lnTo>
                  <a:lnTo>
                    <a:pt x="8671259" y="4965426"/>
                  </a:lnTo>
                  <a:lnTo>
                    <a:pt x="8670481" y="4936851"/>
                  </a:lnTo>
                  <a:lnTo>
                    <a:pt x="8664065" y="4907167"/>
                  </a:lnTo>
                  <a:lnTo>
                    <a:pt x="8653578" y="4878373"/>
                  </a:lnTo>
                  <a:lnTo>
                    <a:pt x="8643092" y="4849581"/>
                  </a:lnTo>
                  <a:lnTo>
                    <a:pt x="8627766" y="4821684"/>
                  </a:lnTo>
                  <a:lnTo>
                    <a:pt x="8610051" y="4795403"/>
                  </a:lnTo>
                  <a:lnTo>
                    <a:pt x="8592337" y="4769123"/>
                  </a:lnTo>
                  <a:lnTo>
                    <a:pt x="8572665" y="4744345"/>
                  </a:lnTo>
                  <a:lnTo>
                    <a:pt x="8550203" y="4723308"/>
                  </a:lnTo>
                  <a:lnTo>
                    <a:pt x="8527741" y="4702276"/>
                  </a:lnTo>
                  <a:lnTo>
                    <a:pt x="8502839" y="4684674"/>
                  </a:lnTo>
                  <a:lnTo>
                    <a:pt x="8478115" y="4671623"/>
                  </a:lnTo>
                  <a:lnTo>
                    <a:pt x="8449485" y="4672982"/>
                  </a:lnTo>
                  <a:lnTo>
                    <a:pt x="8428823" y="4678000"/>
                  </a:lnTo>
                  <a:lnTo>
                    <a:pt x="8396819" y="4689726"/>
                  </a:lnTo>
                  <a:lnTo>
                    <a:pt x="8376098" y="4704269"/>
                  </a:lnTo>
                  <a:lnTo>
                    <a:pt x="8357624" y="4718553"/>
                  </a:lnTo>
                  <a:lnTo>
                    <a:pt x="8320330" y="4731472"/>
                  </a:lnTo>
                  <a:lnTo>
                    <a:pt x="8283519" y="4709347"/>
                  </a:lnTo>
                  <a:lnTo>
                    <a:pt x="8238528" y="4688625"/>
                  </a:lnTo>
                  <a:lnTo>
                    <a:pt x="8196550" y="4678423"/>
                  </a:lnTo>
                  <a:lnTo>
                    <a:pt x="8208534" y="4633281"/>
                  </a:lnTo>
                  <a:lnTo>
                    <a:pt x="8221823" y="4546953"/>
                  </a:lnTo>
                  <a:lnTo>
                    <a:pt x="8216955" y="4502959"/>
                  </a:lnTo>
                  <a:lnTo>
                    <a:pt x="8209009" y="4459855"/>
                  </a:lnTo>
                  <a:lnTo>
                    <a:pt x="8289131" y="4450542"/>
                  </a:lnTo>
                  <a:lnTo>
                    <a:pt x="8366428" y="4438672"/>
                  </a:lnTo>
                  <a:lnTo>
                    <a:pt x="8435947" y="4419988"/>
                  </a:lnTo>
                  <a:lnTo>
                    <a:pt x="8480284" y="4408071"/>
                  </a:lnTo>
                  <a:lnTo>
                    <a:pt x="8518356" y="4397045"/>
                  </a:lnTo>
                  <a:lnTo>
                    <a:pt x="8547479" y="4376455"/>
                  </a:lnTo>
                  <a:lnTo>
                    <a:pt x="8574275" y="4353512"/>
                  </a:lnTo>
                  <a:lnTo>
                    <a:pt x="8594145" y="4320511"/>
                  </a:lnTo>
                  <a:lnTo>
                    <a:pt x="8602580" y="4299855"/>
                  </a:lnTo>
                  <a:lnTo>
                    <a:pt x="8607328" y="4274445"/>
                  </a:lnTo>
                  <a:lnTo>
                    <a:pt x="8605977" y="4231387"/>
                  </a:lnTo>
                  <a:lnTo>
                    <a:pt x="8608680" y="4192629"/>
                  </a:lnTo>
                  <a:lnTo>
                    <a:pt x="8614260" y="4171241"/>
                  </a:lnTo>
                  <a:lnTo>
                    <a:pt x="8614002" y="4130093"/>
                  </a:lnTo>
                  <a:lnTo>
                    <a:pt x="8591005" y="4094898"/>
                  </a:lnTo>
                  <a:lnTo>
                    <a:pt x="8551371" y="4060106"/>
                  </a:lnTo>
                  <a:lnTo>
                    <a:pt x="8509440" y="4026505"/>
                  </a:lnTo>
                  <a:lnTo>
                    <a:pt x="8471307" y="3990162"/>
                  </a:lnTo>
                  <a:lnTo>
                    <a:pt x="8450758" y="3970589"/>
                  </a:lnTo>
                  <a:lnTo>
                    <a:pt x="8436176" y="3941068"/>
                  </a:lnTo>
                  <a:lnTo>
                    <a:pt x="8411460" y="3926233"/>
                  </a:lnTo>
                  <a:lnTo>
                    <a:pt x="8389934" y="3913332"/>
                  </a:lnTo>
                  <a:lnTo>
                    <a:pt x="8366428" y="3907424"/>
                  </a:lnTo>
                  <a:lnTo>
                    <a:pt x="8344811" y="3896309"/>
                  </a:lnTo>
                  <a:lnTo>
                    <a:pt x="8319672" y="3877351"/>
                  </a:lnTo>
                  <a:lnTo>
                    <a:pt x="8140785" y="3805175"/>
                  </a:lnTo>
                  <a:lnTo>
                    <a:pt x="8112129" y="3759227"/>
                  </a:lnTo>
                  <a:lnTo>
                    <a:pt x="8058064" y="3687518"/>
                  </a:lnTo>
                  <a:lnTo>
                    <a:pt x="8005740" y="3647073"/>
                  </a:lnTo>
                  <a:lnTo>
                    <a:pt x="7947632" y="3602506"/>
                  </a:lnTo>
                  <a:lnTo>
                    <a:pt x="7916947" y="3578968"/>
                  </a:lnTo>
                  <a:lnTo>
                    <a:pt x="7898666" y="3549458"/>
                  </a:lnTo>
                  <a:lnTo>
                    <a:pt x="7895308" y="3511308"/>
                  </a:lnTo>
                  <a:lnTo>
                    <a:pt x="7891867" y="3469206"/>
                  </a:lnTo>
                  <a:lnTo>
                    <a:pt x="7863193" y="3440345"/>
                  </a:lnTo>
                  <a:lnTo>
                    <a:pt x="7833376" y="3427040"/>
                  </a:lnTo>
                  <a:lnTo>
                    <a:pt x="7803560" y="3413736"/>
                  </a:lnTo>
                  <a:lnTo>
                    <a:pt x="7770969" y="3402142"/>
                  </a:lnTo>
                  <a:lnTo>
                    <a:pt x="7740691" y="3380899"/>
                  </a:lnTo>
                  <a:lnTo>
                    <a:pt x="7731618" y="3354992"/>
                  </a:lnTo>
                  <a:lnTo>
                    <a:pt x="7723203" y="3334547"/>
                  </a:lnTo>
                  <a:lnTo>
                    <a:pt x="7707783" y="3297077"/>
                  </a:lnTo>
                  <a:lnTo>
                    <a:pt x="7710513" y="3265134"/>
                  </a:lnTo>
                  <a:lnTo>
                    <a:pt x="7720485" y="3233892"/>
                  </a:lnTo>
                  <a:lnTo>
                    <a:pt x="7730456" y="3202650"/>
                  </a:lnTo>
                  <a:lnTo>
                    <a:pt x="7747412" y="3172364"/>
                  </a:lnTo>
                  <a:lnTo>
                    <a:pt x="7759929" y="3138678"/>
                  </a:lnTo>
                  <a:lnTo>
                    <a:pt x="7771212" y="3108329"/>
                  </a:lnTo>
                  <a:lnTo>
                    <a:pt x="7788155" y="3074366"/>
                  </a:lnTo>
                  <a:lnTo>
                    <a:pt x="7792574" y="3042104"/>
                  </a:lnTo>
                  <a:lnTo>
                    <a:pt x="7755359" y="3037726"/>
                  </a:lnTo>
                  <a:lnTo>
                    <a:pt x="7701571" y="3097299"/>
                  </a:lnTo>
                  <a:lnTo>
                    <a:pt x="7664718" y="3115555"/>
                  </a:lnTo>
                  <a:lnTo>
                    <a:pt x="7632179" y="3119903"/>
                  </a:lnTo>
                  <a:lnTo>
                    <a:pt x="7592445" y="3119668"/>
                  </a:lnTo>
                  <a:lnTo>
                    <a:pt x="7561343" y="3107394"/>
                  </a:lnTo>
                  <a:lnTo>
                    <a:pt x="7532293" y="3092010"/>
                  </a:lnTo>
                  <a:lnTo>
                    <a:pt x="7514216" y="3065649"/>
                  </a:lnTo>
                  <a:lnTo>
                    <a:pt x="7511011" y="3027141"/>
                  </a:lnTo>
                  <a:lnTo>
                    <a:pt x="7481617" y="3011829"/>
                  </a:lnTo>
                  <a:lnTo>
                    <a:pt x="7460685" y="3018980"/>
                  </a:lnTo>
                  <a:lnTo>
                    <a:pt x="7445899" y="3034110"/>
                  </a:lnTo>
                  <a:lnTo>
                    <a:pt x="7429043" y="3066253"/>
                  </a:lnTo>
                  <a:lnTo>
                    <a:pt x="7422375" y="3093813"/>
                  </a:lnTo>
                  <a:lnTo>
                    <a:pt x="7369491" y="3149751"/>
                  </a:lnTo>
                  <a:lnTo>
                    <a:pt x="7334624" y="3165276"/>
                  </a:lnTo>
                  <a:lnTo>
                    <a:pt x="7305626" y="3160442"/>
                  </a:lnTo>
                  <a:lnTo>
                    <a:pt x="7278719" y="3144699"/>
                  </a:lnTo>
                  <a:lnTo>
                    <a:pt x="7252576" y="3134597"/>
                  </a:lnTo>
                  <a:lnTo>
                    <a:pt x="7216766" y="3120769"/>
                  </a:lnTo>
                  <a:lnTo>
                    <a:pt x="7173603" y="3121062"/>
                  </a:lnTo>
                  <a:lnTo>
                    <a:pt x="7131520" y="3129157"/>
                  </a:lnTo>
                  <a:lnTo>
                    <a:pt x="7089432" y="3137252"/>
                  </a:lnTo>
                  <a:lnTo>
                    <a:pt x="7047304" y="3153248"/>
                  </a:lnTo>
                  <a:lnTo>
                    <a:pt x="7015898" y="3172683"/>
                  </a:lnTo>
                  <a:lnTo>
                    <a:pt x="6996542" y="3193925"/>
                  </a:lnTo>
                  <a:lnTo>
                    <a:pt x="6987772" y="3226465"/>
                  </a:lnTo>
                  <a:lnTo>
                    <a:pt x="6977813" y="3255655"/>
                  </a:lnTo>
                  <a:lnTo>
                    <a:pt x="6968613" y="3283990"/>
                  </a:lnTo>
                  <a:lnTo>
                    <a:pt x="6954374" y="3306212"/>
                  </a:lnTo>
                  <a:lnTo>
                    <a:pt x="6932928" y="3318224"/>
                  </a:lnTo>
                  <a:lnTo>
                    <a:pt x="6895746" y="3307964"/>
                  </a:lnTo>
                  <a:lnTo>
                    <a:pt x="6866742" y="3284958"/>
                  </a:lnTo>
                  <a:lnTo>
                    <a:pt x="6845876" y="3252934"/>
                  </a:lnTo>
                  <a:lnTo>
                    <a:pt x="6827884" y="3218824"/>
                  </a:lnTo>
                  <a:lnTo>
                    <a:pt x="6821316" y="3176710"/>
                  </a:lnTo>
                  <a:lnTo>
                    <a:pt x="6828194" y="3141399"/>
                  </a:lnTo>
                  <a:lnTo>
                    <a:pt x="6838839" y="3086756"/>
                  </a:lnTo>
                  <a:lnTo>
                    <a:pt x="6860668" y="3019257"/>
                  </a:lnTo>
                  <a:lnTo>
                    <a:pt x="6858115" y="2963212"/>
                  </a:lnTo>
                  <a:lnTo>
                    <a:pt x="6855689" y="2910270"/>
                  </a:lnTo>
                  <a:lnTo>
                    <a:pt x="6846192" y="2877988"/>
                  </a:lnTo>
                  <a:lnTo>
                    <a:pt x="6849957" y="2816311"/>
                  </a:lnTo>
                  <a:lnTo>
                    <a:pt x="6853229" y="2763072"/>
                  </a:lnTo>
                  <a:lnTo>
                    <a:pt x="6874036" y="2708473"/>
                  </a:lnTo>
                  <a:lnTo>
                    <a:pt x="6873079" y="2655808"/>
                  </a:lnTo>
                  <a:lnTo>
                    <a:pt x="6872017" y="2596480"/>
                  </a:lnTo>
                  <a:lnTo>
                    <a:pt x="6852029" y="2539308"/>
                  </a:lnTo>
                  <a:lnTo>
                    <a:pt x="6834994" y="2481702"/>
                  </a:lnTo>
                  <a:lnTo>
                    <a:pt x="6826480" y="2452899"/>
                  </a:lnTo>
                  <a:lnTo>
                    <a:pt x="6819073" y="2424186"/>
                  </a:lnTo>
                  <a:lnTo>
                    <a:pt x="6814589" y="2394649"/>
                  </a:lnTo>
                  <a:lnTo>
                    <a:pt x="6810111" y="2365113"/>
                  </a:lnTo>
                  <a:lnTo>
                    <a:pt x="6809676" y="2334561"/>
                  </a:lnTo>
                  <a:lnTo>
                    <a:pt x="6814589" y="2303516"/>
                  </a:lnTo>
                  <a:lnTo>
                    <a:pt x="6820169" y="2268230"/>
                  </a:lnTo>
                  <a:lnTo>
                    <a:pt x="6839057" y="2241314"/>
                  </a:lnTo>
                  <a:lnTo>
                    <a:pt x="6863557" y="2216463"/>
                  </a:lnTo>
                  <a:lnTo>
                    <a:pt x="6888063" y="2191611"/>
                  </a:lnTo>
                  <a:lnTo>
                    <a:pt x="6917825" y="2169578"/>
                  </a:lnTo>
                  <a:lnTo>
                    <a:pt x="6943810" y="2147093"/>
                  </a:lnTo>
                  <a:lnTo>
                    <a:pt x="6969794" y="2124609"/>
                  </a:lnTo>
                  <a:lnTo>
                    <a:pt x="6992276" y="2100467"/>
                  </a:lnTo>
                  <a:lnTo>
                    <a:pt x="7002300" y="2072282"/>
                  </a:lnTo>
                  <a:lnTo>
                    <a:pt x="7008631" y="2043066"/>
                  </a:lnTo>
                  <a:lnTo>
                    <a:pt x="7004126" y="2009005"/>
                  </a:lnTo>
                  <a:lnTo>
                    <a:pt x="6985971" y="1970267"/>
                  </a:lnTo>
                  <a:lnTo>
                    <a:pt x="6961141" y="1949174"/>
                  </a:lnTo>
                  <a:lnTo>
                    <a:pt x="6937689" y="1943262"/>
                  </a:lnTo>
                  <a:lnTo>
                    <a:pt x="6898232" y="1937422"/>
                  </a:lnTo>
                  <a:lnTo>
                    <a:pt x="6871714" y="1926741"/>
                  </a:lnTo>
                  <a:lnTo>
                    <a:pt x="6860344" y="1898804"/>
                  </a:lnTo>
                  <a:lnTo>
                    <a:pt x="6858610" y="1862185"/>
                  </a:lnTo>
                  <a:lnTo>
                    <a:pt x="6847234" y="1835607"/>
                  </a:lnTo>
                  <a:lnTo>
                    <a:pt x="6827172" y="1849762"/>
                  </a:lnTo>
                  <a:lnTo>
                    <a:pt x="6791461" y="1855628"/>
                  </a:lnTo>
                  <a:lnTo>
                    <a:pt x="6768339" y="1853290"/>
                  </a:lnTo>
                  <a:lnTo>
                    <a:pt x="6740397" y="1850456"/>
                  </a:lnTo>
                  <a:lnTo>
                    <a:pt x="6705773" y="1836968"/>
                  </a:lnTo>
                  <a:lnTo>
                    <a:pt x="6680541" y="1820054"/>
                  </a:lnTo>
                  <a:lnTo>
                    <a:pt x="6662372" y="1781022"/>
                  </a:lnTo>
                  <a:lnTo>
                    <a:pt x="6664720" y="1744049"/>
                  </a:lnTo>
                  <a:lnTo>
                    <a:pt x="6663605" y="1694147"/>
                  </a:lnTo>
                  <a:lnTo>
                    <a:pt x="6654590" y="1600782"/>
                  </a:lnTo>
                  <a:lnTo>
                    <a:pt x="6658230" y="1538531"/>
                  </a:lnTo>
                  <a:lnTo>
                    <a:pt x="6666329" y="1453392"/>
                  </a:lnTo>
                  <a:lnTo>
                    <a:pt x="6673966" y="1373076"/>
                  </a:lnTo>
                  <a:lnTo>
                    <a:pt x="6680845" y="1332230"/>
                  </a:lnTo>
                  <a:lnTo>
                    <a:pt x="6698974" y="1294249"/>
                  </a:lnTo>
                  <a:lnTo>
                    <a:pt x="6717104" y="1256267"/>
                  </a:lnTo>
                  <a:lnTo>
                    <a:pt x="6746629" y="1219996"/>
                  </a:lnTo>
                  <a:lnTo>
                    <a:pt x="6796908" y="1151428"/>
                  </a:lnTo>
                  <a:lnTo>
                    <a:pt x="6835792" y="1098397"/>
                  </a:lnTo>
                  <a:lnTo>
                    <a:pt x="6871292" y="1043738"/>
                  </a:lnTo>
                  <a:lnTo>
                    <a:pt x="6920688" y="999085"/>
                  </a:lnTo>
                  <a:lnTo>
                    <a:pt x="6950992" y="971690"/>
                  </a:lnTo>
                  <a:lnTo>
                    <a:pt x="6986742" y="948715"/>
                  </a:lnTo>
                  <a:lnTo>
                    <a:pt x="7018622" y="922914"/>
                  </a:lnTo>
                  <a:lnTo>
                    <a:pt x="7040372" y="905317"/>
                  </a:lnTo>
                  <a:lnTo>
                    <a:pt x="7070016" y="866896"/>
                  </a:lnTo>
                  <a:lnTo>
                    <a:pt x="7094794" y="826340"/>
                  </a:lnTo>
                  <a:lnTo>
                    <a:pt x="7119570" y="785784"/>
                  </a:lnTo>
                  <a:lnTo>
                    <a:pt x="7140008" y="742305"/>
                  </a:lnTo>
                  <a:lnTo>
                    <a:pt x="7143760" y="714803"/>
                  </a:lnTo>
                  <a:lnTo>
                    <a:pt x="7147691" y="685921"/>
                  </a:lnTo>
                  <a:lnTo>
                    <a:pt x="7129245" y="667792"/>
                  </a:lnTo>
                  <a:lnTo>
                    <a:pt x="7121997" y="644073"/>
                  </a:lnTo>
                  <a:lnTo>
                    <a:pt x="7110687" y="607125"/>
                  </a:lnTo>
                  <a:lnTo>
                    <a:pt x="7093415" y="567876"/>
                  </a:lnTo>
                  <a:lnTo>
                    <a:pt x="7089353" y="531177"/>
                  </a:lnTo>
                  <a:lnTo>
                    <a:pt x="7088436" y="494820"/>
                  </a:lnTo>
                  <a:lnTo>
                    <a:pt x="7101151" y="461438"/>
                  </a:lnTo>
                  <a:lnTo>
                    <a:pt x="7132879" y="431882"/>
                  </a:lnTo>
                  <a:lnTo>
                    <a:pt x="7221778" y="391076"/>
                  </a:lnTo>
                  <a:lnTo>
                    <a:pt x="7209083" y="364999"/>
                  </a:lnTo>
                  <a:lnTo>
                    <a:pt x="7108887" y="360674"/>
                  </a:lnTo>
                  <a:lnTo>
                    <a:pt x="7009099" y="357072"/>
                  </a:lnTo>
                  <a:lnTo>
                    <a:pt x="6909312" y="353469"/>
                  </a:lnTo>
                  <a:lnTo>
                    <a:pt x="6809933" y="349484"/>
                  </a:lnTo>
                  <a:lnTo>
                    <a:pt x="6795550" y="333948"/>
                  </a:lnTo>
                  <a:lnTo>
                    <a:pt x="6791909" y="302353"/>
                  </a:lnTo>
                  <a:lnTo>
                    <a:pt x="6794191" y="278180"/>
                  </a:lnTo>
                  <a:lnTo>
                    <a:pt x="6800403" y="240129"/>
                  </a:lnTo>
                  <a:lnTo>
                    <a:pt x="6805073" y="214250"/>
                  </a:lnTo>
                  <a:lnTo>
                    <a:pt x="6772474" y="210557"/>
                  </a:lnTo>
                  <a:lnTo>
                    <a:pt x="6632965" y="184093"/>
                  </a:lnTo>
                  <a:lnTo>
                    <a:pt x="6542404" y="217715"/>
                  </a:lnTo>
                  <a:lnTo>
                    <a:pt x="6431016" y="214250"/>
                  </a:lnTo>
                  <a:lnTo>
                    <a:pt x="6376542" y="212550"/>
                  </a:lnTo>
                  <a:lnTo>
                    <a:pt x="6323348" y="189257"/>
                  </a:lnTo>
                  <a:lnTo>
                    <a:pt x="6269151" y="184326"/>
                  </a:lnTo>
                  <a:lnTo>
                    <a:pt x="6231429" y="180883"/>
                  </a:lnTo>
                  <a:lnTo>
                    <a:pt x="6191344" y="191956"/>
                  </a:lnTo>
                  <a:lnTo>
                    <a:pt x="6153536" y="189767"/>
                  </a:lnTo>
                  <a:lnTo>
                    <a:pt x="6115622" y="187556"/>
                  </a:lnTo>
                  <a:lnTo>
                    <a:pt x="6089671" y="167579"/>
                  </a:lnTo>
                  <a:lnTo>
                    <a:pt x="6058319" y="151681"/>
                  </a:lnTo>
                  <a:lnTo>
                    <a:pt x="6035434" y="140056"/>
                  </a:lnTo>
                  <a:lnTo>
                    <a:pt x="6006252" y="132448"/>
                  </a:lnTo>
                  <a:lnTo>
                    <a:pt x="5982148" y="123117"/>
                  </a:lnTo>
                  <a:lnTo>
                    <a:pt x="5922088" y="99823"/>
                  </a:lnTo>
                  <a:lnTo>
                    <a:pt x="5781649" y="12134"/>
                  </a:lnTo>
                  <a:lnTo>
                    <a:pt x="5722354" y="14301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25" name="Kherson¬0" descr="Kherson¬0">
              <a:extLst>
                <a:ext uri="{FF2B5EF4-FFF2-40B4-BE49-F238E27FC236}">
                  <a16:creationId xmlns:a16="http://schemas.microsoft.com/office/drawing/2014/main" id="{034C8388-7E3A-4C4B-AD03-DA55F956A208}"/>
                </a:ext>
              </a:extLst>
            </p:cNvPr>
            <p:cNvSpPr/>
            <p:nvPr/>
          </p:nvSpPr>
          <p:spPr>
            <a:xfrm>
              <a:off x="4473453" y="4046980"/>
              <a:ext cx="154705" cy="26026"/>
            </a:xfrm>
            <a:custGeom>
              <a:avLst/>
              <a:gdLst/>
              <a:ahLst/>
              <a:cxnLst/>
              <a:rect l="0" t="0" r="0" b="0"/>
              <a:pathLst>
                <a:path w="1578683" h="301481">
                  <a:moveTo>
                    <a:pt x="1312934" y="144457"/>
                  </a:moveTo>
                  <a:lnTo>
                    <a:pt x="1328874" y="181651"/>
                  </a:lnTo>
                  <a:lnTo>
                    <a:pt x="1373712" y="177912"/>
                  </a:lnTo>
                  <a:lnTo>
                    <a:pt x="1422936" y="173791"/>
                  </a:lnTo>
                  <a:lnTo>
                    <a:pt x="1457626" y="129710"/>
                  </a:lnTo>
                  <a:lnTo>
                    <a:pt x="1513563" y="168648"/>
                  </a:lnTo>
                  <a:lnTo>
                    <a:pt x="1578682" y="214000"/>
                  </a:lnTo>
                  <a:lnTo>
                    <a:pt x="1498256" y="276526"/>
                  </a:lnTo>
                  <a:lnTo>
                    <a:pt x="1449803" y="282730"/>
                  </a:lnTo>
                  <a:lnTo>
                    <a:pt x="1303924" y="301480"/>
                  </a:lnTo>
                  <a:lnTo>
                    <a:pt x="1194767" y="250174"/>
                  </a:lnTo>
                  <a:lnTo>
                    <a:pt x="1053734" y="239034"/>
                  </a:lnTo>
                  <a:lnTo>
                    <a:pt x="986907" y="233766"/>
                  </a:lnTo>
                  <a:lnTo>
                    <a:pt x="904280" y="248004"/>
                  </a:lnTo>
                  <a:lnTo>
                    <a:pt x="845362" y="239567"/>
                  </a:lnTo>
                  <a:lnTo>
                    <a:pt x="779649" y="230169"/>
                  </a:lnTo>
                  <a:lnTo>
                    <a:pt x="722012" y="183288"/>
                  </a:lnTo>
                  <a:lnTo>
                    <a:pt x="652131" y="173295"/>
                  </a:lnTo>
                  <a:lnTo>
                    <a:pt x="612006" y="167559"/>
                  </a:lnTo>
                  <a:lnTo>
                    <a:pt x="471866" y="145499"/>
                  </a:lnTo>
                  <a:lnTo>
                    <a:pt x="441384" y="145499"/>
                  </a:lnTo>
                  <a:lnTo>
                    <a:pt x="397132" y="145499"/>
                  </a:lnTo>
                  <a:lnTo>
                    <a:pt x="349312" y="151790"/>
                  </a:lnTo>
                  <a:lnTo>
                    <a:pt x="305709" y="148605"/>
                  </a:lnTo>
                  <a:lnTo>
                    <a:pt x="269317" y="145967"/>
                  </a:lnTo>
                  <a:lnTo>
                    <a:pt x="110220" y="86079"/>
                  </a:lnTo>
                  <a:lnTo>
                    <a:pt x="66904" y="68945"/>
                  </a:lnTo>
                  <a:lnTo>
                    <a:pt x="0" y="44339"/>
                  </a:lnTo>
                  <a:lnTo>
                    <a:pt x="42887" y="0"/>
                  </a:lnTo>
                  <a:lnTo>
                    <a:pt x="289471" y="81995"/>
                  </a:lnTo>
                  <a:lnTo>
                    <a:pt x="349914" y="99256"/>
                  </a:lnTo>
                  <a:lnTo>
                    <a:pt x="593982" y="129518"/>
                  </a:lnTo>
                  <a:lnTo>
                    <a:pt x="756013" y="116381"/>
                  </a:lnTo>
                  <a:lnTo>
                    <a:pt x="736631" y="51052"/>
                  </a:lnTo>
                  <a:lnTo>
                    <a:pt x="799117" y="34519"/>
                  </a:lnTo>
                  <a:lnTo>
                    <a:pt x="835589" y="35753"/>
                  </a:lnTo>
                  <a:lnTo>
                    <a:pt x="935053" y="43613"/>
                  </a:lnTo>
                  <a:lnTo>
                    <a:pt x="980024" y="108521"/>
                  </a:lnTo>
                  <a:lnTo>
                    <a:pt x="1000302" y="127394"/>
                  </a:lnTo>
                  <a:lnTo>
                    <a:pt x="1066481" y="160502"/>
                  </a:lnTo>
                  <a:lnTo>
                    <a:pt x="1167048" y="39065"/>
                  </a:lnTo>
                  <a:lnTo>
                    <a:pt x="1249347" y="96702"/>
                  </a:lnTo>
                  <a:lnTo>
                    <a:pt x="1273739" y="114812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26" name="Kherson¬1" descr="Kherson¬1">
              <a:extLst>
                <a:ext uri="{FF2B5EF4-FFF2-40B4-BE49-F238E27FC236}">
                  <a16:creationId xmlns:a16="http://schemas.microsoft.com/office/drawing/2014/main" id="{E1EF46C7-B9F9-4DD5-B642-E121ED28C86B}"/>
                </a:ext>
              </a:extLst>
            </p:cNvPr>
            <p:cNvSpPr/>
            <p:nvPr/>
          </p:nvSpPr>
          <p:spPr>
            <a:xfrm>
              <a:off x="4449923" y="4047107"/>
              <a:ext cx="12392" cy="5075"/>
            </a:xfrm>
            <a:custGeom>
              <a:avLst/>
              <a:gdLst/>
              <a:ahLst/>
              <a:cxnLst/>
              <a:rect l="0" t="0" r="0" b="0"/>
              <a:pathLst>
                <a:path w="126452" h="58788">
                  <a:moveTo>
                    <a:pt x="126451" y="31496"/>
                  </a:moveTo>
                  <a:lnTo>
                    <a:pt x="72984" y="58787"/>
                  </a:lnTo>
                  <a:lnTo>
                    <a:pt x="37703" y="30811"/>
                  </a:lnTo>
                  <a:lnTo>
                    <a:pt x="0" y="20653"/>
                  </a:lnTo>
                  <a:lnTo>
                    <a:pt x="9521" y="726"/>
                  </a:lnTo>
                  <a:lnTo>
                    <a:pt x="40506" y="0"/>
                  </a:lnTo>
                  <a:lnTo>
                    <a:pt x="65757" y="9897"/>
                  </a:lnTo>
                  <a:lnTo>
                    <a:pt x="86456" y="13168"/>
                  </a:lnTo>
                  <a:lnTo>
                    <a:pt x="123350" y="14495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27" name="Kherson¬2" descr="Kherson¬2">
              <a:extLst>
                <a:ext uri="{FF2B5EF4-FFF2-40B4-BE49-F238E27FC236}">
                  <a16:creationId xmlns:a16="http://schemas.microsoft.com/office/drawing/2014/main" id="{029057FD-7182-47DF-BAA9-EC144282C38E}"/>
                </a:ext>
              </a:extLst>
            </p:cNvPr>
            <p:cNvSpPr/>
            <p:nvPr/>
          </p:nvSpPr>
          <p:spPr>
            <a:xfrm>
              <a:off x="4356300" y="3842306"/>
              <a:ext cx="7394" cy="5238"/>
            </a:xfrm>
            <a:custGeom>
              <a:avLst/>
              <a:gdLst/>
              <a:ahLst/>
              <a:cxnLst/>
              <a:rect l="0" t="0" r="0" b="0"/>
              <a:pathLst>
                <a:path w="75454" h="60673">
                  <a:moveTo>
                    <a:pt x="34550" y="2378"/>
                  </a:moveTo>
                  <a:lnTo>
                    <a:pt x="67196" y="9264"/>
                  </a:lnTo>
                  <a:lnTo>
                    <a:pt x="75453" y="40081"/>
                  </a:lnTo>
                  <a:lnTo>
                    <a:pt x="58701" y="57122"/>
                  </a:lnTo>
                  <a:lnTo>
                    <a:pt x="36392" y="60672"/>
                  </a:lnTo>
                  <a:lnTo>
                    <a:pt x="7609" y="52446"/>
                  </a:lnTo>
                  <a:lnTo>
                    <a:pt x="0" y="24566"/>
                  </a:lnTo>
                  <a:lnTo>
                    <a:pt x="17897" y="0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28" name="Kherson¬3" descr="Kherson¬3">
              <a:extLst>
                <a:ext uri="{FF2B5EF4-FFF2-40B4-BE49-F238E27FC236}">
                  <a16:creationId xmlns:a16="http://schemas.microsoft.com/office/drawing/2014/main" id="{BB13CCCF-F090-4821-92DC-2CAA511F474F}"/>
                </a:ext>
              </a:extLst>
            </p:cNvPr>
            <p:cNvSpPr/>
            <p:nvPr/>
          </p:nvSpPr>
          <p:spPr>
            <a:xfrm>
              <a:off x="4367421" y="3850423"/>
              <a:ext cx="18941" cy="8183"/>
            </a:xfrm>
            <a:custGeom>
              <a:avLst/>
              <a:gdLst/>
              <a:ahLst/>
              <a:cxnLst/>
              <a:rect l="0" t="0" r="0" b="0"/>
              <a:pathLst>
                <a:path w="193279" h="94789">
                  <a:moveTo>
                    <a:pt x="193278" y="94788"/>
                  </a:moveTo>
                  <a:lnTo>
                    <a:pt x="39998" y="88965"/>
                  </a:lnTo>
                  <a:lnTo>
                    <a:pt x="0" y="52449"/>
                  </a:lnTo>
                  <a:lnTo>
                    <a:pt x="10241" y="24736"/>
                  </a:lnTo>
                  <a:lnTo>
                    <a:pt x="53597" y="31365"/>
                  </a:lnTo>
                  <a:lnTo>
                    <a:pt x="96999" y="21803"/>
                  </a:lnTo>
                  <a:lnTo>
                    <a:pt x="130073" y="0"/>
                  </a:lnTo>
                  <a:lnTo>
                    <a:pt x="158291" y="15472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29" name="Kherson¬4" descr="Kherson¬4">
              <a:extLst>
                <a:ext uri="{FF2B5EF4-FFF2-40B4-BE49-F238E27FC236}">
                  <a16:creationId xmlns:a16="http://schemas.microsoft.com/office/drawing/2014/main" id="{0D62A808-3906-4815-AEDB-C84CF24A8A3C}"/>
                </a:ext>
              </a:extLst>
            </p:cNvPr>
            <p:cNvSpPr/>
            <p:nvPr/>
          </p:nvSpPr>
          <p:spPr>
            <a:xfrm>
              <a:off x="4378402" y="3836064"/>
              <a:ext cx="19240" cy="10777"/>
            </a:xfrm>
            <a:custGeom>
              <a:avLst/>
              <a:gdLst/>
              <a:ahLst/>
              <a:cxnLst/>
              <a:rect l="0" t="0" r="0" b="0"/>
              <a:pathLst>
                <a:path w="196336" h="124843">
                  <a:moveTo>
                    <a:pt x="196335" y="49185"/>
                  </a:moveTo>
                  <a:lnTo>
                    <a:pt x="178867" y="82206"/>
                  </a:lnTo>
                  <a:lnTo>
                    <a:pt x="138736" y="110861"/>
                  </a:lnTo>
                  <a:lnTo>
                    <a:pt x="114427" y="102056"/>
                  </a:lnTo>
                  <a:lnTo>
                    <a:pt x="74851" y="93979"/>
                  </a:lnTo>
                  <a:lnTo>
                    <a:pt x="25549" y="124842"/>
                  </a:lnTo>
                  <a:lnTo>
                    <a:pt x="0" y="106226"/>
                  </a:lnTo>
                  <a:lnTo>
                    <a:pt x="16157" y="76259"/>
                  </a:lnTo>
                  <a:lnTo>
                    <a:pt x="48332" y="64610"/>
                  </a:lnTo>
                  <a:lnTo>
                    <a:pt x="87310" y="42425"/>
                  </a:lnTo>
                  <a:lnTo>
                    <a:pt x="114598" y="0"/>
                  </a:lnTo>
                  <a:lnTo>
                    <a:pt x="167181" y="15776"/>
                  </a:lnTo>
                  <a:lnTo>
                    <a:pt x="187710" y="22405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30" name="Kherson¬5" descr="Kherson¬5">
              <a:extLst>
                <a:ext uri="{FF2B5EF4-FFF2-40B4-BE49-F238E27FC236}">
                  <a16:creationId xmlns:a16="http://schemas.microsoft.com/office/drawing/2014/main" id="{C383FD51-7EF1-4C53-B4EC-385D8CF6BAB3}"/>
                </a:ext>
              </a:extLst>
            </p:cNvPr>
            <p:cNvSpPr/>
            <p:nvPr/>
          </p:nvSpPr>
          <p:spPr>
            <a:xfrm>
              <a:off x="4366009" y="3835342"/>
              <a:ext cx="13296" cy="10414"/>
            </a:xfrm>
            <a:custGeom>
              <a:avLst/>
              <a:gdLst/>
              <a:ahLst/>
              <a:cxnLst/>
              <a:rect l="0" t="0" r="0" b="0"/>
              <a:pathLst>
                <a:path w="135682" h="120630">
                  <a:moveTo>
                    <a:pt x="67927" y="17767"/>
                  </a:moveTo>
                  <a:lnTo>
                    <a:pt x="115918" y="0"/>
                  </a:lnTo>
                  <a:lnTo>
                    <a:pt x="135681" y="14403"/>
                  </a:lnTo>
                  <a:lnTo>
                    <a:pt x="118712" y="68437"/>
                  </a:lnTo>
                  <a:lnTo>
                    <a:pt x="56108" y="120629"/>
                  </a:lnTo>
                  <a:lnTo>
                    <a:pt x="19552" y="80678"/>
                  </a:lnTo>
                  <a:lnTo>
                    <a:pt x="9521" y="61169"/>
                  </a:lnTo>
                  <a:lnTo>
                    <a:pt x="0" y="31366"/>
                  </a:lnTo>
                  <a:lnTo>
                    <a:pt x="29799" y="19041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31" name="Kherson¬6" descr="Kherson¬6">
              <a:extLst>
                <a:ext uri="{FF2B5EF4-FFF2-40B4-BE49-F238E27FC236}">
                  <a16:creationId xmlns:a16="http://schemas.microsoft.com/office/drawing/2014/main" id="{68784205-1C7F-48F9-8140-14091A5F1ABC}"/>
                </a:ext>
              </a:extLst>
            </p:cNvPr>
            <p:cNvSpPr/>
            <p:nvPr/>
          </p:nvSpPr>
          <p:spPr>
            <a:xfrm>
              <a:off x="4385249" y="3824336"/>
              <a:ext cx="13097" cy="6499"/>
            </a:xfrm>
            <a:custGeom>
              <a:avLst/>
              <a:gdLst/>
              <a:ahLst/>
              <a:cxnLst/>
              <a:rect l="0" t="0" r="0" b="0"/>
              <a:pathLst>
                <a:path w="133645" h="75283">
                  <a:moveTo>
                    <a:pt x="46552" y="25676"/>
                  </a:moveTo>
                  <a:lnTo>
                    <a:pt x="76693" y="17180"/>
                  </a:lnTo>
                  <a:lnTo>
                    <a:pt x="98707" y="0"/>
                  </a:lnTo>
                  <a:lnTo>
                    <a:pt x="125152" y="2849"/>
                  </a:lnTo>
                  <a:lnTo>
                    <a:pt x="133644" y="27759"/>
                  </a:lnTo>
                  <a:lnTo>
                    <a:pt x="117620" y="73369"/>
                  </a:lnTo>
                  <a:lnTo>
                    <a:pt x="43789" y="75282"/>
                  </a:lnTo>
                  <a:lnTo>
                    <a:pt x="5150" y="64784"/>
                  </a:lnTo>
                  <a:lnTo>
                    <a:pt x="0" y="33926"/>
                  </a:lnTo>
                  <a:lnTo>
                    <a:pt x="18492" y="23124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32" name="Kherson¬7" descr="Kherson¬7">
              <a:extLst>
                <a:ext uri="{FF2B5EF4-FFF2-40B4-BE49-F238E27FC236}">
                  <a16:creationId xmlns:a16="http://schemas.microsoft.com/office/drawing/2014/main" id="{2ACCEA12-8870-4D9B-9A7A-F9DE45B3BA54}"/>
                </a:ext>
              </a:extLst>
            </p:cNvPr>
            <p:cNvSpPr/>
            <p:nvPr/>
          </p:nvSpPr>
          <p:spPr>
            <a:xfrm>
              <a:off x="4358154" y="3824766"/>
              <a:ext cx="13700" cy="6565"/>
            </a:xfrm>
            <a:custGeom>
              <a:avLst/>
              <a:gdLst/>
              <a:ahLst/>
              <a:cxnLst/>
              <a:rect l="0" t="0" r="0" b="0"/>
              <a:pathLst>
                <a:path w="139800" h="76046">
                  <a:moveTo>
                    <a:pt x="67326" y="16325"/>
                  </a:moveTo>
                  <a:lnTo>
                    <a:pt x="123437" y="6887"/>
                  </a:lnTo>
                  <a:lnTo>
                    <a:pt x="139799" y="44379"/>
                  </a:lnTo>
                  <a:lnTo>
                    <a:pt x="88410" y="71707"/>
                  </a:lnTo>
                  <a:lnTo>
                    <a:pt x="12241" y="76045"/>
                  </a:lnTo>
                  <a:lnTo>
                    <a:pt x="0" y="19726"/>
                  </a:lnTo>
                  <a:lnTo>
                    <a:pt x="24479" y="0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33" name="Kherson¬8" descr="Kherson¬8">
              <a:extLst>
                <a:ext uri="{FF2B5EF4-FFF2-40B4-BE49-F238E27FC236}">
                  <a16:creationId xmlns:a16="http://schemas.microsoft.com/office/drawing/2014/main" id="{14F98EB4-E7E0-4907-BA24-B0CEA6E9E872}"/>
                </a:ext>
              </a:extLst>
            </p:cNvPr>
            <p:cNvSpPr/>
            <p:nvPr/>
          </p:nvSpPr>
          <p:spPr>
            <a:xfrm>
              <a:off x="4165895" y="3885301"/>
              <a:ext cx="11638" cy="18902"/>
            </a:xfrm>
            <a:custGeom>
              <a:avLst/>
              <a:gdLst/>
              <a:ahLst/>
              <a:cxnLst/>
              <a:rect l="0" t="0" r="0" b="0"/>
              <a:pathLst>
                <a:path w="118757" h="218952">
                  <a:moveTo>
                    <a:pt x="97210" y="218951"/>
                  </a:moveTo>
                  <a:lnTo>
                    <a:pt x="77782" y="205736"/>
                  </a:lnTo>
                  <a:lnTo>
                    <a:pt x="75211" y="159484"/>
                  </a:lnTo>
                  <a:lnTo>
                    <a:pt x="64328" y="138745"/>
                  </a:lnTo>
                  <a:lnTo>
                    <a:pt x="49709" y="110985"/>
                  </a:lnTo>
                  <a:lnTo>
                    <a:pt x="7225" y="68693"/>
                  </a:lnTo>
                  <a:lnTo>
                    <a:pt x="589" y="40090"/>
                  </a:lnTo>
                  <a:lnTo>
                    <a:pt x="0" y="13816"/>
                  </a:lnTo>
                  <a:lnTo>
                    <a:pt x="18058" y="0"/>
                  </a:lnTo>
                  <a:lnTo>
                    <a:pt x="51495" y="66907"/>
                  </a:lnTo>
                  <a:lnTo>
                    <a:pt x="118756" y="154130"/>
                  </a:lnTo>
                  <a:lnTo>
                    <a:pt x="110580" y="209732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34" name="Kherson¬9" descr="Kherson¬9">
              <a:extLst>
                <a:ext uri="{FF2B5EF4-FFF2-40B4-BE49-F238E27FC236}">
                  <a16:creationId xmlns:a16="http://schemas.microsoft.com/office/drawing/2014/main" id="{216582A1-DC44-442D-8A23-D7280D75AB82}"/>
                </a:ext>
              </a:extLst>
            </p:cNvPr>
            <p:cNvSpPr/>
            <p:nvPr/>
          </p:nvSpPr>
          <p:spPr>
            <a:xfrm>
              <a:off x="4087813" y="3907663"/>
              <a:ext cx="229844" cy="103451"/>
            </a:xfrm>
            <a:custGeom>
              <a:avLst/>
              <a:gdLst/>
              <a:ahLst/>
              <a:cxnLst/>
              <a:rect l="0" t="0" r="0" b="0"/>
              <a:pathLst>
                <a:path w="2345427" h="1198349">
                  <a:moveTo>
                    <a:pt x="618868" y="705008"/>
                  </a:moveTo>
                  <a:lnTo>
                    <a:pt x="665069" y="726734"/>
                  </a:lnTo>
                  <a:lnTo>
                    <a:pt x="723348" y="741651"/>
                  </a:lnTo>
                  <a:lnTo>
                    <a:pt x="778139" y="755678"/>
                  </a:lnTo>
                  <a:lnTo>
                    <a:pt x="842665" y="765755"/>
                  </a:lnTo>
                  <a:lnTo>
                    <a:pt x="899136" y="767879"/>
                  </a:lnTo>
                  <a:lnTo>
                    <a:pt x="941812" y="764480"/>
                  </a:lnTo>
                  <a:lnTo>
                    <a:pt x="979785" y="771618"/>
                  </a:lnTo>
                  <a:lnTo>
                    <a:pt x="998193" y="783856"/>
                  </a:lnTo>
                  <a:lnTo>
                    <a:pt x="1019401" y="786411"/>
                  </a:lnTo>
                  <a:lnTo>
                    <a:pt x="1059895" y="785136"/>
                  </a:lnTo>
                  <a:lnTo>
                    <a:pt x="1130263" y="794909"/>
                  </a:lnTo>
                  <a:lnTo>
                    <a:pt x="1184880" y="801287"/>
                  </a:lnTo>
                  <a:lnTo>
                    <a:pt x="1234232" y="811067"/>
                  </a:lnTo>
                  <a:lnTo>
                    <a:pt x="1263479" y="816852"/>
                  </a:lnTo>
                  <a:lnTo>
                    <a:pt x="1296801" y="851402"/>
                  </a:lnTo>
                  <a:lnTo>
                    <a:pt x="1331906" y="861947"/>
                  </a:lnTo>
                  <a:lnTo>
                    <a:pt x="1366168" y="872235"/>
                  </a:lnTo>
                  <a:lnTo>
                    <a:pt x="1405527" y="862081"/>
                  </a:lnTo>
                  <a:lnTo>
                    <a:pt x="1437748" y="871175"/>
                  </a:lnTo>
                  <a:lnTo>
                    <a:pt x="1473836" y="891611"/>
                  </a:lnTo>
                  <a:lnTo>
                    <a:pt x="1535940" y="905216"/>
                  </a:lnTo>
                  <a:lnTo>
                    <a:pt x="1581333" y="903219"/>
                  </a:lnTo>
                  <a:lnTo>
                    <a:pt x="1624865" y="914356"/>
                  </a:lnTo>
                  <a:lnTo>
                    <a:pt x="1703707" y="934591"/>
                  </a:lnTo>
                  <a:lnTo>
                    <a:pt x="1772019" y="981475"/>
                  </a:lnTo>
                  <a:lnTo>
                    <a:pt x="1848954" y="1000729"/>
                  </a:lnTo>
                  <a:lnTo>
                    <a:pt x="1925975" y="1019987"/>
                  </a:lnTo>
                  <a:lnTo>
                    <a:pt x="1998151" y="995586"/>
                  </a:lnTo>
                  <a:lnTo>
                    <a:pt x="2093618" y="1037707"/>
                  </a:lnTo>
                  <a:lnTo>
                    <a:pt x="2113852" y="1046677"/>
                  </a:lnTo>
                  <a:lnTo>
                    <a:pt x="2191429" y="1087785"/>
                  </a:lnTo>
                  <a:lnTo>
                    <a:pt x="2232704" y="1115495"/>
                  </a:lnTo>
                  <a:lnTo>
                    <a:pt x="2250597" y="1138281"/>
                  </a:lnTo>
                  <a:lnTo>
                    <a:pt x="2276568" y="1153371"/>
                  </a:lnTo>
                  <a:lnTo>
                    <a:pt x="2298753" y="1166251"/>
                  </a:lnTo>
                  <a:lnTo>
                    <a:pt x="2323663" y="1173603"/>
                  </a:lnTo>
                  <a:lnTo>
                    <a:pt x="2345426" y="1187289"/>
                  </a:lnTo>
                  <a:lnTo>
                    <a:pt x="2309726" y="1198348"/>
                  </a:lnTo>
                  <a:lnTo>
                    <a:pt x="2273210" y="1175516"/>
                  </a:lnTo>
                  <a:lnTo>
                    <a:pt x="2238530" y="1161061"/>
                  </a:lnTo>
                  <a:lnTo>
                    <a:pt x="2196657" y="1143635"/>
                  </a:lnTo>
                  <a:lnTo>
                    <a:pt x="2154662" y="1124635"/>
                  </a:lnTo>
                  <a:lnTo>
                    <a:pt x="2112116" y="1108648"/>
                  </a:lnTo>
                  <a:lnTo>
                    <a:pt x="2054516" y="1087019"/>
                  </a:lnTo>
                  <a:lnTo>
                    <a:pt x="1989181" y="1076902"/>
                  </a:lnTo>
                  <a:lnTo>
                    <a:pt x="1932229" y="1053142"/>
                  </a:lnTo>
                  <a:lnTo>
                    <a:pt x="1903620" y="1041236"/>
                  </a:lnTo>
                  <a:lnTo>
                    <a:pt x="1868087" y="1023385"/>
                  </a:lnTo>
                  <a:lnTo>
                    <a:pt x="1837652" y="1017687"/>
                  </a:lnTo>
                  <a:lnTo>
                    <a:pt x="1808832" y="1017553"/>
                  </a:lnTo>
                  <a:lnTo>
                    <a:pt x="1735252" y="1001021"/>
                  </a:lnTo>
                  <a:lnTo>
                    <a:pt x="1678251" y="971224"/>
                  </a:lnTo>
                  <a:lnTo>
                    <a:pt x="1618661" y="956010"/>
                  </a:lnTo>
                  <a:lnTo>
                    <a:pt x="1571051" y="943809"/>
                  </a:lnTo>
                  <a:lnTo>
                    <a:pt x="1514770" y="948103"/>
                  </a:lnTo>
                  <a:lnTo>
                    <a:pt x="1466531" y="939009"/>
                  </a:lnTo>
                  <a:lnTo>
                    <a:pt x="1396479" y="925919"/>
                  </a:lnTo>
                  <a:lnTo>
                    <a:pt x="1333444" y="890550"/>
                  </a:lnTo>
                  <a:lnTo>
                    <a:pt x="1260965" y="880433"/>
                  </a:lnTo>
                  <a:lnTo>
                    <a:pt x="1174083" y="868319"/>
                  </a:lnTo>
                  <a:lnTo>
                    <a:pt x="1086867" y="859262"/>
                  </a:lnTo>
                  <a:lnTo>
                    <a:pt x="999874" y="846516"/>
                  </a:lnTo>
                  <a:lnTo>
                    <a:pt x="949040" y="839077"/>
                  </a:lnTo>
                  <a:lnTo>
                    <a:pt x="897006" y="839031"/>
                  </a:lnTo>
                  <a:lnTo>
                    <a:pt x="846708" y="826455"/>
                  </a:lnTo>
                  <a:lnTo>
                    <a:pt x="787214" y="811615"/>
                  </a:lnTo>
                  <a:lnTo>
                    <a:pt x="723674" y="794652"/>
                  </a:lnTo>
                  <a:lnTo>
                    <a:pt x="666818" y="770976"/>
                  </a:lnTo>
                  <a:lnTo>
                    <a:pt x="613345" y="748661"/>
                  </a:lnTo>
                  <a:lnTo>
                    <a:pt x="563739" y="718824"/>
                  </a:lnTo>
                  <a:lnTo>
                    <a:pt x="509550" y="698506"/>
                  </a:lnTo>
                  <a:lnTo>
                    <a:pt x="407485" y="660211"/>
                  </a:lnTo>
                  <a:lnTo>
                    <a:pt x="294035" y="636191"/>
                  </a:lnTo>
                  <a:lnTo>
                    <a:pt x="212468" y="559724"/>
                  </a:lnTo>
                  <a:lnTo>
                    <a:pt x="140590" y="492348"/>
                  </a:lnTo>
                  <a:lnTo>
                    <a:pt x="100019" y="360325"/>
                  </a:lnTo>
                  <a:lnTo>
                    <a:pt x="58979" y="272424"/>
                  </a:lnTo>
                  <a:lnTo>
                    <a:pt x="47498" y="247858"/>
                  </a:lnTo>
                  <a:lnTo>
                    <a:pt x="34643" y="224814"/>
                  </a:lnTo>
                  <a:lnTo>
                    <a:pt x="26420" y="198890"/>
                  </a:lnTo>
                  <a:lnTo>
                    <a:pt x="17490" y="170796"/>
                  </a:lnTo>
                  <a:lnTo>
                    <a:pt x="0" y="51987"/>
                  </a:lnTo>
                  <a:lnTo>
                    <a:pt x="8951" y="26228"/>
                  </a:lnTo>
                  <a:lnTo>
                    <a:pt x="26631" y="2341"/>
                  </a:lnTo>
                  <a:lnTo>
                    <a:pt x="63416" y="0"/>
                  </a:lnTo>
                  <a:lnTo>
                    <a:pt x="87858" y="52363"/>
                  </a:lnTo>
                  <a:lnTo>
                    <a:pt x="120548" y="163224"/>
                  </a:lnTo>
                  <a:lnTo>
                    <a:pt x="122014" y="220483"/>
                  </a:lnTo>
                  <a:lnTo>
                    <a:pt x="122693" y="247303"/>
                  </a:lnTo>
                  <a:lnTo>
                    <a:pt x="120827" y="273912"/>
                  </a:lnTo>
                  <a:lnTo>
                    <a:pt x="125093" y="300689"/>
                  </a:lnTo>
                  <a:lnTo>
                    <a:pt x="131232" y="339071"/>
                  </a:lnTo>
                  <a:lnTo>
                    <a:pt x="150068" y="360747"/>
                  </a:lnTo>
                  <a:lnTo>
                    <a:pt x="168263" y="393182"/>
                  </a:lnTo>
                  <a:lnTo>
                    <a:pt x="220542" y="486268"/>
                  </a:lnTo>
                  <a:lnTo>
                    <a:pt x="277924" y="544674"/>
                  </a:lnTo>
                  <a:lnTo>
                    <a:pt x="372842" y="595170"/>
                  </a:lnTo>
                  <a:lnTo>
                    <a:pt x="394903" y="606902"/>
                  </a:lnTo>
                  <a:lnTo>
                    <a:pt x="412651" y="622250"/>
                  </a:lnTo>
                  <a:lnTo>
                    <a:pt x="436556" y="632194"/>
                  </a:lnTo>
                  <a:lnTo>
                    <a:pt x="527757" y="670195"/>
                  </a:lnTo>
                  <a:lnTo>
                    <a:pt x="573512" y="629899"/>
                  </a:lnTo>
                  <a:lnTo>
                    <a:pt x="607200" y="641421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35" name="Kherson¬10" descr="Kherson¬10">
              <a:extLst>
                <a:ext uri="{FF2B5EF4-FFF2-40B4-BE49-F238E27FC236}">
                  <a16:creationId xmlns:a16="http://schemas.microsoft.com/office/drawing/2014/main" id="{62C49C34-CEB4-4D76-923E-194000BC2BC0}"/>
                </a:ext>
              </a:extLst>
            </p:cNvPr>
            <p:cNvSpPr/>
            <p:nvPr/>
          </p:nvSpPr>
          <p:spPr>
            <a:xfrm>
              <a:off x="4092077" y="3358150"/>
              <a:ext cx="1236044" cy="834056"/>
            </a:xfrm>
            <a:custGeom>
              <a:avLst/>
              <a:gdLst/>
              <a:ahLst/>
              <a:cxnLst/>
              <a:rect l="0" t="0" r="0" b="0"/>
              <a:pathLst>
                <a:path w="12613150" h="9661476">
                  <a:moveTo>
                    <a:pt x="5518847" y="62948"/>
                  </a:moveTo>
                  <a:lnTo>
                    <a:pt x="5521312" y="121650"/>
                  </a:lnTo>
                  <a:lnTo>
                    <a:pt x="5527854" y="185026"/>
                  </a:lnTo>
                  <a:lnTo>
                    <a:pt x="5557611" y="225321"/>
                  </a:lnTo>
                  <a:lnTo>
                    <a:pt x="5609552" y="248489"/>
                  </a:lnTo>
                  <a:lnTo>
                    <a:pt x="5632589" y="292485"/>
                  </a:lnTo>
                  <a:lnTo>
                    <a:pt x="5642877" y="312164"/>
                  </a:lnTo>
                  <a:lnTo>
                    <a:pt x="5625790" y="349610"/>
                  </a:lnTo>
                  <a:lnTo>
                    <a:pt x="5615691" y="368378"/>
                  </a:lnTo>
                  <a:lnTo>
                    <a:pt x="5603096" y="386290"/>
                  </a:lnTo>
                  <a:lnTo>
                    <a:pt x="5605338" y="432626"/>
                  </a:lnTo>
                  <a:lnTo>
                    <a:pt x="5616299" y="456645"/>
                  </a:lnTo>
                  <a:lnTo>
                    <a:pt x="5628506" y="480188"/>
                  </a:lnTo>
                  <a:lnTo>
                    <a:pt x="5640719" y="503732"/>
                  </a:lnTo>
                  <a:lnTo>
                    <a:pt x="5653757" y="527565"/>
                  </a:lnTo>
                  <a:lnTo>
                    <a:pt x="5657074" y="553644"/>
                  </a:lnTo>
                  <a:lnTo>
                    <a:pt x="5664469" y="611619"/>
                  </a:lnTo>
                  <a:lnTo>
                    <a:pt x="5635141" y="665519"/>
                  </a:lnTo>
                  <a:lnTo>
                    <a:pt x="5638028" y="723664"/>
                  </a:lnTo>
                  <a:lnTo>
                    <a:pt x="5654786" y="768688"/>
                  </a:lnTo>
                  <a:lnTo>
                    <a:pt x="5666599" y="799837"/>
                  </a:lnTo>
                  <a:lnTo>
                    <a:pt x="5678152" y="831056"/>
                  </a:lnTo>
                  <a:lnTo>
                    <a:pt x="5679523" y="858385"/>
                  </a:lnTo>
                  <a:lnTo>
                    <a:pt x="5665232" y="877367"/>
                  </a:lnTo>
                  <a:lnTo>
                    <a:pt x="5643088" y="884383"/>
                  </a:lnTo>
                  <a:lnTo>
                    <a:pt x="5616562" y="889223"/>
                  </a:lnTo>
                  <a:lnTo>
                    <a:pt x="5589069" y="890972"/>
                  </a:lnTo>
                  <a:lnTo>
                    <a:pt x="5561561" y="892711"/>
                  </a:lnTo>
                  <a:lnTo>
                    <a:pt x="5534105" y="890774"/>
                  </a:lnTo>
                  <a:lnTo>
                    <a:pt x="5511533" y="884172"/>
                  </a:lnTo>
                  <a:lnTo>
                    <a:pt x="5494377" y="840699"/>
                  </a:lnTo>
                  <a:lnTo>
                    <a:pt x="5478887" y="794395"/>
                  </a:lnTo>
                  <a:lnTo>
                    <a:pt x="5463396" y="748100"/>
                  </a:lnTo>
                  <a:lnTo>
                    <a:pt x="5443946" y="696975"/>
                  </a:lnTo>
                  <a:lnTo>
                    <a:pt x="5425839" y="676058"/>
                  </a:lnTo>
                  <a:lnTo>
                    <a:pt x="5394597" y="691741"/>
                  </a:lnTo>
                  <a:lnTo>
                    <a:pt x="5395918" y="731822"/>
                  </a:lnTo>
                  <a:lnTo>
                    <a:pt x="5401338" y="774883"/>
                  </a:lnTo>
                  <a:lnTo>
                    <a:pt x="5384843" y="806425"/>
                  </a:lnTo>
                  <a:lnTo>
                    <a:pt x="5351031" y="817516"/>
                  </a:lnTo>
                  <a:lnTo>
                    <a:pt x="5317477" y="831289"/>
                  </a:lnTo>
                  <a:lnTo>
                    <a:pt x="5307505" y="850162"/>
                  </a:lnTo>
                  <a:lnTo>
                    <a:pt x="5304888" y="872182"/>
                  </a:lnTo>
                  <a:lnTo>
                    <a:pt x="5308237" y="913547"/>
                  </a:lnTo>
                  <a:lnTo>
                    <a:pt x="5319752" y="950813"/>
                  </a:lnTo>
                  <a:lnTo>
                    <a:pt x="5333845" y="986684"/>
                  </a:lnTo>
                  <a:lnTo>
                    <a:pt x="5354618" y="1012884"/>
                  </a:lnTo>
                  <a:lnTo>
                    <a:pt x="5382319" y="1022908"/>
                  </a:lnTo>
                  <a:lnTo>
                    <a:pt x="5410203" y="1025243"/>
                  </a:lnTo>
                  <a:lnTo>
                    <a:pt x="5440130" y="1030802"/>
                  </a:lnTo>
                  <a:lnTo>
                    <a:pt x="5468013" y="1031066"/>
                  </a:lnTo>
                  <a:lnTo>
                    <a:pt x="5505775" y="1025587"/>
                  </a:lnTo>
                  <a:lnTo>
                    <a:pt x="5541782" y="1025665"/>
                  </a:lnTo>
                  <a:lnTo>
                    <a:pt x="5567306" y="1052829"/>
                  </a:lnTo>
                  <a:lnTo>
                    <a:pt x="5599633" y="1125460"/>
                  </a:lnTo>
                  <a:lnTo>
                    <a:pt x="5628921" y="1180362"/>
                  </a:lnTo>
                  <a:lnTo>
                    <a:pt x="5643475" y="1236458"/>
                  </a:lnTo>
                  <a:lnTo>
                    <a:pt x="5650759" y="1264506"/>
                  </a:lnTo>
                  <a:lnTo>
                    <a:pt x="5654851" y="1292622"/>
                  </a:lnTo>
                  <a:lnTo>
                    <a:pt x="5653000" y="1323510"/>
                  </a:lnTo>
                  <a:lnTo>
                    <a:pt x="5651146" y="1354395"/>
                  </a:lnTo>
                  <a:lnTo>
                    <a:pt x="5643984" y="1388498"/>
                  </a:lnTo>
                  <a:lnTo>
                    <a:pt x="5629870" y="1426887"/>
                  </a:lnTo>
                  <a:lnTo>
                    <a:pt x="5620084" y="1453530"/>
                  </a:lnTo>
                  <a:lnTo>
                    <a:pt x="5607474" y="1476831"/>
                  </a:lnTo>
                  <a:lnTo>
                    <a:pt x="5599949" y="1504417"/>
                  </a:lnTo>
                  <a:lnTo>
                    <a:pt x="5588006" y="1548067"/>
                  </a:lnTo>
                  <a:lnTo>
                    <a:pt x="5580481" y="1586880"/>
                  </a:lnTo>
                  <a:lnTo>
                    <a:pt x="5584986" y="1632273"/>
                  </a:lnTo>
                  <a:lnTo>
                    <a:pt x="5588905" y="1671569"/>
                  </a:lnTo>
                  <a:lnTo>
                    <a:pt x="5611505" y="1713251"/>
                  </a:lnTo>
                  <a:lnTo>
                    <a:pt x="5636676" y="1754693"/>
                  </a:lnTo>
                  <a:lnTo>
                    <a:pt x="5661849" y="1796135"/>
                  </a:lnTo>
                  <a:lnTo>
                    <a:pt x="5689727" y="1837345"/>
                  </a:lnTo>
                  <a:lnTo>
                    <a:pt x="5701968" y="1877107"/>
                  </a:lnTo>
                  <a:lnTo>
                    <a:pt x="5680118" y="1903124"/>
                  </a:lnTo>
                  <a:lnTo>
                    <a:pt x="5673917" y="1935497"/>
                  </a:lnTo>
                  <a:lnTo>
                    <a:pt x="5667958" y="1962801"/>
                  </a:lnTo>
                  <a:lnTo>
                    <a:pt x="5662007" y="1990105"/>
                  </a:lnTo>
                  <a:lnTo>
                    <a:pt x="5656634" y="2011787"/>
                  </a:lnTo>
                  <a:lnTo>
                    <a:pt x="5616274" y="2014491"/>
                  </a:lnTo>
                  <a:lnTo>
                    <a:pt x="5581563" y="1982744"/>
                  </a:lnTo>
                  <a:lnTo>
                    <a:pt x="5556172" y="1965679"/>
                  </a:lnTo>
                  <a:lnTo>
                    <a:pt x="5515871" y="1954492"/>
                  </a:lnTo>
                  <a:lnTo>
                    <a:pt x="5487051" y="1973690"/>
                  </a:lnTo>
                  <a:lnTo>
                    <a:pt x="5459797" y="1999087"/>
                  </a:lnTo>
                  <a:lnTo>
                    <a:pt x="5437088" y="2052883"/>
                  </a:lnTo>
                  <a:lnTo>
                    <a:pt x="5387758" y="2104269"/>
                  </a:lnTo>
                  <a:lnTo>
                    <a:pt x="5364419" y="2132065"/>
                  </a:lnTo>
                  <a:lnTo>
                    <a:pt x="5322977" y="2147029"/>
                  </a:lnTo>
                  <a:lnTo>
                    <a:pt x="5294548" y="2144055"/>
                  </a:lnTo>
                  <a:lnTo>
                    <a:pt x="5268063" y="2140989"/>
                  </a:lnTo>
                  <a:lnTo>
                    <a:pt x="5241577" y="2137922"/>
                  </a:lnTo>
                  <a:lnTo>
                    <a:pt x="5217247" y="2134803"/>
                  </a:lnTo>
                  <a:lnTo>
                    <a:pt x="5183054" y="2116370"/>
                  </a:lnTo>
                  <a:lnTo>
                    <a:pt x="5176248" y="2084068"/>
                  </a:lnTo>
                  <a:lnTo>
                    <a:pt x="5153806" y="2067536"/>
                  </a:lnTo>
                  <a:lnTo>
                    <a:pt x="5106789" y="2100734"/>
                  </a:lnTo>
                  <a:lnTo>
                    <a:pt x="5103775" y="2157906"/>
                  </a:lnTo>
                  <a:lnTo>
                    <a:pt x="5085791" y="2200839"/>
                  </a:lnTo>
                  <a:lnTo>
                    <a:pt x="5073256" y="2230807"/>
                  </a:lnTo>
                  <a:lnTo>
                    <a:pt x="5057446" y="2259791"/>
                  </a:lnTo>
                  <a:lnTo>
                    <a:pt x="5043630" y="2289249"/>
                  </a:lnTo>
                  <a:lnTo>
                    <a:pt x="5032452" y="2312966"/>
                  </a:lnTo>
                  <a:lnTo>
                    <a:pt x="5026496" y="2340130"/>
                  </a:lnTo>
                  <a:lnTo>
                    <a:pt x="5013703" y="2364060"/>
                  </a:lnTo>
                  <a:lnTo>
                    <a:pt x="5001719" y="2386437"/>
                  </a:lnTo>
                  <a:lnTo>
                    <a:pt x="4979693" y="2413611"/>
                  </a:lnTo>
                  <a:lnTo>
                    <a:pt x="4959294" y="2441591"/>
                  </a:lnTo>
                  <a:lnTo>
                    <a:pt x="4938898" y="2469567"/>
                  </a:lnTo>
                  <a:lnTo>
                    <a:pt x="4919535" y="2498610"/>
                  </a:lnTo>
                  <a:lnTo>
                    <a:pt x="4915768" y="2520485"/>
                  </a:lnTo>
                  <a:lnTo>
                    <a:pt x="4918236" y="2544412"/>
                  </a:lnTo>
                  <a:lnTo>
                    <a:pt x="4928905" y="2564302"/>
                  </a:lnTo>
                  <a:lnTo>
                    <a:pt x="4933450" y="2587135"/>
                  </a:lnTo>
                  <a:lnTo>
                    <a:pt x="4934142" y="2618045"/>
                  </a:lnTo>
                  <a:lnTo>
                    <a:pt x="4935487" y="2648710"/>
                  </a:lnTo>
                  <a:lnTo>
                    <a:pt x="4952494" y="2671465"/>
                  </a:lnTo>
                  <a:lnTo>
                    <a:pt x="4982930" y="2679964"/>
                  </a:lnTo>
                  <a:lnTo>
                    <a:pt x="5015231" y="2657264"/>
                  </a:lnTo>
                  <a:lnTo>
                    <a:pt x="5046346" y="2661940"/>
                  </a:lnTo>
                  <a:lnTo>
                    <a:pt x="5242725" y="2780069"/>
                  </a:lnTo>
                  <a:lnTo>
                    <a:pt x="5265337" y="2793885"/>
                  </a:lnTo>
                  <a:lnTo>
                    <a:pt x="5294672" y="2811739"/>
                  </a:lnTo>
                  <a:lnTo>
                    <a:pt x="5427923" y="2942230"/>
                  </a:lnTo>
                  <a:lnTo>
                    <a:pt x="5436725" y="2963909"/>
                  </a:lnTo>
                  <a:lnTo>
                    <a:pt x="5437584" y="2993005"/>
                  </a:lnTo>
                  <a:lnTo>
                    <a:pt x="5427203" y="3011515"/>
                  </a:lnTo>
                  <a:lnTo>
                    <a:pt x="5416822" y="3030023"/>
                  </a:lnTo>
                  <a:lnTo>
                    <a:pt x="5400495" y="3050822"/>
                  </a:lnTo>
                  <a:lnTo>
                    <a:pt x="5383677" y="3071366"/>
                  </a:lnTo>
                  <a:lnTo>
                    <a:pt x="5350036" y="3112446"/>
                  </a:lnTo>
                  <a:lnTo>
                    <a:pt x="5311945" y="3153761"/>
                  </a:lnTo>
                  <a:lnTo>
                    <a:pt x="5306147" y="3180181"/>
                  </a:lnTo>
                  <a:lnTo>
                    <a:pt x="5315663" y="3235948"/>
                  </a:lnTo>
                  <a:lnTo>
                    <a:pt x="5269718" y="3198964"/>
                  </a:lnTo>
                  <a:lnTo>
                    <a:pt x="5231888" y="3175840"/>
                  </a:lnTo>
                  <a:lnTo>
                    <a:pt x="5200048" y="3150254"/>
                  </a:lnTo>
                  <a:lnTo>
                    <a:pt x="5168044" y="3124541"/>
                  </a:lnTo>
                  <a:lnTo>
                    <a:pt x="5159496" y="3081226"/>
                  </a:lnTo>
                  <a:lnTo>
                    <a:pt x="5127959" y="3059125"/>
                  </a:lnTo>
                  <a:lnTo>
                    <a:pt x="5096513" y="3061283"/>
                  </a:lnTo>
                  <a:lnTo>
                    <a:pt x="5064193" y="3081443"/>
                  </a:lnTo>
                  <a:lnTo>
                    <a:pt x="5042265" y="3104009"/>
                  </a:lnTo>
                  <a:lnTo>
                    <a:pt x="5035156" y="3168120"/>
                  </a:lnTo>
                  <a:lnTo>
                    <a:pt x="5040907" y="3215543"/>
                  </a:lnTo>
                  <a:lnTo>
                    <a:pt x="5046656" y="3262973"/>
                  </a:lnTo>
                  <a:lnTo>
                    <a:pt x="5059483" y="3309969"/>
                  </a:lnTo>
                  <a:lnTo>
                    <a:pt x="5077634" y="3321642"/>
                  </a:lnTo>
                  <a:lnTo>
                    <a:pt x="5128176" y="3330392"/>
                  </a:lnTo>
                  <a:lnTo>
                    <a:pt x="5185261" y="3316160"/>
                  </a:lnTo>
                  <a:lnTo>
                    <a:pt x="5238133" y="3321642"/>
                  </a:lnTo>
                  <a:lnTo>
                    <a:pt x="5265728" y="3344835"/>
                  </a:lnTo>
                  <a:lnTo>
                    <a:pt x="5275830" y="3382777"/>
                  </a:lnTo>
                  <a:lnTo>
                    <a:pt x="5274226" y="3404078"/>
                  </a:lnTo>
                  <a:lnTo>
                    <a:pt x="5243112" y="3421825"/>
                  </a:lnTo>
                  <a:lnTo>
                    <a:pt x="5199961" y="3417822"/>
                  </a:lnTo>
                  <a:lnTo>
                    <a:pt x="5160565" y="3426823"/>
                  </a:lnTo>
                  <a:lnTo>
                    <a:pt x="5130663" y="3431065"/>
                  </a:lnTo>
                  <a:lnTo>
                    <a:pt x="5102113" y="3438615"/>
                  </a:lnTo>
                  <a:lnTo>
                    <a:pt x="5073572" y="3446168"/>
                  </a:lnTo>
                  <a:lnTo>
                    <a:pt x="5047217" y="3457187"/>
                  </a:lnTo>
                  <a:lnTo>
                    <a:pt x="5028666" y="3478061"/>
                  </a:lnTo>
                  <a:lnTo>
                    <a:pt x="5000274" y="3517209"/>
                  </a:lnTo>
                  <a:lnTo>
                    <a:pt x="4981057" y="3543350"/>
                  </a:lnTo>
                  <a:lnTo>
                    <a:pt x="4961839" y="3569491"/>
                  </a:lnTo>
                  <a:lnTo>
                    <a:pt x="4942129" y="3593852"/>
                  </a:lnTo>
                  <a:lnTo>
                    <a:pt x="4865079" y="3599737"/>
                  </a:lnTo>
                  <a:lnTo>
                    <a:pt x="4804801" y="3611990"/>
                  </a:lnTo>
                  <a:lnTo>
                    <a:pt x="4744380" y="3623602"/>
                  </a:lnTo>
                  <a:lnTo>
                    <a:pt x="4683959" y="3635217"/>
                  </a:lnTo>
                  <a:lnTo>
                    <a:pt x="4622539" y="3645405"/>
                  </a:lnTo>
                  <a:lnTo>
                    <a:pt x="4560757" y="3645365"/>
                  </a:lnTo>
                  <a:lnTo>
                    <a:pt x="4543077" y="3664406"/>
                  </a:lnTo>
                  <a:lnTo>
                    <a:pt x="4529472" y="3687527"/>
                  </a:lnTo>
                  <a:lnTo>
                    <a:pt x="4537716" y="3716564"/>
                  </a:lnTo>
                  <a:lnTo>
                    <a:pt x="4556596" y="3737384"/>
                  </a:lnTo>
                  <a:lnTo>
                    <a:pt x="4583881" y="3751458"/>
                  </a:lnTo>
                  <a:lnTo>
                    <a:pt x="4612661" y="3763330"/>
                  </a:lnTo>
                  <a:lnTo>
                    <a:pt x="4650007" y="3766164"/>
                  </a:lnTo>
                  <a:lnTo>
                    <a:pt x="4688619" y="3765063"/>
                  </a:lnTo>
                  <a:lnTo>
                    <a:pt x="4765839" y="3762853"/>
                  </a:lnTo>
                  <a:lnTo>
                    <a:pt x="4848904" y="3741579"/>
                  </a:lnTo>
                  <a:lnTo>
                    <a:pt x="4885847" y="3726979"/>
                  </a:lnTo>
                  <a:lnTo>
                    <a:pt x="4912075" y="3751802"/>
                  </a:lnTo>
                  <a:lnTo>
                    <a:pt x="4935236" y="3779177"/>
                  </a:lnTo>
                  <a:lnTo>
                    <a:pt x="4964735" y="3775946"/>
                  </a:lnTo>
                  <a:lnTo>
                    <a:pt x="4991624" y="3766421"/>
                  </a:lnTo>
                  <a:lnTo>
                    <a:pt x="5015061" y="3784104"/>
                  </a:lnTo>
                  <a:lnTo>
                    <a:pt x="5005545" y="3828994"/>
                  </a:lnTo>
                  <a:lnTo>
                    <a:pt x="4971752" y="3850909"/>
                  </a:lnTo>
                  <a:lnTo>
                    <a:pt x="4948414" y="3856199"/>
                  </a:lnTo>
                  <a:lnTo>
                    <a:pt x="4925066" y="3861488"/>
                  </a:lnTo>
                  <a:lnTo>
                    <a:pt x="4898141" y="3864434"/>
                  </a:lnTo>
                  <a:lnTo>
                    <a:pt x="4869526" y="3867079"/>
                  </a:lnTo>
                  <a:lnTo>
                    <a:pt x="4840904" y="3869724"/>
                  </a:lnTo>
                  <a:lnTo>
                    <a:pt x="4810763" y="3871261"/>
                  </a:lnTo>
                  <a:lnTo>
                    <a:pt x="4781106" y="3876604"/>
                  </a:lnTo>
                  <a:lnTo>
                    <a:pt x="4751449" y="3881946"/>
                  </a:lnTo>
                  <a:lnTo>
                    <a:pt x="4721873" y="3890414"/>
                  </a:lnTo>
                  <a:lnTo>
                    <a:pt x="4695418" y="3903808"/>
                  </a:lnTo>
                  <a:lnTo>
                    <a:pt x="4660124" y="3931617"/>
                  </a:lnTo>
                  <a:lnTo>
                    <a:pt x="4641006" y="3948692"/>
                  </a:lnTo>
                  <a:lnTo>
                    <a:pt x="4621894" y="3965767"/>
                  </a:lnTo>
                  <a:lnTo>
                    <a:pt x="4601607" y="3980876"/>
                  </a:lnTo>
                  <a:lnTo>
                    <a:pt x="4534696" y="3977478"/>
                  </a:lnTo>
                  <a:lnTo>
                    <a:pt x="4482628" y="3954686"/>
                  </a:lnTo>
                  <a:lnTo>
                    <a:pt x="4432895" y="3962292"/>
                  </a:lnTo>
                  <a:lnTo>
                    <a:pt x="4231586" y="3993576"/>
                  </a:lnTo>
                  <a:lnTo>
                    <a:pt x="4209631" y="3996934"/>
                  </a:lnTo>
                  <a:lnTo>
                    <a:pt x="4179903" y="3985419"/>
                  </a:lnTo>
                  <a:lnTo>
                    <a:pt x="4157209" y="3966400"/>
                  </a:lnTo>
                  <a:lnTo>
                    <a:pt x="4131422" y="3925525"/>
                  </a:lnTo>
                  <a:lnTo>
                    <a:pt x="4119171" y="3890234"/>
                  </a:lnTo>
                  <a:lnTo>
                    <a:pt x="4095567" y="3868440"/>
                  </a:lnTo>
                  <a:lnTo>
                    <a:pt x="4078210" y="3852413"/>
                  </a:lnTo>
                  <a:lnTo>
                    <a:pt x="4047173" y="3849446"/>
                  </a:lnTo>
                  <a:lnTo>
                    <a:pt x="4019395" y="3842593"/>
                  </a:lnTo>
                  <a:lnTo>
                    <a:pt x="3993102" y="3834197"/>
                  </a:lnTo>
                  <a:lnTo>
                    <a:pt x="3972241" y="3821075"/>
                  </a:lnTo>
                  <a:lnTo>
                    <a:pt x="3960905" y="3799067"/>
                  </a:lnTo>
                  <a:lnTo>
                    <a:pt x="3935245" y="3786265"/>
                  </a:lnTo>
                  <a:lnTo>
                    <a:pt x="3896797" y="3792823"/>
                  </a:lnTo>
                  <a:lnTo>
                    <a:pt x="3874672" y="3800841"/>
                  </a:lnTo>
                  <a:lnTo>
                    <a:pt x="3852090" y="3808589"/>
                  </a:lnTo>
                  <a:lnTo>
                    <a:pt x="3829515" y="3816338"/>
                  </a:lnTo>
                  <a:lnTo>
                    <a:pt x="3806480" y="3823664"/>
                  </a:lnTo>
                  <a:lnTo>
                    <a:pt x="3767122" y="3828876"/>
                  </a:lnTo>
                  <a:lnTo>
                    <a:pt x="3740556" y="3815389"/>
                  </a:lnTo>
                  <a:lnTo>
                    <a:pt x="3736131" y="3772675"/>
                  </a:lnTo>
                  <a:lnTo>
                    <a:pt x="3713689" y="3766000"/>
                  </a:lnTo>
                  <a:lnTo>
                    <a:pt x="3689678" y="3771652"/>
                  </a:lnTo>
                  <a:lnTo>
                    <a:pt x="3661668" y="3762341"/>
                  </a:lnTo>
                  <a:lnTo>
                    <a:pt x="3653504" y="3726979"/>
                  </a:lnTo>
                  <a:lnTo>
                    <a:pt x="3610065" y="3719413"/>
                  </a:lnTo>
                  <a:lnTo>
                    <a:pt x="3585833" y="3737518"/>
                  </a:lnTo>
                  <a:lnTo>
                    <a:pt x="3593610" y="3759451"/>
                  </a:lnTo>
                  <a:lnTo>
                    <a:pt x="3597671" y="3810608"/>
                  </a:lnTo>
                  <a:lnTo>
                    <a:pt x="3597349" y="3837093"/>
                  </a:lnTo>
                  <a:lnTo>
                    <a:pt x="3595014" y="3858915"/>
                  </a:lnTo>
                  <a:lnTo>
                    <a:pt x="3592680" y="3880737"/>
                  </a:lnTo>
                  <a:lnTo>
                    <a:pt x="3578690" y="3911966"/>
                  </a:lnTo>
                  <a:lnTo>
                    <a:pt x="3554390" y="3935450"/>
                  </a:lnTo>
                  <a:lnTo>
                    <a:pt x="3535164" y="3944609"/>
                  </a:lnTo>
                  <a:lnTo>
                    <a:pt x="3515934" y="3953771"/>
                  </a:lnTo>
                  <a:lnTo>
                    <a:pt x="3491486" y="3961116"/>
                  </a:lnTo>
                  <a:lnTo>
                    <a:pt x="3460353" y="3969097"/>
                  </a:lnTo>
                  <a:lnTo>
                    <a:pt x="3421949" y="3978929"/>
                  </a:lnTo>
                  <a:lnTo>
                    <a:pt x="3396633" y="3982101"/>
                  </a:lnTo>
                  <a:lnTo>
                    <a:pt x="3360855" y="3975125"/>
                  </a:lnTo>
                  <a:lnTo>
                    <a:pt x="3343377" y="3954134"/>
                  </a:lnTo>
                  <a:lnTo>
                    <a:pt x="3330261" y="3931202"/>
                  </a:lnTo>
                  <a:lnTo>
                    <a:pt x="3330940" y="3898088"/>
                  </a:lnTo>
                  <a:lnTo>
                    <a:pt x="3308009" y="3875236"/>
                  </a:lnTo>
                  <a:lnTo>
                    <a:pt x="3280165" y="3864707"/>
                  </a:lnTo>
                  <a:lnTo>
                    <a:pt x="3257683" y="3865721"/>
                  </a:lnTo>
                  <a:lnTo>
                    <a:pt x="3235204" y="3866731"/>
                  </a:lnTo>
                  <a:lnTo>
                    <a:pt x="3207965" y="3871116"/>
                  </a:lnTo>
                  <a:lnTo>
                    <a:pt x="3181514" y="3876604"/>
                  </a:lnTo>
                  <a:lnTo>
                    <a:pt x="3128596" y="3887571"/>
                  </a:lnTo>
                  <a:lnTo>
                    <a:pt x="3076007" y="3903194"/>
                  </a:lnTo>
                  <a:lnTo>
                    <a:pt x="3045882" y="3910924"/>
                  </a:lnTo>
                  <a:lnTo>
                    <a:pt x="3027805" y="3933729"/>
                  </a:lnTo>
                  <a:lnTo>
                    <a:pt x="3011940" y="3965048"/>
                  </a:lnTo>
                  <a:lnTo>
                    <a:pt x="2994263" y="4017997"/>
                  </a:lnTo>
                  <a:lnTo>
                    <a:pt x="2986989" y="4055722"/>
                  </a:lnTo>
                  <a:lnTo>
                    <a:pt x="2970246" y="4111579"/>
                  </a:lnTo>
                  <a:lnTo>
                    <a:pt x="2963493" y="4133831"/>
                  </a:lnTo>
                  <a:lnTo>
                    <a:pt x="2937067" y="4155284"/>
                  </a:lnTo>
                  <a:lnTo>
                    <a:pt x="2882270" y="4145918"/>
                  </a:lnTo>
                  <a:lnTo>
                    <a:pt x="2861270" y="4141164"/>
                  </a:lnTo>
                  <a:lnTo>
                    <a:pt x="2839079" y="4140563"/>
                  </a:lnTo>
                  <a:lnTo>
                    <a:pt x="2818339" y="4135038"/>
                  </a:lnTo>
                  <a:lnTo>
                    <a:pt x="2793172" y="4128362"/>
                  </a:lnTo>
                  <a:lnTo>
                    <a:pt x="2763679" y="4117522"/>
                  </a:lnTo>
                  <a:lnTo>
                    <a:pt x="2739445" y="4107833"/>
                  </a:lnTo>
                  <a:lnTo>
                    <a:pt x="2703404" y="4093378"/>
                  </a:lnTo>
                  <a:lnTo>
                    <a:pt x="2667446" y="4076198"/>
                  </a:lnTo>
                  <a:lnTo>
                    <a:pt x="2631994" y="4060224"/>
                  </a:lnTo>
                  <a:lnTo>
                    <a:pt x="2582378" y="4054897"/>
                  </a:lnTo>
                  <a:lnTo>
                    <a:pt x="2550380" y="4061585"/>
                  </a:lnTo>
                  <a:lnTo>
                    <a:pt x="2518382" y="4068270"/>
                  </a:lnTo>
                  <a:lnTo>
                    <a:pt x="2486325" y="4078672"/>
                  </a:lnTo>
                  <a:lnTo>
                    <a:pt x="2459964" y="4105176"/>
                  </a:lnTo>
                  <a:lnTo>
                    <a:pt x="2452064" y="4125844"/>
                  </a:lnTo>
                  <a:lnTo>
                    <a:pt x="2445649" y="4145918"/>
                  </a:lnTo>
                  <a:lnTo>
                    <a:pt x="2439224" y="4165994"/>
                  </a:lnTo>
                  <a:lnTo>
                    <a:pt x="2433987" y="4186492"/>
                  </a:lnTo>
                  <a:lnTo>
                    <a:pt x="2406420" y="4274632"/>
                  </a:lnTo>
                  <a:lnTo>
                    <a:pt x="2385488" y="4323460"/>
                  </a:lnTo>
                  <a:lnTo>
                    <a:pt x="2351788" y="4360828"/>
                  </a:lnTo>
                  <a:lnTo>
                    <a:pt x="2334939" y="4379509"/>
                  </a:lnTo>
                  <a:lnTo>
                    <a:pt x="2315148" y="4394941"/>
                  </a:lnTo>
                  <a:lnTo>
                    <a:pt x="2290582" y="4408435"/>
                  </a:lnTo>
                  <a:lnTo>
                    <a:pt x="2266023" y="4421929"/>
                  </a:lnTo>
                  <a:lnTo>
                    <a:pt x="2236207" y="4433714"/>
                  </a:lnTo>
                  <a:lnTo>
                    <a:pt x="2200811" y="4443797"/>
                  </a:lnTo>
                  <a:lnTo>
                    <a:pt x="2160953" y="4456782"/>
                  </a:lnTo>
                  <a:lnTo>
                    <a:pt x="2134158" y="4462844"/>
                  </a:lnTo>
                  <a:lnTo>
                    <a:pt x="2107369" y="4468906"/>
                  </a:lnTo>
                  <a:lnTo>
                    <a:pt x="2080645" y="4471609"/>
                  </a:lnTo>
                  <a:lnTo>
                    <a:pt x="2060544" y="4456044"/>
                  </a:lnTo>
                  <a:lnTo>
                    <a:pt x="2037587" y="4428834"/>
                  </a:lnTo>
                  <a:lnTo>
                    <a:pt x="2015238" y="4403536"/>
                  </a:lnTo>
                  <a:lnTo>
                    <a:pt x="1991649" y="4393378"/>
                  </a:lnTo>
                  <a:lnTo>
                    <a:pt x="1966587" y="4390873"/>
                  </a:lnTo>
                  <a:lnTo>
                    <a:pt x="1942371" y="4393471"/>
                  </a:lnTo>
                  <a:lnTo>
                    <a:pt x="1918146" y="4396070"/>
                  </a:lnTo>
                  <a:lnTo>
                    <a:pt x="1893481" y="4404097"/>
                  </a:lnTo>
                  <a:lnTo>
                    <a:pt x="1869107" y="4426369"/>
                  </a:lnTo>
                  <a:lnTo>
                    <a:pt x="1854652" y="4447285"/>
                  </a:lnTo>
                  <a:lnTo>
                    <a:pt x="1840352" y="4466927"/>
                  </a:lnTo>
                  <a:lnTo>
                    <a:pt x="1826056" y="4486560"/>
                  </a:lnTo>
                  <a:lnTo>
                    <a:pt x="1812267" y="4505421"/>
                  </a:lnTo>
                  <a:lnTo>
                    <a:pt x="1766893" y="4522087"/>
                  </a:lnTo>
                  <a:lnTo>
                    <a:pt x="1732328" y="4518974"/>
                  </a:lnTo>
                  <a:lnTo>
                    <a:pt x="1697533" y="4513163"/>
                  </a:lnTo>
                  <a:lnTo>
                    <a:pt x="1666341" y="4507961"/>
                  </a:lnTo>
                  <a:lnTo>
                    <a:pt x="1625293" y="4500811"/>
                  </a:lnTo>
                  <a:lnTo>
                    <a:pt x="1591444" y="4499564"/>
                  </a:lnTo>
                  <a:lnTo>
                    <a:pt x="1606401" y="4518605"/>
                  </a:lnTo>
                  <a:lnTo>
                    <a:pt x="1617374" y="4565783"/>
                  </a:lnTo>
                  <a:lnTo>
                    <a:pt x="1603387" y="4615349"/>
                  </a:lnTo>
                  <a:lnTo>
                    <a:pt x="1610481" y="4664146"/>
                  </a:lnTo>
                  <a:lnTo>
                    <a:pt x="1674025" y="4853722"/>
                  </a:lnTo>
                  <a:lnTo>
                    <a:pt x="1699744" y="4906048"/>
                  </a:lnTo>
                  <a:lnTo>
                    <a:pt x="1736721" y="4959651"/>
                  </a:lnTo>
                  <a:lnTo>
                    <a:pt x="1770983" y="4998759"/>
                  </a:lnTo>
                  <a:lnTo>
                    <a:pt x="1894544" y="5139962"/>
                  </a:lnTo>
                  <a:lnTo>
                    <a:pt x="1972549" y="5015675"/>
                  </a:lnTo>
                  <a:lnTo>
                    <a:pt x="2101512" y="5119815"/>
                  </a:lnTo>
                  <a:lnTo>
                    <a:pt x="2193450" y="5194027"/>
                  </a:lnTo>
                  <a:lnTo>
                    <a:pt x="2140449" y="5349860"/>
                  </a:lnTo>
                  <a:lnTo>
                    <a:pt x="2200805" y="5379616"/>
                  </a:lnTo>
                  <a:lnTo>
                    <a:pt x="2259124" y="5352917"/>
                  </a:lnTo>
                  <a:lnTo>
                    <a:pt x="2275572" y="5307822"/>
                  </a:lnTo>
                  <a:lnTo>
                    <a:pt x="2317777" y="5284397"/>
                  </a:lnTo>
                  <a:lnTo>
                    <a:pt x="2362965" y="5259322"/>
                  </a:lnTo>
                  <a:lnTo>
                    <a:pt x="2441215" y="5259450"/>
                  </a:lnTo>
                  <a:lnTo>
                    <a:pt x="2466038" y="5240871"/>
                  </a:lnTo>
                  <a:lnTo>
                    <a:pt x="2494864" y="5219238"/>
                  </a:lnTo>
                  <a:lnTo>
                    <a:pt x="2498005" y="5175495"/>
                  </a:lnTo>
                  <a:lnTo>
                    <a:pt x="2525895" y="5153819"/>
                  </a:lnTo>
                  <a:lnTo>
                    <a:pt x="2567548" y="5149525"/>
                  </a:lnTo>
                  <a:lnTo>
                    <a:pt x="2586502" y="5160532"/>
                  </a:lnTo>
                  <a:lnTo>
                    <a:pt x="2686605" y="5262423"/>
                  </a:lnTo>
                  <a:lnTo>
                    <a:pt x="2701357" y="5280317"/>
                  </a:lnTo>
                  <a:lnTo>
                    <a:pt x="2728053" y="5312702"/>
                  </a:lnTo>
                  <a:lnTo>
                    <a:pt x="2770175" y="5372426"/>
                  </a:lnTo>
                  <a:lnTo>
                    <a:pt x="2811533" y="5386406"/>
                  </a:lnTo>
                  <a:lnTo>
                    <a:pt x="2856715" y="5401627"/>
                  </a:lnTo>
                  <a:lnTo>
                    <a:pt x="2906579" y="5393807"/>
                  </a:lnTo>
                  <a:lnTo>
                    <a:pt x="2952995" y="5391848"/>
                  </a:lnTo>
                  <a:lnTo>
                    <a:pt x="3174965" y="5382583"/>
                  </a:lnTo>
                  <a:lnTo>
                    <a:pt x="3196980" y="5309642"/>
                  </a:lnTo>
                  <a:lnTo>
                    <a:pt x="3370575" y="5210944"/>
                  </a:lnTo>
                  <a:lnTo>
                    <a:pt x="3402580" y="5192669"/>
                  </a:lnTo>
                  <a:lnTo>
                    <a:pt x="3451510" y="5175449"/>
                  </a:lnTo>
                  <a:lnTo>
                    <a:pt x="3476674" y="5160618"/>
                  </a:lnTo>
                  <a:lnTo>
                    <a:pt x="3495160" y="5149695"/>
                  </a:lnTo>
                  <a:lnTo>
                    <a:pt x="3512247" y="5131243"/>
                  </a:lnTo>
                  <a:lnTo>
                    <a:pt x="3531083" y="5121173"/>
                  </a:lnTo>
                  <a:lnTo>
                    <a:pt x="3558834" y="5110504"/>
                  </a:lnTo>
                  <a:lnTo>
                    <a:pt x="3619410" y="5078028"/>
                  </a:lnTo>
                  <a:lnTo>
                    <a:pt x="3646611" y="5099701"/>
                  </a:lnTo>
                  <a:lnTo>
                    <a:pt x="3686140" y="5087162"/>
                  </a:lnTo>
                  <a:lnTo>
                    <a:pt x="3745610" y="5068209"/>
                  </a:lnTo>
                  <a:lnTo>
                    <a:pt x="3905727" y="4928062"/>
                  </a:lnTo>
                  <a:lnTo>
                    <a:pt x="3937778" y="4923938"/>
                  </a:lnTo>
                  <a:lnTo>
                    <a:pt x="3975270" y="4931463"/>
                  </a:lnTo>
                  <a:lnTo>
                    <a:pt x="3973655" y="4973297"/>
                  </a:lnTo>
                  <a:lnTo>
                    <a:pt x="3952186" y="4985662"/>
                  </a:lnTo>
                  <a:lnTo>
                    <a:pt x="3937778" y="5004194"/>
                  </a:lnTo>
                  <a:lnTo>
                    <a:pt x="3910403" y="5039345"/>
                  </a:lnTo>
                  <a:lnTo>
                    <a:pt x="3861482" y="5111056"/>
                  </a:lnTo>
                  <a:lnTo>
                    <a:pt x="3824879" y="5133414"/>
                  </a:lnTo>
                  <a:lnTo>
                    <a:pt x="3781142" y="5160110"/>
                  </a:lnTo>
                  <a:lnTo>
                    <a:pt x="3738379" y="5157471"/>
                  </a:lnTo>
                  <a:lnTo>
                    <a:pt x="3691582" y="5172856"/>
                  </a:lnTo>
                  <a:lnTo>
                    <a:pt x="3647330" y="5187355"/>
                  </a:lnTo>
                  <a:lnTo>
                    <a:pt x="3615918" y="5220723"/>
                  </a:lnTo>
                  <a:lnTo>
                    <a:pt x="3575967" y="5238149"/>
                  </a:lnTo>
                  <a:lnTo>
                    <a:pt x="3530482" y="5257912"/>
                  </a:lnTo>
                  <a:lnTo>
                    <a:pt x="3477012" y="5268075"/>
                  </a:lnTo>
                  <a:lnTo>
                    <a:pt x="3433142" y="5293919"/>
                  </a:lnTo>
                  <a:lnTo>
                    <a:pt x="3381201" y="5324568"/>
                  </a:lnTo>
                  <a:lnTo>
                    <a:pt x="3363729" y="5386921"/>
                  </a:lnTo>
                  <a:lnTo>
                    <a:pt x="3317527" y="5417694"/>
                  </a:lnTo>
                  <a:lnTo>
                    <a:pt x="3241994" y="5468066"/>
                  </a:lnTo>
                  <a:lnTo>
                    <a:pt x="3170584" y="5481836"/>
                  </a:lnTo>
                  <a:lnTo>
                    <a:pt x="3147504" y="5582276"/>
                  </a:lnTo>
                  <a:lnTo>
                    <a:pt x="3142530" y="5603959"/>
                  </a:lnTo>
                  <a:lnTo>
                    <a:pt x="3133560" y="5623210"/>
                  </a:lnTo>
                  <a:lnTo>
                    <a:pt x="3136621" y="5646207"/>
                  </a:lnTo>
                  <a:lnTo>
                    <a:pt x="3142571" y="5690840"/>
                  </a:lnTo>
                  <a:lnTo>
                    <a:pt x="3190561" y="5683824"/>
                  </a:lnTo>
                  <a:lnTo>
                    <a:pt x="3201913" y="5722379"/>
                  </a:lnTo>
                  <a:lnTo>
                    <a:pt x="3183334" y="5757701"/>
                  </a:lnTo>
                  <a:lnTo>
                    <a:pt x="3145420" y="5785076"/>
                  </a:lnTo>
                  <a:lnTo>
                    <a:pt x="3109543" y="5794598"/>
                  </a:lnTo>
                  <a:lnTo>
                    <a:pt x="3080857" y="5809432"/>
                  </a:lnTo>
                  <a:lnTo>
                    <a:pt x="3039240" y="5830943"/>
                  </a:lnTo>
                  <a:lnTo>
                    <a:pt x="2999541" y="5876382"/>
                  </a:lnTo>
                  <a:lnTo>
                    <a:pt x="2963874" y="5907364"/>
                  </a:lnTo>
                  <a:lnTo>
                    <a:pt x="2913338" y="5909317"/>
                  </a:lnTo>
                  <a:lnTo>
                    <a:pt x="2666888" y="5857804"/>
                  </a:lnTo>
                  <a:lnTo>
                    <a:pt x="2630627" y="5832559"/>
                  </a:lnTo>
                  <a:lnTo>
                    <a:pt x="2555946" y="5780531"/>
                  </a:lnTo>
                  <a:lnTo>
                    <a:pt x="2587913" y="5745671"/>
                  </a:lnTo>
                  <a:lnTo>
                    <a:pt x="2475569" y="5716938"/>
                  </a:lnTo>
                  <a:lnTo>
                    <a:pt x="2399438" y="5697429"/>
                  </a:lnTo>
                  <a:lnTo>
                    <a:pt x="2361015" y="5746694"/>
                  </a:lnTo>
                  <a:lnTo>
                    <a:pt x="2310978" y="5737343"/>
                  </a:lnTo>
                  <a:lnTo>
                    <a:pt x="2232341" y="5722550"/>
                  </a:lnTo>
                  <a:lnTo>
                    <a:pt x="2123696" y="5635287"/>
                  </a:lnTo>
                  <a:lnTo>
                    <a:pt x="2055263" y="5638050"/>
                  </a:lnTo>
                  <a:lnTo>
                    <a:pt x="2030440" y="5639026"/>
                  </a:lnTo>
                  <a:lnTo>
                    <a:pt x="2014500" y="5655137"/>
                  </a:lnTo>
                  <a:lnTo>
                    <a:pt x="1992697" y="5662529"/>
                  </a:lnTo>
                  <a:lnTo>
                    <a:pt x="1960857" y="5673325"/>
                  </a:lnTo>
                  <a:lnTo>
                    <a:pt x="1841540" y="5692707"/>
                  </a:lnTo>
                  <a:lnTo>
                    <a:pt x="1810426" y="5688375"/>
                  </a:lnTo>
                  <a:lnTo>
                    <a:pt x="1731788" y="5677409"/>
                  </a:lnTo>
                  <a:lnTo>
                    <a:pt x="1665141" y="5632779"/>
                  </a:lnTo>
                  <a:lnTo>
                    <a:pt x="1585996" y="5621725"/>
                  </a:lnTo>
                  <a:lnTo>
                    <a:pt x="1531078" y="5614076"/>
                  </a:lnTo>
                  <a:lnTo>
                    <a:pt x="1471184" y="5620237"/>
                  </a:lnTo>
                  <a:lnTo>
                    <a:pt x="1417330" y="5608120"/>
                  </a:lnTo>
                  <a:lnTo>
                    <a:pt x="1395607" y="5603274"/>
                  </a:lnTo>
                  <a:lnTo>
                    <a:pt x="1373634" y="5594772"/>
                  </a:lnTo>
                  <a:lnTo>
                    <a:pt x="1350683" y="5593163"/>
                  </a:lnTo>
                  <a:lnTo>
                    <a:pt x="1306853" y="5590019"/>
                  </a:lnTo>
                  <a:lnTo>
                    <a:pt x="1285307" y="5617136"/>
                  </a:lnTo>
                  <a:lnTo>
                    <a:pt x="1237785" y="5604039"/>
                  </a:lnTo>
                  <a:lnTo>
                    <a:pt x="1169435" y="5585126"/>
                  </a:lnTo>
                  <a:lnTo>
                    <a:pt x="1237983" y="5548700"/>
                  </a:lnTo>
                  <a:lnTo>
                    <a:pt x="1101765" y="5529232"/>
                  </a:lnTo>
                  <a:lnTo>
                    <a:pt x="996410" y="5514184"/>
                  </a:lnTo>
                  <a:lnTo>
                    <a:pt x="948763" y="5405453"/>
                  </a:lnTo>
                  <a:lnTo>
                    <a:pt x="833800" y="5405453"/>
                  </a:lnTo>
                  <a:lnTo>
                    <a:pt x="807600" y="5405453"/>
                  </a:lnTo>
                  <a:lnTo>
                    <a:pt x="786600" y="5413440"/>
                  </a:lnTo>
                  <a:lnTo>
                    <a:pt x="761711" y="5417694"/>
                  </a:lnTo>
                  <a:lnTo>
                    <a:pt x="734764" y="5422330"/>
                  </a:lnTo>
                  <a:lnTo>
                    <a:pt x="704738" y="5420370"/>
                  </a:lnTo>
                  <a:lnTo>
                    <a:pt x="677382" y="5420410"/>
                  </a:lnTo>
                  <a:lnTo>
                    <a:pt x="652896" y="5423126"/>
                  </a:lnTo>
                  <a:lnTo>
                    <a:pt x="629775" y="5428568"/>
                  </a:lnTo>
                  <a:lnTo>
                    <a:pt x="598410" y="5438856"/>
                  </a:lnTo>
                  <a:lnTo>
                    <a:pt x="565844" y="5456920"/>
                  </a:lnTo>
                  <a:lnTo>
                    <a:pt x="533198" y="5465294"/>
                  </a:lnTo>
                  <a:lnTo>
                    <a:pt x="503231" y="5472993"/>
                  </a:lnTo>
                  <a:lnTo>
                    <a:pt x="466892" y="5466950"/>
                  </a:lnTo>
                  <a:lnTo>
                    <a:pt x="436627" y="5469372"/>
                  </a:lnTo>
                  <a:lnTo>
                    <a:pt x="362582" y="5475405"/>
                  </a:lnTo>
                  <a:lnTo>
                    <a:pt x="291402" y="5488409"/>
                  </a:lnTo>
                  <a:lnTo>
                    <a:pt x="217633" y="5458489"/>
                  </a:lnTo>
                  <a:lnTo>
                    <a:pt x="94307" y="5408461"/>
                  </a:lnTo>
                  <a:lnTo>
                    <a:pt x="84822" y="5296669"/>
                  </a:lnTo>
                  <a:lnTo>
                    <a:pt x="0" y="5262621"/>
                  </a:lnTo>
                  <a:lnTo>
                    <a:pt x="26333" y="5310017"/>
                  </a:lnTo>
                  <a:lnTo>
                    <a:pt x="39703" y="5375052"/>
                  </a:lnTo>
                  <a:lnTo>
                    <a:pt x="74814" y="5417688"/>
                  </a:lnTo>
                  <a:lnTo>
                    <a:pt x="116743" y="5468646"/>
                  </a:lnTo>
                  <a:lnTo>
                    <a:pt x="192025" y="5483569"/>
                  </a:lnTo>
                  <a:lnTo>
                    <a:pt x="231238" y="5530577"/>
                  </a:lnTo>
                  <a:lnTo>
                    <a:pt x="302924" y="5616609"/>
                  </a:lnTo>
                  <a:lnTo>
                    <a:pt x="320011" y="5697032"/>
                  </a:lnTo>
                  <a:lnTo>
                    <a:pt x="420306" y="5767257"/>
                  </a:lnTo>
                  <a:lnTo>
                    <a:pt x="466808" y="5799770"/>
                  </a:lnTo>
                  <a:lnTo>
                    <a:pt x="507228" y="5815499"/>
                  </a:lnTo>
                  <a:lnTo>
                    <a:pt x="535920" y="5869273"/>
                  </a:lnTo>
                  <a:lnTo>
                    <a:pt x="557004" y="5908802"/>
                  </a:lnTo>
                  <a:lnTo>
                    <a:pt x="584677" y="6052769"/>
                  </a:lnTo>
                  <a:lnTo>
                    <a:pt x="605293" y="6066501"/>
                  </a:lnTo>
                  <a:lnTo>
                    <a:pt x="640885" y="6004480"/>
                  </a:lnTo>
                  <a:lnTo>
                    <a:pt x="606059" y="5865363"/>
                  </a:lnTo>
                  <a:lnTo>
                    <a:pt x="642019" y="5786295"/>
                  </a:lnTo>
                  <a:lnTo>
                    <a:pt x="655981" y="5755608"/>
                  </a:lnTo>
                  <a:lnTo>
                    <a:pt x="681081" y="5751271"/>
                  </a:lnTo>
                  <a:lnTo>
                    <a:pt x="700503" y="5730528"/>
                  </a:lnTo>
                  <a:lnTo>
                    <a:pt x="742481" y="5723474"/>
                  </a:lnTo>
                  <a:lnTo>
                    <a:pt x="785558" y="5739836"/>
                  </a:lnTo>
                  <a:lnTo>
                    <a:pt x="827006" y="5740053"/>
                  </a:lnTo>
                  <a:lnTo>
                    <a:pt x="857885" y="5723006"/>
                  </a:lnTo>
                  <a:lnTo>
                    <a:pt x="902558" y="5716674"/>
                  </a:lnTo>
                  <a:lnTo>
                    <a:pt x="937183" y="5725089"/>
                  </a:lnTo>
                  <a:lnTo>
                    <a:pt x="966548" y="5732230"/>
                  </a:lnTo>
                  <a:lnTo>
                    <a:pt x="994730" y="5756756"/>
                  </a:lnTo>
                  <a:lnTo>
                    <a:pt x="1024235" y="5765896"/>
                  </a:lnTo>
                  <a:lnTo>
                    <a:pt x="1093282" y="5787107"/>
                  </a:lnTo>
                  <a:lnTo>
                    <a:pt x="1159489" y="5815583"/>
                  </a:lnTo>
                  <a:lnTo>
                    <a:pt x="1221463" y="5851584"/>
                  </a:lnTo>
                  <a:lnTo>
                    <a:pt x="1262012" y="5875136"/>
                  </a:lnTo>
                  <a:lnTo>
                    <a:pt x="1310810" y="5881895"/>
                  </a:lnTo>
                  <a:lnTo>
                    <a:pt x="1352041" y="5901919"/>
                  </a:lnTo>
                  <a:lnTo>
                    <a:pt x="1394764" y="5922612"/>
                  </a:lnTo>
                  <a:lnTo>
                    <a:pt x="1438752" y="5957553"/>
                  </a:lnTo>
                  <a:lnTo>
                    <a:pt x="1482619" y="5974008"/>
                  </a:lnTo>
                  <a:lnTo>
                    <a:pt x="1543617" y="5996831"/>
                  </a:lnTo>
                  <a:lnTo>
                    <a:pt x="1563889" y="5942893"/>
                  </a:lnTo>
                  <a:lnTo>
                    <a:pt x="1596876" y="5938639"/>
                  </a:lnTo>
                  <a:lnTo>
                    <a:pt x="1622084" y="5935405"/>
                  </a:lnTo>
                  <a:lnTo>
                    <a:pt x="1689369" y="5944078"/>
                  </a:lnTo>
                  <a:lnTo>
                    <a:pt x="1716019" y="5943188"/>
                  </a:lnTo>
                  <a:lnTo>
                    <a:pt x="1762224" y="5982928"/>
                  </a:lnTo>
                  <a:lnTo>
                    <a:pt x="1765752" y="6006263"/>
                  </a:lnTo>
                  <a:lnTo>
                    <a:pt x="1790021" y="6044729"/>
                  </a:lnTo>
                  <a:lnTo>
                    <a:pt x="1839035" y="6122346"/>
                  </a:lnTo>
                  <a:lnTo>
                    <a:pt x="1913207" y="6177728"/>
                  </a:lnTo>
                  <a:lnTo>
                    <a:pt x="1928766" y="6274603"/>
                  </a:lnTo>
                  <a:lnTo>
                    <a:pt x="1918602" y="6300276"/>
                  </a:lnTo>
                  <a:lnTo>
                    <a:pt x="1882220" y="6304741"/>
                  </a:lnTo>
                  <a:lnTo>
                    <a:pt x="1852938" y="6297982"/>
                  </a:lnTo>
                  <a:lnTo>
                    <a:pt x="1825389" y="6299088"/>
                  </a:lnTo>
                  <a:lnTo>
                    <a:pt x="1724859" y="6303166"/>
                  </a:lnTo>
                  <a:lnTo>
                    <a:pt x="1767672" y="6374833"/>
                  </a:lnTo>
                  <a:lnTo>
                    <a:pt x="1727457" y="6418787"/>
                  </a:lnTo>
                  <a:lnTo>
                    <a:pt x="1705396" y="6442844"/>
                  </a:lnTo>
                  <a:lnTo>
                    <a:pt x="1614986" y="6486792"/>
                  </a:lnTo>
                  <a:lnTo>
                    <a:pt x="1581912" y="6497675"/>
                  </a:lnTo>
                  <a:lnTo>
                    <a:pt x="1499372" y="6524752"/>
                  </a:lnTo>
                  <a:lnTo>
                    <a:pt x="1388854" y="6539843"/>
                  </a:lnTo>
                  <a:lnTo>
                    <a:pt x="1303074" y="6527602"/>
                  </a:lnTo>
                  <a:lnTo>
                    <a:pt x="1234303" y="6517736"/>
                  </a:lnTo>
                  <a:lnTo>
                    <a:pt x="1168412" y="6505029"/>
                  </a:lnTo>
                  <a:lnTo>
                    <a:pt x="1099046" y="6520796"/>
                  </a:lnTo>
                  <a:lnTo>
                    <a:pt x="1075918" y="6528960"/>
                  </a:lnTo>
                  <a:lnTo>
                    <a:pt x="1051948" y="6542395"/>
                  </a:lnTo>
                  <a:lnTo>
                    <a:pt x="1032222" y="6560288"/>
                  </a:lnTo>
                  <a:lnTo>
                    <a:pt x="1009271" y="6573847"/>
                  </a:lnTo>
                  <a:lnTo>
                    <a:pt x="981493" y="6590215"/>
                  </a:lnTo>
                  <a:lnTo>
                    <a:pt x="945464" y="6599396"/>
                  </a:lnTo>
                  <a:lnTo>
                    <a:pt x="919494" y="6617373"/>
                  </a:lnTo>
                  <a:lnTo>
                    <a:pt x="897328" y="6641133"/>
                  </a:lnTo>
                  <a:lnTo>
                    <a:pt x="876120" y="6659414"/>
                  </a:lnTo>
                  <a:lnTo>
                    <a:pt x="870526" y="6684020"/>
                  </a:lnTo>
                  <a:lnTo>
                    <a:pt x="885173" y="6716796"/>
                  </a:lnTo>
                  <a:lnTo>
                    <a:pt x="917686" y="6734820"/>
                  </a:lnTo>
                  <a:lnTo>
                    <a:pt x="939899" y="6760192"/>
                  </a:lnTo>
                  <a:lnTo>
                    <a:pt x="957482" y="6780299"/>
                  </a:lnTo>
                  <a:lnTo>
                    <a:pt x="965975" y="6818852"/>
                  </a:lnTo>
                  <a:lnTo>
                    <a:pt x="984783" y="6830929"/>
                  </a:lnTo>
                  <a:lnTo>
                    <a:pt x="1033078" y="6861956"/>
                  </a:lnTo>
                  <a:lnTo>
                    <a:pt x="1121950" y="6867736"/>
                  </a:lnTo>
                  <a:lnTo>
                    <a:pt x="1177934" y="6858133"/>
                  </a:lnTo>
                  <a:lnTo>
                    <a:pt x="1213296" y="6849966"/>
                  </a:lnTo>
                  <a:lnTo>
                    <a:pt x="1280163" y="6849966"/>
                  </a:lnTo>
                  <a:lnTo>
                    <a:pt x="1330278" y="6849966"/>
                  </a:lnTo>
                  <a:lnTo>
                    <a:pt x="1343198" y="6826886"/>
                  </a:lnTo>
                  <a:lnTo>
                    <a:pt x="1328787" y="6768309"/>
                  </a:lnTo>
                  <a:lnTo>
                    <a:pt x="1268133" y="6729763"/>
                  </a:lnTo>
                  <a:lnTo>
                    <a:pt x="1286752" y="6675862"/>
                  </a:lnTo>
                  <a:lnTo>
                    <a:pt x="1345539" y="6662428"/>
                  </a:lnTo>
                  <a:lnTo>
                    <a:pt x="1414146" y="6716585"/>
                  </a:lnTo>
                  <a:lnTo>
                    <a:pt x="1448615" y="6739793"/>
                  </a:lnTo>
                  <a:lnTo>
                    <a:pt x="1474542" y="6757219"/>
                  </a:lnTo>
                  <a:lnTo>
                    <a:pt x="1502426" y="6766021"/>
                  </a:lnTo>
                  <a:lnTo>
                    <a:pt x="1523429" y="6791477"/>
                  </a:lnTo>
                  <a:lnTo>
                    <a:pt x="1549908" y="6823661"/>
                  </a:lnTo>
                  <a:lnTo>
                    <a:pt x="1559002" y="6886907"/>
                  </a:lnTo>
                  <a:lnTo>
                    <a:pt x="1598234" y="6901659"/>
                  </a:lnTo>
                  <a:lnTo>
                    <a:pt x="1624502" y="6911519"/>
                  </a:lnTo>
                  <a:lnTo>
                    <a:pt x="1658168" y="6907138"/>
                  </a:lnTo>
                  <a:lnTo>
                    <a:pt x="1682564" y="6919339"/>
                  </a:lnTo>
                  <a:lnTo>
                    <a:pt x="1723888" y="6939995"/>
                  </a:lnTo>
                  <a:lnTo>
                    <a:pt x="1777398" y="6972384"/>
                  </a:lnTo>
                  <a:lnTo>
                    <a:pt x="1825389" y="6972384"/>
                  </a:lnTo>
                  <a:lnTo>
                    <a:pt x="1868493" y="6972384"/>
                  </a:lnTo>
                  <a:lnTo>
                    <a:pt x="1904919" y="6942203"/>
                  </a:lnTo>
                  <a:lnTo>
                    <a:pt x="1946445" y="6976458"/>
                  </a:lnTo>
                  <a:lnTo>
                    <a:pt x="1979770" y="7003966"/>
                  </a:lnTo>
                  <a:lnTo>
                    <a:pt x="2046972" y="7091651"/>
                  </a:lnTo>
                  <a:lnTo>
                    <a:pt x="2067508" y="7130166"/>
                  </a:lnTo>
                  <a:lnTo>
                    <a:pt x="2077752" y="7149331"/>
                  </a:lnTo>
                  <a:lnTo>
                    <a:pt x="2083910" y="7173137"/>
                  </a:lnTo>
                  <a:lnTo>
                    <a:pt x="2096070" y="7191372"/>
                  </a:lnTo>
                  <a:lnTo>
                    <a:pt x="2135048" y="7225978"/>
                  </a:lnTo>
                  <a:lnTo>
                    <a:pt x="2157155" y="7237707"/>
                  </a:lnTo>
                  <a:lnTo>
                    <a:pt x="2368150" y="7323950"/>
                  </a:lnTo>
                  <a:lnTo>
                    <a:pt x="2444492" y="7344479"/>
                  </a:lnTo>
                  <a:lnTo>
                    <a:pt x="2434760" y="7293133"/>
                  </a:lnTo>
                  <a:lnTo>
                    <a:pt x="2523170" y="7338275"/>
                  </a:lnTo>
                  <a:lnTo>
                    <a:pt x="2557220" y="7336783"/>
                  </a:lnTo>
                  <a:lnTo>
                    <a:pt x="2617880" y="7279618"/>
                  </a:lnTo>
                  <a:lnTo>
                    <a:pt x="2644232" y="7283866"/>
                  </a:lnTo>
                  <a:lnTo>
                    <a:pt x="2647246" y="7331429"/>
                  </a:lnTo>
                  <a:lnTo>
                    <a:pt x="2595221" y="7366456"/>
                  </a:lnTo>
                  <a:lnTo>
                    <a:pt x="2572137" y="7388600"/>
                  </a:lnTo>
                  <a:lnTo>
                    <a:pt x="2566696" y="7409005"/>
                  </a:lnTo>
                  <a:lnTo>
                    <a:pt x="2575625" y="7448113"/>
                  </a:lnTo>
                  <a:lnTo>
                    <a:pt x="2607375" y="7480499"/>
                  </a:lnTo>
                  <a:lnTo>
                    <a:pt x="2612947" y="7520536"/>
                  </a:lnTo>
                  <a:lnTo>
                    <a:pt x="2618730" y="7562236"/>
                  </a:lnTo>
                  <a:lnTo>
                    <a:pt x="2608349" y="7608143"/>
                  </a:lnTo>
                  <a:lnTo>
                    <a:pt x="2633346" y="7645682"/>
                  </a:lnTo>
                  <a:lnTo>
                    <a:pt x="2661868" y="7676877"/>
                  </a:lnTo>
                  <a:lnTo>
                    <a:pt x="2701397" y="7669399"/>
                  </a:lnTo>
                  <a:lnTo>
                    <a:pt x="2732645" y="7682402"/>
                  </a:lnTo>
                  <a:lnTo>
                    <a:pt x="2786747" y="7704931"/>
                  </a:lnTo>
                  <a:lnTo>
                    <a:pt x="2842350" y="7732306"/>
                  </a:lnTo>
                  <a:lnTo>
                    <a:pt x="2897227" y="7751775"/>
                  </a:lnTo>
                  <a:lnTo>
                    <a:pt x="2926258" y="7756364"/>
                  </a:lnTo>
                  <a:lnTo>
                    <a:pt x="2990062" y="7780297"/>
                  </a:lnTo>
                  <a:lnTo>
                    <a:pt x="3042512" y="7795341"/>
                  </a:lnTo>
                  <a:lnTo>
                    <a:pt x="3093095" y="7814348"/>
                  </a:lnTo>
                  <a:lnTo>
                    <a:pt x="3131346" y="7832325"/>
                  </a:lnTo>
                  <a:lnTo>
                    <a:pt x="3207094" y="7851707"/>
                  </a:lnTo>
                  <a:lnTo>
                    <a:pt x="3264523" y="7862627"/>
                  </a:lnTo>
                  <a:lnTo>
                    <a:pt x="3320250" y="7876912"/>
                  </a:lnTo>
                  <a:lnTo>
                    <a:pt x="3396078" y="7896334"/>
                  </a:lnTo>
                  <a:lnTo>
                    <a:pt x="3480875" y="7935060"/>
                  </a:lnTo>
                  <a:lnTo>
                    <a:pt x="3561004" y="7928598"/>
                  </a:lnTo>
                  <a:lnTo>
                    <a:pt x="3648651" y="7921461"/>
                  </a:lnTo>
                  <a:lnTo>
                    <a:pt x="3607122" y="7844603"/>
                  </a:lnTo>
                  <a:lnTo>
                    <a:pt x="3722864" y="7821147"/>
                  </a:lnTo>
                  <a:lnTo>
                    <a:pt x="3745266" y="7831600"/>
                  </a:lnTo>
                  <a:lnTo>
                    <a:pt x="3802397" y="7789525"/>
                  </a:lnTo>
                  <a:lnTo>
                    <a:pt x="3824879" y="7784421"/>
                  </a:lnTo>
                  <a:lnTo>
                    <a:pt x="3849833" y="7782976"/>
                  </a:lnTo>
                  <a:lnTo>
                    <a:pt x="3904540" y="7764444"/>
                  </a:lnTo>
                  <a:lnTo>
                    <a:pt x="3943303" y="7734641"/>
                  </a:lnTo>
                  <a:lnTo>
                    <a:pt x="3992184" y="7738176"/>
                  </a:lnTo>
                  <a:lnTo>
                    <a:pt x="4027084" y="7740768"/>
                  </a:lnTo>
                  <a:lnTo>
                    <a:pt x="4060111" y="7766357"/>
                  </a:lnTo>
                  <a:lnTo>
                    <a:pt x="4095560" y="7759933"/>
                  </a:lnTo>
                  <a:lnTo>
                    <a:pt x="4123317" y="7740681"/>
                  </a:lnTo>
                  <a:lnTo>
                    <a:pt x="4163318" y="7731581"/>
                  </a:lnTo>
                  <a:lnTo>
                    <a:pt x="4189716" y="7735023"/>
                  </a:lnTo>
                  <a:lnTo>
                    <a:pt x="4212539" y="7727287"/>
                  </a:lnTo>
                  <a:lnTo>
                    <a:pt x="4255129" y="7712838"/>
                  </a:lnTo>
                  <a:lnTo>
                    <a:pt x="4284628" y="7673777"/>
                  </a:lnTo>
                  <a:lnTo>
                    <a:pt x="4324074" y="7656559"/>
                  </a:lnTo>
                  <a:lnTo>
                    <a:pt x="4364415" y="7639000"/>
                  </a:lnTo>
                  <a:lnTo>
                    <a:pt x="4529128" y="7629057"/>
                  </a:lnTo>
                  <a:lnTo>
                    <a:pt x="4568908" y="7641602"/>
                  </a:lnTo>
                  <a:lnTo>
                    <a:pt x="4605381" y="7653161"/>
                  </a:lnTo>
                  <a:lnTo>
                    <a:pt x="4642575" y="7677516"/>
                  </a:lnTo>
                  <a:lnTo>
                    <a:pt x="4679085" y="7687844"/>
                  </a:lnTo>
                  <a:lnTo>
                    <a:pt x="4710838" y="7696860"/>
                  </a:lnTo>
                  <a:lnTo>
                    <a:pt x="4738979" y="7668251"/>
                  </a:lnTo>
                  <a:lnTo>
                    <a:pt x="4772942" y="7682402"/>
                  </a:lnTo>
                  <a:lnTo>
                    <a:pt x="4804909" y="7703189"/>
                  </a:lnTo>
                  <a:lnTo>
                    <a:pt x="4828710" y="7725928"/>
                  </a:lnTo>
                  <a:lnTo>
                    <a:pt x="4898885" y="7767207"/>
                  </a:lnTo>
                  <a:lnTo>
                    <a:pt x="4944916" y="7692098"/>
                  </a:lnTo>
                  <a:lnTo>
                    <a:pt x="5009613" y="7683761"/>
                  </a:lnTo>
                  <a:lnTo>
                    <a:pt x="5076049" y="7675222"/>
                  </a:lnTo>
                  <a:lnTo>
                    <a:pt x="5303462" y="7724992"/>
                  </a:lnTo>
                  <a:lnTo>
                    <a:pt x="5322456" y="7626635"/>
                  </a:lnTo>
                  <a:lnTo>
                    <a:pt x="5349667" y="7503068"/>
                  </a:lnTo>
                  <a:lnTo>
                    <a:pt x="5320208" y="7550848"/>
                  </a:lnTo>
                  <a:lnTo>
                    <a:pt x="5297977" y="7478378"/>
                  </a:lnTo>
                  <a:lnTo>
                    <a:pt x="5318382" y="7456615"/>
                  </a:lnTo>
                  <a:lnTo>
                    <a:pt x="5352978" y="7474124"/>
                  </a:lnTo>
                  <a:lnTo>
                    <a:pt x="5398079" y="7486917"/>
                  </a:lnTo>
                  <a:lnTo>
                    <a:pt x="5433231" y="7488151"/>
                  </a:lnTo>
                  <a:lnTo>
                    <a:pt x="5454402" y="7502857"/>
                  </a:lnTo>
                  <a:lnTo>
                    <a:pt x="5509229" y="7541028"/>
                  </a:lnTo>
                  <a:lnTo>
                    <a:pt x="5539243" y="7629268"/>
                  </a:lnTo>
                  <a:lnTo>
                    <a:pt x="5612184" y="7637518"/>
                  </a:lnTo>
                  <a:lnTo>
                    <a:pt x="5676115" y="7644699"/>
                  </a:lnTo>
                  <a:lnTo>
                    <a:pt x="5777024" y="7531339"/>
                  </a:lnTo>
                  <a:lnTo>
                    <a:pt x="5835256" y="7500141"/>
                  </a:lnTo>
                  <a:lnTo>
                    <a:pt x="5879548" y="7483984"/>
                  </a:lnTo>
                  <a:lnTo>
                    <a:pt x="5914870" y="7438551"/>
                  </a:lnTo>
                  <a:lnTo>
                    <a:pt x="5890601" y="7371045"/>
                  </a:lnTo>
                  <a:lnTo>
                    <a:pt x="5908709" y="7330117"/>
                  </a:lnTo>
                  <a:lnTo>
                    <a:pt x="5929030" y="7315833"/>
                  </a:lnTo>
                  <a:lnTo>
                    <a:pt x="5990744" y="7284631"/>
                  </a:lnTo>
                  <a:lnTo>
                    <a:pt x="5978714" y="7199365"/>
                  </a:lnTo>
                  <a:lnTo>
                    <a:pt x="6020243" y="7168251"/>
                  </a:lnTo>
                  <a:lnTo>
                    <a:pt x="6038729" y="7232520"/>
                  </a:lnTo>
                  <a:lnTo>
                    <a:pt x="5996310" y="7270518"/>
                  </a:lnTo>
                  <a:lnTo>
                    <a:pt x="5999838" y="7336917"/>
                  </a:lnTo>
                  <a:lnTo>
                    <a:pt x="6002774" y="7391323"/>
                  </a:lnTo>
                  <a:lnTo>
                    <a:pt x="6035293" y="7468980"/>
                  </a:lnTo>
                  <a:lnTo>
                    <a:pt x="6028407" y="7520536"/>
                  </a:lnTo>
                  <a:lnTo>
                    <a:pt x="6021939" y="7568999"/>
                  </a:lnTo>
                  <a:lnTo>
                    <a:pt x="5972252" y="7599049"/>
                  </a:lnTo>
                  <a:lnTo>
                    <a:pt x="5967195" y="7629361"/>
                  </a:lnTo>
                  <a:lnTo>
                    <a:pt x="5975781" y="7654565"/>
                  </a:lnTo>
                  <a:lnTo>
                    <a:pt x="6035715" y="7654051"/>
                  </a:lnTo>
                  <a:lnTo>
                    <a:pt x="6084298" y="7561520"/>
                  </a:lnTo>
                  <a:lnTo>
                    <a:pt x="6160346" y="7573587"/>
                  </a:lnTo>
                  <a:lnTo>
                    <a:pt x="6207401" y="7605381"/>
                  </a:lnTo>
                  <a:lnTo>
                    <a:pt x="6251389" y="7635729"/>
                  </a:lnTo>
                  <a:lnTo>
                    <a:pt x="6304523" y="7657923"/>
                  </a:lnTo>
                  <a:lnTo>
                    <a:pt x="6328497" y="7664425"/>
                  </a:lnTo>
                  <a:lnTo>
                    <a:pt x="6354895" y="7694135"/>
                  </a:lnTo>
                  <a:lnTo>
                    <a:pt x="6349032" y="7729200"/>
                  </a:lnTo>
                  <a:lnTo>
                    <a:pt x="6338527" y="7751775"/>
                  </a:lnTo>
                  <a:lnTo>
                    <a:pt x="6318504" y="7795003"/>
                  </a:lnTo>
                  <a:lnTo>
                    <a:pt x="6254706" y="7797301"/>
                  </a:lnTo>
                  <a:lnTo>
                    <a:pt x="6244676" y="7841552"/>
                  </a:lnTo>
                  <a:lnTo>
                    <a:pt x="6279185" y="7858249"/>
                  </a:lnTo>
                  <a:lnTo>
                    <a:pt x="6345919" y="7846523"/>
                  </a:lnTo>
                  <a:lnTo>
                    <a:pt x="6335256" y="7772561"/>
                  </a:lnTo>
                  <a:lnTo>
                    <a:pt x="6387495" y="7761297"/>
                  </a:lnTo>
                  <a:lnTo>
                    <a:pt x="6427787" y="7783826"/>
                  </a:lnTo>
                  <a:lnTo>
                    <a:pt x="6466560" y="7786207"/>
                  </a:lnTo>
                  <a:lnTo>
                    <a:pt x="6508548" y="7800743"/>
                  </a:lnTo>
                  <a:lnTo>
                    <a:pt x="6529806" y="7812429"/>
                  </a:lnTo>
                  <a:lnTo>
                    <a:pt x="6596670" y="7879714"/>
                  </a:lnTo>
                  <a:lnTo>
                    <a:pt x="6560539" y="7893915"/>
                  </a:lnTo>
                  <a:lnTo>
                    <a:pt x="6580646" y="7934046"/>
                  </a:lnTo>
                  <a:lnTo>
                    <a:pt x="6590121" y="7953000"/>
                  </a:lnTo>
                  <a:lnTo>
                    <a:pt x="6617583" y="7962943"/>
                  </a:lnTo>
                  <a:lnTo>
                    <a:pt x="6673264" y="8013058"/>
                  </a:lnTo>
                  <a:lnTo>
                    <a:pt x="6670120" y="8082180"/>
                  </a:lnTo>
                  <a:lnTo>
                    <a:pt x="6743870" y="8085023"/>
                  </a:lnTo>
                  <a:lnTo>
                    <a:pt x="6789263" y="8086762"/>
                  </a:lnTo>
                  <a:lnTo>
                    <a:pt x="6810939" y="8022410"/>
                  </a:lnTo>
                  <a:lnTo>
                    <a:pt x="6867642" y="8033336"/>
                  </a:lnTo>
                  <a:lnTo>
                    <a:pt x="6897991" y="8036741"/>
                  </a:lnTo>
                  <a:lnTo>
                    <a:pt x="6964812" y="8121873"/>
                  </a:lnTo>
                  <a:lnTo>
                    <a:pt x="7006384" y="8102709"/>
                  </a:lnTo>
                  <a:lnTo>
                    <a:pt x="6994481" y="8015142"/>
                  </a:lnTo>
                  <a:lnTo>
                    <a:pt x="6919419" y="7995041"/>
                  </a:lnTo>
                  <a:lnTo>
                    <a:pt x="6976464" y="7909558"/>
                  </a:lnTo>
                  <a:lnTo>
                    <a:pt x="7005575" y="7873727"/>
                  </a:lnTo>
                  <a:lnTo>
                    <a:pt x="7057392" y="7867008"/>
                  </a:lnTo>
                  <a:lnTo>
                    <a:pt x="7137260" y="7903992"/>
                  </a:lnTo>
                  <a:lnTo>
                    <a:pt x="7165528" y="7879631"/>
                  </a:lnTo>
                  <a:lnTo>
                    <a:pt x="7153960" y="7812388"/>
                  </a:lnTo>
                  <a:lnTo>
                    <a:pt x="7080724" y="7817151"/>
                  </a:lnTo>
                  <a:lnTo>
                    <a:pt x="7056710" y="7778980"/>
                  </a:lnTo>
                  <a:lnTo>
                    <a:pt x="7048673" y="7745952"/>
                  </a:lnTo>
                  <a:lnTo>
                    <a:pt x="7080426" y="7650780"/>
                  </a:lnTo>
                  <a:lnTo>
                    <a:pt x="7104828" y="7681131"/>
                  </a:lnTo>
                  <a:lnTo>
                    <a:pt x="7146481" y="7651118"/>
                  </a:lnTo>
                  <a:lnTo>
                    <a:pt x="7184823" y="7623532"/>
                  </a:lnTo>
                  <a:lnTo>
                    <a:pt x="7151163" y="7579199"/>
                  </a:lnTo>
                  <a:lnTo>
                    <a:pt x="7225376" y="7561346"/>
                  </a:lnTo>
                  <a:lnTo>
                    <a:pt x="7250028" y="7543878"/>
                  </a:lnTo>
                  <a:lnTo>
                    <a:pt x="7240590" y="7492107"/>
                  </a:lnTo>
                  <a:lnTo>
                    <a:pt x="7275701" y="7485177"/>
                  </a:lnTo>
                  <a:lnTo>
                    <a:pt x="7299207" y="7485704"/>
                  </a:lnTo>
                  <a:lnTo>
                    <a:pt x="7326284" y="7500990"/>
                  </a:lnTo>
                  <a:lnTo>
                    <a:pt x="7342358" y="7517820"/>
                  </a:lnTo>
                  <a:lnTo>
                    <a:pt x="7377165" y="7554119"/>
                  </a:lnTo>
                  <a:lnTo>
                    <a:pt x="7379038" y="7616692"/>
                  </a:lnTo>
                  <a:lnTo>
                    <a:pt x="7398115" y="7660639"/>
                  </a:lnTo>
                  <a:lnTo>
                    <a:pt x="7423782" y="7662915"/>
                  </a:lnTo>
                  <a:lnTo>
                    <a:pt x="7456599" y="7640234"/>
                  </a:lnTo>
                  <a:lnTo>
                    <a:pt x="7483937" y="7612562"/>
                  </a:lnTo>
                  <a:lnTo>
                    <a:pt x="7497409" y="7574945"/>
                  </a:lnTo>
                  <a:lnTo>
                    <a:pt x="7493986" y="7533140"/>
                  </a:lnTo>
                  <a:lnTo>
                    <a:pt x="7490603" y="7500135"/>
                  </a:lnTo>
                  <a:lnTo>
                    <a:pt x="7491843" y="7458097"/>
                  </a:lnTo>
                  <a:lnTo>
                    <a:pt x="7483341" y="7419628"/>
                  </a:lnTo>
                  <a:lnTo>
                    <a:pt x="7469900" y="7398076"/>
                  </a:lnTo>
                  <a:lnTo>
                    <a:pt x="7463398" y="7377717"/>
                  </a:lnTo>
                  <a:lnTo>
                    <a:pt x="7454431" y="7349663"/>
                  </a:lnTo>
                  <a:lnTo>
                    <a:pt x="7448013" y="7320462"/>
                  </a:lnTo>
                  <a:lnTo>
                    <a:pt x="7440277" y="7292023"/>
                  </a:lnTo>
                  <a:lnTo>
                    <a:pt x="7430095" y="7254360"/>
                  </a:lnTo>
                  <a:lnTo>
                    <a:pt x="7424049" y="7215088"/>
                  </a:lnTo>
                  <a:lnTo>
                    <a:pt x="7429397" y="7179125"/>
                  </a:lnTo>
                  <a:lnTo>
                    <a:pt x="7437239" y="7142860"/>
                  </a:lnTo>
                  <a:lnTo>
                    <a:pt x="7456915" y="7112016"/>
                  </a:lnTo>
                  <a:lnTo>
                    <a:pt x="7490603" y="7087992"/>
                  </a:lnTo>
                  <a:lnTo>
                    <a:pt x="7530048" y="7089350"/>
                  </a:lnTo>
                  <a:lnTo>
                    <a:pt x="7553610" y="7104822"/>
                  </a:lnTo>
                  <a:lnTo>
                    <a:pt x="7576067" y="7143573"/>
                  </a:lnTo>
                  <a:lnTo>
                    <a:pt x="7598060" y="7154639"/>
                  </a:lnTo>
                  <a:lnTo>
                    <a:pt x="7621671" y="7152686"/>
                  </a:lnTo>
                  <a:lnTo>
                    <a:pt x="7729320" y="7205604"/>
                  </a:lnTo>
                  <a:lnTo>
                    <a:pt x="7750804" y="7187013"/>
                  </a:lnTo>
                  <a:lnTo>
                    <a:pt x="7761833" y="7158760"/>
                  </a:lnTo>
                  <a:lnTo>
                    <a:pt x="7773525" y="7131524"/>
                  </a:lnTo>
                  <a:lnTo>
                    <a:pt x="7785217" y="7104280"/>
                  </a:lnTo>
                  <a:lnTo>
                    <a:pt x="7797753" y="7078684"/>
                  </a:lnTo>
                  <a:lnTo>
                    <a:pt x="7846990" y="7065891"/>
                  </a:lnTo>
                  <a:lnTo>
                    <a:pt x="7872818" y="7056710"/>
                  </a:lnTo>
                  <a:lnTo>
                    <a:pt x="7891540" y="7038727"/>
                  </a:lnTo>
                  <a:lnTo>
                    <a:pt x="7914986" y="7014542"/>
                  </a:lnTo>
                  <a:lnTo>
                    <a:pt x="7945679" y="7013733"/>
                  </a:lnTo>
                  <a:lnTo>
                    <a:pt x="7968350" y="7019364"/>
                  </a:lnTo>
                  <a:lnTo>
                    <a:pt x="7990792" y="7050289"/>
                  </a:lnTo>
                  <a:lnTo>
                    <a:pt x="8018360" y="7082551"/>
                  </a:lnTo>
                  <a:lnTo>
                    <a:pt x="8032145" y="7098680"/>
                  </a:lnTo>
                  <a:lnTo>
                    <a:pt x="8047412" y="7114642"/>
                  </a:lnTo>
                  <a:lnTo>
                    <a:pt x="8064605" y="7128799"/>
                  </a:lnTo>
                  <a:lnTo>
                    <a:pt x="8081804" y="7142959"/>
                  </a:lnTo>
                  <a:lnTo>
                    <a:pt x="8100215" y="7155142"/>
                  </a:lnTo>
                  <a:lnTo>
                    <a:pt x="8121736" y="7161445"/>
                  </a:lnTo>
                  <a:lnTo>
                    <a:pt x="8149791" y="7169655"/>
                  </a:lnTo>
                  <a:lnTo>
                    <a:pt x="8172378" y="7169386"/>
                  </a:lnTo>
                  <a:lnTo>
                    <a:pt x="8209836" y="7161662"/>
                  </a:lnTo>
                  <a:lnTo>
                    <a:pt x="8237351" y="7143756"/>
                  </a:lnTo>
                  <a:lnTo>
                    <a:pt x="8262457" y="7124685"/>
                  </a:lnTo>
                  <a:lnTo>
                    <a:pt x="8277922" y="7100891"/>
                  </a:lnTo>
                  <a:lnTo>
                    <a:pt x="8318962" y="7104314"/>
                  </a:lnTo>
                  <a:lnTo>
                    <a:pt x="8333075" y="7120973"/>
                  </a:lnTo>
                  <a:lnTo>
                    <a:pt x="8343450" y="7144054"/>
                  </a:lnTo>
                  <a:lnTo>
                    <a:pt x="8359771" y="7157355"/>
                  </a:lnTo>
                  <a:lnTo>
                    <a:pt x="8377454" y="7171727"/>
                  </a:lnTo>
                  <a:lnTo>
                    <a:pt x="8398749" y="7177782"/>
                  </a:lnTo>
                  <a:lnTo>
                    <a:pt x="8422338" y="7180486"/>
                  </a:lnTo>
                  <a:lnTo>
                    <a:pt x="8445993" y="7183183"/>
                  </a:lnTo>
                  <a:lnTo>
                    <a:pt x="8471892" y="7182706"/>
                  </a:lnTo>
                  <a:lnTo>
                    <a:pt x="8497155" y="7183202"/>
                  </a:lnTo>
                  <a:lnTo>
                    <a:pt x="8522416" y="7183729"/>
                  </a:lnTo>
                  <a:lnTo>
                    <a:pt x="8546777" y="7186321"/>
                  </a:lnTo>
                  <a:lnTo>
                    <a:pt x="8569238" y="7194082"/>
                  </a:lnTo>
                  <a:lnTo>
                    <a:pt x="8591760" y="7201846"/>
                  </a:lnTo>
                  <a:lnTo>
                    <a:pt x="8612317" y="7214474"/>
                  </a:lnTo>
                  <a:lnTo>
                    <a:pt x="8627730" y="7238969"/>
                  </a:lnTo>
                  <a:lnTo>
                    <a:pt x="8658423" y="7287763"/>
                  </a:lnTo>
                  <a:lnTo>
                    <a:pt x="8658990" y="7353734"/>
                  </a:lnTo>
                  <a:lnTo>
                    <a:pt x="8683494" y="7406274"/>
                  </a:lnTo>
                  <a:lnTo>
                    <a:pt x="8697866" y="7437072"/>
                  </a:lnTo>
                  <a:lnTo>
                    <a:pt x="8722695" y="7462093"/>
                  </a:lnTo>
                  <a:lnTo>
                    <a:pt x="8747425" y="7486529"/>
                  </a:lnTo>
                  <a:lnTo>
                    <a:pt x="8772159" y="7510956"/>
                  </a:lnTo>
                  <a:lnTo>
                    <a:pt x="8796210" y="7535087"/>
                  </a:lnTo>
                  <a:lnTo>
                    <a:pt x="8811366" y="7565417"/>
                  </a:lnTo>
                  <a:lnTo>
                    <a:pt x="8826190" y="7607833"/>
                  </a:lnTo>
                  <a:lnTo>
                    <a:pt x="8848086" y="7625265"/>
                  </a:lnTo>
                  <a:lnTo>
                    <a:pt x="8882608" y="7618419"/>
                  </a:lnTo>
                  <a:lnTo>
                    <a:pt x="8888381" y="7596240"/>
                  </a:lnTo>
                  <a:lnTo>
                    <a:pt x="8894328" y="7573575"/>
                  </a:lnTo>
                  <a:lnTo>
                    <a:pt x="8900278" y="7550907"/>
                  </a:lnTo>
                  <a:lnTo>
                    <a:pt x="8906299" y="7528564"/>
                  </a:lnTo>
                  <a:lnTo>
                    <a:pt x="8926974" y="7517808"/>
                  </a:lnTo>
                  <a:lnTo>
                    <a:pt x="8959750" y="7519383"/>
                  </a:lnTo>
                  <a:lnTo>
                    <a:pt x="8978478" y="7546160"/>
                  </a:lnTo>
                  <a:lnTo>
                    <a:pt x="8989547" y="7585813"/>
                  </a:lnTo>
                  <a:lnTo>
                    <a:pt x="8995237" y="7605982"/>
                  </a:lnTo>
                  <a:lnTo>
                    <a:pt x="9001118" y="7626387"/>
                  </a:lnTo>
                  <a:lnTo>
                    <a:pt x="9018826" y="7656782"/>
                  </a:lnTo>
                  <a:lnTo>
                    <a:pt x="9050759" y="7664707"/>
                  </a:lnTo>
                  <a:lnTo>
                    <a:pt x="9070953" y="7656503"/>
                  </a:lnTo>
                  <a:lnTo>
                    <a:pt x="9101078" y="7653821"/>
                  </a:lnTo>
                  <a:lnTo>
                    <a:pt x="9124333" y="7680852"/>
                  </a:lnTo>
                  <a:lnTo>
                    <a:pt x="9143076" y="7706060"/>
                  </a:lnTo>
                  <a:lnTo>
                    <a:pt x="9164752" y="7711545"/>
                  </a:lnTo>
                  <a:lnTo>
                    <a:pt x="9190248" y="7698839"/>
                  </a:lnTo>
                  <a:lnTo>
                    <a:pt x="9203103" y="7676949"/>
                  </a:lnTo>
                  <a:lnTo>
                    <a:pt x="9202061" y="7649468"/>
                  </a:lnTo>
                  <a:lnTo>
                    <a:pt x="9187888" y="7622812"/>
                  </a:lnTo>
                  <a:lnTo>
                    <a:pt x="9174531" y="7595338"/>
                  </a:lnTo>
                  <a:lnTo>
                    <a:pt x="9170351" y="7556909"/>
                  </a:lnTo>
                  <a:lnTo>
                    <a:pt x="9173313" y="7519501"/>
                  </a:lnTo>
                  <a:lnTo>
                    <a:pt x="9165037" y="7481075"/>
                  </a:lnTo>
                  <a:lnTo>
                    <a:pt x="9152309" y="7453830"/>
                  </a:lnTo>
                  <a:lnTo>
                    <a:pt x="9113344" y="7441630"/>
                  </a:lnTo>
                  <a:lnTo>
                    <a:pt x="9092849" y="7436492"/>
                  </a:lnTo>
                  <a:lnTo>
                    <a:pt x="9069917" y="7433912"/>
                  </a:lnTo>
                  <a:lnTo>
                    <a:pt x="9050780" y="7418508"/>
                  </a:lnTo>
                  <a:lnTo>
                    <a:pt x="9021833" y="7395254"/>
                  </a:lnTo>
                  <a:lnTo>
                    <a:pt x="8997729" y="7351858"/>
                  </a:lnTo>
                  <a:lnTo>
                    <a:pt x="9023086" y="7334008"/>
                  </a:lnTo>
                  <a:lnTo>
                    <a:pt x="9053497" y="7350494"/>
                  </a:lnTo>
                  <a:lnTo>
                    <a:pt x="9083241" y="7366288"/>
                  </a:lnTo>
                  <a:lnTo>
                    <a:pt x="9119955" y="7347586"/>
                  </a:lnTo>
                  <a:lnTo>
                    <a:pt x="9128618" y="7325020"/>
                  </a:lnTo>
                  <a:lnTo>
                    <a:pt x="9136474" y="7301526"/>
                  </a:lnTo>
                  <a:lnTo>
                    <a:pt x="9144322" y="7278043"/>
                  </a:lnTo>
                  <a:lnTo>
                    <a:pt x="9150480" y="7253753"/>
                  </a:lnTo>
                  <a:lnTo>
                    <a:pt x="9169111" y="7234879"/>
                  </a:lnTo>
                  <a:lnTo>
                    <a:pt x="9206259" y="7245254"/>
                  </a:lnTo>
                  <a:lnTo>
                    <a:pt x="9223527" y="7271606"/>
                  </a:lnTo>
                  <a:lnTo>
                    <a:pt x="9245835" y="7297452"/>
                  </a:lnTo>
                  <a:lnTo>
                    <a:pt x="9263220" y="7334706"/>
                  </a:lnTo>
                  <a:lnTo>
                    <a:pt x="9266625" y="7355591"/>
                  </a:lnTo>
                  <a:lnTo>
                    <a:pt x="9264817" y="7397087"/>
                  </a:lnTo>
                  <a:lnTo>
                    <a:pt x="9260135" y="7417994"/>
                  </a:lnTo>
                  <a:lnTo>
                    <a:pt x="9244207" y="7476663"/>
                  </a:lnTo>
                  <a:lnTo>
                    <a:pt x="9230134" y="7512599"/>
                  </a:lnTo>
                  <a:lnTo>
                    <a:pt x="9239848" y="7540929"/>
                  </a:lnTo>
                  <a:lnTo>
                    <a:pt x="9269769" y="7550445"/>
                  </a:lnTo>
                  <a:lnTo>
                    <a:pt x="9295609" y="7515098"/>
                  </a:lnTo>
                  <a:lnTo>
                    <a:pt x="9322035" y="7503378"/>
                  </a:lnTo>
                  <a:lnTo>
                    <a:pt x="9345941" y="7485156"/>
                  </a:lnTo>
                  <a:lnTo>
                    <a:pt x="9369400" y="7464961"/>
                  </a:lnTo>
                  <a:lnTo>
                    <a:pt x="9390543" y="7434619"/>
                  </a:lnTo>
                  <a:lnTo>
                    <a:pt x="9399848" y="7415349"/>
                  </a:lnTo>
                  <a:lnTo>
                    <a:pt x="9408514" y="7387220"/>
                  </a:lnTo>
                  <a:lnTo>
                    <a:pt x="9418609" y="7353384"/>
                  </a:lnTo>
                  <a:lnTo>
                    <a:pt x="9405435" y="7324716"/>
                  </a:lnTo>
                  <a:lnTo>
                    <a:pt x="9377241" y="7317851"/>
                  </a:lnTo>
                  <a:lnTo>
                    <a:pt x="9347609" y="7307945"/>
                  </a:lnTo>
                  <a:lnTo>
                    <a:pt x="9337789" y="7289288"/>
                  </a:lnTo>
                  <a:lnTo>
                    <a:pt x="9309906" y="7236237"/>
                  </a:lnTo>
                  <a:lnTo>
                    <a:pt x="9274882" y="7214732"/>
                  </a:lnTo>
                  <a:lnTo>
                    <a:pt x="9248021" y="7166865"/>
                  </a:lnTo>
                  <a:lnTo>
                    <a:pt x="9234670" y="7129066"/>
                  </a:lnTo>
                  <a:lnTo>
                    <a:pt x="9233048" y="7101576"/>
                  </a:lnTo>
                  <a:lnTo>
                    <a:pt x="9231480" y="7074089"/>
                  </a:lnTo>
                  <a:lnTo>
                    <a:pt x="9233048" y="7042454"/>
                  </a:lnTo>
                  <a:lnTo>
                    <a:pt x="9235799" y="7010450"/>
                  </a:lnTo>
                  <a:lnTo>
                    <a:pt x="9240912" y="6946426"/>
                  </a:lnTo>
                  <a:lnTo>
                    <a:pt x="9251903" y="6880206"/>
                  </a:lnTo>
                  <a:lnTo>
                    <a:pt x="9257555" y="6844500"/>
                  </a:lnTo>
                  <a:lnTo>
                    <a:pt x="9278903" y="6833242"/>
                  </a:lnTo>
                  <a:lnTo>
                    <a:pt x="9310138" y="6842556"/>
                  </a:lnTo>
                  <a:lnTo>
                    <a:pt x="9361286" y="6869640"/>
                  </a:lnTo>
                  <a:lnTo>
                    <a:pt x="9390840" y="6895650"/>
                  </a:lnTo>
                  <a:lnTo>
                    <a:pt x="9416705" y="6926114"/>
                  </a:lnTo>
                  <a:lnTo>
                    <a:pt x="9442555" y="6956574"/>
                  </a:lnTo>
                  <a:lnTo>
                    <a:pt x="9464873" y="6990807"/>
                  </a:lnTo>
                  <a:lnTo>
                    <a:pt x="9488788" y="7026771"/>
                  </a:lnTo>
                  <a:lnTo>
                    <a:pt x="9504477" y="7059197"/>
                  </a:lnTo>
                  <a:lnTo>
                    <a:pt x="9544943" y="7103325"/>
                  </a:lnTo>
                  <a:lnTo>
                    <a:pt x="9564963" y="7122496"/>
                  </a:lnTo>
                  <a:lnTo>
                    <a:pt x="9585368" y="7164149"/>
                  </a:lnTo>
                  <a:lnTo>
                    <a:pt x="9610356" y="7214943"/>
                  </a:lnTo>
                  <a:lnTo>
                    <a:pt x="9637495" y="7372642"/>
                  </a:lnTo>
                  <a:lnTo>
                    <a:pt x="9657450" y="7398104"/>
                  </a:lnTo>
                  <a:lnTo>
                    <a:pt x="9673313" y="7418375"/>
                  </a:lnTo>
                  <a:lnTo>
                    <a:pt x="9726032" y="7441037"/>
                  </a:lnTo>
                  <a:lnTo>
                    <a:pt x="9749950" y="7455229"/>
                  </a:lnTo>
                  <a:lnTo>
                    <a:pt x="9762315" y="7482709"/>
                  </a:lnTo>
                  <a:lnTo>
                    <a:pt x="9761723" y="7566313"/>
                  </a:lnTo>
                  <a:lnTo>
                    <a:pt x="9763556" y="7645664"/>
                  </a:lnTo>
                  <a:lnTo>
                    <a:pt x="9764421" y="7685333"/>
                  </a:lnTo>
                  <a:lnTo>
                    <a:pt x="9765252" y="7724037"/>
                  </a:lnTo>
                  <a:lnTo>
                    <a:pt x="9768991" y="7754472"/>
                  </a:lnTo>
                  <a:lnTo>
                    <a:pt x="9772643" y="7784914"/>
                  </a:lnTo>
                  <a:lnTo>
                    <a:pt x="9779207" y="7806559"/>
                  </a:lnTo>
                  <a:lnTo>
                    <a:pt x="9809463" y="7813622"/>
                  </a:lnTo>
                  <a:lnTo>
                    <a:pt x="9832916" y="7781683"/>
                  </a:lnTo>
                  <a:lnTo>
                    <a:pt x="9842214" y="7761929"/>
                  </a:lnTo>
                  <a:lnTo>
                    <a:pt x="9846546" y="7734278"/>
                  </a:lnTo>
                  <a:lnTo>
                    <a:pt x="9849237" y="7705511"/>
                  </a:lnTo>
                  <a:lnTo>
                    <a:pt x="9854632" y="7647970"/>
                  </a:lnTo>
                  <a:lnTo>
                    <a:pt x="9850589" y="7584114"/>
                  </a:lnTo>
                  <a:lnTo>
                    <a:pt x="9854679" y="7558602"/>
                  </a:lnTo>
                  <a:lnTo>
                    <a:pt x="9858858" y="7532765"/>
                  </a:lnTo>
                  <a:lnTo>
                    <a:pt x="9884646" y="7444098"/>
                  </a:lnTo>
                  <a:lnTo>
                    <a:pt x="9857553" y="7402376"/>
                  </a:lnTo>
                  <a:lnTo>
                    <a:pt x="9836404" y="7394184"/>
                  </a:lnTo>
                  <a:lnTo>
                    <a:pt x="9815233" y="7388582"/>
                  </a:lnTo>
                  <a:lnTo>
                    <a:pt x="9794118" y="7382982"/>
                  </a:lnTo>
                  <a:lnTo>
                    <a:pt x="9773428" y="7379078"/>
                  </a:lnTo>
                  <a:lnTo>
                    <a:pt x="9756744" y="7362735"/>
                  </a:lnTo>
                  <a:lnTo>
                    <a:pt x="9745244" y="7338433"/>
                  </a:lnTo>
                  <a:lnTo>
                    <a:pt x="9751938" y="7302708"/>
                  </a:lnTo>
                  <a:lnTo>
                    <a:pt x="9760706" y="7282852"/>
                  </a:lnTo>
                  <a:lnTo>
                    <a:pt x="9771707" y="7263442"/>
                  </a:lnTo>
                  <a:lnTo>
                    <a:pt x="9793814" y="7224626"/>
                  </a:lnTo>
                  <a:lnTo>
                    <a:pt x="9826373" y="7189440"/>
                  </a:lnTo>
                  <a:lnTo>
                    <a:pt x="9849237" y="7187270"/>
                  </a:lnTo>
                  <a:lnTo>
                    <a:pt x="9884330" y="7215206"/>
                  </a:lnTo>
                  <a:lnTo>
                    <a:pt x="9900927" y="7238963"/>
                  </a:lnTo>
                  <a:lnTo>
                    <a:pt x="9917521" y="7262716"/>
                  </a:lnTo>
                  <a:lnTo>
                    <a:pt x="9933018" y="7288352"/>
                  </a:lnTo>
                  <a:lnTo>
                    <a:pt x="9948543" y="7302885"/>
                  </a:lnTo>
                  <a:lnTo>
                    <a:pt x="9974436" y="7327221"/>
                  </a:lnTo>
                  <a:lnTo>
                    <a:pt x="9995703" y="7328964"/>
                  </a:lnTo>
                  <a:lnTo>
                    <a:pt x="10034658" y="7325782"/>
                  </a:lnTo>
                  <a:lnTo>
                    <a:pt x="10070945" y="7334173"/>
                  </a:lnTo>
                  <a:lnTo>
                    <a:pt x="10091542" y="7348516"/>
                  </a:lnTo>
                  <a:lnTo>
                    <a:pt x="10100431" y="7368071"/>
                  </a:lnTo>
                  <a:lnTo>
                    <a:pt x="10109029" y="7388582"/>
                  </a:lnTo>
                  <a:lnTo>
                    <a:pt x="10117695" y="7409089"/>
                  </a:lnTo>
                  <a:lnTo>
                    <a:pt x="10126994" y="7429751"/>
                  </a:lnTo>
                  <a:lnTo>
                    <a:pt x="10145765" y="7444352"/>
                  </a:lnTo>
                  <a:lnTo>
                    <a:pt x="10176120" y="7467981"/>
                  </a:lnTo>
                  <a:lnTo>
                    <a:pt x="10227428" y="7467513"/>
                  </a:lnTo>
                  <a:lnTo>
                    <a:pt x="10261373" y="7487872"/>
                  </a:lnTo>
                  <a:lnTo>
                    <a:pt x="10291874" y="7506174"/>
                  </a:lnTo>
                  <a:lnTo>
                    <a:pt x="10315813" y="7542352"/>
                  </a:lnTo>
                  <a:lnTo>
                    <a:pt x="10347073" y="7565408"/>
                  </a:lnTo>
                  <a:lnTo>
                    <a:pt x="10380938" y="7584858"/>
                  </a:lnTo>
                  <a:lnTo>
                    <a:pt x="10422024" y="7586765"/>
                  </a:lnTo>
                  <a:lnTo>
                    <a:pt x="10445015" y="7581522"/>
                  </a:lnTo>
                  <a:lnTo>
                    <a:pt x="10473571" y="7564044"/>
                  </a:lnTo>
                  <a:lnTo>
                    <a:pt x="10492261" y="7552621"/>
                  </a:lnTo>
                  <a:lnTo>
                    <a:pt x="10506816" y="7536445"/>
                  </a:lnTo>
                  <a:lnTo>
                    <a:pt x="10517091" y="7517802"/>
                  </a:lnTo>
                  <a:lnTo>
                    <a:pt x="10527425" y="7499158"/>
                  </a:lnTo>
                  <a:lnTo>
                    <a:pt x="10533775" y="7476834"/>
                  </a:lnTo>
                  <a:lnTo>
                    <a:pt x="10540218" y="7455229"/>
                  </a:lnTo>
                  <a:lnTo>
                    <a:pt x="10553110" y="7412025"/>
                  </a:lnTo>
                  <a:lnTo>
                    <a:pt x="10562298" y="7367733"/>
                  </a:lnTo>
                  <a:lnTo>
                    <a:pt x="10586470" y="7338256"/>
                  </a:lnTo>
                  <a:lnTo>
                    <a:pt x="10613547" y="7331410"/>
                  </a:lnTo>
                  <a:lnTo>
                    <a:pt x="10645626" y="7348035"/>
                  </a:lnTo>
                  <a:lnTo>
                    <a:pt x="10734470" y="7496129"/>
                  </a:lnTo>
                  <a:lnTo>
                    <a:pt x="10737453" y="7521888"/>
                  </a:lnTo>
                  <a:lnTo>
                    <a:pt x="10740280" y="7547220"/>
                  </a:lnTo>
                  <a:lnTo>
                    <a:pt x="10722489" y="7579013"/>
                  </a:lnTo>
                  <a:lnTo>
                    <a:pt x="10710797" y="7622859"/>
                  </a:lnTo>
                  <a:lnTo>
                    <a:pt x="10716651" y="7653905"/>
                  </a:lnTo>
                  <a:lnTo>
                    <a:pt x="10717048" y="7687832"/>
                  </a:lnTo>
                  <a:lnTo>
                    <a:pt x="10716521" y="7721597"/>
                  </a:lnTo>
                  <a:lnTo>
                    <a:pt x="10711600" y="7742238"/>
                  </a:lnTo>
                  <a:lnTo>
                    <a:pt x="10706673" y="7762887"/>
                  </a:lnTo>
                  <a:lnTo>
                    <a:pt x="10697182" y="7787255"/>
                  </a:lnTo>
                  <a:lnTo>
                    <a:pt x="10681679" y="7815687"/>
                  </a:lnTo>
                  <a:lnTo>
                    <a:pt x="10659209" y="7849524"/>
                  </a:lnTo>
                  <a:lnTo>
                    <a:pt x="10635785" y="7864066"/>
                  </a:lnTo>
                  <a:lnTo>
                    <a:pt x="10610651" y="7862906"/>
                  </a:lnTo>
                  <a:lnTo>
                    <a:pt x="10594627" y="7845614"/>
                  </a:lnTo>
                  <a:lnTo>
                    <a:pt x="10581410" y="7810481"/>
                  </a:lnTo>
                  <a:lnTo>
                    <a:pt x="10580560" y="7769213"/>
                  </a:lnTo>
                  <a:lnTo>
                    <a:pt x="10582814" y="7748166"/>
                  </a:lnTo>
                  <a:lnTo>
                    <a:pt x="10581918" y="7714394"/>
                  </a:lnTo>
                  <a:lnTo>
                    <a:pt x="10575580" y="7693996"/>
                  </a:lnTo>
                  <a:lnTo>
                    <a:pt x="10555175" y="7670149"/>
                  </a:lnTo>
                  <a:lnTo>
                    <a:pt x="10514735" y="7702445"/>
                  </a:lnTo>
                  <a:lnTo>
                    <a:pt x="10498050" y="7736799"/>
                  </a:lnTo>
                  <a:lnTo>
                    <a:pt x="10481307" y="7771151"/>
                  </a:lnTo>
                  <a:lnTo>
                    <a:pt x="10468412" y="7808420"/>
                  </a:lnTo>
                  <a:lnTo>
                    <a:pt x="10443641" y="7833373"/>
                  </a:lnTo>
                  <a:lnTo>
                    <a:pt x="10421004" y="7814565"/>
                  </a:lnTo>
                  <a:lnTo>
                    <a:pt x="10421878" y="7792563"/>
                  </a:lnTo>
                  <a:lnTo>
                    <a:pt x="10430749" y="7769039"/>
                  </a:lnTo>
                  <a:lnTo>
                    <a:pt x="10442925" y="7745357"/>
                  </a:lnTo>
                  <a:lnTo>
                    <a:pt x="10453160" y="7720475"/>
                  </a:lnTo>
                  <a:lnTo>
                    <a:pt x="10456642" y="7692368"/>
                  </a:lnTo>
                  <a:lnTo>
                    <a:pt x="10438209" y="7666069"/>
                  </a:lnTo>
                  <a:lnTo>
                    <a:pt x="10415299" y="7666726"/>
                  </a:lnTo>
                  <a:lnTo>
                    <a:pt x="10390804" y="7683202"/>
                  </a:lnTo>
                  <a:lnTo>
                    <a:pt x="10373875" y="7709337"/>
                  </a:lnTo>
                  <a:lnTo>
                    <a:pt x="10366672" y="7731079"/>
                  </a:lnTo>
                  <a:lnTo>
                    <a:pt x="10335400" y="7761746"/>
                  </a:lnTo>
                  <a:lnTo>
                    <a:pt x="10304524" y="7770168"/>
                  </a:lnTo>
                  <a:lnTo>
                    <a:pt x="10287226" y="7791205"/>
                  </a:lnTo>
                  <a:lnTo>
                    <a:pt x="10267770" y="7823882"/>
                  </a:lnTo>
                  <a:lnTo>
                    <a:pt x="10262744" y="7844256"/>
                  </a:lnTo>
                  <a:lnTo>
                    <a:pt x="10257718" y="7864621"/>
                  </a:lnTo>
                  <a:lnTo>
                    <a:pt x="10255352" y="7886964"/>
                  </a:lnTo>
                  <a:lnTo>
                    <a:pt x="10255938" y="7909545"/>
                  </a:lnTo>
                  <a:lnTo>
                    <a:pt x="10257243" y="7954699"/>
                  </a:lnTo>
                  <a:lnTo>
                    <a:pt x="10269057" y="8000547"/>
                  </a:lnTo>
                  <a:lnTo>
                    <a:pt x="10287226" y="8030601"/>
                  </a:lnTo>
                  <a:lnTo>
                    <a:pt x="10308440" y="8038759"/>
                  </a:lnTo>
                  <a:lnTo>
                    <a:pt x="10356558" y="8098061"/>
                  </a:lnTo>
                  <a:lnTo>
                    <a:pt x="10363395" y="8120370"/>
                  </a:lnTo>
                  <a:lnTo>
                    <a:pt x="10351157" y="8148938"/>
                  </a:lnTo>
                  <a:lnTo>
                    <a:pt x="10325224" y="8156972"/>
                  </a:lnTo>
                  <a:lnTo>
                    <a:pt x="10291188" y="8131001"/>
                  </a:lnTo>
                  <a:lnTo>
                    <a:pt x="10271627" y="8098014"/>
                  </a:lnTo>
                  <a:lnTo>
                    <a:pt x="10238258" y="8086368"/>
                  </a:lnTo>
                  <a:lnTo>
                    <a:pt x="10204598" y="8101158"/>
                  </a:lnTo>
                  <a:lnTo>
                    <a:pt x="10193381" y="8135333"/>
                  </a:lnTo>
                  <a:lnTo>
                    <a:pt x="10179267" y="8161266"/>
                  </a:lnTo>
                  <a:lnTo>
                    <a:pt x="10152642" y="8176822"/>
                  </a:lnTo>
                  <a:lnTo>
                    <a:pt x="10138971" y="8204705"/>
                  </a:lnTo>
                  <a:lnTo>
                    <a:pt x="10129304" y="8224338"/>
                  </a:lnTo>
                  <a:lnTo>
                    <a:pt x="10126678" y="8249934"/>
                  </a:lnTo>
                  <a:lnTo>
                    <a:pt x="10132166" y="8271356"/>
                  </a:lnTo>
                  <a:lnTo>
                    <a:pt x="10137660" y="8292775"/>
                  </a:lnTo>
                  <a:lnTo>
                    <a:pt x="10150974" y="8310541"/>
                  </a:lnTo>
                  <a:lnTo>
                    <a:pt x="10175692" y="8316240"/>
                  </a:lnTo>
                  <a:lnTo>
                    <a:pt x="10207736" y="8323638"/>
                  </a:lnTo>
                  <a:lnTo>
                    <a:pt x="10238810" y="8315778"/>
                  </a:lnTo>
                  <a:lnTo>
                    <a:pt x="10269549" y="8309440"/>
                  </a:lnTo>
                  <a:lnTo>
                    <a:pt x="10300230" y="8303134"/>
                  </a:lnTo>
                  <a:lnTo>
                    <a:pt x="10331332" y="8297602"/>
                  </a:lnTo>
                  <a:lnTo>
                    <a:pt x="10363395" y="8310798"/>
                  </a:lnTo>
                  <a:lnTo>
                    <a:pt x="10378346" y="8327867"/>
                  </a:lnTo>
                  <a:lnTo>
                    <a:pt x="10381078" y="8366565"/>
                  </a:lnTo>
                  <a:lnTo>
                    <a:pt x="10371956" y="8406470"/>
                  </a:lnTo>
                  <a:lnTo>
                    <a:pt x="10364753" y="8426413"/>
                  </a:lnTo>
                  <a:lnTo>
                    <a:pt x="10357612" y="8446356"/>
                  </a:lnTo>
                  <a:lnTo>
                    <a:pt x="10350906" y="8466761"/>
                  </a:lnTo>
                  <a:lnTo>
                    <a:pt x="10346044" y="8503047"/>
                  </a:lnTo>
                  <a:lnTo>
                    <a:pt x="10360679" y="8533870"/>
                  </a:lnTo>
                  <a:lnTo>
                    <a:pt x="10381078" y="8540669"/>
                  </a:lnTo>
                  <a:lnTo>
                    <a:pt x="10404958" y="8535284"/>
                  </a:lnTo>
                  <a:lnTo>
                    <a:pt x="10430051" y="8509391"/>
                  </a:lnTo>
                  <a:lnTo>
                    <a:pt x="10444215" y="8476686"/>
                  </a:lnTo>
                  <a:lnTo>
                    <a:pt x="10453910" y="8441429"/>
                  </a:lnTo>
                  <a:lnTo>
                    <a:pt x="10468130" y="8410091"/>
                  </a:lnTo>
                  <a:lnTo>
                    <a:pt x="10490600" y="8383870"/>
                  </a:lnTo>
                  <a:lnTo>
                    <a:pt x="10513020" y="8378806"/>
                  </a:lnTo>
                  <a:lnTo>
                    <a:pt x="10559061" y="8392409"/>
                  </a:lnTo>
                  <a:lnTo>
                    <a:pt x="10588373" y="8402328"/>
                  </a:lnTo>
                  <a:lnTo>
                    <a:pt x="10617761" y="8404650"/>
                  </a:lnTo>
                  <a:lnTo>
                    <a:pt x="10647089" y="8406978"/>
                  </a:lnTo>
                  <a:lnTo>
                    <a:pt x="10676765" y="8402011"/>
                  </a:lnTo>
                  <a:lnTo>
                    <a:pt x="10723854" y="8388328"/>
                  </a:lnTo>
                  <a:lnTo>
                    <a:pt x="10744720" y="8365570"/>
                  </a:lnTo>
                  <a:lnTo>
                    <a:pt x="10759247" y="8340015"/>
                  </a:lnTo>
                  <a:lnTo>
                    <a:pt x="10770105" y="8313514"/>
                  </a:lnTo>
                  <a:lnTo>
                    <a:pt x="10780914" y="8287023"/>
                  </a:lnTo>
                  <a:lnTo>
                    <a:pt x="10788036" y="8260110"/>
                  </a:lnTo>
                  <a:lnTo>
                    <a:pt x="10794584" y="8231910"/>
                  </a:lnTo>
                  <a:lnTo>
                    <a:pt x="10807799" y="8175504"/>
                  </a:lnTo>
                  <a:lnTo>
                    <a:pt x="10818248" y="8117052"/>
                  </a:lnTo>
                  <a:lnTo>
                    <a:pt x="10848993" y="8065964"/>
                  </a:lnTo>
                  <a:lnTo>
                    <a:pt x="10866443" y="8037057"/>
                  </a:lnTo>
                  <a:lnTo>
                    <a:pt x="10889887" y="8009558"/>
                  </a:lnTo>
                  <a:lnTo>
                    <a:pt x="10908841" y="7980270"/>
                  </a:lnTo>
                  <a:lnTo>
                    <a:pt x="10927854" y="7950988"/>
                  </a:lnTo>
                  <a:lnTo>
                    <a:pt x="10942442" y="7919569"/>
                  </a:lnTo>
                  <a:lnTo>
                    <a:pt x="10941487" y="7883699"/>
                  </a:lnTo>
                  <a:lnTo>
                    <a:pt x="10940891" y="7860999"/>
                  </a:lnTo>
                  <a:lnTo>
                    <a:pt x="10933242" y="7793797"/>
                  </a:lnTo>
                  <a:lnTo>
                    <a:pt x="10923804" y="7774884"/>
                  </a:lnTo>
                  <a:lnTo>
                    <a:pt x="10907560" y="7745977"/>
                  </a:lnTo>
                  <a:lnTo>
                    <a:pt x="10896721" y="7700901"/>
                  </a:lnTo>
                  <a:lnTo>
                    <a:pt x="10891257" y="7649211"/>
                  </a:lnTo>
                  <a:lnTo>
                    <a:pt x="10889800" y="7598054"/>
                  </a:lnTo>
                  <a:lnTo>
                    <a:pt x="10888278" y="7546898"/>
                  </a:lnTo>
                  <a:lnTo>
                    <a:pt x="10890395" y="7495512"/>
                  </a:lnTo>
                  <a:lnTo>
                    <a:pt x="10897958" y="7468834"/>
                  </a:lnTo>
                  <a:lnTo>
                    <a:pt x="10919625" y="7444684"/>
                  </a:lnTo>
                  <a:lnTo>
                    <a:pt x="10937245" y="7429726"/>
                  </a:lnTo>
                  <a:lnTo>
                    <a:pt x="10957808" y="7417150"/>
                  </a:lnTo>
                  <a:lnTo>
                    <a:pt x="10978424" y="7404571"/>
                  </a:lnTo>
                  <a:lnTo>
                    <a:pt x="11001750" y="7394119"/>
                  </a:lnTo>
                  <a:lnTo>
                    <a:pt x="11025820" y="7387220"/>
                  </a:lnTo>
                  <a:lnTo>
                    <a:pt x="11049834" y="7380325"/>
                  </a:lnTo>
                  <a:lnTo>
                    <a:pt x="11075389" y="7376663"/>
                  </a:lnTo>
                  <a:lnTo>
                    <a:pt x="11099269" y="7376341"/>
                  </a:lnTo>
                  <a:lnTo>
                    <a:pt x="11123194" y="7376012"/>
                  </a:lnTo>
                  <a:lnTo>
                    <a:pt x="11145722" y="7378700"/>
                  </a:lnTo>
                  <a:lnTo>
                    <a:pt x="11165923" y="7385862"/>
                  </a:lnTo>
                  <a:lnTo>
                    <a:pt x="11197031" y="7406605"/>
                  </a:lnTo>
                  <a:lnTo>
                    <a:pt x="11222704" y="7424542"/>
                  </a:lnTo>
                  <a:lnTo>
                    <a:pt x="11246169" y="7433472"/>
                  </a:lnTo>
                  <a:lnTo>
                    <a:pt x="11293351" y="7461737"/>
                  </a:lnTo>
                  <a:lnTo>
                    <a:pt x="11328263" y="7496209"/>
                  </a:lnTo>
                  <a:lnTo>
                    <a:pt x="11365867" y="7535487"/>
                  </a:lnTo>
                  <a:lnTo>
                    <a:pt x="11393664" y="7564472"/>
                  </a:lnTo>
                  <a:lnTo>
                    <a:pt x="11427714" y="7582371"/>
                  </a:lnTo>
                  <a:lnTo>
                    <a:pt x="11446120" y="7619817"/>
                  </a:lnTo>
                  <a:lnTo>
                    <a:pt x="11460615" y="7649316"/>
                  </a:lnTo>
                  <a:lnTo>
                    <a:pt x="11486759" y="7819637"/>
                  </a:lnTo>
                  <a:lnTo>
                    <a:pt x="11486929" y="7856494"/>
                  </a:lnTo>
                  <a:lnTo>
                    <a:pt x="11467033" y="7878257"/>
                  </a:lnTo>
                  <a:lnTo>
                    <a:pt x="11432765" y="7878245"/>
                  </a:lnTo>
                  <a:lnTo>
                    <a:pt x="11401235" y="7859213"/>
                  </a:lnTo>
                  <a:lnTo>
                    <a:pt x="11374930" y="7832477"/>
                  </a:lnTo>
                  <a:lnTo>
                    <a:pt x="11354088" y="7801620"/>
                  </a:lnTo>
                  <a:lnTo>
                    <a:pt x="11334588" y="7773519"/>
                  </a:lnTo>
                  <a:lnTo>
                    <a:pt x="11314828" y="7752671"/>
                  </a:lnTo>
                  <a:lnTo>
                    <a:pt x="11284638" y="7747357"/>
                  </a:lnTo>
                  <a:lnTo>
                    <a:pt x="11251248" y="7761133"/>
                  </a:lnTo>
                  <a:lnTo>
                    <a:pt x="11217606" y="7777600"/>
                  </a:lnTo>
                  <a:lnTo>
                    <a:pt x="11183968" y="7794067"/>
                  </a:lnTo>
                  <a:lnTo>
                    <a:pt x="11150321" y="7812205"/>
                  </a:lnTo>
                  <a:lnTo>
                    <a:pt x="11114785" y="7818450"/>
                  </a:lnTo>
                  <a:lnTo>
                    <a:pt x="11089667" y="7819082"/>
                  </a:lnTo>
                  <a:lnTo>
                    <a:pt x="11055697" y="7825250"/>
                  </a:lnTo>
                  <a:lnTo>
                    <a:pt x="11045784" y="7844585"/>
                  </a:lnTo>
                  <a:lnTo>
                    <a:pt x="11045673" y="7872599"/>
                  </a:lnTo>
                  <a:lnTo>
                    <a:pt x="11057101" y="7893214"/>
                  </a:lnTo>
                  <a:lnTo>
                    <a:pt x="11080821" y="7903927"/>
                  </a:lnTo>
                  <a:lnTo>
                    <a:pt x="11107644" y="7913402"/>
                  </a:lnTo>
                  <a:lnTo>
                    <a:pt x="11130554" y="7924502"/>
                  </a:lnTo>
                  <a:lnTo>
                    <a:pt x="11155616" y="7942966"/>
                  </a:lnTo>
                  <a:lnTo>
                    <a:pt x="11168012" y="7968602"/>
                  </a:lnTo>
                  <a:lnTo>
                    <a:pt x="11171358" y="7997949"/>
                  </a:lnTo>
                  <a:lnTo>
                    <a:pt x="11173711" y="8027572"/>
                  </a:lnTo>
                  <a:lnTo>
                    <a:pt x="11169755" y="8057865"/>
                  </a:lnTo>
                  <a:lnTo>
                    <a:pt x="11180592" y="8085001"/>
                  </a:lnTo>
                  <a:lnTo>
                    <a:pt x="11238659" y="8162959"/>
                  </a:lnTo>
                  <a:lnTo>
                    <a:pt x="11264531" y="8184722"/>
                  </a:lnTo>
                  <a:lnTo>
                    <a:pt x="11289438" y="8192415"/>
                  </a:lnTo>
                  <a:lnTo>
                    <a:pt x="11308742" y="8207425"/>
                  </a:lnTo>
                  <a:lnTo>
                    <a:pt x="11331816" y="8258383"/>
                  </a:lnTo>
                  <a:lnTo>
                    <a:pt x="11359061" y="8271346"/>
                  </a:lnTo>
                  <a:lnTo>
                    <a:pt x="11387922" y="8252268"/>
                  </a:lnTo>
                  <a:lnTo>
                    <a:pt x="11400938" y="8225138"/>
                  </a:lnTo>
                  <a:lnTo>
                    <a:pt x="11405313" y="8193819"/>
                  </a:lnTo>
                  <a:lnTo>
                    <a:pt x="11407139" y="8163396"/>
                  </a:lnTo>
                  <a:lnTo>
                    <a:pt x="11414366" y="8137187"/>
                  </a:lnTo>
                  <a:lnTo>
                    <a:pt x="11432514" y="8120370"/>
                  </a:lnTo>
                  <a:lnTo>
                    <a:pt x="11463458" y="8129333"/>
                  </a:lnTo>
                  <a:lnTo>
                    <a:pt x="11480117" y="8161173"/>
                  </a:lnTo>
                  <a:lnTo>
                    <a:pt x="11493723" y="8196554"/>
                  </a:lnTo>
                  <a:lnTo>
                    <a:pt x="11529730" y="8268525"/>
                  </a:lnTo>
                  <a:lnTo>
                    <a:pt x="11544517" y="8315737"/>
                  </a:lnTo>
                  <a:lnTo>
                    <a:pt x="11552212" y="8365201"/>
                  </a:lnTo>
                  <a:lnTo>
                    <a:pt x="11559908" y="8414668"/>
                  </a:lnTo>
                  <a:lnTo>
                    <a:pt x="11561458" y="8465322"/>
                  </a:lnTo>
                  <a:lnTo>
                    <a:pt x="11563095" y="8529783"/>
                  </a:lnTo>
                  <a:lnTo>
                    <a:pt x="11564354" y="8577219"/>
                  </a:lnTo>
                  <a:lnTo>
                    <a:pt x="11558255" y="8633969"/>
                  </a:lnTo>
                  <a:lnTo>
                    <a:pt x="11572611" y="8679408"/>
                  </a:lnTo>
                  <a:lnTo>
                    <a:pt x="11589633" y="8713192"/>
                  </a:lnTo>
                  <a:lnTo>
                    <a:pt x="11615399" y="8738115"/>
                  </a:lnTo>
                  <a:lnTo>
                    <a:pt x="11643342" y="8759661"/>
                  </a:lnTo>
                  <a:lnTo>
                    <a:pt x="11668311" y="8780171"/>
                  </a:lnTo>
                  <a:lnTo>
                    <a:pt x="11680946" y="8807159"/>
                  </a:lnTo>
                  <a:lnTo>
                    <a:pt x="11674627" y="8845355"/>
                  </a:lnTo>
                  <a:lnTo>
                    <a:pt x="11646969" y="8855202"/>
                  </a:lnTo>
                  <a:lnTo>
                    <a:pt x="11626127" y="8876305"/>
                  </a:lnTo>
                  <a:lnTo>
                    <a:pt x="11614779" y="8903838"/>
                  </a:lnTo>
                  <a:lnTo>
                    <a:pt x="11617477" y="8945187"/>
                  </a:lnTo>
                  <a:lnTo>
                    <a:pt x="11625668" y="8970485"/>
                  </a:lnTo>
                  <a:lnTo>
                    <a:pt x="11633826" y="8995792"/>
                  </a:lnTo>
                  <a:lnTo>
                    <a:pt x="11643236" y="9022225"/>
                  </a:lnTo>
                  <a:lnTo>
                    <a:pt x="11639264" y="9048021"/>
                  </a:lnTo>
                  <a:lnTo>
                    <a:pt x="11634914" y="9076203"/>
                  </a:lnTo>
                  <a:lnTo>
                    <a:pt x="11604485" y="9130742"/>
                  </a:lnTo>
                  <a:lnTo>
                    <a:pt x="11583491" y="9184044"/>
                  </a:lnTo>
                  <a:lnTo>
                    <a:pt x="11573061" y="9210694"/>
                  </a:lnTo>
                  <a:lnTo>
                    <a:pt x="11564736" y="9237520"/>
                  </a:lnTo>
                  <a:lnTo>
                    <a:pt x="11563095" y="9260213"/>
                  </a:lnTo>
                  <a:lnTo>
                    <a:pt x="11561440" y="9282900"/>
                  </a:lnTo>
                  <a:lnTo>
                    <a:pt x="11582133" y="9313258"/>
                  </a:lnTo>
                  <a:lnTo>
                    <a:pt x="11609706" y="9325391"/>
                  </a:lnTo>
                  <a:lnTo>
                    <a:pt x="11638843" y="9317450"/>
                  </a:lnTo>
                  <a:lnTo>
                    <a:pt x="11667836" y="9295575"/>
                  </a:lnTo>
                  <a:lnTo>
                    <a:pt x="11694728" y="9271354"/>
                  </a:lnTo>
                  <a:lnTo>
                    <a:pt x="11716658" y="9237111"/>
                  </a:lnTo>
                  <a:lnTo>
                    <a:pt x="11724958" y="9215329"/>
                  </a:lnTo>
                  <a:lnTo>
                    <a:pt x="11734781" y="9189867"/>
                  </a:lnTo>
                  <a:lnTo>
                    <a:pt x="11738790" y="9154545"/>
                  </a:lnTo>
                  <a:lnTo>
                    <a:pt x="11752163" y="9130993"/>
                  </a:lnTo>
                  <a:lnTo>
                    <a:pt x="11771765" y="9114796"/>
                  </a:lnTo>
                  <a:lnTo>
                    <a:pt x="11805115" y="9107404"/>
                  </a:lnTo>
                  <a:lnTo>
                    <a:pt x="11833776" y="9133715"/>
                  </a:lnTo>
                  <a:lnTo>
                    <a:pt x="11867706" y="9155534"/>
                  </a:lnTo>
                  <a:lnTo>
                    <a:pt x="11890737" y="9182044"/>
                  </a:lnTo>
                  <a:lnTo>
                    <a:pt x="11907229" y="9212607"/>
                  </a:lnTo>
                  <a:lnTo>
                    <a:pt x="11923666" y="9243166"/>
                  </a:lnTo>
                  <a:lnTo>
                    <a:pt x="11933727" y="9276755"/>
                  </a:lnTo>
                  <a:lnTo>
                    <a:pt x="11941227" y="9311897"/>
                  </a:lnTo>
                  <a:lnTo>
                    <a:pt x="11956237" y="9382193"/>
                  </a:lnTo>
                  <a:lnTo>
                    <a:pt x="11961880" y="9457677"/>
                  </a:lnTo>
                  <a:lnTo>
                    <a:pt x="11991553" y="9521372"/>
                  </a:lnTo>
                  <a:lnTo>
                    <a:pt x="12014832" y="9571248"/>
                  </a:lnTo>
                  <a:lnTo>
                    <a:pt x="12045174" y="9615990"/>
                  </a:lnTo>
                  <a:lnTo>
                    <a:pt x="12074528" y="9661475"/>
                  </a:lnTo>
                  <a:lnTo>
                    <a:pt x="12158857" y="9624746"/>
                  </a:lnTo>
                  <a:lnTo>
                    <a:pt x="12148681" y="9594205"/>
                  </a:lnTo>
                  <a:lnTo>
                    <a:pt x="12138257" y="9563764"/>
                  </a:lnTo>
                  <a:lnTo>
                    <a:pt x="12124863" y="9534972"/>
                  </a:lnTo>
                  <a:lnTo>
                    <a:pt x="12103304" y="9488813"/>
                  </a:lnTo>
                  <a:lnTo>
                    <a:pt x="12075129" y="9447833"/>
                  </a:lnTo>
                  <a:lnTo>
                    <a:pt x="12055484" y="9400316"/>
                  </a:lnTo>
                  <a:lnTo>
                    <a:pt x="12035218" y="9351091"/>
                  </a:lnTo>
                  <a:lnTo>
                    <a:pt x="12025049" y="9300251"/>
                  </a:lnTo>
                  <a:lnTo>
                    <a:pt x="12007874" y="9250691"/>
                  </a:lnTo>
                  <a:lnTo>
                    <a:pt x="11926270" y="8982391"/>
                  </a:lnTo>
                  <a:lnTo>
                    <a:pt x="11909939" y="8951447"/>
                  </a:lnTo>
                  <a:lnTo>
                    <a:pt x="11897035" y="8926748"/>
                  </a:lnTo>
                  <a:lnTo>
                    <a:pt x="11879380" y="8905243"/>
                  </a:lnTo>
                  <a:lnTo>
                    <a:pt x="11862339" y="8884800"/>
                  </a:lnTo>
                  <a:lnTo>
                    <a:pt x="11841209" y="8859422"/>
                  </a:lnTo>
                  <a:lnTo>
                    <a:pt x="11791444" y="8749116"/>
                  </a:lnTo>
                  <a:lnTo>
                    <a:pt x="11783445" y="8716135"/>
                  </a:lnTo>
                  <a:lnTo>
                    <a:pt x="11756839" y="8606210"/>
                  </a:lnTo>
                  <a:lnTo>
                    <a:pt x="11753735" y="8491274"/>
                  </a:lnTo>
                  <a:lnTo>
                    <a:pt x="11731758" y="8378806"/>
                  </a:lnTo>
                  <a:lnTo>
                    <a:pt x="11717554" y="8337699"/>
                  </a:lnTo>
                  <a:lnTo>
                    <a:pt x="11711362" y="8314875"/>
                  </a:lnTo>
                  <a:lnTo>
                    <a:pt x="11653921" y="8154374"/>
                  </a:lnTo>
                  <a:lnTo>
                    <a:pt x="11615551" y="8016990"/>
                  </a:lnTo>
                  <a:lnTo>
                    <a:pt x="11618180" y="7844544"/>
                  </a:lnTo>
                  <a:lnTo>
                    <a:pt x="11614779" y="7717746"/>
                  </a:lnTo>
                  <a:lnTo>
                    <a:pt x="11619086" y="7688715"/>
                  </a:lnTo>
                  <a:lnTo>
                    <a:pt x="11608507" y="7589931"/>
                  </a:lnTo>
                  <a:lnTo>
                    <a:pt x="11565291" y="7513718"/>
                  </a:lnTo>
                  <a:lnTo>
                    <a:pt x="11563074" y="7429382"/>
                  </a:lnTo>
                  <a:lnTo>
                    <a:pt x="11561933" y="7383264"/>
                  </a:lnTo>
                  <a:lnTo>
                    <a:pt x="11572986" y="7353554"/>
                  </a:lnTo>
                  <a:lnTo>
                    <a:pt x="11594355" y="7313768"/>
                  </a:lnTo>
                  <a:lnTo>
                    <a:pt x="11649614" y="7211454"/>
                  </a:lnTo>
                  <a:lnTo>
                    <a:pt x="11772543" y="7230883"/>
                  </a:lnTo>
                  <a:lnTo>
                    <a:pt x="11818791" y="7141022"/>
                  </a:lnTo>
                  <a:lnTo>
                    <a:pt x="11837324" y="7105058"/>
                  </a:lnTo>
                  <a:lnTo>
                    <a:pt x="11832729" y="6976188"/>
                  </a:lnTo>
                  <a:lnTo>
                    <a:pt x="11878633" y="6972356"/>
                  </a:lnTo>
                  <a:lnTo>
                    <a:pt x="11944933" y="7023320"/>
                  </a:lnTo>
                  <a:lnTo>
                    <a:pt x="11914854" y="7099405"/>
                  </a:lnTo>
                  <a:lnTo>
                    <a:pt x="11950731" y="7121981"/>
                  </a:lnTo>
                  <a:lnTo>
                    <a:pt x="12022001" y="7144634"/>
                  </a:lnTo>
                  <a:lnTo>
                    <a:pt x="12065334" y="7082365"/>
                  </a:lnTo>
                  <a:lnTo>
                    <a:pt x="12127551" y="7064849"/>
                  </a:lnTo>
                  <a:lnTo>
                    <a:pt x="12265704" y="7025999"/>
                  </a:lnTo>
                  <a:lnTo>
                    <a:pt x="12318488" y="7018099"/>
                  </a:lnTo>
                  <a:lnTo>
                    <a:pt x="12362873" y="6994119"/>
                  </a:lnTo>
                  <a:lnTo>
                    <a:pt x="12406867" y="6970278"/>
                  </a:lnTo>
                  <a:lnTo>
                    <a:pt x="12441383" y="6931084"/>
                  </a:lnTo>
                  <a:lnTo>
                    <a:pt x="12543783" y="6830895"/>
                  </a:lnTo>
                  <a:lnTo>
                    <a:pt x="12567062" y="6808102"/>
                  </a:lnTo>
                  <a:lnTo>
                    <a:pt x="12590645" y="6791319"/>
                  </a:lnTo>
                  <a:lnTo>
                    <a:pt x="12613149" y="6772411"/>
                  </a:lnTo>
                  <a:lnTo>
                    <a:pt x="12574429" y="6770064"/>
                  </a:lnTo>
                  <a:lnTo>
                    <a:pt x="12537340" y="6767677"/>
                  </a:lnTo>
                  <a:lnTo>
                    <a:pt x="12490719" y="6765693"/>
                  </a:lnTo>
                  <a:lnTo>
                    <a:pt x="12462578" y="6764055"/>
                  </a:lnTo>
                  <a:lnTo>
                    <a:pt x="12442294" y="6753299"/>
                  </a:lnTo>
                  <a:lnTo>
                    <a:pt x="12436320" y="6726163"/>
                  </a:lnTo>
                  <a:lnTo>
                    <a:pt x="12434189" y="6696999"/>
                  </a:lnTo>
                  <a:lnTo>
                    <a:pt x="12438760" y="6644872"/>
                  </a:lnTo>
                  <a:lnTo>
                    <a:pt x="12431926" y="6605039"/>
                  </a:lnTo>
                  <a:lnTo>
                    <a:pt x="12424085" y="6567019"/>
                  </a:lnTo>
                  <a:lnTo>
                    <a:pt x="12416225" y="6529000"/>
                  </a:lnTo>
                  <a:lnTo>
                    <a:pt x="12407382" y="6492103"/>
                  </a:lnTo>
                  <a:lnTo>
                    <a:pt x="12407763" y="6452763"/>
                  </a:lnTo>
                  <a:lnTo>
                    <a:pt x="12408231" y="6408176"/>
                  </a:lnTo>
                  <a:lnTo>
                    <a:pt x="12438971" y="6369878"/>
                  </a:lnTo>
                  <a:lnTo>
                    <a:pt x="12443125" y="6326268"/>
                  </a:lnTo>
                  <a:lnTo>
                    <a:pt x="12447221" y="6283505"/>
                  </a:lnTo>
                  <a:lnTo>
                    <a:pt x="12410479" y="6190841"/>
                  </a:lnTo>
                  <a:lnTo>
                    <a:pt x="12398241" y="6145355"/>
                  </a:lnTo>
                  <a:lnTo>
                    <a:pt x="12394679" y="6107699"/>
                  </a:lnTo>
                  <a:lnTo>
                    <a:pt x="12385836" y="6058281"/>
                  </a:lnTo>
                  <a:lnTo>
                    <a:pt x="12380745" y="6016141"/>
                  </a:lnTo>
                  <a:lnTo>
                    <a:pt x="12373759" y="5973973"/>
                  </a:lnTo>
                  <a:lnTo>
                    <a:pt x="12366777" y="5931805"/>
                  </a:lnTo>
                  <a:lnTo>
                    <a:pt x="12356600" y="5889024"/>
                  </a:lnTo>
                  <a:lnTo>
                    <a:pt x="12342480" y="5858359"/>
                  </a:lnTo>
                  <a:lnTo>
                    <a:pt x="12212442" y="5851857"/>
                  </a:lnTo>
                  <a:lnTo>
                    <a:pt x="12190139" y="5851553"/>
                  </a:lnTo>
                  <a:lnTo>
                    <a:pt x="12162380" y="5840698"/>
                  </a:lnTo>
                  <a:lnTo>
                    <a:pt x="12141705" y="5816163"/>
                  </a:lnTo>
                  <a:lnTo>
                    <a:pt x="12119402" y="5797144"/>
                  </a:lnTo>
                  <a:lnTo>
                    <a:pt x="12085491" y="5791181"/>
                  </a:lnTo>
                  <a:lnTo>
                    <a:pt x="12055378" y="5786791"/>
                  </a:lnTo>
                  <a:lnTo>
                    <a:pt x="12022825" y="5768581"/>
                  </a:lnTo>
                  <a:lnTo>
                    <a:pt x="11997791" y="5748862"/>
                  </a:lnTo>
                  <a:lnTo>
                    <a:pt x="11981259" y="5700858"/>
                  </a:lnTo>
                  <a:lnTo>
                    <a:pt x="11958894" y="5689693"/>
                  </a:lnTo>
                  <a:lnTo>
                    <a:pt x="11936570" y="5678540"/>
                  </a:lnTo>
                  <a:lnTo>
                    <a:pt x="11891779" y="5686515"/>
                  </a:lnTo>
                  <a:lnTo>
                    <a:pt x="11844638" y="5695135"/>
                  </a:lnTo>
                  <a:lnTo>
                    <a:pt x="11797509" y="5703742"/>
                  </a:lnTo>
                  <a:lnTo>
                    <a:pt x="11748293" y="5713493"/>
                  </a:lnTo>
                  <a:lnTo>
                    <a:pt x="11716788" y="5701934"/>
                  </a:lnTo>
                  <a:lnTo>
                    <a:pt x="11709269" y="5667958"/>
                  </a:lnTo>
                  <a:lnTo>
                    <a:pt x="11708618" y="5643445"/>
                  </a:lnTo>
                  <a:lnTo>
                    <a:pt x="11707958" y="5618938"/>
                  </a:lnTo>
                  <a:lnTo>
                    <a:pt x="11709080" y="5594524"/>
                  </a:lnTo>
                  <a:lnTo>
                    <a:pt x="11729498" y="5579024"/>
                  </a:lnTo>
                  <a:lnTo>
                    <a:pt x="11754873" y="5550951"/>
                  </a:lnTo>
                  <a:lnTo>
                    <a:pt x="11772580" y="5516987"/>
                  </a:lnTo>
                  <a:lnTo>
                    <a:pt x="11765756" y="5484301"/>
                  </a:lnTo>
                  <a:lnTo>
                    <a:pt x="11697320" y="5464457"/>
                  </a:lnTo>
                  <a:lnTo>
                    <a:pt x="11639258" y="5459816"/>
                  </a:lnTo>
                  <a:lnTo>
                    <a:pt x="11581190" y="5455171"/>
                  </a:lnTo>
                  <a:lnTo>
                    <a:pt x="11522068" y="5454058"/>
                  </a:lnTo>
                  <a:lnTo>
                    <a:pt x="11488526" y="5457059"/>
                  </a:lnTo>
                  <a:lnTo>
                    <a:pt x="11448833" y="5466621"/>
                  </a:lnTo>
                  <a:lnTo>
                    <a:pt x="11409210" y="5469998"/>
                  </a:lnTo>
                  <a:lnTo>
                    <a:pt x="11377851" y="5426029"/>
                  </a:lnTo>
                  <a:lnTo>
                    <a:pt x="11376266" y="5391941"/>
                  </a:lnTo>
                  <a:lnTo>
                    <a:pt x="11360413" y="5360529"/>
                  </a:lnTo>
                  <a:lnTo>
                    <a:pt x="11349880" y="5339615"/>
                  </a:lnTo>
                  <a:lnTo>
                    <a:pt x="11329134" y="5300681"/>
                  </a:lnTo>
                  <a:lnTo>
                    <a:pt x="11309474" y="5275284"/>
                  </a:lnTo>
                  <a:lnTo>
                    <a:pt x="11295124" y="5258513"/>
                  </a:lnTo>
                  <a:lnTo>
                    <a:pt x="11280787" y="5241742"/>
                  </a:lnTo>
                  <a:lnTo>
                    <a:pt x="11265374" y="5217471"/>
                  </a:lnTo>
                  <a:lnTo>
                    <a:pt x="11250240" y="5172819"/>
                  </a:lnTo>
                  <a:lnTo>
                    <a:pt x="11245623" y="5143621"/>
                  </a:lnTo>
                  <a:lnTo>
                    <a:pt x="11254857" y="5117685"/>
                  </a:lnTo>
                  <a:lnTo>
                    <a:pt x="11273361" y="5093931"/>
                  </a:lnTo>
                  <a:lnTo>
                    <a:pt x="11292386" y="5070770"/>
                  </a:lnTo>
                  <a:lnTo>
                    <a:pt x="11316472" y="5050727"/>
                  </a:lnTo>
                  <a:lnTo>
                    <a:pt x="11326415" y="5030000"/>
                  </a:lnTo>
                  <a:lnTo>
                    <a:pt x="11335708" y="5010624"/>
                  </a:lnTo>
                  <a:lnTo>
                    <a:pt x="11332037" y="4972934"/>
                  </a:lnTo>
                  <a:lnTo>
                    <a:pt x="11325057" y="4936145"/>
                  </a:lnTo>
                  <a:lnTo>
                    <a:pt x="11318205" y="4899354"/>
                  </a:lnTo>
                  <a:lnTo>
                    <a:pt x="11307781" y="4863464"/>
                  </a:lnTo>
                  <a:lnTo>
                    <a:pt x="11300572" y="4843652"/>
                  </a:lnTo>
                  <a:lnTo>
                    <a:pt x="11290693" y="4820341"/>
                  </a:lnTo>
                  <a:lnTo>
                    <a:pt x="11264847" y="4803208"/>
                  </a:lnTo>
                  <a:lnTo>
                    <a:pt x="11235478" y="4799744"/>
                  </a:lnTo>
                  <a:lnTo>
                    <a:pt x="11200665" y="4798966"/>
                  </a:lnTo>
                  <a:lnTo>
                    <a:pt x="11167275" y="4794687"/>
                  </a:lnTo>
                  <a:lnTo>
                    <a:pt x="11133878" y="4790405"/>
                  </a:lnTo>
                  <a:lnTo>
                    <a:pt x="11101003" y="4783336"/>
                  </a:lnTo>
                  <a:lnTo>
                    <a:pt x="11085320" y="4759279"/>
                  </a:lnTo>
                  <a:lnTo>
                    <a:pt x="11069209" y="4720000"/>
                  </a:lnTo>
                  <a:lnTo>
                    <a:pt x="11036703" y="4710358"/>
                  </a:lnTo>
                  <a:lnTo>
                    <a:pt x="11006438" y="4735584"/>
                  </a:lnTo>
                  <a:lnTo>
                    <a:pt x="10974458" y="4744972"/>
                  </a:lnTo>
                  <a:lnTo>
                    <a:pt x="10938761" y="4730762"/>
                  </a:lnTo>
                  <a:lnTo>
                    <a:pt x="10926074" y="4690309"/>
                  </a:lnTo>
                  <a:lnTo>
                    <a:pt x="10922440" y="4658668"/>
                  </a:lnTo>
                  <a:lnTo>
                    <a:pt x="10918784" y="4627029"/>
                  </a:lnTo>
                  <a:lnTo>
                    <a:pt x="10917736" y="4594504"/>
                  </a:lnTo>
                  <a:lnTo>
                    <a:pt x="10931249" y="4560757"/>
                  </a:lnTo>
                  <a:lnTo>
                    <a:pt x="10960524" y="4541692"/>
                  </a:lnTo>
                  <a:lnTo>
                    <a:pt x="10992358" y="4533264"/>
                  </a:lnTo>
                  <a:lnTo>
                    <a:pt x="11043732" y="4534055"/>
                  </a:lnTo>
                  <a:lnTo>
                    <a:pt x="11080626" y="4542265"/>
                  </a:lnTo>
                  <a:lnTo>
                    <a:pt x="11118301" y="4528086"/>
                  </a:lnTo>
                  <a:lnTo>
                    <a:pt x="11148184" y="4467222"/>
                  </a:lnTo>
                  <a:lnTo>
                    <a:pt x="11165910" y="4447840"/>
                  </a:lnTo>
                  <a:lnTo>
                    <a:pt x="11187540" y="4424204"/>
                  </a:lnTo>
                  <a:lnTo>
                    <a:pt x="11227969" y="4421098"/>
                  </a:lnTo>
                  <a:lnTo>
                    <a:pt x="11268264" y="4371240"/>
                  </a:lnTo>
                  <a:lnTo>
                    <a:pt x="11260447" y="4324865"/>
                  </a:lnTo>
                  <a:lnTo>
                    <a:pt x="11284247" y="4290051"/>
                  </a:lnTo>
                  <a:lnTo>
                    <a:pt x="11299502" y="4267693"/>
                  </a:lnTo>
                  <a:lnTo>
                    <a:pt x="11329175" y="4240020"/>
                  </a:lnTo>
                  <a:lnTo>
                    <a:pt x="11331851" y="4211163"/>
                  </a:lnTo>
                  <a:lnTo>
                    <a:pt x="11336613" y="4159182"/>
                  </a:lnTo>
                  <a:lnTo>
                    <a:pt x="11321141" y="4101495"/>
                  </a:lnTo>
                  <a:lnTo>
                    <a:pt x="11337292" y="4050661"/>
                  </a:lnTo>
                  <a:lnTo>
                    <a:pt x="11355217" y="4033707"/>
                  </a:lnTo>
                  <a:lnTo>
                    <a:pt x="11376505" y="4029525"/>
                  </a:lnTo>
                  <a:lnTo>
                    <a:pt x="11399865" y="4024818"/>
                  </a:lnTo>
                  <a:lnTo>
                    <a:pt x="11433082" y="4009845"/>
                  </a:lnTo>
                  <a:lnTo>
                    <a:pt x="11461071" y="3996255"/>
                  </a:lnTo>
                  <a:lnTo>
                    <a:pt x="11489053" y="3982656"/>
                  </a:lnTo>
                  <a:lnTo>
                    <a:pt x="11516884" y="3968623"/>
                  </a:lnTo>
                  <a:lnTo>
                    <a:pt x="11527200" y="3948159"/>
                  </a:lnTo>
                  <a:lnTo>
                    <a:pt x="11522279" y="3906478"/>
                  </a:lnTo>
                  <a:lnTo>
                    <a:pt x="11519055" y="3885623"/>
                  </a:lnTo>
                  <a:lnTo>
                    <a:pt x="11510038" y="3849353"/>
                  </a:lnTo>
                  <a:lnTo>
                    <a:pt x="11500733" y="3806782"/>
                  </a:lnTo>
                  <a:lnTo>
                    <a:pt x="11488585" y="3779552"/>
                  </a:lnTo>
                  <a:lnTo>
                    <a:pt x="11474664" y="3762294"/>
                  </a:lnTo>
                  <a:lnTo>
                    <a:pt x="11460754" y="3745043"/>
                  </a:lnTo>
                  <a:lnTo>
                    <a:pt x="11429779" y="3735096"/>
                  </a:lnTo>
                  <a:lnTo>
                    <a:pt x="11398637" y="3729233"/>
                  </a:lnTo>
                  <a:lnTo>
                    <a:pt x="11366757" y="3740063"/>
                  </a:lnTo>
                  <a:lnTo>
                    <a:pt x="11346808" y="3725574"/>
                  </a:lnTo>
                  <a:lnTo>
                    <a:pt x="11327063" y="3709975"/>
                  </a:lnTo>
                  <a:lnTo>
                    <a:pt x="11311473" y="3657315"/>
                  </a:lnTo>
                  <a:lnTo>
                    <a:pt x="11299204" y="3603151"/>
                  </a:lnTo>
                  <a:lnTo>
                    <a:pt x="11286932" y="3548987"/>
                  </a:lnTo>
                  <a:lnTo>
                    <a:pt x="11277990" y="3493018"/>
                  </a:lnTo>
                  <a:lnTo>
                    <a:pt x="11274719" y="3471215"/>
                  </a:lnTo>
                  <a:lnTo>
                    <a:pt x="11252916" y="3441588"/>
                  </a:lnTo>
                  <a:lnTo>
                    <a:pt x="11217014" y="3425189"/>
                  </a:lnTo>
                  <a:lnTo>
                    <a:pt x="11178142" y="3412725"/>
                  </a:lnTo>
                  <a:lnTo>
                    <a:pt x="11139267" y="3400267"/>
                  </a:lnTo>
                  <a:lnTo>
                    <a:pt x="11097192" y="3392373"/>
                  </a:lnTo>
                  <a:lnTo>
                    <a:pt x="11065247" y="3382804"/>
                  </a:lnTo>
                  <a:lnTo>
                    <a:pt x="11026750" y="3371267"/>
                  </a:lnTo>
                  <a:lnTo>
                    <a:pt x="11020142" y="3351089"/>
                  </a:lnTo>
                  <a:lnTo>
                    <a:pt x="10999955" y="3332479"/>
                  </a:lnTo>
                  <a:lnTo>
                    <a:pt x="10977289" y="3313748"/>
                  </a:lnTo>
                  <a:lnTo>
                    <a:pt x="10955077" y="3306632"/>
                  </a:lnTo>
                  <a:lnTo>
                    <a:pt x="10932845" y="3299510"/>
                  </a:lnTo>
                  <a:lnTo>
                    <a:pt x="10901269" y="3293963"/>
                  </a:lnTo>
                  <a:lnTo>
                    <a:pt x="10855777" y="3291669"/>
                  </a:lnTo>
                  <a:lnTo>
                    <a:pt x="10838045" y="3266436"/>
                  </a:lnTo>
                  <a:lnTo>
                    <a:pt x="10832675" y="3227124"/>
                  </a:lnTo>
                  <a:lnTo>
                    <a:pt x="10832417" y="3203876"/>
                  </a:lnTo>
                  <a:lnTo>
                    <a:pt x="10831292" y="3180135"/>
                  </a:lnTo>
                  <a:lnTo>
                    <a:pt x="10830157" y="3156387"/>
                  </a:lnTo>
                  <a:lnTo>
                    <a:pt x="10829029" y="3132184"/>
                  </a:lnTo>
                  <a:lnTo>
                    <a:pt x="10821767" y="3110762"/>
                  </a:lnTo>
                  <a:lnTo>
                    <a:pt x="10814499" y="3089343"/>
                  </a:lnTo>
                  <a:lnTo>
                    <a:pt x="10802029" y="3071754"/>
                  </a:lnTo>
                  <a:lnTo>
                    <a:pt x="10780960" y="3059072"/>
                  </a:lnTo>
                  <a:lnTo>
                    <a:pt x="10753780" y="3054350"/>
                  </a:lnTo>
                  <a:lnTo>
                    <a:pt x="10726532" y="3055655"/>
                  </a:lnTo>
                  <a:lnTo>
                    <a:pt x="10700705" y="3050921"/>
                  </a:lnTo>
                  <a:lnTo>
                    <a:pt x="10680052" y="3023189"/>
                  </a:lnTo>
                  <a:lnTo>
                    <a:pt x="10674477" y="2973927"/>
                  </a:lnTo>
                  <a:lnTo>
                    <a:pt x="10673500" y="2923065"/>
                  </a:lnTo>
                  <a:lnTo>
                    <a:pt x="10672545" y="2872206"/>
                  </a:lnTo>
                  <a:lnTo>
                    <a:pt x="10676033" y="2820091"/>
                  </a:lnTo>
                  <a:lnTo>
                    <a:pt x="10673500" y="2787045"/>
                  </a:lnTo>
                  <a:lnTo>
                    <a:pt x="10671633" y="2764135"/>
                  </a:lnTo>
                  <a:lnTo>
                    <a:pt x="10664235" y="2737697"/>
                  </a:lnTo>
                  <a:lnTo>
                    <a:pt x="10659904" y="2714951"/>
                  </a:lnTo>
                  <a:lnTo>
                    <a:pt x="10653526" y="2681374"/>
                  </a:lnTo>
                  <a:lnTo>
                    <a:pt x="10638305" y="2646732"/>
                  </a:lnTo>
                  <a:lnTo>
                    <a:pt x="10631332" y="2612941"/>
                  </a:lnTo>
                  <a:lnTo>
                    <a:pt x="10625261" y="2583480"/>
                  </a:lnTo>
                  <a:lnTo>
                    <a:pt x="10622192" y="2552961"/>
                  </a:lnTo>
                  <a:lnTo>
                    <a:pt x="10617742" y="2523164"/>
                  </a:lnTo>
                  <a:lnTo>
                    <a:pt x="10500760" y="2482360"/>
                  </a:lnTo>
                  <a:lnTo>
                    <a:pt x="10486780" y="2442747"/>
                  </a:lnTo>
                  <a:lnTo>
                    <a:pt x="10490776" y="2415496"/>
                  </a:lnTo>
                  <a:lnTo>
                    <a:pt x="10485797" y="2389867"/>
                  </a:lnTo>
                  <a:lnTo>
                    <a:pt x="10478740" y="2354030"/>
                  </a:lnTo>
                  <a:lnTo>
                    <a:pt x="10468195" y="2320621"/>
                  </a:lnTo>
                  <a:lnTo>
                    <a:pt x="10465398" y="2283768"/>
                  </a:lnTo>
                  <a:lnTo>
                    <a:pt x="10460006" y="2213000"/>
                  </a:lnTo>
                  <a:lnTo>
                    <a:pt x="10482216" y="2144353"/>
                  </a:lnTo>
                  <a:lnTo>
                    <a:pt x="10476275" y="2074301"/>
                  </a:lnTo>
                  <a:lnTo>
                    <a:pt x="10468920" y="2053131"/>
                  </a:lnTo>
                  <a:lnTo>
                    <a:pt x="10443635" y="1915154"/>
                  </a:lnTo>
                  <a:lnTo>
                    <a:pt x="10442457" y="1884586"/>
                  </a:lnTo>
                  <a:lnTo>
                    <a:pt x="10452962" y="1864116"/>
                  </a:lnTo>
                  <a:lnTo>
                    <a:pt x="10469488" y="1848504"/>
                  </a:lnTo>
                  <a:lnTo>
                    <a:pt x="10487229" y="1833705"/>
                  </a:lnTo>
                  <a:lnTo>
                    <a:pt x="10500707" y="1814345"/>
                  </a:lnTo>
                  <a:lnTo>
                    <a:pt x="10504850" y="1785941"/>
                  </a:lnTo>
                  <a:lnTo>
                    <a:pt x="10504152" y="1756163"/>
                  </a:lnTo>
                  <a:lnTo>
                    <a:pt x="10477645" y="1727448"/>
                  </a:lnTo>
                  <a:lnTo>
                    <a:pt x="10443142" y="1709769"/>
                  </a:lnTo>
                  <a:lnTo>
                    <a:pt x="10408775" y="1687999"/>
                  </a:lnTo>
                  <a:lnTo>
                    <a:pt x="10392816" y="1672065"/>
                  </a:lnTo>
                  <a:lnTo>
                    <a:pt x="10386510" y="1644480"/>
                  </a:lnTo>
                  <a:lnTo>
                    <a:pt x="10380219" y="1616884"/>
                  </a:lnTo>
                  <a:lnTo>
                    <a:pt x="10382811" y="1576986"/>
                  </a:lnTo>
                  <a:lnTo>
                    <a:pt x="10400115" y="1515260"/>
                  </a:lnTo>
                  <a:lnTo>
                    <a:pt x="10429304" y="1489590"/>
                  </a:lnTo>
                  <a:lnTo>
                    <a:pt x="10454524" y="1479897"/>
                  </a:lnTo>
                  <a:lnTo>
                    <a:pt x="10479735" y="1470196"/>
                  </a:lnTo>
                  <a:lnTo>
                    <a:pt x="10505213" y="1459427"/>
                  </a:lnTo>
                  <a:lnTo>
                    <a:pt x="10511649" y="1421405"/>
                  </a:lnTo>
                  <a:lnTo>
                    <a:pt x="10475007" y="1391906"/>
                  </a:lnTo>
                  <a:lnTo>
                    <a:pt x="10258654" y="1410525"/>
                  </a:lnTo>
                  <a:lnTo>
                    <a:pt x="10231747" y="1412779"/>
                  </a:lnTo>
                  <a:lnTo>
                    <a:pt x="10199861" y="1425231"/>
                  </a:lnTo>
                  <a:lnTo>
                    <a:pt x="10177044" y="1439087"/>
                  </a:lnTo>
                  <a:lnTo>
                    <a:pt x="10167481" y="1513387"/>
                  </a:lnTo>
                  <a:lnTo>
                    <a:pt x="10145185" y="1544718"/>
                  </a:lnTo>
                  <a:lnTo>
                    <a:pt x="10129434" y="1558786"/>
                  </a:lnTo>
                  <a:lnTo>
                    <a:pt x="10117484" y="1579553"/>
                  </a:lnTo>
                  <a:lnTo>
                    <a:pt x="10114471" y="1610469"/>
                  </a:lnTo>
                  <a:lnTo>
                    <a:pt x="10091350" y="1625433"/>
                  </a:lnTo>
                  <a:lnTo>
                    <a:pt x="10065677" y="1633339"/>
                  </a:lnTo>
                  <a:lnTo>
                    <a:pt x="10026060" y="1621358"/>
                  </a:lnTo>
                  <a:lnTo>
                    <a:pt x="10006598" y="1612640"/>
                  </a:lnTo>
                  <a:lnTo>
                    <a:pt x="9988336" y="1597766"/>
                  </a:lnTo>
                  <a:lnTo>
                    <a:pt x="9967571" y="1581913"/>
                  </a:lnTo>
                  <a:lnTo>
                    <a:pt x="9924941" y="1592966"/>
                  </a:lnTo>
                  <a:lnTo>
                    <a:pt x="9896267" y="1606736"/>
                  </a:lnTo>
                  <a:lnTo>
                    <a:pt x="9872107" y="1625150"/>
                  </a:lnTo>
                  <a:lnTo>
                    <a:pt x="9846515" y="1637680"/>
                  </a:lnTo>
                  <a:lnTo>
                    <a:pt x="9820920" y="1650216"/>
                  </a:lnTo>
                  <a:lnTo>
                    <a:pt x="9793160" y="1657090"/>
                  </a:lnTo>
                  <a:lnTo>
                    <a:pt x="9768985" y="1647202"/>
                  </a:lnTo>
                  <a:lnTo>
                    <a:pt x="9752741" y="1626626"/>
                  </a:lnTo>
                  <a:lnTo>
                    <a:pt x="9752201" y="1585401"/>
                  </a:lnTo>
                  <a:lnTo>
                    <a:pt x="9753255" y="1551143"/>
                  </a:lnTo>
                  <a:lnTo>
                    <a:pt x="9751308" y="1517982"/>
                  </a:lnTo>
                  <a:lnTo>
                    <a:pt x="9748698" y="1472543"/>
                  </a:lnTo>
                  <a:lnTo>
                    <a:pt x="9718408" y="1430759"/>
                  </a:lnTo>
                  <a:lnTo>
                    <a:pt x="9703708" y="1388768"/>
                  </a:lnTo>
                  <a:lnTo>
                    <a:pt x="9688360" y="1344814"/>
                  </a:lnTo>
                  <a:lnTo>
                    <a:pt x="9680528" y="1296656"/>
                  </a:lnTo>
                  <a:lnTo>
                    <a:pt x="9665624" y="1252748"/>
                  </a:lnTo>
                  <a:lnTo>
                    <a:pt x="9654607" y="1220335"/>
                  </a:lnTo>
                  <a:lnTo>
                    <a:pt x="9642884" y="1187044"/>
                  </a:lnTo>
                  <a:lnTo>
                    <a:pt x="9631613" y="1153449"/>
                  </a:lnTo>
                  <a:lnTo>
                    <a:pt x="9620343" y="1119854"/>
                  </a:lnTo>
                  <a:lnTo>
                    <a:pt x="9609770" y="1086036"/>
                  </a:lnTo>
                  <a:lnTo>
                    <a:pt x="9601693" y="1052798"/>
                  </a:lnTo>
                  <a:lnTo>
                    <a:pt x="9596130" y="1029912"/>
                  </a:lnTo>
                  <a:lnTo>
                    <a:pt x="9585427" y="991115"/>
                  </a:lnTo>
                  <a:lnTo>
                    <a:pt x="9573121" y="945341"/>
                  </a:lnTo>
                  <a:lnTo>
                    <a:pt x="9560808" y="899564"/>
                  </a:lnTo>
                  <a:lnTo>
                    <a:pt x="9546874" y="847037"/>
                  </a:lnTo>
                  <a:lnTo>
                    <a:pt x="9530953" y="794358"/>
                  </a:lnTo>
                  <a:lnTo>
                    <a:pt x="9515047" y="741682"/>
                  </a:lnTo>
                  <a:lnTo>
                    <a:pt x="9497011" y="689682"/>
                  </a:lnTo>
                  <a:lnTo>
                    <a:pt x="9480636" y="646097"/>
                  </a:lnTo>
                  <a:lnTo>
                    <a:pt x="9470091" y="618049"/>
                  </a:lnTo>
                  <a:lnTo>
                    <a:pt x="9452672" y="583186"/>
                  </a:lnTo>
                  <a:lnTo>
                    <a:pt x="9435743" y="548162"/>
                  </a:lnTo>
                  <a:lnTo>
                    <a:pt x="9292316" y="577537"/>
                  </a:lnTo>
                  <a:lnTo>
                    <a:pt x="9257562" y="578083"/>
                  </a:lnTo>
                  <a:lnTo>
                    <a:pt x="9203618" y="578941"/>
                  </a:lnTo>
                  <a:lnTo>
                    <a:pt x="9145720" y="570517"/>
                  </a:lnTo>
                  <a:lnTo>
                    <a:pt x="9091615" y="567203"/>
                  </a:lnTo>
                  <a:lnTo>
                    <a:pt x="9071210" y="560403"/>
                  </a:lnTo>
                  <a:lnTo>
                    <a:pt x="8943652" y="544804"/>
                  </a:lnTo>
                  <a:lnTo>
                    <a:pt x="8823737" y="517852"/>
                  </a:lnTo>
                  <a:lnTo>
                    <a:pt x="8701236" y="477431"/>
                  </a:lnTo>
                  <a:lnTo>
                    <a:pt x="8545707" y="419410"/>
                  </a:lnTo>
                  <a:lnTo>
                    <a:pt x="8511139" y="402005"/>
                  </a:lnTo>
                  <a:lnTo>
                    <a:pt x="8495450" y="387984"/>
                  </a:lnTo>
                  <a:lnTo>
                    <a:pt x="8460879" y="365562"/>
                  </a:lnTo>
                  <a:lnTo>
                    <a:pt x="8416949" y="357735"/>
                  </a:lnTo>
                  <a:lnTo>
                    <a:pt x="8378660" y="359178"/>
                  </a:lnTo>
                  <a:lnTo>
                    <a:pt x="8337974" y="357932"/>
                  </a:lnTo>
                  <a:lnTo>
                    <a:pt x="8299977" y="361809"/>
                  </a:lnTo>
                  <a:lnTo>
                    <a:pt x="8250454" y="366821"/>
                  </a:lnTo>
                  <a:lnTo>
                    <a:pt x="8149604" y="393624"/>
                  </a:lnTo>
                  <a:lnTo>
                    <a:pt x="8049700" y="423018"/>
                  </a:lnTo>
                  <a:lnTo>
                    <a:pt x="7949793" y="452417"/>
                  </a:lnTo>
                  <a:lnTo>
                    <a:pt x="7850196" y="484521"/>
                  </a:lnTo>
                  <a:lnTo>
                    <a:pt x="7804863" y="499188"/>
                  </a:lnTo>
                  <a:lnTo>
                    <a:pt x="7758931" y="514052"/>
                  </a:lnTo>
                  <a:lnTo>
                    <a:pt x="7706370" y="518657"/>
                  </a:lnTo>
                  <a:lnTo>
                    <a:pt x="7652522" y="519593"/>
                  </a:lnTo>
                  <a:lnTo>
                    <a:pt x="7598674" y="520530"/>
                  </a:lnTo>
                  <a:lnTo>
                    <a:pt x="7543322" y="517838"/>
                  </a:lnTo>
                  <a:lnTo>
                    <a:pt x="7496097" y="518234"/>
                  </a:lnTo>
                  <a:lnTo>
                    <a:pt x="7471618" y="499194"/>
                  </a:lnTo>
                  <a:lnTo>
                    <a:pt x="7457200" y="472439"/>
                  </a:lnTo>
                  <a:lnTo>
                    <a:pt x="7439242" y="422120"/>
                  </a:lnTo>
                  <a:lnTo>
                    <a:pt x="7429410" y="383659"/>
                  </a:lnTo>
                  <a:lnTo>
                    <a:pt x="7403604" y="361809"/>
                  </a:lnTo>
                  <a:lnTo>
                    <a:pt x="7382650" y="367336"/>
                  </a:lnTo>
                  <a:lnTo>
                    <a:pt x="7295982" y="393604"/>
                  </a:lnTo>
                  <a:lnTo>
                    <a:pt x="7270861" y="378817"/>
                  </a:lnTo>
                  <a:lnTo>
                    <a:pt x="7262657" y="347571"/>
                  </a:lnTo>
                  <a:lnTo>
                    <a:pt x="7256617" y="315606"/>
                  </a:lnTo>
                  <a:lnTo>
                    <a:pt x="7247179" y="287004"/>
                  </a:lnTo>
                  <a:lnTo>
                    <a:pt x="7234346" y="268762"/>
                  </a:lnTo>
                  <a:lnTo>
                    <a:pt x="7225738" y="243002"/>
                  </a:lnTo>
                  <a:lnTo>
                    <a:pt x="7235955" y="217982"/>
                  </a:lnTo>
                  <a:lnTo>
                    <a:pt x="7248543" y="194511"/>
                  </a:lnTo>
                  <a:lnTo>
                    <a:pt x="7261125" y="171033"/>
                  </a:lnTo>
                  <a:lnTo>
                    <a:pt x="7276554" y="149236"/>
                  </a:lnTo>
                  <a:lnTo>
                    <a:pt x="7291477" y="125178"/>
                  </a:lnTo>
                  <a:lnTo>
                    <a:pt x="7264465" y="68633"/>
                  </a:lnTo>
                  <a:lnTo>
                    <a:pt x="7254639" y="43552"/>
                  </a:lnTo>
                  <a:lnTo>
                    <a:pt x="7232420" y="37770"/>
                  </a:lnTo>
                  <a:lnTo>
                    <a:pt x="7202295" y="38086"/>
                  </a:lnTo>
                  <a:lnTo>
                    <a:pt x="7172176" y="38415"/>
                  </a:lnTo>
                  <a:lnTo>
                    <a:pt x="7134485" y="43994"/>
                  </a:lnTo>
                  <a:lnTo>
                    <a:pt x="7096202" y="51684"/>
                  </a:lnTo>
                  <a:lnTo>
                    <a:pt x="7019627" y="67070"/>
                  </a:lnTo>
                  <a:lnTo>
                    <a:pt x="6943411" y="92025"/>
                  </a:lnTo>
                  <a:lnTo>
                    <a:pt x="6935939" y="124968"/>
                  </a:lnTo>
                  <a:lnTo>
                    <a:pt x="6943858" y="163224"/>
                  </a:lnTo>
                  <a:lnTo>
                    <a:pt x="6952230" y="200966"/>
                  </a:lnTo>
                  <a:lnTo>
                    <a:pt x="6949154" y="238835"/>
                  </a:lnTo>
                  <a:lnTo>
                    <a:pt x="6933697" y="253864"/>
                  </a:lnTo>
                  <a:lnTo>
                    <a:pt x="6911215" y="266599"/>
                  </a:lnTo>
                  <a:lnTo>
                    <a:pt x="6888726" y="279333"/>
                  </a:lnTo>
                  <a:lnTo>
                    <a:pt x="6859234" y="289826"/>
                  </a:lnTo>
                  <a:lnTo>
                    <a:pt x="6828243" y="297878"/>
                  </a:lnTo>
                  <a:lnTo>
                    <a:pt x="6766244" y="313996"/>
                  </a:lnTo>
                  <a:lnTo>
                    <a:pt x="6699848" y="321304"/>
                  </a:lnTo>
                  <a:lnTo>
                    <a:pt x="6678618" y="325083"/>
                  </a:lnTo>
                  <a:lnTo>
                    <a:pt x="6497715" y="357727"/>
                  </a:lnTo>
                  <a:lnTo>
                    <a:pt x="6468129" y="386594"/>
                  </a:lnTo>
                  <a:lnTo>
                    <a:pt x="6461205" y="434921"/>
                  </a:lnTo>
                  <a:lnTo>
                    <a:pt x="6460988" y="459744"/>
                  </a:lnTo>
                  <a:lnTo>
                    <a:pt x="6430447" y="473370"/>
                  </a:lnTo>
                  <a:lnTo>
                    <a:pt x="6398421" y="463826"/>
                  </a:lnTo>
                  <a:lnTo>
                    <a:pt x="6367816" y="447274"/>
                  </a:lnTo>
                  <a:lnTo>
                    <a:pt x="6337464" y="425444"/>
                  </a:lnTo>
                  <a:lnTo>
                    <a:pt x="6290813" y="384121"/>
                  </a:lnTo>
                  <a:lnTo>
                    <a:pt x="6281439" y="364533"/>
                  </a:lnTo>
                  <a:lnTo>
                    <a:pt x="6264671" y="329475"/>
                  </a:lnTo>
                  <a:lnTo>
                    <a:pt x="6257481" y="278529"/>
                  </a:lnTo>
                  <a:lnTo>
                    <a:pt x="6239275" y="236671"/>
                  </a:lnTo>
                  <a:lnTo>
                    <a:pt x="6230171" y="215745"/>
                  </a:lnTo>
                  <a:lnTo>
                    <a:pt x="6217543" y="196673"/>
                  </a:lnTo>
                  <a:lnTo>
                    <a:pt x="6184838" y="170577"/>
                  </a:lnTo>
                  <a:lnTo>
                    <a:pt x="6164104" y="163368"/>
                  </a:lnTo>
                  <a:lnTo>
                    <a:pt x="6135898" y="164582"/>
                  </a:lnTo>
                  <a:lnTo>
                    <a:pt x="6097838" y="166218"/>
                  </a:lnTo>
                  <a:lnTo>
                    <a:pt x="6046068" y="172509"/>
                  </a:lnTo>
                  <a:lnTo>
                    <a:pt x="5995801" y="171382"/>
                  </a:lnTo>
                  <a:lnTo>
                    <a:pt x="5970662" y="170788"/>
                  </a:lnTo>
                  <a:lnTo>
                    <a:pt x="5946263" y="169225"/>
                  </a:lnTo>
                  <a:lnTo>
                    <a:pt x="5923706" y="163224"/>
                  </a:lnTo>
                  <a:lnTo>
                    <a:pt x="5901159" y="157223"/>
                  </a:lnTo>
                  <a:lnTo>
                    <a:pt x="5880075" y="147910"/>
                  </a:lnTo>
                  <a:lnTo>
                    <a:pt x="5863859" y="133296"/>
                  </a:lnTo>
                  <a:lnTo>
                    <a:pt x="5844279" y="111474"/>
                  </a:lnTo>
                  <a:lnTo>
                    <a:pt x="5823598" y="89836"/>
                  </a:lnTo>
                  <a:lnTo>
                    <a:pt x="5798570" y="74813"/>
                  </a:lnTo>
                  <a:lnTo>
                    <a:pt x="5755127" y="58108"/>
                  </a:lnTo>
                  <a:lnTo>
                    <a:pt x="5711220" y="43566"/>
                  </a:lnTo>
                  <a:lnTo>
                    <a:pt x="5666630" y="31287"/>
                  </a:lnTo>
                  <a:lnTo>
                    <a:pt x="5622044" y="19000"/>
                  </a:lnTo>
                  <a:lnTo>
                    <a:pt x="5576385" y="9055"/>
                  </a:lnTo>
                  <a:lnTo>
                    <a:pt x="5530611" y="0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36" name="Zaporizhia¬0" descr="Zaporizhia¬0">
              <a:extLst>
                <a:ext uri="{FF2B5EF4-FFF2-40B4-BE49-F238E27FC236}">
                  <a16:creationId xmlns:a16="http://schemas.microsoft.com/office/drawing/2014/main" id="{B9679C0C-397D-407C-AF09-0C0F6BCAF030}"/>
                </a:ext>
              </a:extLst>
            </p:cNvPr>
            <p:cNvSpPr/>
            <p:nvPr/>
          </p:nvSpPr>
          <p:spPr>
            <a:xfrm>
              <a:off x="5673909" y="3811692"/>
              <a:ext cx="46206" cy="39399"/>
            </a:xfrm>
            <a:custGeom>
              <a:avLst/>
              <a:gdLst/>
              <a:ahLst/>
              <a:cxnLst/>
              <a:rect l="0" t="0" r="0" b="0"/>
              <a:pathLst>
                <a:path w="471510" h="456389">
                  <a:moveTo>
                    <a:pt x="447722" y="51982"/>
                  </a:moveTo>
                  <a:lnTo>
                    <a:pt x="435654" y="71069"/>
                  </a:lnTo>
                  <a:lnTo>
                    <a:pt x="316424" y="182817"/>
                  </a:lnTo>
                  <a:lnTo>
                    <a:pt x="351833" y="285000"/>
                  </a:lnTo>
                  <a:lnTo>
                    <a:pt x="300484" y="354630"/>
                  </a:lnTo>
                  <a:lnTo>
                    <a:pt x="238513" y="438746"/>
                  </a:lnTo>
                  <a:lnTo>
                    <a:pt x="177468" y="398367"/>
                  </a:lnTo>
                  <a:lnTo>
                    <a:pt x="119571" y="408608"/>
                  </a:lnTo>
                  <a:lnTo>
                    <a:pt x="92875" y="425571"/>
                  </a:lnTo>
                  <a:lnTo>
                    <a:pt x="67553" y="445334"/>
                  </a:lnTo>
                  <a:lnTo>
                    <a:pt x="42807" y="447371"/>
                  </a:lnTo>
                  <a:lnTo>
                    <a:pt x="13692" y="456388"/>
                  </a:lnTo>
                  <a:lnTo>
                    <a:pt x="0" y="415491"/>
                  </a:lnTo>
                  <a:lnTo>
                    <a:pt x="79707" y="381490"/>
                  </a:lnTo>
                  <a:lnTo>
                    <a:pt x="97982" y="299114"/>
                  </a:lnTo>
                  <a:lnTo>
                    <a:pt x="106403" y="256778"/>
                  </a:lnTo>
                  <a:lnTo>
                    <a:pt x="142193" y="251340"/>
                  </a:lnTo>
                  <a:lnTo>
                    <a:pt x="154729" y="272976"/>
                  </a:lnTo>
                  <a:lnTo>
                    <a:pt x="145232" y="308384"/>
                  </a:lnTo>
                  <a:lnTo>
                    <a:pt x="154967" y="335713"/>
                  </a:lnTo>
                  <a:lnTo>
                    <a:pt x="181025" y="352847"/>
                  </a:lnTo>
                  <a:lnTo>
                    <a:pt x="237642" y="330064"/>
                  </a:lnTo>
                  <a:lnTo>
                    <a:pt x="258685" y="227155"/>
                  </a:lnTo>
                  <a:lnTo>
                    <a:pt x="286101" y="188094"/>
                  </a:lnTo>
                  <a:lnTo>
                    <a:pt x="298255" y="170749"/>
                  </a:lnTo>
                  <a:lnTo>
                    <a:pt x="321125" y="156887"/>
                  </a:lnTo>
                  <a:lnTo>
                    <a:pt x="335409" y="140314"/>
                  </a:lnTo>
                  <a:lnTo>
                    <a:pt x="367283" y="103414"/>
                  </a:lnTo>
                  <a:lnTo>
                    <a:pt x="408561" y="3653"/>
                  </a:lnTo>
                  <a:lnTo>
                    <a:pt x="459823" y="0"/>
                  </a:lnTo>
                  <a:lnTo>
                    <a:pt x="471509" y="20101"/>
                  </a:lnTo>
                  <a:lnTo>
                    <a:pt x="459823" y="47821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37" name="Zaporizhia¬1" descr="Zaporizhia¬1">
              <a:extLst>
                <a:ext uri="{FF2B5EF4-FFF2-40B4-BE49-F238E27FC236}">
                  <a16:creationId xmlns:a16="http://schemas.microsoft.com/office/drawing/2014/main" id="{9D31D5F0-2A98-4512-9354-D8FBE7B49128}"/>
                </a:ext>
              </a:extLst>
            </p:cNvPr>
            <p:cNvSpPr/>
            <p:nvPr/>
          </p:nvSpPr>
          <p:spPr>
            <a:xfrm>
              <a:off x="5016745" y="3109428"/>
              <a:ext cx="1037168" cy="934006"/>
            </a:xfrm>
            <a:custGeom>
              <a:avLst/>
              <a:gdLst/>
              <a:ahLst/>
              <a:cxnLst/>
              <a:rect l="0" t="0" r="0" b="0"/>
              <a:pathLst>
                <a:path w="10583731" h="10819271">
                  <a:moveTo>
                    <a:pt x="16914" y="3464348"/>
                  </a:moveTo>
                  <a:lnTo>
                    <a:pt x="34327" y="3499208"/>
                  </a:lnTo>
                  <a:lnTo>
                    <a:pt x="44872" y="3527256"/>
                  </a:lnTo>
                  <a:lnTo>
                    <a:pt x="61259" y="3570844"/>
                  </a:lnTo>
                  <a:lnTo>
                    <a:pt x="79282" y="3622844"/>
                  </a:lnTo>
                  <a:lnTo>
                    <a:pt x="95204" y="3675517"/>
                  </a:lnTo>
                  <a:lnTo>
                    <a:pt x="111116" y="3728199"/>
                  </a:lnTo>
                  <a:lnTo>
                    <a:pt x="125059" y="3780726"/>
                  </a:lnTo>
                  <a:lnTo>
                    <a:pt x="137372" y="3826500"/>
                  </a:lnTo>
                  <a:lnTo>
                    <a:pt x="149672" y="3872271"/>
                  </a:lnTo>
                  <a:lnTo>
                    <a:pt x="160369" y="3911075"/>
                  </a:lnTo>
                  <a:lnTo>
                    <a:pt x="165934" y="3933951"/>
                  </a:lnTo>
                  <a:lnTo>
                    <a:pt x="174012" y="3967189"/>
                  </a:lnTo>
                  <a:lnTo>
                    <a:pt x="184578" y="4001016"/>
                  </a:lnTo>
                  <a:lnTo>
                    <a:pt x="195855" y="4034611"/>
                  </a:lnTo>
                  <a:lnTo>
                    <a:pt x="207132" y="4068206"/>
                  </a:lnTo>
                  <a:lnTo>
                    <a:pt x="218852" y="4101497"/>
                  </a:lnTo>
                  <a:lnTo>
                    <a:pt x="229859" y="4133905"/>
                  </a:lnTo>
                  <a:lnTo>
                    <a:pt x="244776" y="4177812"/>
                  </a:lnTo>
                  <a:lnTo>
                    <a:pt x="252605" y="4225973"/>
                  </a:lnTo>
                  <a:lnTo>
                    <a:pt x="267944" y="4269924"/>
                  </a:lnTo>
                  <a:lnTo>
                    <a:pt x="282650" y="4311918"/>
                  </a:lnTo>
                  <a:lnTo>
                    <a:pt x="312943" y="4353705"/>
                  </a:lnTo>
                  <a:lnTo>
                    <a:pt x="315553" y="4399144"/>
                  </a:lnTo>
                  <a:lnTo>
                    <a:pt x="317466" y="4432296"/>
                  </a:lnTo>
                  <a:lnTo>
                    <a:pt x="316468" y="4466557"/>
                  </a:lnTo>
                  <a:lnTo>
                    <a:pt x="316905" y="4499802"/>
                  </a:lnTo>
                  <a:lnTo>
                    <a:pt x="326508" y="4524157"/>
                  </a:lnTo>
                  <a:lnTo>
                    <a:pt x="357411" y="4538243"/>
                  </a:lnTo>
                  <a:lnTo>
                    <a:pt x="385161" y="4531378"/>
                  </a:lnTo>
                  <a:lnTo>
                    <a:pt x="410757" y="4518842"/>
                  </a:lnTo>
                  <a:lnTo>
                    <a:pt x="436352" y="4506310"/>
                  </a:lnTo>
                  <a:lnTo>
                    <a:pt x="460515" y="4487898"/>
                  </a:lnTo>
                  <a:lnTo>
                    <a:pt x="476046" y="4471233"/>
                  </a:lnTo>
                  <a:lnTo>
                    <a:pt x="519277" y="4466424"/>
                  </a:lnTo>
                  <a:lnTo>
                    <a:pt x="552581" y="4478928"/>
                  </a:lnTo>
                  <a:lnTo>
                    <a:pt x="570840" y="4493793"/>
                  </a:lnTo>
                  <a:lnTo>
                    <a:pt x="590302" y="4502518"/>
                  </a:lnTo>
                  <a:lnTo>
                    <a:pt x="609765" y="4511243"/>
                  </a:lnTo>
                  <a:lnTo>
                    <a:pt x="655591" y="4506595"/>
                  </a:lnTo>
                  <a:lnTo>
                    <a:pt x="678716" y="4491632"/>
                  </a:lnTo>
                  <a:lnTo>
                    <a:pt x="681714" y="4460706"/>
                  </a:lnTo>
                  <a:lnTo>
                    <a:pt x="693679" y="4439945"/>
                  </a:lnTo>
                  <a:lnTo>
                    <a:pt x="709427" y="4425880"/>
                  </a:lnTo>
                  <a:lnTo>
                    <a:pt x="723600" y="4405938"/>
                  </a:lnTo>
                  <a:lnTo>
                    <a:pt x="734402" y="4338782"/>
                  </a:lnTo>
                  <a:lnTo>
                    <a:pt x="764106" y="4306393"/>
                  </a:lnTo>
                  <a:lnTo>
                    <a:pt x="795992" y="4293935"/>
                  </a:lnTo>
                  <a:lnTo>
                    <a:pt x="822899" y="4291687"/>
                  </a:lnTo>
                  <a:lnTo>
                    <a:pt x="1028285" y="4273998"/>
                  </a:lnTo>
                  <a:lnTo>
                    <a:pt x="1069265" y="4295253"/>
                  </a:lnTo>
                  <a:lnTo>
                    <a:pt x="1075891" y="4322966"/>
                  </a:lnTo>
                  <a:lnTo>
                    <a:pt x="1043986" y="4351358"/>
                  </a:lnTo>
                  <a:lnTo>
                    <a:pt x="1018766" y="4361050"/>
                  </a:lnTo>
                  <a:lnTo>
                    <a:pt x="993549" y="4370752"/>
                  </a:lnTo>
                  <a:lnTo>
                    <a:pt x="969014" y="4379840"/>
                  </a:lnTo>
                  <a:lnTo>
                    <a:pt x="947034" y="4458148"/>
                  </a:lnTo>
                  <a:lnTo>
                    <a:pt x="944464" y="4498047"/>
                  </a:lnTo>
                  <a:lnTo>
                    <a:pt x="950755" y="4525642"/>
                  </a:lnTo>
                  <a:lnTo>
                    <a:pt x="957058" y="4553228"/>
                  </a:lnTo>
                  <a:lnTo>
                    <a:pt x="973011" y="4569162"/>
                  </a:lnTo>
                  <a:lnTo>
                    <a:pt x="1007384" y="4590931"/>
                  </a:lnTo>
                  <a:lnTo>
                    <a:pt x="1041890" y="4608610"/>
                  </a:lnTo>
                  <a:lnTo>
                    <a:pt x="1068376" y="4637325"/>
                  </a:lnTo>
                  <a:lnTo>
                    <a:pt x="1069092" y="4667100"/>
                  </a:lnTo>
                  <a:lnTo>
                    <a:pt x="1064959" y="4695504"/>
                  </a:lnTo>
                  <a:lnTo>
                    <a:pt x="1051471" y="4714861"/>
                  </a:lnTo>
                  <a:lnTo>
                    <a:pt x="1033723" y="4729667"/>
                  </a:lnTo>
                  <a:lnTo>
                    <a:pt x="1017197" y="4745278"/>
                  </a:lnTo>
                  <a:lnTo>
                    <a:pt x="1006733" y="4765748"/>
                  </a:lnTo>
                  <a:lnTo>
                    <a:pt x="1007880" y="4796314"/>
                  </a:lnTo>
                  <a:lnTo>
                    <a:pt x="1031001" y="4922818"/>
                  </a:lnTo>
                  <a:lnTo>
                    <a:pt x="1039428" y="4942497"/>
                  </a:lnTo>
                  <a:lnTo>
                    <a:pt x="1046461" y="5025509"/>
                  </a:lnTo>
                  <a:lnTo>
                    <a:pt x="1024242" y="5094162"/>
                  </a:lnTo>
                  <a:lnTo>
                    <a:pt x="1029637" y="5164930"/>
                  </a:lnTo>
                  <a:lnTo>
                    <a:pt x="1032424" y="5201784"/>
                  </a:lnTo>
                  <a:lnTo>
                    <a:pt x="1042985" y="5235192"/>
                  </a:lnTo>
                  <a:lnTo>
                    <a:pt x="1050042" y="5271029"/>
                  </a:lnTo>
                  <a:lnTo>
                    <a:pt x="1055117" y="5296658"/>
                  </a:lnTo>
                  <a:lnTo>
                    <a:pt x="1051043" y="5323906"/>
                  </a:lnTo>
                  <a:lnTo>
                    <a:pt x="1055480" y="5348559"/>
                  </a:lnTo>
                  <a:lnTo>
                    <a:pt x="1172456" y="5389363"/>
                  </a:lnTo>
                  <a:lnTo>
                    <a:pt x="1186437" y="5434123"/>
                  </a:lnTo>
                  <a:lnTo>
                    <a:pt x="1189503" y="5464642"/>
                  </a:lnTo>
                  <a:lnTo>
                    <a:pt x="1195577" y="5494094"/>
                  </a:lnTo>
                  <a:lnTo>
                    <a:pt x="1202547" y="5527888"/>
                  </a:lnTo>
                  <a:lnTo>
                    <a:pt x="1217768" y="5562537"/>
                  </a:lnTo>
                  <a:lnTo>
                    <a:pt x="1224146" y="5596113"/>
                  </a:lnTo>
                  <a:lnTo>
                    <a:pt x="1228499" y="5618859"/>
                  </a:lnTo>
                  <a:lnTo>
                    <a:pt x="1235878" y="5645298"/>
                  </a:lnTo>
                  <a:lnTo>
                    <a:pt x="1237745" y="5668208"/>
                  </a:lnTo>
                  <a:lnTo>
                    <a:pt x="1240269" y="5701254"/>
                  </a:lnTo>
                  <a:lnTo>
                    <a:pt x="1236787" y="5753368"/>
                  </a:lnTo>
                  <a:lnTo>
                    <a:pt x="1237745" y="5804227"/>
                  </a:lnTo>
                  <a:lnTo>
                    <a:pt x="1238700" y="5855080"/>
                  </a:lnTo>
                  <a:lnTo>
                    <a:pt x="1244293" y="5904351"/>
                  </a:lnTo>
                  <a:lnTo>
                    <a:pt x="1264950" y="5932083"/>
                  </a:lnTo>
                  <a:lnTo>
                    <a:pt x="1290768" y="5936805"/>
                  </a:lnTo>
                  <a:lnTo>
                    <a:pt x="1318025" y="5935500"/>
                  </a:lnTo>
                  <a:lnTo>
                    <a:pt x="1345208" y="5940235"/>
                  </a:lnTo>
                  <a:lnTo>
                    <a:pt x="1366274" y="5952910"/>
                  </a:lnTo>
                  <a:lnTo>
                    <a:pt x="1378744" y="5970506"/>
                  </a:lnTo>
                  <a:lnTo>
                    <a:pt x="1386006" y="5991924"/>
                  </a:lnTo>
                  <a:lnTo>
                    <a:pt x="1393274" y="6013346"/>
                  </a:lnTo>
                  <a:lnTo>
                    <a:pt x="1394399" y="6037550"/>
                  </a:lnTo>
                  <a:lnTo>
                    <a:pt x="1395528" y="6061291"/>
                  </a:lnTo>
                  <a:lnTo>
                    <a:pt x="1396662" y="6085038"/>
                  </a:lnTo>
                  <a:lnTo>
                    <a:pt x="1396920" y="6108286"/>
                  </a:lnTo>
                  <a:lnTo>
                    <a:pt x="1402275" y="6147599"/>
                  </a:lnTo>
                  <a:lnTo>
                    <a:pt x="1420022" y="6172828"/>
                  </a:lnTo>
                  <a:lnTo>
                    <a:pt x="1465505" y="6175126"/>
                  </a:lnTo>
                  <a:lnTo>
                    <a:pt x="1497097" y="6180670"/>
                  </a:lnTo>
                  <a:lnTo>
                    <a:pt x="1519312" y="6187795"/>
                  </a:lnTo>
                  <a:lnTo>
                    <a:pt x="1541531" y="6194910"/>
                  </a:lnTo>
                  <a:lnTo>
                    <a:pt x="1564200" y="6213632"/>
                  </a:lnTo>
                  <a:lnTo>
                    <a:pt x="1584384" y="6232251"/>
                  </a:lnTo>
                  <a:lnTo>
                    <a:pt x="1590995" y="6252429"/>
                  </a:lnTo>
                  <a:lnTo>
                    <a:pt x="1629489" y="6263964"/>
                  </a:lnTo>
                  <a:lnTo>
                    <a:pt x="1661434" y="6273526"/>
                  </a:lnTo>
                  <a:lnTo>
                    <a:pt x="1703509" y="6281420"/>
                  </a:lnTo>
                  <a:lnTo>
                    <a:pt x="1742387" y="6293884"/>
                  </a:lnTo>
                  <a:lnTo>
                    <a:pt x="1781262" y="6306349"/>
                  </a:lnTo>
                  <a:lnTo>
                    <a:pt x="1817152" y="6322751"/>
                  </a:lnTo>
                  <a:lnTo>
                    <a:pt x="1838961" y="6352377"/>
                  </a:lnTo>
                  <a:lnTo>
                    <a:pt x="1842226" y="6374177"/>
                  </a:lnTo>
                  <a:lnTo>
                    <a:pt x="1851177" y="6430149"/>
                  </a:lnTo>
                  <a:lnTo>
                    <a:pt x="1863443" y="6484313"/>
                  </a:lnTo>
                  <a:lnTo>
                    <a:pt x="1875709" y="6538477"/>
                  </a:lnTo>
                  <a:lnTo>
                    <a:pt x="1891305" y="6591131"/>
                  </a:lnTo>
                  <a:lnTo>
                    <a:pt x="1911050" y="6606733"/>
                  </a:lnTo>
                  <a:lnTo>
                    <a:pt x="1931008" y="6621222"/>
                  </a:lnTo>
                  <a:lnTo>
                    <a:pt x="1962879" y="6610389"/>
                  </a:lnTo>
                  <a:lnTo>
                    <a:pt x="1994021" y="6616258"/>
                  </a:lnTo>
                  <a:lnTo>
                    <a:pt x="2024990" y="6626196"/>
                  </a:lnTo>
                  <a:lnTo>
                    <a:pt x="2038905" y="6643454"/>
                  </a:lnTo>
                  <a:lnTo>
                    <a:pt x="2052827" y="6660715"/>
                  </a:lnTo>
                  <a:lnTo>
                    <a:pt x="2064975" y="6687944"/>
                  </a:lnTo>
                  <a:lnTo>
                    <a:pt x="2074274" y="6730509"/>
                  </a:lnTo>
                  <a:lnTo>
                    <a:pt x="2083297" y="6766786"/>
                  </a:lnTo>
                  <a:lnTo>
                    <a:pt x="2086515" y="6787640"/>
                  </a:lnTo>
                  <a:lnTo>
                    <a:pt x="2089733" y="6808492"/>
                  </a:lnTo>
                  <a:lnTo>
                    <a:pt x="2085163" y="6846123"/>
                  </a:lnTo>
                  <a:lnTo>
                    <a:pt x="2053305" y="6863819"/>
                  </a:lnTo>
                  <a:lnTo>
                    <a:pt x="2025316" y="6877408"/>
                  </a:lnTo>
                  <a:lnTo>
                    <a:pt x="1997327" y="6891008"/>
                  </a:lnTo>
                  <a:lnTo>
                    <a:pt x="1968863" y="6904120"/>
                  </a:lnTo>
                  <a:lnTo>
                    <a:pt x="1940747" y="6910693"/>
                  </a:lnTo>
                  <a:lnTo>
                    <a:pt x="1919452" y="6914870"/>
                  </a:lnTo>
                  <a:lnTo>
                    <a:pt x="1901534" y="6931824"/>
                  </a:lnTo>
                  <a:lnTo>
                    <a:pt x="1885383" y="6982658"/>
                  </a:lnTo>
                  <a:lnTo>
                    <a:pt x="1900836" y="7040335"/>
                  </a:lnTo>
                  <a:lnTo>
                    <a:pt x="1896092" y="7092325"/>
                  </a:lnTo>
                  <a:lnTo>
                    <a:pt x="1893395" y="7121183"/>
                  </a:lnTo>
                  <a:lnTo>
                    <a:pt x="1863738" y="7148855"/>
                  </a:lnTo>
                  <a:lnTo>
                    <a:pt x="1848486" y="7171214"/>
                  </a:lnTo>
                  <a:lnTo>
                    <a:pt x="1824683" y="7206027"/>
                  </a:lnTo>
                  <a:lnTo>
                    <a:pt x="1832506" y="7252403"/>
                  </a:lnTo>
                  <a:lnTo>
                    <a:pt x="1803599" y="7288193"/>
                  </a:lnTo>
                  <a:lnTo>
                    <a:pt x="1751791" y="7305367"/>
                  </a:lnTo>
                  <a:lnTo>
                    <a:pt x="1730146" y="7328996"/>
                  </a:lnTo>
                  <a:lnTo>
                    <a:pt x="1712426" y="7348378"/>
                  </a:lnTo>
                  <a:lnTo>
                    <a:pt x="1698272" y="7400623"/>
                  </a:lnTo>
                  <a:lnTo>
                    <a:pt x="1644867" y="7423428"/>
                  </a:lnTo>
                  <a:lnTo>
                    <a:pt x="1607983" y="7415224"/>
                  </a:lnTo>
                  <a:lnTo>
                    <a:pt x="1573728" y="7414690"/>
                  </a:lnTo>
                  <a:lnTo>
                    <a:pt x="1540086" y="7415785"/>
                  </a:lnTo>
                  <a:lnTo>
                    <a:pt x="1509434" y="7429917"/>
                  </a:lnTo>
                  <a:lnTo>
                    <a:pt x="1482592" y="7463658"/>
                  </a:lnTo>
                  <a:lnTo>
                    <a:pt x="1483054" y="7508185"/>
                  </a:lnTo>
                  <a:lnTo>
                    <a:pt x="1486682" y="7539827"/>
                  </a:lnTo>
                  <a:lnTo>
                    <a:pt x="1490297" y="7571471"/>
                  </a:lnTo>
                  <a:lnTo>
                    <a:pt x="1495525" y="7603079"/>
                  </a:lnTo>
                  <a:lnTo>
                    <a:pt x="1521700" y="7624910"/>
                  </a:lnTo>
                  <a:lnTo>
                    <a:pt x="1554690" y="7621440"/>
                  </a:lnTo>
                  <a:lnTo>
                    <a:pt x="1586279" y="7606120"/>
                  </a:lnTo>
                  <a:lnTo>
                    <a:pt x="1621337" y="7594236"/>
                  </a:lnTo>
                  <a:lnTo>
                    <a:pt x="1649562" y="7640441"/>
                  </a:lnTo>
                  <a:lnTo>
                    <a:pt x="1665245" y="7664498"/>
                  </a:lnTo>
                  <a:lnTo>
                    <a:pt x="1698120" y="7671561"/>
                  </a:lnTo>
                  <a:lnTo>
                    <a:pt x="1731516" y="7675846"/>
                  </a:lnTo>
                  <a:lnTo>
                    <a:pt x="1764907" y="7680135"/>
                  </a:lnTo>
                  <a:lnTo>
                    <a:pt x="1799717" y="7680907"/>
                  </a:lnTo>
                  <a:lnTo>
                    <a:pt x="1829089" y="7684367"/>
                  </a:lnTo>
                  <a:lnTo>
                    <a:pt x="1854935" y="7701501"/>
                  </a:lnTo>
                  <a:lnTo>
                    <a:pt x="1864814" y="7724808"/>
                  </a:lnTo>
                  <a:lnTo>
                    <a:pt x="1872016" y="7744621"/>
                  </a:lnTo>
                  <a:lnTo>
                    <a:pt x="1882450" y="7780516"/>
                  </a:lnTo>
                  <a:lnTo>
                    <a:pt x="1889302" y="7817308"/>
                  </a:lnTo>
                  <a:lnTo>
                    <a:pt x="1896291" y="7854096"/>
                  </a:lnTo>
                  <a:lnTo>
                    <a:pt x="1899959" y="7891777"/>
                  </a:lnTo>
                  <a:lnTo>
                    <a:pt x="1890654" y="7911159"/>
                  </a:lnTo>
                  <a:lnTo>
                    <a:pt x="1880714" y="7931880"/>
                  </a:lnTo>
                  <a:lnTo>
                    <a:pt x="1856631" y="7951929"/>
                  </a:lnTo>
                  <a:lnTo>
                    <a:pt x="1837603" y="7975090"/>
                  </a:lnTo>
                  <a:lnTo>
                    <a:pt x="1819099" y="7998847"/>
                  </a:lnTo>
                  <a:lnTo>
                    <a:pt x="1809865" y="8024783"/>
                  </a:lnTo>
                  <a:lnTo>
                    <a:pt x="1814482" y="8053978"/>
                  </a:lnTo>
                  <a:lnTo>
                    <a:pt x="1829616" y="8098633"/>
                  </a:lnTo>
                  <a:lnTo>
                    <a:pt x="1845023" y="8122895"/>
                  </a:lnTo>
                  <a:lnTo>
                    <a:pt x="1859366" y="8139672"/>
                  </a:lnTo>
                  <a:lnTo>
                    <a:pt x="1873709" y="8156443"/>
                  </a:lnTo>
                  <a:lnTo>
                    <a:pt x="1893376" y="8181840"/>
                  </a:lnTo>
                  <a:lnTo>
                    <a:pt x="1902973" y="8203777"/>
                  </a:lnTo>
                  <a:lnTo>
                    <a:pt x="1924655" y="8241691"/>
                  </a:lnTo>
                  <a:lnTo>
                    <a:pt x="1940511" y="8273103"/>
                  </a:lnTo>
                  <a:lnTo>
                    <a:pt x="1942087" y="8307191"/>
                  </a:lnTo>
                  <a:lnTo>
                    <a:pt x="1960023" y="8339626"/>
                  </a:lnTo>
                  <a:lnTo>
                    <a:pt x="1993349" y="8351073"/>
                  </a:lnTo>
                  <a:lnTo>
                    <a:pt x="2032794" y="8344491"/>
                  </a:lnTo>
                  <a:lnTo>
                    <a:pt x="2067484" y="8336901"/>
                  </a:lnTo>
                  <a:lnTo>
                    <a:pt x="2145435" y="8336308"/>
                  </a:lnTo>
                  <a:lnTo>
                    <a:pt x="2203503" y="8340978"/>
                  </a:lnTo>
                  <a:lnTo>
                    <a:pt x="2261565" y="8345620"/>
                  </a:lnTo>
                  <a:lnTo>
                    <a:pt x="2318265" y="8354555"/>
                  </a:lnTo>
                  <a:lnTo>
                    <a:pt x="2338155" y="8379062"/>
                  </a:lnTo>
                  <a:lnTo>
                    <a:pt x="2329908" y="8416772"/>
                  </a:lnTo>
                  <a:lnTo>
                    <a:pt x="2308328" y="8447452"/>
                  </a:lnTo>
                  <a:lnTo>
                    <a:pt x="2276950" y="8468831"/>
                  </a:lnTo>
                  <a:lnTo>
                    <a:pt x="2272221" y="8500091"/>
                  </a:lnTo>
                  <a:lnTo>
                    <a:pt x="2272860" y="8524604"/>
                  </a:lnTo>
                  <a:lnTo>
                    <a:pt x="2273521" y="8549111"/>
                  </a:lnTo>
                  <a:lnTo>
                    <a:pt x="2275992" y="8574145"/>
                  </a:lnTo>
                  <a:lnTo>
                    <a:pt x="2312541" y="8594655"/>
                  </a:lnTo>
                  <a:lnTo>
                    <a:pt x="2361748" y="8584901"/>
                  </a:lnTo>
                  <a:lnTo>
                    <a:pt x="2408880" y="8576291"/>
                  </a:lnTo>
                  <a:lnTo>
                    <a:pt x="2456021" y="8567683"/>
                  </a:lnTo>
                  <a:lnTo>
                    <a:pt x="2500812" y="8559703"/>
                  </a:lnTo>
                  <a:lnTo>
                    <a:pt x="2523136" y="8570855"/>
                  </a:lnTo>
                  <a:lnTo>
                    <a:pt x="2545501" y="8582021"/>
                  </a:lnTo>
                  <a:lnTo>
                    <a:pt x="2562033" y="8630018"/>
                  </a:lnTo>
                  <a:lnTo>
                    <a:pt x="2587067" y="8649744"/>
                  </a:lnTo>
                  <a:lnTo>
                    <a:pt x="2604961" y="8663857"/>
                  </a:lnTo>
                  <a:lnTo>
                    <a:pt x="2634677" y="8670149"/>
                  </a:lnTo>
                  <a:lnTo>
                    <a:pt x="2665410" y="8671969"/>
                  </a:lnTo>
                  <a:lnTo>
                    <a:pt x="2697185" y="8683000"/>
                  </a:lnTo>
                  <a:lnTo>
                    <a:pt x="2716297" y="8709591"/>
                  </a:lnTo>
                  <a:lnTo>
                    <a:pt x="2738202" y="8732542"/>
                  </a:lnTo>
                  <a:lnTo>
                    <a:pt x="2776684" y="8733044"/>
                  </a:lnTo>
                  <a:lnTo>
                    <a:pt x="2894007" y="8728843"/>
                  </a:lnTo>
                  <a:lnTo>
                    <a:pt x="2920842" y="8770186"/>
                  </a:lnTo>
                  <a:lnTo>
                    <a:pt x="2931012" y="8812968"/>
                  </a:lnTo>
                  <a:lnTo>
                    <a:pt x="2938004" y="8855136"/>
                  </a:lnTo>
                  <a:lnTo>
                    <a:pt x="2944987" y="8897297"/>
                  </a:lnTo>
                  <a:lnTo>
                    <a:pt x="2950078" y="8939444"/>
                  </a:lnTo>
                  <a:lnTo>
                    <a:pt x="2955690" y="8970750"/>
                  </a:lnTo>
                  <a:lnTo>
                    <a:pt x="2957386" y="9007647"/>
                  </a:lnTo>
                  <a:lnTo>
                    <a:pt x="2974724" y="9072003"/>
                  </a:lnTo>
                  <a:lnTo>
                    <a:pt x="3011463" y="9164661"/>
                  </a:lnTo>
                  <a:lnTo>
                    <a:pt x="3007367" y="9207421"/>
                  </a:lnTo>
                  <a:lnTo>
                    <a:pt x="3003188" y="9251034"/>
                  </a:lnTo>
                  <a:lnTo>
                    <a:pt x="2972442" y="9289336"/>
                  </a:lnTo>
                  <a:lnTo>
                    <a:pt x="2972011" y="9333925"/>
                  </a:lnTo>
                  <a:lnTo>
                    <a:pt x="2971543" y="9373262"/>
                  </a:lnTo>
                  <a:lnTo>
                    <a:pt x="2980467" y="9410156"/>
                  </a:lnTo>
                  <a:lnTo>
                    <a:pt x="2988336" y="9448182"/>
                  </a:lnTo>
                  <a:lnTo>
                    <a:pt x="2996190" y="9486201"/>
                  </a:lnTo>
                  <a:lnTo>
                    <a:pt x="3002989" y="9526028"/>
                  </a:lnTo>
                  <a:lnTo>
                    <a:pt x="2999210" y="9569238"/>
                  </a:lnTo>
                  <a:lnTo>
                    <a:pt x="2998748" y="9593308"/>
                  </a:lnTo>
                  <a:lnTo>
                    <a:pt x="3002394" y="9621331"/>
                  </a:lnTo>
                  <a:lnTo>
                    <a:pt x="3015531" y="9639968"/>
                  </a:lnTo>
                  <a:lnTo>
                    <a:pt x="3054964" y="9646861"/>
                  </a:lnTo>
                  <a:lnTo>
                    <a:pt x="3084897" y="9648126"/>
                  </a:lnTo>
                  <a:lnTo>
                    <a:pt x="3138674" y="9651220"/>
                  </a:lnTo>
                  <a:lnTo>
                    <a:pt x="3177391" y="9653568"/>
                  </a:lnTo>
                  <a:lnTo>
                    <a:pt x="3200844" y="9633860"/>
                  </a:lnTo>
                  <a:lnTo>
                    <a:pt x="3223100" y="9611914"/>
                  </a:lnTo>
                  <a:lnTo>
                    <a:pt x="3241316" y="9581479"/>
                  </a:lnTo>
                  <a:lnTo>
                    <a:pt x="3283016" y="9511979"/>
                  </a:lnTo>
                  <a:lnTo>
                    <a:pt x="3297985" y="9436021"/>
                  </a:lnTo>
                  <a:lnTo>
                    <a:pt x="3344689" y="9369287"/>
                  </a:lnTo>
                  <a:lnTo>
                    <a:pt x="3364800" y="9340554"/>
                  </a:lnTo>
                  <a:lnTo>
                    <a:pt x="3393031" y="9321895"/>
                  </a:lnTo>
                  <a:lnTo>
                    <a:pt x="3415420" y="9295841"/>
                  </a:lnTo>
                  <a:lnTo>
                    <a:pt x="3465966" y="9237264"/>
                  </a:lnTo>
                  <a:lnTo>
                    <a:pt x="3514384" y="9171637"/>
                  </a:lnTo>
                  <a:lnTo>
                    <a:pt x="3540560" y="9098612"/>
                  </a:lnTo>
                  <a:lnTo>
                    <a:pt x="3567426" y="9023755"/>
                  </a:lnTo>
                  <a:lnTo>
                    <a:pt x="3518117" y="8987627"/>
                  </a:lnTo>
                  <a:lnTo>
                    <a:pt x="3499756" y="8923141"/>
                  </a:lnTo>
                  <a:lnTo>
                    <a:pt x="3491176" y="8893220"/>
                  </a:lnTo>
                  <a:lnTo>
                    <a:pt x="3487040" y="8868437"/>
                  </a:lnTo>
                  <a:lnTo>
                    <a:pt x="3467113" y="8842895"/>
                  </a:lnTo>
                  <a:lnTo>
                    <a:pt x="3451256" y="8822700"/>
                  </a:lnTo>
                  <a:lnTo>
                    <a:pt x="3415420" y="8796646"/>
                  </a:lnTo>
                  <a:lnTo>
                    <a:pt x="3367444" y="8755071"/>
                  </a:lnTo>
                  <a:lnTo>
                    <a:pt x="3371730" y="8663811"/>
                  </a:lnTo>
                  <a:lnTo>
                    <a:pt x="3390941" y="8610298"/>
                  </a:lnTo>
                  <a:lnTo>
                    <a:pt x="3401309" y="8581261"/>
                  </a:lnTo>
                  <a:lnTo>
                    <a:pt x="3418666" y="8534206"/>
                  </a:lnTo>
                  <a:lnTo>
                    <a:pt x="3458946" y="8543645"/>
                  </a:lnTo>
                  <a:lnTo>
                    <a:pt x="3457991" y="8581605"/>
                  </a:lnTo>
                  <a:lnTo>
                    <a:pt x="3457510" y="8679922"/>
                  </a:lnTo>
                  <a:lnTo>
                    <a:pt x="3483434" y="8708233"/>
                  </a:lnTo>
                  <a:lnTo>
                    <a:pt x="3498351" y="8724511"/>
                  </a:lnTo>
                  <a:lnTo>
                    <a:pt x="3523134" y="8735351"/>
                  </a:lnTo>
                  <a:lnTo>
                    <a:pt x="3539201" y="8750401"/>
                  </a:lnTo>
                  <a:lnTo>
                    <a:pt x="3552556" y="8767739"/>
                  </a:lnTo>
                  <a:lnTo>
                    <a:pt x="3564670" y="8790439"/>
                  </a:lnTo>
                  <a:lnTo>
                    <a:pt x="3582734" y="8815684"/>
                  </a:lnTo>
                  <a:lnTo>
                    <a:pt x="3593186" y="8835239"/>
                  </a:lnTo>
                  <a:lnTo>
                    <a:pt x="3605387" y="8864143"/>
                  </a:lnTo>
                  <a:lnTo>
                    <a:pt x="3626253" y="8875534"/>
                  </a:lnTo>
                  <a:lnTo>
                    <a:pt x="3657244" y="8892448"/>
                  </a:lnTo>
                  <a:lnTo>
                    <a:pt x="3736904" y="8904227"/>
                  </a:lnTo>
                  <a:lnTo>
                    <a:pt x="3773156" y="8905461"/>
                  </a:lnTo>
                  <a:lnTo>
                    <a:pt x="3788138" y="8936740"/>
                  </a:lnTo>
                  <a:lnTo>
                    <a:pt x="3767656" y="8969095"/>
                  </a:lnTo>
                  <a:lnTo>
                    <a:pt x="3725692" y="9003012"/>
                  </a:lnTo>
                  <a:lnTo>
                    <a:pt x="3714685" y="9037397"/>
                  </a:lnTo>
                  <a:lnTo>
                    <a:pt x="3710109" y="9065709"/>
                  </a:lnTo>
                  <a:lnTo>
                    <a:pt x="3722288" y="9139032"/>
                  </a:lnTo>
                  <a:lnTo>
                    <a:pt x="3726957" y="9196079"/>
                  </a:lnTo>
                  <a:lnTo>
                    <a:pt x="3724213" y="9250953"/>
                  </a:lnTo>
                  <a:lnTo>
                    <a:pt x="3722821" y="9277730"/>
                  </a:lnTo>
                  <a:lnTo>
                    <a:pt x="3716676" y="9307353"/>
                  </a:lnTo>
                  <a:lnTo>
                    <a:pt x="3717414" y="9333925"/>
                  </a:lnTo>
                  <a:lnTo>
                    <a:pt x="3725342" y="9379318"/>
                  </a:lnTo>
                  <a:lnTo>
                    <a:pt x="3746866" y="9406482"/>
                  </a:lnTo>
                  <a:lnTo>
                    <a:pt x="3781841" y="9421104"/>
                  </a:lnTo>
                  <a:lnTo>
                    <a:pt x="3811734" y="9419994"/>
                  </a:lnTo>
                  <a:lnTo>
                    <a:pt x="3837112" y="9435934"/>
                  </a:lnTo>
                  <a:lnTo>
                    <a:pt x="3855393" y="9453530"/>
                  </a:lnTo>
                  <a:lnTo>
                    <a:pt x="3882973" y="9456339"/>
                  </a:lnTo>
                  <a:lnTo>
                    <a:pt x="3912003" y="9445800"/>
                  </a:lnTo>
                  <a:lnTo>
                    <a:pt x="3956178" y="9362230"/>
                  </a:lnTo>
                  <a:lnTo>
                    <a:pt x="3989456" y="9337999"/>
                  </a:lnTo>
                  <a:lnTo>
                    <a:pt x="4020775" y="9357474"/>
                  </a:lnTo>
                  <a:lnTo>
                    <a:pt x="4008779" y="9390501"/>
                  </a:lnTo>
                  <a:lnTo>
                    <a:pt x="4000336" y="9414178"/>
                  </a:lnTo>
                  <a:lnTo>
                    <a:pt x="3962041" y="9520745"/>
                  </a:lnTo>
                  <a:lnTo>
                    <a:pt x="3926539" y="9577144"/>
                  </a:lnTo>
                  <a:lnTo>
                    <a:pt x="3820790" y="9626369"/>
                  </a:lnTo>
                  <a:lnTo>
                    <a:pt x="3785171" y="9682183"/>
                  </a:lnTo>
                  <a:lnTo>
                    <a:pt x="3814360" y="9713000"/>
                  </a:lnTo>
                  <a:lnTo>
                    <a:pt x="3793586" y="9765105"/>
                  </a:lnTo>
                  <a:lnTo>
                    <a:pt x="3721789" y="9824704"/>
                  </a:lnTo>
                  <a:lnTo>
                    <a:pt x="3711076" y="9854461"/>
                  </a:lnTo>
                  <a:lnTo>
                    <a:pt x="3701765" y="9879876"/>
                  </a:lnTo>
                  <a:lnTo>
                    <a:pt x="3668152" y="9973691"/>
                  </a:lnTo>
                  <a:lnTo>
                    <a:pt x="3614580" y="10021080"/>
                  </a:lnTo>
                  <a:lnTo>
                    <a:pt x="3575953" y="10088837"/>
                  </a:lnTo>
                  <a:lnTo>
                    <a:pt x="3536721" y="10157444"/>
                  </a:lnTo>
                  <a:lnTo>
                    <a:pt x="3527112" y="10228509"/>
                  </a:lnTo>
                  <a:lnTo>
                    <a:pt x="3460338" y="10280624"/>
                  </a:lnTo>
                  <a:lnTo>
                    <a:pt x="3397765" y="10329427"/>
                  </a:lnTo>
                  <a:lnTo>
                    <a:pt x="3354782" y="10325220"/>
                  </a:lnTo>
                  <a:lnTo>
                    <a:pt x="3287592" y="10347277"/>
                  </a:lnTo>
                  <a:lnTo>
                    <a:pt x="3208019" y="10373375"/>
                  </a:lnTo>
                  <a:lnTo>
                    <a:pt x="2994298" y="10428460"/>
                  </a:lnTo>
                  <a:lnTo>
                    <a:pt x="2943458" y="10481933"/>
                  </a:lnTo>
                  <a:lnTo>
                    <a:pt x="2953414" y="10513900"/>
                  </a:lnTo>
                  <a:lnTo>
                    <a:pt x="2974749" y="10541780"/>
                  </a:lnTo>
                  <a:lnTo>
                    <a:pt x="2923369" y="10588500"/>
                  </a:lnTo>
                  <a:lnTo>
                    <a:pt x="2890084" y="10572389"/>
                  </a:lnTo>
                  <a:lnTo>
                    <a:pt x="2840094" y="10607078"/>
                  </a:lnTo>
                  <a:lnTo>
                    <a:pt x="2827729" y="10654040"/>
                  </a:lnTo>
                  <a:lnTo>
                    <a:pt x="2814151" y="10670659"/>
                  </a:lnTo>
                  <a:lnTo>
                    <a:pt x="2793852" y="10677803"/>
                  </a:lnTo>
                  <a:lnTo>
                    <a:pt x="2763844" y="10689790"/>
                  </a:lnTo>
                  <a:lnTo>
                    <a:pt x="2747430" y="10712272"/>
                  </a:lnTo>
                  <a:lnTo>
                    <a:pt x="2723121" y="10730851"/>
                  </a:lnTo>
                  <a:lnTo>
                    <a:pt x="2717779" y="10760309"/>
                  </a:lnTo>
                  <a:lnTo>
                    <a:pt x="2737095" y="10811190"/>
                  </a:lnTo>
                  <a:lnTo>
                    <a:pt x="2758350" y="10814759"/>
                  </a:lnTo>
                  <a:lnTo>
                    <a:pt x="2796562" y="10819270"/>
                  </a:lnTo>
                  <a:lnTo>
                    <a:pt x="2838426" y="10801925"/>
                  </a:lnTo>
                  <a:lnTo>
                    <a:pt x="2870867" y="10771958"/>
                  </a:lnTo>
                  <a:lnTo>
                    <a:pt x="2910818" y="10753972"/>
                  </a:lnTo>
                  <a:lnTo>
                    <a:pt x="2930631" y="10745048"/>
                  </a:lnTo>
                  <a:lnTo>
                    <a:pt x="2953243" y="10740928"/>
                  </a:lnTo>
                  <a:lnTo>
                    <a:pt x="2973391" y="10729493"/>
                  </a:lnTo>
                  <a:lnTo>
                    <a:pt x="3000425" y="10710743"/>
                  </a:lnTo>
                  <a:lnTo>
                    <a:pt x="3082504" y="10668284"/>
                  </a:lnTo>
                  <a:lnTo>
                    <a:pt x="3159144" y="10645795"/>
                  </a:lnTo>
                  <a:lnTo>
                    <a:pt x="3226383" y="10609795"/>
                  </a:lnTo>
                  <a:lnTo>
                    <a:pt x="3349867" y="10543656"/>
                  </a:lnTo>
                  <a:lnTo>
                    <a:pt x="3450150" y="10448273"/>
                  </a:lnTo>
                  <a:lnTo>
                    <a:pt x="3518831" y="10325514"/>
                  </a:lnTo>
                  <a:lnTo>
                    <a:pt x="3782712" y="9853524"/>
                  </a:lnTo>
                  <a:lnTo>
                    <a:pt x="3794218" y="9832868"/>
                  </a:lnTo>
                  <a:lnTo>
                    <a:pt x="3812844" y="9815477"/>
                  </a:lnTo>
                  <a:lnTo>
                    <a:pt x="3826238" y="9796393"/>
                  </a:lnTo>
                  <a:lnTo>
                    <a:pt x="3853895" y="9756910"/>
                  </a:lnTo>
                  <a:lnTo>
                    <a:pt x="3877460" y="9709939"/>
                  </a:lnTo>
                  <a:lnTo>
                    <a:pt x="3902407" y="9668537"/>
                  </a:lnTo>
                  <a:lnTo>
                    <a:pt x="3967011" y="9561378"/>
                  </a:lnTo>
                  <a:lnTo>
                    <a:pt x="4077739" y="9342300"/>
                  </a:lnTo>
                  <a:lnTo>
                    <a:pt x="4154045" y="9257753"/>
                  </a:lnTo>
                  <a:lnTo>
                    <a:pt x="4214652" y="9190597"/>
                  </a:lnTo>
                  <a:lnTo>
                    <a:pt x="4293084" y="9142988"/>
                  </a:lnTo>
                  <a:lnTo>
                    <a:pt x="4353995" y="9075491"/>
                  </a:lnTo>
                  <a:lnTo>
                    <a:pt x="4417148" y="9005399"/>
                  </a:lnTo>
                  <a:lnTo>
                    <a:pt x="4448268" y="8899558"/>
                  </a:lnTo>
                  <a:lnTo>
                    <a:pt x="4522658" y="8841537"/>
                  </a:lnTo>
                  <a:lnTo>
                    <a:pt x="4568342" y="8805830"/>
                  </a:lnTo>
                  <a:lnTo>
                    <a:pt x="4627988" y="8804512"/>
                  </a:lnTo>
                  <a:lnTo>
                    <a:pt x="4681801" y="8789847"/>
                  </a:lnTo>
                  <a:lnTo>
                    <a:pt x="4722097" y="8778877"/>
                  </a:lnTo>
                  <a:lnTo>
                    <a:pt x="4769492" y="8757334"/>
                  </a:lnTo>
                  <a:lnTo>
                    <a:pt x="4805580" y="8736796"/>
                  </a:lnTo>
                  <a:lnTo>
                    <a:pt x="4831625" y="8721966"/>
                  </a:lnTo>
                  <a:lnTo>
                    <a:pt x="4977259" y="8631171"/>
                  </a:lnTo>
                  <a:lnTo>
                    <a:pt x="4996635" y="8615957"/>
                  </a:lnTo>
                  <a:lnTo>
                    <a:pt x="5017772" y="8599418"/>
                  </a:lnTo>
                  <a:lnTo>
                    <a:pt x="5069105" y="8566391"/>
                  </a:lnTo>
                  <a:lnTo>
                    <a:pt x="5098151" y="8529202"/>
                  </a:lnTo>
                  <a:lnTo>
                    <a:pt x="5132028" y="8478362"/>
                  </a:lnTo>
                  <a:lnTo>
                    <a:pt x="5152632" y="8447418"/>
                  </a:lnTo>
                  <a:lnTo>
                    <a:pt x="5169855" y="8414561"/>
                  </a:lnTo>
                  <a:lnTo>
                    <a:pt x="5194589" y="8385868"/>
                  </a:lnTo>
                  <a:lnTo>
                    <a:pt x="5210067" y="8367891"/>
                  </a:lnTo>
                  <a:lnTo>
                    <a:pt x="5229672" y="8351653"/>
                  </a:lnTo>
                  <a:lnTo>
                    <a:pt x="5243563" y="8332817"/>
                  </a:lnTo>
                  <a:lnTo>
                    <a:pt x="5306805" y="8247467"/>
                  </a:lnTo>
                  <a:lnTo>
                    <a:pt x="5335548" y="8192255"/>
                  </a:lnTo>
                  <a:lnTo>
                    <a:pt x="5416309" y="8116545"/>
                  </a:lnTo>
                  <a:lnTo>
                    <a:pt x="5434419" y="8099545"/>
                  </a:lnTo>
                  <a:lnTo>
                    <a:pt x="5460976" y="8075400"/>
                  </a:lnTo>
                  <a:lnTo>
                    <a:pt x="5481598" y="8062145"/>
                  </a:lnTo>
                  <a:lnTo>
                    <a:pt x="5499996" y="8050279"/>
                  </a:lnTo>
                  <a:lnTo>
                    <a:pt x="5523812" y="8050577"/>
                  </a:lnTo>
                  <a:lnTo>
                    <a:pt x="5542806" y="8036299"/>
                  </a:lnTo>
                  <a:lnTo>
                    <a:pt x="5569198" y="8016486"/>
                  </a:lnTo>
                  <a:lnTo>
                    <a:pt x="5586794" y="7982569"/>
                  </a:lnTo>
                  <a:lnTo>
                    <a:pt x="5614895" y="7961485"/>
                  </a:lnTo>
                  <a:lnTo>
                    <a:pt x="5657742" y="7929350"/>
                  </a:lnTo>
                  <a:lnTo>
                    <a:pt x="5703727" y="7919574"/>
                  </a:lnTo>
                  <a:lnTo>
                    <a:pt x="5750915" y="7897554"/>
                  </a:lnTo>
                  <a:lnTo>
                    <a:pt x="5775527" y="7886165"/>
                  </a:lnTo>
                  <a:lnTo>
                    <a:pt x="5799842" y="7871289"/>
                  </a:lnTo>
                  <a:lnTo>
                    <a:pt x="5824367" y="7859469"/>
                  </a:lnTo>
                  <a:lnTo>
                    <a:pt x="5873422" y="7835840"/>
                  </a:lnTo>
                  <a:lnTo>
                    <a:pt x="5917456" y="7797544"/>
                  </a:lnTo>
                  <a:lnTo>
                    <a:pt x="5969912" y="7779223"/>
                  </a:lnTo>
                  <a:lnTo>
                    <a:pt x="6002502" y="7767788"/>
                  </a:lnTo>
                  <a:lnTo>
                    <a:pt x="6050335" y="7776507"/>
                  </a:lnTo>
                  <a:lnTo>
                    <a:pt x="6084169" y="7776507"/>
                  </a:lnTo>
                  <a:lnTo>
                    <a:pt x="6130615" y="7776507"/>
                  </a:lnTo>
                  <a:lnTo>
                    <a:pt x="6184820" y="7763407"/>
                  </a:lnTo>
                  <a:lnTo>
                    <a:pt x="6231068" y="7757460"/>
                  </a:lnTo>
                  <a:lnTo>
                    <a:pt x="6268889" y="7752574"/>
                  </a:lnTo>
                  <a:lnTo>
                    <a:pt x="6306133" y="7756570"/>
                  </a:lnTo>
                  <a:lnTo>
                    <a:pt x="6343960" y="7753383"/>
                  </a:lnTo>
                  <a:lnTo>
                    <a:pt x="6411544" y="7747771"/>
                  </a:lnTo>
                  <a:lnTo>
                    <a:pt x="6467866" y="7682652"/>
                  </a:lnTo>
                  <a:lnTo>
                    <a:pt x="6531664" y="7677214"/>
                  </a:lnTo>
                  <a:lnTo>
                    <a:pt x="6568821" y="7673980"/>
                  </a:lnTo>
                  <a:lnTo>
                    <a:pt x="6642953" y="7750660"/>
                  </a:lnTo>
                  <a:lnTo>
                    <a:pt x="6746578" y="7750660"/>
                  </a:lnTo>
                  <a:lnTo>
                    <a:pt x="6845366" y="7750660"/>
                  </a:lnTo>
                  <a:lnTo>
                    <a:pt x="6943729" y="7634199"/>
                  </a:lnTo>
                  <a:lnTo>
                    <a:pt x="7041747" y="7726181"/>
                  </a:lnTo>
                  <a:lnTo>
                    <a:pt x="7055347" y="7745225"/>
                  </a:lnTo>
                  <a:lnTo>
                    <a:pt x="7070645" y="7768176"/>
                  </a:lnTo>
                  <a:lnTo>
                    <a:pt x="7075026" y="7793170"/>
                  </a:lnTo>
                  <a:lnTo>
                    <a:pt x="7089351" y="7815956"/>
                  </a:lnTo>
                  <a:lnTo>
                    <a:pt x="7101973" y="7835933"/>
                  </a:lnTo>
                  <a:lnTo>
                    <a:pt x="7121274" y="7848087"/>
                  </a:lnTo>
                  <a:lnTo>
                    <a:pt x="7132877" y="7867639"/>
                  </a:lnTo>
                  <a:lnTo>
                    <a:pt x="7142364" y="7887874"/>
                  </a:lnTo>
                  <a:lnTo>
                    <a:pt x="7148643" y="7944366"/>
                  </a:lnTo>
                  <a:lnTo>
                    <a:pt x="7123668" y="7978882"/>
                  </a:lnTo>
                  <a:lnTo>
                    <a:pt x="7139667" y="8022700"/>
                  </a:lnTo>
                  <a:lnTo>
                    <a:pt x="7180347" y="8013395"/>
                  </a:lnTo>
                  <a:lnTo>
                    <a:pt x="7171969" y="7951296"/>
                  </a:lnTo>
                  <a:lnTo>
                    <a:pt x="7209039" y="7919332"/>
                  </a:lnTo>
                  <a:lnTo>
                    <a:pt x="7244402" y="7924771"/>
                  </a:lnTo>
                  <a:lnTo>
                    <a:pt x="7259024" y="7967150"/>
                  </a:lnTo>
                  <a:lnTo>
                    <a:pt x="7238197" y="7988110"/>
                  </a:lnTo>
                  <a:lnTo>
                    <a:pt x="7233522" y="8026789"/>
                  </a:lnTo>
                  <a:lnTo>
                    <a:pt x="7281168" y="7974160"/>
                  </a:lnTo>
                  <a:lnTo>
                    <a:pt x="7266720" y="7911761"/>
                  </a:lnTo>
                  <a:lnTo>
                    <a:pt x="7301527" y="7854034"/>
                  </a:lnTo>
                  <a:lnTo>
                    <a:pt x="7325460" y="7814381"/>
                  </a:lnTo>
                  <a:lnTo>
                    <a:pt x="7352835" y="7769456"/>
                  </a:lnTo>
                  <a:lnTo>
                    <a:pt x="7383147" y="7734339"/>
                  </a:lnTo>
                  <a:lnTo>
                    <a:pt x="7408398" y="7705057"/>
                  </a:lnTo>
                  <a:lnTo>
                    <a:pt x="7456938" y="7660765"/>
                  </a:lnTo>
                  <a:lnTo>
                    <a:pt x="7475634" y="7629604"/>
                  </a:lnTo>
                  <a:lnTo>
                    <a:pt x="7494963" y="7601891"/>
                  </a:lnTo>
                  <a:lnTo>
                    <a:pt x="7511554" y="7577021"/>
                  </a:lnTo>
                  <a:lnTo>
                    <a:pt x="7532936" y="7545402"/>
                  </a:lnTo>
                  <a:lnTo>
                    <a:pt x="7551809" y="7528953"/>
                  </a:lnTo>
                  <a:lnTo>
                    <a:pt x="7619690" y="7469487"/>
                  </a:lnTo>
                  <a:lnTo>
                    <a:pt x="7686083" y="7421409"/>
                  </a:lnTo>
                  <a:lnTo>
                    <a:pt x="7770801" y="7387492"/>
                  </a:lnTo>
                  <a:lnTo>
                    <a:pt x="7820060" y="7367766"/>
                  </a:lnTo>
                  <a:lnTo>
                    <a:pt x="7896111" y="7354802"/>
                  </a:lnTo>
                  <a:lnTo>
                    <a:pt x="7934025" y="7337166"/>
                  </a:lnTo>
                  <a:lnTo>
                    <a:pt x="7986294" y="7312805"/>
                  </a:lnTo>
                  <a:lnTo>
                    <a:pt x="8078124" y="7240589"/>
                  </a:lnTo>
                  <a:lnTo>
                    <a:pt x="8124453" y="7232425"/>
                  </a:lnTo>
                  <a:lnTo>
                    <a:pt x="8184161" y="7221887"/>
                  </a:lnTo>
                  <a:lnTo>
                    <a:pt x="8285175" y="7260911"/>
                  </a:lnTo>
                  <a:lnTo>
                    <a:pt x="8339361" y="7239231"/>
                  </a:lnTo>
                  <a:lnTo>
                    <a:pt x="8376720" y="7224268"/>
                  </a:lnTo>
                  <a:lnTo>
                    <a:pt x="8379489" y="7179976"/>
                  </a:lnTo>
                  <a:lnTo>
                    <a:pt x="8403292" y="7153537"/>
                  </a:lnTo>
                  <a:lnTo>
                    <a:pt x="8431253" y="7134196"/>
                  </a:lnTo>
                  <a:lnTo>
                    <a:pt x="8465608" y="7129480"/>
                  </a:lnTo>
                  <a:lnTo>
                    <a:pt x="8487079" y="7126454"/>
                  </a:lnTo>
                  <a:lnTo>
                    <a:pt x="8508024" y="7134490"/>
                  </a:lnTo>
                  <a:lnTo>
                    <a:pt x="8546328" y="7154638"/>
                  </a:lnTo>
                  <a:lnTo>
                    <a:pt x="8609528" y="7169267"/>
                  </a:lnTo>
                  <a:lnTo>
                    <a:pt x="8710402" y="7119279"/>
                  </a:lnTo>
                  <a:lnTo>
                    <a:pt x="8812709" y="7152179"/>
                  </a:lnTo>
                  <a:lnTo>
                    <a:pt x="8929136" y="7189585"/>
                  </a:lnTo>
                  <a:lnTo>
                    <a:pt x="8942865" y="7209983"/>
                  </a:lnTo>
                  <a:lnTo>
                    <a:pt x="9011302" y="7307239"/>
                  </a:lnTo>
                  <a:lnTo>
                    <a:pt x="9027781" y="7330742"/>
                  </a:lnTo>
                  <a:lnTo>
                    <a:pt x="9057472" y="7342391"/>
                  </a:lnTo>
                  <a:lnTo>
                    <a:pt x="9073868" y="7367087"/>
                  </a:lnTo>
                  <a:lnTo>
                    <a:pt x="9140475" y="7466935"/>
                  </a:lnTo>
                  <a:lnTo>
                    <a:pt x="9120185" y="7563931"/>
                  </a:lnTo>
                  <a:lnTo>
                    <a:pt x="9072516" y="7669056"/>
                  </a:lnTo>
                  <a:lnTo>
                    <a:pt x="9062610" y="7690984"/>
                  </a:lnTo>
                  <a:lnTo>
                    <a:pt x="9044416" y="7712027"/>
                  </a:lnTo>
                  <a:lnTo>
                    <a:pt x="9033071" y="7732978"/>
                  </a:lnTo>
                  <a:lnTo>
                    <a:pt x="9012120" y="7771363"/>
                  </a:lnTo>
                  <a:lnTo>
                    <a:pt x="9023167" y="7814551"/>
                  </a:lnTo>
                  <a:lnTo>
                    <a:pt x="8997702" y="7849960"/>
                  </a:lnTo>
                  <a:lnTo>
                    <a:pt x="8961754" y="7876439"/>
                  </a:lnTo>
                  <a:lnTo>
                    <a:pt x="8922553" y="7817658"/>
                  </a:lnTo>
                  <a:lnTo>
                    <a:pt x="8910399" y="7840438"/>
                  </a:lnTo>
                  <a:lnTo>
                    <a:pt x="8934624" y="7877586"/>
                  </a:lnTo>
                  <a:lnTo>
                    <a:pt x="8958260" y="7888044"/>
                  </a:lnTo>
                  <a:lnTo>
                    <a:pt x="9006502" y="7896593"/>
                  </a:lnTo>
                  <a:lnTo>
                    <a:pt x="9050964" y="7853107"/>
                  </a:lnTo>
                  <a:lnTo>
                    <a:pt x="9155283" y="7543315"/>
                  </a:lnTo>
                  <a:lnTo>
                    <a:pt x="9184048" y="7475902"/>
                  </a:lnTo>
                  <a:lnTo>
                    <a:pt x="9201650" y="7434674"/>
                  </a:lnTo>
                  <a:lnTo>
                    <a:pt x="9202291" y="7386345"/>
                  </a:lnTo>
                  <a:lnTo>
                    <a:pt x="9218058" y="7345324"/>
                  </a:lnTo>
                  <a:lnTo>
                    <a:pt x="9246444" y="7271449"/>
                  </a:lnTo>
                  <a:lnTo>
                    <a:pt x="9315618" y="7178829"/>
                  </a:lnTo>
                  <a:lnTo>
                    <a:pt x="9324151" y="7105928"/>
                  </a:lnTo>
                  <a:lnTo>
                    <a:pt x="9313829" y="7075244"/>
                  </a:lnTo>
                  <a:lnTo>
                    <a:pt x="9289390" y="7060616"/>
                  </a:lnTo>
                  <a:lnTo>
                    <a:pt x="9294230" y="7025675"/>
                  </a:lnTo>
                  <a:lnTo>
                    <a:pt x="9332910" y="6996561"/>
                  </a:lnTo>
                  <a:lnTo>
                    <a:pt x="9365342" y="7019307"/>
                  </a:lnTo>
                  <a:lnTo>
                    <a:pt x="9397604" y="7005277"/>
                  </a:lnTo>
                  <a:lnTo>
                    <a:pt x="9440109" y="6986738"/>
                  </a:lnTo>
                  <a:lnTo>
                    <a:pt x="9468381" y="6887619"/>
                  </a:lnTo>
                  <a:lnTo>
                    <a:pt x="9520018" y="6848852"/>
                  </a:lnTo>
                  <a:lnTo>
                    <a:pt x="9572982" y="6809152"/>
                  </a:lnTo>
                  <a:lnTo>
                    <a:pt x="9623912" y="6813025"/>
                  </a:lnTo>
                  <a:lnTo>
                    <a:pt x="9658763" y="6791721"/>
                  </a:lnTo>
                  <a:lnTo>
                    <a:pt x="9702965" y="6764690"/>
                  </a:lnTo>
                  <a:lnTo>
                    <a:pt x="9724427" y="6718782"/>
                  </a:lnTo>
                  <a:lnTo>
                    <a:pt x="9774377" y="6693789"/>
                  </a:lnTo>
                  <a:lnTo>
                    <a:pt x="9804509" y="6678745"/>
                  </a:lnTo>
                  <a:lnTo>
                    <a:pt x="9836185" y="6668885"/>
                  </a:lnTo>
                  <a:lnTo>
                    <a:pt x="9865516" y="6651627"/>
                  </a:lnTo>
                  <a:lnTo>
                    <a:pt x="9891115" y="6636490"/>
                  </a:lnTo>
                  <a:lnTo>
                    <a:pt x="9914543" y="6618429"/>
                  </a:lnTo>
                  <a:lnTo>
                    <a:pt x="9940327" y="6604017"/>
                  </a:lnTo>
                  <a:lnTo>
                    <a:pt x="9885918" y="6504724"/>
                  </a:lnTo>
                  <a:lnTo>
                    <a:pt x="9836953" y="6408150"/>
                  </a:lnTo>
                  <a:lnTo>
                    <a:pt x="9816620" y="6355778"/>
                  </a:lnTo>
                  <a:lnTo>
                    <a:pt x="9826027" y="6319269"/>
                  </a:lnTo>
                  <a:lnTo>
                    <a:pt x="9912571" y="6233147"/>
                  </a:lnTo>
                  <a:lnTo>
                    <a:pt x="9931695" y="6214174"/>
                  </a:lnTo>
                  <a:lnTo>
                    <a:pt x="9952568" y="6200039"/>
                  </a:lnTo>
                  <a:lnTo>
                    <a:pt x="9970124" y="6184437"/>
                  </a:lnTo>
                  <a:lnTo>
                    <a:pt x="9984014" y="6165607"/>
                  </a:lnTo>
                  <a:lnTo>
                    <a:pt x="10004974" y="6154001"/>
                  </a:lnTo>
                  <a:lnTo>
                    <a:pt x="10032352" y="6139419"/>
                  </a:lnTo>
                  <a:lnTo>
                    <a:pt x="10086675" y="6174664"/>
                  </a:lnTo>
                  <a:lnTo>
                    <a:pt x="10119863" y="6185075"/>
                  </a:lnTo>
                  <a:lnTo>
                    <a:pt x="10144191" y="6168965"/>
                  </a:lnTo>
                  <a:lnTo>
                    <a:pt x="10208112" y="6126884"/>
                  </a:lnTo>
                  <a:lnTo>
                    <a:pt x="10223243" y="6099381"/>
                  </a:lnTo>
                  <a:lnTo>
                    <a:pt x="10216726" y="6066097"/>
                  </a:lnTo>
                  <a:lnTo>
                    <a:pt x="10196274" y="6040594"/>
                  </a:lnTo>
                  <a:lnTo>
                    <a:pt x="10175637" y="6016413"/>
                  </a:lnTo>
                  <a:lnTo>
                    <a:pt x="10154981" y="5992222"/>
                  </a:lnTo>
                  <a:lnTo>
                    <a:pt x="10134455" y="5969225"/>
                  </a:lnTo>
                  <a:lnTo>
                    <a:pt x="10125314" y="5941599"/>
                  </a:lnTo>
                  <a:lnTo>
                    <a:pt x="10133090" y="5914844"/>
                  </a:lnTo>
                  <a:lnTo>
                    <a:pt x="10161002" y="5892507"/>
                  </a:lnTo>
                  <a:lnTo>
                    <a:pt x="10186520" y="5870868"/>
                  </a:lnTo>
                  <a:lnTo>
                    <a:pt x="10211151" y="5849146"/>
                  </a:lnTo>
                  <a:lnTo>
                    <a:pt x="10227156" y="5827302"/>
                  </a:lnTo>
                  <a:lnTo>
                    <a:pt x="10228688" y="5804221"/>
                  </a:lnTo>
                  <a:lnTo>
                    <a:pt x="10215634" y="5781522"/>
                  </a:lnTo>
                  <a:lnTo>
                    <a:pt x="10197378" y="5766552"/>
                  </a:lnTo>
                  <a:lnTo>
                    <a:pt x="10176995" y="5753889"/>
                  </a:lnTo>
                  <a:lnTo>
                    <a:pt x="10156618" y="5741239"/>
                  </a:lnTo>
                  <a:lnTo>
                    <a:pt x="10134089" y="5730306"/>
                  </a:lnTo>
                  <a:lnTo>
                    <a:pt x="10115789" y="5714444"/>
                  </a:lnTo>
                  <a:lnTo>
                    <a:pt x="10092070" y="5693961"/>
                  </a:lnTo>
                  <a:lnTo>
                    <a:pt x="10068815" y="5660800"/>
                  </a:lnTo>
                  <a:lnTo>
                    <a:pt x="10047775" y="5636914"/>
                  </a:lnTo>
                  <a:lnTo>
                    <a:pt x="10012546" y="5651964"/>
                  </a:lnTo>
                  <a:lnTo>
                    <a:pt x="9989887" y="5685841"/>
                  </a:lnTo>
                  <a:lnTo>
                    <a:pt x="9983847" y="5714444"/>
                  </a:lnTo>
                  <a:lnTo>
                    <a:pt x="9932966" y="5665774"/>
                  </a:lnTo>
                  <a:lnTo>
                    <a:pt x="9872145" y="5624502"/>
                  </a:lnTo>
                  <a:lnTo>
                    <a:pt x="9820626" y="5590665"/>
                  </a:lnTo>
                  <a:lnTo>
                    <a:pt x="9789899" y="5458602"/>
                  </a:lnTo>
                  <a:lnTo>
                    <a:pt x="9782544" y="5435605"/>
                  </a:lnTo>
                  <a:lnTo>
                    <a:pt x="9770657" y="5398627"/>
                  </a:lnTo>
                  <a:lnTo>
                    <a:pt x="9758292" y="5360720"/>
                  </a:lnTo>
                  <a:lnTo>
                    <a:pt x="9741734" y="5324064"/>
                  </a:lnTo>
                  <a:lnTo>
                    <a:pt x="9725171" y="5287419"/>
                  </a:lnTo>
                  <a:lnTo>
                    <a:pt x="9704565" y="5253077"/>
                  </a:lnTo>
                  <a:lnTo>
                    <a:pt x="9680529" y="5222055"/>
                  </a:lnTo>
                  <a:lnTo>
                    <a:pt x="9659947" y="5195486"/>
                  </a:lnTo>
                  <a:lnTo>
                    <a:pt x="9553517" y="5136699"/>
                  </a:lnTo>
                  <a:lnTo>
                    <a:pt x="9518660" y="5122756"/>
                  </a:lnTo>
                  <a:lnTo>
                    <a:pt x="9485936" y="5109625"/>
                  </a:lnTo>
                  <a:lnTo>
                    <a:pt x="9451374" y="5104645"/>
                  </a:lnTo>
                  <a:lnTo>
                    <a:pt x="9422086" y="5083313"/>
                  </a:lnTo>
                  <a:lnTo>
                    <a:pt x="9401957" y="5068567"/>
                  </a:lnTo>
                  <a:lnTo>
                    <a:pt x="9389393" y="5049098"/>
                  </a:lnTo>
                  <a:lnTo>
                    <a:pt x="9373118" y="5032988"/>
                  </a:lnTo>
                  <a:lnTo>
                    <a:pt x="9338916" y="4999148"/>
                  </a:lnTo>
                  <a:lnTo>
                    <a:pt x="9307228" y="4975137"/>
                  </a:lnTo>
                  <a:lnTo>
                    <a:pt x="9286066" y="4929611"/>
                  </a:lnTo>
                  <a:lnTo>
                    <a:pt x="9292872" y="4909206"/>
                  </a:lnTo>
                  <a:lnTo>
                    <a:pt x="9326268" y="4892423"/>
                  </a:lnTo>
                  <a:lnTo>
                    <a:pt x="9351355" y="4890168"/>
                  </a:lnTo>
                  <a:lnTo>
                    <a:pt x="9376461" y="4887905"/>
                  </a:lnTo>
                  <a:lnTo>
                    <a:pt x="9406059" y="4889186"/>
                  </a:lnTo>
                  <a:lnTo>
                    <a:pt x="9435691" y="4888807"/>
                  </a:lnTo>
                  <a:lnTo>
                    <a:pt x="9465302" y="4888407"/>
                  </a:lnTo>
                  <a:lnTo>
                    <a:pt x="9494940" y="4887409"/>
                  </a:lnTo>
                  <a:lnTo>
                    <a:pt x="9521376" y="4882001"/>
                  </a:lnTo>
                  <a:lnTo>
                    <a:pt x="9547824" y="4876594"/>
                  </a:lnTo>
                  <a:lnTo>
                    <a:pt x="9571115" y="4866716"/>
                  </a:lnTo>
                  <a:lnTo>
                    <a:pt x="9586674" y="4849359"/>
                  </a:lnTo>
                  <a:lnTo>
                    <a:pt x="9596850" y="4821521"/>
                  </a:lnTo>
                  <a:lnTo>
                    <a:pt x="9593216" y="4758006"/>
                  </a:lnTo>
                  <a:lnTo>
                    <a:pt x="9583970" y="4694298"/>
                  </a:lnTo>
                  <a:lnTo>
                    <a:pt x="9574706" y="4630590"/>
                  </a:lnTo>
                  <a:lnTo>
                    <a:pt x="9558918" y="4566139"/>
                  </a:lnTo>
                  <a:lnTo>
                    <a:pt x="9545889" y="4539232"/>
                  </a:lnTo>
                  <a:lnTo>
                    <a:pt x="9530095" y="4506567"/>
                  </a:lnTo>
                  <a:lnTo>
                    <a:pt x="9504242" y="4488512"/>
                  </a:lnTo>
                  <a:lnTo>
                    <a:pt x="9488758" y="4467143"/>
                  </a:lnTo>
                  <a:lnTo>
                    <a:pt x="9476554" y="4444273"/>
                  </a:lnTo>
                  <a:lnTo>
                    <a:pt x="9476492" y="4416566"/>
                  </a:lnTo>
                  <a:lnTo>
                    <a:pt x="9494202" y="4380091"/>
                  </a:lnTo>
                  <a:lnTo>
                    <a:pt x="9506784" y="4359388"/>
                  </a:lnTo>
                  <a:lnTo>
                    <a:pt x="9551923" y="4337883"/>
                  </a:lnTo>
                  <a:lnTo>
                    <a:pt x="9577174" y="4335207"/>
                  </a:lnTo>
                  <a:lnTo>
                    <a:pt x="9608459" y="4374650"/>
                  </a:lnTo>
                  <a:lnTo>
                    <a:pt x="9632941" y="4382854"/>
                  </a:lnTo>
                  <a:lnTo>
                    <a:pt x="9662707" y="4364238"/>
                  </a:lnTo>
                  <a:lnTo>
                    <a:pt x="9683264" y="4376008"/>
                  </a:lnTo>
                  <a:lnTo>
                    <a:pt x="9699430" y="4396202"/>
                  </a:lnTo>
                  <a:lnTo>
                    <a:pt x="9710921" y="4420690"/>
                  </a:lnTo>
                  <a:lnTo>
                    <a:pt x="9753901" y="4428637"/>
                  </a:lnTo>
                  <a:lnTo>
                    <a:pt x="9797520" y="4433139"/>
                  </a:lnTo>
                  <a:lnTo>
                    <a:pt x="9841164" y="4437632"/>
                  </a:lnTo>
                  <a:lnTo>
                    <a:pt x="9885906" y="4438047"/>
                  </a:lnTo>
                  <a:lnTo>
                    <a:pt x="9926567" y="4428380"/>
                  </a:lnTo>
                  <a:lnTo>
                    <a:pt x="10038026" y="4391138"/>
                  </a:lnTo>
                  <a:lnTo>
                    <a:pt x="10055960" y="4369202"/>
                  </a:lnTo>
                  <a:lnTo>
                    <a:pt x="10068022" y="4346847"/>
                  </a:lnTo>
                  <a:lnTo>
                    <a:pt x="10056748" y="4295116"/>
                  </a:lnTo>
                  <a:lnTo>
                    <a:pt x="10055960" y="4269909"/>
                  </a:lnTo>
                  <a:lnTo>
                    <a:pt x="10055229" y="4246195"/>
                  </a:lnTo>
                  <a:lnTo>
                    <a:pt x="10065082" y="4223744"/>
                  </a:lnTo>
                  <a:lnTo>
                    <a:pt x="10077733" y="4203262"/>
                  </a:lnTo>
                  <a:lnTo>
                    <a:pt x="10090358" y="4182779"/>
                  </a:lnTo>
                  <a:lnTo>
                    <a:pt x="10105917" y="4163289"/>
                  </a:lnTo>
                  <a:lnTo>
                    <a:pt x="10114450" y="4143414"/>
                  </a:lnTo>
                  <a:lnTo>
                    <a:pt x="10129475" y="4108433"/>
                  </a:lnTo>
                  <a:lnTo>
                    <a:pt x="10133314" y="4075862"/>
                  </a:lnTo>
                  <a:lnTo>
                    <a:pt x="10144370" y="4048195"/>
                  </a:lnTo>
                  <a:lnTo>
                    <a:pt x="10157784" y="4022206"/>
                  </a:lnTo>
                  <a:lnTo>
                    <a:pt x="10179934" y="4000747"/>
                  </a:lnTo>
                  <a:lnTo>
                    <a:pt x="10215101" y="3984270"/>
                  </a:lnTo>
                  <a:lnTo>
                    <a:pt x="10236328" y="3983743"/>
                  </a:lnTo>
                  <a:lnTo>
                    <a:pt x="10272232" y="3997869"/>
                  </a:lnTo>
                  <a:lnTo>
                    <a:pt x="10302041" y="4017462"/>
                  </a:lnTo>
                  <a:lnTo>
                    <a:pt x="10339124" y="4060712"/>
                  </a:lnTo>
                  <a:lnTo>
                    <a:pt x="10356413" y="4099141"/>
                  </a:lnTo>
                  <a:lnTo>
                    <a:pt x="10368809" y="4135256"/>
                  </a:lnTo>
                  <a:lnTo>
                    <a:pt x="10393713" y="4123056"/>
                  </a:lnTo>
                  <a:lnTo>
                    <a:pt x="10433798" y="4100229"/>
                  </a:lnTo>
                  <a:lnTo>
                    <a:pt x="10451781" y="4078125"/>
                  </a:lnTo>
                  <a:lnTo>
                    <a:pt x="10456370" y="4054573"/>
                  </a:lnTo>
                  <a:lnTo>
                    <a:pt x="10441617" y="4031325"/>
                  </a:lnTo>
                  <a:lnTo>
                    <a:pt x="10438176" y="4008752"/>
                  </a:lnTo>
                  <a:lnTo>
                    <a:pt x="10433376" y="3977254"/>
                  </a:lnTo>
                  <a:lnTo>
                    <a:pt x="10436005" y="3935033"/>
                  </a:lnTo>
                  <a:lnTo>
                    <a:pt x="10446343" y="3895860"/>
                  </a:lnTo>
                  <a:lnTo>
                    <a:pt x="10456686" y="3856681"/>
                  </a:lnTo>
                  <a:lnTo>
                    <a:pt x="10474248" y="3819939"/>
                  </a:lnTo>
                  <a:lnTo>
                    <a:pt x="10498029" y="3797919"/>
                  </a:lnTo>
                  <a:lnTo>
                    <a:pt x="10506779" y="3773229"/>
                  </a:lnTo>
                  <a:lnTo>
                    <a:pt x="10491096" y="3737820"/>
                  </a:lnTo>
                  <a:lnTo>
                    <a:pt x="10496678" y="3709509"/>
                  </a:lnTo>
                  <a:lnTo>
                    <a:pt x="10502730" y="3678630"/>
                  </a:lnTo>
                  <a:lnTo>
                    <a:pt x="10523138" y="3649773"/>
                  </a:lnTo>
                  <a:lnTo>
                    <a:pt x="10542913" y="3621096"/>
                  </a:lnTo>
                  <a:lnTo>
                    <a:pt x="10562714" y="3592421"/>
                  </a:lnTo>
                  <a:lnTo>
                    <a:pt x="10582359" y="3563927"/>
                  </a:lnTo>
                  <a:lnTo>
                    <a:pt x="10583730" y="3531327"/>
                  </a:lnTo>
                  <a:lnTo>
                    <a:pt x="10539050" y="3514147"/>
                  </a:lnTo>
                  <a:lnTo>
                    <a:pt x="10508218" y="3535612"/>
                  </a:lnTo>
                  <a:lnTo>
                    <a:pt x="10480356" y="3534043"/>
                  </a:lnTo>
                  <a:lnTo>
                    <a:pt x="10431472" y="3531281"/>
                  </a:lnTo>
                  <a:lnTo>
                    <a:pt x="10379568" y="3502080"/>
                  </a:lnTo>
                  <a:lnTo>
                    <a:pt x="10310326" y="3504117"/>
                  </a:lnTo>
                  <a:lnTo>
                    <a:pt x="10295381" y="3557165"/>
                  </a:lnTo>
                  <a:lnTo>
                    <a:pt x="10267377" y="3584456"/>
                  </a:lnTo>
                  <a:lnTo>
                    <a:pt x="10234176" y="3578928"/>
                  </a:lnTo>
                  <a:lnTo>
                    <a:pt x="10226226" y="3557211"/>
                  </a:lnTo>
                  <a:lnTo>
                    <a:pt x="10207548" y="3525582"/>
                  </a:lnTo>
                  <a:lnTo>
                    <a:pt x="10193657" y="3498576"/>
                  </a:lnTo>
                  <a:lnTo>
                    <a:pt x="10178402" y="3472838"/>
                  </a:lnTo>
                  <a:lnTo>
                    <a:pt x="10163160" y="3447091"/>
                  </a:lnTo>
                  <a:lnTo>
                    <a:pt x="10145710" y="3422742"/>
                  </a:lnTo>
                  <a:lnTo>
                    <a:pt x="10125358" y="3406188"/>
                  </a:lnTo>
                  <a:lnTo>
                    <a:pt x="10092076" y="3379196"/>
                  </a:lnTo>
                  <a:lnTo>
                    <a:pt x="10052891" y="3359346"/>
                  </a:lnTo>
                  <a:lnTo>
                    <a:pt x="10019262" y="3332735"/>
                  </a:lnTo>
                  <a:lnTo>
                    <a:pt x="9991970" y="3311057"/>
                  </a:lnTo>
                  <a:lnTo>
                    <a:pt x="9975227" y="3278240"/>
                  </a:lnTo>
                  <a:lnTo>
                    <a:pt x="9951253" y="3256563"/>
                  </a:lnTo>
                  <a:lnTo>
                    <a:pt x="9928470" y="3235908"/>
                  </a:lnTo>
                  <a:lnTo>
                    <a:pt x="9900460" y="3220179"/>
                  </a:lnTo>
                  <a:lnTo>
                    <a:pt x="9877801" y="3199439"/>
                  </a:lnTo>
                  <a:lnTo>
                    <a:pt x="9834492" y="3159691"/>
                  </a:lnTo>
                  <a:lnTo>
                    <a:pt x="9812434" y="3081521"/>
                  </a:lnTo>
                  <a:lnTo>
                    <a:pt x="9771705" y="3045731"/>
                  </a:lnTo>
                  <a:lnTo>
                    <a:pt x="9737406" y="3015599"/>
                  </a:lnTo>
                  <a:lnTo>
                    <a:pt x="9715411" y="3014933"/>
                  </a:lnTo>
                  <a:lnTo>
                    <a:pt x="9694171" y="3006287"/>
                  </a:lnTo>
                  <a:lnTo>
                    <a:pt x="9673825" y="2995920"/>
                  </a:lnTo>
                  <a:lnTo>
                    <a:pt x="9649244" y="2970403"/>
                  </a:lnTo>
                  <a:lnTo>
                    <a:pt x="9635273" y="2950995"/>
                  </a:lnTo>
                  <a:lnTo>
                    <a:pt x="9618002" y="2920593"/>
                  </a:lnTo>
                  <a:lnTo>
                    <a:pt x="9571593" y="2929950"/>
                  </a:lnTo>
                  <a:lnTo>
                    <a:pt x="9493973" y="2983000"/>
                  </a:lnTo>
                  <a:lnTo>
                    <a:pt x="9475180" y="3002211"/>
                  </a:lnTo>
                  <a:lnTo>
                    <a:pt x="9452236" y="3028005"/>
                  </a:lnTo>
                  <a:lnTo>
                    <a:pt x="9424690" y="3052589"/>
                  </a:lnTo>
                  <a:lnTo>
                    <a:pt x="9392212" y="3056618"/>
                  </a:lnTo>
                  <a:lnTo>
                    <a:pt x="9373295" y="3014920"/>
                  </a:lnTo>
                  <a:lnTo>
                    <a:pt x="9342776" y="2976220"/>
                  </a:lnTo>
                  <a:lnTo>
                    <a:pt x="9310598" y="2938280"/>
                  </a:lnTo>
                  <a:lnTo>
                    <a:pt x="9278408" y="2900346"/>
                  </a:lnTo>
                  <a:lnTo>
                    <a:pt x="9245473" y="2862709"/>
                  </a:lnTo>
                  <a:lnTo>
                    <a:pt x="9220821" y="2824023"/>
                  </a:lnTo>
                  <a:lnTo>
                    <a:pt x="9205963" y="2800691"/>
                  </a:lnTo>
                  <a:lnTo>
                    <a:pt x="9192766" y="2774806"/>
                  </a:lnTo>
                  <a:lnTo>
                    <a:pt x="9177295" y="2751935"/>
                  </a:lnTo>
                  <a:lnTo>
                    <a:pt x="9151240" y="2721546"/>
                  </a:lnTo>
                  <a:lnTo>
                    <a:pt x="9120197" y="2716104"/>
                  </a:lnTo>
                  <a:lnTo>
                    <a:pt x="9079691" y="2739028"/>
                  </a:lnTo>
                  <a:lnTo>
                    <a:pt x="9037201" y="2760092"/>
                  </a:lnTo>
                  <a:lnTo>
                    <a:pt x="9015952" y="2770631"/>
                  </a:lnTo>
                  <a:lnTo>
                    <a:pt x="8993879" y="2779679"/>
                  </a:lnTo>
                  <a:lnTo>
                    <a:pt x="8955376" y="2792196"/>
                  </a:lnTo>
                  <a:lnTo>
                    <a:pt x="8927018" y="2790013"/>
                  </a:lnTo>
                  <a:lnTo>
                    <a:pt x="8906899" y="2746381"/>
                  </a:lnTo>
                  <a:lnTo>
                    <a:pt x="8917075" y="2708052"/>
                  </a:lnTo>
                  <a:lnTo>
                    <a:pt x="8925660" y="2674398"/>
                  </a:lnTo>
                  <a:lnTo>
                    <a:pt x="8934255" y="2640744"/>
                  </a:lnTo>
                  <a:lnTo>
                    <a:pt x="8941858" y="2610830"/>
                  </a:lnTo>
                  <a:lnTo>
                    <a:pt x="8931102" y="2592786"/>
                  </a:lnTo>
                  <a:lnTo>
                    <a:pt x="8874854" y="2588532"/>
                  </a:lnTo>
                  <a:lnTo>
                    <a:pt x="8841430" y="2585163"/>
                  </a:lnTo>
                  <a:lnTo>
                    <a:pt x="8826717" y="2563196"/>
                  </a:lnTo>
                  <a:lnTo>
                    <a:pt x="8815487" y="2538379"/>
                  </a:lnTo>
                  <a:lnTo>
                    <a:pt x="8804241" y="2513568"/>
                  </a:lnTo>
                  <a:lnTo>
                    <a:pt x="8795997" y="2485862"/>
                  </a:lnTo>
                  <a:lnTo>
                    <a:pt x="8801379" y="2460678"/>
                  </a:lnTo>
                  <a:lnTo>
                    <a:pt x="8888636" y="2448992"/>
                  </a:lnTo>
                  <a:lnTo>
                    <a:pt x="8920219" y="2425486"/>
                  </a:lnTo>
                  <a:lnTo>
                    <a:pt x="8926925" y="2402193"/>
                  </a:lnTo>
                  <a:lnTo>
                    <a:pt x="8883294" y="2380846"/>
                  </a:lnTo>
                  <a:lnTo>
                    <a:pt x="8848130" y="2375154"/>
                  </a:lnTo>
                  <a:lnTo>
                    <a:pt x="8812954" y="2369470"/>
                  </a:lnTo>
                  <a:lnTo>
                    <a:pt x="8776274" y="2361918"/>
                  </a:lnTo>
                  <a:lnTo>
                    <a:pt x="8741879" y="2319711"/>
                  </a:lnTo>
                  <a:lnTo>
                    <a:pt x="8733638" y="2277622"/>
                  </a:lnTo>
                  <a:lnTo>
                    <a:pt x="8724352" y="2235059"/>
                  </a:lnTo>
                  <a:lnTo>
                    <a:pt x="8715072" y="2192496"/>
                  </a:lnTo>
                  <a:lnTo>
                    <a:pt x="8705503" y="2149959"/>
                  </a:lnTo>
                  <a:lnTo>
                    <a:pt x="8680826" y="2120803"/>
                  </a:lnTo>
                  <a:lnTo>
                    <a:pt x="8662464" y="2099078"/>
                  </a:lnTo>
                  <a:lnTo>
                    <a:pt x="8639371" y="2078760"/>
                  </a:lnTo>
                  <a:lnTo>
                    <a:pt x="8619617" y="2058230"/>
                  </a:lnTo>
                  <a:lnTo>
                    <a:pt x="8606244" y="1984307"/>
                  </a:lnTo>
                  <a:lnTo>
                    <a:pt x="8601937" y="1922210"/>
                  </a:lnTo>
                  <a:lnTo>
                    <a:pt x="8597631" y="1860113"/>
                  </a:lnTo>
                  <a:lnTo>
                    <a:pt x="8591907" y="1798410"/>
                  </a:lnTo>
                  <a:lnTo>
                    <a:pt x="8558166" y="1781640"/>
                  </a:lnTo>
                  <a:lnTo>
                    <a:pt x="8500598" y="1805955"/>
                  </a:lnTo>
                  <a:lnTo>
                    <a:pt x="8475433" y="1809312"/>
                  </a:lnTo>
                  <a:lnTo>
                    <a:pt x="8443891" y="1813553"/>
                  </a:lnTo>
                  <a:lnTo>
                    <a:pt x="8406920" y="1812451"/>
                  </a:lnTo>
                  <a:lnTo>
                    <a:pt x="8374782" y="1802512"/>
                  </a:lnTo>
                  <a:lnTo>
                    <a:pt x="8344148" y="1790682"/>
                  </a:lnTo>
                  <a:lnTo>
                    <a:pt x="8318348" y="1770818"/>
                  </a:lnTo>
                  <a:lnTo>
                    <a:pt x="8299968" y="1742664"/>
                  </a:lnTo>
                  <a:lnTo>
                    <a:pt x="8291786" y="1721666"/>
                  </a:lnTo>
                  <a:lnTo>
                    <a:pt x="8303946" y="1683073"/>
                  </a:lnTo>
                  <a:lnTo>
                    <a:pt x="8318705" y="1647269"/>
                  </a:lnTo>
                  <a:lnTo>
                    <a:pt x="8325815" y="1610727"/>
                  </a:lnTo>
                  <a:lnTo>
                    <a:pt x="8331380" y="1573841"/>
                  </a:lnTo>
                  <a:lnTo>
                    <a:pt x="8328425" y="1538796"/>
                  </a:lnTo>
                  <a:lnTo>
                    <a:pt x="8313580" y="1507352"/>
                  </a:lnTo>
                  <a:lnTo>
                    <a:pt x="8288446" y="1514585"/>
                  </a:lnTo>
                  <a:lnTo>
                    <a:pt x="8258092" y="1522743"/>
                  </a:lnTo>
                  <a:lnTo>
                    <a:pt x="8213840" y="1531105"/>
                  </a:lnTo>
                  <a:lnTo>
                    <a:pt x="8188905" y="1534542"/>
                  </a:lnTo>
                  <a:lnTo>
                    <a:pt x="8163961" y="1537272"/>
                  </a:lnTo>
                  <a:lnTo>
                    <a:pt x="8114085" y="1542746"/>
                  </a:lnTo>
                  <a:lnTo>
                    <a:pt x="8064221" y="1545397"/>
                  </a:lnTo>
                  <a:lnTo>
                    <a:pt x="8012978" y="1553594"/>
                  </a:lnTo>
                  <a:lnTo>
                    <a:pt x="7981671" y="1558600"/>
                  </a:lnTo>
                  <a:lnTo>
                    <a:pt x="7950200" y="1567260"/>
                  </a:lnTo>
                  <a:lnTo>
                    <a:pt x="7919126" y="1575365"/>
                  </a:lnTo>
                  <a:lnTo>
                    <a:pt x="7888046" y="1583463"/>
                  </a:lnTo>
                  <a:lnTo>
                    <a:pt x="7856553" y="1590881"/>
                  </a:lnTo>
                  <a:lnTo>
                    <a:pt x="7825275" y="1595762"/>
                  </a:lnTo>
                  <a:lnTo>
                    <a:pt x="7797624" y="1600068"/>
                  </a:lnTo>
                  <a:lnTo>
                    <a:pt x="7771052" y="1600610"/>
                  </a:lnTo>
                  <a:lnTo>
                    <a:pt x="7743664" y="1601203"/>
                  </a:lnTo>
                  <a:lnTo>
                    <a:pt x="7716261" y="1601797"/>
                  </a:lnTo>
                  <a:lnTo>
                    <a:pt x="7688911" y="1602839"/>
                  </a:lnTo>
                  <a:lnTo>
                    <a:pt x="7660686" y="1610727"/>
                  </a:lnTo>
                  <a:lnTo>
                    <a:pt x="7632716" y="1590024"/>
                  </a:lnTo>
                  <a:lnTo>
                    <a:pt x="7630304" y="1569080"/>
                  </a:lnTo>
                  <a:lnTo>
                    <a:pt x="7616717" y="1545859"/>
                  </a:lnTo>
                  <a:lnTo>
                    <a:pt x="7598120" y="1535914"/>
                  </a:lnTo>
                  <a:lnTo>
                    <a:pt x="7568404" y="1529081"/>
                  </a:lnTo>
                  <a:lnTo>
                    <a:pt x="7540988" y="1530473"/>
                  </a:lnTo>
                  <a:lnTo>
                    <a:pt x="7512215" y="1534548"/>
                  </a:lnTo>
                  <a:lnTo>
                    <a:pt x="7485426" y="1545450"/>
                  </a:lnTo>
                  <a:lnTo>
                    <a:pt x="7462100" y="1564483"/>
                  </a:lnTo>
                  <a:lnTo>
                    <a:pt x="7454978" y="1597497"/>
                  </a:lnTo>
                  <a:lnTo>
                    <a:pt x="7442017" y="1634837"/>
                  </a:lnTo>
                  <a:lnTo>
                    <a:pt x="7425374" y="1663776"/>
                  </a:lnTo>
                  <a:lnTo>
                    <a:pt x="7391298" y="1672039"/>
                  </a:lnTo>
                  <a:lnTo>
                    <a:pt x="7356072" y="1679992"/>
                  </a:lnTo>
                  <a:lnTo>
                    <a:pt x="7323355" y="1685539"/>
                  </a:lnTo>
                  <a:lnTo>
                    <a:pt x="7296336" y="1685736"/>
                  </a:lnTo>
                  <a:lnTo>
                    <a:pt x="7259433" y="1673292"/>
                  </a:lnTo>
                  <a:lnTo>
                    <a:pt x="7229286" y="1655236"/>
                  </a:lnTo>
                  <a:lnTo>
                    <a:pt x="7197301" y="1623718"/>
                  </a:lnTo>
                  <a:lnTo>
                    <a:pt x="7184743" y="1600841"/>
                  </a:lnTo>
                  <a:lnTo>
                    <a:pt x="7161498" y="1598486"/>
                  </a:lnTo>
                  <a:lnTo>
                    <a:pt x="7122390" y="1594529"/>
                  </a:lnTo>
                  <a:lnTo>
                    <a:pt x="7078433" y="1603076"/>
                  </a:lnTo>
                  <a:lnTo>
                    <a:pt x="7041800" y="1584880"/>
                  </a:lnTo>
                  <a:lnTo>
                    <a:pt x="7039670" y="1546583"/>
                  </a:lnTo>
                  <a:lnTo>
                    <a:pt x="7033878" y="1491325"/>
                  </a:lnTo>
                  <a:lnTo>
                    <a:pt x="7027931" y="1453879"/>
                  </a:lnTo>
                  <a:lnTo>
                    <a:pt x="7022747" y="1417574"/>
                  </a:lnTo>
                  <a:lnTo>
                    <a:pt x="6981556" y="1404161"/>
                  </a:lnTo>
                  <a:lnTo>
                    <a:pt x="6927181" y="1404153"/>
                  </a:lnTo>
                  <a:lnTo>
                    <a:pt x="6900280" y="1417588"/>
                  </a:lnTo>
                  <a:lnTo>
                    <a:pt x="6891812" y="1454975"/>
                  </a:lnTo>
                  <a:lnTo>
                    <a:pt x="6883959" y="1478795"/>
                  </a:lnTo>
                  <a:lnTo>
                    <a:pt x="6876089" y="1502616"/>
                  </a:lnTo>
                  <a:lnTo>
                    <a:pt x="6865888" y="1525315"/>
                  </a:lnTo>
                  <a:lnTo>
                    <a:pt x="6836098" y="1545081"/>
                  </a:lnTo>
                  <a:lnTo>
                    <a:pt x="6791806" y="1552599"/>
                  </a:lnTo>
                  <a:lnTo>
                    <a:pt x="6746578" y="1556325"/>
                  </a:lnTo>
                  <a:lnTo>
                    <a:pt x="6701343" y="1560051"/>
                  </a:lnTo>
                  <a:lnTo>
                    <a:pt x="6655920" y="1559814"/>
                  </a:lnTo>
                  <a:lnTo>
                    <a:pt x="6633682" y="1557683"/>
                  </a:lnTo>
                  <a:lnTo>
                    <a:pt x="6624157" y="1523679"/>
                  </a:lnTo>
                  <a:lnTo>
                    <a:pt x="6578290" y="1507780"/>
                  </a:lnTo>
                  <a:lnTo>
                    <a:pt x="6555510" y="1496562"/>
                  </a:lnTo>
                  <a:lnTo>
                    <a:pt x="6559687" y="1462215"/>
                  </a:lnTo>
                  <a:lnTo>
                    <a:pt x="6552081" y="1436627"/>
                  </a:lnTo>
                  <a:lnTo>
                    <a:pt x="6508555" y="1424388"/>
                  </a:lnTo>
                  <a:lnTo>
                    <a:pt x="6504469" y="1348216"/>
                  </a:lnTo>
                  <a:lnTo>
                    <a:pt x="6519925" y="1325899"/>
                  </a:lnTo>
                  <a:lnTo>
                    <a:pt x="6542553" y="1337334"/>
                  </a:lnTo>
                  <a:lnTo>
                    <a:pt x="6562211" y="1355866"/>
                  </a:lnTo>
                  <a:lnTo>
                    <a:pt x="6580024" y="1378639"/>
                  </a:lnTo>
                  <a:lnTo>
                    <a:pt x="6598320" y="1395825"/>
                  </a:lnTo>
                  <a:lnTo>
                    <a:pt x="6619562" y="1400791"/>
                  </a:lnTo>
                  <a:lnTo>
                    <a:pt x="6642550" y="1375716"/>
                  </a:lnTo>
                  <a:lnTo>
                    <a:pt x="6659783" y="1294362"/>
                  </a:lnTo>
                  <a:lnTo>
                    <a:pt x="6677934" y="1237660"/>
                  </a:lnTo>
                  <a:lnTo>
                    <a:pt x="6709858" y="1164588"/>
                  </a:lnTo>
                  <a:lnTo>
                    <a:pt x="6704156" y="1136863"/>
                  </a:lnTo>
                  <a:lnTo>
                    <a:pt x="6696252" y="1116979"/>
                  </a:lnTo>
                  <a:lnTo>
                    <a:pt x="6689546" y="1094378"/>
                  </a:lnTo>
                  <a:lnTo>
                    <a:pt x="6692066" y="1063414"/>
                  </a:lnTo>
                  <a:lnTo>
                    <a:pt x="6709858" y="1020403"/>
                  </a:lnTo>
                  <a:lnTo>
                    <a:pt x="6657470" y="1001127"/>
                  </a:lnTo>
                  <a:lnTo>
                    <a:pt x="6632303" y="1019045"/>
                  </a:lnTo>
                  <a:lnTo>
                    <a:pt x="6619488" y="1042529"/>
                  </a:lnTo>
                  <a:lnTo>
                    <a:pt x="6596940" y="1050331"/>
                  </a:lnTo>
                  <a:lnTo>
                    <a:pt x="6580743" y="1015517"/>
                  </a:lnTo>
                  <a:lnTo>
                    <a:pt x="6572455" y="991840"/>
                  </a:lnTo>
                  <a:lnTo>
                    <a:pt x="6561401" y="969543"/>
                  </a:lnTo>
                  <a:lnTo>
                    <a:pt x="6537270" y="954295"/>
                  </a:lnTo>
                  <a:lnTo>
                    <a:pt x="6493567" y="952396"/>
                  </a:lnTo>
                  <a:lnTo>
                    <a:pt x="6498677" y="925832"/>
                  </a:lnTo>
                  <a:lnTo>
                    <a:pt x="6503024" y="889468"/>
                  </a:lnTo>
                  <a:lnTo>
                    <a:pt x="6502106" y="847491"/>
                  </a:lnTo>
                  <a:lnTo>
                    <a:pt x="6497669" y="806853"/>
                  </a:lnTo>
                  <a:lnTo>
                    <a:pt x="6493204" y="766222"/>
                  </a:lnTo>
                  <a:lnTo>
                    <a:pt x="6486008" y="727148"/>
                  </a:lnTo>
                  <a:lnTo>
                    <a:pt x="6468570" y="695704"/>
                  </a:lnTo>
                  <a:lnTo>
                    <a:pt x="6444348" y="692524"/>
                  </a:lnTo>
                  <a:lnTo>
                    <a:pt x="6420133" y="689879"/>
                  </a:lnTo>
                  <a:lnTo>
                    <a:pt x="6395914" y="687236"/>
                  </a:lnTo>
                  <a:lnTo>
                    <a:pt x="6371394" y="685013"/>
                  </a:lnTo>
                  <a:lnTo>
                    <a:pt x="6360732" y="652157"/>
                  </a:lnTo>
                  <a:lnTo>
                    <a:pt x="6375245" y="621866"/>
                  </a:lnTo>
                  <a:lnTo>
                    <a:pt x="6396444" y="594181"/>
                  </a:lnTo>
                  <a:lnTo>
                    <a:pt x="6422058" y="567947"/>
                  </a:lnTo>
                  <a:lnTo>
                    <a:pt x="6445976" y="540254"/>
                  </a:lnTo>
                  <a:lnTo>
                    <a:pt x="6464614" y="509958"/>
                  </a:lnTo>
                  <a:lnTo>
                    <a:pt x="6463290" y="479515"/>
                  </a:lnTo>
                  <a:lnTo>
                    <a:pt x="6452611" y="452523"/>
                  </a:lnTo>
                  <a:lnTo>
                    <a:pt x="6413212" y="445440"/>
                  </a:lnTo>
                  <a:lnTo>
                    <a:pt x="6388482" y="468879"/>
                  </a:lnTo>
                  <a:lnTo>
                    <a:pt x="6353194" y="503982"/>
                  </a:lnTo>
                  <a:lnTo>
                    <a:pt x="6314040" y="530738"/>
                  </a:lnTo>
                  <a:lnTo>
                    <a:pt x="6294460" y="544113"/>
                  </a:lnTo>
                  <a:lnTo>
                    <a:pt x="6273534" y="555021"/>
                  </a:lnTo>
                  <a:lnTo>
                    <a:pt x="6234848" y="566297"/>
                  </a:lnTo>
                  <a:lnTo>
                    <a:pt x="6201135" y="557941"/>
                  </a:lnTo>
                  <a:lnTo>
                    <a:pt x="6195272" y="526630"/>
                  </a:lnTo>
                  <a:lnTo>
                    <a:pt x="6196156" y="491321"/>
                  </a:lnTo>
                  <a:lnTo>
                    <a:pt x="6199783" y="460008"/>
                  </a:lnTo>
                  <a:lnTo>
                    <a:pt x="6176365" y="424705"/>
                  </a:lnTo>
                  <a:lnTo>
                    <a:pt x="6171425" y="395206"/>
                  </a:lnTo>
                  <a:lnTo>
                    <a:pt x="6173937" y="364797"/>
                  </a:lnTo>
                  <a:lnTo>
                    <a:pt x="6176470" y="334381"/>
                  </a:lnTo>
                  <a:lnTo>
                    <a:pt x="6187220" y="302931"/>
                  </a:lnTo>
                  <a:lnTo>
                    <a:pt x="6195700" y="262781"/>
                  </a:lnTo>
                  <a:lnTo>
                    <a:pt x="6188696" y="234350"/>
                  </a:lnTo>
                  <a:lnTo>
                    <a:pt x="6161900" y="215034"/>
                  </a:lnTo>
                  <a:lnTo>
                    <a:pt x="6133142" y="208372"/>
                  </a:lnTo>
                  <a:lnTo>
                    <a:pt x="6098044" y="205906"/>
                  </a:lnTo>
                  <a:lnTo>
                    <a:pt x="6062043" y="207549"/>
                  </a:lnTo>
                  <a:lnTo>
                    <a:pt x="6027043" y="213814"/>
                  </a:lnTo>
                  <a:lnTo>
                    <a:pt x="5992044" y="220058"/>
                  </a:lnTo>
                  <a:lnTo>
                    <a:pt x="5957764" y="229971"/>
                  </a:lnTo>
                  <a:lnTo>
                    <a:pt x="5923661" y="242376"/>
                  </a:lnTo>
                  <a:lnTo>
                    <a:pt x="5889579" y="254782"/>
                  </a:lnTo>
                  <a:lnTo>
                    <a:pt x="5855376" y="269889"/>
                  </a:lnTo>
                  <a:lnTo>
                    <a:pt x="5823016" y="285902"/>
                  </a:lnTo>
                  <a:lnTo>
                    <a:pt x="5790642" y="301915"/>
                  </a:lnTo>
                  <a:lnTo>
                    <a:pt x="5760337" y="319167"/>
                  </a:lnTo>
                  <a:lnTo>
                    <a:pt x="5730522" y="336228"/>
                  </a:lnTo>
                  <a:lnTo>
                    <a:pt x="5709484" y="348264"/>
                  </a:lnTo>
                  <a:lnTo>
                    <a:pt x="5670674" y="368872"/>
                  </a:lnTo>
                  <a:lnTo>
                    <a:pt x="5638835" y="356817"/>
                  </a:lnTo>
                  <a:lnTo>
                    <a:pt x="5615447" y="329250"/>
                  </a:lnTo>
                  <a:lnTo>
                    <a:pt x="5597212" y="294068"/>
                  </a:lnTo>
                  <a:lnTo>
                    <a:pt x="5579164" y="257913"/>
                  </a:lnTo>
                  <a:lnTo>
                    <a:pt x="5558145" y="229561"/>
                  </a:lnTo>
                  <a:lnTo>
                    <a:pt x="5529207" y="216531"/>
                  </a:lnTo>
                  <a:lnTo>
                    <a:pt x="5473849" y="208708"/>
                  </a:lnTo>
                  <a:lnTo>
                    <a:pt x="5431278" y="201566"/>
                  </a:lnTo>
                  <a:lnTo>
                    <a:pt x="5388695" y="194432"/>
                  </a:lnTo>
                  <a:lnTo>
                    <a:pt x="5347538" y="186096"/>
                  </a:lnTo>
                  <a:lnTo>
                    <a:pt x="5307590" y="150535"/>
                  </a:lnTo>
                  <a:lnTo>
                    <a:pt x="5287436" y="124658"/>
                  </a:lnTo>
                  <a:lnTo>
                    <a:pt x="5272131" y="102275"/>
                  </a:lnTo>
                  <a:lnTo>
                    <a:pt x="5256818" y="79891"/>
                  </a:lnTo>
                  <a:lnTo>
                    <a:pt x="5245454" y="61023"/>
                  </a:lnTo>
                  <a:lnTo>
                    <a:pt x="5217189" y="31992"/>
                  </a:lnTo>
                  <a:lnTo>
                    <a:pt x="5174196" y="19303"/>
                  </a:lnTo>
                  <a:lnTo>
                    <a:pt x="5147888" y="16368"/>
                  </a:lnTo>
                  <a:lnTo>
                    <a:pt x="5111775" y="20557"/>
                  </a:lnTo>
                  <a:lnTo>
                    <a:pt x="5059940" y="32908"/>
                  </a:lnTo>
                  <a:lnTo>
                    <a:pt x="5005189" y="45946"/>
                  </a:lnTo>
                  <a:lnTo>
                    <a:pt x="4960522" y="57032"/>
                  </a:lnTo>
                  <a:lnTo>
                    <a:pt x="4918478" y="73712"/>
                  </a:lnTo>
                  <a:lnTo>
                    <a:pt x="4876438" y="90390"/>
                  </a:lnTo>
                  <a:lnTo>
                    <a:pt x="4838087" y="112852"/>
                  </a:lnTo>
                  <a:lnTo>
                    <a:pt x="4793339" y="148525"/>
                  </a:lnTo>
                  <a:lnTo>
                    <a:pt x="4766975" y="182646"/>
                  </a:lnTo>
                  <a:lnTo>
                    <a:pt x="4756619" y="202932"/>
                  </a:lnTo>
                  <a:lnTo>
                    <a:pt x="4746253" y="223218"/>
                  </a:lnTo>
                  <a:lnTo>
                    <a:pt x="4734849" y="242548"/>
                  </a:lnTo>
                  <a:lnTo>
                    <a:pt x="4680369" y="261515"/>
                  </a:lnTo>
                  <a:lnTo>
                    <a:pt x="4656522" y="272106"/>
                  </a:lnTo>
                  <a:lnTo>
                    <a:pt x="4632834" y="275021"/>
                  </a:lnTo>
                  <a:lnTo>
                    <a:pt x="4609152" y="277935"/>
                  </a:lnTo>
                  <a:lnTo>
                    <a:pt x="4585879" y="272812"/>
                  </a:lnTo>
                  <a:lnTo>
                    <a:pt x="4552588" y="253258"/>
                  </a:lnTo>
                  <a:lnTo>
                    <a:pt x="4532902" y="237060"/>
                  </a:lnTo>
                  <a:lnTo>
                    <a:pt x="4448023" y="221720"/>
                  </a:lnTo>
                  <a:lnTo>
                    <a:pt x="4379364" y="204588"/>
                  </a:lnTo>
                  <a:lnTo>
                    <a:pt x="4310475" y="192051"/>
                  </a:lnTo>
                  <a:lnTo>
                    <a:pt x="4250284" y="181123"/>
                  </a:lnTo>
                  <a:lnTo>
                    <a:pt x="4021045" y="163059"/>
                  </a:lnTo>
                  <a:lnTo>
                    <a:pt x="3979944" y="144441"/>
                  </a:lnTo>
                  <a:lnTo>
                    <a:pt x="3903768" y="109930"/>
                  </a:lnTo>
                  <a:lnTo>
                    <a:pt x="3828406" y="64914"/>
                  </a:lnTo>
                  <a:lnTo>
                    <a:pt x="3754150" y="26103"/>
                  </a:lnTo>
                  <a:lnTo>
                    <a:pt x="3734039" y="15610"/>
                  </a:lnTo>
                  <a:lnTo>
                    <a:pt x="3702677" y="7321"/>
                  </a:lnTo>
                  <a:lnTo>
                    <a:pt x="3680694" y="5698"/>
                  </a:lnTo>
                  <a:lnTo>
                    <a:pt x="3654757" y="0"/>
                  </a:lnTo>
                  <a:lnTo>
                    <a:pt x="3456270" y="36984"/>
                  </a:lnTo>
                  <a:lnTo>
                    <a:pt x="3437434" y="47233"/>
                  </a:lnTo>
                  <a:lnTo>
                    <a:pt x="3372356" y="57561"/>
                  </a:lnTo>
                  <a:lnTo>
                    <a:pt x="3321773" y="56795"/>
                  </a:lnTo>
                  <a:lnTo>
                    <a:pt x="3268551" y="56031"/>
                  </a:lnTo>
                  <a:lnTo>
                    <a:pt x="3236851" y="51988"/>
                  </a:lnTo>
                  <a:lnTo>
                    <a:pt x="3184956" y="45828"/>
                  </a:lnTo>
                  <a:lnTo>
                    <a:pt x="3140314" y="36305"/>
                  </a:lnTo>
                  <a:lnTo>
                    <a:pt x="3099889" y="42426"/>
                  </a:lnTo>
                  <a:lnTo>
                    <a:pt x="3049126" y="50141"/>
                  </a:lnTo>
                  <a:lnTo>
                    <a:pt x="3010849" y="61096"/>
                  </a:lnTo>
                  <a:lnTo>
                    <a:pt x="2973397" y="65547"/>
                  </a:lnTo>
                  <a:lnTo>
                    <a:pt x="2935939" y="70011"/>
                  </a:lnTo>
                  <a:lnTo>
                    <a:pt x="2898202" y="67498"/>
                  </a:lnTo>
                  <a:lnTo>
                    <a:pt x="2849619" y="47873"/>
                  </a:lnTo>
                  <a:lnTo>
                    <a:pt x="2791219" y="104391"/>
                  </a:lnTo>
                  <a:lnTo>
                    <a:pt x="2759497" y="146342"/>
                  </a:lnTo>
                  <a:lnTo>
                    <a:pt x="2738084" y="177087"/>
                  </a:lnTo>
                  <a:lnTo>
                    <a:pt x="2716659" y="207833"/>
                  </a:lnTo>
                  <a:lnTo>
                    <a:pt x="2705817" y="228144"/>
                  </a:lnTo>
                  <a:lnTo>
                    <a:pt x="2689111" y="241018"/>
                  </a:lnTo>
                  <a:lnTo>
                    <a:pt x="2672405" y="253890"/>
                  </a:lnTo>
                  <a:lnTo>
                    <a:pt x="2650394" y="259873"/>
                  </a:lnTo>
                  <a:lnTo>
                    <a:pt x="2606142" y="262781"/>
                  </a:lnTo>
                  <a:lnTo>
                    <a:pt x="2561887" y="265682"/>
                  </a:lnTo>
                  <a:lnTo>
                    <a:pt x="2495293" y="264660"/>
                  </a:lnTo>
                  <a:lnTo>
                    <a:pt x="2391225" y="265497"/>
                  </a:lnTo>
                  <a:lnTo>
                    <a:pt x="2360495" y="257676"/>
                  </a:lnTo>
                  <a:lnTo>
                    <a:pt x="2345715" y="220587"/>
                  </a:lnTo>
                  <a:lnTo>
                    <a:pt x="2338512" y="186953"/>
                  </a:lnTo>
                  <a:lnTo>
                    <a:pt x="2335467" y="153964"/>
                  </a:lnTo>
                  <a:lnTo>
                    <a:pt x="2332419" y="120971"/>
                  </a:lnTo>
                  <a:lnTo>
                    <a:pt x="2333508" y="88207"/>
                  </a:lnTo>
                  <a:lnTo>
                    <a:pt x="2339554" y="57389"/>
                  </a:lnTo>
                  <a:lnTo>
                    <a:pt x="2315155" y="41700"/>
                  </a:lnTo>
                  <a:lnTo>
                    <a:pt x="2288062" y="40810"/>
                  </a:lnTo>
                  <a:lnTo>
                    <a:pt x="2262017" y="42426"/>
                  </a:lnTo>
                  <a:lnTo>
                    <a:pt x="2235988" y="44041"/>
                  </a:lnTo>
                  <a:lnTo>
                    <a:pt x="2210433" y="48545"/>
                  </a:lnTo>
                  <a:lnTo>
                    <a:pt x="2191953" y="97149"/>
                  </a:lnTo>
                  <a:lnTo>
                    <a:pt x="2201568" y="134022"/>
                  </a:lnTo>
                  <a:lnTo>
                    <a:pt x="2214411" y="170288"/>
                  </a:lnTo>
                  <a:lnTo>
                    <a:pt x="2227263" y="206546"/>
                  </a:lnTo>
                  <a:lnTo>
                    <a:pt x="2244620" y="242204"/>
                  </a:lnTo>
                  <a:lnTo>
                    <a:pt x="2253866" y="277738"/>
                  </a:lnTo>
                  <a:lnTo>
                    <a:pt x="2240775" y="310046"/>
                  </a:lnTo>
                  <a:lnTo>
                    <a:pt x="2239120" y="338293"/>
                  </a:lnTo>
                  <a:lnTo>
                    <a:pt x="2238949" y="382386"/>
                  </a:lnTo>
                  <a:lnTo>
                    <a:pt x="2236168" y="424646"/>
                  </a:lnTo>
                  <a:lnTo>
                    <a:pt x="2233424" y="466899"/>
                  </a:lnTo>
                  <a:lnTo>
                    <a:pt x="2226742" y="507062"/>
                  </a:lnTo>
                  <a:lnTo>
                    <a:pt x="2142307" y="537538"/>
                  </a:lnTo>
                  <a:lnTo>
                    <a:pt x="2129123" y="573500"/>
                  </a:lnTo>
                  <a:lnTo>
                    <a:pt x="2132131" y="622381"/>
                  </a:lnTo>
                  <a:lnTo>
                    <a:pt x="2147748" y="639553"/>
                  </a:lnTo>
                  <a:lnTo>
                    <a:pt x="2228010" y="639553"/>
                  </a:lnTo>
                  <a:lnTo>
                    <a:pt x="2247386" y="686523"/>
                  </a:lnTo>
                  <a:lnTo>
                    <a:pt x="2244667" y="749550"/>
                  </a:lnTo>
                  <a:lnTo>
                    <a:pt x="2263369" y="778291"/>
                  </a:lnTo>
                  <a:lnTo>
                    <a:pt x="2279988" y="803854"/>
                  </a:lnTo>
                  <a:lnTo>
                    <a:pt x="2303981" y="817557"/>
                  </a:lnTo>
                  <a:lnTo>
                    <a:pt x="2331384" y="825900"/>
                  </a:lnTo>
                  <a:lnTo>
                    <a:pt x="2358780" y="834242"/>
                  </a:lnTo>
                  <a:lnTo>
                    <a:pt x="2388661" y="837797"/>
                  </a:lnTo>
                  <a:lnTo>
                    <a:pt x="2415713" y="843581"/>
                  </a:lnTo>
                  <a:lnTo>
                    <a:pt x="2442766" y="849372"/>
                  </a:lnTo>
                  <a:lnTo>
                    <a:pt x="2466796" y="856956"/>
                  </a:lnTo>
                  <a:lnTo>
                    <a:pt x="2482367" y="874866"/>
                  </a:lnTo>
                  <a:lnTo>
                    <a:pt x="2495860" y="895496"/>
                  </a:lnTo>
                  <a:lnTo>
                    <a:pt x="2501513" y="924969"/>
                  </a:lnTo>
                  <a:lnTo>
                    <a:pt x="2498691" y="966002"/>
                  </a:lnTo>
                  <a:lnTo>
                    <a:pt x="2493706" y="992844"/>
                  </a:lnTo>
                  <a:lnTo>
                    <a:pt x="2484624" y="1028930"/>
                  </a:lnTo>
                  <a:lnTo>
                    <a:pt x="2472845" y="1051696"/>
                  </a:lnTo>
                  <a:lnTo>
                    <a:pt x="2435582" y="1053648"/>
                  </a:lnTo>
                  <a:lnTo>
                    <a:pt x="2398335" y="1057486"/>
                  </a:lnTo>
                  <a:lnTo>
                    <a:pt x="2362669" y="1063937"/>
                  </a:lnTo>
                  <a:lnTo>
                    <a:pt x="2326999" y="1070386"/>
                  </a:lnTo>
                  <a:lnTo>
                    <a:pt x="2291749" y="1079500"/>
                  </a:lnTo>
                  <a:lnTo>
                    <a:pt x="2256570" y="1091140"/>
                  </a:lnTo>
                  <a:lnTo>
                    <a:pt x="2236310" y="1109632"/>
                  </a:lnTo>
                  <a:lnTo>
                    <a:pt x="2219691" y="1140661"/>
                  </a:lnTo>
                  <a:lnTo>
                    <a:pt x="2204886" y="1165952"/>
                  </a:lnTo>
                  <a:lnTo>
                    <a:pt x="2166801" y="1170028"/>
                  </a:lnTo>
                  <a:lnTo>
                    <a:pt x="2143792" y="1184564"/>
                  </a:lnTo>
                  <a:lnTo>
                    <a:pt x="2127350" y="1212190"/>
                  </a:lnTo>
                  <a:lnTo>
                    <a:pt x="2120913" y="1246028"/>
                  </a:lnTo>
                  <a:lnTo>
                    <a:pt x="2117834" y="1272039"/>
                  </a:lnTo>
                  <a:lnTo>
                    <a:pt x="2114743" y="1298180"/>
                  </a:lnTo>
                  <a:lnTo>
                    <a:pt x="2117834" y="1334610"/>
                  </a:lnTo>
                  <a:lnTo>
                    <a:pt x="2126571" y="1363278"/>
                  </a:lnTo>
                  <a:lnTo>
                    <a:pt x="2153255" y="1395607"/>
                  </a:lnTo>
                  <a:lnTo>
                    <a:pt x="2182630" y="1410920"/>
                  </a:lnTo>
                  <a:lnTo>
                    <a:pt x="2223927" y="1439345"/>
                  </a:lnTo>
                  <a:lnTo>
                    <a:pt x="2278407" y="1476843"/>
                  </a:lnTo>
                  <a:lnTo>
                    <a:pt x="2338013" y="1503955"/>
                  </a:lnTo>
                  <a:lnTo>
                    <a:pt x="2396673" y="1534555"/>
                  </a:lnTo>
                  <a:lnTo>
                    <a:pt x="2418476" y="1545904"/>
                  </a:lnTo>
                  <a:lnTo>
                    <a:pt x="2441175" y="1570438"/>
                  </a:lnTo>
                  <a:lnTo>
                    <a:pt x="2455162" y="1590328"/>
                  </a:lnTo>
                  <a:lnTo>
                    <a:pt x="2457813" y="1614511"/>
                  </a:lnTo>
                  <a:lnTo>
                    <a:pt x="2449308" y="1640647"/>
                  </a:lnTo>
                  <a:lnTo>
                    <a:pt x="2436112" y="1665140"/>
                  </a:lnTo>
                  <a:lnTo>
                    <a:pt x="2422935" y="1689634"/>
                  </a:lnTo>
                  <a:lnTo>
                    <a:pt x="2405761" y="1712361"/>
                  </a:lnTo>
                  <a:lnTo>
                    <a:pt x="2392592" y="1730430"/>
                  </a:lnTo>
                  <a:lnTo>
                    <a:pt x="2385408" y="1776205"/>
                  </a:lnTo>
                  <a:lnTo>
                    <a:pt x="2402155" y="1799630"/>
                  </a:lnTo>
                  <a:lnTo>
                    <a:pt x="2410272" y="1840604"/>
                  </a:lnTo>
                  <a:lnTo>
                    <a:pt x="2400031" y="1899563"/>
                  </a:lnTo>
                  <a:lnTo>
                    <a:pt x="2394940" y="1922427"/>
                  </a:lnTo>
                  <a:lnTo>
                    <a:pt x="2384435" y="1952137"/>
                  </a:lnTo>
                  <a:lnTo>
                    <a:pt x="2422129" y="1975180"/>
                  </a:lnTo>
                  <a:lnTo>
                    <a:pt x="2452393" y="1985679"/>
                  </a:lnTo>
                  <a:lnTo>
                    <a:pt x="2481002" y="1991589"/>
                  </a:lnTo>
                  <a:lnTo>
                    <a:pt x="2522141" y="1995170"/>
                  </a:lnTo>
                  <a:lnTo>
                    <a:pt x="2543569" y="1997029"/>
                  </a:lnTo>
                  <a:lnTo>
                    <a:pt x="2565000" y="1998889"/>
                  </a:lnTo>
                  <a:lnTo>
                    <a:pt x="2586125" y="2003875"/>
                  </a:lnTo>
                  <a:lnTo>
                    <a:pt x="2602065" y="2018786"/>
                  </a:lnTo>
                  <a:lnTo>
                    <a:pt x="2602657" y="2104566"/>
                  </a:lnTo>
                  <a:lnTo>
                    <a:pt x="2583526" y="2224903"/>
                  </a:lnTo>
                  <a:lnTo>
                    <a:pt x="2559891" y="2307148"/>
                  </a:lnTo>
                  <a:lnTo>
                    <a:pt x="2552499" y="2332743"/>
                  </a:lnTo>
                  <a:lnTo>
                    <a:pt x="2535455" y="2361134"/>
                  </a:lnTo>
                  <a:lnTo>
                    <a:pt x="2529970" y="2386042"/>
                  </a:lnTo>
                  <a:lnTo>
                    <a:pt x="2512077" y="2466381"/>
                  </a:lnTo>
                  <a:lnTo>
                    <a:pt x="2512632" y="2553816"/>
                  </a:lnTo>
                  <a:lnTo>
                    <a:pt x="2483725" y="2632236"/>
                  </a:lnTo>
                  <a:lnTo>
                    <a:pt x="2462728" y="2689197"/>
                  </a:lnTo>
                  <a:lnTo>
                    <a:pt x="2428975" y="2747602"/>
                  </a:lnTo>
                  <a:lnTo>
                    <a:pt x="2418436" y="2807708"/>
                  </a:lnTo>
                  <a:lnTo>
                    <a:pt x="2438900" y="2834337"/>
                  </a:lnTo>
                  <a:lnTo>
                    <a:pt x="2464712" y="2851722"/>
                  </a:lnTo>
                  <a:lnTo>
                    <a:pt x="2487808" y="2870273"/>
                  </a:lnTo>
                  <a:lnTo>
                    <a:pt x="2510889" y="2888825"/>
                  </a:lnTo>
                  <a:lnTo>
                    <a:pt x="2532423" y="2908379"/>
                  </a:lnTo>
                  <a:lnTo>
                    <a:pt x="2548363" y="2941788"/>
                  </a:lnTo>
                  <a:lnTo>
                    <a:pt x="2544115" y="2989714"/>
                  </a:lnTo>
                  <a:lnTo>
                    <a:pt x="2535412" y="3037579"/>
                  </a:lnTo>
                  <a:lnTo>
                    <a:pt x="2526724" y="3085446"/>
                  </a:lnTo>
                  <a:lnTo>
                    <a:pt x="2512498" y="3132837"/>
                  </a:lnTo>
                  <a:lnTo>
                    <a:pt x="2501811" y="3152212"/>
                  </a:lnTo>
                  <a:lnTo>
                    <a:pt x="2471065" y="3187923"/>
                  </a:lnTo>
                  <a:lnTo>
                    <a:pt x="2421279" y="3200844"/>
                  </a:lnTo>
                  <a:lnTo>
                    <a:pt x="2335036" y="3199952"/>
                  </a:lnTo>
                  <a:lnTo>
                    <a:pt x="2230329" y="3188965"/>
                  </a:lnTo>
                  <a:lnTo>
                    <a:pt x="2125985" y="3172241"/>
                  </a:lnTo>
                  <a:lnTo>
                    <a:pt x="2021654" y="3155510"/>
                  </a:lnTo>
                  <a:lnTo>
                    <a:pt x="1918773" y="3133686"/>
                  </a:lnTo>
                  <a:lnTo>
                    <a:pt x="1843063" y="3112392"/>
                  </a:lnTo>
                  <a:lnTo>
                    <a:pt x="1773542" y="3092793"/>
                  </a:lnTo>
                  <a:lnTo>
                    <a:pt x="1709806" y="3047565"/>
                  </a:lnTo>
                  <a:lnTo>
                    <a:pt x="1644486" y="3018534"/>
                  </a:lnTo>
                  <a:lnTo>
                    <a:pt x="1596731" y="2997318"/>
                  </a:lnTo>
                  <a:lnTo>
                    <a:pt x="1544843" y="2980336"/>
                  </a:lnTo>
                  <a:lnTo>
                    <a:pt x="1490778" y="2969566"/>
                  </a:lnTo>
                  <a:lnTo>
                    <a:pt x="1436719" y="2958804"/>
                  </a:lnTo>
                  <a:lnTo>
                    <a:pt x="1381277" y="2954609"/>
                  </a:lnTo>
                  <a:lnTo>
                    <a:pt x="1328912" y="2954609"/>
                  </a:lnTo>
                  <a:lnTo>
                    <a:pt x="1302442" y="2954609"/>
                  </a:lnTo>
                  <a:lnTo>
                    <a:pt x="1263616" y="2973510"/>
                  </a:lnTo>
                  <a:lnTo>
                    <a:pt x="1226902" y="2995411"/>
                  </a:lnTo>
                  <a:lnTo>
                    <a:pt x="1190188" y="3017314"/>
                  </a:lnTo>
                  <a:lnTo>
                    <a:pt x="1155322" y="3042184"/>
                  </a:lnTo>
                  <a:lnTo>
                    <a:pt x="1133051" y="3053902"/>
                  </a:lnTo>
                  <a:lnTo>
                    <a:pt x="1068196" y="3088004"/>
                  </a:lnTo>
                  <a:lnTo>
                    <a:pt x="995533" y="3107420"/>
                  </a:lnTo>
                  <a:lnTo>
                    <a:pt x="931742" y="3145038"/>
                  </a:lnTo>
                  <a:lnTo>
                    <a:pt x="880269" y="3175427"/>
                  </a:lnTo>
                  <a:lnTo>
                    <a:pt x="813402" y="3211685"/>
                  </a:lnTo>
                  <a:lnTo>
                    <a:pt x="767132" y="3228430"/>
                  </a:lnTo>
                  <a:lnTo>
                    <a:pt x="719656" y="3236119"/>
                  </a:lnTo>
                  <a:lnTo>
                    <a:pt x="671935" y="3242965"/>
                  </a:lnTo>
                  <a:lnTo>
                    <a:pt x="624220" y="3249817"/>
                  </a:lnTo>
                  <a:lnTo>
                    <a:pt x="577147" y="3255020"/>
                  </a:lnTo>
                  <a:lnTo>
                    <a:pt x="529115" y="3263370"/>
                  </a:lnTo>
                  <a:lnTo>
                    <a:pt x="494603" y="3269363"/>
                  </a:lnTo>
                  <a:lnTo>
                    <a:pt x="458518" y="3279692"/>
                  </a:lnTo>
                  <a:lnTo>
                    <a:pt x="424381" y="3287857"/>
                  </a:lnTo>
                  <a:lnTo>
                    <a:pt x="401861" y="3293212"/>
                  </a:lnTo>
                  <a:lnTo>
                    <a:pt x="374734" y="3292657"/>
                  </a:lnTo>
                  <a:lnTo>
                    <a:pt x="350928" y="3298738"/>
                  </a:lnTo>
                  <a:lnTo>
                    <a:pt x="250019" y="3324411"/>
                  </a:lnTo>
                  <a:lnTo>
                    <a:pt x="128882" y="3380138"/>
                  </a:lnTo>
                  <a:lnTo>
                    <a:pt x="27205" y="3415713"/>
                  </a:lnTo>
                  <a:lnTo>
                    <a:pt x="0" y="342931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38" name="Kiev¬0" descr="Kiev¬0">
              <a:extLst>
                <a:ext uri="{FF2B5EF4-FFF2-40B4-BE49-F238E27FC236}">
                  <a16:creationId xmlns:a16="http://schemas.microsoft.com/office/drawing/2014/main" id="{B0313558-6C6B-47C3-AFEE-1BDDCB121E84}"/>
                </a:ext>
              </a:extLst>
            </p:cNvPr>
            <p:cNvSpPr/>
            <p:nvPr/>
          </p:nvSpPr>
          <p:spPr>
            <a:xfrm>
              <a:off x="3321239" y="1578428"/>
              <a:ext cx="980911" cy="1059502"/>
            </a:xfrm>
            <a:custGeom>
              <a:avLst/>
              <a:gdLst/>
              <a:ahLst/>
              <a:cxnLst/>
              <a:rect l="0" t="0" r="0" b="0"/>
              <a:pathLst>
                <a:path w="10009659" h="12272988">
                  <a:moveTo>
                    <a:pt x="9957981" y="6141983"/>
                  </a:moveTo>
                  <a:lnTo>
                    <a:pt x="9907655" y="6065811"/>
                  </a:lnTo>
                  <a:lnTo>
                    <a:pt x="9805637" y="5913470"/>
                  </a:lnTo>
                  <a:lnTo>
                    <a:pt x="9832711" y="5864291"/>
                  </a:lnTo>
                  <a:lnTo>
                    <a:pt x="9866073" y="5830367"/>
                  </a:lnTo>
                  <a:lnTo>
                    <a:pt x="9899485" y="5811453"/>
                  </a:lnTo>
                  <a:lnTo>
                    <a:pt x="9906117" y="5779870"/>
                  </a:lnTo>
                  <a:lnTo>
                    <a:pt x="9888286" y="5756656"/>
                  </a:lnTo>
                  <a:lnTo>
                    <a:pt x="9860040" y="5747522"/>
                  </a:lnTo>
                  <a:lnTo>
                    <a:pt x="9831260" y="5747192"/>
                  </a:lnTo>
                  <a:lnTo>
                    <a:pt x="9787015" y="5756405"/>
                  </a:lnTo>
                  <a:lnTo>
                    <a:pt x="9757389" y="5767603"/>
                  </a:lnTo>
                  <a:lnTo>
                    <a:pt x="9732184" y="5763851"/>
                  </a:lnTo>
                  <a:lnTo>
                    <a:pt x="9698729" y="5758865"/>
                  </a:lnTo>
                  <a:lnTo>
                    <a:pt x="9678925" y="5745577"/>
                  </a:lnTo>
                  <a:lnTo>
                    <a:pt x="9662811" y="5727124"/>
                  </a:lnTo>
                  <a:lnTo>
                    <a:pt x="9646695" y="5708671"/>
                  </a:lnTo>
                  <a:lnTo>
                    <a:pt x="9634481" y="5685121"/>
                  </a:lnTo>
                  <a:lnTo>
                    <a:pt x="9616563" y="5663193"/>
                  </a:lnTo>
                  <a:lnTo>
                    <a:pt x="9608991" y="5628510"/>
                  </a:lnTo>
                  <a:lnTo>
                    <a:pt x="9630637" y="5560497"/>
                  </a:lnTo>
                  <a:lnTo>
                    <a:pt x="9617921" y="5540778"/>
                  </a:lnTo>
                  <a:lnTo>
                    <a:pt x="9603767" y="5518758"/>
                  </a:lnTo>
                  <a:lnTo>
                    <a:pt x="9571118" y="5499870"/>
                  </a:lnTo>
                  <a:lnTo>
                    <a:pt x="9540391" y="5482288"/>
                  </a:lnTo>
                  <a:lnTo>
                    <a:pt x="9509664" y="5464706"/>
                  </a:lnTo>
                  <a:lnTo>
                    <a:pt x="9480351" y="5449089"/>
                  </a:lnTo>
                  <a:lnTo>
                    <a:pt x="9472838" y="5410041"/>
                  </a:lnTo>
                  <a:lnTo>
                    <a:pt x="9489972" y="5370841"/>
                  </a:lnTo>
                  <a:lnTo>
                    <a:pt x="9510464" y="5336745"/>
                  </a:lnTo>
                  <a:lnTo>
                    <a:pt x="9530962" y="5302656"/>
                  </a:lnTo>
                  <a:lnTo>
                    <a:pt x="9555184" y="5272669"/>
                  </a:lnTo>
                  <a:lnTo>
                    <a:pt x="9589551" y="5266318"/>
                  </a:lnTo>
                  <a:lnTo>
                    <a:pt x="9613152" y="5275491"/>
                  </a:lnTo>
                  <a:lnTo>
                    <a:pt x="9635610" y="5279620"/>
                  </a:lnTo>
                  <a:lnTo>
                    <a:pt x="9657357" y="5283082"/>
                  </a:lnTo>
                  <a:lnTo>
                    <a:pt x="9685663" y="5273197"/>
                  </a:lnTo>
                  <a:lnTo>
                    <a:pt x="9698518" y="5250912"/>
                  </a:lnTo>
                  <a:lnTo>
                    <a:pt x="9698174" y="5222488"/>
                  </a:lnTo>
                  <a:lnTo>
                    <a:pt x="9700087" y="5193860"/>
                  </a:lnTo>
                  <a:lnTo>
                    <a:pt x="9732178" y="5183044"/>
                  </a:lnTo>
                  <a:lnTo>
                    <a:pt x="9750880" y="5150505"/>
                  </a:lnTo>
                  <a:lnTo>
                    <a:pt x="9743104" y="5126776"/>
                  </a:lnTo>
                  <a:lnTo>
                    <a:pt x="9732178" y="5104149"/>
                  </a:lnTo>
                  <a:lnTo>
                    <a:pt x="9721251" y="5081523"/>
                  </a:lnTo>
                  <a:lnTo>
                    <a:pt x="9707850" y="5059555"/>
                  </a:lnTo>
                  <a:lnTo>
                    <a:pt x="9698174" y="5040225"/>
                  </a:lnTo>
                  <a:lnTo>
                    <a:pt x="9639941" y="5026745"/>
                  </a:lnTo>
                  <a:lnTo>
                    <a:pt x="9586642" y="5027979"/>
                  </a:lnTo>
                  <a:lnTo>
                    <a:pt x="9533334" y="5029212"/>
                  </a:lnTo>
                  <a:lnTo>
                    <a:pt x="9474488" y="5031737"/>
                  </a:lnTo>
                  <a:lnTo>
                    <a:pt x="9445175" y="5021179"/>
                  </a:lnTo>
                  <a:lnTo>
                    <a:pt x="9409112" y="5008187"/>
                  </a:lnTo>
                  <a:lnTo>
                    <a:pt x="9387554" y="4986153"/>
                  </a:lnTo>
                  <a:lnTo>
                    <a:pt x="9370361" y="4959972"/>
                  </a:lnTo>
                  <a:lnTo>
                    <a:pt x="9353174" y="4933790"/>
                  </a:lnTo>
                  <a:lnTo>
                    <a:pt x="9340195" y="4903875"/>
                  </a:lnTo>
                  <a:lnTo>
                    <a:pt x="9321393" y="4875636"/>
                  </a:lnTo>
                  <a:lnTo>
                    <a:pt x="9302619" y="4847430"/>
                  </a:lnTo>
                  <a:lnTo>
                    <a:pt x="9282636" y="4818933"/>
                  </a:lnTo>
                  <a:lnTo>
                    <a:pt x="9262910" y="4791307"/>
                  </a:lnTo>
                  <a:lnTo>
                    <a:pt x="9231545" y="4779944"/>
                  </a:lnTo>
                  <a:lnTo>
                    <a:pt x="9205035" y="4770969"/>
                  </a:lnTo>
                  <a:lnTo>
                    <a:pt x="9182658" y="4757304"/>
                  </a:lnTo>
                  <a:lnTo>
                    <a:pt x="9160287" y="4743632"/>
                  </a:lnTo>
                  <a:lnTo>
                    <a:pt x="9141538" y="4726334"/>
                  </a:lnTo>
                  <a:lnTo>
                    <a:pt x="9124168" y="4697455"/>
                  </a:lnTo>
                  <a:lnTo>
                    <a:pt x="9111757" y="4676813"/>
                  </a:lnTo>
                  <a:lnTo>
                    <a:pt x="9105893" y="4656283"/>
                  </a:lnTo>
                  <a:lnTo>
                    <a:pt x="9088806" y="4637606"/>
                  </a:lnTo>
                  <a:lnTo>
                    <a:pt x="9068296" y="4628400"/>
                  </a:lnTo>
                  <a:lnTo>
                    <a:pt x="9018668" y="4631176"/>
                  </a:lnTo>
                  <a:lnTo>
                    <a:pt x="8970466" y="4640323"/>
                  </a:lnTo>
                  <a:lnTo>
                    <a:pt x="8922271" y="4649471"/>
                  </a:lnTo>
                  <a:lnTo>
                    <a:pt x="8875520" y="4664870"/>
                  </a:lnTo>
                  <a:lnTo>
                    <a:pt x="8846734" y="4709965"/>
                  </a:lnTo>
                  <a:lnTo>
                    <a:pt x="8867620" y="4756064"/>
                  </a:lnTo>
                  <a:lnTo>
                    <a:pt x="8850768" y="4776344"/>
                  </a:lnTo>
                  <a:lnTo>
                    <a:pt x="8823563" y="4795383"/>
                  </a:lnTo>
                  <a:lnTo>
                    <a:pt x="8811325" y="4816743"/>
                  </a:lnTo>
                  <a:lnTo>
                    <a:pt x="8818382" y="4845669"/>
                  </a:lnTo>
                  <a:lnTo>
                    <a:pt x="8829005" y="4866113"/>
                  </a:lnTo>
                  <a:lnTo>
                    <a:pt x="8806371" y="4896846"/>
                  </a:lnTo>
                  <a:lnTo>
                    <a:pt x="8782202" y="4905603"/>
                  </a:lnTo>
                  <a:lnTo>
                    <a:pt x="8761000" y="4910998"/>
                  </a:lnTo>
                  <a:lnTo>
                    <a:pt x="8754681" y="4935993"/>
                  </a:lnTo>
                  <a:lnTo>
                    <a:pt x="8720103" y="4989636"/>
                  </a:lnTo>
                  <a:lnTo>
                    <a:pt x="8699785" y="5006216"/>
                  </a:lnTo>
                  <a:lnTo>
                    <a:pt x="8674493" y="5017763"/>
                  </a:lnTo>
                  <a:lnTo>
                    <a:pt x="8637720" y="5013225"/>
                  </a:lnTo>
                  <a:lnTo>
                    <a:pt x="8597776" y="5007574"/>
                  </a:lnTo>
                  <a:lnTo>
                    <a:pt x="8557825" y="5001922"/>
                  </a:lnTo>
                  <a:lnTo>
                    <a:pt x="8514317" y="4995360"/>
                  </a:lnTo>
                  <a:lnTo>
                    <a:pt x="8479429" y="5003498"/>
                  </a:lnTo>
                  <a:lnTo>
                    <a:pt x="8457648" y="5008576"/>
                  </a:lnTo>
                  <a:lnTo>
                    <a:pt x="8444337" y="5025076"/>
                  </a:lnTo>
                  <a:lnTo>
                    <a:pt x="8431829" y="5042942"/>
                  </a:lnTo>
                  <a:lnTo>
                    <a:pt x="8419318" y="5060808"/>
                  </a:lnTo>
                  <a:lnTo>
                    <a:pt x="8408153" y="5079511"/>
                  </a:lnTo>
                  <a:lnTo>
                    <a:pt x="8370041" y="5106194"/>
                  </a:lnTo>
                  <a:lnTo>
                    <a:pt x="8338635" y="5092338"/>
                  </a:lnTo>
                  <a:lnTo>
                    <a:pt x="8313489" y="5102791"/>
                  </a:lnTo>
                  <a:lnTo>
                    <a:pt x="8286688" y="5124257"/>
                  </a:lnTo>
                  <a:lnTo>
                    <a:pt x="8263105" y="5157687"/>
                  </a:lnTo>
                  <a:lnTo>
                    <a:pt x="8244117" y="5185761"/>
                  </a:lnTo>
                  <a:lnTo>
                    <a:pt x="8226384" y="5196953"/>
                  </a:lnTo>
                  <a:lnTo>
                    <a:pt x="8189717" y="5191202"/>
                  </a:lnTo>
                  <a:lnTo>
                    <a:pt x="8153583" y="5182207"/>
                  </a:lnTo>
                  <a:lnTo>
                    <a:pt x="8115067" y="5193399"/>
                  </a:lnTo>
                  <a:lnTo>
                    <a:pt x="8098364" y="5228529"/>
                  </a:lnTo>
                  <a:lnTo>
                    <a:pt x="8065935" y="5238818"/>
                  </a:lnTo>
                  <a:lnTo>
                    <a:pt x="8035072" y="5233588"/>
                  </a:lnTo>
                  <a:lnTo>
                    <a:pt x="8001068" y="5229769"/>
                  </a:lnTo>
                  <a:lnTo>
                    <a:pt x="7970719" y="5222495"/>
                  </a:lnTo>
                  <a:lnTo>
                    <a:pt x="7916639" y="5204762"/>
                  </a:lnTo>
                  <a:lnTo>
                    <a:pt x="7875506" y="5195291"/>
                  </a:lnTo>
                  <a:lnTo>
                    <a:pt x="7854937" y="5190556"/>
                  </a:lnTo>
                  <a:lnTo>
                    <a:pt x="7833828" y="5187707"/>
                  </a:lnTo>
                  <a:lnTo>
                    <a:pt x="7800209" y="5186533"/>
                  </a:lnTo>
                  <a:lnTo>
                    <a:pt x="7781655" y="5196650"/>
                  </a:lnTo>
                  <a:lnTo>
                    <a:pt x="7759371" y="5224388"/>
                  </a:lnTo>
                  <a:lnTo>
                    <a:pt x="7737168" y="5253412"/>
                  </a:lnTo>
                  <a:lnTo>
                    <a:pt x="7710924" y="5272821"/>
                  </a:lnTo>
                  <a:lnTo>
                    <a:pt x="7683372" y="5290179"/>
                  </a:lnTo>
                  <a:lnTo>
                    <a:pt x="7651412" y="5296272"/>
                  </a:lnTo>
                  <a:lnTo>
                    <a:pt x="7614344" y="5287784"/>
                  </a:lnTo>
                  <a:lnTo>
                    <a:pt x="7576390" y="5268785"/>
                  </a:lnTo>
                  <a:lnTo>
                    <a:pt x="7522325" y="5249462"/>
                  </a:lnTo>
                  <a:lnTo>
                    <a:pt x="7484898" y="5241218"/>
                  </a:lnTo>
                  <a:lnTo>
                    <a:pt x="7449762" y="5229294"/>
                  </a:lnTo>
                  <a:lnTo>
                    <a:pt x="7409380" y="5215583"/>
                  </a:lnTo>
                  <a:lnTo>
                    <a:pt x="7371618" y="5197415"/>
                  </a:lnTo>
                  <a:lnTo>
                    <a:pt x="7330064" y="5185768"/>
                  </a:lnTo>
                  <a:lnTo>
                    <a:pt x="7305709" y="5214904"/>
                  </a:lnTo>
                  <a:lnTo>
                    <a:pt x="7265525" y="5243988"/>
                  </a:lnTo>
                  <a:lnTo>
                    <a:pt x="7245511" y="5250708"/>
                  </a:lnTo>
                  <a:lnTo>
                    <a:pt x="7213314" y="5248690"/>
                  </a:lnTo>
                  <a:lnTo>
                    <a:pt x="7191325" y="5229294"/>
                  </a:lnTo>
                  <a:lnTo>
                    <a:pt x="7172498" y="5205058"/>
                  </a:lnTo>
                  <a:lnTo>
                    <a:pt x="7153023" y="5185524"/>
                  </a:lnTo>
                  <a:lnTo>
                    <a:pt x="7127394" y="5181686"/>
                  </a:lnTo>
                  <a:lnTo>
                    <a:pt x="7085676" y="5200943"/>
                  </a:lnTo>
                  <a:lnTo>
                    <a:pt x="7055352" y="5187944"/>
                  </a:lnTo>
                  <a:lnTo>
                    <a:pt x="7037170" y="5173535"/>
                  </a:lnTo>
                  <a:lnTo>
                    <a:pt x="7021304" y="5157206"/>
                  </a:lnTo>
                  <a:lnTo>
                    <a:pt x="7005429" y="5140870"/>
                  </a:lnTo>
                  <a:lnTo>
                    <a:pt x="6992608" y="5121890"/>
                  </a:lnTo>
                  <a:lnTo>
                    <a:pt x="6991653" y="5085644"/>
                  </a:lnTo>
                  <a:lnTo>
                    <a:pt x="7010719" y="4994233"/>
                  </a:lnTo>
                  <a:lnTo>
                    <a:pt x="6998180" y="4976300"/>
                  </a:lnTo>
                  <a:lnTo>
                    <a:pt x="6958862" y="4957571"/>
                  </a:lnTo>
                  <a:lnTo>
                    <a:pt x="6912759" y="4967562"/>
                  </a:lnTo>
                  <a:lnTo>
                    <a:pt x="6890723" y="4984459"/>
                  </a:lnTo>
                  <a:lnTo>
                    <a:pt x="6858186" y="4982289"/>
                  </a:lnTo>
                  <a:lnTo>
                    <a:pt x="6802946" y="4923463"/>
                  </a:lnTo>
                  <a:lnTo>
                    <a:pt x="6754235" y="4872583"/>
                  </a:lnTo>
                  <a:lnTo>
                    <a:pt x="6701656" y="4825317"/>
                  </a:lnTo>
                  <a:lnTo>
                    <a:pt x="6712195" y="4733569"/>
                  </a:lnTo>
                  <a:lnTo>
                    <a:pt x="6737018" y="4715143"/>
                  </a:lnTo>
                  <a:lnTo>
                    <a:pt x="6781697" y="4728577"/>
                  </a:lnTo>
                  <a:lnTo>
                    <a:pt x="6807686" y="4709023"/>
                  </a:lnTo>
                  <a:lnTo>
                    <a:pt x="6818101" y="4689983"/>
                  </a:lnTo>
                  <a:lnTo>
                    <a:pt x="6847606" y="4627009"/>
                  </a:lnTo>
                  <a:lnTo>
                    <a:pt x="6853141" y="4595359"/>
                  </a:lnTo>
                  <a:lnTo>
                    <a:pt x="6849913" y="4562800"/>
                  </a:lnTo>
                  <a:lnTo>
                    <a:pt x="6846698" y="4530248"/>
                  </a:lnTo>
                  <a:lnTo>
                    <a:pt x="6835551" y="4496910"/>
                  </a:lnTo>
                  <a:lnTo>
                    <a:pt x="6822712" y="4447185"/>
                  </a:lnTo>
                  <a:lnTo>
                    <a:pt x="6812567" y="4407913"/>
                  </a:lnTo>
                  <a:lnTo>
                    <a:pt x="6782606" y="4357198"/>
                  </a:lnTo>
                  <a:lnTo>
                    <a:pt x="6751981" y="4330211"/>
                  </a:lnTo>
                  <a:lnTo>
                    <a:pt x="6728773" y="4309721"/>
                  </a:lnTo>
                  <a:lnTo>
                    <a:pt x="6643020" y="4248448"/>
                  </a:lnTo>
                  <a:lnTo>
                    <a:pt x="6628200" y="4225471"/>
                  </a:lnTo>
                  <a:lnTo>
                    <a:pt x="6649160" y="4152934"/>
                  </a:lnTo>
                  <a:lnTo>
                    <a:pt x="6623834" y="4130524"/>
                  </a:lnTo>
                  <a:lnTo>
                    <a:pt x="6602381" y="4128796"/>
                  </a:lnTo>
                  <a:lnTo>
                    <a:pt x="6580599" y="4130261"/>
                  </a:lnTo>
                  <a:lnTo>
                    <a:pt x="6558809" y="4131725"/>
                  </a:lnTo>
                  <a:lnTo>
                    <a:pt x="6536531" y="4135279"/>
                  </a:lnTo>
                  <a:lnTo>
                    <a:pt x="6496803" y="4136163"/>
                  </a:lnTo>
                  <a:lnTo>
                    <a:pt x="6470423" y="4120737"/>
                  </a:lnTo>
                  <a:lnTo>
                    <a:pt x="6458315" y="4086959"/>
                  </a:lnTo>
                  <a:lnTo>
                    <a:pt x="6467707" y="4050007"/>
                  </a:lnTo>
                  <a:lnTo>
                    <a:pt x="6473254" y="4028132"/>
                  </a:lnTo>
                  <a:lnTo>
                    <a:pt x="6500794" y="4001297"/>
                  </a:lnTo>
                  <a:lnTo>
                    <a:pt x="6433697" y="3961596"/>
                  </a:lnTo>
                  <a:lnTo>
                    <a:pt x="6421307" y="3939536"/>
                  </a:lnTo>
                  <a:lnTo>
                    <a:pt x="6424516" y="3917898"/>
                  </a:lnTo>
                  <a:lnTo>
                    <a:pt x="6426897" y="3890865"/>
                  </a:lnTo>
                  <a:lnTo>
                    <a:pt x="6363540" y="3865171"/>
                  </a:lnTo>
                  <a:lnTo>
                    <a:pt x="6319059" y="3880089"/>
                  </a:lnTo>
                  <a:lnTo>
                    <a:pt x="6301060" y="3907775"/>
                  </a:lnTo>
                  <a:lnTo>
                    <a:pt x="6277278" y="3920786"/>
                  </a:lnTo>
                  <a:lnTo>
                    <a:pt x="6254796" y="3933086"/>
                  </a:lnTo>
                  <a:lnTo>
                    <a:pt x="6227396" y="3937366"/>
                  </a:lnTo>
                  <a:lnTo>
                    <a:pt x="6198384" y="3938474"/>
                  </a:lnTo>
                  <a:lnTo>
                    <a:pt x="6169375" y="3939582"/>
                  </a:lnTo>
                  <a:lnTo>
                    <a:pt x="6139426" y="3937069"/>
                  </a:lnTo>
                  <a:lnTo>
                    <a:pt x="6108616" y="3933027"/>
                  </a:lnTo>
                  <a:lnTo>
                    <a:pt x="6046979" y="3924961"/>
                  </a:lnTo>
                  <a:lnTo>
                    <a:pt x="5985823" y="3913110"/>
                  </a:lnTo>
                  <a:lnTo>
                    <a:pt x="5945392" y="3920786"/>
                  </a:lnTo>
                  <a:lnTo>
                    <a:pt x="5918386" y="3925917"/>
                  </a:lnTo>
                  <a:lnTo>
                    <a:pt x="5896682" y="3944482"/>
                  </a:lnTo>
                  <a:lnTo>
                    <a:pt x="5874655" y="3965671"/>
                  </a:lnTo>
                  <a:lnTo>
                    <a:pt x="5852635" y="3986868"/>
                  </a:lnTo>
                  <a:lnTo>
                    <a:pt x="5830568" y="4010550"/>
                  </a:lnTo>
                  <a:lnTo>
                    <a:pt x="5802566" y="4021445"/>
                  </a:lnTo>
                  <a:lnTo>
                    <a:pt x="5784871" y="4007259"/>
                  </a:lnTo>
                  <a:lnTo>
                    <a:pt x="5743454" y="3978209"/>
                  </a:lnTo>
                  <a:lnTo>
                    <a:pt x="5700554" y="3958872"/>
                  </a:lnTo>
                  <a:lnTo>
                    <a:pt x="5679101" y="3949204"/>
                  </a:lnTo>
                  <a:lnTo>
                    <a:pt x="5657074" y="3941910"/>
                  </a:lnTo>
                  <a:lnTo>
                    <a:pt x="5618891" y="3937755"/>
                  </a:lnTo>
                  <a:lnTo>
                    <a:pt x="5591733" y="3952073"/>
                  </a:lnTo>
                  <a:lnTo>
                    <a:pt x="5577067" y="3992698"/>
                  </a:lnTo>
                  <a:lnTo>
                    <a:pt x="5563170" y="4013280"/>
                  </a:lnTo>
                  <a:lnTo>
                    <a:pt x="5549273" y="4033863"/>
                  </a:lnTo>
                  <a:lnTo>
                    <a:pt x="5532208" y="4050423"/>
                  </a:lnTo>
                  <a:lnTo>
                    <a:pt x="5496259" y="4048398"/>
                  </a:lnTo>
                  <a:lnTo>
                    <a:pt x="5473399" y="4029602"/>
                  </a:lnTo>
                  <a:lnTo>
                    <a:pt x="5455930" y="4004548"/>
                  </a:lnTo>
                  <a:lnTo>
                    <a:pt x="5439178" y="3975768"/>
                  </a:lnTo>
                  <a:lnTo>
                    <a:pt x="5418993" y="3947990"/>
                  </a:lnTo>
                  <a:lnTo>
                    <a:pt x="5393128" y="3922699"/>
                  </a:lnTo>
                  <a:lnTo>
                    <a:pt x="5353220" y="3907273"/>
                  </a:lnTo>
                  <a:lnTo>
                    <a:pt x="5316974" y="3911270"/>
                  </a:lnTo>
                  <a:lnTo>
                    <a:pt x="5282530" y="3923787"/>
                  </a:lnTo>
                  <a:lnTo>
                    <a:pt x="5250761" y="3939562"/>
                  </a:lnTo>
                  <a:lnTo>
                    <a:pt x="5220400" y="3950721"/>
                  </a:lnTo>
                  <a:lnTo>
                    <a:pt x="5187385" y="3954164"/>
                  </a:lnTo>
                  <a:lnTo>
                    <a:pt x="5166097" y="3942095"/>
                  </a:lnTo>
                  <a:lnTo>
                    <a:pt x="5153942" y="3921492"/>
                  </a:lnTo>
                  <a:lnTo>
                    <a:pt x="5149980" y="3898179"/>
                  </a:lnTo>
                  <a:lnTo>
                    <a:pt x="5162627" y="3871925"/>
                  </a:lnTo>
                  <a:lnTo>
                    <a:pt x="5178232" y="3845980"/>
                  </a:lnTo>
                  <a:lnTo>
                    <a:pt x="5193841" y="3820043"/>
                  </a:lnTo>
                  <a:lnTo>
                    <a:pt x="5212268" y="3795628"/>
                  </a:lnTo>
                  <a:lnTo>
                    <a:pt x="5232626" y="3758235"/>
                  </a:lnTo>
                  <a:lnTo>
                    <a:pt x="5243059" y="3730873"/>
                  </a:lnTo>
                  <a:lnTo>
                    <a:pt x="5253043" y="3707244"/>
                  </a:lnTo>
                  <a:lnTo>
                    <a:pt x="5276654" y="3651305"/>
                  </a:lnTo>
                  <a:lnTo>
                    <a:pt x="5287754" y="3596792"/>
                  </a:lnTo>
                  <a:lnTo>
                    <a:pt x="5296572" y="3537214"/>
                  </a:lnTo>
                  <a:lnTo>
                    <a:pt x="5310448" y="3480260"/>
                  </a:lnTo>
                  <a:lnTo>
                    <a:pt x="5299078" y="3438218"/>
                  </a:lnTo>
                  <a:lnTo>
                    <a:pt x="5255769" y="3412076"/>
                  </a:lnTo>
                  <a:lnTo>
                    <a:pt x="5218047" y="3385854"/>
                  </a:lnTo>
                  <a:lnTo>
                    <a:pt x="5177063" y="3352293"/>
                  </a:lnTo>
                  <a:lnTo>
                    <a:pt x="5134706" y="3333187"/>
                  </a:lnTo>
                  <a:lnTo>
                    <a:pt x="5102200" y="3318520"/>
                  </a:lnTo>
                  <a:lnTo>
                    <a:pt x="5042786" y="3305040"/>
                  </a:lnTo>
                  <a:lnTo>
                    <a:pt x="4987804" y="3288303"/>
                  </a:lnTo>
                  <a:lnTo>
                    <a:pt x="4960317" y="3279926"/>
                  </a:lnTo>
                  <a:lnTo>
                    <a:pt x="4934808" y="3270331"/>
                  </a:lnTo>
                  <a:lnTo>
                    <a:pt x="4912999" y="3259740"/>
                  </a:lnTo>
                  <a:lnTo>
                    <a:pt x="4891189" y="3249141"/>
                  </a:lnTo>
                  <a:lnTo>
                    <a:pt x="4865389" y="3224372"/>
                  </a:lnTo>
                  <a:lnTo>
                    <a:pt x="4851744" y="3202258"/>
                  </a:lnTo>
                  <a:lnTo>
                    <a:pt x="4849549" y="3172093"/>
                  </a:lnTo>
                  <a:lnTo>
                    <a:pt x="4853148" y="3138677"/>
                  </a:lnTo>
                  <a:lnTo>
                    <a:pt x="4856751" y="3105261"/>
                  </a:lnTo>
                  <a:lnTo>
                    <a:pt x="4865746" y="3068363"/>
                  </a:lnTo>
                  <a:lnTo>
                    <a:pt x="4874911" y="3028503"/>
                  </a:lnTo>
                  <a:lnTo>
                    <a:pt x="4884074" y="2988643"/>
                  </a:lnTo>
                  <a:lnTo>
                    <a:pt x="4893630" y="2946165"/>
                  </a:lnTo>
                  <a:lnTo>
                    <a:pt x="4896674" y="2904723"/>
                  </a:lnTo>
                  <a:lnTo>
                    <a:pt x="4899722" y="2863287"/>
                  </a:lnTo>
                  <a:lnTo>
                    <a:pt x="4896479" y="2823190"/>
                  </a:lnTo>
                  <a:lnTo>
                    <a:pt x="4881711" y="2785026"/>
                  </a:lnTo>
                  <a:lnTo>
                    <a:pt x="4871253" y="2757973"/>
                  </a:lnTo>
                  <a:lnTo>
                    <a:pt x="4857588" y="2739270"/>
                  </a:lnTo>
                  <a:lnTo>
                    <a:pt x="4842268" y="2723818"/>
                  </a:lnTo>
                  <a:lnTo>
                    <a:pt x="4826948" y="2708366"/>
                  </a:lnTo>
                  <a:lnTo>
                    <a:pt x="4809346" y="2695420"/>
                  </a:lnTo>
                  <a:lnTo>
                    <a:pt x="4790579" y="2676210"/>
                  </a:lnTo>
                  <a:lnTo>
                    <a:pt x="4771228" y="2650852"/>
                  </a:lnTo>
                  <a:lnTo>
                    <a:pt x="4747359" y="2628120"/>
                  </a:lnTo>
                  <a:lnTo>
                    <a:pt x="4715764" y="2623160"/>
                  </a:lnTo>
                  <a:lnTo>
                    <a:pt x="4684160" y="2628812"/>
                  </a:lnTo>
                  <a:lnTo>
                    <a:pt x="4651985" y="2649071"/>
                  </a:lnTo>
                  <a:lnTo>
                    <a:pt x="4619197" y="2642206"/>
                  </a:lnTo>
                  <a:lnTo>
                    <a:pt x="4589372" y="2625864"/>
                  </a:lnTo>
                  <a:lnTo>
                    <a:pt x="4567398" y="2595976"/>
                  </a:lnTo>
                  <a:lnTo>
                    <a:pt x="4544383" y="2568759"/>
                  </a:lnTo>
                  <a:lnTo>
                    <a:pt x="4500857" y="2560469"/>
                  </a:lnTo>
                  <a:lnTo>
                    <a:pt x="4445090" y="2635407"/>
                  </a:lnTo>
                  <a:lnTo>
                    <a:pt x="4396162" y="2627097"/>
                  </a:lnTo>
                  <a:lnTo>
                    <a:pt x="4366629" y="2589717"/>
                  </a:lnTo>
                  <a:lnTo>
                    <a:pt x="4358425" y="2529928"/>
                  </a:lnTo>
                  <a:lnTo>
                    <a:pt x="4353954" y="2468107"/>
                  </a:lnTo>
                  <a:lnTo>
                    <a:pt x="4349483" y="2406280"/>
                  </a:lnTo>
                  <a:lnTo>
                    <a:pt x="4349399" y="2342198"/>
                  </a:lnTo>
                  <a:lnTo>
                    <a:pt x="4351238" y="2304884"/>
                  </a:lnTo>
                  <a:lnTo>
                    <a:pt x="4353539" y="2258290"/>
                  </a:lnTo>
                  <a:lnTo>
                    <a:pt x="4353356" y="2209528"/>
                  </a:lnTo>
                  <a:lnTo>
                    <a:pt x="4355312" y="2160699"/>
                  </a:lnTo>
                  <a:lnTo>
                    <a:pt x="4357278" y="2111871"/>
                  </a:lnTo>
                  <a:lnTo>
                    <a:pt x="4361327" y="2063583"/>
                  </a:lnTo>
                  <a:lnTo>
                    <a:pt x="4371637" y="2017880"/>
                  </a:lnTo>
                  <a:lnTo>
                    <a:pt x="4392125" y="1927022"/>
                  </a:lnTo>
                  <a:lnTo>
                    <a:pt x="4414983" y="1866079"/>
                  </a:lnTo>
                  <a:lnTo>
                    <a:pt x="4426043" y="1805689"/>
                  </a:lnTo>
                  <a:lnTo>
                    <a:pt x="4431571" y="1775491"/>
                  </a:lnTo>
                  <a:lnTo>
                    <a:pt x="4433642" y="1745312"/>
                  </a:lnTo>
                  <a:lnTo>
                    <a:pt x="4431484" y="1711834"/>
                  </a:lnTo>
                  <a:lnTo>
                    <a:pt x="4429329" y="1678353"/>
                  </a:lnTo>
                  <a:lnTo>
                    <a:pt x="4423116" y="1641609"/>
                  </a:lnTo>
                  <a:lnTo>
                    <a:pt x="4409721" y="1597577"/>
                  </a:lnTo>
                  <a:lnTo>
                    <a:pt x="4399843" y="1560400"/>
                  </a:lnTo>
                  <a:lnTo>
                    <a:pt x="4393400" y="1540448"/>
                  </a:lnTo>
                  <a:lnTo>
                    <a:pt x="4386957" y="1520498"/>
                  </a:lnTo>
                  <a:lnTo>
                    <a:pt x="4367553" y="1488761"/>
                  </a:lnTo>
                  <a:lnTo>
                    <a:pt x="4372877" y="1468337"/>
                  </a:lnTo>
                  <a:lnTo>
                    <a:pt x="4394758" y="1457476"/>
                  </a:lnTo>
                  <a:lnTo>
                    <a:pt x="4421355" y="1456922"/>
                  </a:lnTo>
                  <a:lnTo>
                    <a:pt x="4452497" y="1463474"/>
                  </a:lnTo>
                  <a:lnTo>
                    <a:pt x="4484535" y="1465638"/>
                  </a:lnTo>
                  <a:lnTo>
                    <a:pt x="4514977" y="1457306"/>
                  </a:lnTo>
                  <a:lnTo>
                    <a:pt x="4526703" y="1439794"/>
                  </a:lnTo>
                  <a:lnTo>
                    <a:pt x="4528061" y="1418031"/>
                  </a:lnTo>
                  <a:lnTo>
                    <a:pt x="4515814" y="1397628"/>
                  </a:lnTo>
                  <a:lnTo>
                    <a:pt x="4506292" y="1371784"/>
                  </a:lnTo>
                  <a:lnTo>
                    <a:pt x="4499492" y="1345940"/>
                  </a:lnTo>
                  <a:lnTo>
                    <a:pt x="4498131" y="1324177"/>
                  </a:lnTo>
                  <a:lnTo>
                    <a:pt x="4468679" y="1304917"/>
                  </a:lnTo>
                  <a:lnTo>
                    <a:pt x="4454825" y="1270034"/>
                  </a:lnTo>
                  <a:lnTo>
                    <a:pt x="4428762" y="1260247"/>
                  </a:lnTo>
                  <a:lnTo>
                    <a:pt x="4375546" y="1240313"/>
                  </a:lnTo>
                  <a:lnTo>
                    <a:pt x="4297331" y="1273127"/>
                  </a:lnTo>
                  <a:lnTo>
                    <a:pt x="4253297" y="1235764"/>
                  </a:lnTo>
                  <a:lnTo>
                    <a:pt x="4216490" y="1204501"/>
                  </a:lnTo>
                  <a:lnTo>
                    <a:pt x="4255145" y="1128053"/>
                  </a:lnTo>
                  <a:lnTo>
                    <a:pt x="4183924" y="1092943"/>
                  </a:lnTo>
                  <a:lnTo>
                    <a:pt x="4126247" y="1064507"/>
                  </a:lnTo>
                  <a:lnTo>
                    <a:pt x="4063463" y="1099701"/>
                  </a:lnTo>
                  <a:lnTo>
                    <a:pt x="4005743" y="1084782"/>
                  </a:lnTo>
                  <a:lnTo>
                    <a:pt x="3979602" y="1078023"/>
                  </a:lnTo>
                  <a:lnTo>
                    <a:pt x="3953374" y="1066228"/>
                  </a:lnTo>
                  <a:lnTo>
                    <a:pt x="3930932" y="1050777"/>
                  </a:lnTo>
                  <a:lnTo>
                    <a:pt x="3757590" y="858011"/>
                  </a:lnTo>
                  <a:lnTo>
                    <a:pt x="3746958" y="816610"/>
                  </a:lnTo>
                  <a:lnTo>
                    <a:pt x="3775484" y="805261"/>
                  </a:lnTo>
                  <a:lnTo>
                    <a:pt x="3792187" y="792339"/>
                  </a:lnTo>
                  <a:lnTo>
                    <a:pt x="3796521" y="552370"/>
                  </a:lnTo>
                  <a:lnTo>
                    <a:pt x="3790829" y="524379"/>
                  </a:lnTo>
                  <a:lnTo>
                    <a:pt x="3752388" y="486592"/>
                  </a:lnTo>
                  <a:lnTo>
                    <a:pt x="3666225" y="457114"/>
                  </a:lnTo>
                  <a:lnTo>
                    <a:pt x="3616731" y="433247"/>
                  </a:lnTo>
                  <a:lnTo>
                    <a:pt x="3569946" y="410697"/>
                  </a:lnTo>
                  <a:lnTo>
                    <a:pt x="3497923" y="348404"/>
                  </a:lnTo>
                  <a:lnTo>
                    <a:pt x="3463022" y="306749"/>
                  </a:lnTo>
                  <a:lnTo>
                    <a:pt x="3438267" y="281946"/>
                  </a:lnTo>
                  <a:lnTo>
                    <a:pt x="3404920" y="229132"/>
                  </a:lnTo>
                  <a:lnTo>
                    <a:pt x="3380389" y="182779"/>
                  </a:lnTo>
                  <a:lnTo>
                    <a:pt x="3348766" y="150325"/>
                  </a:lnTo>
                  <a:lnTo>
                    <a:pt x="3273657" y="73241"/>
                  </a:lnTo>
                  <a:lnTo>
                    <a:pt x="3154216" y="52795"/>
                  </a:lnTo>
                  <a:lnTo>
                    <a:pt x="3050880" y="63273"/>
                  </a:lnTo>
                  <a:lnTo>
                    <a:pt x="2995668" y="68862"/>
                  </a:lnTo>
                  <a:lnTo>
                    <a:pt x="2940264" y="82252"/>
                  </a:lnTo>
                  <a:lnTo>
                    <a:pt x="2884940" y="83676"/>
                  </a:lnTo>
                  <a:lnTo>
                    <a:pt x="2782503" y="86331"/>
                  </a:lnTo>
                  <a:lnTo>
                    <a:pt x="2675684" y="67013"/>
                  </a:lnTo>
                  <a:lnTo>
                    <a:pt x="2572097" y="90476"/>
                  </a:lnTo>
                  <a:lnTo>
                    <a:pt x="2450631" y="98064"/>
                  </a:lnTo>
                  <a:lnTo>
                    <a:pt x="2413589" y="171557"/>
                  </a:lnTo>
                  <a:lnTo>
                    <a:pt x="2339503" y="250980"/>
                  </a:lnTo>
                  <a:lnTo>
                    <a:pt x="2280121" y="235359"/>
                  </a:lnTo>
                  <a:lnTo>
                    <a:pt x="2302135" y="196083"/>
                  </a:lnTo>
                  <a:lnTo>
                    <a:pt x="2261967" y="169368"/>
                  </a:lnTo>
                  <a:lnTo>
                    <a:pt x="2154984" y="168689"/>
                  </a:lnTo>
                  <a:lnTo>
                    <a:pt x="2145013" y="318437"/>
                  </a:lnTo>
                  <a:lnTo>
                    <a:pt x="2086502" y="348914"/>
                  </a:lnTo>
                  <a:lnTo>
                    <a:pt x="2025907" y="380454"/>
                  </a:lnTo>
                  <a:lnTo>
                    <a:pt x="2014968" y="329192"/>
                  </a:lnTo>
                  <a:lnTo>
                    <a:pt x="1943683" y="323070"/>
                  </a:lnTo>
                  <a:lnTo>
                    <a:pt x="1921814" y="321198"/>
                  </a:lnTo>
                  <a:lnTo>
                    <a:pt x="1896120" y="318204"/>
                  </a:lnTo>
                  <a:lnTo>
                    <a:pt x="1874310" y="320350"/>
                  </a:lnTo>
                  <a:lnTo>
                    <a:pt x="1789810" y="328703"/>
                  </a:lnTo>
                  <a:lnTo>
                    <a:pt x="1692746" y="372463"/>
                  </a:lnTo>
                  <a:lnTo>
                    <a:pt x="1651238" y="261862"/>
                  </a:lnTo>
                  <a:lnTo>
                    <a:pt x="1640020" y="231980"/>
                  </a:lnTo>
                  <a:lnTo>
                    <a:pt x="1642994" y="198102"/>
                  </a:lnTo>
                  <a:lnTo>
                    <a:pt x="1632198" y="169368"/>
                  </a:lnTo>
                  <a:lnTo>
                    <a:pt x="1583673" y="61572"/>
                  </a:lnTo>
                  <a:lnTo>
                    <a:pt x="1528117" y="0"/>
                  </a:lnTo>
                  <a:lnTo>
                    <a:pt x="1407061" y="37577"/>
                  </a:lnTo>
                  <a:lnTo>
                    <a:pt x="1341112" y="53754"/>
                  </a:lnTo>
                  <a:lnTo>
                    <a:pt x="1320716" y="58748"/>
                  </a:lnTo>
                  <a:lnTo>
                    <a:pt x="1260630" y="67887"/>
                  </a:lnTo>
                  <a:lnTo>
                    <a:pt x="1232278" y="87823"/>
                  </a:lnTo>
                  <a:lnTo>
                    <a:pt x="1208831" y="120339"/>
                  </a:lnTo>
                  <a:lnTo>
                    <a:pt x="1180613" y="174535"/>
                  </a:lnTo>
                  <a:lnTo>
                    <a:pt x="1187260" y="247220"/>
                  </a:lnTo>
                  <a:lnTo>
                    <a:pt x="1150686" y="272745"/>
                  </a:lnTo>
                  <a:lnTo>
                    <a:pt x="1071730" y="327812"/>
                  </a:lnTo>
                  <a:lnTo>
                    <a:pt x="961386" y="220548"/>
                  </a:lnTo>
                  <a:lnTo>
                    <a:pt x="903132" y="270025"/>
                  </a:lnTo>
                  <a:lnTo>
                    <a:pt x="885828" y="289387"/>
                  </a:lnTo>
                  <a:lnTo>
                    <a:pt x="869512" y="328152"/>
                  </a:lnTo>
                  <a:lnTo>
                    <a:pt x="870337" y="359564"/>
                  </a:lnTo>
                  <a:lnTo>
                    <a:pt x="862322" y="388362"/>
                  </a:lnTo>
                  <a:lnTo>
                    <a:pt x="850723" y="429912"/>
                  </a:lnTo>
                  <a:lnTo>
                    <a:pt x="798565" y="589034"/>
                  </a:lnTo>
                  <a:lnTo>
                    <a:pt x="760313" y="603274"/>
                  </a:lnTo>
                  <a:lnTo>
                    <a:pt x="708747" y="622465"/>
                  </a:lnTo>
                  <a:lnTo>
                    <a:pt x="633981" y="529484"/>
                  </a:lnTo>
                  <a:lnTo>
                    <a:pt x="546757" y="532543"/>
                  </a:lnTo>
                  <a:lnTo>
                    <a:pt x="383058" y="538288"/>
                  </a:lnTo>
                  <a:lnTo>
                    <a:pt x="357621" y="644544"/>
                  </a:lnTo>
                  <a:lnTo>
                    <a:pt x="301921" y="679445"/>
                  </a:lnTo>
                  <a:lnTo>
                    <a:pt x="316213" y="703213"/>
                  </a:lnTo>
                  <a:lnTo>
                    <a:pt x="339314" y="746707"/>
                  </a:lnTo>
                  <a:lnTo>
                    <a:pt x="365852" y="754256"/>
                  </a:lnTo>
                  <a:lnTo>
                    <a:pt x="400429" y="731833"/>
                  </a:lnTo>
                  <a:lnTo>
                    <a:pt x="422977" y="718890"/>
                  </a:lnTo>
                  <a:lnTo>
                    <a:pt x="439715" y="732896"/>
                  </a:lnTo>
                  <a:lnTo>
                    <a:pt x="445214" y="767324"/>
                  </a:lnTo>
                  <a:lnTo>
                    <a:pt x="444746" y="803223"/>
                  </a:lnTo>
                  <a:lnTo>
                    <a:pt x="444278" y="839123"/>
                  </a:lnTo>
                  <a:lnTo>
                    <a:pt x="438449" y="875409"/>
                  </a:lnTo>
                  <a:lnTo>
                    <a:pt x="432460" y="931889"/>
                  </a:lnTo>
                  <a:lnTo>
                    <a:pt x="438218" y="965958"/>
                  </a:lnTo>
                  <a:lnTo>
                    <a:pt x="439300" y="1004533"/>
                  </a:lnTo>
                  <a:lnTo>
                    <a:pt x="440123" y="1033543"/>
                  </a:lnTo>
                  <a:lnTo>
                    <a:pt x="422535" y="1075202"/>
                  </a:lnTo>
                  <a:lnTo>
                    <a:pt x="410737" y="1099746"/>
                  </a:lnTo>
                  <a:lnTo>
                    <a:pt x="382813" y="1157813"/>
                  </a:lnTo>
                  <a:lnTo>
                    <a:pt x="358874" y="1193722"/>
                  </a:lnTo>
                  <a:lnTo>
                    <a:pt x="329125" y="1223524"/>
                  </a:lnTo>
                  <a:lnTo>
                    <a:pt x="299369" y="1253327"/>
                  </a:lnTo>
                  <a:lnTo>
                    <a:pt x="263077" y="1277780"/>
                  </a:lnTo>
                  <a:lnTo>
                    <a:pt x="210787" y="1314658"/>
                  </a:lnTo>
                  <a:lnTo>
                    <a:pt x="177066" y="1338438"/>
                  </a:lnTo>
                  <a:lnTo>
                    <a:pt x="148305" y="1355660"/>
                  </a:lnTo>
                  <a:lnTo>
                    <a:pt x="116934" y="1366346"/>
                  </a:lnTo>
                  <a:lnTo>
                    <a:pt x="85562" y="1377030"/>
                  </a:lnTo>
                  <a:lnTo>
                    <a:pt x="51434" y="1381052"/>
                  </a:lnTo>
                  <a:lnTo>
                    <a:pt x="9477" y="1375867"/>
                  </a:lnTo>
                  <a:lnTo>
                    <a:pt x="0" y="1411821"/>
                  </a:lnTo>
                  <a:lnTo>
                    <a:pt x="33858" y="1475643"/>
                  </a:lnTo>
                  <a:lnTo>
                    <a:pt x="40763" y="1509160"/>
                  </a:lnTo>
                  <a:lnTo>
                    <a:pt x="54289" y="1553005"/>
                  </a:lnTo>
                  <a:lnTo>
                    <a:pt x="75748" y="1600081"/>
                  </a:lnTo>
                  <a:lnTo>
                    <a:pt x="81571" y="1637019"/>
                  </a:lnTo>
                  <a:lnTo>
                    <a:pt x="88695" y="1682097"/>
                  </a:lnTo>
                  <a:lnTo>
                    <a:pt x="90007" y="1731443"/>
                  </a:lnTo>
                  <a:lnTo>
                    <a:pt x="93819" y="1777120"/>
                  </a:lnTo>
                  <a:lnTo>
                    <a:pt x="96628" y="1810839"/>
                  </a:lnTo>
                  <a:lnTo>
                    <a:pt x="105730" y="1862787"/>
                  </a:lnTo>
                  <a:lnTo>
                    <a:pt x="118299" y="1914498"/>
                  </a:lnTo>
                  <a:lnTo>
                    <a:pt x="130869" y="1966209"/>
                  </a:lnTo>
                  <a:lnTo>
                    <a:pt x="146209" y="2018137"/>
                  </a:lnTo>
                  <a:lnTo>
                    <a:pt x="163183" y="2049160"/>
                  </a:lnTo>
                  <a:lnTo>
                    <a:pt x="253324" y="1914841"/>
                  </a:lnTo>
                  <a:lnTo>
                    <a:pt x="265200" y="1895459"/>
                  </a:lnTo>
                  <a:lnTo>
                    <a:pt x="320737" y="1897338"/>
                  </a:lnTo>
                  <a:lnTo>
                    <a:pt x="380525" y="1931724"/>
                  </a:lnTo>
                  <a:lnTo>
                    <a:pt x="433865" y="1972988"/>
                  </a:lnTo>
                  <a:lnTo>
                    <a:pt x="460534" y="1993617"/>
                  </a:lnTo>
                  <a:lnTo>
                    <a:pt x="485939" y="2016020"/>
                  </a:lnTo>
                  <a:lnTo>
                    <a:pt x="505955" y="2038278"/>
                  </a:lnTo>
                  <a:lnTo>
                    <a:pt x="525977" y="2060536"/>
                  </a:lnTo>
                  <a:lnTo>
                    <a:pt x="540188" y="2082444"/>
                  </a:lnTo>
                  <a:lnTo>
                    <a:pt x="560322" y="2121545"/>
                  </a:lnTo>
                  <a:lnTo>
                    <a:pt x="563785" y="2151704"/>
                  </a:lnTo>
                  <a:lnTo>
                    <a:pt x="567162" y="2174298"/>
                  </a:lnTo>
                  <a:lnTo>
                    <a:pt x="622005" y="2196312"/>
                  </a:lnTo>
                  <a:lnTo>
                    <a:pt x="667615" y="2206586"/>
                  </a:lnTo>
                  <a:lnTo>
                    <a:pt x="704546" y="2225982"/>
                  </a:lnTo>
                  <a:lnTo>
                    <a:pt x="738834" y="2248484"/>
                  </a:lnTo>
                  <a:lnTo>
                    <a:pt x="765477" y="2279658"/>
                  </a:lnTo>
                  <a:lnTo>
                    <a:pt x="775258" y="2298539"/>
                  </a:lnTo>
                  <a:lnTo>
                    <a:pt x="780718" y="2322558"/>
                  </a:lnTo>
                  <a:lnTo>
                    <a:pt x="787517" y="2352485"/>
                  </a:lnTo>
                  <a:lnTo>
                    <a:pt x="786159" y="2382407"/>
                  </a:lnTo>
                  <a:lnTo>
                    <a:pt x="776634" y="2404117"/>
                  </a:lnTo>
                  <a:lnTo>
                    <a:pt x="760392" y="2423374"/>
                  </a:lnTo>
                  <a:lnTo>
                    <a:pt x="743998" y="2442255"/>
                  </a:lnTo>
                  <a:lnTo>
                    <a:pt x="727596" y="2461137"/>
                  </a:lnTo>
                  <a:lnTo>
                    <a:pt x="711009" y="2479595"/>
                  </a:lnTo>
                  <a:lnTo>
                    <a:pt x="700464" y="2502104"/>
                  </a:lnTo>
                  <a:lnTo>
                    <a:pt x="689846" y="2546910"/>
                  </a:lnTo>
                  <a:lnTo>
                    <a:pt x="688224" y="2578275"/>
                  </a:lnTo>
                  <a:lnTo>
                    <a:pt x="686601" y="2609647"/>
                  </a:lnTo>
                  <a:lnTo>
                    <a:pt x="687379" y="2641579"/>
                  </a:lnTo>
                  <a:lnTo>
                    <a:pt x="691818" y="2672958"/>
                  </a:lnTo>
                  <a:lnTo>
                    <a:pt x="700431" y="2708834"/>
                  </a:lnTo>
                  <a:lnTo>
                    <a:pt x="705905" y="2744223"/>
                  </a:lnTo>
                  <a:lnTo>
                    <a:pt x="711379" y="2779604"/>
                  </a:lnTo>
                  <a:lnTo>
                    <a:pt x="714075" y="2814973"/>
                  </a:lnTo>
                  <a:lnTo>
                    <a:pt x="682677" y="2835074"/>
                  </a:lnTo>
                  <a:lnTo>
                    <a:pt x="664074" y="2819741"/>
                  </a:lnTo>
                  <a:lnTo>
                    <a:pt x="647422" y="2802707"/>
                  </a:lnTo>
                  <a:lnTo>
                    <a:pt x="630763" y="2785678"/>
                  </a:lnTo>
                  <a:lnTo>
                    <a:pt x="615086" y="2766012"/>
                  </a:lnTo>
                  <a:lnTo>
                    <a:pt x="547937" y="2754927"/>
                  </a:lnTo>
                  <a:lnTo>
                    <a:pt x="490106" y="2756206"/>
                  </a:lnTo>
                  <a:lnTo>
                    <a:pt x="439306" y="2760539"/>
                  </a:lnTo>
                  <a:lnTo>
                    <a:pt x="437440" y="2822663"/>
                  </a:lnTo>
                  <a:lnTo>
                    <a:pt x="430449" y="2881898"/>
                  </a:lnTo>
                  <a:lnTo>
                    <a:pt x="437948" y="2918321"/>
                  </a:lnTo>
                  <a:lnTo>
                    <a:pt x="471845" y="2922991"/>
                  </a:lnTo>
                  <a:lnTo>
                    <a:pt x="507431" y="2916370"/>
                  </a:lnTo>
                  <a:lnTo>
                    <a:pt x="539964" y="2927845"/>
                  </a:lnTo>
                  <a:lnTo>
                    <a:pt x="562004" y="2969182"/>
                  </a:lnTo>
                  <a:lnTo>
                    <a:pt x="591675" y="3004735"/>
                  </a:lnTo>
                  <a:lnTo>
                    <a:pt x="617494" y="3043460"/>
                  </a:lnTo>
                  <a:lnTo>
                    <a:pt x="663869" y="3112957"/>
                  </a:lnTo>
                  <a:lnTo>
                    <a:pt x="704144" y="3184578"/>
                  </a:lnTo>
                  <a:lnTo>
                    <a:pt x="756237" y="3250210"/>
                  </a:lnTo>
                  <a:lnTo>
                    <a:pt x="784439" y="3285704"/>
                  </a:lnTo>
                  <a:lnTo>
                    <a:pt x="822266" y="3311866"/>
                  </a:lnTo>
                  <a:lnTo>
                    <a:pt x="847365" y="3349503"/>
                  </a:lnTo>
                  <a:lnTo>
                    <a:pt x="857510" y="3390992"/>
                  </a:lnTo>
                  <a:lnTo>
                    <a:pt x="850348" y="3430265"/>
                  </a:lnTo>
                  <a:lnTo>
                    <a:pt x="841418" y="3451137"/>
                  </a:lnTo>
                  <a:lnTo>
                    <a:pt x="836485" y="3471924"/>
                  </a:lnTo>
                  <a:lnTo>
                    <a:pt x="814449" y="3564800"/>
                  </a:lnTo>
                  <a:lnTo>
                    <a:pt x="779952" y="3723816"/>
                  </a:lnTo>
                  <a:lnTo>
                    <a:pt x="773918" y="3810612"/>
                  </a:lnTo>
                  <a:lnTo>
                    <a:pt x="788987" y="3826934"/>
                  </a:lnTo>
                  <a:lnTo>
                    <a:pt x="836076" y="3821645"/>
                  </a:lnTo>
                  <a:lnTo>
                    <a:pt x="893161" y="3808152"/>
                  </a:lnTo>
                  <a:lnTo>
                    <a:pt x="946664" y="3807888"/>
                  </a:lnTo>
                  <a:lnTo>
                    <a:pt x="973413" y="3807756"/>
                  </a:lnTo>
                  <a:lnTo>
                    <a:pt x="998621" y="3811311"/>
                  </a:lnTo>
                  <a:lnTo>
                    <a:pt x="1020114" y="3820135"/>
                  </a:lnTo>
                  <a:lnTo>
                    <a:pt x="1041610" y="3828953"/>
                  </a:lnTo>
                  <a:lnTo>
                    <a:pt x="1058744" y="3843455"/>
                  </a:lnTo>
                  <a:lnTo>
                    <a:pt x="1067720" y="3866378"/>
                  </a:lnTo>
                  <a:lnTo>
                    <a:pt x="1084526" y="3909311"/>
                  </a:lnTo>
                  <a:lnTo>
                    <a:pt x="1084808" y="3951795"/>
                  </a:lnTo>
                  <a:lnTo>
                    <a:pt x="1094925" y="3995599"/>
                  </a:lnTo>
                  <a:lnTo>
                    <a:pt x="1105845" y="4042845"/>
                  </a:lnTo>
                  <a:lnTo>
                    <a:pt x="1121199" y="4091661"/>
                  </a:lnTo>
                  <a:lnTo>
                    <a:pt x="1134371" y="4138418"/>
                  </a:lnTo>
                  <a:lnTo>
                    <a:pt x="1144981" y="4176082"/>
                  </a:lnTo>
                  <a:lnTo>
                    <a:pt x="1149768" y="4205376"/>
                  </a:lnTo>
                  <a:lnTo>
                    <a:pt x="1147976" y="4229553"/>
                  </a:lnTo>
                  <a:lnTo>
                    <a:pt x="1146168" y="4253731"/>
                  </a:lnTo>
                  <a:lnTo>
                    <a:pt x="1123488" y="4288043"/>
                  </a:lnTo>
                  <a:lnTo>
                    <a:pt x="1095868" y="4320247"/>
                  </a:lnTo>
                  <a:lnTo>
                    <a:pt x="1044441" y="4341370"/>
                  </a:lnTo>
                  <a:lnTo>
                    <a:pt x="971147" y="4373731"/>
                  </a:lnTo>
                  <a:lnTo>
                    <a:pt x="923562" y="4464339"/>
                  </a:lnTo>
                  <a:lnTo>
                    <a:pt x="892342" y="4537509"/>
                  </a:lnTo>
                  <a:lnTo>
                    <a:pt x="836866" y="4585902"/>
                  </a:lnTo>
                  <a:lnTo>
                    <a:pt x="803845" y="4643054"/>
                  </a:lnTo>
                  <a:lnTo>
                    <a:pt x="777828" y="4688044"/>
                  </a:lnTo>
                  <a:lnTo>
                    <a:pt x="759508" y="4738350"/>
                  </a:lnTo>
                  <a:lnTo>
                    <a:pt x="734474" y="4784514"/>
                  </a:lnTo>
                  <a:lnTo>
                    <a:pt x="742283" y="4807253"/>
                  </a:lnTo>
                  <a:lnTo>
                    <a:pt x="764745" y="4829781"/>
                  </a:lnTo>
                  <a:lnTo>
                    <a:pt x="795681" y="4852521"/>
                  </a:lnTo>
                  <a:lnTo>
                    <a:pt x="827403" y="4874271"/>
                  </a:lnTo>
                  <a:lnTo>
                    <a:pt x="862573" y="4893712"/>
                  </a:lnTo>
                  <a:lnTo>
                    <a:pt x="875934" y="4912369"/>
                  </a:lnTo>
                  <a:lnTo>
                    <a:pt x="865680" y="4942139"/>
                  </a:lnTo>
                  <a:lnTo>
                    <a:pt x="855371" y="4982091"/>
                  </a:lnTo>
                  <a:lnTo>
                    <a:pt x="843291" y="5019827"/>
                  </a:lnTo>
                  <a:lnTo>
                    <a:pt x="831202" y="5057570"/>
                  </a:lnTo>
                  <a:lnTo>
                    <a:pt x="818083" y="5093967"/>
                  </a:lnTo>
                  <a:lnTo>
                    <a:pt x="799765" y="5119120"/>
                  </a:lnTo>
                  <a:lnTo>
                    <a:pt x="774157" y="5126994"/>
                  </a:lnTo>
                  <a:lnTo>
                    <a:pt x="743753" y="5122127"/>
                  </a:lnTo>
                  <a:lnTo>
                    <a:pt x="718145" y="5128636"/>
                  </a:lnTo>
                  <a:lnTo>
                    <a:pt x="709671" y="5197949"/>
                  </a:lnTo>
                  <a:lnTo>
                    <a:pt x="801123" y="5240176"/>
                  </a:lnTo>
                  <a:lnTo>
                    <a:pt x="821218" y="5275953"/>
                  </a:lnTo>
                  <a:lnTo>
                    <a:pt x="825661" y="5300038"/>
                  </a:lnTo>
                  <a:lnTo>
                    <a:pt x="821528" y="5324505"/>
                  </a:lnTo>
                  <a:lnTo>
                    <a:pt x="817392" y="5348978"/>
                  </a:lnTo>
                  <a:lnTo>
                    <a:pt x="804518" y="5373136"/>
                  </a:lnTo>
                  <a:lnTo>
                    <a:pt x="790240" y="5408841"/>
                  </a:lnTo>
                  <a:lnTo>
                    <a:pt x="781884" y="5429733"/>
                  </a:lnTo>
                  <a:lnTo>
                    <a:pt x="773918" y="5453725"/>
                  </a:lnTo>
                  <a:lnTo>
                    <a:pt x="760398" y="5472086"/>
                  </a:lnTo>
                  <a:lnTo>
                    <a:pt x="741274" y="5486370"/>
                  </a:lnTo>
                  <a:lnTo>
                    <a:pt x="720295" y="5490703"/>
                  </a:lnTo>
                  <a:lnTo>
                    <a:pt x="655434" y="5471176"/>
                  </a:lnTo>
                  <a:lnTo>
                    <a:pt x="635175" y="5464607"/>
                  </a:lnTo>
                  <a:lnTo>
                    <a:pt x="614328" y="5486179"/>
                  </a:lnTo>
                  <a:lnTo>
                    <a:pt x="609336" y="5513575"/>
                  </a:lnTo>
                  <a:lnTo>
                    <a:pt x="707270" y="5570706"/>
                  </a:lnTo>
                  <a:lnTo>
                    <a:pt x="701400" y="5599526"/>
                  </a:lnTo>
                  <a:lnTo>
                    <a:pt x="682718" y="5638818"/>
                  </a:lnTo>
                  <a:lnTo>
                    <a:pt x="565802" y="5650953"/>
                  </a:lnTo>
                  <a:lnTo>
                    <a:pt x="543539" y="5673745"/>
                  </a:lnTo>
                  <a:lnTo>
                    <a:pt x="541836" y="5709780"/>
                  </a:lnTo>
                  <a:lnTo>
                    <a:pt x="552205" y="5742088"/>
                  </a:lnTo>
                  <a:lnTo>
                    <a:pt x="579408" y="5752969"/>
                  </a:lnTo>
                  <a:lnTo>
                    <a:pt x="600769" y="5757784"/>
                  </a:lnTo>
                  <a:lnTo>
                    <a:pt x="637469" y="5747120"/>
                  </a:lnTo>
                  <a:lnTo>
                    <a:pt x="670438" y="5740531"/>
                  </a:lnTo>
                  <a:lnTo>
                    <a:pt x="699106" y="5729841"/>
                  </a:lnTo>
                  <a:lnTo>
                    <a:pt x="720802" y="5721769"/>
                  </a:lnTo>
                  <a:lnTo>
                    <a:pt x="740931" y="5705954"/>
                  </a:lnTo>
                  <a:lnTo>
                    <a:pt x="763037" y="5697196"/>
                  </a:lnTo>
                  <a:lnTo>
                    <a:pt x="797039" y="5683598"/>
                  </a:lnTo>
                  <a:lnTo>
                    <a:pt x="844965" y="5677405"/>
                  </a:lnTo>
                  <a:lnTo>
                    <a:pt x="899439" y="5680030"/>
                  </a:lnTo>
                  <a:lnTo>
                    <a:pt x="948022" y="5678157"/>
                  </a:lnTo>
                  <a:lnTo>
                    <a:pt x="975611" y="5687561"/>
                  </a:lnTo>
                  <a:lnTo>
                    <a:pt x="992910" y="5702637"/>
                  </a:lnTo>
                  <a:lnTo>
                    <a:pt x="1010208" y="5717719"/>
                  </a:lnTo>
                  <a:lnTo>
                    <a:pt x="1028402" y="5737458"/>
                  </a:lnTo>
                  <a:lnTo>
                    <a:pt x="1045957" y="5759769"/>
                  </a:lnTo>
                  <a:lnTo>
                    <a:pt x="1081062" y="5804390"/>
                  </a:lnTo>
                  <a:lnTo>
                    <a:pt x="1111088" y="5855606"/>
                  </a:lnTo>
                  <a:lnTo>
                    <a:pt x="1112605" y="5879466"/>
                  </a:lnTo>
                  <a:lnTo>
                    <a:pt x="1114288" y="5905925"/>
                  </a:lnTo>
                  <a:lnTo>
                    <a:pt x="1110068" y="5929931"/>
                  </a:lnTo>
                  <a:lnTo>
                    <a:pt x="1107166" y="5954279"/>
                  </a:lnTo>
                  <a:lnTo>
                    <a:pt x="1104264" y="5978627"/>
                  </a:lnTo>
                  <a:lnTo>
                    <a:pt x="1102900" y="6003931"/>
                  </a:lnTo>
                  <a:lnTo>
                    <a:pt x="1109888" y="6030450"/>
                  </a:lnTo>
                  <a:lnTo>
                    <a:pt x="1127531" y="6046152"/>
                  </a:lnTo>
                  <a:lnTo>
                    <a:pt x="1166105" y="6053401"/>
                  </a:lnTo>
                  <a:lnTo>
                    <a:pt x="1170781" y="6118327"/>
                  </a:lnTo>
                  <a:lnTo>
                    <a:pt x="1143787" y="6172418"/>
                  </a:lnTo>
                  <a:lnTo>
                    <a:pt x="1149340" y="6222236"/>
                  </a:lnTo>
                  <a:lnTo>
                    <a:pt x="1166750" y="6241434"/>
                  </a:lnTo>
                  <a:lnTo>
                    <a:pt x="1194516" y="6238546"/>
                  </a:lnTo>
                  <a:lnTo>
                    <a:pt x="1224145" y="6235835"/>
                  </a:lnTo>
                  <a:lnTo>
                    <a:pt x="1253777" y="6233124"/>
                  </a:lnTo>
                  <a:lnTo>
                    <a:pt x="1286554" y="6230513"/>
                  </a:lnTo>
                  <a:lnTo>
                    <a:pt x="1307117" y="6237193"/>
                  </a:lnTo>
                  <a:lnTo>
                    <a:pt x="1326926" y="6250311"/>
                  </a:lnTo>
                  <a:lnTo>
                    <a:pt x="1345598" y="6294384"/>
                  </a:lnTo>
                  <a:lnTo>
                    <a:pt x="1365606" y="6340568"/>
                  </a:lnTo>
                  <a:lnTo>
                    <a:pt x="1385614" y="6386759"/>
                  </a:lnTo>
                  <a:lnTo>
                    <a:pt x="1405762" y="6434797"/>
                  </a:lnTo>
                  <a:lnTo>
                    <a:pt x="1429537" y="6458908"/>
                  </a:lnTo>
                  <a:lnTo>
                    <a:pt x="1473448" y="6477399"/>
                  </a:lnTo>
                  <a:lnTo>
                    <a:pt x="1522031" y="6498352"/>
                  </a:lnTo>
                  <a:lnTo>
                    <a:pt x="1506050" y="6532105"/>
                  </a:lnTo>
                  <a:lnTo>
                    <a:pt x="1491682" y="6555437"/>
                  </a:lnTo>
                  <a:lnTo>
                    <a:pt x="1482588" y="6577247"/>
                  </a:lnTo>
                  <a:lnTo>
                    <a:pt x="1486327" y="6619942"/>
                  </a:lnTo>
                  <a:lnTo>
                    <a:pt x="1481717" y="6662894"/>
                  </a:lnTo>
                  <a:lnTo>
                    <a:pt x="1483946" y="6705102"/>
                  </a:lnTo>
                  <a:lnTo>
                    <a:pt x="1486008" y="6743913"/>
                  </a:lnTo>
                  <a:lnTo>
                    <a:pt x="1494826" y="6784781"/>
                  </a:lnTo>
                  <a:lnTo>
                    <a:pt x="1494826" y="6823441"/>
                  </a:lnTo>
                  <a:lnTo>
                    <a:pt x="1494826" y="6866690"/>
                  </a:lnTo>
                  <a:lnTo>
                    <a:pt x="1489471" y="6911661"/>
                  </a:lnTo>
                  <a:lnTo>
                    <a:pt x="1488020" y="6955379"/>
                  </a:lnTo>
                  <a:lnTo>
                    <a:pt x="1504199" y="6995252"/>
                  </a:lnTo>
                  <a:lnTo>
                    <a:pt x="1519327" y="7012075"/>
                  </a:lnTo>
                  <a:lnTo>
                    <a:pt x="1538352" y="7026109"/>
                  </a:lnTo>
                  <a:lnTo>
                    <a:pt x="1557374" y="7040150"/>
                  </a:lnTo>
                  <a:lnTo>
                    <a:pt x="1580461" y="7051915"/>
                  </a:lnTo>
                  <a:lnTo>
                    <a:pt x="1605002" y="7062836"/>
                  </a:lnTo>
                  <a:lnTo>
                    <a:pt x="1621324" y="7092763"/>
                  </a:lnTo>
                  <a:lnTo>
                    <a:pt x="1624021" y="7114751"/>
                  </a:lnTo>
                  <a:lnTo>
                    <a:pt x="1596835" y="7147172"/>
                  </a:lnTo>
                  <a:lnTo>
                    <a:pt x="1585574" y="7166336"/>
                  </a:lnTo>
                  <a:lnTo>
                    <a:pt x="1580905" y="7190572"/>
                  </a:lnTo>
                  <a:lnTo>
                    <a:pt x="1587314" y="7223342"/>
                  </a:lnTo>
                  <a:lnTo>
                    <a:pt x="1606612" y="7240134"/>
                  </a:lnTo>
                  <a:lnTo>
                    <a:pt x="1643930" y="7232780"/>
                  </a:lnTo>
                  <a:lnTo>
                    <a:pt x="1667566" y="7246464"/>
                  </a:lnTo>
                  <a:lnTo>
                    <a:pt x="1668800" y="7267463"/>
                  </a:lnTo>
                  <a:lnTo>
                    <a:pt x="1663123" y="7291606"/>
                  </a:lnTo>
                  <a:lnTo>
                    <a:pt x="1649595" y="7329435"/>
                  </a:lnTo>
                  <a:lnTo>
                    <a:pt x="1600603" y="7352220"/>
                  </a:lnTo>
                  <a:lnTo>
                    <a:pt x="1551945" y="7368879"/>
                  </a:lnTo>
                  <a:lnTo>
                    <a:pt x="1503294" y="7385544"/>
                  </a:lnTo>
                  <a:lnTo>
                    <a:pt x="1454981" y="7396116"/>
                  </a:lnTo>
                  <a:lnTo>
                    <a:pt x="1427426" y="7397296"/>
                  </a:lnTo>
                  <a:lnTo>
                    <a:pt x="1400178" y="7426921"/>
                  </a:lnTo>
                  <a:lnTo>
                    <a:pt x="1402326" y="7447774"/>
                  </a:lnTo>
                  <a:lnTo>
                    <a:pt x="1406745" y="7490983"/>
                  </a:lnTo>
                  <a:lnTo>
                    <a:pt x="1472676" y="7727206"/>
                  </a:lnTo>
                  <a:lnTo>
                    <a:pt x="1457796" y="7757536"/>
                  </a:lnTo>
                  <a:lnTo>
                    <a:pt x="1425172" y="7770014"/>
                  </a:lnTo>
                  <a:lnTo>
                    <a:pt x="1405380" y="7796011"/>
                  </a:lnTo>
                  <a:lnTo>
                    <a:pt x="1416592" y="7825932"/>
                  </a:lnTo>
                  <a:lnTo>
                    <a:pt x="1436331" y="7863992"/>
                  </a:lnTo>
                  <a:lnTo>
                    <a:pt x="1456069" y="7902057"/>
                  </a:lnTo>
                  <a:lnTo>
                    <a:pt x="1484011" y="7947674"/>
                  </a:lnTo>
                  <a:lnTo>
                    <a:pt x="1513861" y="7994570"/>
                  </a:lnTo>
                  <a:lnTo>
                    <a:pt x="1543716" y="8041473"/>
                  </a:lnTo>
                  <a:lnTo>
                    <a:pt x="1575674" y="8089095"/>
                  </a:lnTo>
                  <a:lnTo>
                    <a:pt x="1600913" y="8129232"/>
                  </a:lnTo>
                  <a:lnTo>
                    <a:pt x="1626158" y="8169369"/>
                  </a:lnTo>
                  <a:lnTo>
                    <a:pt x="1645341" y="8202587"/>
                  </a:lnTo>
                  <a:lnTo>
                    <a:pt x="1649214" y="8259283"/>
                  </a:lnTo>
                  <a:lnTo>
                    <a:pt x="1633596" y="8290148"/>
                  </a:lnTo>
                  <a:lnTo>
                    <a:pt x="1611793" y="8315577"/>
                  </a:lnTo>
                  <a:lnTo>
                    <a:pt x="1589999" y="8341014"/>
                  </a:lnTo>
                  <a:lnTo>
                    <a:pt x="1561262" y="8360410"/>
                  </a:lnTo>
                  <a:lnTo>
                    <a:pt x="1531546" y="8376790"/>
                  </a:lnTo>
                  <a:lnTo>
                    <a:pt x="1501824" y="8393172"/>
                  </a:lnTo>
                  <a:lnTo>
                    <a:pt x="1471646" y="8405821"/>
                  </a:lnTo>
                  <a:lnTo>
                    <a:pt x="1445852" y="8417594"/>
                  </a:lnTo>
                  <a:lnTo>
                    <a:pt x="1420062" y="8429366"/>
                  </a:lnTo>
                  <a:lnTo>
                    <a:pt x="1398733" y="8439997"/>
                  </a:lnTo>
                  <a:lnTo>
                    <a:pt x="1373482" y="8481459"/>
                  </a:lnTo>
                  <a:lnTo>
                    <a:pt x="1383128" y="8502609"/>
                  </a:lnTo>
                  <a:lnTo>
                    <a:pt x="1375122" y="8530493"/>
                  </a:lnTo>
                  <a:lnTo>
                    <a:pt x="1360608" y="8550764"/>
                  </a:lnTo>
                  <a:lnTo>
                    <a:pt x="1333996" y="8576380"/>
                  </a:lnTo>
                  <a:lnTo>
                    <a:pt x="1301669" y="8606663"/>
                  </a:lnTo>
                  <a:lnTo>
                    <a:pt x="1285348" y="8622985"/>
                  </a:lnTo>
                  <a:lnTo>
                    <a:pt x="1205098" y="8651547"/>
                  </a:lnTo>
                  <a:lnTo>
                    <a:pt x="1166288" y="8690359"/>
                  </a:lnTo>
                  <a:lnTo>
                    <a:pt x="1132873" y="8719825"/>
                  </a:lnTo>
                  <a:lnTo>
                    <a:pt x="1109671" y="8730681"/>
                  </a:lnTo>
                  <a:lnTo>
                    <a:pt x="1085403" y="8739959"/>
                  </a:lnTo>
                  <a:lnTo>
                    <a:pt x="1061126" y="8749245"/>
                  </a:lnTo>
                  <a:lnTo>
                    <a:pt x="1036060" y="8756229"/>
                  </a:lnTo>
                  <a:lnTo>
                    <a:pt x="1011947" y="8769887"/>
                  </a:lnTo>
                  <a:lnTo>
                    <a:pt x="982067" y="8786823"/>
                  </a:lnTo>
                  <a:lnTo>
                    <a:pt x="921729" y="8841488"/>
                  </a:lnTo>
                  <a:lnTo>
                    <a:pt x="885453" y="8866463"/>
                  </a:lnTo>
                  <a:lnTo>
                    <a:pt x="867950" y="8878498"/>
                  </a:lnTo>
                  <a:lnTo>
                    <a:pt x="836485" y="8871903"/>
                  </a:lnTo>
                  <a:lnTo>
                    <a:pt x="804499" y="8860172"/>
                  </a:lnTo>
                  <a:lnTo>
                    <a:pt x="778290" y="8875960"/>
                  </a:lnTo>
                  <a:lnTo>
                    <a:pt x="771559" y="8910879"/>
                  </a:lnTo>
                  <a:lnTo>
                    <a:pt x="743990" y="8948075"/>
                  </a:lnTo>
                  <a:lnTo>
                    <a:pt x="717533" y="8959036"/>
                  </a:lnTo>
                  <a:lnTo>
                    <a:pt x="687373" y="8936784"/>
                  </a:lnTo>
                  <a:lnTo>
                    <a:pt x="659655" y="8941269"/>
                  </a:lnTo>
                  <a:lnTo>
                    <a:pt x="631541" y="8945793"/>
                  </a:lnTo>
                  <a:lnTo>
                    <a:pt x="615832" y="8977489"/>
                  </a:lnTo>
                  <a:lnTo>
                    <a:pt x="587565" y="8988877"/>
                  </a:lnTo>
                  <a:lnTo>
                    <a:pt x="586906" y="9030121"/>
                  </a:lnTo>
                  <a:lnTo>
                    <a:pt x="601890" y="9054965"/>
                  </a:lnTo>
                  <a:lnTo>
                    <a:pt x="617494" y="9077289"/>
                  </a:lnTo>
                  <a:lnTo>
                    <a:pt x="633091" y="9099619"/>
                  </a:lnTo>
                  <a:lnTo>
                    <a:pt x="648634" y="9120598"/>
                  </a:lnTo>
                  <a:lnTo>
                    <a:pt x="650138" y="9152101"/>
                  </a:lnTo>
                  <a:lnTo>
                    <a:pt x="652051" y="9192251"/>
                  </a:lnTo>
                  <a:lnTo>
                    <a:pt x="642429" y="9236002"/>
                  </a:lnTo>
                  <a:lnTo>
                    <a:pt x="625651" y="9278597"/>
                  </a:lnTo>
                  <a:lnTo>
                    <a:pt x="608874" y="9321201"/>
                  </a:lnTo>
                  <a:lnTo>
                    <a:pt x="585100" y="9362366"/>
                  </a:lnTo>
                  <a:lnTo>
                    <a:pt x="561720" y="9394220"/>
                  </a:lnTo>
                  <a:lnTo>
                    <a:pt x="547450" y="9413668"/>
                  </a:lnTo>
                  <a:lnTo>
                    <a:pt x="530758" y="9426481"/>
                  </a:lnTo>
                  <a:lnTo>
                    <a:pt x="520918" y="9449987"/>
                  </a:lnTo>
                  <a:lnTo>
                    <a:pt x="560640" y="9453554"/>
                  </a:lnTo>
                  <a:lnTo>
                    <a:pt x="609052" y="9458421"/>
                  </a:lnTo>
                  <a:lnTo>
                    <a:pt x="648774" y="9451345"/>
                  </a:lnTo>
                  <a:lnTo>
                    <a:pt x="682994" y="9445245"/>
                  </a:lnTo>
                  <a:lnTo>
                    <a:pt x="712237" y="9431751"/>
                  </a:lnTo>
                  <a:lnTo>
                    <a:pt x="748073" y="9435022"/>
                  </a:lnTo>
                  <a:lnTo>
                    <a:pt x="764844" y="9486403"/>
                  </a:lnTo>
                  <a:lnTo>
                    <a:pt x="760313" y="9526158"/>
                  </a:lnTo>
                  <a:lnTo>
                    <a:pt x="755783" y="9565912"/>
                  </a:lnTo>
                  <a:lnTo>
                    <a:pt x="746022" y="9605388"/>
                  </a:lnTo>
                  <a:lnTo>
                    <a:pt x="727596" y="9621811"/>
                  </a:lnTo>
                  <a:lnTo>
                    <a:pt x="688224" y="9633608"/>
                  </a:lnTo>
                  <a:lnTo>
                    <a:pt x="650541" y="9648955"/>
                  </a:lnTo>
                  <a:lnTo>
                    <a:pt x="634897" y="9669538"/>
                  </a:lnTo>
                  <a:lnTo>
                    <a:pt x="631093" y="9701621"/>
                  </a:lnTo>
                  <a:lnTo>
                    <a:pt x="631059" y="9733429"/>
                  </a:lnTo>
                  <a:lnTo>
                    <a:pt x="673279" y="9756029"/>
                  </a:lnTo>
                  <a:lnTo>
                    <a:pt x="723678" y="9754565"/>
                  </a:lnTo>
                  <a:lnTo>
                    <a:pt x="769830" y="9761470"/>
                  </a:lnTo>
                  <a:lnTo>
                    <a:pt x="792906" y="9764920"/>
                  </a:lnTo>
                  <a:lnTo>
                    <a:pt x="815103" y="9770155"/>
                  </a:lnTo>
                  <a:lnTo>
                    <a:pt x="833760" y="9780509"/>
                  </a:lnTo>
                  <a:lnTo>
                    <a:pt x="852419" y="9790870"/>
                  </a:lnTo>
                  <a:lnTo>
                    <a:pt x="867336" y="9806948"/>
                  </a:lnTo>
                  <a:lnTo>
                    <a:pt x="877286" y="9829477"/>
                  </a:lnTo>
                  <a:lnTo>
                    <a:pt x="877022" y="9854505"/>
                  </a:lnTo>
                  <a:lnTo>
                    <a:pt x="865041" y="9894766"/>
                  </a:lnTo>
                  <a:lnTo>
                    <a:pt x="857553" y="9915072"/>
                  </a:lnTo>
                  <a:lnTo>
                    <a:pt x="846732" y="9935088"/>
                  </a:lnTo>
                  <a:lnTo>
                    <a:pt x="835118" y="9957339"/>
                  </a:lnTo>
                  <a:lnTo>
                    <a:pt x="821810" y="9977507"/>
                  </a:lnTo>
                  <a:lnTo>
                    <a:pt x="805746" y="10017030"/>
                  </a:lnTo>
                  <a:lnTo>
                    <a:pt x="800152" y="10053756"/>
                  </a:lnTo>
                  <a:lnTo>
                    <a:pt x="799749" y="10090635"/>
                  </a:lnTo>
                  <a:lnTo>
                    <a:pt x="799355" y="10127521"/>
                  </a:lnTo>
                  <a:lnTo>
                    <a:pt x="803746" y="10164188"/>
                  </a:lnTo>
                  <a:lnTo>
                    <a:pt x="814716" y="10192652"/>
                  </a:lnTo>
                  <a:lnTo>
                    <a:pt x="827019" y="10224597"/>
                  </a:lnTo>
                  <a:lnTo>
                    <a:pt x="848711" y="10248774"/>
                  </a:lnTo>
                  <a:lnTo>
                    <a:pt x="873205" y="10267464"/>
                  </a:lnTo>
                  <a:lnTo>
                    <a:pt x="897697" y="10286155"/>
                  </a:lnTo>
                  <a:lnTo>
                    <a:pt x="925205" y="10299541"/>
                  </a:lnTo>
                  <a:lnTo>
                    <a:pt x="952093" y="10310990"/>
                  </a:lnTo>
                  <a:lnTo>
                    <a:pt x="978988" y="10322439"/>
                  </a:lnTo>
                  <a:lnTo>
                    <a:pt x="1004695" y="10332068"/>
                  </a:lnTo>
                  <a:lnTo>
                    <a:pt x="1024188" y="10342277"/>
                  </a:lnTo>
                  <a:lnTo>
                    <a:pt x="1043675" y="10352485"/>
                  </a:lnTo>
                  <a:lnTo>
                    <a:pt x="1059550" y="10377639"/>
                  </a:lnTo>
                  <a:lnTo>
                    <a:pt x="1061541" y="10411734"/>
                  </a:lnTo>
                  <a:lnTo>
                    <a:pt x="1057532" y="10446925"/>
                  </a:lnTo>
                  <a:lnTo>
                    <a:pt x="1051393" y="10481014"/>
                  </a:lnTo>
                  <a:lnTo>
                    <a:pt x="1053517" y="10506589"/>
                  </a:lnTo>
                  <a:lnTo>
                    <a:pt x="1030222" y="10526354"/>
                  </a:lnTo>
                  <a:lnTo>
                    <a:pt x="1006499" y="10535422"/>
                  </a:lnTo>
                  <a:lnTo>
                    <a:pt x="983127" y="10545624"/>
                  </a:lnTo>
                  <a:lnTo>
                    <a:pt x="964583" y="10560587"/>
                  </a:lnTo>
                  <a:lnTo>
                    <a:pt x="956174" y="10584389"/>
                  </a:lnTo>
                  <a:lnTo>
                    <a:pt x="960719" y="10625185"/>
                  </a:lnTo>
                  <a:lnTo>
                    <a:pt x="971131" y="10649678"/>
                  </a:lnTo>
                  <a:lnTo>
                    <a:pt x="981552" y="10674179"/>
                  </a:lnTo>
                  <a:lnTo>
                    <a:pt x="995895" y="10700796"/>
                  </a:lnTo>
                  <a:lnTo>
                    <a:pt x="1010583" y="10725850"/>
                  </a:lnTo>
                  <a:lnTo>
                    <a:pt x="1039949" y="10775965"/>
                  </a:lnTo>
                  <a:lnTo>
                    <a:pt x="1070102" y="10821891"/>
                  </a:lnTo>
                  <a:lnTo>
                    <a:pt x="1066356" y="10895872"/>
                  </a:lnTo>
                  <a:lnTo>
                    <a:pt x="1063640" y="10951652"/>
                  </a:lnTo>
                  <a:lnTo>
                    <a:pt x="1053253" y="10980024"/>
                  </a:lnTo>
                  <a:lnTo>
                    <a:pt x="1025066" y="11007617"/>
                  </a:lnTo>
                  <a:lnTo>
                    <a:pt x="1006006" y="11020846"/>
                  </a:lnTo>
                  <a:lnTo>
                    <a:pt x="986110" y="11033264"/>
                  </a:lnTo>
                  <a:lnTo>
                    <a:pt x="946323" y="11058093"/>
                  </a:lnTo>
                  <a:lnTo>
                    <a:pt x="902986" y="11078545"/>
                  </a:lnTo>
                  <a:lnTo>
                    <a:pt x="868753" y="11099023"/>
                  </a:lnTo>
                  <a:lnTo>
                    <a:pt x="843291" y="11127117"/>
                  </a:lnTo>
                  <a:lnTo>
                    <a:pt x="823869" y="11161430"/>
                  </a:lnTo>
                  <a:lnTo>
                    <a:pt x="814133" y="11210707"/>
                  </a:lnTo>
                  <a:lnTo>
                    <a:pt x="815426" y="11232450"/>
                  </a:lnTo>
                  <a:lnTo>
                    <a:pt x="824910" y="11266625"/>
                  </a:lnTo>
                  <a:lnTo>
                    <a:pt x="843291" y="11288982"/>
                  </a:lnTo>
                  <a:lnTo>
                    <a:pt x="863996" y="11310659"/>
                  </a:lnTo>
                  <a:lnTo>
                    <a:pt x="882429" y="11335317"/>
                  </a:lnTo>
                  <a:lnTo>
                    <a:pt x="892258" y="11370594"/>
                  </a:lnTo>
                  <a:lnTo>
                    <a:pt x="895991" y="11397521"/>
                  </a:lnTo>
                  <a:lnTo>
                    <a:pt x="894646" y="11424322"/>
                  </a:lnTo>
                  <a:lnTo>
                    <a:pt x="896332" y="11449482"/>
                  </a:lnTo>
                  <a:lnTo>
                    <a:pt x="898022" y="11474648"/>
                  </a:lnTo>
                  <a:lnTo>
                    <a:pt x="902698" y="11498792"/>
                  </a:lnTo>
                  <a:lnTo>
                    <a:pt x="919454" y="11521577"/>
                  </a:lnTo>
                  <a:lnTo>
                    <a:pt x="938020" y="11534517"/>
                  </a:lnTo>
                  <a:lnTo>
                    <a:pt x="977720" y="11540089"/>
                  </a:lnTo>
                  <a:lnTo>
                    <a:pt x="1017389" y="11543340"/>
                  </a:lnTo>
                  <a:lnTo>
                    <a:pt x="1057058" y="11546592"/>
                  </a:lnTo>
                  <a:lnTo>
                    <a:pt x="1097114" y="11546968"/>
                  </a:lnTo>
                  <a:lnTo>
                    <a:pt x="1119404" y="11548781"/>
                  </a:lnTo>
                  <a:lnTo>
                    <a:pt x="1148283" y="11560257"/>
                  </a:lnTo>
                  <a:lnTo>
                    <a:pt x="1169420" y="11588990"/>
                  </a:lnTo>
                  <a:lnTo>
                    <a:pt x="1184696" y="11627670"/>
                  </a:lnTo>
                  <a:lnTo>
                    <a:pt x="1199415" y="11667444"/>
                  </a:lnTo>
                  <a:lnTo>
                    <a:pt x="1209644" y="11710508"/>
                  </a:lnTo>
                  <a:lnTo>
                    <a:pt x="1224139" y="11726969"/>
                  </a:lnTo>
                  <a:lnTo>
                    <a:pt x="1251712" y="11750487"/>
                  </a:lnTo>
                  <a:lnTo>
                    <a:pt x="1275460" y="11771458"/>
                  </a:lnTo>
                  <a:lnTo>
                    <a:pt x="1292153" y="11804499"/>
                  </a:lnTo>
                  <a:lnTo>
                    <a:pt x="1298990" y="11834894"/>
                  </a:lnTo>
                  <a:lnTo>
                    <a:pt x="1304345" y="11866590"/>
                  </a:lnTo>
                  <a:lnTo>
                    <a:pt x="1315274" y="11896993"/>
                  </a:lnTo>
                  <a:lnTo>
                    <a:pt x="1339140" y="11910432"/>
                  </a:lnTo>
                  <a:lnTo>
                    <a:pt x="1376480" y="11907874"/>
                  </a:lnTo>
                  <a:lnTo>
                    <a:pt x="1413743" y="11892739"/>
                  </a:lnTo>
                  <a:lnTo>
                    <a:pt x="1436331" y="11879312"/>
                  </a:lnTo>
                  <a:lnTo>
                    <a:pt x="1459452" y="11882028"/>
                  </a:lnTo>
                  <a:lnTo>
                    <a:pt x="1481221" y="11886103"/>
                  </a:lnTo>
                  <a:lnTo>
                    <a:pt x="1500255" y="11909042"/>
                  </a:lnTo>
                  <a:lnTo>
                    <a:pt x="1507436" y="11938046"/>
                  </a:lnTo>
                  <a:lnTo>
                    <a:pt x="1511141" y="11971791"/>
                  </a:lnTo>
                  <a:lnTo>
                    <a:pt x="1530498" y="11987046"/>
                  </a:lnTo>
                  <a:lnTo>
                    <a:pt x="1558751" y="11998996"/>
                  </a:lnTo>
                  <a:lnTo>
                    <a:pt x="1583094" y="12001430"/>
                  </a:lnTo>
                  <a:lnTo>
                    <a:pt x="1612084" y="11994128"/>
                  </a:lnTo>
                  <a:lnTo>
                    <a:pt x="1645803" y="11989478"/>
                  </a:lnTo>
                  <a:lnTo>
                    <a:pt x="1664416" y="12003335"/>
                  </a:lnTo>
                  <a:lnTo>
                    <a:pt x="1678883" y="12024583"/>
                  </a:lnTo>
                  <a:lnTo>
                    <a:pt x="1685249" y="12046604"/>
                  </a:lnTo>
                  <a:lnTo>
                    <a:pt x="1665027" y="12065920"/>
                  </a:lnTo>
                  <a:lnTo>
                    <a:pt x="1641729" y="12073808"/>
                  </a:lnTo>
                  <a:lnTo>
                    <a:pt x="1620282" y="12084657"/>
                  </a:lnTo>
                  <a:lnTo>
                    <a:pt x="1605976" y="12109592"/>
                  </a:lnTo>
                  <a:lnTo>
                    <a:pt x="1608543" y="12140937"/>
                  </a:lnTo>
                  <a:lnTo>
                    <a:pt x="1642005" y="12176300"/>
                  </a:lnTo>
                  <a:lnTo>
                    <a:pt x="1670614" y="12209578"/>
                  </a:lnTo>
                  <a:lnTo>
                    <a:pt x="1702934" y="12234315"/>
                  </a:lnTo>
                  <a:lnTo>
                    <a:pt x="1735832" y="12257509"/>
                  </a:lnTo>
                  <a:lnTo>
                    <a:pt x="1773417" y="12270962"/>
                  </a:lnTo>
                  <a:lnTo>
                    <a:pt x="1794823" y="12272987"/>
                  </a:lnTo>
                  <a:lnTo>
                    <a:pt x="1817191" y="12271035"/>
                  </a:lnTo>
                  <a:lnTo>
                    <a:pt x="1849329" y="12269578"/>
                  </a:lnTo>
                  <a:lnTo>
                    <a:pt x="1882989" y="12267065"/>
                  </a:lnTo>
                  <a:lnTo>
                    <a:pt x="1916484" y="12262884"/>
                  </a:lnTo>
                  <a:lnTo>
                    <a:pt x="1947140" y="12255960"/>
                  </a:lnTo>
                  <a:lnTo>
                    <a:pt x="1978325" y="12248032"/>
                  </a:lnTo>
                  <a:lnTo>
                    <a:pt x="2011703" y="12245196"/>
                  </a:lnTo>
                  <a:lnTo>
                    <a:pt x="2046966" y="12251969"/>
                  </a:lnTo>
                  <a:lnTo>
                    <a:pt x="2079808" y="12262910"/>
                  </a:lnTo>
                  <a:lnTo>
                    <a:pt x="2117796" y="12265601"/>
                  </a:lnTo>
                  <a:lnTo>
                    <a:pt x="2131156" y="12244643"/>
                  </a:lnTo>
                  <a:lnTo>
                    <a:pt x="2126019" y="12219187"/>
                  </a:lnTo>
                  <a:lnTo>
                    <a:pt x="2120518" y="12194871"/>
                  </a:lnTo>
                  <a:lnTo>
                    <a:pt x="2115012" y="12170556"/>
                  </a:lnTo>
                  <a:lnTo>
                    <a:pt x="2108159" y="12147157"/>
                  </a:lnTo>
                  <a:lnTo>
                    <a:pt x="2125523" y="12115488"/>
                  </a:lnTo>
                  <a:lnTo>
                    <a:pt x="2146365" y="12096937"/>
                  </a:lnTo>
                  <a:lnTo>
                    <a:pt x="2168264" y="12079169"/>
                  </a:lnTo>
                  <a:lnTo>
                    <a:pt x="2209186" y="12038031"/>
                  </a:lnTo>
                  <a:lnTo>
                    <a:pt x="2227619" y="12011486"/>
                  </a:lnTo>
                  <a:lnTo>
                    <a:pt x="2241574" y="11982680"/>
                  </a:lnTo>
                  <a:lnTo>
                    <a:pt x="2255530" y="11953873"/>
                  </a:lnTo>
                  <a:lnTo>
                    <a:pt x="2265970" y="11923214"/>
                  </a:lnTo>
                  <a:lnTo>
                    <a:pt x="2278301" y="11883387"/>
                  </a:lnTo>
                  <a:lnTo>
                    <a:pt x="2303183" y="11866154"/>
                  </a:lnTo>
                  <a:lnTo>
                    <a:pt x="2328626" y="11852101"/>
                  </a:lnTo>
                  <a:lnTo>
                    <a:pt x="2354070" y="11838047"/>
                  </a:lnTo>
                  <a:lnTo>
                    <a:pt x="2382632" y="11817523"/>
                  </a:lnTo>
                  <a:lnTo>
                    <a:pt x="2396635" y="11784088"/>
                  </a:lnTo>
                  <a:lnTo>
                    <a:pt x="2422388" y="11774623"/>
                  </a:lnTo>
                  <a:lnTo>
                    <a:pt x="2455633" y="11779781"/>
                  </a:lnTo>
                  <a:lnTo>
                    <a:pt x="2487770" y="11785446"/>
                  </a:lnTo>
                  <a:lnTo>
                    <a:pt x="2519905" y="11791117"/>
                  </a:lnTo>
                  <a:lnTo>
                    <a:pt x="2551187" y="11796599"/>
                  </a:lnTo>
                  <a:lnTo>
                    <a:pt x="2572103" y="11790888"/>
                  </a:lnTo>
                  <a:lnTo>
                    <a:pt x="2603385" y="11781859"/>
                  </a:lnTo>
                  <a:lnTo>
                    <a:pt x="2628952" y="11761316"/>
                  </a:lnTo>
                  <a:lnTo>
                    <a:pt x="2637479" y="11730755"/>
                  </a:lnTo>
                  <a:lnTo>
                    <a:pt x="2649633" y="11705200"/>
                  </a:lnTo>
                  <a:lnTo>
                    <a:pt x="2663003" y="11681015"/>
                  </a:lnTo>
                  <a:lnTo>
                    <a:pt x="2682509" y="11664086"/>
                  </a:lnTo>
                  <a:lnTo>
                    <a:pt x="2712200" y="11658950"/>
                  </a:lnTo>
                  <a:lnTo>
                    <a:pt x="2735941" y="11676696"/>
                  </a:lnTo>
                  <a:lnTo>
                    <a:pt x="2748055" y="11700800"/>
                  </a:lnTo>
                  <a:lnTo>
                    <a:pt x="2774773" y="11714715"/>
                  </a:lnTo>
                  <a:lnTo>
                    <a:pt x="2801977" y="11688877"/>
                  </a:lnTo>
                  <a:lnTo>
                    <a:pt x="2826112" y="11677659"/>
                  </a:lnTo>
                  <a:lnTo>
                    <a:pt x="2851286" y="11678325"/>
                  </a:lnTo>
                  <a:lnTo>
                    <a:pt x="2875424" y="11688877"/>
                  </a:lnTo>
                  <a:lnTo>
                    <a:pt x="2899978" y="11700206"/>
                  </a:lnTo>
                  <a:lnTo>
                    <a:pt x="2923601" y="11718132"/>
                  </a:lnTo>
                  <a:lnTo>
                    <a:pt x="2939355" y="11733762"/>
                  </a:lnTo>
                  <a:lnTo>
                    <a:pt x="2966473" y="11737033"/>
                  </a:lnTo>
                  <a:lnTo>
                    <a:pt x="2986965" y="11717439"/>
                  </a:lnTo>
                  <a:lnTo>
                    <a:pt x="2979160" y="11678708"/>
                  </a:lnTo>
                  <a:lnTo>
                    <a:pt x="2967918" y="11657590"/>
                  </a:lnTo>
                  <a:lnTo>
                    <a:pt x="2956678" y="11636474"/>
                  </a:lnTo>
                  <a:lnTo>
                    <a:pt x="2942604" y="11616373"/>
                  </a:lnTo>
                  <a:lnTo>
                    <a:pt x="2932106" y="11578234"/>
                  </a:lnTo>
                  <a:lnTo>
                    <a:pt x="2951088" y="11536515"/>
                  </a:lnTo>
                  <a:lnTo>
                    <a:pt x="2971998" y="11521571"/>
                  </a:lnTo>
                  <a:lnTo>
                    <a:pt x="3050896" y="11510689"/>
                  </a:lnTo>
                  <a:lnTo>
                    <a:pt x="3062917" y="11484165"/>
                  </a:lnTo>
                  <a:lnTo>
                    <a:pt x="3050037" y="11456004"/>
                  </a:lnTo>
                  <a:lnTo>
                    <a:pt x="3065859" y="11427719"/>
                  </a:lnTo>
                  <a:lnTo>
                    <a:pt x="3110672" y="11430627"/>
                  </a:lnTo>
                  <a:lnTo>
                    <a:pt x="3143389" y="11442682"/>
                  </a:lnTo>
                  <a:lnTo>
                    <a:pt x="3176097" y="11454731"/>
                  </a:lnTo>
                  <a:lnTo>
                    <a:pt x="3208520" y="11469247"/>
                  </a:lnTo>
                  <a:lnTo>
                    <a:pt x="3219955" y="11505525"/>
                  </a:lnTo>
                  <a:lnTo>
                    <a:pt x="3194729" y="11535855"/>
                  </a:lnTo>
                  <a:lnTo>
                    <a:pt x="3173310" y="11566456"/>
                  </a:lnTo>
                  <a:lnTo>
                    <a:pt x="3152877" y="11596549"/>
                  </a:lnTo>
                  <a:lnTo>
                    <a:pt x="3142056" y="11628863"/>
                  </a:lnTo>
                  <a:lnTo>
                    <a:pt x="3147463" y="11664390"/>
                  </a:lnTo>
                  <a:lnTo>
                    <a:pt x="3193101" y="11690354"/>
                  </a:lnTo>
                  <a:lnTo>
                    <a:pt x="3250846" y="11703840"/>
                  </a:lnTo>
                  <a:lnTo>
                    <a:pt x="3308582" y="11717328"/>
                  </a:lnTo>
                  <a:lnTo>
                    <a:pt x="3385123" y="11730913"/>
                  </a:lnTo>
                  <a:lnTo>
                    <a:pt x="3463035" y="11744644"/>
                  </a:lnTo>
                  <a:lnTo>
                    <a:pt x="3618848" y="11772112"/>
                  </a:lnTo>
                  <a:lnTo>
                    <a:pt x="3783338" y="11799065"/>
                  </a:lnTo>
                  <a:lnTo>
                    <a:pt x="3828929" y="11822172"/>
                  </a:lnTo>
                  <a:lnTo>
                    <a:pt x="3827437" y="11860582"/>
                  </a:lnTo>
                  <a:lnTo>
                    <a:pt x="3831902" y="11908995"/>
                  </a:lnTo>
                  <a:lnTo>
                    <a:pt x="3820765" y="11945952"/>
                  </a:lnTo>
                  <a:lnTo>
                    <a:pt x="3852242" y="11957018"/>
                  </a:lnTo>
                  <a:lnTo>
                    <a:pt x="3889945" y="11956637"/>
                  </a:lnTo>
                  <a:lnTo>
                    <a:pt x="3922780" y="11950034"/>
                  </a:lnTo>
                  <a:lnTo>
                    <a:pt x="3957594" y="11830654"/>
                  </a:lnTo>
                  <a:lnTo>
                    <a:pt x="3979524" y="11728005"/>
                  </a:lnTo>
                  <a:lnTo>
                    <a:pt x="4003033" y="11624946"/>
                  </a:lnTo>
                  <a:lnTo>
                    <a:pt x="4009135" y="11598211"/>
                  </a:lnTo>
                  <a:lnTo>
                    <a:pt x="4027388" y="11574898"/>
                  </a:lnTo>
                  <a:lnTo>
                    <a:pt x="4031595" y="11548775"/>
                  </a:lnTo>
                  <a:lnTo>
                    <a:pt x="4035614" y="11523753"/>
                  </a:lnTo>
                  <a:lnTo>
                    <a:pt x="4033905" y="11499775"/>
                  </a:lnTo>
                  <a:lnTo>
                    <a:pt x="4032953" y="11475327"/>
                  </a:lnTo>
                  <a:lnTo>
                    <a:pt x="4032005" y="11450874"/>
                  </a:lnTo>
                  <a:lnTo>
                    <a:pt x="4031629" y="11426624"/>
                  </a:lnTo>
                  <a:lnTo>
                    <a:pt x="4041111" y="11400514"/>
                  </a:lnTo>
                  <a:lnTo>
                    <a:pt x="4064775" y="11344340"/>
                  </a:lnTo>
                  <a:lnTo>
                    <a:pt x="4092283" y="11324364"/>
                  </a:lnTo>
                  <a:lnTo>
                    <a:pt x="4122725" y="11320262"/>
                  </a:lnTo>
                  <a:lnTo>
                    <a:pt x="4155892" y="11324904"/>
                  </a:lnTo>
                  <a:lnTo>
                    <a:pt x="4203300" y="11343626"/>
                  </a:lnTo>
                  <a:lnTo>
                    <a:pt x="4231499" y="11365383"/>
                  </a:lnTo>
                  <a:lnTo>
                    <a:pt x="4249229" y="11385551"/>
                  </a:lnTo>
                  <a:lnTo>
                    <a:pt x="4269165" y="11408204"/>
                  </a:lnTo>
                  <a:lnTo>
                    <a:pt x="4277494" y="11447121"/>
                  </a:lnTo>
                  <a:lnTo>
                    <a:pt x="4291397" y="11473963"/>
                  </a:lnTo>
                  <a:lnTo>
                    <a:pt x="4438547" y="11424191"/>
                  </a:lnTo>
                  <a:lnTo>
                    <a:pt x="4461420" y="11419554"/>
                  </a:lnTo>
                  <a:lnTo>
                    <a:pt x="4483757" y="11376457"/>
                  </a:lnTo>
                  <a:lnTo>
                    <a:pt x="4503585" y="11359712"/>
                  </a:lnTo>
                  <a:lnTo>
                    <a:pt x="4519640" y="11375778"/>
                  </a:lnTo>
                  <a:lnTo>
                    <a:pt x="4547747" y="11385946"/>
                  </a:lnTo>
                  <a:lnTo>
                    <a:pt x="4572951" y="11397798"/>
                  </a:lnTo>
                  <a:lnTo>
                    <a:pt x="4598165" y="11409649"/>
                  </a:lnTo>
                  <a:lnTo>
                    <a:pt x="4619479" y="11422938"/>
                  </a:lnTo>
                  <a:lnTo>
                    <a:pt x="4638241" y="11448124"/>
                  </a:lnTo>
                  <a:lnTo>
                    <a:pt x="4675444" y="11406516"/>
                  </a:lnTo>
                  <a:lnTo>
                    <a:pt x="4694008" y="11366518"/>
                  </a:lnTo>
                  <a:lnTo>
                    <a:pt x="4712580" y="11326513"/>
                  </a:lnTo>
                  <a:lnTo>
                    <a:pt x="4730241" y="11283858"/>
                  </a:lnTo>
                  <a:lnTo>
                    <a:pt x="4756581" y="11272659"/>
                  </a:lnTo>
                  <a:lnTo>
                    <a:pt x="4817786" y="11333867"/>
                  </a:lnTo>
                  <a:lnTo>
                    <a:pt x="4842104" y="11346780"/>
                  </a:lnTo>
                  <a:lnTo>
                    <a:pt x="4866927" y="11340000"/>
                  </a:lnTo>
                  <a:lnTo>
                    <a:pt x="4892600" y="11322986"/>
                  </a:lnTo>
                  <a:lnTo>
                    <a:pt x="4918530" y="11305826"/>
                  </a:lnTo>
                  <a:lnTo>
                    <a:pt x="4945558" y="11296612"/>
                  </a:lnTo>
                  <a:lnTo>
                    <a:pt x="4972853" y="11305297"/>
                  </a:lnTo>
                  <a:lnTo>
                    <a:pt x="4998687" y="11322260"/>
                  </a:lnTo>
                  <a:lnTo>
                    <a:pt x="5019960" y="11364348"/>
                  </a:lnTo>
                  <a:lnTo>
                    <a:pt x="5039503" y="11404590"/>
                  </a:lnTo>
                  <a:lnTo>
                    <a:pt x="5059049" y="11444833"/>
                  </a:lnTo>
                  <a:lnTo>
                    <a:pt x="5077014" y="11482858"/>
                  </a:lnTo>
                  <a:lnTo>
                    <a:pt x="5131962" y="11482291"/>
                  </a:lnTo>
                  <a:lnTo>
                    <a:pt x="5149406" y="11463345"/>
                  </a:lnTo>
                  <a:lnTo>
                    <a:pt x="5163281" y="11445400"/>
                  </a:lnTo>
                  <a:lnTo>
                    <a:pt x="5177150" y="11427448"/>
                  </a:lnTo>
                  <a:lnTo>
                    <a:pt x="5208165" y="11407314"/>
                  </a:lnTo>
                  <a:lnTo>
                    <a:pt x="5247010" y="11421012"/>
                  </a:lnTo>
                  <a:lnTo>
                    <a:pt x="5273938" y="11420577"/>
                  </a:lnTo>
                  <a:lnTo>
                    <a:pt x="5295221" y="11412756"/>
                  </a:lnTo>
                  <a:lnTo>
                    <a:pt x="5316500" y="11404927"/>
                  </a:lnTo>
                  <a:lnTo>
                    <a:pt x="5331941" y="11389165"/>
                  </a:lnTo>
                  <a:lnTo>
                    <a:pt x="5344185" y="11371946"/>
                  </a:lnTo>
                  <a:lnTo>
                    <a:pt x="5356432" y="11354733"/>
                  </a:lnTo>
                  <a:lnTo>
                    <a:pt x="5366463" y="11336095"/>
                  </a:lnTo>
                  <a:lnTo>
                    <a:pt x="5389922" y="11307143"/>
                  </a:lnTo>
                  <a:lnTo>
                    <a:pt x="5423083" y="11297133"/>
                  </a:lnTo>
                  <a:lnTo>
                    <a:pt x="5455614" y="11339960"/>
                  </a:lnTo>
                  <a:lnTo>
                    <a:pt x="5477675" y="11359218"/>
                  </a:lnTo>
                  <a:lnTo>
                    <a:pt x="5523777" y="11350097"/>
                  </a:lnTo>
                  <a:lnTo>
                    <a:pt x="5559155" y="11325860"/>
                  </a:lnTo>
                  <a:lnTo>
                    <a:pt x="5567260" y="11293057"/>
                  </a:lnTo>
                  <a:lnTo>
                    <a:pt x="5584471" y="11265340"/>
                  </a:lnTo>
                  <a:lnTo>
                    <a:pt x="5623024" y="11256331"/>
                  </a:lnTo>
                  <a:lnTo>
                    <a:pt x="5644790" y="11263129"/>
                  </a:lnTo>
                  <a:lnTo>
                    <a:pt x="5665979" y="11298011"/>
                  </a:lnTo>
                  <a:lnTo>
                    <a:pt x="5673353" y="11318896"/>
                  </a:lnTo>
                  <a:lnTo>
                    <a:pt x="5680732" y="11339782"/>
                  </a:lnTo>
                  <a:lnTo>
                    <a:pt x="5687615" y="11359864"/>
                  </a:lnTo>
                  <a:lnTo>
                    <a:pt x="5748163" y="11380109"/>
                  </a:lnTo>
                  <a:lnTo>
                    <a:pt x="5772652" y="11371946"/>
                  </a:lnTo>
                  <a:lnTo>
                    <a:pt x="5794731" y="11327179"/>
                  </a:lnTo>
                  <a:lnTo>
                    <a:pt x="5795171" y="11298649"/>
                  </a:lnTo>
                  <a:lnTo>
                    <a:pt x="5793048" y="11271294"/>
                  </a:lnTo>
                  <a:lnTo>
                    <a:pt x="5790933" y="11243932"/>
                  </a:lnTo>
                  <a:lnTo>
                    <a:pt x="5785860" y="11217084"/>
                  </a:lnTo>
                  <a:lnTo>
                    <a:pt x="5794406" y="11174719"/>
                  </a:lnTo>
                  <a:lnTo>
                    <a:pt x="5799835" y="11147745"/>
                  </a:lnTo>
                  <a:lnTo>
                    <a:pt x="5847286" y="11095679"/>
                  </a:lnTo>
                  <a:lnTo>
                    <a:pt x="5862420" y="11063178"/>
                  </a:lnTo>
                  <a:lnTo>
                    <a:pt x="5911388" y="10955728"/>
                  </a:lnTo>
                  <a:lnTo>
                    <a:pt x="5932531" y="10938602"/>
                  </a:lnTo>
                  <a:lnTo>
                    <a:pt x="5963691" y="10932039"/>
                  </a:lnTo>
                  <a:lnTo>
                    <a:pt x="5990282" y="10917643"/>
                  </a:lnTo>
                  <a:lnTo>
                    <a:pt x="6026066" y="10878957"/>
                  </a:lnTo>
                  <a:lnTo>
                    <a:pt x="6045516" y="10817051"/>
                  </a:lnTo>
                  <a:lnTo>
                    <a:pt x="6085492" y="10784340"/>
                  </a:lnTo>
                  <a:lnTo>
                    <a:pt x="6119074" y="10774857"/>
                  </a:lnTo>
                  <a:lnTo>
                    <a:pt x="6141687" y="10758454"/>
                  </a:lnTo>
                  <a:lnTo>
                    <a:pt x="6157580" y="10736732"/>
                  </a:lnTo>
                  <a:lnTo>
                    <a:pt x="6172795" y="10714387"/>
                  </a:lnTo>
                  <a:lnTo>
                    <a:pt x="6183969" y="10688370"/>
                  </a:lnTo>
                  <a:lnTo>
                    <a:pt x="6207909" y="10666001"/>
                  </a:lnTo>
                  <a:lnTo>
                    <a:pt x="6230779" y="10644633"/>
                  </a:lnTo>
                  <a:lnTo>
                    <a:pt x="6256579" y="10638282"/>
                  </a:lnTo>
                  <a:lnTo>
                    <a:pt x="6282720" y="10629281"/>
                  </a:lnTo>
                  <a:lnTo>
                    <a:pt x="6308870" y="10620272"/>
                  </a:lnTo>
                  <a:lnTo>
                    <a:pt x="6335492" y="10608045"/>
                  </a:lnTo>
                  <a:lnTo>
                    <a:pt x="6358892" y="10574872"/>
                  </a:lnTo>
                  <a:lnTo>
                    <a:pt x="6375214" y="10551745"/>
                  </a:lnTo>
                  <a:lnTo>
                    <a:pt x="6382546" y="10530324"/>
                  </a:lnTo>
                  <a:lnTo>
                    <a:pt x="6392893" y="10505501"/>
                  </a:lnTo>
                  <a:lnTo>
                    <a:pt x="6402992" y="10481271"/>
                  </a:lnTo>
                  <a:lnTo>
                    <a:pt x="6416808" y="10457636"/>
                  </a:lnTo>
                  <a:lnTo>
                    <a:pt x="6426903" y="10433412"/>
                  </a:lnTo>
                  <a:lnTo>
                    <a:pt x="6454077" y="10368182"/>
                  </a:lnTo>
                  <a:lnTo>
                    <a:pt x="6462445" y="10336638"/>
                  </a:lnTo>
                  <a:lnTo>
                    <a:pt x="6482671" y="10316432"/>
                  </a:lnTo>
                  <a:lnTo>
                    <a:pt x="6502899" y="10296225"/>
                  </a:lnTo>
                  <a:lnTo>
                    <a:pt x="6534091" y="10287855"/>
                  </a:lnTo>
                  <a:lnTo>
                    <a:pt x="6605091" y="10267464"/>
                  </a:lnTo>
                  <a:lnTo>
                    <a:pt x="6624132" y="10237544"/>
                  </a:lnTo>
                  <a:lnTo>
                    <a:pt x="6631372" y="10203329"/>
                  </a:lnTo>
                  <a:lnTo>
                    <a:pt x="6634128" y="10142748"/>
                  </a:lnTo>
                  <a:lnTo>
                    <a:pt x="6630048" y="10100758"/>
                  </a:lnTo>
                  <a:lnTo>
                    <a:pt x="6618058" y="10068357"/>
                  </a:lnTo>
                  <a:lnTo>
                    <a:pt x="6586053" y="10062072"/>
                  </a:lnTo>
                  <a:lnTo>
                    <a:pt x="6551225" y="10062139"/>
                  </a:lnTo>
                  <a:lnTo>
                    <a:pt x="6527834" y="10044022"/>
                  </a:lnTo>
                  <a:lnTo>
                    <a:pt x="6522175" y="10015077"/>
                  </a:lnTo>
                  <a:lnTo>
                    <a:pt x="6520764" y="9985902"/>
                  </a:lnTo>
                  <a:lnTo>
                    <a:pt x="6519344" y="9956725"/>
                  </a:lnTo>
                  <a:lnTo>
                    <a:pt x="6522774" y="9926983"/>
                  </a:lnTo>
                  <a:lnTo>
                    <a:pt x="6543358" y="9891983"/>
                  </a:lnTo>
                  <a:lnTo>
                    <a:pt x="6569130" y="9871031"/>
                  </a:lnTo>
                  <a:lnTo>
                    <a:pt x="6595575" y="9860763"/>
                  </a:lnTo>
                  <a:lnTo>
                    <a:pt x="6616845" y="9781255"/>
                  </a:lnTo>
                  <a:lnTo>
                    <a:pt x="6652465" y="9710551"/>
                  </a:lnTo>
                  <a:lnTo>
                    <a:pt x="6689427" y="9637690"/>
                  </a:lnTo>
                  <a:lnTo>
                    <a:pt x="6700592" y="9615644"/>
                  </a:lnTo>
                  <a:lnTo>
                    <a:pt x="6683989" y="9579207"/>
                  </a:lnTo>
                  <a:lnTo>
                    <a:pt x="6662374" y="9546780"/>
                  </a:lnTo>
                  <a:lnTo>
                    <a:pt x="6670448" y="9489899"/>
                  </a:lnTo>
                  <a:lnTo>
                    <a:pt x="6704601" y="9450350"/>
                  </a:lnTo>
                  <a:lnTo>
                    <a:pt x="6727515" y="9415983"/>
                  </a:lnTo>
                  <a:lnTo>
                    <a:pt x="6766253" y="9221750"/>
                  </a:lnTo>
                  <a:lnTo>
                    <a:pt x="6771041" y="9183388"/>
                  </a:lnTo>
                  <a:lnTo>
                    <a:pt x="6720027" y="9131617"/>
                  </a:lnTo>
                  <a:lnTo>
                    <a:pt x="6707351" y="9086205"/>
                  </a:lnTo>
                  <a:lnTo>
                    <a:pt x="6723003" y="9056456"/>
                  </a:lnTo>
                  <a:lnTo>
                    <a:pt x="6739753" y="9026963"/>
                  </a:lnTo>
                  <a:lnTo>
                    <a:pt x="6756505" y="8997477"/>
                  </a:lnTo>
                  <a:lnTo>
                    <a:pt x="6774020" y="8968782"/>
                  </a:lnTo>
                  <a:lnTo>
                    <a:pt x="6779198" y="8935828"/>
                  </a:lnTo>
                  <a:lnTo>
                    <a:pt x="6754632" y="8922269"/>
                  </a:lnTo>
                  <a:lnTo>
                    <a:pt x="6710216" y="8892711"/>
                  </a:lnTo>
                  <a:lnTo>
                    <a:pt x="6694868" y="8867821"/>
                  </a:lnTo>
                  <a:lnTo>
                    <a:pt x="6699532" y="8846751"/>
                  </a:lnTo>
                  <a:lnTo>
                    <a:pt x="6723431" y="8821571"/>
                  </a:lnTo>
                  <a:lnTo>
                    <a:pt x="6751454" y="8798740"/>
                  </a:lnTo>
                  <a:lnTo>
                    <a:pt x="6763751" y="8778447"/>
                  </a:lnTo>
                  <a:lnTo>
                    <a:pt x="6785747" y="8711568"/>
                  </a:lnTo>
                  <a:lnTo>
                    <a:pt x="6796450" y="8681654"/>
                  </a:lnTo>
                  <a:lnTo>
                    <a:pt x="6829530" y="8661071"/>
                  </a:lnTo>
                  <a:lnTo>
                    <a:pt x="6867794" y="8650856"/>
                  </a:lnTo>
                  <a:lnTo>
                    <a:pt x="6889371" y="8650189"/>
                  </a:lnTo>
                  <a:lnTo>
                    <a:pt x="6932541" y="8648851"/>
                  </a:lnTo>
                  <a:lnTo>
                    <a:pt x="6977822" y="8655043"/>
                  </a:lnTo>
                  <a:lnTo>
                    <a:pt x="7000912" y="8639308"/>
                  </a:lnTo>
                  <a:lnTo>
                    <a:pt x="7018660" y="8627212"/>
                  </a:lnTo>
                  <a:lnTo>
                    <a:pt x="7034659" y="8604580"/>
                  </a:lnTo>
                  <a:lnTo>
                    <a:pt x="7051237" y="8590340"/>
                  </a:lnTo>
                  <a:lnTo>
                    <a:pt x="7086519" y="8560010"/>
                  </a:lnTo>
                  <a:lnTo>
                    <a:pt x="7130045" y="8522941"/>
                  </a:lnTo>
                  <a:lnTo>
                    <a:pt x="7177735" y="8492407"/>
                  </a:lnTo>
                  <a:lnTo>
                    <a:pt x="7201588" y="8477139"/>
                  </a:lnTo>
                  <a:lnTo>
                    <a:pt x="7227605" y="8464312"/>
                  </a:lnTo>
                  <a:lnTo>
                    <a:pt x="7252546" y="8454321"/>
                  </a:lnTo>
                  <a:lnTo>
                    <a:pt x="7277496" y="8444329"/>
                  </a:lnTo>
                  <a:lnTo>
                    <a:pt x="7302655" y="8437795"/>
                  </a:lnTo>
                  <a:lnTo>
                    <a:pt x="7327360" y="8436640"/>
                  </a:lnTo>
                  <a:lnTo>
                    <a:pt x="7376049" y="8434345"/>
                  </a:lnTo>
                  <a:lnTo>
                    <a:pt x="7428182" y="8447837"/>
                  </a:lnTo>
                  <a:lnTo>
                    <a:pt x="7476985" y="8437999"/>
                  </a:lnTo>
                  <a:lnTo>
                    <a:pt x="7497923" y="8433765"/>
                  </a:lnTo>
                  <a:lnTo>
                    <a:pt x="7524356" y="8421135"/>
                  </a:lnTo>
                  <a:lnTo>
                    <a:pt x="7550432" y="8412153"/>
                  </a:lnTo>
                  <a:lnTo>
                    <a:pt x="7576508" y="8403170"/>
                  </a:lnTo>
                  <a:lnTo>
                    <a:pt x="7602131" y="8397084"/>
                  </a:lnTo>
                  <a:lnTo>
                    <a:pt x="7623878" y="8408077"/>
                  </a:lnTo>
                  <a:lnTo>
                    <a:pt x="7643335" y="8429787"/>
                  </a:lnTo>
                  <a:lnTo>
                    <a:pt x="7650680" y="8457097"/>
                  </a:lnTo>
                  <a:lnTo>
                    <a:pt x="7653808" y="8486965"/>
                  </a:lnTo>
                  <a:lnTo>
                    <a:pt x="7660627" y="8517942"/>
                  </a:lnTo>
                  <a:lnTo>
                    <a:pt x="7679633" y="8545772"/>
                  </a:lnTo>
                  <a:lnTo>
                    <a:pt x="7719097" y="8567219"/>
                  </a:lnTo>
                  <a:lnTo>
                    <a:pt x="7727999" y="8596124"/>
                  </a:lnTo>
                  <a:lnTo>
                    <a:pt x="7722815" y="8640712"/>
                  </a:lnTo>
                  <a:lnTo>
                    <a:pt x="7732703" y="8662437"/>
                  </a:lnTo>
                  <a:lnTo>
                    <a:pt x="7742429" y="8683837"/>
                  </a:lnTo>
                  <a:lnTo>
                    <a:pt x="7767938" y="8693630"/>
                  </a:lnTo>
                  <a:lnTo>
                    <a:pt x="7778945" y="8714120"/>
                  </a:lnTo>
                  <a:lnTo>
                    <a:pt x="7789933" y="8750465"/>
                  </a:lnTo>
                  <a:lnTo>
                    <a:pt x="7823829" y="8759006"/>
                  </a:lnTo>
                  <a:lnTo>
                    <a:pt x="7840073" y="8740257"/>
                  </a:lnTo>
                  <a:lnTo>
                    <a:pt x="7845673" y="8709748"/>
                  </a:lnTo>
                  <a:lnTo>
                    <a:pt x="7846953" y="8674676"/>
                  </a:lnTo>
                  <a:lnTo>
                    <a:pt x="7852029" y="8640007"/>
                  </a:lnTo>
                  <a:lnTo>
                    <a:pt x="7866354" y="8614128"/>
                  </a:lnTo>
                  <a:lnTo>
                    <a:pt x="7897279" y="8603946"/>
                  </a:lnTo>
                  <a:lnTo>
                    <a:pt x="7931202" y="8612975"/>
                  </a:lnTo>
                  <a:lnTo>
                    <a:pt x="7944206" y="8652867"/>
                  </a:lnTo>
                  <a:lnTo>
                    <a:pt x="7966648" y="8661071"/>
                  </a:lnTo>
                  <a:lnTo>
                    <a:pt x="7990746" y="8669895"/>
                  </a:lnTo>
                  <a:lnTo>
                    <a:pt x="8027435" y="8665523"/>
                  </a:lnTo>
                  <a:lnTo>
                    <a:pt x="8048262" y="8652913"/>
                  </a:lnTo>
                  <a:lnTo>
                    <a:pt x="8072446" y="8638260"/>
                  </a:lnTo>
                  <a:lnTo>
                    <a:pt x="8086942" y="8620881"/>
                  </a:lnTo>
                  <a:lnTo>
                    <a:pt x="8104792" y="8584286"/>
                  </a:lnTo>
                  <a:lnTo>
                    <a:pt x="8109467" y="8546814"/>
                  </a:lnTo>
                  <a:lnTo>
                    <a:pt x="8110509" y="8507944"/>
                  </a:lnTo>
                  <a:lnTo>
                    <a:pt x="8113873" y="8474146"/>
                  </a:lnTo>
                  <a:lnTo>
                    <a:pt x="8127156" y="8447521"/>
                  </a:lnTo>
                  <a:lnTo>
                    <a:pt x="8160060" y="8439384"/>
                  </a:lnTo>
                  <a:lnTo>
                    <a:pt x="8189729" y="8458403"/>
                  </a:lnTo>
                  <a:lnTo>
                    <a:pt x="8202727" y="8491760"/>
                  </a:lnTo>
                  <a:lnTo>
                    <a:pt x="8201970" y="8515528"/>
                  </a:lnTo>
                  <a:lnTo>
                    <a:pt x="8201204" y="8539303"/>
                  </a:lnTo>
                  <a:lnTo>
                    <a:pt x="8196628" y="8566315"/>
                  </a:lnTo>
                  <a:lnTo>
                    <a:pt x="8195161" y="8590340"/>
                  </a:lnTo>
                  <a:lnTo>
                    <a:pt x="8193704" y="8614367"/>
                  </a:lnTo>
                  <a:lnTo>
                    <a:pt x="8203328" y="8648831"/>
                  </a:lnTo>
                  <a:lnTo>
                    <a:pt x="8230586" y="8662060"/>
                  </a:lnTo>
                  <a:lnTo>
                    <a:pt x="8253654" y="8666512"/>
                  </a:lnTo>
                  <a:lnTo>
                    <a:pt x="8276729" y="8670969"/>
                  </a:lnTo>
                  <a:lnTo>
                    <a:pt x="8300696" y="8674103"/>
                  </a:lnTo>
                  <a:lnTo>
                    <a:pt x="8326521" y="8678462"/>
                  </a:lnTo>
                  <a:lnTo>
                    <a:pt x="8387621" y="8690213"/>
                  </a:lnTo>
                  <a:lnTo>
                    <a:pt x="8446799" y="8701881"/>
                  </a:lnTo>
                  <a:lnTo>
                    <a:pt x="8505980" y="8713540"/>
                  </a:lnTo>
                  <a:lnTo>
                    <a:pt x="8564128" y="8724513"/>
                  </a:lnTo>
                  <a:lnTo>
                    <a:pt x="8590198" y="8711634"/>
                  </a:lnTo>
                  <a:lnTo>
                    <a:pt x="8606600" y="8678033"/>
                  </a:lnTo>
                  <a:lnTo>
                    <a:pt x="8623628" y="8642032"/>
                  </a:lnTo>
                  <a:lnTo>
                    <a:pt x="8640657" y="8606023"/>
                  </a:lnTo>
                  <a:lnTo>
                    <a:pt x="8658507" y="8567424"/>
                  </a:lnTo>
                  <a:lnTo>
                    <a:pt x="8675318" y="8546814"/>
                  </a:lnTo>
                  <a:lnTo>
                    <a:pt x="8695974" y="8521484"/>
                  </a:lnTo>
                  <a:lnTo>
                    <a:pt x="8726323" y="8497636"/>
                  </a:lnTo>
                  <a:lnTo>
                    <a:pt x="8750129" y="8474726"/>
                  </a:lnTo>
                  <a:lnTo>
                    <a:pt x="8758947" y="8442318"/>
                  </a:lnTo>
                  <a:lnTo>
                    <a:pt x="8755564" y="8418958"/>
                  </a:lnTo>
                  <a:lnTo>
                    <a:pt x="8752175" y="8395594"/>
                  </a:lnTo>
                  <a:lnTo>
                    <a:pt x="8747599" y="8371278"/>
                  </a:lnTo>
                  <a:lnTo>
                    <a:pt x="8761341" y="8335903"/>
                  </a:lnTo>
                  <a:lnTo>
                    <a:pt x="8796210" y="8306279"/>
                  </a:lnTo>
                  <a:lnTo>
                    <a:pt x="8809973" y="8288380"/>
                  </a:lnTo>
                  <a:lnTo>
                    <a:pt x="8829963" y="8262370"/>
                  </a:lnTo>
                  <a:lnTo>
                    <a:pt x="8847267" y="8235264"/>
                  </a:lnTo>
                  <a:lnTo>
                    <a:pt x="8863015" y="8208126"/>
                  </a:lnTo>
                  <a:lnTo>
                    <a:pt x="8878769" y="8180988"/>
                  </a:lnTo>
                  <a:lnTo>
                    <a:pt x="8892065" y="8153376"/>
                  </a:lnTo>
                  <a:lnTo>
                    <a:pt x="8903825" y="8122432"/>
                  </a:lnTo>
                  <a:lnTo>
                    <a:pt x="8918717" y="8083265"/>
                  </a:lnTo>
                  <a:lnTo>
                    <a:pt x="8914609" y="8031970"/>
                  </a:lnTo>
                  <a:lnTo>
                    <a:pt x="8907899" y="7986413"/>
                  </a:lnTo>
                  <a:lnTo>
                    <a:pt x="8901199" y="7940855"/>
                  </a:lnTo>
                  <a:lnTo>
                    <a:pt x="8891928" y="7901206"/>
                  </a:lnTo>
                  <a:lnTo>
                    <a:pt x="8939569" y="7855325"/>
                  </a:lnTo>
                  <a:lnTo>
                    <a:pt x="9000532" y="7849575"/>
                  </a:lnTo>
                  <a:lnTo>
                    <a:pt x="9050718" y="7836794"/>
                  </a:lnTo>
                  <a:lnTo>
                    <a:pt x="9075815" y="7830404"/>
                  </a:lnTo>
                  <a:lnTo>
                    <a:pt x="9098480" y="7822021"/>
                  </a:lnTo>
                  <a:lnTo>
                    <a:pt x="9114649" y="7808224"/>
                  </a:lnTo>
                  <a:lnTo>
                    <a:pt x="9130822" y="7794435"/>
                  </a:lnTo>
                  <a:lnTo>
                    <a:pt x="9140471" y="7775409"/>
                  </a:lnTo>
                  <a:lnTo>
                    <a:pt x="9140490" y="7747017"/>
                  </a:lnTo>
                  <a:lnTo>
                    <a:pt x="9104284" y="7659199"/>
                  </a:lnTo>
                  <a:lnTo>
                    <a:pt x="9097993" y="7624853"/>
                  </a:lnTo>
                  <a:lnTo>
                    <a:pt x="9091404" y="7598652"/>
                  </a:lnTo>
                  <a:lnTo>
                    <a:pt x="9088806" y="7574270"/>
                  </a:lnTo>
                  <a:lnTo>
                    <a:pt x="9093097" y="7529596"/>
                  </a:lnTo>
                  <a:lnTo>
                    <a:pt x="9081194" y="7480017"/>
                  </a:lnTo>
                  <a:lnTo>
                    <a:pt x="9062538" y="7443250"/>
                  </a:lnTo>
                  <a:lnTo>
                    <a:pt x="9050718" y="7412412"/>
                  </a:lnTo>
                  <a:lnTo>
                    <a:pt x="9059595" y="7362093"/>
                  </a:lnTo>
                  <a:lnTo>
                    <a:pt x="9077052" y="7345197"/>
                  </a:lnTo>
                  <a:lnTo>
                    <a:pt x="9096970" y="7333517"/>
                  </a:lnTo>
                  <a:lnTo>
                    <a:pt x="9116885" y="7321844"/>
                  </a:lnTo>
                  <a:lnTo>
                    <a:pt x="9139467" y="7315546"/>
                  </a:lnTo>
                  <a:lnTo>
                    <a:pt x="9162259" y="7304954"/>
                  </a:lnTo>
                  <a:lnTo>
                    <a:pt x="9185051" y="7294363"/>
                  </a:lnTo>
                  <a:lnTo>
                    <a:pt x="9207329" y="7279920"/>
                  </a:lnTo>
                  <a:lnTo>
                    <a:pt x="9226190" y="7253264"/>
                  </a:lnTo>
                  <a:lnTo>
                    <a:pt x="9245045" y="7226613"/>
                  </a:lnTo>
                  <a:lnTo>
                    <a:pt x="9260247" y="7188000"/>
                  </a:lnTo>
                  <a:lnTo>
                    <a:pt x="9268352" y="7128126"/>
                  </a:lnTo>
                  <a:lnTo>
                    <a:pt x="9297652" y="7134760"/>
                  </a:lnTo>
                  <a:lnTo>
                    <a:pt x="9313837" y="7148900"/>
                  </a:lnTo>
                  <a:lnTo>
                    <a:pt x="9342564" y="7164483"/>
                  </a:lnTo>
                  <a:lnTo>
                    <a:pt x="9369009" y="7163494"/>
                  </a:lnTo>
                  <a:lnTo>
                    <a:pt x="9395897" y="7159194"/>
                  </a:lnTo>
                  <a:lnTo>
                    <a:pt x="9422224" y="7138163"/>
                  </a:lnTo>
                  <a:lnTo>
                    <a:pt x="9456061" y="7109086"/>
                  </a:lnTo>
                  <a:lnTo>
                    <a:pt x="9480193" y="7088345"/>
                  </a:lnTo>
                  <a:lnTo>
                    <a:pt x="9518687" y="7052911"/>
                  </a:lnTo>
                  <a:lnTo>
                    <a:pt x="9543116" y="7013869"/>
                  </a:lnTo>
                  <a:lnTo>
                    <a:pt x="9555330" y="6994355"/>
                  </a:lnTo>
                  <a:lnTo>
                    <a:pt x="9563791" y="6973897"/>
                  </a:lnTo>
                  <a:lnTo>
                    <a:pt x="9568690" y="6934150"/>
                  </a:lnTo>
                  <a:lnTo>
                    <a:pt x="9551280" y="6896895"/>
                  </a:lnTo>
                  <a:lnTo>
                    <a:pt x="9523790" y="6866815"/>
                  </a:lnTo>
                  <a:lnTo>
                    <a:pt x="9499872" y="6834474"/>
                  </a:lnTo>
                  <a:lnTo>
                    <a:pt x="9485982" y="6796237"/>
                  </a:lnTo>
                  <a:lnTo>
                    <a:pt x="9480695" y="6773689"/>
                  </a:lnTo>
                  <a:lnTo>
                    <a:pt x="9481520" y="6750118"/>
                  </a:lnTo>
                  <a:lnTo>
                    <a:pt x="9488701" y="6726872"/>
                  </a:lnTo>
                  <a:lnTo>
                    <a:pt x="9495894" y="6703618"/>
                  </a:lnTo>
                  <a:lnTo>
                    <a:pt x="9509580" y="6680312"/>
                  </a:lnTo>
                  <a:lnTo>
                    <a:pt x="9525427" y="6660217"/>
                  </a:lnTo>
                  <a:lnTo>
                    <a:pt x="9541281" y="6640122"/>
                  </a:lnTo>
                  <a:lnTo>
                    <a:pt x="9560514" y="6622969"/>
                  </a:lnTo>
                  <a:lnTo>
                    <a:pt x="9581195" y="6609891"/>
                  </a:lnTo>
                  <a:lnTo>
                    <a:pt x="9601882" y="6596814"/>
                  </a:lnTo>
                  <a:lnTo>
                    <a:pt x="9623428" y="6588965"/>
                  </a:lnTo>
                  <a:lnTo>
                    <a:pt x="9645126" y="6586770"/>
                  </a:lnTo>
                  <a:lnTo>
                    <a:pt x="9684258" y="6588828"/>
                  </a:lnTo>
                  <a:lnTo>
                    <a:pt x="9720253" y="6603751"/>
                  </a:lnTo>
                  <a:lnTo>
                    <a:pt x="9752583" y="6624855"/>
                  </a:lnTo>
                  <a:lnTo>
                    <a:pt x="9782999" y="6645385"/>
                  </a:lnTo>
                  <a:lnTo>
                    <a:pt x="9807122" y="6664662"/>
                  </a:lnTo>
                  <a:lnTo>
                    <a:pt x="9826029" y="6646619"/>
                  </a:lnTo>
                  <a:lnTo>
                    <a:pt x="9849014" y="6629241"/>
                  </a:lnTo>
                  <a:lnTo>
                    <a:pt x="9865611" y="6604147"/>
                  </a:lnTo>
                  <a:lnTo>
                    <a:pt x="9880438" y="6578605"/>
                  </a:lnTo>
                  <a:lnTo>
                    <a:pt x="9896930" y="6554844"/>
                  </a:lnTo>
                  <a:lnTo>
                    <a:pt x="9921881" y="6525931"/>
                  </a:lnTo>
                  <a:lnTo>
                    <a:pt x="9932128" y="6498359"/>
                  </a:lnTo>
                  <a:lnTo>
                    <a:pt x="9938894" y="6471379"/>
                  </a:lnTo>
                  <a:lnTo>
                    <a:pt x="9928079" y="6446443"/>
                  </a:lnTo>
                  <a:lnTo>
                    <a:pt x="9894038" y="6426263"/>
                  </a:lnTo>
                  <a:lnTo>
                    <a:pt x="9894233" y="6403985"/>
                  </a:lnTo>
                  <a:lnTo>
                    <a:pt x="9910089" y="6389872"/>
                  </a:lnTo>
                  <a:lnTo>
                    <a:pt x="9928039" y="6377295"/>
                  </a:lnTo>
                  <a:lnTo>
                    <a:pt x="9945997" y="6364726"/>
                  </a:lnTo>
                  <a:lnTo>
                    <a:pt x="9966678" y="6352961"/>
                  </a:lnTo>
                  <a:lnTo>
                    <a:pt x="9987157" y="6324088"/>
                  </a:lnTo>
                  <a:lnTo>
                    <a:pt x="9997954" y="6248352"/>
                  </a:lnTo>
                  <a:lnTo>
                    <a:pt x="10009658" y="6219513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39" name="Kiev City¬0" descr="Kiev City¬0">
              <a:extLst>
                <a:ext uri="{FF2B5EF4-FFF2-40B4-BE49-F238E27FC236}">
                  <a16:creationId xmlns:a16="http://schemas.microsoft.com/office/drawing/2014/main" id="{A1905CEC-0485-474A-8EF2-5CFE2E3E21CE}"/>
                </a:ext>
              </a:extLst>
            </p:cNvPr>
            <p:cNvSpPr/>
            <p:nvPr/>
          </p:nvSpPr>
          <p:spPr>
            <a:xfrm>
              <a:off x="3654206" y="1998561"/>
              <a:ext cx="203141" cy="174909"/>
            </a:xfrm>
            <a:custGeom>
              <a:avLst/>
              <a:gdLst/>
              <a:ahLst/>
              <a:cxnLst/>
              <a:rect l="0" t="0" r="0" b="0"/>
              <a:pathLst>
                <a:path w="2072938" h="2026101">
                  <a:moveTo>
                    <a:pt x="1742749" y="0"/>
                  </a:moveTo>
                  <a:lnTo>
                    <a:pt x="1762813" y="13006"/>
                  </a:lnTo>
                  <a:lnTo>
                    <a:pt x="1800898" y="51091"/>
                  </a:lnTo>
                  <a:lnTo>
                    <a:pt x="1877070" y="105499"/>
                  </a:lnTo>
                  <a:lnTo>
                    <a:pt x="1947800" y="100058"/>
                  </a:lnTo>
                  <a:lnTo>
                    <a:pt x="2062057" y="203434"/>
                  </a:lnTo>
                  <a:lnTo>
                    <a:pt x="2067495" y="274163"/>
                  </a:lnTo>
                  <a:lnTo>
                    <a:pt x="1926034" y="366657"/>
                  </a:lnTo>
                  <a:lnTo>
                    <a:pt x="1893391" y="334012"/>
                  </a:lnTo>
                  <a:lnTo>
                    <a:pt x="1844424" y="361216"/>
                  </a:lnTo>
                  <a:lnTo>
                    <a:pt x="1844424" y="421065"/>
                  </a:lnTo>
                  <a:lnTo>
                    <a:pt x="1784576" y="470032"/>
                  </a:lnTo>
                  <a:lnTo>
                    <a:pt x="1779135" y="546203"/>
                  </a:lnTo>
                  <a:lnTo>
                    <a:pt x="1833544" y="567966"/>
                  </a:lnTo>
                  <a:lnTo>
                    <a:pt x="1844424" y="758394"/>
                  </a:lnTo>
                  <a:lnTo>
                    <a:pt x="1958680" y="791039"/>
                  </a:lnTo>
                  <a:lnTo>
                    <a:pt x="2040294" y="883532"/>
                  </a:lnTo>
                  <a:lnTo>
                    <a:pt x="2023969" y="921618"/>
                  </a:lnTo>
                  <a:lnTo>
                    <a:pt x="2072937" y="992348"/>
                  </a:lnTo>
                  <a:lnTo>
                    <a:pt x="2034852" y="1019553"/>
                  </a:lnTo>
                  <a:lnTo>
                    <a:pt x="1969563" y="1014112"/>
                  </a:lnTo>
                  <a:lnTo>
                    <a:pt x="1958680" y="1068520"/>
                  </a:lnTo>
                  <a:lnTo>
                    <a:pt x="1887950" y="1155572"/>
                  </a:lnTo>
                  <a:lnTo>
                    <a:pt x="1893391" y="1186859"/>
                  </a:lnTo>
                  <a:lnTo>
                    <a:pt x="1893391" y="1220862"/>
                  </a:lnTo>
                  <a:lnTo>
                    <a:pt x="1871628" y="1231744"/>
                  </a:lnTo>
                  <a:lnTo>
                    <a:pt x="1851223" y="1237184"/>
                  </a:lnTo>
                  <a:lnTo>
                    <a:pt x="1828102" y="1220862"/>
                  </a:lnTo>
                  <a:lnTo>
                    <a:pt x="1806339" y="1166454"/>
                  </a:lnTo>
                  <a:lnTo>
                    <a:pt x="1757372" y="1166454"/>
                  </a:lnTo>
                  <a:lnTo>
                    <a:pt x="1762813" y="1280710"/>
                  </a:lnTo>
                  <a:lnTo>
                    <a:pt x="1626790" y="1324237"/>
                  </a:lnTo>
                  <a:lnTo>
                    <a:pt x="1566943" y="1280710"/>
                  </a:lnTo>
                  <a:lnTo>
                    <a:pt x="1523417" y="1286151"/>
                  </a:lnTo>
                  <a:lnTo>
                    <a:pt x="1490771" y="1248066"/>
                  </a:lnTo>
                  <a:lnTo>
                    <a:pt x="1338430" y="1275270"/>
                  </a:lnTo>
                  <a:lnTo>
                    <a:pt x="1360872" y="1303193"/>
                  </a:lnTo>
                  <a:lnTo>
                    <a:pt x="1383314" y="1331036"/>
                  </a:lnTo>
                  <a:lnTo>
                    <a:pt x="1412010" y="1363319"/>
                  </a:lnTo>
                  <a:lnTo>
                    <a:pt x="1426849" y="1400408"/>
                  </a:lnTo>
                  <a:lnTo>
                    <a:pt x="1460850" y="1427612"/>
                  </a:lnTo>
                  <a:lnTo>
                    <a:pt x="1460850" y="1454816"/>
                  </a:lnTo>
                  <a:lnTo>
                    <a:pt x="1460850" y="1482020"/>
                  </a:lnTo>
                  <a:lnTo>
                    <a:pt x="1458134" y="1569073"/>
                  </a:lnTo>
                  <a:lnTo>
                    <a:pt x="1463575" y="1732297"/>
                  </a:lnTo>
                  <a:lnTo>
                    <a:pt x="1398286" y="1759501"/>
                  </a:lnTo>
                  <a:lnTo>
                    <a:pt x="1436371" y="1835672"/>
                  </a:lnTo>
                  <a:lnTo>
                    <a:pt x="1403725" y="1884639"/>
                  </a:lnTo>
                  <a:lnTo>
                    <a:pt x="1441812" y="1928166"/>
                  </a:lnTo>
                  <a:lnTo>
                    <a:pt x="1463575" y="1971692"/>
                  </a:lnTo>
                  <a:lnTo>
                    <a:pt x="1251384" y="2026100"/>
                  </a:lnTo>
                  <a:lnTo>
                    <a:pt x="1093601" y="1726856"/>
                  </a:lnTo>
                  <a:lnTo>
                    <a:pt x="1094280" y="1703727"/>
                  </a:lnTo>
                  <a:lnTo>
                    <a:pt x="1092243" y="1680606"/>
                  </a:lnTo>
                  <a:lnTo>
                    <a:pt x="1090197" y="1657484"/>
                  </a:lnTo>
                  <a:lnTo>
                    <a:pt x="1085444" y="1634363"/>
                  </a:lnTo>
                  <a:lnTo>
                    <a:pt x="1058239" y="1634363"/>
                  </a:lnTo>
                  <a:lnTo>
                    <a:pt x="1025593" y="1619398"/>
                  </a:lnTo>
                  <a:lnTo>
                    <a:pt x="1003824" y="1596276"/>
                  </a:lnTo>
                  <a:lnTo>
                    <a:pt x="1028312" y="1547310"/>
                  </a:lnTo>
                  <a:lnTo>
                    <a:pt x="1028312" y="1520106"/>
                  </a:lnTo>
                  <a:lnTo>
                    <a:pt x="1017429" y="1492901"/>
                  </a:lnTo>
                  <a:lnTo>
                    <a:pt x="997703" y="1461616"/>
                  </a:lnTo>
                  <a:lnTo>
                    <a:pt x="980703" y="1448010"/>
                  </a:lnTo>
                  <a:lnTo>
                    <a:pt x="963702" y="1434411"/>
                  </a:lnTo>
                  <a:lnTo>
                    <a:pt x="943976" y="1424888"/>
                  </a:lnTo>
                  <a:lnTo>
                    <a:pt x="905898" y="1430329"/>
                  </a:lnTo>
                  <a:lnTo>
                    <a:pt x="888209" y="1416731"/>
                  </a:lnTo>
                  <a:lnTo>
                    <a:pt x="873252" y="1397685"/>
                  </a:lnTo>
                  <a:lnTo>
                    <a:pt x="846047" y="1381362"/>
                  </a:lnTo>
                  <a:lnTo>
                    <a:pt x="843325" y="1350076"/>
                  </a:lnTo>
                  <a:lnTo>
                    <a:pt x="848763" y="1324237"/>
                  </a:lnTo>
                  <a:lnTo>
                    <a:pt x="837883" y="1291592"/>
                  </a:lnTo>
                  <a:lnTo>
                    <a:pt x="696422" y="1318797"/>
                  </a:lnTo>
                  <a:lnTo>
                    <a:pt x="680101" y="1248066"/>
                  </a:lnTo>
                  <a:lnTo>
                    <a:pt x="723627" y="1166454"/>
                  </a:lnTo>
                  <a:lnTo>
                    <a:pt x="565844" y="997789"/>
                  </a:lnTo>
                  <a:lnTo>
                    <a:pt x="533198" y="1019553"/>
                  </a:lnTo>
                  <a:lnTo>
                    <a:pt x="489672" y="981467"/>
                  </a:lnTo>
                  <a:lnTo>
                    <a:pt x="505994" y="943381"/>
                  </a:lnTo>
                  <a:lnTo>
                    <a:pt x="429825" y="812803"/>
                  </a:lnTo>
                  <a:lnTo>
                    <a:pt x="380857" y="807362"/>
                  </a:lnTo>
                  <a:lnTo>
                    <a:pt x="342769" y="769276"/>
                  </a:lnTo>
                  <a:lnTo>
                    <a:pt x="130581" y="801921"/>
                  </a:lnTo>
                  <a:lnTo>
                    <a:pt x="92493" y="845447"/>
                  </a:lnTo>
                  <a:lnTo>
                    <a:pt x="102018" y="867210"/>
                  </a:lnTo>
                  <a:lnTo>
                    <a:pt x="103376" y="891691"/>
                  </a:lnTo>
                  <a:lnTo>
                    <a:pt x="54409" y="899855"/>
                  </a:lnTo>
                  <a:lnTo>
                    <a:pt x="0" y="883532"/>
                  </a:lnTo>
                  <a:lnTo>
                    <a:pt x="43526" y="709427"/>
                  </a:lnTo>
                  <a:lnTo>
                    <a:pt x="54409" y="627815"/>
                  </a:lnTo>
                  <a:lnTo>
                    <a:pt x="103376" y="546203"/>
                  </a:lnTo>
                  <a:lnTo>
                    <a:pt x="119019" y="529881"/>
                  </a:lnTo>
                  <a:lnTo>
                    <a:pt x="114256" y="502677"/>
                  </a:lnTo>
                  <a:lnTo>
                    <a:pt x="96577" y="465270"/>
                  </a:lnTo>
                  <a:lnTo>
                    <a:pt x="91135" y="428544"/>
                  </a:lnTo>
                  <a:lnTo>
                    <a:pt x="114256" y="404743"/>
                  </a:lnTo>
                  <a:lnTo>
                    <a:pt x="155745" y="375494"/>
                  </a:lnTo>
                  <a:lnTo>
                    <a:pt x="175465" y="354417"/>
                  </a:lnTo>
                  <a:lnTo>
                    <a:pt x="195191" y="333333"/>
                  </a:lnTo>
                  <a:lnTo>
                    <a:pt x="212191" y="312249"/>
                  </a:lnTo>
                  <a:lnTo>
                    <a:pt x="223074" y="290486"/>
                  </a:lnTo>
                  <a:lnTo>
                    <a:pt x="233954" y="265999"/>
                  </a:lnTo>
                  <a:lnTo>
                    <a:pt x="250276" y="246960"/>
                  </a:lnTo>
                  <a:lnTo>
                    <a:pt x="282922" y="246960"/>
                  </a:lnTo>
                  <a:lnTo>
                    <a:pt x="301969" y="260558"/>
                  </a:lnTo>
                  <a:lnTo>
                    <a:pt x="331890" y="287763"/>
                  </a:lnTo>
                  <a:lnTo>
                    <a:pt x="369974" y="285045"/>
                  </a:lnTo>
                  <a:lnTo>
                    <a:pt x="353653" y="225197"/>
                  </a:lnTo>
                  <a:lnTo>
                    <a:pt x="380857" y="187111"/>
                  </a:lnTo>
                  <a:lnTo>
                    <a:pt x="261159" y="29328"/>
                  </a:lnTo>
                  <a:lnTo>
                    <a:pt x="451588" y="89176"/>
                  </a:lnTo>
                  <a:lnTo>
                    <a:pt x="500555" y="40209"/>
                  </a:lnTo>
                  <a:lnTo>
                    <a:pt x="772594" y="51091"/>
                  </a:lnTo>
                  <a:lnTo>
                    <a:pt x="788916" y="116381"/>
                  </a:lnTo>
                  <a:lnTo>
                    <a:pt x="865088" y="154466"/>
                  </a:lnTo>
                  <a:lnTo>
                    <a:pt x="984786" y="241519"/>
                  </a:lnTo>
                  <a:lnTo>
                    <a:pt x="1158890" y="372098"/>
                  </a:lnTo>
                  <a:lnTo>
                    <a:pt x="1180653" y="306809"/>
                  </a:lnTo>
                  <a:lnTo>
                    <a:pt x="1485338" y="290486"/>
                  </a:lnTo>
                  <a:lnTo>
                    <a:pt x="1507102" y="214315"/>
                  </a:lnTo>
                  <a:lnTo>
                    <a:pt x="1577832" y="149025"/>
                  </a:lnTo>
                  <a:lnTo>
                    <a:pt x="1615917" y="170788"/>
                  </a:lnTo>
                  <a:lnTo>
                    <a:pt x="1659443" y="143585"/>
                  </a:lnTo>
                  <a:lnTo>
                    <a:pt x="1645843" y="117739"/>
                  </a:lnTo>
                  <a:lnTo>
                    <a:pt x="1640396" y="83735"/>
                  </a:lnTo>
                  <a:lnTo>
                    <a:pt x="1654001" y="67413"/>
                  </a:lnTo>
                  <a:lnTo>
                    <a:pt x="1667600" y="51091"/>
                  </a:lnTo>
                  <a:lnTo>
                    <a:pt x="1685289" y="27283"/>
                  </a:lnTo>
                  <a:lnTo>
                    <a:pt x="1704327" y="13006"/>
                  </a:lnTo>
                  <a:lnTo>
                    <a:pt x="1723033" y="1530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40" name="Chernihiv¬0" descr="Chernihiv¬0">
              <a:extLst>
                <a:ext uri="{FF2B5EF4-FFF2-40B4-BE49-F238E27FC236}">
                  <a16:creationId xmlns:a16="http://schemas.microsoft.com/office/drawing/2014/main" id="{6996EF24-3DA6-4C07-A530-2C4391478244}"/>
                </a:ext>
              </a:extLst>
            </p:cNvPr>
            <p:cNvSpPr/>
            <p:nvPr/>
          </p:nvSpPr>
          <p:spPr>
            <a:xfrm>
              <a:off x="3747464" y="1181479"/>
              <a:ext cx="1023467" cy="933866"/>
            </a:xfrm>
            <a:custGeom>
              <a:avLst/>
              <a:gdLst/>
              <a:ahLst/>
              <a:cxnLst/>
              <a:rect l="0" t="0" r="0" b="0"/>
              <a:pathLst>
                <a:path w="10443919" h="10817651">
                  <a:moveTo>
                    <a:pt x="9383300" y="21610"/>
                  </a:moveTo>
                  <a:lnTo>
                    <a:pt x="9376374" y="106282"/>
                  </a:lnTo>
                  <a:lnTo>
                    <a:pt x="9343684" y="157779"/>
                  </a:lnTo>
                  <a:lnTo>
                    <a:pt x="9322734" y="190828"/>
                  </a:lnTo>
                  <a:lnTo>
                    <a:pt x="9286472" y="202155"/>
                  </a:lnTo>
                  <a:lnTo>
                    <a:pt x="9256632" y="224429"/>
                  </a:lnTo>
                  <a:lnTo>
                    <a:pt x="9222371" y="223217"/>
                  </a:lnTo>
                  <a:lnTo>
                    <a:pt x="9187898" y="229062"/>
                  </a:lnTo>
                  <a:lnTo>
                    <a:pt x="9154623" y="236670"/>
                  </a:lnTo>
                  <a:lnTo>
                    <a:pt x="9116873" y="264533"/>
                  </a:lnTo>
                  <a:lnTo>
                    <a:pt x="9094899" y="363169"/>
                  </a:lnTo>
                  <a:lnTo>
                    <a:pt x="9055323" y="375411"/>
                  </a:lnTo>
                  <a:lnTo>
                    <a:pt x="9019025" y="375837"/>
                  </a:lnTo>
                  <a:lnTo>
                    <a:pt x="9020085" y="337155"/>
                  </a:lnTo>
                  <a:lnTo>
                    <a:pt x="8981874" y="330524"/>
                  </a:lnTo>
                  <a:lnTo>
                    <a:pt x="8910802" y="338261"/>
                  </a:lnTo>
                  <a:lnTo>
                    <a:pt x="8850741" y="408629"/>
                  </a:lnTo>
                  <a:lnTo>
                    <a:pt x="8805044" y="455663"/>
                  </a:lnTo>
                  <a:lnTo>
                    <a:pt x="8785452" y="475853"/>
                  </a:lnTo>
                  <a:lnTo>
                    <a:pt x="8754765" y="492154"/>
                  </a:lnTo>
                  <a:lnTo>
                    <a:pt x="8730239" y="505990"/>
                  </a:lnTo>
                  <a:lnTo>
                    <a:pt x="8699336" y="523460"/>
                  </a:lnTo>
                  <a:lnTo>
                    <a:pt x="8664693" y="541929"/>
                  </a:lnTo>
                  <a:lnTo>
                    <a:pt x="8636388" y="563118"/>
                  </a:lnTo>
                  <a:lnTo>
                    <a:pt x="8592775" y="595826"/>
                  </a:lnTo>
                  <a:lnTo>
                    <a:pt x="8518727" y="686598"/>
                  </a:lnTo>
                  <a:lnTo>
                    <a:pt x="8466358" y="696418"/>
                  </a:lnTo>
                  <a:lnTo>
                    <a:pt x="8361881" y="715992"/>
                  </a:lnTo>
                  <a:lnTo>
                    <a:pt x="8349385" y="582161"/>
                  </a:lnTo>
                  <a:lnTo>
                    <a:pt x="8244644" y="575360"/>
                  </a:lnTo>
                  <a:lnTo>
                    <a:pt x="8218804" y="573680"/>
                  </a:lnTo>
                  <a:lnTo>
                    <a:pt x="8189643" y="583755"/>
                  </a:lnTo>
                  <a:lnTo>
                    <a:pt x="8165756" y="591683"/>
                  </a:lnTo>
                  <a:lnTo>
                    <a:pt x="8139231" y="594976"/>
                  </a:lnTo>
                  <a:lnTo>
                    <a:pt x="8103360" y="604689"/>
                  </a:lnTo>
                  <a:lnTo>
                    <a:pt x="8080146" y="620502"/>
                  </a:lnTo>
                  <a:lnTo>
                    <a:pt x="8056938" y="627048"/>
                  </a:lnTo>
                  <a:lnTo>
                    <a:pt x="7983913" y="647578"/>
                  </a:lnTo>
                  <a:lnTo>
                    <a:pt x="7915440" y="645368"/>
                  </a:lnTo>
                  <a:lnTo>
                    <a:pt x="7840666" y="632488"/>
                  </a:lnTo>
                  <a:lnTo>
                    <a:pt x="7790381" y="618844"/>
                  </a:lnTo>
                  <a:lnTo>
                    <a:pt x="7732108" y="610661"/>
                  </a:lnTo>
                  <a:lnTo>
                    <a:pt x="7685606" y="586241"/>
                  </a:lnTo>
                  <a:lnTo>
                    <a:pt x="7644799" y="564818"/>
                  </a:lnTo>
                  <a:lnTo>
                    <a:pt x="7605775" y="537211"/>
                  </a:lnTo>
                  <a:lnTo>
                    <a:pt x="7564543" y="516871"/>
                  </a:lnTo>
                  <a:lnTo>
                    <a:pt x="7521315" y="495555"/>
                  </a:lnTo>
                  <a:lnTo>
                    <a:pt x="7476983" y="477596"/>
                  </a:lnTo>
                  <a:lnTo>
                    <a:pt x="7433971" y="455663"/>
                  </a:lnTo>
                  <a:lnTo>
                    <a:pt x="7370846" y="423443"/>
                  </a:lnTo>
                  <a:lnTo>
                    <a:pt x="7075894" y="238009"/>
                  </a:lnTo>
                  <a:lnTo>
                    <a:pt x="7020465" y="297879"/>
                  </a:lnTo>
                  <a:lnTo>
                    <a:pt x="7013752" y="329738"/>
                  </a:lnTo>
                  <a:lnTo>
                    <a:pt x="6985447" y="349121"/>
                  </a:lnTo>
                  <a:lnTo>
                    <a:pt x="6949734" y="330524"/>
                  </a:lnTo>
                  <a:lnTo>
                    <a:pt x="6927760" y="322852"/>
                  </a:lnTo>
                  <a:lnTo>
                    <a:pt x="6903703" y="318963"/>
                  </a:lnTo>
                  <a:lnTo>
                    <a:pt x="6881729" y="311481"/>
                  </a:lnTo>
                  <a:lnTo>
                    <a:pt x="6776018" y="275394"/>
                  </a:lnTo>
                  <a:lnTo>
                    <a:pt x="6696444" y="197161"/>
                  </a:lnTo>
                  <a:lnTo>
                    <a:pt x="6574318" y="248912"/>
                  </a:lnTo>
                  <a:lnTo>
                    <a:pt x="6542190" y="265362"/>
                  </a:lnTo>
                  <a:lnTo>
                    <a:pt x="6519748" y="286509"/>
                  </a:lnTo>
                  <a:lnTo>
                    <a:pt x="6511966" y="307486"/>
                  </a:lnTo>
                  <a:lnTo>
                    <a:pt x="6428268" y="469350"/>
                  </a:lnTo>
                  <a:lnTo>
                    <a:pt x="6585208" y="621118"/>
                  </a:lnTo>
                  <a:lnTo>
                    <a:pt x="6585208" y="658332"/>
                  </a:lnTo>
                  <a:lnTo>
                    <a:pt x="6585208" y="759475"/>
                  </a:lnTo>
                  <a:lnTo>
                    <a:pt x="6432398" y="775819"/>
                  </a:lnTo>
                  <a:lnTo>
                    <a:pt x="6416542" y="852840"/>
                  </a:lnTo>
                  <a:lnTo>
                    <a:pt x="6409268" y="887972"/>
                  </a:lnTo>
                  <a:lnTo>
                    <a:pt x="6437198" y="912944"/>
                  </a:lnTo>
                  <a:lnTo>
                    <a:pt x="6430141" y="948054"/>
                  </a:lnTo>
                  <a:lnTo>
                    <a:pt x="6421813" y="989647"/>
                  </a:lnTo>
                  <a:lnTo>
                    <a:pt x="6384063" y="1013917"/>
                  </a:lnTo>
                  <a:lnTo>
                    <a:pt x="6379815" y="1062311"/>
                  </a:lnTo>
                  <a:lnTo>
                    <a:pt x="6376585" y="1099292"/>
                  </a:lnTo>
                  <a:lnTo>
                    <a:pt x="6411103" y="1121225"/>
                  </a:lnTo>
                  <a:lnTo>
                    <a:pt x="6411103" y="1146643"/>
                  </a:lnTo>
                  <a:lnTo>
                    <a:pt x="6411103" y="1190340"/>
                  </a:lnTo>
                  <a:lnTo>
                    <a:pt x="6368849" y="1211487"/>
                  </a:lnTo>
                  <a:lnTo>
                    <a:pt x="6351247" y="1245938"/>
                  </a:lnTo>
                  <a:lnTo>
                    <a:pt x="6325453" y="1296520"/>
                  </a:lnTo>
                  <a:lnTo>
                    <a:pt x="6326470" y="1357580"/>
                  </a:lnTo>
                  <a:lnTo>
                    <a:pt x="6292763" y="1406441"/>
                  </a:lnTo>
                  <a:lnTo>
                    <a:pt x="6250471" y="1449500"/>
                  </a:lnTo>
                  <a:lnTo>
                    <a:pt x="6204899" y="1474069"/>
                  </a:lnTo>
                  <a:lnTo>
                    <a:pt x="6170005" y="1486120"/>
                  </a:lnTo>
                  <a:lnTo>
                    <a:pt x="6137697" y="1503016"/>
                  </a:lnTo>
                  <a:lnTo>
                    <a:pt x="6070027" y="1538423"/>
                  </a:lnTo>
                  <a:lnTo>
                    <a:pt x="6009289" y="1591279"/>
                  </a:lnTo>
                  <a:lnTo>
                    <a:pt x="5939111" y="1621353"/>
                  </a:lnTo>
                  <a:lnTo>
                    <a:pt x="5898006" y="1638972"/>
                  </a:lnTo>
                  <a:lnTo>
                    <a:pt x="5844323" y="1627771"/>
                  </a:lnTo>
                  <a:lnTo>
                    <a:pt x="5803091" y="1648557"/>
                  </a:lnTo>
                  <a:lnTo>
                    <a:pt x="5762117" y="1669215"/>
                  </a:lnTo>
                  <a:lnTo>
                    <a:pt x="5705330" y="1756990"/>
                  </a:lnTo>
                  <a:lnTo>
                    <a:pt x="5667071" y="1765534"/>
                  </a:lnTo>
                  <a:lnTo>
                    <a:pt x="5589411" y="1782834"/>
                  </a:lnTo>
                  <a:lnTo>
                    <a:pt x="5506737" y="1722284"/>
                  </a:lnTo>
                  <a:lnTo>
                    <a:pt x="5434475" y="1702965"/>
                  </a:lnTo>
                  <a:lnTo>
                    <a:pt x="5405912" y="1695336"/>
                  </a:lnTo>
                  <a:lnTo>
                    <a:pt x="5370249" y="1696163"/>
                  </a:lnTo>
                  <a:lnTo>
                    <a:pt x="5340623" y="1696163"/>
                  </a:lnTo>
                  <a:lnTo>
                    <a:pt x="5272829" y="1696163"/>
                  </a:lnTo>
                  <a:lnTo>
                    <a:pt x="5169837" y="1712508"/>
                  </a:lnTo>
                  <a:lnTo>
                    <a:pt x="5109388" y="1745131"/>
                  </a:lnTo>
                  <a:lnTo>
                    <a:pt x="5085758" y="1757883"/>
                  </a:lnTo>
                  <a:lnTo>
                    <a:pt x="5017744" y="1803449"/>
                  </a:lnTo>
                  <a:lnTo>
                    <a:pt x="4996489" y="1804979"/>
                  </a:lnTo>
                  <a:lnTo>
                    <a:pt x="4971796" y="1806765"/>
                  </a:lnTo>
                  <a:lnTo>
                    <a:pt x="4945187" y="1792738"/>
                  </a:lnTo>
                  <a:lnTo>
                    <a:pt x="4928481" y="1775056"/>
                  </a:lnTo>
                  <a:lnTo>
                    <a:pt x="4924611" y="1738627"/>
                  </a:lnTo>
                  <a:lnTo>
                    <a:pt x="4890356" y="1721008"/>
                  </a:lnTo>
                  <a:lnTo>
                    <a:pt x="4890396" y="1694803"/>
                  </a:lnTo>
                  <a:lnTo>
                    <a:pt x="4902557" y="1669619"/>
                  </a:lnTo>
                  <a:lnTo>
                    <a:pt x="4914500" y="1632404"/>
                  </a:lnTo>
                  <a:lnTo>
                    <a:pt x="4915390" y="1554405"/>
                  </a:lnTo>
                  <a:lnTo>
                    <a:pt x="4906718" y="1530219"/>
                  </a:lnTo>
                  <a:lnTo>
                    <a:pt x="4884744" y="1469010"/>
                  </a:lnTo>
                  <a:lnTo>
                    <a:pt x="4699462" y="1414453"/>
                  </a:lnTo>
                  <a:lnTo>
                    <a:pt x="4640120" y="1410522"/>
                  </a:lnTo>
                  <a:lnTo>
                    <a:pt x="4584480" y="1406844"/>
                  </a:lnTo>
                  <a:lnTo>
                    <a:pt x="4528586" y="1424186"/>
                  </a:lnTo>
                  <a:lnTo>
                    <a:pt x="4472812" y="1428205"/>
                  </a:lnTo>
                  <a:lnTo>
                    <a:pt x="4344129" y="1419578"/>
                  </a:lnTo>
                  <a:lnTo>
                    <a:pt x="4240349" y="1469138"/>
                  </a:lnTo>
                  <a:lnTo>
                    <a:pt x="4134126" y="1456769"/>
                  </a:lnTo>
                  <a:lnTo>
                    <a:pt x="4075063" y="1449862"/>
                  </a:lnTo>
                  <a:lnTo>
                    <a:pt x="4015067" y="1434623"/>
                  </a:lnTo>
                  <a:lnTo>
                    <a:pt x="3955939" y="1429565"/>
                  </a:lnTo>
                  <a:lnTo>
                    <a:pt x="3866676" y="1421935"/>
                  </a:lnTo>
                  <a:lnTo>
                    <a:pt x="3777032" y="1414284"/>
                  </a:lnTo>
                  <a:lnTo>
                    <a:pt x="3687980" y="1403721"/>
                  </a:lnTo>
                  <a:lnTo>
                    <a:pt x="3567327" y="1389439"/>
                  </a:lnTo>
                  <a:lnTo>
                    <a:pt x="3445678" y="1369652"/>
                  </a:lnTo>
                  <a:lnTo>
                    <a:pt x="3323447" y="1368356"/>
                  </a:lnTo>
                  <a:lnTo>
                    <a:pt x="3284724" y="1367953"/>
                  </a:lnTo>
                  <a:lnTo>
                    <a:pt x="3245067" y="1365635"/>
                  </a:lnTo>
                  <a:lnTo>
                    <a:pt x="3206468" y="1365635"/>
                  </a:lnTo>
                  <a:lnTo>
                    <a:pt x="3178966" y="1365635"/>
                  </a:lnTo>
                  <a:lnTo>
                    <a:pt x="3153740" y="1377877"/>
                  </a:lnTo>
                  <a:lnTo>
                    <a:pt x="3126222" y="1377877"/>
                  </a:lnTo>
                  <a:lnTo>
                    <a:pt x="3069413" y="1377877"/>
                  </a:lnTo>
                  <a:lnTo>
                    <a:pt x="3011389" y="1373733"/>
                  </a:lnTo>
                  <a:lnTo>
                    <a:pt x="2956192" y="1391480"/>
                  </a:lnTo>
                  <a:lnTo>
                    <a:pt x="2903848" y="1408290"/>
                  </a:lnTo>
                  <a:lnTo>
                    <a:pt x="2771487" y="1512983"/>
                  </a:lnTo>
                  <a:lnTo>
                    <a:pt x="2748081" y="1561504"/>
                  </a:lnTo>
                  <a:lnTo>
                    <a:pt x="2711336" y="1637717"/>
                  </a:lnTo>
                  <a:lnTo>
                    <a:pt x="2752756" y="1700329"/>
                  </a:lnTo>
                  <a:lnTo>
                    <a:pt x="2655587" y="1741050"/>
                  </a:lnTo>
                  <a:lnTo>
                    <a:pt x="2621967" y="1756374"/>
                  </a:lnTo>
                  <a:lnTo>
                    <a:pt x="2584283" y="1759094"/>
                  </a:lnTo>
                  <a:lnTo>
                    <a:pt x="2546180" y="1754057"/>
                  </a:lnTo>
                  <a:lnTo>
                    <a:pt x="2526367" y="1739690"/>
                  </a:lnTo>
                  <a:lnTo>
                    <a:pt x="2510111" y="1720881"/>
                  </a:lnTo>
                  <a:lnTo>
                    <a:pt x="2455255" y="1664858"/>
                  </a:lnTo>
                  <a:lnTo>
                    <a:pt x="2355559" y="1575276"/>
                  </a:lnTo>
                  <a:lnTo>
                    <a:pt x="2292412" y="1558784"/>
                  </a:lnTo>
                  <a:lnTo>
                    <a:pt x="2267676" y="1552323"/>
                  </a:lnTo>
                  <a:lnTo>
                    <a:pt x="2240710" y="1549496"/>
                  </a:lnTo>
                  <a:lnTo>
                    <a:pt x="2213524" y="1546542"/>
                  </a:lnTo>
                  <a:lnTo>
                    <a:pt x="2164197" y="1537594"/>
                  </a:lnTo>
                  <a:lnTo>
                    <a:pt x="1959003" y="1545671"/>
                  </a:lnTo>
                  <a:lnTo>
                    <a:pt x="1904758" y="1553343"/>
                  </a:lnTo>
                  <a:lnTo>
                    <a:pt x="1841131" y="1562355"/>
                  </a:lnTo>
                  <a:lnTo>
                    <a:pt x="1793866" y="1572619"/>
                  </a:lnTo>
                  <a:lnTo>
                    <a:pt x="1726577" y="1561504"/>
                  </a:lnTo>
                  <a:lnTo>
                    <a:pt x="1680881" y="1563863"/>
                  </a:lnTo>
                  <a:lnTo>
                    <a:pt x="1642241" y="1555234"/>
                  </a:lnTo>
                  <a:lnTo>
                    <a:pt x="1597357" y="1569665"/>
                  </a:lnTo>
                  <a:lnTo>
                    <a:pt x="1566137" y="1579697"/>
                  </a:lnTo>
                  <a:lnTo>
                    <a:pt x="1526626" y="1607751"/>
                  </a:lnTo>
                  <a:lnTo>
                    <a:pt x="1528006" y="1640034"/>
                  </a:lnTo>
                  <a:lnTo>
                    <a:pt x="1501633" y="1651596"/>
                  </a:lnTo>
                  <a:lnTo>
                    <a:pt x="1495342" y="1679842"/>
                  </a:lnTo>
                  <a:lnTo>
                    <a:pt x="1521675" y="1716078"/>
                  </a:lnTo>
                  <a:lnTo>
                    <a:pt x="1530710" y="1735609"/>
                  </a:lnTo>
                  <a:lnTo>
                    <a:pt x="1495447" y="1772632"/>
                  </a:lnTo>
                  <a:lnTo>
                    <a:pt x="1483100" y="1838985"/>
                  </a:lnTo>
                  <a:lnTo>
                    <a:pt x="1570001" y="1827211"/>
                  </a:lnTo>
                  <a:lnTo>
                    <a:pt x="1591488" y="1845297"/>
                  </a:lnTo>
                  <a:lnTo>
                    <a:pt x="1642241" y="1905634"/>
                  </a:lnTo>
                  <a:lnTo>
                    <a:pt x="1662324" y="1977151"/>
                  </a:lnTo>
                  <a:lnTo>
                    <a:pt x="1552656" y="2010455"/>
                  </a:lnTo>
                  <a:lnTo>
                    <a:pt x="1500780" y="2003568"/>
                  </a:lnTo>
                  <a:lnTo>
                    <a:pt x="1469495" y="1943720"/>
                  </a:lnTo>
                  <a:lnTo>
                    <a:pt x="1432769" y="1963209"/>
                  </a:lnTo>
                  <a:lnTo>
                    <a:pt x="1401338" y="1994791"/>
                  </a:lnTo>
                  <a:lnTo>
                    <a:pt x="1362044" y="2009009"/>
                  </a:lnTo>
                  <a:lnTo>
                    <a:pt x="1355390" y="2056467"/>
                  </a:lnTo>
                  <a:lnTo>
                    <a:pt x="1371560" y="2096062"/>
                  </a:lnTo>
                  <a:lnTo>
                    <a:pt x="1355220" y="2119461"/>
                  </a:lnTo>
                  <a:lnTo>
                    <a:pt x="1329392" y="2124626"/>
                  </a:lnTo>
                  <a:lnTo>
                    <a:pt x="1322599" y="2161352"/>
                  </a:lnTo>
                  <a:lnTo>
                    <a:pt x="1300898" y="2195845"/>
                  </a:lnTo>
                  <a:lnTo>
                    <a:pt x="1277076" y="2189342"/>
                  </a:lnTo>
                  <a:lnTo>
                    <a:pt x="1220623" y="2260987"/>
                  </a:lnTo>
                  <a:lnTo>
                    <a:pt x="1193168" y="2230850"/>
                  </a:lnTo>
                  <a:lnTo>
                    <a:pt x="1143053" y="2252485"/>
                  </a:lnTo>
                  <a:lnTo>
                    <a:pt x="1123290" y="2268552"/>
                  </a:lnTo>
                  <a:lnTo>
                    <a:pt x="1092873" y="2281580"/>
                  </a:lnTo>
                  <a:lnTo>
                    <a:pt x="1058996" y="2287404"/>
                  </a:lnTo>
                  <a:lnTo>
                    <a:pt x="1036954" y="2289211"/>
                  </a:lnTo>
                  <a:lnTo>
                    <a:pt x="1031131" y="2318455"/>
                  </a:lnTo>
                  <a:lnTo>
                    <a:pt x="1036954" y="2355860"/>
                  </a:lnTo>
                  <a:lnTo>
                    <a:pt x="1047242" y="2410268"/>
                  </a:lnTo>
                  <a:lnTo>
                    <a:pt x="1056826" y="2463464"/>
                  </a:lnTo>
                  <a:lnTo>
                    <a:pt x="1013833" y="2508202"/>
                  </a:lnTo>
                  <a:lnTo>
                    <a:pt x="957877" y="2566436"/>
                  </a:lnTo>
                  <a:lnTo>
                    <a:pt x="872412" y="2511773"/>
                  </a:lnTo>
                  <a:lnTo>
                    <a:pt x="839729" y="2546288"/>
                  </a:lnTo>
                  <a:lnTo>
                    <a:pt x="808909" y="2578848"/>
                  </a:lnTo>
                  <a:lnTo>
                    <a:pt x="813947" y="2624797"/>
                  </a:lnTo>
                  <a:lnTo>
                    <a:pt x="793477" y="2661905"/>
                  </a:lnTo>
                  <a:lnTo>
                    <a:pt x="772948" y="2699098"/>
                  </a:lnTo>
                  <a:lnTo>
                    <a:pt x="725661" y="2691978"/>
                  </a:lnTo>
                  <a:lnTo>
                    <a:pt x="705067" y="2721753"/>
                  </a:lnTo>
                  <a:lnTo>
                    <a:pt x="660841" y="2793546"/>
                  </a:lnTo>
                  <a:lnTo>
                    <a:pt x="620908" y="2876391"/>
                  </a:lnTo>
                  <a:lnTo>
                    <a:pt x="645964" y="2884659"/>
                  </a:lnTo>
                  <a:lnTo>
                    <a:pt x="554084" y="2906740"/>
                  </a:lnTo>
                  <a:lnTo>
                    <a:pt x="501250" y="2961659"/>
                  </a:lnTo>
                  <a:lnTo>
                    <a:pt x="575404" y="3012836"/>
                  </a:lnTo>
                  <a:lnTo>
                    <a:pt x="570406" y="3065884"/>
                  </a:lnTo>
                  <a:lnTo>
                    <a:pt x="568393" y="3087328"/>
                  </a:lnTo>
                  <a:lnTo>
                    <a:pt x="554472" y="3106116"/>
                  </a:lnTo>
                  <a:lnTo>
                    <a:pt x="540848" y="3143309"/>
                  </a:lnTo>
                  <a:lnTo>
                    <a:pt x="534535" y="3165774"/>
                  </a:lnTo>
                  <a:lnTo>
                    <a:pt x="494854" y="3226005"/>
                  </a:lnTo>
                  <a:lnTo>
                    <a:pt x="417107" y="3191872"/>
                  </a:lnTo>
                  <a:lnTo>
                    <a:pt x="393582" y="3218226"/>
                  </a:lnTo>
                  <a:lnTo>
                    <a:pt x="384296" y="3245940"/>
                  </a:lnTo>
                  <a:lnTo>
                    <a:pt x="399557" y="3282304"/>
                  </a:lnTo>
                  <a:lnTo>
                    <a:pt x="462698" y="3300051"/>
                  </a:lnTo>
                  <a:lnTo>
                    <a:pt x="484718" y="3317521"/>
                  </a:lnTo>
                  <a:lnTo>
                    <a:pt x="470902" y="3344087"/>
                  </a:lnTo>
                  <a:lnTo>
                    <a:pt x="450860" y="3353332"/>
                  </a:lnTo>
                  <a:lnTo>
                    <a:pt x="416341" y="3405105"/>
                  </a:lnTo>
                  <a:lnTo>
                    <a:pt x="446289" y="3494942"/>
                  </a:lnTo>
                  <a:lnTo>
                    <a:pt x="407188" y="3550115"/>
                  </a:lnTo>
                  <a:lnTo>
                    <a:pt x="378836" y="3590090"/>
                  </a:lnTo>
                  <a:lnTo>
                    <a:pt x="299942" y="3537171"/>
                  </a:lnTo>
                  <a:lnTo>
                    <a:pt x="233074" y="3586840"/>
                  </a:lnTo>
                  <a:lnTo>
                    <a:pt x="217801" y="3616955"/>
                  </a:lnTo>
                  <a:lnTo>
                    <a:pt x="240138" y="3651917"/>
                  </a:lnTo>
                  <a:lnTo>
                    <a:pt x="237152" y="3683414"/>
                  </a:lnTo>
                  <a:lnTo>
                    <a:pt x="233459" y="3722669"/>
                  </a:lnTo>
                  <a:lnTo>
                    <a:pt x="189548" y="3737525"/>
                  </a:lnTo>
                  <a:lnTo>
                    <a:pt x="185468" y="3786789"/>
                  </a:lnTo>
                  <a:lnTo>
                    <a:pt x="229146" y="3828488"/>
                  </a:lnTo>
                  <a:lnTo>
                    <a:pt x="214862" y="3883682"/>
                  </a:lnTo>
                  <a:lnTo>
                    <a:pt x="158263" y="3902406"/>
                  </a:lnTo>
                  <a:lnTo>
                    <a:pt x="155969" y="3935158"/>
                  </a:lnTo>
                  <a:lnTo>
                    <a:pt x="173227" y="3967696"/>
                  </a:lnTo>
                  <a:lnTo>
                    <a:pt x="119584" y="3983424"/>
                  </a:lnTo>
                  <a:lnTo>
                    <a:pt x="106574" y="4026184"/>
                  </a:lnTo>
                  <a:lnTo>
                    <a:pt x="93846" y="4045057"/>
                  </a:lnTo>
                  <a:lnTo>
                    <a:pt x="64068" y="4051157"/>
                  </a:lnTo>
                  <a:lnTo>
                    <a:pt x="50806" y="4071071"/>
                  </a:lnTo>
                  <a:lnTo>
                    <a:pt x="9172" y="4133491"/>
                  </a:lnTo>
                  <a:lnTo>
                    <a:pt x="50475" y="4187644"/>
                  </a:lnTo>
                  <a:lnTo>
                    <a:pt x="113379" y="4204371"/>
                  </a:lnTo>
                  <a:lnTo>
                    <a:pt x="116095" y="4235655"/>
                  </a:lnTo>
                  <a:lnTo>
                    <a:pt x="90891" y="4244602"/>
                  </a:lnTo>
                  <a:lnTo>
                    <a:pt x="71084" y="4252636"/>
                  </a:lnTo>
                  <a:lnTo>
                    <a:pt x="52171" y="4272380"/>
                  </a:lnTo>
                  <a:lnTo>
                    <a:pt x="42581" y="4298564"/>
                  </a:lnTo>
                  <a:lnTo>
                    <a:pt x="67128" y="4329509"/>
                  </a:lnTo>
                  <a:lnTo>
                    <a:pt x="128957" y="4455114"/>
                  </a:lnTo>
                  <a:lnTo>
                    <a:pt x="169317" y="4372355"/>
                  </a:lnTo>
                  <a:lnTo>
                    <a:pt x="254841" y="4415201"/>
                  </a:lnTo>
                  <a:lnTo>
                    <a:pt x="260043" y="4457452"/>
                  </a:lnTo>
                  <a:lnTo>
                    <a:pt x="218830" y="4504974"/>
                  </a:lnTo>
                  <a:lnTo>
                    <a:pt x="201789" y="4526737"/>
                  </a:lnTo>
                  <a:lnTo>
                    <a:pt x="200109" y="4557958"/>
                  </a:lnTo>
                  <a:lnTo>
                    <a:pt x="265041" y="4589434"/>
                  </a:lnTo>
                  <a:lnTo>
                    <a:pt x="280684" y="4617871"/>
                  </a:lnTo>
                  <a:lnTo>
                    <a:pt x="283211" y="4650771"/>
                  </a:lnTo>
                  <a:lnTo>
                    <a:pt x="273180" y="4723073"/>
                  </a:lnTo>
                  <a:lnTo>
                    <a:pt x="280684" y="4743009"/>
                  </a:lnTo>
                  <a:lnTo>
                    <a:pt x="300317" y="4795334"/>
                  </a:lnTo>
                  <a:lnTo>
                    <a:pt x="364018" y="4764283"/>
                  </a:lnTo>
                  <a:lnTo>
                    <a:pt x="379977" y="4843664"/>
                  </a:lnTo>
                  <a:lnTo>
                    <a:pt x="343297" y="4879369"/>
                  </a:lnTo>
                  <a:lnTo>
                    <a:pt x="310651" y="4851634"/>
                  </a:lnTo>
                  <a:lnTo>
                    <a:pt x="284761" y="4865427"/>
                  </a:lnTo>
                  <a:lnTo>
                    <a:pt x="260577" y="4891419"/>
                  </a:lnTo>
                  <a:lnTo>
                    <a:pt x="248546" y="4996112"/>
                  </a:lnTo>
                  <a:lnTo>
                    <a:pt x="276604" y="5023210"/>
                  </a:lnTo>
                  <a:lnTo>
                    <a:pt x="311457" y="5040744"/>
                  </a:lnTo>
                  <a:lnTo>
                    <a:pt x="368713" y="5029480"/>
                  </a:lnTo>
                  <a:lnTo>
                    <a:pt x="393576" y="5065376"/>
                  </a:lnTo>
                  <a:lnTo>
                    <a:pt x="406264" y="5083696"/>
                  </a:lnTo>
                  <a:lnTo>
                    <a:pt x="405929" y="5156977"/>
                  </a:lnTo>
                  <a:lnTo>
                    <a:pt x="409898" y="5182353"/>
                  </a:lnTo>
                  <a:lnTo>
                    <a:pt x="417488" y="5230981"/>
                  </a:lnTo>
                  <a:lnTo>
                    <a:pt x="486557" y="5282583"/>
                  </a:lnTo>
                  <a:lnTo>
                    <a:pt x="479270" y="5323814"/>
                  </a:lnTo>
                  <a:lnTo>
                    <a:pt x="474976" y="5348128"/>
                  </a:lnTo>
                  <a:lnTo>
                    <a:pt x="445201" y="5360795"/>
                  </a:lnTo>
                  <a:lnTo>
                    <a:pt x="437102" y="5385023"/>
                  </a:lnTo>
                  <a:lnTo>
                    <a:pt x="466409" y="5437135"/>
                  </a:lnTo>
                  <a:lnTo>
                    <a:pt x="484923" y="5458686"/>
                  </a:lnTo>
                  <a:lnTo>
                    <a:pt x="479270" y="5503360"/>
                  </a:lnTo>
                  <a:lnTo>
                    <a:pt x="361333" y="5565993"/>
                  </a:lnTo>
                  <a:lnTo>
                    <a:pt x="365693" y="5539236"/>
                  </a:lnTo>
                  <a:lnTo>
                    <a:pt x="277962" y="5648902"/>
                  </a:lnTo>
                  <a:lnTo>
                    <a:pt x="239282" y="5656255"/>
                  </a:lnTo>
                  <a:lnTo>
                    <a:pt x="179453" y="5710726"/>
                  </a:lnTo>
                  <a:lnTo>
                    <a:pt x="237964" y="5740587"/>
                  </a:lnTo>
                  <a:lnTo>
                    <a:pt x="226262" y="5812125"/>
                  </a:lnTo>
                  <a:lnTo>
                    <a:pt x="220381" y="5848192"/>
                  </a:lnTo>
                  <a:lnTo>
                    <a:pt x="164759" y="5842454"/>
                  </a:lnTo>
                  <a:lnTo>
                    <a:pt x="154174" y="5927742"/>
                  </a:lnTo>
                  <a:lnTo>
                    <a:pt x="151802" y="5952591"/>
                  </a:lnTo>
                  <a:lnTo>
                    <a:pt x="159814" y="5978739"/>
                  </a:lnTo>
                  <a:lnTo>
                    <a:pt x="170188" y="6003562"/>
                  </a:lnTo>
                  <a:lnTo>
                    <a:pt x="177304" y="6027036"/>
                  </a:lnTo>
                  <a:lnTo>
                    <a:pt x="165578" y="6055431"/>
                  </a:lnTo>
                  <a:lnTo>
                    <a:pt x="135136" y="6063762"/>
                  </a:lnTo>
                  <a:lnTo>
                    <a:pt x="103098" y="6061599"/>
                  </a:lnTo>
                  <a:lnTo>
                    <a:pt x="71956" y="6055044"/>
                  </a:lnTo>
                  <a:lnTo>
                    <a:pt x="45359" y="6055601"/>
                  </a:lnTo>
                  <a:lnTo>
                    <a:pt x="23484" y="6066461"/>
                  </a:lnTo>
                  <a:lnTo>
                    <a:pt x="18154" y="6086886"/>
                  </a:lnTo>
                  <a:lnTo>
                    <a:pt x="37558" y="6118622"/>
                  </a:lnTo>
                  <a:lnTo>
                    <a:pt x="44001" y="6138573"/>
                  </a:lnTo>
                  <a:lnTo>
                    <a:pt x="50444" y="6158525"/>
                  </a:lnTo>
                  <a:lnTo>
                    <a:pt x="55541" y="6179975"/>
                  </a:lnTo>
                  <a:lnTo>
                    <a:pt x="73717" y="6239733"/>
                  </a:lnTo>
                  <a:lnTo>
                    <a:pt x="79930" y="6276477"/>
                  </a:lnTo>
                  <a:lnTo>
                    <a:pt x="82085" y="6309958"/>
                  </a:lnTo>
                  <a:lnTo>
                    <a:pt x="84243" y="6343437"/>
                  </a:lnTo>
                  <a:lnTo>
                    <a:pt x="82150" y="6373615"/>
                  </a:lnTo>
                  <a:lnTo>
                    <a:pt x="76644" y="6403813"/>
                  </a:lnTo>
                  <a:lnTo>
                    <a:pt x="65584" y="6464202"/>
                  </a:lnTo>
                  <a:lnTo>
                    <a:pt x="42726" y="6525146"/>
                  </a:lnTo>
                  <a:lnTo>
                    <a:pt x="22238" y="6616004"/>
                  </a:lnTo>
                  <a:lnTo>
                    <a:pt x="11928" y="6661714"/>
                  </a:lnTo>
                  <a:lnTo>
                    <a:pt x="7879" y="6709994"/>
                  </a:lnTo>
                  <a:lnTo>
                    <a:pt x="5913" y="6758823"/>
                  </a:lnTo>
                  <a:lnTo>
                    <a:pt x="3950" y="6807652"/>
                  </a:lnTo>
                  <a:lnTo>
                    <a:pt x="4133" y="6856421"/>
                  </a:lnTo>
                  <a:lnTo>
                    <a:pt x="1839" y="6903007"/>
                  </a:lnTo>
                  <a:lnTo>
                    <a:pt x="0" y="6940328"/>
                  </a:lnTo>
                  <a:lnTo>
                    <a:pt x="90" y="7004404"/>
                  </a:lnTo>
                  <a:lnTo>
                    <a:pt x="4555" y="7066232"/>
                  </a:lnTo>
                  <a:lnTo>
                    <a:pt x="9026" y="7128052"/>
                  </a:lnTo>
                  <a:lnTo>
                    <a:pt x="17230" y="7187841"/>
                  </a:lnTo>
                  <a:lnTo>
                    <a:pt x="30401" y="7218573"/>
                  </a:lnTo>
                  <a:lnTo>
                    <a:pt x="77496" y="7235279"/>
                  </a:lnTo>
                  <a:lnTo>
                    <a:pt x="135136" y="7169607"/>
                  </a:lnTo>
                  <a:lnTo>
                    <a:pt x="177447" y="7159319"/>
                  </a:lnTo>
                  <a:lnTo>
                    <a:pt x="208279" y="7177864"/>
                  </a:lnTo>
                  <a:lnTo>
                    <a:pt x="228988" y="7209051"/>
                  </a:lnTo>
                  <a:lnTo>
                    <a:pt x="252090" y="7236617"/>
                  </a:lnTo>
                  <a:lnTo>
                    <a:pt x="302586" y="7247202"/>
                  </a:lnTo>
                  <a:lnTo>
                    <a:pt x="334761" y="7226936"/>
                  </a:lnTo>
                  <a:lnTo>
                    <a:pt x="366365" y="7221297"/>
                  </a:lnTo>
                  <a:lnTo>
                    <a:pt x="397960" y="7226257"/>
                  </a:lnTo>
                  <a:lnTo>
                    <a:pt x="421829" y="7248983"/>
                  </a:lnTo>
                  <a:lnTo>
                    <a:pt x="441180" y="7274341"/>
                  </a:lnTo>
                  <a:lnTo>
                    <a:pt x="459947" y="7293551"/>
                  </a:lnTo>
                  <a:lnTo>
                    <a:pt x="477549" y="7306497"/>
                  </a:lnTo>
                  <a:lnTo>
                    <a:pt x="492869" y="7321949"/>
                  </a:lnTo>
                  <a:lnTo>
                    <a:pt x="508189" y="7337401"/>
                  </a:lnTo>
                  <a:lnTo>
                    <a:pt x="521860" y="7356104"/>
                  </a:lnTo>
                  <a:lnTo>
                    <a:pt x="532312" y="7383156"/>
                  </a:lnTo>
                  <a:lnTo>
                    <a:pt x="547065" y="7421321"/>
                  </a:lnTo>
                  <a:lnTo>
                    <a:pt x="550323" y="7461418"/>
                  </a:lnTo>
                  <a:lnTo>
                    <a:pt x="547275" y="7502854"/>
                  </a:lnTo>
                  <a:lnTo>
                    <a:pt x="544231" y="7544296"/>
                  </a:lnTo>
                  <a:lnTo>
                    <a:pt x="534681" y="7586774"/>
                  </a:lnTo>
                  <a:lnTo>
                    <a:pt x="525512" y="7626634"/>
                  </a:lnTo>
                  <a:lnTo>
                    <a:pt x="516347" y="7666493"/>
                  </a:lnTo>
                  <a:lnTo>
                    <a:pt x="507352" y="7703392"/>
                  </a:lnTo>
                  <a:lnTo>
                    <a:pt x="503749" y="7736808"/>
                  </a:lnTo>
                  <a:lnTo>
                    <a:pt x="500150" y="7770224"/>
                  </a:lnTo>
                  <a:lnTo>
                    <a:pt x="502351" y="7800389"/>
                  </a:lnTo>
                  <a:lnTo>
                    <a:pt x="515990" y="7822502"/>
                  </a:lnTo>
                  <a:lnTo>
                    <a:pt x="541790" y="7847272"/>
                  </a:lnTo>
                  <a:lnTo>
                    <a:pt x="563600" y="7857871"/>
                  </a:lnTo>
                  <a:lnTo>
                    <a:pt x="585409" y="7868462"/>
                  </a:lnTo>
                  <a:lnTo>
                    <a:pt x="610924" y="7878064"/>
                  </a:lnTo>
                  <a:lnTo>
                    <a:pt x="638405" y="7886433"/>
                  </a:lnTo>
                  <a:lnTo>
                    <a:pt x="693387" y="7903171"/>
                  </a:lnTo>
                  <a:lnTo>
                    <a:pt x="752807" y="7916651"/>
                  </a:lnTo>
                  <a:lnTo>
                    <a:pt x="785307" y="7931318"/>
                  </a:lnTo>
                  <a:lnTo>
                    <a:pt x="827664" y="7950423"/>
                  </a:lnTo>
                  <a:lnTo>
                    <a:pt x="868648" y="7983985"/>
                  </a:lnTo>
                  <a:lnTo>
                    <a:pt x="906370" y="8010213"/>
                  </a:lnTo>
                  <a:lnTo>
                    <a:pt x="933190" y="8028870"/>
                  </a:lnTo>
                  <a:lnTo>
                    <a:pt x="958053" y="8067338"/>
                  </a:lnTo>
                  <a:lnTo>
                    <a:pt x="949000" y="8123124"/>
                  </a:lnTo>
                  <a:lnTo>
                    <a:pt x="938355" y="8194923"/>
                  </a:lnTo>
                  <a:lnTo>
                    <a:pt x="927261" y="8249436"/>
                  </a:lnTo>
                  <a:lnTo>
                    <a:pt x="903644" y="8305375"/>
                  </a:lnTo>
                  <a:lnTo>
                    <a:pt x="893660" y="8329004"/>
                  </a:lnTo>
                  <a:lnTo>
                    <a:pt x="883227" y="8356366"/>
                  </a:lnTo>
                  <a:lnTo>
                    <a:pt x="871001" y="8378822"/>
                  </a:lnTo>
                  <a:lnTo>
                    <a:pt x="844442" y="8418174"/>
                  </a:lnTo>
                  <a:lnTo>
                    <a:pt x="828833" y="8444111"/>
                  </a:lnTo>
                  <a:lnTo>
                    <a:pt x="813228" y="8470056"/>
                  </a:lnTo>
                  <a:lnTo>
                    <a:pt x="800581" y="8496310"/>
                  </a:lnTo>
                  <a:lnTo>
                    <a:pt x="804550" y="8519623"/>
                  </a:lnTo>
                  <a:lnTo>
                    <a:pt x="816704" y="8540232"/>
                  </a:lnTo>
                  <a:lnTo>
                    <a:pt x="837986" y="8552294"/>
                  </a:lnTo>
                  <a:lnTo>
                    <a:pt x="871001" y="8548852"/>
                  </a:lnTo>
                  <a:lnTo>
                    <a:pt x="901362" y="8537693"/>
                  </a:lnTo>
                  <a:lnTo>
                    <a:pt x="933131" y="8521918"/>
                  </a:lnTo>
                  <a:lnTo>
                    <a:pt x="967575" y="8509401"/>
                  </a:lnTo>
                  <a:lnTo>
                    <a:pt x="1003821" y="8505411"/>
                  </a:lnTo>
                  <a:lnTo>
                    <a:pt x="1024700" y="8513477"/>
                  </a:lnTo>
                  <a:lnTo>
                    <a:pt x="1058249" y="8532944"/>
                  </a:lnTo>
                  <a:lnTo>
                    <a:pt x="1080930" y="8559305"/>
                  </a:lnTo>
                  <a:lnTo>
                    <a:pt x="1098156" y="8588289"/>
                  </a:lnTo>
                  <a:lnTo>
                    <a:pt x="1113876" y="8616746"/>
                  </a:lnTo>
                  <a:lnTo>
                    <a:pt x="1134123" y="8638727"/>
                  </a:lnTo>
                  <a:lnTo>
                    <a:pt x="1163446" y="8649496"/>
                  </a:lnTo>
                  <a:lnTo>
                    <a:pt x="1199874" y="8631993"/>
                  </a:lnTo>
                  <a:lnTo>
                    <a:pt x="1213771" y="8611411"/>
                  </a:lnTo>
                  <a:lnTo>
                    <a:pt x="1227668" y="8590828"/>
                  </a:lnTo>
                  <a:lnTo>
                    <a:pt x="1238449" y="8566242"/>
                  </a:lnTo>
                  <a:lnTo>
                    <a:pt x="1253294" y="8538774"/>
                  </a:lnTo>
                  <a:lnTo>
                    <a:pt x="1288582" y="8537963"/>
                  </a:lnTo>
                  <a:lnTo>
                    <a:pt x="1329702" y="8547341"/>
                  </a:lnTo>
                  <a:lnTo>
                    <a:pt x="1351155" y="8557003"/>
                  </a:lnTo>
                  <a:lnTo>
                    <a:pt x="1394055" y="8576339"/>
                  </a:lnTo>
                  <a:lnTo>
                    <a:pt x="1435479" y="8605390"/>
                  </a:lnTo>
                  <a:lnTo>
                    <a:pt x="1453167" y="8619576"/>
                  </a:lnTo>
                  <a:lnTo>
                    <a:pt x="1481169" y="8608681"/>
                  </a:lnTo>
                  <a:lnTo>
                    <a:pt x="1503236" y="8584999"/>
                  </a:lnTo>
                  <a:lnTo>
                    <a:pt x="1525256" y="8563809"/>
                  </a:lnTo>
                  <a:lnTo>
                    <a:pt x="1547283" y="8542620"/>
                  </a:lnTo>
                  <a:lnTo>
                    <a:pt x="1568987" y="8524048"/>
                  </a:lnTo>
                  <a:lnTo>
                    <a:pt x="1595993" y="8518917"/>
                  </a:lnTo>
                  <a:lnTo>
                    <a:pt x="1636424" y="8511241"/>
                  </a:lnTo>
                  <a:lnTo>
                    <a:pt x="1697580" y="8523091"/>
                  </a:lnTo>
                  <a:lnTo>
                    <a:pt x="1759217" y="8531164"/>
                  </a:lnTo>
                  <a:lnTo>
                    <a:pt x="1790027" y="8535200"/>
                  </a:lnTo>
                  <a:lnTo>
                    <a:pt x="1819976" y="8537713"/>
                  </a:lnTo>
                  <a:lnTo>
                    <a:pt x="1848985" y="8536605"/>
                  </a:lnTo>
                  <a:lnTo>
                    <a:pt x="1877997" y="8535497"/>
                  </a:lnTo>
                  <a:lnTo>
                    <a:pt x="1905397" y="8531224"/>
                  </a:lnTo>
                  <a:lnTo>
                    <a:pt x="1927879" y="8518917"/>
                  </a:lnTo>
                  <a:lnTo>
                    <a:pt x="1951661" y="8505906"/>
                  </a:lnTo>
                  <a:lnTo>
                    <a:pt x="1969660" y="8478220"/>
                  </a:lnTo>
                  <a:lnTo>
                    <a:pt x="1995888" y="8464509"/>
                  </a:lnTo>
                  <a:lnTo>
                    <a:pt x="2068128" y="8473419"/>
                  </a:lnTo>
                  <a:lnTo>
                    <a:pt x="2078289" y="8500986"/>
                  </a:lnTo>
                  <a:lnTo>
                    <a:pt x="2070699" y="8527082"/>
                  </a:lnTo>
                  <a:lnTo>
                    <a:pt x="2077058" y="8551925"/>
                  </a:lnTo>
                  <a:lnTo>
                    <a:pt x="2148229" y="8578766"/>
                  </a:lnTo>
                  <a:lnTo>
                    <a:pt x="2123861" y="8626263"/>
                  </a:lnTo>
                  <a:lnTo>
                    <a:pt x="2118308" y="8648138"/>
                  </a:lnTo>
                  <a:lnTo>
                    <a:pt x="2108916" y="8685089"/>
                  </a:lnTo>
                  <a:lnTo>
                    <a:pt x="2111549" y="8706483"/>
                  </a:lnTo>
                  <a:lnTo>
                    <a:pt x="2130497" y="8731253"/>
                  </a:lnTo>
                  <a:lnTo>
                    <a:pt x="2167270" y="8733832"/>
                  </a:lnTo>
                  <a:lnTo>
                    <a:pt x="2209410" y="8729856"/>
                  </a:lnTo>
                  <a:lnTo>
                    <a:pt x="2231200" y="8728391"/>
                  </a:lnTo>
                  <a:lnTo>
                    <a:pt x="2252988" y="8726927"/>
                  </a:lnTo>
                  <a:lnTo>
                    <a:pt x="2274435" y="8728655"/>
                  </a:lnTo>
                  <a:lnTo>
                    <a:pt x="2299761" y="8751071"/>
                  </a:lnTo>
                  <a:lnTo>
                    <a:pt x="2283324" y="8809278"/>
                  </a:lnTo>
                  <a:lnTo>
                    <a:pt x="2293621" y="8846579"/>
                  </a:lnTo>
                  <a:lnTo>
                    <a:pt x="2379374" y="8907852"/>
                  </a:lnTo>
                  <a:lnTo>
                    <a:pt x="2402582" y="8928342"/>
                  </a:lnTo>
                  <a:lnTo>
                    <a:pt x="2433207" y="8955329"/>
                  </a:lnTo>
                  <a:lnTo>
                    <a:pt x="2463168" y="9006043"/>
                  </a:lnTo>
                  <a:lnTo>
                    <a:pt x="2473313" y="9045316"/>
                  </a:lnTo>
                  <a:lnTo>
                    <a:pt x="2486159" y="9095041"/>
                  </a:lnTo>
                  <a:lnTo>
                    <a:pt x="2497299" y="9128379"/>
                  </a:lnTo>
                  <a:lnTo>
                    <a:pt x="2500514" y="9160931"/>
                  </a:lnTo>
                  <a:lnTo>
                    <a:pt x="2503733" y="9193490"/>
                  </a:lnTo>
                  <a:lnTo>
                    <a:pt x="2498201" y="9225139"/>
                  </a:lnTo>
                  <a:lnTo>
                    <a:pt x="2476035" y="9272471"/>
                  </a:lnTo>
                  <a:lnTo>
                    <a:pt x="2458287" y="9307153"/>
                  </a:lnTo>
                  <a:lnTo>
                    <a:pt x="2432298" y="9326708"/>
                  </a:lnTo>
                  <a:lnTo>
                    <a:pt x="2399435" y="9318451"/>
                  </a:lnTo>
                  <a:lnTo>
                    <a:pt x="2374020" y="9317349"/>
                  </a:lnTo>
                  <a:lnTo>
                    <a:pt x="2346393" y="9406380"/>
                  </a:lnTo>
                  <a:lnTo>
                    <a:pt x="2404836" y="9470713"/>
                  </a:lnTo>
                  <a:lnTo>
                    <a:pt x="2453547" y="9521593"/>
                  </a:lnTo>
                  <a:lnTo>
                    <a:pt x="2501875" y="9573066"/>
                  </a:lnTo>
                  <a:lnTo>
                    <a:pt x="2531821" y="9583783"/>
                  </a:lnTo>
                  <a:lnTo>
                    <a:pt x="2563360" y="9565693"/>
                  </a:lnTo>
                  <a:lnTo>
                    <a:pt x="2609463" y="9555708"/>
                  </a:lnTo>
                  <a:lnTo>
                    <a:pt x="2636537" y="9563550"/>
                  </a:lnTo>
                  <a:lnTo>
                    <a:pt x="2661320" y="9592370"/>
                  </a:lnTo>
                  <a:lnTo>
                    <a:pt x="2642254" y="9683775"/>
                  </a:lnTo>
                  <a:lnTo>
                    <a:pt x="2643216" y="9720021"/>
                  </a:lnTo>
                  <a:lnTo>
                    <a:pt x="2656037" y="9739001"/>
                  </a:lnTo>
                  <a:lnTo>
                    <a:pt x="2671905" y="9755336"/>
                  </a:lnTo>
                  <a:lnTo>
                    <a:pt x="2687771" y="9771672"/>
                  </a:lnTo>
                  <a:lnTo>
                    <a:pt x="2705953" y="9786075"/>
                  </a:lnTo>
                  <a:lnTo>
                    <a:pt x="2736277" y="9799074"/>
                  </a:lnTo>
                  <a:lnTo>
                    <a:pt x="2765506" y="9788383"/>
                  </a:lnTo>
                  <a:lnTo>
                    <a:pt x="2793086" y="9777192"/>
                  </a:lnTo>
                  <a:lnTo>
                    <a:pt x="2813363" y="9793422"/>
                  </a:lnTo>
                  <a:lnTo>
                    <a:pt x="2831849" y="9816445"/>
                  </a:lnTo>
                  <a:lnTo>
                    <a:pt x="2852003" y="9838406"/>
                  </a:lnTo>
                  <a:lnTo>
                    <a:pt x="2880014" y="9847830"/>
                  </a:lnTo>
                  <a:lnTo>
                    <a:pt x="2916126" y="9842119"/>
                  </a:lnTo>
                  <a:lnTo>
                    <a:pt x="2943945" y="9821984"/>
                  </a:lnTo>
                  <a:lnTo>
                    <a:pt x="2969788" y="9795077"/>
                  </a:lnTo>
                  <a:lnTo>
                    <a:pt x="3022219" y="9795546"/>
                  </a:lnTo>
                  <a:lnTo>
                    <a:pt x="3059981" y="9813721"/>
                  </a:lnTo>
                  <a:lnTo>
                    <a:pt x="3100363" y="9827425"/>
                  </a:lnTo>
                  <a:lnTo>
                    <a:pt x="3135499" y="9839349"/>
                  </a:lnTo>
                  <a:lnTo>
                    <a:pt x="3172926" y="9847593"/>
                  </a:lnTo>
                  <a:lnTo>
                    <a:pt x="3207820" y="9860070"/>
                  </a:lnTo>
                  <a:lnTo>
                    <a:pt x="3245694" y="9879518"/>
                  </a:lnTo>
                  <a:lnTo>
                    <a:pt x="3285031" y="9892583"/>
                  </a:lnTo>
                  <a:lnTo>
                    <a:pt x="3317993" y="9891356"/>
                  </a:lnTo>
                  <a:lnTo>
                    <a:pt x="3348404" y="9880659"/>
                  </a:lnTo>
                  <a:lnTo>
                    <a:pt x="3387769" y="9851543"/>
                  </a:lnTo>
                  <a:lnTo>
                    <a:pt x="3409972" y="9822518"/>
                  </a:lnTo>
                  <a:lnTo>
                    <a:pt x="3432256" y="9794781"/>
                  </a:lnTo>
                  <a:lnTo>
                    <a:pt x="3450810" y="9784683"/>
                  </a:lnTo>
                  <a:lnTo>
                    <a:pt x="3484429" y="9785851"/>
                  </a:lnTo>
                  <a:lnTo>
                    <a:pt x="3505538" y="9788680"/>
                  </a:lnTo>
                  <a:lnTo>
                    <a:pt x="3526107" y="9793422"/>
                  </a:lnTo>
                  <a:lnTo>
                    <a:pt x="3567240" y="9802892"/>
                  </a:lnTo>
                  <a:lnTo>
                    <a:pt x="3607920" y="9817414"/>
                  </a:lnTo>
                  <a:lnTo>
                    <a:pt x="3651669" y="9827900"/>
                  </a:lnTo>
                  <a:lnTo>
                    <a:pt x="3685673" y="9831719"/>
                  </a:lnTo>
                  <a:lnTo>
                    <a:pt x="3716536" y="9836948"/>
                  </a:lnTo>
                  <a:lnTo>
                    <a:pt x="3748965" y="9826660"/>
                  </a:lnTo>
                  <a:lnTo>
                    <a:pt x="3765668" y="9791529"/>
                  </a:lnTo>
                  <a:lnTo>
                    <a:pt x="3787267" y="9785257"/>
                  </a:lnTo>
                  <a:lnTo>
                    <a:pt x="3821969" y="9785719"/>
                  </a:lnTo>
                  <a:lnTo>
                    <a:pt x="3858658" y="9793000"/>
                  </a:lnTo>
                  <a:lnTo>
                    <a:pt x="3894718" y="9783892"/>
                  </a:lnTo>
                  <a:lnTo>
                    <a:pt x="3913706" y="9755818"/>
                  </a:lnTo>
                  <a:lnTo>
                    <a:pt x="3937289" y="9722388"/>
                  </a:lnTo>
                  <a:lnTo>
                    <a:pt x="3964090" y="9700922"/>
                  </a:lnTo>
                  <a:lnTo>
                    <a:pt x="3989236" y="9690469"/>
                  </a:lnTo>
                  <a:lnTo>
                    <a:pt x="4020642" y="9704318"/>
                  </a:lnTo>
                  <a:lnTo>
                    <a:pt x="4042984" y="9688682"/>
                  </a:lnTo>
                  <a:lnTo>
                    <a:pt x="4069919" y="9658938"/>
                  </a:lnTo>
                  <a:lnTo>
                    <a:pt x="4082430" y="9641073"/>
                  </a:lnTo>
                  <a:lnTo>
                    <a:pt x="4094938" y="9623207"/>
                  </a:lnTo>
                  <a:lnTo>
                    <a:pt x="4108255" y="9606707"/>
                  </a:lnTo>
                  <a:lnTo>
                    <a:pt x="4130037" y="9601629"/>
                  </a:lnTo>
                  <a:lnTo>
                    <a:pt x="4164924" y="9593497"/>
                  </a:lnTo>
                  <a:lnTo>
                    <a:pt x="4208426" y="9600059"/>
                  </a:lnTo>
                  <a:lnTo>
                    <a:pt x="4248377" y="9605704"/>
                  </a:lnTo>
                  <a:lnTo>
                    <a:pt x="4288321" y="9611356"/>
                  </a:lnTo>
                  <a:lnTo>
                    <a:pt x="4325101" y="9615894"/>
                  </a:lnTo>
                  <a:lnTo>
                    <a:pt x="4350386" y="9604346"/>
                  </a:lnTo>
                  <a:lnTo>
                    <a:pt x="4370704" y="9587767"/>
                  </a:lnTo>
                  <a:lnTo>
                    <a:pt x="4405282" y="9534124"/>
                  </a:lnTo>
                  <a:lnTo>
                    <a:pt x="4411601" y="9509129"/>
                  </a:lnTo>
                  <a:lnTo>
                    <a:pt x="4432803" y="9503728"/>
                  </a:lnTo>
                  <a:lnTo>
                    <a:pt x="4456972" y="9494976"/>
                  </a:lnTo>
                  <a:lnTo>
                    <a:pt x="4475526" y="9483290"/>
                  </a:lnTo>
                  <a:lnTo>
                    <a:pt x="4468977" y="9443800"/>
                  </a:lnTo>
                  <a:lnTo>
                    <a:pt x="4461920" y="9414874"/>
                  </a:lnTo>
                  <a:lnTo>
                    <a:pt x="4474158" y="9393514"/>
                  </a:lnTo>
                  <a:lnTo>
                    <a:pt x="4501369" y="9374474"/>
                  </a:lnTo>
                  <a:lnTo>
                    <a:pt x="4518221" y="9354195"/>
                  </a:lnTo>
                  <a:lnTo>
                    <a:pt x="4497326" y="9308096"/>
                  </a:lnTo>
                  <a:lnTo>
                    <a:pt x="4513610" y="9277898"/>
                  </a:lnTo>
                  <a:lnTo>
                    <a:pt x="4572865" y="9247602"/>
                  </a:lnTo>
                  <a:lnTo>
                    <a:pt x="4621067" y="9238454"/>
                  </a:lnTo>
                  <a:lnTo>
                    <a:pt x="4669263" y="9229300"/>
                  </a:lnTo>
                  <a:lnTo>
                    <a:pt x="4718891" y="9226531"/>
                  </a:lnTo>
                  <a:lnTo>
                    <a:pt x="4739401" y="9235737"/>
                  </a:lnTo>
                  <a:lnTo>
                    <a:pt x="4756488" y="9254414"/>
                  </a:lnTo>
                  <a:lnTo>
                    <a:pt x="4762358" y="9274944"/>
                  </a:lnTo>
                  <a:lnTo>
                    <a:pt x="4774769" y="9295586"/>
                  </a:lnTo>
                  <a:lnTo>
                    <a:pt x="4792126" y="9324465"/>
                  </a:lnTo>
                  <a:lnTo>
                    <a:pt x="4810882" y="9341763"/>
                  </a:lnTo>
                  <a:lnTo>
                    <a:pt x="4833253" y="9355434"/>
                  </a:lnTo>
                  <a:lnTo>
                    <a:pt x="4855629" y="9369100"/>
                  </a:lnTo>
                  <a:lnTo>
                    <a:pt x="4882133" y="9378075"/>
                  </a:lnTo>
                  <a:lnTo>
                    <a:pt x="4913505" y="9389438"/>
                  </a:lnTo>
                  <a:lnTo>
                    <a:pt x="4933231" y="9417064"/>
                  </a:lnTo>
                  <a:lnTo>
                    <a:pt x="4953220" y="9445561"/>
                  </a:lnTo>
                  <a:lnTo>
                    <a:pt x="4971994" y="9473767"/>
                  </a:lnTo>
                  <a:lnTo>
                    <a:pt x="4990790" y="9502006"/>
                  </a:lnTo>
                  <a:lnTo>
                    <a:pt x="5003775" y="9531921"/>
                  </a:lnTo>
                  <a:lnTo>
                    <a:pt x="5020962" y="9558103"/>
                  </a:lnTo>
                  <a:lnTo>
                    <a:pt x="5038149" y="9584284"/>
                  </a:lnTo>
                  <a:lnTo>
                    <a:pt x="5059707" y="9606318"/>
                  </a:lnTo>
                  <a:lnTo>
                    <a:pt x="5095776" y="9619310"/>
                  </a:lnTo>
                  <a:lnTo>
                    <a:pt x="5125083" y="9629868"/>
                  </a:lnTo>
                  <a:lnTo>
                    <a:pt x="5183929" y="9627349"/>
                  </a:lnTo>
                  <a:lnTo>
                    <a:pt x="5237228" y="9626109"/>
                  </a:lnTo>
                  <a:lnTo>
                    <a:pt x="5290536" y="9624876"/>
                  </a:lnTo>
                  <a:lnTo>
                    <a:pt x="5339188" y="9624961"/>
                  </a:lnTo>
                  <a:lnTo>
                    <a:pt x="5358436" y="9657686"/>
                  </a:lnTo>
                  <a:lnTo>
                    <a:pt x="5371843" y="9679653"/>
                  </a:lnTo>
                  <a:lnTo>
                    <a:pt x="5382772" y="9702280"/>
                  </a:lnTo>
                  <a:lnTo>
                    <a:pt x="5393705" y="9724907"/>
                  </a:lnTo>
                  <a:lnTo>
                    <a:pt x="5401475" y="9748636"/>
                  </a:lnTo>
                  <a:lnTo>
                    <a:pt x="5397736" y="9771652"/>
                  </a:lnTo>
                  <a:lnTo>
                    <a:pt x="5362374" y="9781175"/>
                  </a:lnTo>
                  <a:lnTo>
                    <a:pt x="5349184" y="9806348"/>
                  </a:lnTo>
                  <a:lnTo>
                    <a:pt x="5348306" y="9834890"/>
                  </a:lnTo>
                  <a:lnTo>
                    <a:pt x="5341969" y="9861428"/>
                  </a:lnTo>
                  <a:lnTo>
                    <a:pt x="5327012" y="9877006"/>
                  </a:lnTo>
                  <a:lnTo>
                    <a:pt x="5297429" y="9879809"/>
                  </a:lnTo>
                  <a:lnTo>
                    <a:pt x="5263747" y="9873622"/>
                  </a:lnTo>
                  <a:lnTo>
                    <a:pt x="5240146" y="9864455"/>
                  </a:lnTo>
                  <a:lnTo>
                    <a:pt x="5205779" y="9870800"/>
                  </a:lnTo>
                  <a:lnTo>
                    <a:pt x="5181554" y="9900787"/>
                  </a:lnTo>
                  <a:lnTo>
                    <a:pt x="5161065" y="9934876"/>
                  </a:lnTo>
                  <a:lnTo>
                    <a:pt x="5140567" y="9968971"/>
                  </a:lnTo>
                  <a:lnTo>
                    <a:pt x="5123421" y="10008171"/>
                  </a:lnTo>
                  <a:lnTo>
                    <a:pt x="5122981" y="10030093"/>
                  </a:lnTo>
                  <a:lnTo>
                    <a:pt x="5160259" y="10062837"/>
                  </a:lnTo>
                  <a:lnTo>
                    <a:pt x="5190986" y="10080419"/>
                  </a:lnTo>
                  <a:lnTo>
                    <a:pt x="5221713" y="10098001"/>
                  </a:lnTo>
                  <a:lnTo>
                    <a:pt x="5254362" y="10116889"/>
                  </a:lnTo>
                  <a:lnTo>
                    <a:pt x="5268516" y="10138909"/>
                  </a:lnTo>
                  <a:lnTo>
                    <a:pt x="5281231" y="10158634"/>
                  </a:lnTo>
                  <a:lnTo>
                    <a:pt x="5259586" y="10226641"/>
                  </a:lnTo>
                  <a:lnTo>
                    <a:pt x="5267158" y="10261323"/>
                  </a:lnTo>
                  <a:lnTo>
                    <a:pt x="5285076" y="10283251"/>
                  </a:lnTo>
                  <a:lnTo>
                    <a:pt x="5297289" y="10306802"/>
                  </a:lnTo>
                  <a:lnTo>
                    <a:pt x="5313406" y="10325254"/>
                  </a:lnTo>
                  <a:lnTo>
                    <a:pt x="5329526" y="10343707"/>
                  </a:lnTo>
                  <a:lnTo>
                    <a:pt x="5349323" y="10356996"/>
                  </a:lnTo>
                  <a:lnTo>
                    <a:pt x="5382772" y="10361982"/>
                  </a:lnTo>
                  <a:lnTo>
                    <a:pt x="5407977" y="10365741"/>
                  </a:lnTo>
                  <a:lnTo>
                    <a:pt x="5437609" y="10354542"/>
                  </a:lnTo>
                  <a:lnTo>
                    <a:pt x="5467108" y="10348376"/>
                  </a:lnTo>
                  <a:lnTo>
                    <a:pt x="5496443" y="10343463"/>
                  </a:lnTo>
                  <a:lnTo>
                    <a:pt x="5524832" y="10347849"/>
                  </a:lnTo>
                  <a:lnTo>
                    <a:pt x="5551438" y="10367422"/>
                  </a:lnTo>
                  <a:lnTo>
                    <a:pt x="5554074" y="10399111"/>
                  </a:lnTo>
                  <a:lnTo>
                    <a:pt x="5516668" y="10428505"/>
                  </a:lnTo>
                  <a:lnTo>
                    <a:pt x="5483306" y="10462429"/>
                  </a:lnTo>
                  <a:lnTo>
                    <a:pt x="5460309" y="10492560"/>
                  </a:lnTo>
                  <a:lnTo>
                    <a:pt x="5558250" y="10663949"/>
                  </a:lnTo>
                  <a:lnTo>
                    <a:pt x="5608576" y="10740121"/>
                  </a:lnTo>
                  <a:lnTo>
                    <a:pt x="5660259" y="10817650"/>
                  </a:lnTo>
                  <a:lnTo>
                    <a:pt x="5665766" y="10789833"/>
                  </a:lnTo>
                  <a:lnTo>
                    <a:pt x="5679747" y="10767272"/>
                  </a:lnTo>
                  <a:lnTo>
                    <a:pt x="5692905" y="10744202"/>
                  </a:lnTo>
                  <a:lnTo>
                    <a:pt x="5706067" y="10721133"/>
                  </a:lnTo>
                  <a:lnTo>
                    <a:pt x="5717304" y="10697722"/>
                  </a:lnTo>
                  <a:lnTo>
                    <a:pt x="5717391" y="10669390"/>
                  </a:lnTo>
                  <a:lnTo>
                    <a:pt x="5740751" y="10665737"/>
                  </a:lnTo>
                  <a:lnTo>
                    <a:pt x="5781613" y="10670426"/>
                  </a:lnTo>
                  <a:lnTo>
                    <a:pt x="5822125" y="10670749"/>
                  </a:lnTo>
                  <a:lnTo>
                    <a:pt x="5862644" y="10671078"/>
                  </a:lnTo>
                  <a:lnTo>
                    <a:pt x="5901863" y="10667596"/>
                  </a:lnTo>
                  <a:lnTo>
                    <a:pt x="5936382" y="10659867"/>
                  </a:lnTo>
                  <a:lnTo>
                    <a:pt x="5969025" y="10700669"/>
                  </a:lnTo>
                  <a:lnTo>
                    <a:pt x="6000893" y="10712659"/>
                  </a:lnTo>
                  <a:lnTo>
                    <a:pt x="6029654" y="10710443"/>
                  </a:lnTo>
                  <a:lnTo>
                    <a:pt x="6054719" y="10696587"/>
                  </a:lnTo>
                  <a:lnTo>
                    <a:pt x="6079958" y="10680390"/>
                  </a:lnTo>
                  <a:lnTo>
                    <a:pt x="6102862" y="10652158"/>
                  </a:lnTo>
                  <a:lnTo>
                    <a:pt x="6124092" y="10620416"/>
                  </a:lnTo>
                  <a:lnTo>
                    <a:pt x="6145321" y="10588682"/>
                  </a:lnTo>
                  <a:lnTo>
                    <a:pt x="6165388" y="10553175"/>
                  </a:lnTo>
                  <a:lnTo>
                    <a:pt x="6186658" y="10522482"/>
                  </a:lnTo>
                  <a:lnTo>
                    <a:pt x="6207934" y="10491789"/>
                  </a:lnTo>
                  <a:lnTo>
                    <a:pt x="6230652" y="10466188"/>
                  </a:lnTo>
                  <a:lnTo>
                    <a:pt x="6256031" y="10453116"/>
                  </a:lnTo>
                  <a:lnTo>
                    <a:pt x="6275242" y="10443225"/>
                  </a:lnTo>
                  <a:lnTo>
                    <a:pt x="6314520" y="10439512"/>
                  </a:lnTo>
                  <a:lnTo>
                    <a:pt x="6356133" y="10440507"/>
                  </a:lnTo>
                  <a:lnTo>
                    <a:pt x="6377087" y="10440870"/>
                  </a:lnTo>
                  <a:lnTo>
                    <a:pt x="6399318" y="10415796"/>
                  </a:lnTo>
                  <a:lnTo>
                    <a:pt x="6414703" y="10375284"/>
                  </a:lnTo>
                  <a:lnTo>
                    <a:pt x="6428777" y="10359258"/>
                  </a:lnTo>
                  <a:lnTo>
                    <a:pt x="6494066" y="10355182"/>
                  </a:lnTo>
                  <a:lnTo>
                    <a:pt x="6534467" y="10352188"/>
                  </a:lnTo>
                  <a:lnTo>
                    <a:pt x="6570238" y="10364705"/>
                  </a:lnTo>
                  <a:lnTo>
                    <a:pt x="6595145" y="10391863"/>
                  </a:lnTo>
                  <a:lnTo>
                    <a:pt x="6615122" y="10416390"/>
                  </a:lnTo>
                  <a:lnTo>
                    <a:pt x="6643427" y="10440131"/>
                  </a:lnTo>
                  <a:lnTo>
                    <a:pt x="6666806" y="10459923"/>
                  </a:lnTo>
                  <a:lnTo>
                    <a:pt x="6688528" y="10450723"/>
                  </a:lnTo>
                  <a:lnTo>
                    <a:pt x="6700940" y="10426407"/>
                  </a:lnTo>
                  <a:lnTo>
                    <a:pt x="6718499" y="10412314"/>
                  </a:lnTo>
                  <a:lnTo>
                    <a:pt x="6752633" y="10398353"/>
                  </a:lnTo>
                  <a:lnTo>
                    <a:pt x="6771249" y="10373062"/>
                  </a:lnTo>
                  <a:lnTo>
                    <a:pt x="6786504" y="10356548"/>
                  </a:lnTo>
                  <a:lnTo>
                    <a:pt x="6806822" y="10351239"/>
                  </a:lnTo>
                  <a:lnTo>
                    <a:pt x="6833518" y="10354826"/>
                  </a:lnTo>
                  <a:lnTo>
                    <a:pt x="6899409" y="10370153"/>
                  </a:lnTo>
                  <a:lnTo>
                    <a:pt x="6929956" y="10406702"/>
                  </a:lnTo>
                  <a:lnTo>
                    <a:pt x="6938845" y="10439525"/>
                  </a:lnTo>
                  <a:lnTo>
                    <a:pt x="6947744" y="10472341"/>
                  </a:lnTo>
                  <a:lnTo>
                    <a:pt x="6953322" y="10506384"/>
                  </a:lnTo>
                  <a:lnTo>
                    <a:pt x="6965628" y="10534056"/>
                  </a:lnTo>
                  <a:lnTo>
                    <a:pt x="6987812" y="10563298"/>
                  </a:lnTo>
                  <a:lnTo>
                    <a:pt x="7023460" y="10579897"/>
                  </a:lnTo>
                  <a:lnTo>
                    <a:pt x="7132994" y="10595349"/>
                  </a:lnTo>
                  <a:lnTo>
                    <a:pt x="7240814" y="10602748"/>
                  </a:lnTo>
                  <a:lnTo>
                    <a:pt x="7348634" y="10610142"/>
                  </a:lnTo>
                  <a:lnTo>
                    <a:pt x="7454984" y="10610121"/>
                  </a:lnTo>
                  <a:lnTo>
                    <a:pt x="7488374" y="10594584"/>
                  </a:lnTo>
                  <a:lnTo>
                    <a:pt x="7504696" y="10555140"/>
                  </a:lnTo>
                  <a:lnTo>
                    <a:pt x="7531978" y="10554678"/>
                  </a:lnTo>
                  <a:lnTo>
                    <a:pt x="7590343" y="10553399"/>
                  </a:lnTo>
                  <a:lnTo>
                    <a:pt x="7614863" y="10570104"/>
                  </a:lnTo>
                  <a:lnTo>
                    <a:pt x="7626853" y="10607636"/>
                  </a:lnTo>
                  <a:lnTo>
                    <a:pt x="7642582" y="10626932"/>
                  </a:lnTo>
                  <a:lnTo>
                    <a:pt x="7694107" y="10631074"/>
                  </a:lnTo>
                  <a:lnTo>
                    <a:pt x="7744092" y="10629953"/>
                  </a:lnTo>
                  <a:lnTo>
                    <a:pt x="7794067" y="10628831"/>
                  </a:lnTo>
                  <a:lnTo>
                    <a:pt x="7842830" y="10623661"/>
                  </a:lnTo>
                  <a:lnTo>
                    <a:pt x="7851549" y="10587785"/>
                  </a:lnTo>
                  <a:lnTo>
                    <a:pt x="7866227" y="10565045"/>
                  </a:lnTo>
                  <a:lnTo>
                    <a:pt x="7886291" y="10550648"/>
                  </a:lnTo>
                  <a:lnTo>
                    <a:pt x="7908674" y="10540176"/>
                  </a:lnTo>
                  <a:lnTo>
                    <a:pt x="7931057" y="10529703"/>
                  </a:lnTo>
                  <a:lnTo>
                    <a:pt x="7956110" y="10522811"/>
                  </a:lnTo>
                  <a:lnTo>
                    <a:pt x="7979405" y="10512972"/>
                  </a:lnTo>
                  <a:lnTo>
                    <a:pt x="8013493" y="10488063"/>
                  </a:lnTo>
                  <a:lnTo>
                    <a:pt x="8058885" y="10474444"/>
                  </a:lnTo>
                  <a:lnTo>
                    <a:pt x="8097906" y="10458650"/>
                  </a:lnTo>
                  <a:lnTo>
                    <a:pt x="8131746" y="10453123"/>
                  </a:lnTo>
                  <a:lnTo>
                    <a:pt x="8163434" y="10447946"/>
                  </a:lnTo>
                  <a:lnTo>
                    <a:pt x="8197069" y="10449523"/>
                  </a:lnTo>
                  <a:lnTo>
                    <a:pt x="8229681" y="10447683"/>
                  </a:lnTo>
                  <a:lnTo>
                    <a:pt x="8262284" y="10445842"/>
                  </a:lnTo>
                  <a:lnTo>
                    <a:pt x="8294843" y="10440072"/>
                  </a:lnTo>
                  <a:lnTo>
                    <a:pt x="8323532" y="10420479"/>
                  </a:lnTo>
                  <a:lnTo>
                    <a:pt x="8342065" y="10397944"/>
                  </a:lnTo>
                  <a:lnTo>
                    <a:pt x="8348297" y="10358816"/>
                  </a:lnTo>
                  <a:lnTo>
                    <a:pt x="8357537" y="10321186"/>
                  </a:lnTo>
                  <a:lnTo>
                    <a:pt x="8367815" y="10283707"/>
                  </a:lnTo>
                  <a:lnTo>
                    <a:pt x="8382623" y="10252572"/>
                  </a:lnTo>
                  <a:lnTo>
                    <a:pt x="8405143" y="10232775"/>
                  </a:lnTo>
                  <a:lnTo>
                    <a:pt x="8459887" y="10202022"/>
                  </a:lnTo>
                  <a:lnTo>
                    <a:pt x="8523015" y="10201039"/>
                  </a:lnTo>
                  <a:lnTo>
                    <a:pt x="8577889" y="10174284"/>
                  </a:lnTo>
                  <a:lnTo>
                    <a:pt x="8586986" y="10120958"/>
                  </a:lnTo>
                  <a:lnTo>
                    <a:pt x="8599265" y="10085893"/>
                  </a:lnTo>
                  <a:lnTo>
                    <a:pt x="8613251" y="10062745"/>
                  </a:lnTo>
                  <a:lnTo>
                    <a:pt x="8627241" y="10039603"/>
                  </a:lnTo>
                  <a:lnTo>
                    <a:pt x="8660861" y="10020583"/>
                  </a:lnTo>
                  <a:lnTo>
                    <a:pt x="8700647" y="10011298"/>
                  </a:lnTo>
                  <a:lnTo>
                    <a:pt x="8723427" y="10005620"/>
                  </a:lnTo>
                  <a:lnTo>
                    <a:pt x="8746220" y="9999942"/>
                  </a:lnTo>
                  <a:lnTo>
                    <a:pt x="8771549" y="9991362"/>
                  </a:lnTo>
                  <a:lnTo>
                    <a:pt x="8798238" y="9972975"/>
                  </a:lnTo>
                  <a:lnTo>
                    <a:pt x="8816541" y="9952847"/>
                  </a:lnTo>
                  <a:lnTo>
                    <a:pt x="8824004" y="9930168"/>
                  </a:lnTo>
                  <a:lnTo>
                    <a:pt x="8830884" y="9907685"/>
                  </a:lnTo>
                  <a:lnTo>
                    <a:pt x="8837762" y="9885203"/>
                  </a:lnTo>
                  <a:lnTo>
                    <a:pt x="8844146" y="9862438"/>
                  </a:lnTo>
                  <a:lnTo>
                    <a:pt x="8856731" y="9841037"/>
                  </a:lnTo>
                  <a:lnTo>
                    <a:pt x="8870625" y="9817434"/>
                  </a:lnTo>
                  <a:lnTo>
                    <a:pt x="8890279" y="9796106"/>
                  </a:lnTo>
                  <a:lnTo>
                    <a:pt x="8908415" y="9774383"/>
                  </a:lnTo>
                  <a:lnTo>
                    <a:pt x="8926556" y="9752659"/>
                  </a:lnTo>
                  <a:lnTo>
                    <a:pt x="8943188" y="9730368"/>
                  </a:lnTo>
                  <a:lnTo>
                    <a:pt x="8949225" y="9703652"/>
                  </a:lnTo>
                  <a:lnTo>
                    <a:pt x="8949225" y="9677813"/>
                  </a:lnTo>
                  <a:lnTo>
                    <a:pt x="8952666" y="9656472"/>
                  </a:lnTo>
                  <a:lnTo>
                    <a:pt x="8953299" y="9617964"/>
                  </a:lnTo>
                  <a:lnTo>
                    <a:pt x="8973111" y="9558603"/>
                  </a:lnTo>
                  <a:lnTo>
                    <a:pt x="9017230" y="9494185"/>
                  </a:lnTo>
                  <a:lnTo>
                    <a:pt x="9042971" y="9447255"/>
                  </a:lnTo>
                  <a:lnTo>
                    <a:pt x="9066994" y="9384709"/>
                  </a:lnTo>
                  <a:lnTo>
                    <a:pt x="9083877" y="9320079"/>
                  </a:lnTo>
                  <a:lnTo>
                    <a:pt x="9100769" y="9255449"/>
                  </a:lnTo>
                  <a:lnTo>
                    <a:pt x="9111491" y="9187568"/>
                  </a:lnTo>
                  <a:lnTo>
                    <a:pt x="9109723" y="9132368"/>
                  </a:lnTo>
                  <a:lnTo>
                    <a:pt x="9097225" y="9098088"/>
                  </a:lnTo>
                  <a:lnTo>
                    <a:pt x="9086181" y="9063914"/>
                  </a:lnTo>
                  <a:lnTo>
                    <a:pt x="9082519" y="9027635"/>
                  </a:lnTo>
                  <a:lnTo>
                    <a:pt x="9103274" y="9003299"/>
                  </a:lnTo>
                  <a:lnTo>
                    <a:pt x="9140655" y="8989404"/>
                  </a:lnTo>
                  <a:lnTo>
                    <a:pt x="9161156" y="8984887"/>
                  </a:lnTo>
                  <a:lnTo>
                    <a:pt x="9184779" y="8964475"/>
                  </a:lnTo>
                  <a:lnTo>
                    <a:pt x="9185895" y="8788029"/>
                  </a:lnTo>
                  <a:lnTo>
                    <a:pt x="9185895" y="8758319"/>
                  </a:lnTo>
                  <a:lnTo>
                    <a:pt x="9210123" y="8724421"/>
                  </a:lnTo>
                  <a:lnTo>
                    <a:pt x="9245823" y="8709114"/>
                  </a:lnTo>
                  <a:lnTo>
                    <a:pt x="9275670" y="8691664"/>
                  </a:lnTo>
                  <a:lnTo>
                    <a:pt x="9304663" y="8672737"/>
                  </a:lnTo>
                  <a:lnTo>
                    <a:pt x="9322845" y="8648026"/>
                  </a:lnTo>
                  <a:lnTo>
                    <a:pt x="9325995" y="8611417"/>
                  </a:lnTo>
                  <a:lnTo>
                    <a:pt x="9324333" y="8589120"/>
                  </a:lnTo>
                  <a:lnTo>
                    <a:pt x="9324169" y="8564831"/>
                  </a:lnTo>
                  <a:lnTo>
                    <a:pt x="9316473" y="8543404"/>
                  </a:lnTo>
                  <a:lnTo>
                    <a:pt x="9293436" y="8521918"/>
                  </a:lnTo>
                  <a:lnTo>
                    <a:pt x="9260700" y="8522999"/>
                  </a:lnTo>
                  <a:lnTo>
                    <a:pt x="9239511" y="8512283"/>
                  </a:lnTo>
                  <a:lnTo>
                    <a:pt x="9223850" y="8496237"/>
                  </a:lnTo>
                  <a:lnTo>
                    <a:pt x="9210374" y="8479473"/>
                  </a:lnTo>
                  <a:lnTo>
                    <a:pt x="9196909" y="8462715"/>
                  </a:lnTo>
                  <a:lnTo>
                    <a:pt x="9184661" y="8444778"/>
                  </a:lnTo>
                  <a:lnTo>
                    <a:pt x="9168213" y="8429148"/>
                  </a:lnTo>
                  <a:lnTo>
                    <a:pt x="9162765" y="8400724"/>
                  </a:lnTo>
                  <a:lnTo>
                    <a:pt x="9158579" y="8347543"/>
                  </a:lnTo>
                  <a:lnTo>
                    <a:pt x="9157327" y="8294486"/>
                  </a:lnTo>
                  <a:lnTo>
                    <a:pt x="9156086" y="8241430"/>
                  </a:lnTo>
                  <a:lnTo>
                    <a:pt x="9157789" y="8189113"/>
                  </a:lnTo>
                  <a:lnTo>
                    <a:pt x="9168213" y="8162548"/>
                  </a:lnTo>
                  <a:lnTo>
                    <a:pt x="9219896" y="8030611"/>
                  </a:lnTo>
                  <a:lnTo>
                    <a:pt x="9230950" y="8002536"/>
                  </a:lnTo>
                  <a:lnTo>
                    <a:pt x="9225127" y="7960751"/>
                  </a:lnTo>
                  <a:lnTo>
                    <a:pt x="9232137" y="7929952"/>
                  </a:lnTo>
                  <a:lnTo>
                    <a:pt x="9239749" y="7896418"/>
                  </a:lnTo>
                  <a:lnTo>
                    <a:pt x="9282246" y="7818822"/>
                  </a:lnTo>
                  <a:lnTo>
                    <a:pt x="9331899" y="7829724"/>
                  </a:lnTo>
                  <a:lnTo>
                    <a:pt x="9362474" y="7815024"/>
                  </a:lnTo>
                  <a:lnTo>
                    <a:pt x="9370929" y="7793946"/>
                  </a:lnTo>
                  <a:lnTo>
                    <a:pt x="9374963" y="7766729"/>
                  </a:lnTo>
                  <a:lnTo>
                    <a:pt x="9378994" y="7739518"/>
                  </a:lnTo>
                  <a:lnTo>
                    <a:pt x="9378451" y="7705594"/>
                  </a:lnTo>
                  <a:lnTo>
                    <a:pt x="9376315" y="7671519"/>
                  </a:lnTo>
                  <a:lnTo>
                    <a:pt x="9372048" y="7603360"/>
                  </a:lnTo>
                  <a:lnTo>
                    <a:pt x="9361826" y="7533500"/>
                  </a:lnTo>
                  <a:lnTo>
                    <a:pt x="9368157" y="7506936"/>
                  </a:lnTo>
                  <a:lnTo>
                    <a:pt x="9373685" y="7483643"/>
                  </a:lnTo>
                  <a:lnTo>
                    <a:pt x="9392255" y="7451908"/>
                  </a:lnTo>
                  <a:lnTo>
                    <a:pt x="9402161" y="7429399"/>
                  </a:lnTo>
                  <a:lnTo>
                    <a:pt x="9359438" y="7398700"/>
                  </a:lnTo>
                  <a:lnTo>
                    <a:pt x="9328715" y="7373633"/>
                  </a:lnTo>
                  <a:lnTo>
                    <a:pt x="9297982" y="7348572"/>
                  </a:lnTo>
                  <a:lnTo>
                    <a:pt x="9270138" y="7322213"/>
                  </a:lnTo>
                  <a:lnTo>
                    <a:pt x="9268799" y="7292377"/>
                  </a:lnTo>
                  <a:lnTo>
                    <a:pt x="9279747" y="7263459"/>
                  </a:lnTo>
                  <a:lnTo>
                    <a:pt x="9296617" y="7236301"/>
                  </a:lnTo>
                  <a:lnTo>
                    <a:pt x="9331688" y="7199435"/>
                  </a:lnTo>
                  <a:lnTo>
                    <a:pt x="9360719" y="7177521"/>
                  </a:lnTo>
                  <a:lnTo>
                    <a:pt x="9379040" y="7157360"/>
                  </a:lnTo>
                  <a:lnTo>
                    <a:pt x="9475146" y="6991821"/>
                  </a:lnTo>
                  <a:lnTo>
                    <a:pt x="9463370" y="6969656"/>
                  </a:lnTo>
                  <a:lnTo>
                    <a:pt x="9372030" y="6934861"/>
                  </a:lnTo>
                  <a:lnTo>
                    <a:pt x="9336878" y="6928846"/>
                  </a:lnTo>
                  <a:lnTo>
                    <a:pt x="9310406" y="6990318"/>
                  </a:lnTo>
                  <a:lnTo>
                    <a:pt x="9290627" y="7032222"/>
                  </a:lnTo>
                  <a:lnTo>
                    <a:pt x="9270842" y="7074132"/>
                  </a:lnTo>
                  <a:lnTo>
                    <a:pt x="9250226" y="7113081"/>
                  </a:lnTo>
                  <a:lnTo>
                    <a:pt x="9214858" y="7132497"/>
                  </a:lnTo>
                  <a:lnTo>
                    <a:pt x="9132686" y="7116518"/>
                  </a:lnTo>
                  <a:lnTo>
                    <a:pt x="9052592" y="7089353"/>
                  </a:lnTo>
                  <a:lnTo>
                    <a:pt x="9012548" y="7075774"/>
                  </a:lnTo>
                  <a:lnTo>
                    <a:pt x="8972845" y="7059644"/>
                  </a:lnTo>
                  <a:lnTo>
                    <a:pt x="8941058" y="7043104"/>
                  </a:lnTo>
                  <a:lnTo>
                    <a:pt x="8909270" y="7026570"/>
                  </a:lnTo>
                  <a:lnTo>
                    <a:pt x="8885365" y="7009324"/>
                  </a:lnTo>
                  <a:lnTo>
                    <a:pt x="8878488" y="6972373"/>
                  </a:lnTo>
                  <a:lnTo>
                    <a:pt x="8900961" y="6953076"/>
                  </a:lnTo>
                  <a:lnTo>
                    <a:pt x="8920653" y="6945169"/>
                  </a:lnTo>
                  <a:lnTo>
                    <a:pt x="8940341" y="6937268"/>
                  </a:lnTo>
                  <a:lnTo>
                    <a:pt x="8961199" y="6928985"/>
                  </a:lnTo>
                  <a:lnTo>
                    <a:pt x="8979223" y="6897224"/>
                  </a:lnTo>
                  <a:lnTo>
                    <a:pt x="8965282" y="6868727"/>
                  </a:lnTo>
                  <a:lnTo>
                    <a:pt x="8941051" y="6837718"/>
                  </a:lnTo>
                  <a:lnTo>
                    <a:pt x="8868454" y="6857628"/>
                  </a:lnTo>
                  <a:lnTo>
                    <a:pt x="8827905" y="6862845"/>
                  </a:lnTo>
                  <a:lnTo>
                    <a:pt x="8795160" y="6850446"/>
                  </a:lnTo>
                  <a:lnTo>
                    <a:pt x="8762870" y="6834995"/>
                  </a:lnTo>
                  <a:lnTo>
                    <a:pt x="8730574" y="6819549"/>
                  </a:lnTo>
                  <a:lnTo>
                    <a:pt x="8699066" y="6801862"/>
                  </a:lnTo>
                  <a:lnTo>
                    <a:pt x="8675818" y="6792827"/>
                  </a:lnTo>
                  <a:lnTo>
                    <a:pt x="8625868" y="6773425"/>
                  </a:lnTo>
                  <a:lnTo>
                    <a:pt x="8568237" y="6761673"/>
                  </a:lnTo>
                  <a:lnTo>
                    <a:pt x="8515313" y="6754741"/>
                  </a:lnTo>
                  <a:lnTo>
                    <a:pt x="8527551" y="6708603"/>
                  </a:lnTo>
                  <a:lnTo>
                    <a:pt x="8545404" y="6673663"/>
                  </a:lnTo>
                  <a:lnTo>
                    <a:pt x="8565645" y="6640485"/>
                  </a:lnTo>
                  <a:lnTo>
                    <a:pt x="8588251" y="6603335"/>
                  </a:lnTo>
                  <a:lnTo>
                    <a:pt x="8622513" y="6569523"/>
                  </a:lnTo>
                  <a:lnTo>
                    <a:pt x="8639092" y="6528951"/>
                  </a:lnTo>
                  <a:lnTo>
                    <a:pt x="8639684" y="6498858"/>
                  </a:lnTo>
                  <a:lnTo>
                    <a:pt x="8590124" y="6443257"/>
                  </a:lnTo>
                  <a:lnTo>
                    <a:pt x="8611149" y="6401802"/>
                  </a:lnTo>
                  <a:lnTo>
                    <a:pt x="8614612" y="6377967"/>
                  </a:lnTo>
                  <a:lnTo>
                    <a:pt x="8618066" y="6354140"/>
                  </a:lnTo>
                  <a:lnTo>
                    <a:pt x="8613462" y="6330986"/>
                  </a:lnTo>
                  <a:lnTo>
                    <a:pt x="8594207" y="6314040"/>
                  </a:lnTo>
                  <a:lnTo>
                    <a:pt x="8615198" y="6294834"/>
                  </a:lnTo>
                  <a:lnTo>
                    <a:pt x="8636366" y="6288196"/>
                  </a:lnTo>
                  <a:lnTo>
                    <a:pt x="8657543" y="6281558"/>
                  </a:lnTo>
                  <a:lnTo>
                    <a:pt x="8683793" y="6276443"/>
                  </a:lnTo>
                  <a:lnTo>
                    <a:pt x="8711180" y="6270513"/>
                  </a:lnTo>
                  <a:lnTo>
                    <a:pt x="8738577" y="6264584"/>
                  </a:lnTo>
                  <a:lnTo>
                    <a:pt x="8767639" y="6257848"/>
                  </a:lnTo>
                  <a:lnTo>
                    <a:pt x="8791433" y="6248750"/>
                  </a:lnTo>
                  <a:lnTo>
                    <a:pt x="8815220" y="6239652"/>
                  </a:lnTo>
                  <a:lnTo>
                    <a:pt x="8834109" y="6228166"/>
                  </a:lnTo>
                  <a:lnTo>
                    <a:pt x="8854771" y="6180996"/>
                  </a:lnTo>
                  <a:lnTo>
                    <a:pt x="8843374" y="6082232"/>
                  </a:lnTo>
                  <a:lnTo>
                    <a:pt x="8828153" y="6055601"/>
                  </a:lnTo>
                  <a:lnTo>
                    <a:pt x="8841402" y="6030330"/>
                  </a:lnTo>
                  <a:lnTo>
                    <a:pt x="8869319" y="6012863"/>
                  </a:lnTo>
                  <a:lnTo>
                    <a:pt x="8904331" y="5998473"/>
                  </a:lnTo>
                  <a:lnTo>
                    <a:pt x="8940735" y="5985410"/>
                  </a:lnTo>
                  <a:lnTo>
                    <a:pt x="8971298" y="5968011"/>
                  </a:lnTo>
                  <a:lnTo>
                    <a:pt x="8990025" y="5942705"/>
                  </a:lnTo>
                  <a:lnTo>
                    <a:pt x="8980702" y="5904218"/>
                  </a:lnTo>
                  <a:lnTo>
                    <a:pt x="8969620" y="5884217"/>
                  </a:lnTo>
                  <a:lnTo>
                    <a:pt x="8958536" y="5864215"/>
                  </a:lnTo>
                  <a:lnTo>
                    <a:pt x="8947705" y="5844102"/>
                  </a:lnTo>
                  <a:lnTo>
                    <a:pt x="8954657" y="5808343"/>
                  </a:lnTo>
                  <a:lnTo>
                    <a:pt x="8990276" y="5766262"/>
                  </a:lnTo>
                  <a:lnTo>
                    <a:pt x="8995777" y="5728920"/>
                  </a:lnTo>
                  <a:lnTo>
                    <a:pt x="8976110" y="5713123"/>
                  </a:lnTo>
                  <a:lnTo>
                    <a:pt x="8954657" y="5699229"/>
                  </a:lnTo>
                  <a:lnTo>
                    <a:pt x="8933204" y="5685336"/>
                  </a:lnTo>
                  <a:lnTo>
                    <a:pt x="8909382" y="5673237"/>
                  </a:lnTo>
                  <a:lnTo>
                    <a:pt x="8897525" y="5654343"/>
                  </a:lnTo>
                  <a:lnTo>
                    <a:pt x="8894809" y="5631220"/>
                  </a:lnTo>
                  <a:lnTo>
                    <a:pt x="8906455" y="5601136"/>
                  </a:lnTo>
                  <a:lnTo>
                    <a:pt x="8925691" y="5573951"/>
                  </a:lnTo>
                  <a:lnTo>
                    <a:pt x="8934258" y="5545527"/>
                  </a:lnTo>
                  <a:lnTo>
                    <a:pt x="8940354" y="5516669"/>
                  </a:lnTo>
                  <a:lnTo>
                    <a:pt x="8933601" y="5487333"/>
                  </a:lnTo>
                  <a:lnTo>
                    <a:pt x="8909779" y="5457114"/>
                  </a:lnTo>
                  <a:lnTo>
                    <a:pt x="8844654" y="5457734"/>
                  </a:lnTo>
                  <a:lnTo>
                    <a:pt x="8819198" y="5458982"/>
                  </a:lnTo>
                  <a:lnTo>
                    <a:pt x="8799600" y="5438069"/>
                  </a:lnTo>
                  <a:lnTo>
                    <a:pt x="8802151" y="5405010"/>
                  </a:lnTo>
                  <a:lnTo>
                    <a:pt x="8791309" y="5382729"/>
                  </a:lnTo>
                  <a:lnTo>
                    <a:pt x="8776475" y="5361898"/>
                  </a:lnTo>
                  <a:lnTo>
                    <a:pt x="8761651" y="5341067"/>
                  </a:lnTo>
                  <a:lnTo>
                    <a:pt x="8742921" y="5321963"/>
                  </a:lnTo>
                  <a:lnTo>
                    <a:pt x="8731591" y="5295249"/>
                  </a:lnTo>
                  <a:lnTo>
                    <a:pt x="8731526" y="5272125"/>
                  </a:lnTo>
                  <a:lnTo>
                    <a:pt x="8737969" y="5248202"/>
                  </a:lnTo>
                  <a:lnTo>
                    <a:pt x="8747913" y="5225878"/>
                  </a:lnTo>
                  <a:lnTo>
                    <a:pt x="8757859" y="5203555"/>
                  </a:lnTo>
                  <a:lnTo>
                    <a:pt x="8771378" y="5182299"/>
                  </a:lnTo>
                  <a:lnTo>
                    <a:pt x="8783275" y="5163309"/>
                  </a:lnTo>
                  <a:lnTo>
                    <a:pt x="8834754" y="5168452"/>
                  </a:lnTo>
                  <a:lnTo>
                    <a:pt x="8882165" y="5208302"/>
                  </a:lnTo>
                  <a:lnTo>
                    <a:pt x="8885120" y="5250742"/>
                  </a:lnTo>
                  <a:lnTo>
                    <a:pt x="8900257" y="5283007"/>
                  </a:lnTo>
                  <a:lnTo>
                    <a:pt x="8918650" y="5313025"/>
                  </a:lnTo>
                  <a:lnTo>
                    <a:pt x="8955311" y="5329160"/>
                  </a:lnTo>
                  <a:lnTo>
                    <a:pt x="8981294" y="5330693"/>
                  </a:lnTo>
                  <a:lnTo>
                    <a:pt x="9019955" y="5325170"/>
                  </a:lnTo>
                  <a:lnTo>
                    <a:pt x="9047712" y="5321205"/>
                  </a:lnTo>
                  <a:lnTo>
                    <a:pt x="9073927" y="5317322"/>
                  </a:lnTo>
                  <a:lnTo>
                    <a:pt x="9098843" y="5308848"/>
                  </a:lnTo>
                  <a:lnTo>
                    <a:pt x="9123757" y="5300373"/>
                  </a:lnTo>
                  <a:lnTo>
                    <a:pt x="9146729" y="5287563"/>
                  </a:lnTo>
                  <a:lnTo>
                    <a:pt x="9168213" y="5268042"/>
                  </a:lnTo>
                  <a:lnTo>
                    <a:pt x="9178206" y="5236194"/>
                  </a:lnTo>
                  <a:lnTo>
                    <a:pt x="9172578" y="5213847"/>
                  </a:lnTo>
                  <a:lnTo>
                    <a:pt x="9164139" y="5191871"/>
                  </a:lnTo>
                  <a:lnTo>
                    <a:pt x="9155689" y="5169895"/>
                  </a:lnTo>
                  <a:lnTo>
                    <a:pt x="9145606" y="5148950"/>
                  </a:lnTo>
                  <a:lnTo>
                    <a:pt x="9145092" y="5119781"/>
                  </a:lnTo>
                  <a:lnTo>
                    <a:pt x="9157655" y="5091758"/>
                  </a:lnTo>
                  <a:lnTo>
                    <a:pt x="9181502" y="5068911"/>
                  </a:lnTo>
                  <a:lnTo>
                    <a:pt x="9198143" y="5042249"/>
                  </a:lnTo>
                  <a:lnTo>
                    <a:pt x="9172560" y="5003322"/>
                  </a:lnTo>
                  <a:lnTo>
                    <a:pt x="9139867" y="4980539"/>
                  </a:lnTo>
                  <a:lnTo>
                    <a:pt x="9111094" y="4972888"/>
                  </a:lnTo>
                  <a:lnTo>
                    <a:pt x="9110672" y="4925876"/>
                  </a:lnTo>
                  <a:lnTo>
                    <a:pt x="9109196" y="4895127"/>
                  </a:lnTo>
                  <a:lnTo>
                    <a:pt x="9105655" y="4870873"/>
                  </a:lnTo>
                  <a:lnTo>
                    <a:pt x="9102105" y="4846618"/>
                  </a:lnTo>
                  <a:lnTo>
                    <a:pt x="9098850" y="4819185"/>
                  </a:lnTo>
                  <a:lnTo>
                    <a:pt x="9111094" y="4801503"/>
                  </a:lnTo>
                  <a:lnTo>
                    <a:pt x="9134091" y="4793214"/>
                  </a:lnTo>
                  <a:lnTo>
                    <a:pt x="9189349" y="4768071"/>
                  </a:lnTo>
                  <a:lnTo>
                    <a:pt x="9202223" y="4745734"/>
                  </a:lnTo>
                  <a:lnTo>
                    <a:pt x="9196171" y="4691818"/>
                  </a:lnTo>
                  <a:lnTo>
                    <a:pt x="9184544" y="4655961"/>
                  </a:lnTo>
                  <a:lnTo>
                    <a:pt x="9172910" y="4620105"/>
                  </a:lnTo>
                  <a:lnTo>
                    <a:pt x="9158868" y="4585146"/>
                  </a:lnTo>
                  <a:lnTo>
                    <a:pt x="9155975" y="4560747"/>
                  </a:lnTo>
                  <a:lnTo>
                    <a:pt x="9213190" y="4580895"/>
                  </a:lnTo>
                  <a:lnTo>
                    <a:pt x="9262027" y="4617897"/>
                  </a:lnTo>
                  <a:lnTo>
                    <a:pt x="9319199" y="4639639"/>
                  </a:lnTo>
                  <a:lnTo>
                    <a:pt x="9397030" y="4548740"/>
                  </a:lnTo>
                  <a:lnTo>
                    <a:pt x="9382575" y="4528910"/>
                  </a:lnTo>
                  <a:lnTo>
                    <a:pt x="9377009" y="4507891"/>
                  </a:lnTo>
                  <a:lnTo>
                    <a:pt x="9348822" y="4480751"/>
                  </a:lnTo>
                  <a:lnTo>
                    <a:pt x="9270402" y="4429743"/>
                  </a:lnTo>
                  <a:lnTo>
                    <a:pt x="9261137" y="4374358"/>
                  </a:lnTo>
                  <a:lnTo>
                    <a:pt x="9246087" y="4318908"/>
                  </a:lnTo>
                  <a:lnTo>
                    <a:pt x="9253907" y="4280547"/>
                  </a:lnTo>
                  <a:lnTo>
                    <a:pt x="9285576" y="4254767"/>
                  </a:lnTo>
                  <a:lnTo>
                    <a:pt x="9340875" y="4253704"/>
                  </a:lnTo>
                  <a:lnTo>
                    <a:pt x="9379046" y="4237020"/>
                  </a:lnTo>
                  <a:lnTo>
                    <a:pt x="9373518" y="4200550"/>
                  </a:lnTo>
                  <a:lnTo>
                    <a:pt x="9345721" y="4174090"/>
                  </a:lnTo>
                  <a:lnTo>
                    <a:pt x="9320938" y="4159914"/>
                  </a:lnTo>
                  <a:lnTo>
                    <a:pt x="9297433" y="4151328"/>
                  </a:lnTo>
                  <a:lnTo>
                    <a:pt x="9291802" y="4116079"/>
                  </a:lnTo>
                  <a:lnTo>
                    <a:pt x="9294487" y="4061876"/>
                  </a:lnTo>
                  <a:lnTo>
                    <a:pt x="9294717" y="4008507"/>
                  </a:lnTo>
                  <a:lnTo>
                    <a:pt x="9294915" y="3955137"/>
                  </a:lnTo>
                  <a:lnTo>
                    <a:pt x="9292165" y="3902666"/>
                  </a:lnTo>
                  <a:lnTo>
                    <a:pt x="9278395" y="3872487"/>
                  </a:lnTo>
                  <a:lnTo>
                    <a:pt x="9228404" y="3873067"/>
                  </a:lnTo>
                  <a:lnTo>
                    <a:pt x="9203200" y="3860904"/>
                  </a:lnTo>
                  <a:lnTo>
                    <a:pt x="9196782" y="3823519"/>
                  </a:lnTo>
                  <a:lnTo>
                    <a:pt x="9196586" y="3785881"/>
                  </a:lnTo>
                  <a:lnTo>
                    <a:pt x="9200015" y="3764203"/>
                  </a:lnTo>
                  <a:lnTo>
                    <a:pt x="9217186" y="3751429"/>
                  </a:lnTo>
                  <a:lnTo>
                    <a:pt x="9231849" y="3734374"/>
                  </a:lnTo>
                  <a:lnTo>
                    <a:pt x="9253221" y="3715772"/>
                  </a:lnTo>
                  <a:lnTo>
                    <a:pt x="9268870" y="3694301"/>
                  </a:lnTo>
                  <a:lnTo>
                    <a:pt x="9283412" y="3672169"/>
                  </a:lnTo>
                  <a:lnTo>
                    <a:pt x="9289691" y="3648423"/>
                  </a:lnTo>
                  <a:lnTo>
                    <a:pt x="9285195" y="3623571"/>
                  </a:lnTo>
                  <a:lnTo>
                    <a:pt x="9261221" y="3592668"/>
                  </a:lnTo>
                  <a:lnTo>
                    <a:pt x="9229598" y="3570119"/>
                  </a:lnTo>
                  <a:lnTo>
                    <a:pt x="9198143" y="3547399"/>
                  </a:lnTo>
                  <a:lnTo>
                    <a:pt x="9136847" y="3503108"/>
                  </a:lnTo>
                  <a:lnTo>
                    <a:pt x="9095042" y="3478303"/>
                  </a:lnTo>
                  <a:lnTo>
                    <a:pt x="9063481" y="3445384"/>
                  </a:lnTo>
                  <a:lnTo>
                    <a:pt x="9047705" y="3428925"/>
                  </a:lnTo>
                  <a:lnTo>
                    <a:pt x="9034088" y="3411202"/>
                  </a:lnTo>
                  <a:lnTo>
                    <a:pt x="9022677" y="3386895"/>
                  </a:lnTo>
                  <a:lnTo>
                    <a:pt x="9011267" y="3362589"/>
                  </a:lnTo>
                  <a:lnTo>
                    <a:pt x="9001845" y="3332323"/>
                  </a:lnTo>
                  <a:lnTo>
                    <a:pt x="8992751" y="3293042"/>
                  </a:lnTo>
                  <a:lnTo>
                    <a:pt x="8977409" y="3226637"/>
                  </a:lnTo>
                  <a:lnTo>
                    <a:pt x="8958681" y="3167075"/>
                  </a:lnTo>
                  <a:lnTo>
                    <a:pt x="8956030" y="3109416"/>
                  </a:lnTo>
                  <a:lnTo>
                    <a:pt x="8954703" y="3080585"/>
                  </a:lnTo>
                  <a:lnTo>
                    <a:pt x="8958244" y="3052295"/>
                  </a:lnTo>
                  <a:lnTo>
                    <a:pt x="8966910" y="3023723"/>
                  </a:lnTo>
                  <a:lnTo>
                    <a:pt x="8975570" y="2995151"/>
                  </a:lnTo>
                  <a:lnTo>
                    <a:pt x="8989960" y="2966270"/>
                  </a:lnTo>
                  <a:lnTo>
                    <a:pt x="9013156" y="2936670"/>
                  </a:lnTo>
                  <a:lnTo>
                    <a:pt x="9039343" y="2903239"/>
                  </a:lnTo>
                  <a:lnTo>
                    <a:pt x="9064464" y="2867236"/>
                  </a:lnTo>
                  <a:lnTo>
                    <a:pt x="9098850" y="2841456"/>
                  </a:lnTo>
                  <a:lnTo>
                    <a:pt x="9124436" y="2822264"/>
                  </a:lnTo>
                  <a:lnTo>
                    <a:pt x="9147817" y="2818354"/>
                  </a:lnTo>
                  <a:lnTo>
                    <a:pt x="9165497" y="2788409"/>
                  </a:lnTo>
                  <a:lnTo>
                    <a:pt x="9176997" y="2768951"/>
                  </a:lnTo>
                  <a:lnTo>
                    <a:pt x="9179477" y="2740735"/>
                  </a:lnTo>
                  <a:lnTo>
                    <a:pt x="9183185" y="2714958"/>
                  </a:lnTo>
                  <a:lnTo>
                    <a:pt x="9186891" y="2689180"/>
                  </a:lnTo>
                  <a:lnTo>
                    <a:pt x="9191935" y="2665523"/>
                  </a:lnTo>
                  <a:lnTo>
                    <a:pt x="9210387" y="2653749"/>
                  </a:lnTo>
                  <a:lnTo>
                    <a:pt x="9244946" y="2631709"/>
                  </a:lnTo>
                  <a:lnTo>
                    <a:pt x="9283031" y="2639063"/>
                  </a:lnTo>
                  <a:lnTo>
                    <a:pt x="9317838" y="2619743"/>
                  </a:lnTo>
                  <a:lnTo>
                    <a:pt x="9313881" y="2589034"/>
                  </a:lnTo>
                  <a:lnTo>
                    <a:pt x="9301687" y="2567695"/>
                  </a:lnTo>
                  <a:lnTo>
                    <a:pt x="9302025" y="2540257"/>
                  </a:lnTo>
                  <a:lnTo>
                    <a:pt x="9312610" y="2502576"/>
                  </a:lnTo>
                  <a:lnTo>
                    <a:pt x="9357897" y="2484616"/>
                  </a:lnTo>
                  <a:lnTo>
                    <a:pt x="9409581" y="2488670"/>
                  </a:lnTo>
                  <a:lnTo>
                    <a:pt x="9455218" y="2493245"/>
                  </a:lnTo>
                  <a:lnTo>
                    <a:pt x="9500847" y="2497820"/>
                  </a:lnTo>
                  <a:lnTo>
                    <a:pt x="9539802" y="2503000"/>
                  </a:lnTo>
                  <a:lnTo>
                    <a:pt x="9549281" y="2478750"/>
                  </a:lnTo>
                  <a:lnTo>
                    <a:pt x="9557615" y="2446467"/>
                  </a:lnTo>
                  <a:lnTo>
                    <a:pt x="9601098" y="2424087"/>
                  </a:lnTo>
                  <a:lnTo>
                    <a:pt x="9649805" y="2438922"/>
                  </a:lnTo>
                  <a:lnTo>
                    <a:pt x="9674207" y="2426595"/>
                  </a:lnTo>
                  <a:lnTo>
                    <a:pt x="9682364" y="2406192"/>
                  </a:lnTo>
                  <a:lnTo>
                    <a:pt x="9737632" y="2384493"/>
                  </a:lnTo>
                  <a:lnTo>
                    <a:pt x="9781369" y="2372187"/>
                  </a:lnTo>
                  <a:lnTo>
                    <a:pt x="9822467" y="2357225"/>
                  </a:lnTo>
                  <a:lnTo>
                    <a:pt x="9882724" y="2335260"/>
                  </a:lnTo>
                  <a:lnTo>
                    <a:pt x="9910887" y="2313699"/>
                  </a:lnTo>
                  <a:lnTo>
                    <a:pt x="9948860" y="2304304"/>
                  </a:lnTo>
                  <a:lnTo>
                    <a:pt x="10029218" y="2306898"/>
                  </a:lnTo>
                  <a:lnTo>
                    <a:pt x="10056084" y="2293125"/>
                  </a:lnTo>
                  <a:lnTo>
                    <a:pt x="10070151" y="2242703"/>
                  </a:lnTo>
                  <a:lnTo>
                    <a:pt x="10064211" y="2212366"/>
                  </a:lnTo>
                  <a:lnTo>
                    <a:pt x="10049622" y="2183120"/>
                  </a:lnTo>
                  <a:lnTo>
                    <a:pt x="10035034" y="2153873"/>
                  </a:lnTo>
                  <a:lnTo>
                    <a:pt x="10012301" y="2125778"/>
                  </a:lnTo>
                  <a:lnTo>
                    <a:pt x="9987050" y="2087906"/>
                  </a:lnTo>
                  <a:lnTo>
                    <a:pt x="9970728" y="2060702"/>
                  </a:lnTo>
                  <a:lnTo>
                    <a:pt x="9990922" y="2030607"/>
                  </a:lnTo>
                  <a:lnTo>
                    <a:pt x="10021147" y="2009800"/>
                  </a:lnTo>
                  <a:lnTo>
                    <a:pt x="10037381" y="1987251"/>
                  </a:lnTo>
                  <a:lnTo>
                    <a:pt x="10046122" y="1946296"/>
                  </a:lnTo>
                  <a:lnTo>
                    <a:pt x="10041378" y="1886331"/>
                  </a:lnTo>
                  <a:lnTo>
                    <a:pt x="10037381" y="1830828"/>
                  </a:lnTo>
                  <a:lnTo>
                    <a:pt x="10033385" y="1775325"/>
                  </a:lnTo>
                  <a:lnTo>
                    <a:pt x="10030476" y="1724583"/>
                  </a:lnTo>
                  <a:lnTo>
                    <a:pt x="10045539" y="1704330"/>
                  </a:lnTo>
                  <a:lnTo>
                    <a:pt x="10082696" y="1685053"/>
                  </a:lnTo>
                  <a:lnTo>
                    <a:pt x="10111851" y="1700653"/>
                  </a:lnTo>
                  <a:lnTo>
                    <a:pt x="10121587" y="1727942"/>
                  </a:lnTo>
                  <a:lnTo>
                    <a:pt x="10123069" y="1749216"/>
                  </a:lnTo>
                  <a:lnTo>
                    <a:pt x="10171392" y="1768662"/>
                  </a:lnTo>
                  <a:lnTo>
                    <a:pt x="10228284" y="1767555"/>
                  </a:lnTo>
                  <a:lnTo>
                    <a:pt x="10282225" y="1760098"/>
                  </a:lnTo>
                  <a:lnTo>
                    <a:pt x="10336157" y="1752641"/>
                  </a:lnTo>
                  <a:lnTo>
                    <a:pt x="10387214" y="1739089"/>
                  </a:lnTo>
                  <a:lnTo>
                    <a:pt x="10414161" y="1719292"/>
                  </a:lnTo>
                  <a:lnTo>
                    <a:pt x="10419749" y="1688634"/>
                  </a:lnTo>
                  <a:lnTo>
                    <a:pt x="10428657" y="1660426"/>
                  </a:lnTo>
                  <a:lnTo>
                    <a:pt x="10434566" y="1632239"/>
                  </a:lnTo>
                  <a:lnTo>
                    <a:pt x="10440470" y="1604052"/>
                  </a:lnTo>
                  <a:lnTo>
                    <a:pt x="10443918" y="1575610"/>
                  </a:lnTo>
                  <a:lnTo>
                    <a:pt x="10440002" y="1543826"/>
                  </a:lnTo>
                  <a:lnTo>
                    <a:pt x="10414078" y="1542955"/>
                  </a:lnTo>
                  <a:lnTo>
                    <a:pt x="10302965" y="1543848"/>
                  </a:lnTo>
                  <a:lnTo>
                    <a:pt x="10284941" y="1531584"/>
                  </a:lnTo>
                  <a:lnTo>
                    <a:pt x="10268744" y="1510990"/>
                  </a:lnTo>
                  <a:lnTo>
                    <a:pt x="10256379" y="1467655"/>
                  </a:lnTo>
                  <a:lnTo>
                    <a:pt x="10247372" y="1447401"/>
                  </a:lnTo>
                  <a:lnTo>
                    <a:pt x="10217271" y="1436264"/>
                  </a:lnTo>
                  <a:lnTo>
                    <a:pt x="10203331" y="1420048"/>
                  </a:lnTo>
                  <a:lnTo>
                    <a:pt x="10180849" y="1393885"/>
                  </a:lnTo>
                  <a:lnTo>
                    <a:pt x="10165206" y="1358457"/>
                  </a:lnTo>
                  <a:lnTo>
                    <a:pt x="10142122" y="1332995"/>
                  </a:lnTo>
                  <a:lnTo>
                    <a:pt x="10079556" y="1277227"/>
                  </a:lnTo>
                  <a:lnTo>
                    <a:pt x="10062719" y="1256335"/>
                  </a:lnTo>
                  <a:lnTo>
                    <a:pt x="10022213" y="1234880"/>
                  </a:lnTo>
                  <a:lnTo>
                    <a:pt x="9992339" y="1229222"/>
                  </a:lnTo>
                  <a:lnTo>
                    <a:pt x="9961219" y="1222819"/>
                  </a:lnTo>
                  <a:lnTo>
                    <a:pt x="9930095" y="1216417"/>
                  </a:lnTo>
                  <a:lnTo>
                    <a:pt x="9898072" y="1208952"/>
                  </a:lnTo>
                  <a:lnTo>
                    <a:pt x="9871441" y="1192895"/>
                  </a:lnTo>
                  <a:lnTo>
                    <a:pt x="9867683" y="1170218"/>
                  </a:lnTo>
                  <a:lnTo>
                    <a:pt x="9866121" y="1144454"/>
                  </a:lnTo>
                  <a:lnTo>
                    <a:pt x="9860561" y="1119444"/>
                  </a:lnTo>
                  <a:lnTo>
                    <a:pt x="9854999" y="1094435"/>
                  </a:lnTo>
                  <a:lnTo>
                    <a:pt x="9844599" y="1070307"/>
                  </a:lnTo>
                  <a:lnTo>
                    <a:pt x="9838795" y="1039192"/>
                  </a:lnTo>
                  <a:lnTo>
                    <a:pt x="9834721" y="1017323"/>
                  </a:lnTo>
                  <a:lnTo>
                    <a:pt x="9840203" y="992287"/>
                  </a:lnTo>
                  <a:lnTo>
                    <a:pt x="9838795" y="969822"/>
                  </a:lnTo>
                  <a:lnTo>
                    <a:pt x="9835270" y="912312"/>
                  </a:lnTo>
                  <a:lnTo>
                    <a:pt x="9841545" y="879645"/>
                  </a:lnTo>
                  <a:lnTo>
                    <a:pt x="9860561" y="854205"/>
                  </a:lnTo>
                  <a:lnTo>
                    <a:pt x="9879574" y="828765"/>
                  </a:lnTo>
                  <a:lnTo>
                    <a:pt x="9911380" y="811061"/>
                  </a:lnTo>
                  <a:lnTo>
                    <a:pt x="9961212" y="783475"/>
                  </a:lnTo>
                  <a:lnTo>
                    <a:pt x="9989350" y="749470"/>
                  </a:lnTo>
                  <a:lnTo>
                    <a:pt x="9998959" y="715029"/>
                  </a:lnTo>
                  <a:lnTo>
                    <a:pt x="9991806" y="691500"/>
                  </a:lnTo>
                  <a:lnTo>
                    <a:pt x="9985698" y="667858"/>
                  </a:lnTo>
                  <a:lnTo>
                    <a:pt x="9979593" y="644217"/>
                  </a:lnTo>
                  <a:lnTo>
                    <a:pt x="9974350" y="621718"/>
                  </a:lnTo>
                  <a:lnTo>
                    <a:pt x="9984340" y="601208"/>
                  </a:lnTo>
                  <a:lnTo>
                    <a:pt x="9999046" y="571029"/>
                  </a:lnTo>
                  <a:lnTo>
                    <a:pt x="10012732" y="537874"/>
                  </a:lnTo>
                  <a:lnTo>
                    <a:pt x="10029224" y="508715"/>
                  </a:lnTo>
                  <a:lnTo>
                    <a:pt x="10044103" y="482362"/>
                  </a:lnTo>
                  <a:lnTo>
                    <a:pt x="10070285" y="455666"/>
                  </a:lnTo>
                  <a:lnTo>
                    <a:pt x="10082275" y="428463"/>
                  </a:lnTo>
                  <a:lnTo>
                    <a:pt x="10090773" y="409175"/>
                  </a:lnTo>
                  <a:lnTo>
                    <a:pt x="10097105" y="383829"/>
                  </a:lnTo>
                  <a:lnTo>
                    <a:pt x="10104038" y="355012"/>
                  </a:lnTo>
                  <a:lnTo>
                    <a:pt x="10110968" y="326196"/>
                  </a:lnTo>
                  <a:lnTo>
                    <a:pt x="10118223" y="293564"/>
                  </a:lnTo>
                  <a:lnTo>
                    <a:pt x="10125801" y="262519"/>
                  </a:lnTo>
                  <a:lnTo>
                    <a:pt x="10133379" y="231473"/>
                  </a:lnTo>
                  <a:lnTo>
                    <a:pt x="10141204" y="201440"/>
                  </a:lnTo>
                  <a:lnTo>
                    <a:pt x="10151638" y="175466"/>
                  </a:lnTo>
                  <a:lnTo>
                    <a:pt x="10175525" y="141904"/>
                  </a:lnTo>
                  <a:lnTo>
                    <a:pt x="10192448" y="116978"/>
                  </a:lnTo>
                  <a:lnTo>
                    <a:pt x="10178492" y="98302"/>
                  </a:lnTo>
                  <a:lnTo>
                    <a:pt x="10067014" y="27715"/>
                  </a:lnTo>
                  <a:lnTo>
                    <a:pt x="10011498" y="134150"/>
                  </a:lnTo>
                  <a:lnTo>
                    <a:pt x="9913609" y="119698"/>
                  </a:lnTo>
                  <a:lnTo>
                    <a:pt x="9856695" y="111303"/>
                  </a:lnTo>
                  <a:lnTo>
                    <a:pt x="9808664" y="85098"/>
                  </a:lnTo>
                  <a:lnTo>
                    <a:pt x="9754468" y="73451"/>
                  </a:lnTo>
                  <a:lnTo>
                    <a:pt x="9697976" y="61358"/>
                  </a:lnTo>
                  <a:lnTo>
                    <a:pt x="9637955" y="58638"/>
                  </a:lnTo>
                  <a:lnTo>
                    <a:pt x="9583080" y="39446"/>
                  </a:lnTo>
                  <a:lnTo>
                    <a:pt x="9539765" y="24293"/>
                  </a:lnTo>
                  <a:lnTo>
                    <a:pt x="9499681" y="3337"/>
                  </a:lnTo>
                  <a:lnTo>
                    <a:pt x="9452499" y="0"/>
                  </a:lnTo>
                  <a:close/>
                </a:path>
              </a:pathLst>
            </a:custGeom>
            <a:solidFill>
              <a:schemeClr val="accent4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41" name="Sevastopol¬0" descr="Sevastopol¬0">
              <a:extLst>
                <a:ext uri="{FF2B5EF4-FFF2-40B4-BE49-F238E27FC236}">
                  <a16:creationId xmlns:a16="http://schemas.microsoft.com/office/drawing/2014/main" id="{D71D4477-23C3-4697-B4A7-FDF606E90A34}"/>
                </a:ext>
              </a:extLst>
            </p:cNvPr>
            <p:cNvSpPr/>
            <p:nvPr/>
          </p:nvSpPr>
          <p:spPr>
            <a:xfrm>
              <a:off x="4728902" y="4598378"/>
              <a:ext cx="188404" cy="208305"/>
            </a:xfrm>
            <a:custGeom>
              <a:avLst/>
              <a:gdLst/>
              <a:ahLst/>
              <a:cxnLst/>
              <a:rect l="0" t="0" r="0" b="0"/>
              <a:pathLst>
                <a:path w="1922554" h="2412945">
                  <a:moveTo>
                    <a:pt x="1317266" y="2380338"/>
                  </a:moveTo>
                  <a:lnTo>
                    <a:pt x="1318624" y="2354504"/>
                  </a:lnTo>
                  <a:lnTo>
                    <a:pt x="1351270" y="2332735"/>
                  </a:lnTo>
                  <a:lnTo>
                    <a:pt x="1397512" y="2332735"/>
                  </a:lnTo>
                  <a:lnTo>
                    <a:pt x="1389354" y="2253847"/>
                  </a:lnTo>
                  <a:lnTo>
                    <a:pt x="1441038" y="2232084"/>
                  </a:lnTo>
                  <a:lnTo>
                    <a:pt x="1492731" y="2272887"/>
                  </a:lnTo>
                  <a:lnTo>
                    <a:pt x="1615145" y="2204879"/>
                  </a:lnTo>
                  <a:lnTo>
                    <a:pt x="1892626" y="2291934"/>
                  </a:lnTo>
                  <a:lnTo>
                    <a:pt x="1922553" y="2259288"/>
                  </a:lnTo>
                  <a:lnTo>
                    <a:pt x="1821895" y="2030775"/>
                  </a:lnTo>
                  <a:lnTo>
                    <a:pt x="1857264" y="1973644"/>
                  </a:lnTo>
                  <a:lnTo>
                    <a:pt x="1819179" y="1949164"/>
                  </a:lnTo>
                  <a:lnTo>
                    <a:pt x="1756606" y="1984524"/>
                  </a:lnTo>
                  <a:lnTo>
                    <a:pt x="1745723" y="1902913"/>
                  </a:lnTo>
                  <a:lnTo>
                    <a:pt x="1704923" y="1867551"/>
                  </a:lnTo>
                  <a:lnTo>
                    <a:pt x="1743007" y="1826747"/>
                  </a:lnTo>
                  <a:lnTo>
                    <a:pt x="1710361" y="1799536"/>
                  </a:lnTo>
                  <a:lnTo>
                    <a:pt x="1685876" y="1807703"/>
                  </a:lnTo>
                  <a:lnTo>
                    <a:pt x="1620587" y="1753294"/>
                  </a:lnTo>
                  <a:lnTo>
                    <a:pt x="1626034" y="1647195"/>
                  </a:lnTo>
                  <a:lnTo>
                    <a:pt x="1582499" y="1576465"/>
                  </a:lnTo>
                  <a:lnTo>
                    <a:pt x="1560736" y="1543822"/>
                  </a:lnTo>
                  <a:lnTo>
                    <a:pt x="1558020" y="1483971"/>
                  </a:lnTo>
                  <a:lnTo>
                    <a:pt x="1574341" y="1456767"/>
                  </a:lnTo>
                  <a:lnTo>
                    <a:pt x="1571619" y="1424124"/>
                  </a:lnTo>
                  <a:lnTo>
                    <a:pt x="1490012" y="1396919"/>
                  </a:lnTo>
                  <a:lnTo>
                    <a:pt x="1490012" y="1361557"/>
                  </a:lnTo>
                  <a:lnTo>
                    <a:pt x="1451921" y="1312589"/>
                  </a:lnTo>
                  <a:lnTo>
                    <a:pt x="1397512" y="1358835"/>
                  </a:lnTo>
                  <a:lnTo>
                    <a:pt x="1367591" y="1337072"/>
                  </a:lnTo>
                  <a:lnTo>
                    <a:pt x="1332223" y="1366998"/>
                  </a:lnTo>
                  <a:lnTo>
                    <a:pt x="1288697" y="1356115"/>
                  </a:lnTo>
                  <a:lnTo>
                    <a:pt x="1231572" y="1228253"/>
                  </a:lnTo>
                  <a:lnTo>
                    <a:pt x="1261492" y="1187453"/>
                  </a:lnTo>
                  <a:lnTo>
                    <a:pt x="1237013" y="1173847"/>
                  </a:lnTo>
                  <a:lnTo>
                    <a:pt x="1283262" y="1097682"/>
                  </a:lnTo>
                  <a:lnTo>
                    <a:pt x="1307744" y="1114003"/>
                  </a:lnTo>
                  <a:lnTo>
                    <a:pt x="1405679" y="969820"/>
                  </a:lnTo>
                  <a:lnTo>
                    <a:pt x="1402960" y="915410"/>
                  </a:lnTo>
                  <a:lnTo>
                    <a:pt x="1481848" y="850121"/>
                  </a:lnTo>
                  <a:lnTo>
                    <a:pt x="1476406" y="784832"/>
                  </a:lnTo>
                  <a:lnTo>
                    <a:pt x="1405679" y="757628"/>
                  </a:lnTo>
                  <a:lnTo>
                    <a:pt x="1383922" y="746748"/>
                  </a:lnTo>
                  <a:lnTo>
                    <a:pt x="1362150" y="735865"/>
                  </a:lnTo>
                  <a:lnTo>
                    <a:pt x="1326791" y="676017"/>
                  </a:lnTo>
                  <a:lnTo>
                    <a:pt x="1299586" y="656970"/>
                  </a:lnTo>
                  <a:lnTo>
                    <a:pt x="1264224" y="714102"/>
                  </a:lnTo>
                  <a:lnTo>
                    <a:pt x="1217973" y="673292"/>
                  </a:lnTo>
                  <a:lnTo>
                    <a:pt x="1226130" y="635207"/>
                  </a:lnTo>
                  <a:lnTo>
                    <a:pt x="1160841" y="640649"/>
                  </a:lnTo>
                  <a:lnTo>
                    <a:pt x="1155400" y="692339"/>
                  </a:lnTo>
                  <a:lnTo>
                    <a:pt x="1134998" y="703222"/>
                  </a:lnTo>
                  <a:lnTo>
                    <a:pt x="891524" y="673292"/>
                  </a:lnTo>
                  <a:lnTo>
                    <a:pt x="886086" y="493746"/>
                  </a:lnTo>
                  <a:lnTo>
                    <a:pt x="1174446" y="414858"/>
                  </a:lnTo>
                  <a:lnTo>
                    <a:pt x="1169005" y="303318"/>
                  </a:lnTo>
                  <a:lnTo>
                    <a:pt x="820797" y="186345"/>
                  </a:lnTo>
                  <a:lnTo>
                    <a:pt x="799031" y="175465"/>
                  </a:lnTo>
                  <a:lnTo>
                    <a:pt x="779987" y="150977"/>
                  </a:lnTo>
                  <a:lnTo>
                    <a:pt x="760946" y="126497"/>
                  </a:lnTo>
                  <a:lnTo>
                    <a:pt x="744625" y="93851"/>
                  </a:lnTo>
                  <a:lnTo>
                    <a:pt x="740178" y="67196"/>
                  </a:lnTo>
                  <a:lnTo>
                    <a:pt x="735655" y="32395"/>
                  </a:lnTo>
                  <a:lnTo>
                    <a:pt x="731019" y="0"/>
                  </a:lnTo>
                  <a:lnTo>
                    <a:pt x="699688" y="4096"/>
                  </a:lnTo>
                  <a:lnTo>
                    <a:pt x="665333" y="19245"/>
                  </a:lnTo>
                  <a:lnTo>
                    <a:pt x="629010" y="89771"/>
                  </a:lnTo>
                  <a:lnTo>
                    <a:pt x="608307" y="130026"/>
                  </a:lnTo>
                  <a:lnTo>
                    <a:pt x="607622" y="173636"/>
                  </a:lnTo>
                  <a:lnTo>
                    <a:pt x="595000" y="216266"/>
                  </a:lnTo>
                  <a:lnTo>
                    <a:pt x="585310" y="249082"/>
                  </a:lnTo>
                  <a:lnTo>
                    <a:pt x="571879" y="281517"/>
                  </a:lnTo>
                  <a:lnTo>
                    <a:pt x="558273" y="312843"/>
                  </a:lnTo>
                  <a:lnTo>
                    <a:pt x="538888" y="349188"/>
                  </a:lnTo>
                  <a:lnTo>
                    <a:pt x="542674" y="394791"/>
                  </a:lnTo>
                  <a:lnTo>
                    <a:pt x="561377" y="425524"/>
                  </a:lnTo>
                  <a:lnTo>
                    <a:pt x="566437" y="451585"/>
                  </a:lnTo>
                  <a:lnTo>
                    <a:pt x="574976" y="495495"/>
                  </a:lnTo>
                  <a:lnTo>
                    <a:pt x="570942" y="542035"/>
                  </a:lnTo>
                  <a:lnTo>
                    <a:pt x="578675" y="586246"/>
                  </a:lnTo>
                  <a:lnTo>
                    <a:pt x="590495" y="654338"/>
                  </a:lnTo>
                  <a:lnTo>
                    <a:pt x="639422" y="712356"/>
                  </a:lnTo>
                  <a:lnTo>
                    <a:pt x="641248" y="784832"/>
                  </a:lnTo>
                  <a:lnTo>
                    <a:pt x="642138" y="819134"/>
                  </a:lnTo>
                  <a:lnTo>
                    <a:pt x="615488" y="917621"/>
                  </a:lnTo>
                  <a:lnTo>
                    <a:pt x="599080" y="948057"/>
                  </a:lnTo>
                  <a:lnTo>
                    <a:pt x="572517" y="997281"/>
                  </a:lnTo>
                  <a:lnTo>
                    <a:pt x="507228" y="1052962"/>
                  </a:lnTo>
                  <a:lnTo>
                    <a:pt x="524269" y="1115364"/>
                  </a:lnTo>
                  <a:lnTo>
                    <a:pt x="547945" y="1202205"/>
                  </a:lnTo>
                  <a:lnTo>
                    <a:pt x="630619" y="1147620"/>
                  </a:lnTo>
                  <a:lnTo>
                    <a:pt x="706537" y="1216015"/>
                  </a:lnTo>
                  <a:lnTo>
                    <a:pt x="682356" y="1276799"/>
                  </a:lnTo>
                  <a:lnTo>
                    <a:pt x="589816" y="1264043"/>
                  </a:lnTo>
                  <a:lnTo>
                    <a:pt x="546032" y="1267705"/>
                  </a:lnTo>
                  <a:lnTo>
                    <a:pt x="504292" y="1271187"/>
                  </a:lnTo>
                  <a:lnTo>
                    <a:pt x="473950" y="1291422"/>
                  </a:lnTo>
                  <a:lnTo>
                    <a:pt x="430417" y="1273141"/>
                  </a:lnTo>
                  <a:lnTo>
                    <a:pt x="407076" y="1277770"/>
                  </a:lnTo>
                  <a:lnTo>
                    <a:pt x="378179" y="1283050"/>
                  </a:lnTo>
                  <a:lnTo>
                    <a:pt x="347446" y="1294910"/>
                  </a:lnTo>
                  <a:lnTo>
                    <a:pt x="315225" y="1299164"/>
                  </a:lnTo>
                  <a:lnTo>
                    <a:pt x="284327" y="1292265"/>
                  </a:lnTo>
                  <a:lnTo>
                    <a:pt x="252230" y="1293542"/>
                  </a:lnTo>
                  <a:lnTo>
                    <a:pt x="243009" y="1329466"/>
                  </a:lnTo>
                  <a:lnTo>
                    <a:pt x="211473" y="1340473"/>
                  </a:lnTo>
                  <a:lnTo>
                    <a:pt x="189539" y="1334439"/>
                  </a:lnTo>
                  <a:lnTo>
                    <a:pt x="156847" y="1367296"/>
                  </a:lnTo>
                  <a:lnTo>
                    <a:pt x="145458" y="1397855"/>
                  </a:lnTo>
                  <a:lnTo>
                    <a:pt x="124374" y="1418682"/>
                  </a:lnTo>
                  <a:lnTo>
                    <a:pt x="103461" y="1424164"/>
                  </a:lnTo>
                  <a:lnTo>
                    <a:pt x="64868" y="1401508"/>
                  </a:lnTo>
                  <a:lnTo>
                    <a:pt x="77701" y="1359340"/>
                  </a:lnTo>
                  <a:lnTo>
                    <a:pt x="11476" y="1366992"/>
                  </a:lnTo>
                  <a:lnTo>
                    <a:pt x="0" y="1392963"/>
                  </a:lnTo>
                  <a:lnTo>
                    <a:pt x="36603" y="1516016"/>
                  </a:lnTo>
                  <a:lnTo>
                    <a:pt x="171342" y="1615479"/>
                  </a:lnTo>
                  <a:lnTo>
                    <a:pt x="254952" y="1690715"/>
                  </a:lnTo>
                  <a:lnTo>
                    <a:pt x="275270" y="1708996"/>
                  </a:lnTo>
                  <a:lnTo>
                    <a:pt x="290876" y="1734328"/>
                  </a:lnTo>
                  <a:lnTo>
                    <a:pt x="309361" y="1753288"/>
                  </a:lnTo>
                  <a:lnTo>
                    <a:pt x="324449" y="1768673"/>
                  </a:lnTo>
                  <a:lnTo>
                    <a:pt x="577147" y="1911539"/>
                  </a:lnTo>
                  <a:lnTo>
                    <a:pt x="635980" y="1922546"/>
                  </a:lnTo>
                  <a:lnTo>
                    <a:pt x="706367" y="1847608"/>
                  </a:lnTo>
                  <a:lnTo>
                    <a:pt x="751424" y="1872986"/>
                  </a:lnTo>
                  <a:lnTo>
                    <a:pt x="801750" y="1917870"/>
                  </a:lnTo>
                  <a:lnTo>
                    <a:pt x="911752" y="2101881"/>
                  </a:lnTo>
                  <a:lnTo>
                    <a:pt x="915076" y="2143199"/>
                  </a:lnTo>
                  <a:lnTo>
                    <a:pt x="884852" y="2174735"/>
                  </a:lnTo>
                  <a:lnTo>
                    <a:pt x="922812" y="2214392"/>
                  </a:lnTo>
                  <a:lnTo>
                    <a:pt x="953669" y="2246526"/>
                  </a:lnTo>
                  <a:lnTo>
                    <a:pt x="1045912" y="2250166"/>
                  </a:lnTo>
                  <a:lnTo>
                    <a:pt x="1087394" y="2271523"/>
                  </a:lnTo>
                  <a:lnTo>
                    <a:pt x="1135252" y="2296219"/>
                  </a:lnTo>
                  <a:lnTo>
                    <a:pt x="1146774" y="2349165"/>
                  </a:lnTo>
                  <a:lnTo>
                    <a:pt x="1183971" y="2380338"/>
                  </a:lnTo>
                  <a:lnTo>
                    <a:pt x="1222313" y="2403044"/>
                  </a:lnTo>
                  <a:lnTo>
                    <a:pt x="1259995" y="2412944"/>
                  </a:lnTo>
                  <a:lnTo>
                    <a:pt x="1288222" y="2408966"/>
                  </a:lnTo>
                  <a:lnTo>
                    <a:pt x="1315908" y="240753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42" name="Republic of Crimea¬0" descr="Republic of Crimea¬0">
              <a:extLst>
                <a:ext uri="{FF2B5EF4-FFF2-40B4-BE49-F238E27FC236}">
                  <a16:creationId xmlns:a16="http://schemas.microsoft.com/office/drawing/2014/main" id="{188CA7C4-4A96-46C5-A062-8C3883123E6C}"/>
                </a:ext>
              </a:extLst>
            </p:cNvPr>
            <p:cNvSpPr/>
            <p:nvPr/>
          </p:nvSpPr>
          <p:spPr>
            <a:xfrm>
              <a:off x="4420404" y="3970046"/>
              <a:ext cx="1427504" cy="841689"/>
            </a:xfrm>
            <a:custGeom>
              <a:avLst/>
              <a:gdLst/>
              <a:ahLst/>
              <a:cxnLst/>
              <a:rect l="0" t="0" r="0" b="0"/>
              <a:pathLst>
                <a:path w="14566889" h="9749892">
                  <a:moveTo>
                    <a:pt x="4074998" y="11441"/>
                  </a:moveTo>
                  <a:lnTo>
                    <a:pt x="4050667" y="39442"/>
                  </a:lnTo>
                  <a:lnTo>
                    <a:pt x="4035657" y="73149"/>
                  </a:lnTo>
                  <a:lnTo>
                    <a:pt x="4027646" y="127096"/>
                  </a:lnTo>
                  <a:lnTo>
                    <a:pt x="4033695" y="166368"/>
                  </a:lnTo>
                  <a:lnTo>
                    <a:pt x="4043868" y="204024"/>
                  </a:lnTo>
                  <a:lnTo>
                    <a:pt x="4051604" y="232463"/>
                  </a:lnTo>
                  <a:lnTo>
                    <a:pt x="4058022" y="261664"/>
                  </a:lnTo>
                  <a:lnTo>
                    <a:pt x="4066992" y="289718"/>
                  </a:lnTo>
                  <a:lnTo>
                    <a:pt x="4073494" y="310077"/>
                  </a:lnTo>
                  <a:lnTo>
                    <a:pt x="4086935" y="331629"/>
                  </a:lnTo>
                  <a:lnTo>
                    <a:pt x="4091477" y="352291"/>
                  </a:lnTo>
                  <a:lnTo>
                    <a:pt x="4092330" y="393610"/>
                  </a:lnTo>
                  <a:lnTo>
                    <a:pt x="4097573" y="445142"/>
                  </a:lnTo>
                  <a:lnTo>
                    <a:pt x="4103678" y="467208"/>
                  </a:lnTo>
                  <a:lnTo>
                    <a:pt x="4098311" y="506685"/>
                  </a:lnTo>
                  <a:lnTo>
                    <a:pt x="4060192" y="552236"/>
                  </a:lnTo>
                  <a:lnTo>
                    <a:pt x="4027370" y="574923"/>
                  </a:lnTo>
                  <a:lnTo>
                    <a:pt x="4038302" y="643343"/>
                  </a:lnTo>
                  <a:lnTo>
                    <a:pt x="4106041" y="724759"/>
                  </a:lnTo>
                  <a:lnTo>
                    <a:pt x="4095555" y="792996"/>
                  </a:lnTo>
                  <a:lnTo>
                    <a:pt x="4089307" y="833586"/>
                  </a:lnTo>
                  <a:lnTo>
                    <a:pt x="4042674" y="833673"/>
                  </a:lnTo>
                  <a:lnTo>
                    <a:pt x="4028904" y="869168"/>
                  </a:lnTo>
                  <a:lnTo>
                    <a:pt x="4022483" y="996001"/>
                  </a:lnTo>
                  <a:lnTo>
                    <a:pt x="4027205" y="1084371"/>
                  </a:lnTo>
                  <a:lnTo>
                    <a:pt x="4089264" y="1098823"/>
                  </a:lnTo>
                  <a:lnTo>
                    <a:pt x="4098271" y="1126244"/>
                  </a:lnTo>
                  <a:lnTo>
                    <a:pt x="4082501" y="1181540"/>
                  </a:lnTo>
                  <a:lnTo>
                    <a:pt x="4034768" y="1173041"/>
                  </a:lnTo>
                  <a:lnTo>
                    <a:pt x="4013941" y="1232343"/>
                  </a:lnTo>
                  <a:lnTo>
                    <a:pt x="4029540" y="1287298"/>
                  </a:lnTo>
                  <a:lnTo>
                    <a:pt x="4092665" y="1315944"/>
                  </a:lnTo>
                  <a:lnTo>
                    <a:pt x="4086036" y="1383320"/>
                  </a:lnTo>
                  <a:lnTo>
                    <a:pt x="4081441" y="1429398"/>
                  </a:lnTo>
                  <a:lnTo>
                    <a:pt x="3961702" y="1506506"/>
                  </a:lnTo>
                  <a:lnTo>
                    <a:pt x="4013941" y="1556066"/>
                  </a:lnTo>
                  <a:lnTo>
                    <a:pt x="4074554" y="1573284"/>
                  </a:lnTo>
                  <a:lnTo>
                    <a:pt x="4084337" y="1477085"/>
                  </a:lnTo>
                  <a:lnTo>
                    <a:pt x="4126840" y="1459489"/>
                  </a:lnTo>
                  <a:lnTo>
                    <a:pt x="4179208" y="1437813"/>
                  </a:lnTo>
                  <a:lnTo>
                    <a:pt x="4234461" y="1475516"/>
                  </a:lnTo>
                  <a:lnTo>
                    <a:pt x="4281900" y="1489419"/>
                  </a:lnTo>
                  <a:lnTo>
                    <a:pt x="4373721" y="1516239"/>
                  </a:lnTo>
                  <a:lnTo>
                    <a:pt x="4424381" y="1490433"/>
                  </a:lnTo>
                  <a:lnTo>
                    <a:pt x="4500897" y="1566946"/>
                  </a:lnTo>
                  <a:lnTo>
                    <a:pt x="4518366" y="1584458"/>
                  </a:lnTo>
                  <a:lnTo>
                    <a:pt x="4533925" y="1606094"/>
                  </a:lnTo>
                  <a:lnTo>
                    <a:pt x="4534898" y="1632238"/>
                  </a:lnTo>
                  <a:lnTo>
                    <a:pt x="4522229" y="1655015"/>
                  </a:lnTo>
                  <a:lnTo>
                    <a:pt x="4433475" y="1673594"/>
                  </a:lnTo>
                  <a:lnTo>
                    <a:pt x="4438197" y="1632784"/>
                  </a:lnTo>
                  <a:lnTo>
                    <a:pt x="4355353" y="1688002"/>
                  </a:lnTo>
                  <a:lnTo>
                    <a:pt x="4329506" y="1707049"/>
                  </a:lnTo>
                  <a:lnTo>
                    <a:pt x="4307368" y="1719330"/>
                  </a:lnTo>
                  <a:lnTo>
                    <a:pt x="4274124" y="1696504"/>
                  </a:lnTo>
                  <a:lnTo>
                    <a:pt x="4239738" y="1716565"/>
                  </a:lnTo>
                  <a:lnTo>
                    <a:pt x="4193239" y="1763151"/>
                  </a:lnTo>
                  <a:lnTo>
                    <a:pt x="4293294" y="1916729"/>
                  </a:lnTo>
                  <a:lnTo>
                    <a:pt x="4237022" y="1979088"/>
                  </a:lnTo>
                  <a:lnTo>
                    <a:pt x="4214323" y="1990901"/>
                  </a:lnTo>
                  <a:lnTo>
                    <a:pt x="4098199" y="2023544"/>
                  </a:lnTo>
                  <a:lnTo>
                    <a:pt x="4092922" y="1875715"/>
                  </a:lnTo>
                  <a:lnTo>
                    <a:pt x="4004425" y="1875715"/>
                  </a:lnTo>
                  <a:lnTo>
                    <a:pt x="3976712" y="1875715"/>
                  </a:lnTo>
                  <a:lnTo>
                    <a:pt x="3822241" y="1938663"/>
                  </a:lnTo>
                  <a:lnTo>
                    <a:pt x="3804475" y="1958683"/>
                  </a:lnTo>
                  <a:lnTo>
                    <a:pt x="3770815" y="1996514"/>
                  </a:lnTo>
                  <a:lnTo>
                    <a:pt x="3810561" y="2051896"/>
                  </a:lnTo>
                  <a:lnTo>
                    <a:pt x="3724228" y="2081101"/>
                  </a:lnTo>
                  <a:lnTo>
                    <a:pt x="3579661" y="2130065"/>
                  </a:lnTo>
                  <a:lnTo>
                    <a:pt x="3560576" y="2021929"/>
                  </a:lnTo>
                  <a:lnTo>
                    <a:pt x="3505237" y="2029414"/>
                  </a:lnTo>
                  <a:lnTo>
                    <a:pt x="3465702" y="2042551"/>
                  </a:lnTo>
                  <a:lnTo>
                    <a:pt x="3476668" y="2080124"/>
                  </a:lnTo>
                  <a:lnTo>
                    <a:pt x="3448106" y="2094706"/>
                  </a:lnTo>
                  <a:lnTo>
                    <a:pt x="3426640" y="2095556"/>
                  </a:lnTo>
                  <a:lnTo>
                    <a:pt x="3386897" y="2087897"/>
                  </a:lnTo>
                  <a:lnTo>
                    <a:pt x="3291681" y="2117483"/>
                  </a:lnTo>
                  <a:lnTo>
                    <a:pt x="3252660" y="2150259"/>
                  </a:lnTo>
                  <a:lnTo>
                    <a:pt x="3184565" y="2252572"/>
                  </a:lnTo>
                  <a:lnTo>
                    <a:pt x="3146137" y="2291931"/>
                  </a:lnTo>
                  <a:lnTo>
                    <a:pt x="3082683" y="2356799"/>
                  </a:lnTo>
                  <a:lnTo>
                    <a:pt x="2728602" y="2577914"/>
                  </a:lnTo>
                  <a:lnTo>
                    <a:pt x="2648310" y="2584375"/>
                  </a:lnTo>
                  <a:lnTo>
                    <a:pt x="2605118" y="2577703"/>
                  </a:lnTo>
                  <a:lnTo>
                    <a:pt x="2582338" y="2555385"/>
                  </a:lnTo>
                  <a:lnTo>
                    <a:pt x="2576001" y="2535026"/>
                  </a:lnTo>
                  <a:lnTo>
                    <a:pt x="2536645" y="2491373"/>
                  </a:lnTo>
                  <a:lnTo>
                    <a:pt x="2482065" y="2492858"/>
                  </a:lnTo>
                  <a:lnTo>
                    <a:pt x="2457881" y="2456520"/>
                  </a:lnTo>
                  <a:lnTo>
                    <a:pt x="2439600" y="2429144"/>
                  </a:lnTo>
                  <a:lnTo>
                    <a:pt x="2453673" y="2375582"/>
                  </a:lnTo>
                  <a:lnTo>
                    <a:pt x="2417077" y="2364020"/>
                  </a:lnTo>
                  <a:lnTo>
                    <a:pt x="2397268" y="2372739"/>
                  </a:lnTo>
                  <a:lnTo>
                    <a:pt x="2388508" y="2408913"/>
                  </a:lnTo>
                  <a:lnTo>
                    <a:pt x="2351915" y="2522990"/>
                  </a:lnTo>
                  <a:lnTo>
                    <a:pt x="2519344" y="2534599"/>
                  </a:lnTo>
                  <a:lnTo>
                    <a:pt x="2467403" y="2604780"/>
                  </a:lnTo>
                  <a:lnTo>
                    <a:pt x="2428171" y="2629433"/>
                  </a:lnTo>
                  <a:lnTo>
                    <a:pt x="2376863" y="2624116"/>
                  </a:lnTo>
                  <a:lnTo>
                    <a:pt x="2336819" y="2645584"/>
                  </a:lnTo>
                  <a:lnTo>
                    <a:pt x="2269703" y="2681498"/>
                  </a:lnTo>
                  <a:lnTo>
                    <a:pt x="2208712" y="2730208"/>
                  </a:lnTo>
                  <a:lnTo>
                    <a:pt x="2140955" y="2765282"/>
                  </a:lnTo>
                  <a:lnTo>
                    <a:pt x="2063248" y="2805491"/>
                  </a:lnTo>
                  <a:lnTo>
                    <a:pt x="1978918" y="2832701"/>
                  </a:lnTo>
                  <a:lnTo>
                    <a:pt x="1901561" y="2872739"/>
                  </a:lnTo>
                  <a:lnTo>
                    <a:pt x="1818670" y="2915586"/>
                  </a:lnTo>
                  <a:lnTo>
                    <a:pt x="1734083" y="2962086"/>
                  </a:lnTo>
                  <a:lnTo>
                    <a:pt x="1648560" y="3000601"/>
                  </a:lnTo>
                  <a:lnTo>
                    <a:pt x="1622887" y="3012114"/>
                  </a:lnTo>
                  <a:lnTo>
                    <a:pt x="1597127" y="3019977"/>
                  </a:lnTo>
                  <a:lnTo>
                    <a:pt x="1572391" y="3033238"/>
                  </a:lnTo>
                  <a:lnTo>
                    <a:pt x="1486399" y="3079316"/>
                  </a:lnTo>
                  <a:lnTo>
                    <a:pt x="1426806" y="3156424"/>
                  </a:lnTo>
                  <a:lnTo>
                    <a:pt x="1354758" y="3218225"/>
                  </a:lnTo>
                  <a:lnTo>
                    <a:pt x="1315011" y="3252276"/>
                  </a:lnTo>
                  <a:lnTo>
                    <a:pt x="1265879" y="3280838"/>
                  </a:lnTo>
                  <a:lnTo>
                    <a:pt x="1230979" y="3318882"/>
                  </a:lnTo>
                  <a:lnTo>
                    <a:pt x="1216778" y="3334395"/>
                  </a:lnTo>
                  <a:lnTo>
                    <a:pt x="1195490" y="3355141"/>
                  </a:lnTo>
                  <a:lnTo>
                    <a:pt x="1187453" y="3374650"/>
                  </a:lnTo>
                  <a:lnTo>
                    <a:pt x="1160373" y="3440236"/>
                  </a:lnTo>
                  <a:lnTo>
                    <a:pt x="1293552" y="3462123"/>
                  </a:lnTo>
                  <a:lnTo>
                    <a:pt x="1209216" y="3550115"/>
                  </a:lnTo>
                  <a:lnTo>
                    <a:pt x="1153536" y="3608260"/>
                  </a:lnTo>
                  <a:lnTo>
                    <a:pt x="1003315" y="3486993"/>
                  </a:lnTo>
                  <a:lnTo>
                    <a:pt x="945341" y="3525633"/>
                  </a:lnTo>
                  <a:lnTo>
                    <a:pt x="891012" y="3561847"/>
                  </a:lnTo>
                  <a:lnTo>
                    <a:pt x="893945" y="3667047"/>
                  </a:lnTo>
                  <a:lnTo>
                    <a:pt x="798438" y="3720139"/>
                  </a:lnTo>
                  <a:lnTo>
                    <a:pt x="717888" y="3764858"/>
                  </a:lnTo>
                  <a:lnTo>
                    <a:pt x="629478" y="3746624"/>
                  </a:lnTo>
                  <a:lnTo>
                    <a:pt x="567203" y="3779992"/>
                  </a:lnTo>
                  <a:lnTo>
                    <a:pt x="517382" y="3806682"/>
                  </a:lnTo>
                  <a:lnTo>
                    <a:pt x="485254" y="3852934"/>
                  </a:lnTo>
                  <a:lnTo>
                    <a:pt x="439347" y="3884727"/>
                  </a:lnTo>
                  <a:lnTo>
                    <a:pt x="369084" y="3933397"/>
                  </a:lnTo>
                  <a:lnTo>
                    <a:pt x="285514" y="3969311"/>
                  </a:lnTo>
                  <a:lnTo>
                    <a:pt x="221714" y="4027546"/>
                  </a:lnTo>
                  <a:lnTo>
                    <a:pt x="155832" y="4087651"/>
                  </a:lnTo>
                  <a:lnTo>
                    <a:pt x="78637" y="4205092"/>
                  </a:lnTo>
                  <a:lnTo>
                    <a:pt x="39452" y="4285986"/>
                  </a:lnTo>
                  <a:lnTo>
                    <a:pt x="28141" y="4328703"/>
                  </a:lnTo>
                  <a:lnTo>
                    <a:pt x="16917" y="4363687"/>
                  </a:lnTo>
                  <a:lnTo>
                    <a:pt x="2037" y="4392928"/>
                  </a:lnTo>
                  <a:lnTo>
                    <a:pt x="0" y="4432678"/>
                  </a:lnTo>
                  <a:lnTo>
                    <a:pt x="51129" y="4485844"/>
                  </a:lnTo>
                  <a:lnTo>
                    <a:pt x="62567" y="4514499"/>
                  </a:lnTo>
                  <a:lnTo>
                    <a:pt x="86116" y="4573327"/>
                  </a:lnTo>
                  <a:lnTo>
                    <a:pt x="40934" y="4658162"/>
                  </a:lnTo>
                  <a:lnTo>
                    <a:pt x="100657" y="4704928"/>
                  </a:lnTo>
                  <a:lnTo>
                    <a:pt x="150468" y="4711892"/>
                  </a:lnTo>
                  <a:lnTo>
                    <a:pt x="198586" y="4718868"/>
                  </a:lnTo>
                  <a:lnTo>
                    <a:pt x="238035" y="4748454"/>
                  </a:lnTo>
                  <a:lnTo>
                    <a:pt x="280284" y="4780164"/>
                  </a:lnTo>
                  <a:lnTo>
                    <a:pt x="283006" y="4804392"/>
                  </a:lnTo>
                  <a:lnTo>
                    <a:pt x="341412" y="4817820"/>
                  </a:lnTo>
                  <a:lnTo>
                    <a:pt x="394032" y="4829981"/>
                  </a:lnTo>
                  <a:lnTo>
                    <a:pt x="437387" y="4795462"/>
                  </a:lnTo>
                  <a:lnTo>
                    <a:pt x="493753" y="4813743"/>
                  </a:lnTo>
                  <a:lnTo>
                    <a:pt x="531840" y="4826077"/>
                  </a:lnTo>
                  <a:lnTo>
                    <a:pt x="543526" y="4859440"/>
                  </a:lnTo>
                  <a:lnTo>
                    <a:pt x="594404" y="4857269"/>
                  </a:lnTo>
                  <a:lnTo>
                    <a:pt x="629047" y="4849198"/>
                  </a:lnTo>
                  <a:lnTo>
                    <a:pt x="661014" y="4819271"/>
                  </a:lnTo>
                  <a:lnTo>
                    <a:pt x="666883" y="4783441"/>
                  </a:lnTo>
                  <a:lnTo>
                    <a:pt x="685539" y="4760695"/>
                  </a:lnTo>
                  <a:lnTo>
                    <a:pt x="719503" y="4719464"/>
                  </a:lnTo>
                  <a:lnTo>
                    <a:pt x="757675" y="4701359"/>
                  </a:lnTo>
                  <a:lnTo>
                    <a:pt x="797080" y="4669566"/>
                  </a:lnTo>
                  <a:lnTo>
                    <a:pt x="816034" y="4654218"/>
                  </a:lnTo>
                  <a:lnTo>
                    <a:pt x="829422" y="4635562"/>
                  </a:lnTo>
                  <a:lnTo>
                    <a:pt x="851489" y="4623314"/>
                  </a:lnTo>
                  <a:lnTo>
                    <a:pt x="897223" y="4597939"/>
                  </a:lnTo>
                  <a:lnTo>
                    <a:pt x="996938" y="4626806"/>
                  </a:lnTo>
                  <a:lnTo>
                    <a:pt x="1048714" y="4628756"/>
                  </a:lnTo>
                  <a:lnTo>
                    <a:pt x="1099167" y="4630669"/>
                  </a:lnTo>
                  <a:lnTo>
                    <a:pt x="1166242" y="4604488"/>
                  </a:lnTo>
                  <a:lnTo>
                    <a:pt x="1224179" y="4597477"/>
                  </a:lnTo>
                  <a:lnTo>
                    <a:pt x="1253762" y="4593815"/>
                  </a:lnTo>
                  <a:lnTo>
                    <a:pt x="1295332" y="4597009"/>
                  </a:lnTo>
                  <a:lnTo>
                    <a:pt x="1324837" y="4601545"/>
                  </a:lnTo>
                  <a:lnTo>
                    <a:pt x="1348597" y="4605201"/>
                  </a:lnTo>
                  <a:lnTo>
                    <a:pt x="1588033" y="4680613"/>
                  </a:lnTo>
                  <a:lnTo>
                    <a:pt x="1642185" y="4719715"/>
                  </a:lnTo>
                  <a:lnTo>
                    <a:pt x="1677420" y="4755294"/>
                  </a:lnTo>
                  <a:lnTo>
                    <a:pt x="1715210" y="4789258"/>
                  </a:lnTo>
                  <a:lnTo>
                    <a:pt x="1753254" y="4823516"/>
                  </a:lnTo>
                  <a:lnTo>
                    <a:pt x="1803285" y="4850848"/>
                  </a:lnTo>
                  <a:lnTo>
                    <a:pt x="1847146" y="4876310"/>
                  </a:lnTo>
                  <a:lnTo>
                    <a:pt x="1879581" y="4895137"/>
                  </a:lnTo>
                  <a:lnTo>
                    <a:pt x="2076261" y="5072645"/>
                  </a:lnTo>
                  <a:lnTo>
                    <a:pt x="2101506" y="5104823"/>
                  </a:lnTo>
                  <a:lnTo>
                    <a:pt x="2144697" y="5159911"/>
                  </a:lnTo>
                  <a:lnTo>
                    <a:pt x="2190003" y="5222943"/>
                  </a:lnTo>
                  <a:lnTo>
                    <a:pt x="2241609" y="5269405"/>
                  </a:lnTo>
                  <a:lnTo>
                    <a:pt x="2264011" y="5289599"/>
                  </a:lnTo>
                  <a:lnTo>
                    <a:pt x="2283947" y="5324242"/>
                  </a:lnTo>
                  <a:lnTo>
                    <a:pt x="2302814" y="5348293"/>
                  </a:lnTo>
                  <a:lnTo>
                    <a:pt x="2340518" y="5396418"/>
                  </a:lnTo>
                  <a:lnTo>
                    <a:pt x="2384003" y="5440747"/>
                  </a:lnTo>
                  <a:lnTo>
                    <a:pt x="2429318" y="5481597"/>
                  </a:lnTo>
                  <a:lnTo>
                    <a:pt x="2459834" y="5509059"/>
                  </a:lnTo>
                  <a:lnTo>
                    <a:pt x="2525254" y="5495748"/>
                  </a:lnTo>
                  <a:lnTo>
                    <a:pt x="2565338" y="5508801"/>
                  </a:lnTo>
                  <a:lnTo>
                    <a:pt x="2678060" y="5545354"/>
                  </a:lnTo>
                  <a:lnTo>
                    <a:pt x="2674832" y="5667691"/>
                  </a:lnTo>
                  <a:lnTo>
                    <a:pt x="2787045" y="5676106"/>
                  </a:lnTo>
                  <a:lnTo>
                    <a:pt x="2844304" y="5680360"/>
                  </a:lnTo>
                  <a:lnTo>
                    <a:pt x="2863301" y="5633898"/>
                  </a:lnTo>
                  <a:lnTo>
                    <a:pt x="2891786" y="5597218"/>
                  </a:lnTo>
                  <a:lnTo>
                    <a:pt x="2912191" y="5571371"/>
                  </a:lnTo>
                  <a:lnTo>
                    <a:pt x="2952651" y="5555512"/>
                  </a:lnTo>
                  <a:lnTo>
                    <a:pt x="2977598" y="5578686"/>
                  </a:lnTo>
                  <a:lnTo>
                    <a:pt x="3008759" y="5571371"/>
                  </a:lnTo>
                  <a:lnTo>
                    <a:pt x="3037238" y="5564699"/>
                  </a:lnTo>
                  <a:lnTo>
                    <a:pt x="3050880" y="5547010"/>
                  </a:lnTo>
                  <a:lnTo>
                    <a:pt x="3072690" y="5531929"/>
                  </a:lnTo>
                  <a:lnTo>
                    <a:pt x="3119019" y="5499872"/>
                  </a:lnTo>
                  <a:lnTo>
                    <a:pt x="3189455" y="5497708"/>
                  </a:lnTo>
                  <a:lnTo>
                    <a:pt x="3239991" y="5523765"/>
                  </a:lnTo>
                  <a:lnTo>
                    <a:pt x="3260651" y="5534388"/>
                  </a:lnTo>
                  <a:lnTo>
                    <a:pt x="3276467" y="5550842"/>
                  </a:lnTo>
                  <a:lnTo>
                    <a:pt x="3295765" y="5563207"/>
                  </a:lnTo>
                  <a:lnTo>
                    <a:pt x="3322755" y="5576298"/>
                  </a:lnTo>
                  <a:lnTo>
                    <a:pt x="3458604" y="5710023"/>
                  </a:lnTo>
                  <a:lnTo>
                    <a:pt x="3488916" y="5737315"/>
                  </a:lnTo>
                  <a:lnTo>
                    <a:pt x="3515987" y="5761670"/>
                  </a:lnTo>
                  <a:lnTo>
                    <a:pt x="3560192" y="5767663"/>
                  </a:lnTo>
                  <a:lnTo>
                    <a:pt x="3592289" y="5786282"/>
                  </a:lnTo>
                  <a:lnTo>
                    <a:pt x="3613882" y="5798824"/>
                  </a:lnTo>
                  <a:lnTo>
                    <a:pt x="3625357" y="5817521"/>
                  </a:lnTo>
                  <a:lnTo>
                    <a:pt x="3643973" y="5832531"/>
                  </a:lnTo>
                  <a:lnTo>
                    <a:pt x="3710918" y="5886642"/>
                  </a:lnTo>
                  <a:lnTo>
                    <a:pt x="3801538" y="5979511"/>
                  </a:lnTo>
                  <a:lnTo>
                    <a:pt x="3824880" y="6065121"/>
                  </a:lnTo>
                  <a:lnTo>
                    <a:pt x="3832699" y="6093727"/>
                  </a:lnTo>
                  <a:lnTo>
                    <a:pt x="3853058" y="6211301"/>
                  </a:lnTo>
                  <a:lnTo>
                    <a:pt x="3857523" y="6244673"/>
                  </a:lnTo>
                  <a:lnTo>
                    <a:pt x="3864198" y="6294828"/>
                  </a:lnTo>
                  <a:lnTo>
                    <a:pt x="3841840" y="6432971"/>
                  </a:lnTo>
                  <a:lnTo>
                    <a:pt x="3886085" y="6460939"/>
                  </a:lnTo>
                  <a:lnTo>
                    <a:pt x="3905851" y="6501110"/>
                  </a:lnTo>
                  <a:lnTo>
                    <a:pt x="3920598" y="6526104"/>
                  </a:lnTo>
                  <a:lnTo>
                    <a:pt x="3933695" y="6558874"/>
                  </a:lnTo>
                  <a:lnTo>
                    <a:pt x="3962850" y="6631648"/>
                  </a:lnTo>
                  <a:lnTo>
                    <a:pt x="4010372" y="6893821"/>
                  </a:lnTo>
                  <a:lnTo>
                    <a:pt x="3998984" y="6966933"/>
                  </a:lnTo>
                  <a:lnTo>
                    <a:pt x="3991288" y="7016328"/>
                  </a:lnTo>
                  <a:lnTo>
                    <a:pt x="3964294" y="7063807"/>
                  </a:lnTo>
                  <a:lnTo>
                    <a:pt x="3956816" y="7112477"/>
                  </a:lnTo>
                  <a:lnTo>
                    <a:pt x="3950267" y="7154980"/>
                  </a:lnTo>
                  <a:lnTo>
                    <a:pt x="3959368" y="7219847"/>
                  </a:lnTo>
                  <a:lnTo>
                    <a:pt x="3926889" y="7255296"/>
                  </a:lnTo>
                  <a:lnTo>
                    <a:pt x="3900503" y="7284088"/>
                  </a:lnTo>
                  <a:lnTo>
                    <a:pt x="3868722" y="7273754"/>
                  </a:lnTo>
                  <a:lnTo>
                    <a:pt x="3833037" y="7278424"/>
                  </a:lnTo>
                  <a:lnTo>
                    <a:pt x="3837666" y="7310819"/>
                  </a:lnTo>
                  <a:lnTo>
                    <a:pt x="3842196" y="7345620"/>
                  </a:lnTo>
                  <a:lnTo>
                    <a:pt x="3846636" y="7372269"/>
                  </a:lnTo>
                  <a:lnTo>
                    <a:pt x="3862964" y="7404915"/>
                  </a:lnTo>
                  <a:lnTo>
                    <a:pt x="3882005" y="7429401"/>
                  </a:lnTo>
                  <a:lnTo>
                    <a:pt x="3901042" y="7453889"/>
                  </a:lnTo>
                  <a:lnTo>
                    <a:pt x="3922805" y="7464769"/>
                  </a:lnTo>
                  <a:lnTo>
                    <a:pt x="4271023" y="7581742"/>
                  </a:lnTo>
                  <a:lnTo>
                    <a:pt x="4276458" y="7693282"/>
                  </a:lnTo>
                  <a:lnTo>
                    <a:pt x="3988098" y="7772170"/>
                  </a:lnTo>
                  <a:lnTo>
                    <a:pt x="3993536" y="7951716"/>
                  </a:lnTo>
                  <a:lnTo>
                    <a:pt x="4224775" y="7968041"/>
                  </a:lnTo>
                  <a:lnTo>
                    <a:pt x="4244156" y="7986399"/>
                  </a:lnTo>
                  <a:lnTo>
                    <a:pt x="4265575" y="7938120"/>
                  </a:lnTo>
                  <a:lnTo>
                    <a:pt x="4328148" y="7913631"/>
                  </a:lnTo>
                  <a:lnTo>
                    <a:pt x="4319991" y="7951716"/>
                  </a:lnTo>
                  <a:lnTo>
                    <a:pt x="4366236" y="7992526"/>
                  </a:lnTo>
                  <a:lnTo>
                    <a:pt x="4401598" y="7935394"/>
                  </a:lnTo>
                  <a:lnTo>
                    <a:pt x="4428799" y="7954441"/>
                  </a:lnTo>
                  <a:lnTo>
                    <a:pt x="4464168" y="8014289"/>
                  </a:lnTo>
                  <a:lnTo>
                    <a:pt x="4485931" y="8025172"/>
                  </a:lnTo>
                  <a:lnTo>
                    <a:pt x="4507697" y="8036046"/>
                  </a:lnTo>
                  <a:lnTo>
                    <a:pt x="4578424" y="8063256"/>
                  </a:lnTo>
                  <a:lnTo>
                    <a:pt x="4583866" y="8128545"/>
                  </a:lnTo>
                  <a:lnTo>
                    <a:pt x="4504978" y="8193834"/>
                  </a:lnTo>
                  <a:lnTo>
                    <a:pt x="4507697" y="8248244"/>
                  </a:lnTo>
                  <a:lnTo>
                    <a:pt x="4409762" y="8392421"/>
                  </a:lnTo>
                  <a:lnTo>
                    <a:pt x="4385273" y="8376099"/>
                  </a:lnTo>
                  <a:lnTo>
                    <a:pt x="4339031" y="8452271"/>
                  </a:lnTo>
                  <a:lnTo>
                    <a:pt x="4363510" y="8465877"/>
                  </a:lnTo>
                  <a:lnTo>
                    <a:pt x="4333583" y="8506677"/>
                  </a:lnTo>
                  <a:lnTo>
                    <a:pt x="4390715" y="8634539"/>
                  </a:lnTo>
                  <a:lnTo>
                    <a:pt x="4434241" y="8645422"/>
                  </a:lnTo>
                  <a:lnTo>
                    <a:pt x="4469603" y="8615496"/>
                  </a:lnTo>
                  <a:lnTo>
                    <a:pt x="4499530" y="8637259"/>
                  </a:lnTo>
                  <a:lnTo>
                    <a:pt x="4553939" y="8591013"/>
                  </a:lnTo>
                  <a:lnTo>
                    <a:pt x="4592024" y="8639981"/>
                  </a:lnTo>
                  <a:lnTo>
                    <a:pt x="4592024" y="8675343"/>
                  </a:lnTo>
                  <a:lnTo>
                    <a:pt x="4673637" y="8702548"/>
                  </a:lnTo>
                  <a:lnTo>
                    <a:pt x="4676353" y="8735191"/>
                  </a:lnTo>
                  <a:lnTo>
                    <a:pt x="4660032" y="8762395"/>
                  </a:lnTo>
                  <a:lnTo>
                    <a:pt x="4662754" y="8822246"/>
                  </a:lnTo>
                  <a:lnTo>
                    <a:pt x="4684517" y="8854889"/>
                  </a:lnTo>
                  <a:lnTo>
                    <a:pt x="4728043" y="8925619"/>
                  </a:lnTo>
                  <a:lnTo>
                    <a:pt x="4722605" y="9031718"/>
                  </a:lnTo>
                  <a:lnTo>
                    <a:pt x="4787894" y="9086127"/>
                  </a:lnTo>
                  <a:lnTo>
                    <a:pt x="4812373" y="9077960"/>
                  </a:lnTo>
                  <a:lnTo>
                    <a:pt x="4845019" y="9105165"/>
                  </a:lnTo>
                  <a:lnTo>
                    <a:pt x="4806931" y="9145975"/>
                  </a:lnTo>
                  <a:lnTo>
                    <a:pt x="4847741" y="9181337"/>
                  </a:lnTo>
                  <a:lnTo>
                    <a:pt x="4858624" y="9262948"/>
                  </a:lnTo>
                  <a:lnTo>
                    <a:pt x="4921197" y="9227588"/>
                  </a:lnTo>
                  <a:lnTo>
                    <a:pt x="4959276" y="9252068"/>
                  </a:lnTo>
                  <a:lnTo>
                    <a:pt x="4923913" y="9309193"/>
                  </a:lnTo>
                  <a:lnTo>
                    <a:pt x="5024565" y="9537712"/>
                  </a:lnTo>
                  <a:lnTo>
                    <a:pt x="4994644" y="9570358"/>
                  </a:lnTo>
                  <a:lnTo>
                    <a:pt x="4717163" y="9483303"/>
                  </a:lnTo>
                  <a:lnTo>
                    <a:pt x="4594749" y="9551311"/>
                  </a:lnTo>
                  <a:lnTo>
                    <a:pt x="4543056" y="9510508"/>
                  </a:lnTo>
                  <a:lnTo>
                    <a:pt x="4491372" y="9532264"/>
                  </a:lnTo>
                  <a:lnTo>
                    <a:pt x="4499530" y="9611159"/>
                  </a:lnTo>
                  <a:lnTo>
                    <a:pt x="4453282" y="9611159"/>
                  </a:lnTo>
                  <a:lnTo>
                    <a:pt x="4420636" y="9632922"/>
                  </a:lnTo>
                  <a:lnTo>
                    <a:pt x="4419284" y="9658762"/>
                  </a:lnTo>
                  <a:lnTo>
                    <a:pt x="4417919" y="9685973"/>
                  </a:lnTo>
                  <a:lnTo>
                    <a:pt x="4444761" y="9686429"/>
                  </a:lnTo>
                  <a:lnTo>
                    <a:pt x="4488017" y="9689672"/>
                  </a:lnTo>
                  <a:lnTo>
                    <a:pt x="4519771" y="9703646"/>
                  </a:lnTo>
                  <a:lnTo>
                    <a:pt x="4549862" y="9710446"/>
                  </a:lnTo>
                  <a:lnTo>
                    <a:pt x="4573749" y="9716290"/>
                  </a:lnTo>
                  <a:lnTo>
                    <a:pt x="4650944" y="9713103"/>
                  </a:lnTo>
                  <a:lnTo>
                    <a:pt x="4696039" y="9639321"/>
                  </a:lnTo>
                  <a:lnTo>
                    <a:pt x="4770211" y="9647873"/>
                  </a:lnTo>
                  <a:lnTo>
                    <a:pt x="4877584" y="9660244"/>
                  </a:lnTo>
                  <a:lnTo>
                    <a:pt x="4969780" y="9749891"/>
                  </a:lnTo>
                  <a:lnTo>
                    <a:pt x="5081696" y="9749891"/>
                  </a:lnTo>
                  <a:lnTo>
                    <a:pt x="5117092" y="9745972"/>
                  </a:lnTo>
                  <a:lnTo>
                    <a:pt x="5146768" y="9743408"/>
                  </a:lnTo>
                  <a:lnTo>
                    <a:pt x="5170115" y="9740360"/>
                  </a:lnTo>
                  <a:lnTo>
                    <a:pt x="5211483" y="9727983"/>
                  </a:lnTo>
                  <a:lnTo>
                    <a:pt x="5248284" y="9696366"/>
                  </a:lnTo>
                  <a:lnTo>
                    <a:pt x="5288446" y="9679155"/>
                  </a:lnTo>
                  <a:lnTo>
                    <a:pt x="5374695" y="9642214"/>
                  </a:lnTo>
                  <a:lnTo>
                    <a:pt x="5368265" y="9692388"/>
                  </a:lnTo>
                  <a:lnTo>
                    <a:pt x="5439429" y="9596183"/>
                  </a:lnTo>
                  <a:lnTo>
                    <a:pt x="5482661" y="9583086"/>
                  </a:lnTo>
                  <a:lnTo>
                    <a:pt x="5512581" y="9568721"/>
                  </a:lnTo>
                  <a:lnTo>
                    <a:pt x="5541448" y="9552663"/>
                  </a:lnTo>
                  <a:lnTo>
                    <a:pt x="5568519" y="9544583"/>
                  </a:lnTo>
                  <a:lnTo>
                    <a:pt x="5598216" y="9544887"/>
                  </a:lnTo>
                  <a:lnTo>
                    <a:pt x="5624416" y="9536342"/>
                  </a:lnTo>
                  <a:lnTo>
                    <a:pt x="5662324" y="9523837"/>
                  </a:lnTo>
                  <a:lnTo>
                    <a:pt x="5782841" y="9464669"/>
                  </a:lnTo>
                  <a:lnTo>
                    <a:pt x="5806687" y="9435675"/>
                  </a:lnTo>
                  <a:lnTo>
                    <a:pt x="5840961" y="9394068"/>
                  </a:lnTo>
                  <a:lnTo>
                    <a:pt x="5863468" y="9331793"/>
                  </a:lnTo>
                  <a:lnTo>
                    <a:pt x="5886934" y="9283340"/>
                  </a:lnTo>
                  <a:lnTo>
                    <a:pt x="5905506" y="9245122"/>
                  </a:lnTo>
                  <a:lnTo>
                    <a:pt x="5930460" y="9199723"/>
                  </a:lnTo>
                  <a:lnTo>
                    <a:pt x="5964470" y="9173161"/>
                  </a:lnTo>
                  <a:lnTo>
                    <a:pt x="5995665" y="9166445"/>
                  </a:lnTo>
                  <a:lnTo>
                    <a:pt x="6022398" y="9157431"/>
                  </a:lnTo>
                  <a:lnTo>
                    <a:pt x="6042000" y="9147320"/>
                  </a:lnTo>
                  <a:lnTo>
                    <a:pt x="6083191" y="9137963"/>
                  </a:lnTo>
                  <a:lnTo>
                    <a:pt x="6124885" y="9154542"/>
                  </a:lnTo>
                  <a:lnTo>
                    <a:pt x="6167137" y="9137789"/>
                  </a:lnTo>
                  <a:lnTo>
                    <a:pt x="6179722" y="9114926"/>
                  </a:lnTo>
                  <a:lnTo>
                    <a:pt x="6192251" y="9095668"/>
                  </a:lnTo>
                  <a:lnTo>
                    <a:pt x="6202499" y="9071142"/>
                  </a:lnTo>
                  <a:lnTo>
                    <a:pt x="6216700" y="9037054"/>
                  </a:lnTo>
                  <a:lnTo>
                    <a:pt x="6248434" y="8895851"/>
                  </a:lnTo>
                  <a:lnTo>
                    <a:pt x="6277313" y="8883439"/>
                  </a:lnTo>
                  <a:lnTo>
                    <a:pt x="6336515" y="8858061"/>
                  </a:lnTo>
                  <a:lnTo>
                    <a:pt x="6446596" y="8957571"/>
                  </a:lnTo>
                  <a:lnTo>
                    <a:pt x="6500385" y="8872556"/>
                  </a:lnTo>
                  <a:lnTo>
                    <a:pt x="6516067" y="8847779"/>
                  </a:lnTo>
                  <a:lnTo>
                    <a:pt x="6527040" y="8750901"/>
                  </a:lnTo>
                  <a:lnTo>
                    <a:pt x="6542553" y="8707974"/>
                  </a:lnTo>
                  <a:lnTo>
                    <a:pt x="6557469" y="8666736"/>
                  </a:lnTo>
                  <a:lnTo>
                    <a:pt x="6587647" y="8633287"/>
                  </a:lnTo>
                  <a:lnTo>
                    <a:pt x="6606484" y="8595075"/>
                  </a:lnTo>
                  <a:lnTo>
                    <a:pt x="6635948" y="8535141"/>
                  </a:lnTo>
                  <a:lnTo>
                    <a:pt x="6650651" y="8460885"/>
                  </a:lnTo>
                  <a:lnTo>
                    <a:pt x="6675850" y="8397850"/>
                  </a:lnTo>
                  <a:lnTo>
                    <a:pt x="6699954" y="8337612"/>
                  </a:lnTo>
                  <a:lnTo>
                    <a:pt x="6756394" y="8294179"/>
                  </a:lnTo>
                  <a:lnTo>
                    <a:pt x="6783307" y="8235984"/>
                  </a:lnTo>
                  <a:lnTo>
                    <a:pt x="6820033" y="8156879"/>
                  </a:lnTo>
                  <a:lnTo>
                    <a:pt x="6881068" y="7950807"/>
                  </a:lnTo>
                  <a:lnTo>
                    <a:pt x="6985974" y="7935382"/>
                  </a:lnTo>
                  <a:lnTo>
                    <a:pt x="7014074" y="7926880"/>
                  </a:lnTo>
                  <a:lnTo>
                    <a:pt x="7074219" y="7883519"/>
                  </a:lnTo>
                  <a:lnTo>
                    <a:pt x="7160930" y="7807139"/>
                  </a:lnTo>
                  <a:lnTo>
                    <a:pt x="7215860" y="7791199"/>
                  </a:lnTo>
                  <a:lnTo>
                    <a:pt x="7245477" y="7790005"/>
                  </a:lnTo>
                  <a:lnTo>
                    <a:pt x="7325103" y="7773522"/>
                  </a:lnTo>
                  <a:lnTo>
                    <a:pt x="7387704" y="7747679"/>
                  </a:lnTo>
                  <a:lnTo>
                    <a:pt x="7451167" y="7728632"/>
                  </a:lnTo>
                  <a:lnTo>
                    <a:pt x="7498392" y="7714431"/>
                  </a:lnTo>
                  <a:lnTo>
                    <a:pt x="7558280" y="7717749"/>
                  </a:lnTo>
                  <a:lnTo>
                    <a:pt x="7602150" y="7697344"/>
                  </a:lnTo>
                  <a:lnTo>
                    <a:pt x="7663588" y="7668744"/>
                  </a:lnTo>
                  <a:lnTo>
                    <a:pt x="7693878" y="7626623"/>
                  </a:lnTo>
                  <a:lnTo>
                    <a:pt x="7734086" y="7574930"/>
                  </a:lnTo>
                  <a:lnTo>
                    <a:pt x="7747865" y="7557250"/>
                  </a:lnTo>
                  <a:lnTo>
                    <a:pt x="7769166" y="7547477"/>
                  </a:lnTo>
                  <a:lnTo>
                    <a:pt x="7787137" y="7535487"/>
                  </a:lnTo>
                  <a:lnTo>
                    <a:pt x="7840793" y="7499657"/>
                  </a:lnTo>
                  <a:lnTo>
                    <a:pt x="7886167" y="7472065"/>
                  </a:lnTo>
                  <a:lnTo>
                    <a:pt x="7953077" y="7466115"/>
                  </a:lnTo>
                  <a:lnTo>
                    <a:pt x="8014119" y="7460760"/>
                  </a:lnTo>
                  <a:lnTo>
                    <a:pt x="8085485" y="7451027"/>
                  </a:lnTo>
                  <a:lnTo>
                    <a:pt x="8144870" y="7468831"/>
                  </a:lnTo>
                  <a:lnTo>
                    <a:pt x="8180825" y="7479627"/>
                  </a:lnTo>
                  <a:lnTo>
                    <a:pt x="8209651" y="7514481"/>
                  </a:lnTo>
                  <a:lnTo>
                    <a:pt x="8250963" y="7497393"/>
                  </a:lnTo>
                  <a:lnTo>
                    <a:pt x="8272983" y="7488299"/>
                  </a:lnTo>
                  <a:lnTo>
                    <a:pt x="8282973" y="7461861"/>
                  </a:lnTo>
                  <a:lnTo>
                    <a:pt x="8297211" y="7444345"/>
                  </a:lnTo>
                  <a:lnTo>
                    <a:pt x="8379802" y="7406056"/>
                  </a:lnTo>
                  <a:lnTo>
                    <a:pt x="8389903" y="7509557"/>
                  </a:lnTo>
                  <a:lnTo>
                    <a:pt x="8464513" y="7487878"/>
                  </a:lnTo>
                  <a:lnTo>
                    <a:pt x="8522838" y="7470955"/>
                  </a:lnTo>
                  <a:lnTo>
                    <a:pt x="8520153" y="7387775"/>
                  </a:lnTo>
                  <a:lnTo>
                    <a:pt x="8571970" y="7360016"/>
                  </a:lnTo>
                  <a:lnTo>
                    <a:pt x="8592716" y="7348878"/>
                  </a:lnTo>
                  <a:lnTo>
                    <a:pt x="8616503" y="7354193"/>
                  </a:lnTo>
                  <a:lnTo>
                    <a:pt x="8638617" y="7347774"/>
                  </a:lnTo>
                  <a:lnTo>
                    <a:pt x="8693751" y="7331751"/>
                  </a:lnTo>
                  <a:lnTo>
                    <a:pt x="8727194" y="7326139"/>
                  </a:lnTo>
                  <a:lnTo>
                    <a:pt x="8785519" y="7339617"/>
                  </a:lnTo>
                  <a:lnTo>
                    <a:pt x="8822826" y="7355855"/>
                  </a:lnTo>
                  <a:lnTo>
                    <a:pt x="8848216" y="7379701"/>
                  </a:lnTo>
                  <a:lnTo>
                    <a:pt x="8937650" y="7500500"/>
                  </a:lnTo>
                  <a:lnTo>
                    <a:pt x="8955549" y="7524604"/>
                  </a:lnTo>
                  <a:lnTo>
                    <a:pt x="8970811" y="7555033"/>
                  </a:lnTo>
                  <a:lnTo>
                    <a:pt x="9008340" y="7608342"/>
                  </a:lnTo>
                  <a:lnTo>
                    <a:pt x="9072187" y="7616031"/>
                  </a:lnTo>
                  <a:lnTo>
                    <a:pt x="9113332" y="7593970"/>
                  </a:lnTo>
                  <a:lnTo>
                    <a:pt x="9225372" y="7533949"/>
                  </a:lnTo>
                  <a:lnTo>
                    <a:pt x="9232990" y="7343524"/>
                  </a:lnTo>
                  <a:lnTo>
                    <a:pt x="9262957" y="7234879"/>
                  </a:lnTo>
                  <a:lnTo>
                    <a:pt x="9274262" y="7193905"/>
                  </a:lnTo>
                  <a:lnTo>
                    <a:pt x="9289805" y="7159854"/>
                  </a:lnTo>
                  <a:lnTo>
                    <a:pt x="9307835" y="7121981"/>
                  </a:lnTo>
                  <a:lnTo>
                    <a:pt x="9318209" y="7100137"/>
                  </a:lnTo>
                  <a:lnTo>
                    <a:pt x="9338909" y="7063534"/>
                  </a:lnTo>
                  <a:lnTo>
                    <a:pt x="9358167" y="7048531"/>
                  </a:lnTo>
                  <a:lnTo>
                    <a:pt x="9475946" y="6932786"/>
                  </a:lnTo>
                  <a:lnTo>
                    <a:pt x="9575403" y="6973422"/>
                  </a:lnTo>
                  <a:lnTo>
                    <a:pt x="9623400" y="6930194"/>
                  </a:lnTo>
                  <a:lnTo>
                    <a:pt x="9664970" y="6892748"/>
                  </a:lnTo>
                  <a:lnTo>
                    <a:pt x="9650527" y="6743340"/>
                  </a:lnTo>
                  <a:lnTo>
                    <a:pt x="9730860" y="6700323"/>
                  </a:lnTo>
                  <a:lnTo>
                    <a:pt x="9786624" y="6670439"/>
                  </a:lnTo>
                  <a:lnTo>
                    <a:pt x="9846611" y="6728243"/>
                  </a:lnTo>
                  <a:lnTo>
                    <a:pt x="9881849" y="6718002"/>
                  </a:lnTo>
                  <a:lnTo>
                    <a:pt x="9938578" y="6683446"/>
                  </a:lnTo>
                  <a:lnTo>
                    <a:pt x="9993374" y="6686420"/>
                  </a:lnTo>
                  <a:lnTo>
                    <a:pt x="10043833" y="6755361"/>
                  </a:lnTo>
                  <a:lnTo>
                    <a:pt x="10079078" y="6787375"/>
                  </a:lnTo>
                  <a:lnTo>
                    <a:pt x="10102193" y="6792816"/>
                  </a:lnTo>
                  <a:lnTo>
                    <a:pt x="10118802" y="6776702"/>
                  </a:lnTo>
                  <a:lnTo>
                    <a:pt x="10132454" y="6687185"/>
                  </a:lnTo>
                  <a:lnTo>
                    <a:pt x="10035542" y="6655389"/>
                  </a:lnTo>
                  <a:lnTo>
                    <a:pt x="10098115" y="6561578"/>
                  </a:lnTo>
                  <a:lnTo>
                    <a:pt x="10161749" y="6466117"/>
                  </a:lnTo>
                  <a:lnTo>
                    <a:pt x="10321906" y="6564046"/>
                  </a:lnTo>
                  <a:lnTo>
                    <a:pt x="10351117" y="6474525"/>
                  </a:lnTo>
                  <a:lnTo>
                    <a:pt x="10310874" y="6418079"/>
                  </a:lnTo>
                  <a:lnTo>
                    <a:pt x="10234064" y="6420631"/>
                  </a:lnTo>
                  <a:lnTo>
                    <a:pt x="10213730" y="6367075"/>
                  </a:lnTo>
                  <a:lnTo>
                    <a:pt x="10205058" y="6344329"/>
                  </a:lnTo>
                  <a:lnTo>
                    <a:pt x="10214390" y="6298679"/>
                  </a:lnTo>
                  <a:lnTo>
                    <a:pt x="10220530" y="6275939"/>
                  </a:lnTo>
                  <a:lnTo>
                    <a:pt x="10258530" y="6133371"/>
                  </a:lnTo>
                  <a:lnTo>
                    <a:pt x="10352422" y="6080711"/>
                  </a:lnTo>
                  <a:lnTo>
                    <a:pt x="10465358" y="6002542"/>
                  </a:lnTo>
                  <a:lnTo>
                    <a:pt x="10487124" y="5987445"/>
                  </a:lnTo>
                  <a:lnTo>
                    <a:pt x="10513864" y="5976695"/>
                  </a:lnTo>
                  <a:lnTo>
                    <a:pt x="10534737" y="5960374"/>
                  </a:lnTo>
                  <a:lnTo>
                    <a:pt x="10563526" y="5937892"/>
                  </a:lnTo>
                  <a:lnTo>
                    <a:pt x="10619364" y="5881861"/>
                  </a:lnTo>
                  <a:lnTo>
                    <a:pt x="10650355" y="5870596"/>
                  </a:lnTo>
                  <a:lnTo>
                    <a:pt x="10701179" y="5852191"/>
                  </a:lnTo>
                  <a:lnTo>
                    <a:pt x="10851775" y="5850877"/>
                  </a:lnTo>
                  <a:lnTo>
                    <a:pt x="10907421" y="5861081"/>
                  </a:lnTo>
                  <a:lnTo>
                    <a:pt x="11002764" y="5878503"/>
                  </a:lnTo>
                  <a:lnTo>
                    <a:pt x="11120465" y="5907028"/>
                  </a:lnTo>
                  <a:lnTo>
                    <a:pt x="11202591" y="5960374"/>
                  </a:lnTo>
                  <a:lnTo>
                    <a:pt x="11227795" y="5976782"/>
                  </a:lnTo>
                  <a:lnTo>
                    <a:pt x="11252225" y="5996462"/>
                  </a:lnTo>
                  <a:lnTo>
                    <a:pt x="11277395" y="6012064"/>
                  </a:lnTo>
                  <a:lnTo>
                    <a:pt x="11299800" y="6025998"/>
                  </a:lnTo>
                  <a:lnTo>
                    <a:pt x="11324437" y="6033523"/>
                  </a:lnTo>
                  <a:lnTo>
                    <a:pt x="11348126" y="6044710"/>
                  </a:lnTo>
                  <a:lnTo>
                    <a:pt x="11369725" y="6054905"/>
                  </a:lnTo>
                  <a:lnTo>
                    <a:pt x="11391019" y="6070975"/>
                  </a:lnTo>
                  <a:lnTo>
                    <a:pt x="11412063" y="6082788"/>
                  </a:lnTo>
                  <a:lnTo>
                    <a:pt x="11444920" y="6101280"/>
                  </a:lnTo>
                  <a:lnTo>
                    <a:pt x="11475740" y="6137538"/>
                  </a:lnTo>
                  <a:lnTo>
                    <a:pt x="11507276" y="6160324"/>
                  </a:lnTo>
                  <a:lnTo>
                    <a:pt x="11535962" y="6181064"/>
                  </a:lnTo>
                  <a:lnTo>
                    <a:pt x="11572987" y="6191182"/>
                  </a:lnTo>
                  <a:lnTo>
                    <a:pt x="11594328" y="6221530"/>
                  </a:lnTo>
                  <a:lnTo>
                    <a:pt x="11607378" y="6240062"/>
                  </a:lnTo>
                  <a:lnTo>
                    <a:pt x="11615313" y="6261695"/>
                  </a:lnTo>
                  <a:lnTo>
                    <a:pt x="11625613" y="6281381"/>
                  </a:lnTo>
                  <a:lnTo>
                    <a:pt x="11644402" y="6308288"/>
                  </a:lnTo>
                  <a:lnTo>
                    <a:pt x="11686518" y="6368089"/>
                  </a:lnTo>
                  <a:lnTo>
                    <a:pt x="11705208" y="6420671"/>
                  </a:lnTo>
                  <a:lnTo>
                    <a:pt x="11723542" y="6473167"/>
                  </a:lnTo>
                  <a:lnTo>
                    <a:pt x="11730645" y="6493486"/>
                  </a:lnTo>
                  <a:lnTo>
                    <a:pt x="11736849" y="6519034"/>
                  </a:lnTo>
                  <a:lnTo>
                    <a:pt x="11754836" y="6533015"/>
                  </a:lnTo>
                  <a:lnTo>
                    <a:pt x="11772767" y="6546955"/>
                  </a:lnTo>
                  <a:lnTo>
                    <a:pt x="11809989" y="6557972"/>
                  </a:lnTo>
                  <a:lnTo>
                    <a:pt x="11832357" y="6558861"/>
                  </a:lnTo>
                  <a:lnTo>
                    <a:pt x="12018795" y="6518355"/>
                  </a:lnTo>
                  <a:lnTo>
                    <a:pt x="12049996" y="6501690"/>
                  </a:lnTo>
                  <a:lnTo>
                    <a:pt x="12092871" y="6468662"/>
                  </a:lnTo>
                  <a:lnTo>
                    <a:pt x="12115279" y="6467726"/>
                  </a:lnTo>
                  <a:lnTo>
                    <a:pt x="12178866" y="6465087"/>
                  </a:lnTo>
                  <a:lnTo>
                    <a:pt x="12234258" y="6541049"/>
                  </a:lnTo>
                  <a:lnTo>
                    <a:pt x="12302998" y="6512610"/>
                  </a:lnTo>
                  <a:lnTo>
                    <a:pt x="12384574" y="6478863"/>
                  </a:lnTo>
                  <a:lnTo>
                    <a:pt x="12357736" y="6307943"/>
                  </a:lnTo>
                  <a:lnTo>
                    <a:pt x="12467580" y="6281381"/>
                  </a:lnTo>
                  <a:lnTo>
                    <a:pt x="12498087" y="6273980"/>
                  </a:lnTo>
                  <a:lnTo>
                    <a:pt x="12669006" y="6281579"/>
                  </a:lnTo>
                  <a:lnTo>
                    <a:pt x="12690652" y="6299060"/>
                  </a:lnTo>
                  <a:lnTo>
                    <a:pt x="12729753" y="6330683"/>
                  </a:lnTo>
                  <a:lnTo>
                    <a:pt x="12751774" y="6367841"/>
                  </a:lnTo>
                  <a:lnTo>
                    <a:pt x="12803544" y="6383396"/>
                  </a:lnTo>
                  <a:lnTo>
                    <a:pt x="12878581" y="6405878"/>
                  </a:lnTo>
                  <a:lnTo>
                    <a:pt x="12960474" y="6411156"/>
                  </a:lnTo>
                  <a:lnTo>
                    <a:pt x="13036138" y="6429641"/>
                  </a:lnTo>
                  <a:lnTo>
                    <a:pt x="13067636" y="6437337"/>
                  </a:lnTo>
                  <a:lnTo>
                    <a:pt x="13100993" y="6461050"/>
                  </a:lnTo>
                  <a:lnTo>
                    <a:pt x="13134073" y="6458204"/>
                  </a:lnTo>
                  <a:lnTo>
                    <a:pt x="13222306" y="6450639"/>
                  </a:lnTo>
                  <a:lnTo>
                    <a:pt x="13203399" y="6308077"/>
                  </a:lnTo>
                  <a:lnTo>
                    <a:pt x="13283698" y="6275939"/>
                  </a:lnTo>
                  <a:lnTo>
                    <a:pt x="13345077" y="6251327"/>
                  </a:lnTo>
                  <a:lnTo>
                    <a:pt x="13442621" y="6272076"/>
                  </a:lnTo>
                  <a:lnTo>
                    <a:pt x="13506769" y="6277297"/>
                  </a:lnTo>
                  <a:lnTo>
                    <a:pt x="13531462" y="6279297"/>
                  </a:lnTo>
                  <a:lnTo>
                    <a:pt x="13555256" y="6272153"/>
                  </a:lnTo>
                  <a:lnTo>
                    <a:pt x="13578852" y="6273223"/>
                  </a:lnTo>
                  <a:lnTo>
                    <a:pt x="13604428" y="6277812"/>
                  </a:lnTo>
                  <a:lnTo>
                    <a:pt x="13649582" y="6275939"/>
                  </a:lnTo>
                  <a:lnTo>
                    <a:pt x="13756019" y="6190667"/>
                  </a:lnTo>
                  <a:lnTo>
                    <a:pt x="13797849" y="6171198"/>
                  </a:lnTo>
                  <a:lnTo>
                    <a:pt x="13835552" y="6153649"/>
                  </a:lnTo>
                  <a:lnTo>
                    <a:pt x="13883794" y="6145736"/>
                  </a:lnTo>
                  <a:lnTo>
                    <a:pt x="13914831" y="6115431"/>
                  </a:lnTo>
                  <a:lnTo>
                    <a:pt x="13931844" y="6098775"/>
                  </a:lnTo>
                  <a:lnTo>
                    <a:pt x="13939602" y="6064389"/>
                  </a:lnTo>
                  <a:lnTo>
                    <a:pt x="13932505" y="6041984"/>
                  </a:lnTo>
                  <a:lnTo>
                    <a:pt x="13923646" y="6013977"/>
                  </a:lnTo>
                  <a:lnTo>
                    <a:pt x="13881639" y="5975204"/>
                  </a:lnTo>
                  <a:lnTo>
                    <a:pt x="13864499" y="5950849"/>
                  </a:lnTo>
                  <a:lnTo>
                    <a:pt x="13836529" y="5911062"/>
                  </a:lnTo>
                  <a:lnTo>
                    <a:pt x="13763002" y="5772069"/>
                  </a:lnTo>
                  <a:lnTo>
                    <a:pt x="13755681" y="5727777"/>
                  </a:lnTo>
                  <a:lnTo>
                    <a:pt x="13741912" y="5645230"/>
                  </a:lnTo>
                  <a:lnTo>
                    <a:pt x="13775534" y="5404008"/>
                  </a:lnTo>
                  <a:lnTo>
                    <a:pt x="13799207" y="5321076"/>
                  </a:lnTo>
                  <a:lnTo>
                    <a:pt x="13811296" y="5278611"/>
                  </a:lnTo>
                  <a:lnTo>
                    <a:pt x="13835850" y="5246483"/>
                  </a:lnTo>
                  <a:lnTo>
                    <a:pt x="13841369" y="5200020"/>
                  </a:lnTo>
                  <a:lnTo>
                    <a:pt x="13846897" y="5153856"/>
                  </a:lnTo>
                  <a:lnTo>
                    <a:pt x="13830402" y="5109353"/>
                  </a:lnTo>
                  <a:lnTo>
                    <a:pt x="13844067" y="5061275"/>
                  </a:lnTo>
                  <a:lnTo>
                    <a:pt x="13871910" y="4963858"/>
                  </a:lnTo>
                  <a:lnTo>
                    <a:pt x="14026403" y="5013207"/>
                  </a:lnTo>
                  <a:lnTo>
                    <a:pt x="14068499" y="4961985"/>
                  </a:lnTo>
                  <a:lnTo>
                    <a:pt x="14079807" y="4923132"/>
                  </a:lnTo>
                  <a:lnTo>
                    <a:pt x="14060934" y="4863706"/>
                  </a:lnTo>
                  <a:lnTo>
                    <a:pt x="13983193" y="4806416"/>
                  </a:lnTo>
                  <a:lnTo>
                    <a:pt x="14034495" y="4729395"/>
                  </a:lnTo>
                  <a:lnTo>
                    <a:pt x="14047164" y="4710388"/>
                  </a:lnTo>
                  <a:lnTo>
                    <a:pt x="14069231" y="4692154"/>
                  </a:lnTo>
                  <a:lnTo>
                    <a:pt x="14091627" y="4685863"/>
                  </a:lnTo>
                  <a:lnTo>
                    <a:pt x="14113858" y="4679624"/>
                  </a:lnTo>
                  <a:lnTo>
                    <a:pt x="14200107" y="4683401"/>
                  </a:lnTo>
                  <a:lnTo>
                    <a:pt x="14223563" y="4688579"/>
                  </a:lnTo>
                  <a:lnTo>
                    <a:pt x="14253803" y="4695214"/>
                  </a:lnTo>
                  <a:lnTo>
                    <a:pt x="14280775" y="4721395"/>
                  </a:lnTo>
                  <a:lnTo>
                    <a:pt x="14309251" y="4734830"/>
                  </a:lnTo>
                  <a:lnTo>
                    <a:pt x="14349084" y="4753573"/>
                  </a:lnTo>
                  <a:lnTo>
                    <a:pt x="14487637" y="4757998"/>
                  </a:lnTo>
                  <a:lnTo>
                    <a:pt x="14525526" y="4734830"/>
                  </a:lnTo>
                  <a:lnTo>
                    <a:pt x="14560841" y="4686244"/>
                  </a:lnTo>
                  <a:lnTo>
                    <a:pt x="14566888" y="4661802"/>
                  </a:lnTo>
                  <a:lnTo>
                    <a:pt x="14565436" y="4497645"/>
                  </a:lnTo>
                  <a:lnTo>
                    <a:pt x="14553877" y="4463470"/>
                  </a:lnTo>
                  <a:lnTo>
                    <a:pt x="14526871" y="4428319"/>
                  </a:lnTo>
                  <a:lnTo>
                    <a:pt x="14511939" y="4400218"/>
                  </a:lnTo>
                  <a:lnTo>
                    <a:pt x="14482142" y="4344324"/>
                  </a:lnTo>
                  <a:lnTo>
                    <a:pt x="14470959" y="4251957"/>
                  </a:lnTo>
                  <a:lnTo>
                    <a:pt x="14388160" y="4251957"/>
                  </a:lnTo>
                  <a:lnTo>
                    <a:pt x="14328356" y="4251957"/>
                  </a:lnTo>
                  <a:lnTo>
                    <a:pt x="14274964" y="4382833"/>
                  </a:lnTo>
                  <a:lnTo>
                    <a:pt x="14197732" y="4343093"/>
                  </a:lnTo>
                  <a:lnTo>
                    <a:pt x="14169334" y="4318775"/>
                  </a:lnTo>
                  <a:lnTo>
                    <a:pt x="14120797" y="4263305"/>
                  </a:lnTo>
                  <a:lnTo>
                    <a:pt x="14060407" y="4151641"/>
                  </a:lnTo>
                  <a:lnTo>
                    <a:pt x="13995065" y="4163544"/>
                  </a:lnTo>
                  <a:lnTo>
                    <a:pt x="13974145" y="4167330"/>
                  </a:lnTo>
                  <a:lnTo>
                    <a:pt x="13952723" y="4178253"/>
                  </a:lnTo>
                  <a:lnTo>
                    <a:pt x="13932492" y="4185307"/>
                  </a:lnTo>
                  <a:lnTo>
                    <a:pt x="13912159" y="4192451"/>
                  </a:lnTo>
                  <a:lnTo>
                    <a:pt x="13887943" y="4197846"/>
                  </a:lnTo>
                  <a:lnTo>
                    <a:pt x="13868561" y="4207073"/>
                  </a:lnTo>
                  <a:lnTo>
                    <a:pt x="13837044" y="4209702"/>
                  </a:lnTo>
                  <a:lnTo>
                    <a:pt x="13636656" y="4227391"/>
                  </a:lnTo>
                  <a:lnTo>
                    <a:pt x="13638522" y="4109730"/>
                  </a:lnTo>
                  <a:lnTo>
                    <a:pt x="13553002" y="4096897"/>
                  </a:lnTo>
                  <a:lnTo>
                    <a:pt x="13479031" y="4085843"/>
                  </a:lnTo>
                  <a:lnTo>
                    <a:pt x="13459392" y="4215829"/>
                  </a:lnTo>
                  <a:lnTo>
                    <a:pt x="13382972" y="4188032"/>
                  </a:lnTo>
                  <a:lnTo>
                    <a:pt x="13358940" y="4112626"/>
                  </a:lnTo>
                  <a:lnTo>
                    <a:pt x="13441006" y="4132135"/>
                  </a:lnTo>
                  <a:lnTo>
                    <a:pt x="13434662" y="4052013"/>
                  </a:lnTo>
                  <a:lnTo>
                    <a:pt x="13402763" y="4026083"/>
                  </a:lnTo>
                  <a:lnTo>
                    <a:pt x="13377503" y="4040358"/>
                  </a:lnTo>
                  <a:lnTo>
                    <a:pt x="13353052" y="4042482"/>
                  </a:lnTo>
                  <a:lnTo>
                    <a:pt x="13311522" y="4046010"/>
                  </a:lnTo>
                  <a:lnTo>
                    <a:pt x="13270799" y="4051154"/>
                  </a:lnTo>
                  <a:lnTo>
                    <a:pt x="13229270" y="4054729"/>
                  </a:lnTo>
                  <a:lnTo>
                    <a:pt x="13180343" y="4058890"/>
                  </a:lnTo>
                  <a:lnTo>
                    <a:pt x="13129983" y="4050990"/>
                  </a:lnTo>
                  <a:lnTo>
                    <a:pt x="13081009" y="4057445"/>
                  </a:lnTo>
                  <a:lnTo>
                    <a:pt x="13020991" y="4065401"/>
                  </a:lnTo>
                  <a:lnTo>
                    <a:pt x="12999476" y="4088138"/>
                  </a:lnTo>
                  <a:lnTo>
                    <a:pt x="12921862" y="4079211"/>
                  </a:lnTo>
                  <a:lnTo>
                    <a:pt x="12889895" y="4075509"/>
                  </a:lnTo>
                  <a:lnTo>
                    <a:pt x="12855643" y="4056261"/>
                  </a:lnTo>
                  <a:lnTo>
                    <a:pt x="12823927" y="4066970"/>
                  </a:lnTo>
                  <a:lnTo>
                    <a:pt x="12588497" y="4226585"/>
                  </a:lnTo>
                  <a:lnTo>
                    <a:pt x="12541005" y="4281580"/>
                  </a:lnTo>
                  <a:lnTo>
                    <a:pt x="12509212" y="4524037"/>
                  </a:lnTo>
                  <a:lnTo>
                    <a:pt x="12409069" y="4585205"/>
                  </a:lnTo>
                  <a:lnTo>
                    <a:pt x="12337138" y="4629199"/>
                  </a:lnTo>
                  <a:lnTo>
                    <a:pt x="12160789" y="4590823"/>
                  </a:lnTo>
                  <a:lnTo>
                    <a:pt x="12097584" y="4541676"/>
                  </a:lnTo>
                  <a:lnTo>
                    <a:pt x="12069617" y="4519913"/>
                  </a:lnTo>
                  <a:lnTo>
                    <a:pt x="12048235" y="4494457"/>
                  </a:lnTo>
                  <a:lnTo>
                    <a:pt x="12017332" y="4473671"/>
                  </a:lnTo>
                  <a:lnTo>
                    <a:pt x="11958538" y="4434095"/>
                  </a:lnTo>
                  <a:lnTo>
                    <a:pt x="11891131" y="4403660"/>
                  </a:lnTo>
                  <a:lnTo>
                    <a:pt x="11841866" y="4349892"/>
                  </a:lnTo>
                  <a:lnTo>
                    <a:pt x="11798257" y="4302370"/>
                  </a:lnTo>
                  <a:lnTo>
                    <a:pt x="11783377" y="4232535"/>
                  </a:lnTo>
                  <a:lnTo>
                    <a:pt x="11783377" y="4170344"/>
                  </a:lnTo>
                  <a:lnTo>
                    <a:pt x="11820401" y="4139018"/>
                  </a:lnTo>
                  <a:lnTo>
                    <a:pt x="11843423" y="4158995"/>
                  </a:lnTo>
                  <a:lnTo>
                    <a:pt x="11864990" y="4115938"/>
                  </a:lnTo>
                  <a:lnTo>
                    <a:pt x="11856430" y="4045799"/>
                  </a:lnTo>
                  <a:lnTo>
                    <a:pt x="11735473" y="3996497"/>
                  </a:lnTo>
                  <a:lnTo>
                    <a:pt x="11692241" y="4046565"/>
                  </a:lnTo>
                  <a:lnTo>
                    <a:pt x="11642430" y="4104335"/>
                  </a:lnTo>
                  <a:lnTo>
                    <a:pt x="11640979" y="4277630"/>
                  </a:lnTo>
                  <a:lnTo>
                    <a:pt x="11586152" y="4368936"/>
                  </a:lnTo>
                  <a:lnTo>
                    <a:pt x="11566596" y="4401582"/>
                  </a:lnTo>
                  <a:lnTo>
                    <a:pt x="11539234" y="4440299"/>
                  </a:lnTo>
                  <a:lnTo>
                    <a:pt x="11508621" y="4464149"/>
                  </a:lnTo>
                  <a:lnTo>
                    <a:pt x="11482431" y="4484638"/>
                  </a:lnTo>
                  <a:lnTo>
                    <a:pt x="11453012" y="4492157"/>
                  </a:lnTo>
                  <a:lnTo>
                    <a:pt x="11440607" y="4526719"/>
                  </a:lnTo>
                  <a:lnTo>
                    <a:pt x="11437475" y="4557836"/>
                  </a:lnTo>
                  <a:lnTo>
                    <a:pt x="11434855" y="4600339"/>
                  </a:lnTo>
                  <a:lnTo>
                    <a:pt x="11411958" y="4601316"/>
                  </a:lnTo>
                  <a:lnTo>
                    <a:pt x="11398439" y="4620574"/>
                  </a:lnTo>
                  <a:lnTo>
                    <a:pt x="11379870" y="4647049"/>
                  </a:lnTo>
                  <a:lnTo>
                    <a:pt x="11374059" y="4686371"/>
                  </a:lnTo>
                  <a:lnTo>
                    <a:pt x="11356277" y="4711706"/>
                  </a:lnTo>
                  <a:lnTo>
                    <a:pt x="11309434" y="4778480"/>
                  </a:lnTo>
                  <a:lnTo>
                    <a:pt x="11060946" y="4809260"/>
                  </a:lnTo>
                  <a:lnTo>
                    <a:pt x="10979497" y="4836839"/>
                  </a:lnTo>
                  <a:lnTo>
                    <a:pt x="10949577" y="4847003"/>
                  </a:lnTo>
                  <a:lnTo>
                    <a:pt x="10917994" y="4862646"/>
                  </a:lnTo>
                  <a:lnTo>
                    <a:pt x="10889729" y="4876288"/>
                  </a:lnTo>
                  <a:lnTo>
                    <a:pt x="10865920" y="4887763"/>
                  </a:lnTo>
                  <a:lnTo>
                    <a:pt x="10840901" y="4903235"/>
                  </a:lnTo>
                  <a:lnTo>
                    <a:pt x="10817640" y="4915734"/>
                  </a:lnTo>
                  <a:lnTo>
                    <a:pt x="10763396" y="4944765"/>
                  </a:lnTo>
                  <a:lnTo>
                    <a:pt x="10587934" y="4994966"/>
                  </a:lnTo>
                  <a:lnTo>
                    <a:pt x="10531996" y="4972859"/>
                  </a:lnTo>
                  <a:lnTo>
                    <a:pt x="10474902" y="4950336"/>
                  </a:lnTo>
                  <a:lnTo>
                    <a:pt x="10409969" y="4907747"/>
                  </a:lnTo>
                  <a:lnTo>
                    <a:pt x="10371494" y="4858609"/>
                  </a:lnTo>
                  <a:lnTo>
                    <a:pt x="10355898" y="4838712"/>
                  </a:lnTo>
                  <a:lnTo>
                    <a:pt x="10345353" y="4806240"/>
                  </a:lnTo>
                  <a:lnTo>
                    <a:pt x="10325246" y="4790594"/>
                  </a:lnTo>
                  <a:lnTo>
                    <a:pt x="10299300" y="4770403"/>
                  </a:lnTo>
                  <a:lnTo>
                    <a:pt x="10258214" y="4766748"/>
                  </a:lnTo>
                  <a:lnTo>
                    <a:pt x="10228675" y="4748435"/>
                  </a:lnTo>
                  <a:lnTo>
                    <a:pt x="10143917" y="4695806"/>
                  </a:lnTo>
                  <a:lnTo>
                    <a:pt x="10049340" y="4607988"/>
                  </a:lnTo>
                  <a:lnTo>
                    <a:pt x="9975676" y="4538960"/>
                  </a:lnTo>
                  <a:lnTo>
                    <a:pt x="9914086" y="4481196"/>
                  </a:lnTo>
                  <a:lnTo>
                    <a:pt x="9854915" y="4362645"/>
                  </a:lnTo>
                  <a:lnTo>
                    <a:pt x="9808369" y="4288684"/>
                  </a:lnTo>
                  <a:lnTo>
                    <a:pt x="9794686" y="4257225"/>
                  </a:lnTo>
                  <a:lnTo>
                    <a:pt x="9753116" y="4198190"/>
                  </a:lnTo>
                  <a:lnTo>
                    <a:pt x="9715540" y="4157761"/>
                  </a:lnTo>
                  <a:lnTo>
                    <a:pt x="9683229" y="4111854"/>
                  </a:lnTo>
                  <a:lnTo>
                    <a:pt x="9645941" y="4058853"/>
                  </a:lnTo>
                  <a:lnTo>
                    <a:pt x="9608424" y="3997433"/>
                  </a:lnTo>
                  <a:lnTo>
                    <a:pt x="9581220" y="3939108"/>
                  </a:lnTo>
                  <a:lnTo>
                    <a:pt x="9556818" y="3886829"/>
                  </a:lnTo>
                  <a:lnTo>
                    <a:pt x="9480832" y="3781456"/>
                  </a:lnTo>
                  <a:lnTo>
                    <a:pt x="9446564" y="3726923"/>
                  </a:lnTo>
                  <a:lnTo>
                    <a:pt x="9422671" y="3688962"/>
                  </a:lnTo>
                  <a:lnTo>
                    <a:pt x="9388497" y="3610496"/>
                  </a:lnTo>
                  <a:lnTo>
                    <a:pt x="9362232" y="3563692"/>
                  </a:lnTo>
                  <a:lnTo>
                    <a:pt x="9336621" y="3518002"/>
                  </a:lnTo>
                  <a:lnTo>
                    <a:pt x="9293123" y="3474135"/>
                  </a:lnTo>
                  <a:lnTo>
                    <a:pt x="9261577" y="3431756"/>
                  </a:lnTo>
                  <a:lnTo>
                    <a:pt x="9228934" y="3387932"/>
                  </a:lnTo>
                  <a:lnTo>
                    <a:pt x="9184642" y="3309553"/>
                  </a:lnTo>
                  <a:lnTo>
                    <a:pt x="9155481" y="3260374"/>
                  </a:lnTo>
                  <a:lnTo>
                    <a:pt x="9136171" y="3227775"/>
                  </a:lnTo>
                  <a:lnTo>
                    <a:pt x="9107760" y="3200183"/>
                  </a:lnTo>
                  <a:lnTo>
                    <a:pt x="9087473" y="3167881"/>
                  </a:lnTo>
                  <a:lnTo>
                    <a:pt x="9064430" y="3131325"/>
                  </a:lnTo>
                  <a:lnTo>
                    <a:pt x="9036211" y="3089665"/>
                  </a:lnTo>
                  <a:lnTo>
                    <a:pt x="9018094" y="3050905"/>
                  </a:lnTo>
                  <a:lnTo>
                    <a:pt x="8998713" y="3009373"/>
                  </a:lnTo>
                  <a:lnTo>
                    <a:pt x="8988478" y="2961763"/>
                  </a:lnTo>
                  <a:lnTo>
                    <a:pt x="8969127" y="2920321"/>
                  </a:lnTo>
                  <a:lnTo>
                    <a:pt x="8957311" y="2894989"/>
                  </a:lnTo>
                  <a:lnTo>
                    <a:pt x="8940353" y="2872587"/>
                  </a:lnTo>
                  <a:lnTo>
                    <a:pt x="8928326" y="2846874"/>
                  </a:lnTo>
                  <a:lnTo>
                    <a:pt x="8918076" y="2814439"/>
                  </a:lnTo>
                  <a:lnTo>
                    <a:pt x="8880618" y="2738143"/>
                  </a:lnTo>
                  <a:lnTo>
                    <a:pt x="8825709" y="2691978"/>
                  </a:lnTo>
                  <a:lnTo>
                    <a:pt x="8797745" y="2631957"/>
                  </a:lnTo>
                  <a:lnTo>
                    <a:pt x="8785380" y="2605518"/>
                  </a:lnTo>
                  <a:lnTo>
                    <a:pt x="8775846" y="2577219"/>
                  </a:lnTo>
                  <a:lnTo>
                    <a:pt x="8766466" y="2548988"/>
                  </a:lnTo>
                  <a:lnTo>
                    <a:pt x="8682137" y="2580273"/>
                  </a:lnTo>
                  <a:lnTo>
                    <a:pt x="8700412" y="2608098"/>
                  </a:lnTo>
                  <a:lnTo>
                    <a:pt x="8716417" y="2635343"/>
                  </a:lnTo>
                  <a:lnTo>
                    <a:pt x="8731092" y="2663251"/>
                  </a:lnTo>
                  <a:lnTo>
                    <a:pt x="8744486" y="2688713"/>
                  </a:lnTo>
                  <a:lnTo>
                    <a:pt x="8736322" y="2712212"/>
                  </a:lnTo>
                  <a:lnTo>
                    <a:pt x="8740620" y="2738065"/>
                  </a:lnTo>
                  <a:lnTo>
                    <a:pt x="8755366" y="2783244"/>
                  </a:lnTo>
                  <a:lnTo>
                    <a:pt x="8762377" y="2803348"/>
                  </a:lnTo>
                  <a:lnTo>
                    <a:pt x="8771902" y="2823750"/>
                  </a:lnTo>
                  <a:lnTo>
                    <a:pt x="8784378" y="2847169"/>
                  </a:lnTo>
                  <a:lnTo>
                    <a:pt x="8801150" y="2868894"/>
                  </a:lnTo>
                  <a:lnTo>
                    <a:pt x="8814070" y="2891764"/>
                  </a:lnTo>
                  <a:lnTo>
                    <a:pt x="8828859" y="2917822"/>
                  </a:lnTo>
                  <a:lnTo>
                    <a:pt x="8833622" y="2948040"/>
                  </a:lnTo>
                  <a:lnTo>
                    <a:pt x="8849429" y="2974736"/>
                  </a:lnTo>
                  <a:lnTo>
                    <a:pt x="8863034" y="2999215"/>
                  </a:lnTo>
                  <a:lnTo>
                    <a:pt x="8888967" y="3021995"/>
                  </a:lnTo>
                  <a:lnTo>
                    <a:pt x="8921452" y="3044450"/>
                  </a:lnTo>
                  <a:lnTo>
                    <a:pt x="8939119" y="3059425"/>
                  </a:lnTo>
                  <a:lnTo>
                    <a:pt x="8958253" y="3091709"/>
                  </a:lnTo>
                  <a:lnTo>
                    <a:pt x="8974224" y="3118702"/>
                  </a:lnTo>
                  <a:lnTo>
                    <a:pt x="8990936" y="3154492"/>
                  </a:lnTo>
                  <a:lnTo>
                    <a:pt x="8996338" y="3185560"/>
                  </a:lnTo>
                  <a:lnTo>
                    <a:pt x="9000830" y="3211537"/>
                  </a:lnTo>
                  <a:lnTo>
                    <a:pt x="8992369" y="3234745"/>
                  </a:lnTo>
                  <a:lnTo>
                    <a:pt x="9005863" y="3260374"/>
                  </a:lnTo>
                  <a:lnTo>
                    <a:pt x="9030863" y="3307897"/>
                  </a:lnTo>
                  <a:lnTo>
                    <a:pt x="9117183" y="3386705"/>
                  </a:lnTo>
                  <a:lnTo>
                    <a:pt x="9156839" y="3439920"/>
                  </a:lnTo>
                  <a:lnTo>
                    <a:pt x="9187275" y="3480776"/>
                  </a:lnTo>
                  <a:lnTo>
                    <a:pt x="9223831" y="3561702"/>
                  </a:lnTo>
                  <a:lnTo>
                    <a:pt x="9252055" y="3597703"/>
                  </a:lnTo>
                  <a:lnTo>
                    <a:pt x="9383985" y="3769091"/>
                  </a:lnTo>
                  <a:lnTo>
                    <a:pt x="9404437" y="3795188"/>
                  </a:lnTo>
                  <a:lnTo>
                    <a:pt x="9417146" y="3828089"/>
                  </a:lnTo>
                  <a:lnTo>
                    <a:pt x="9437043" y="3854785"/>
                  </a:lnTo>
                  <a:lnTo>
                    <a:pt x="9487579" y="3922619"/>
                  </a:lnTo>
                  <a:lnTo>
                    <a:pt x="9526516" y="3995223"/>
                  </a:lnTo>
                  <a:lnTo>
                    <a:pt x="9571698" y="4066976"/>
                  </a:lnTo>
                  <a:lnTo>
                    <a:pt x="9591694" y="4098810"/>
                  </a:lnTo>
                  <a:lnTo>
                    <a:pt x="9621217" y="4129199"/>
                  </a:lnTo>
                  <a:lnTo>
                    <a:pt x="9643793" y="4159470"/>
                  </a:lnTo>
                  <a:lnTo>
                    <a:pt x="9674135" y="4200212"/>
                  </a:lnTo>
                  <a:lnTo>
                    <a:pt x="9692556" y="4246082"/>
                  </a:lnTo>
                  <a:lnTo>
                    <a:pt x="9711801" y="4292767"/>
                  </a:lnTo>
                  <a:lnTo>
                    <a:pt x="9731043" y="4339453"/>
                  </a:lnTo>
                  <a:lnTo>
                    <a:pt x="9750794" y="4386625"/>
                  </a:lnTo>
                  <a:lnTo>
                    <a:pt x="9781164" y="4427429"/>
                  </a:lnTo>
                  <a:lnTo>
                    <a:pt x="9804964" y="4459306"/>
                  </a:lnTo>
                  <a:lnTo>
                    <a:pt x="9826392" y="4491571"/>
                  </a:lnTo>
                  <a:lnTo>
                    <a:pt x="9858701" y="4515839"/>
                  </a:lnTo>
                  <a:lnTo>
                    <a:pt x="9886327" y="4536541"/>
                  </a:lnTo>
                  <a:lnTo>
                    <a:pt x="9924157" y="4546829"/>
                  </a:lnTo>
                  <a:lnTo>
                    <a:pt x="9943030" y="4578406"/>
                  </a:lnTo>
                  <a:lnTo>
                    <a:pt x="9962545" y="4611142"/>
                  </a:lnTo>
                  <a:lnTo>
                    <a:pt x="9984327" y="4695425"/>
                  </a:lnTo>
                  <a:lnTo>
                    <a:pt x="10004236" y="4717147"/>
                  </a:lnTo>
                  <a:lnTo>
                    <a:pt x="10028969" y="4744181"/>
                  </a:lnTo>
                  <a:lnTo>
                    <a:pt x="10059668" y="4748389"/>
                  </a:lnTo>
                  <a:lnTo>
                    <a:pt x="10092655" y="4759315"/>
                  </a:lnTo>
                  <a:lnTo>
                    <a:pt x="10114418" y="4776998"/>
                  </a:lnTo>
                  <a:lnTo>
                    <a:pt x="10138429" y="4806497"/>
                  </a:lnTo>
                  <a:lnTo>
                    <a:pt x="10145362" y="4847853"/>
                  </a:lnTo>
                  <a:lnTo>
                    <a:pt x="10170185" y="4874930"/>
                  </a:lnTo>
                  <a:lnTo>
                    <a:pt x="10187812" y="4886750"/>
                  </a:lnTo>
                  <a:lnTo>
                    <a:pt x="10225233" y="4912720"/>
                  </a:lnTo>
                  <a:lnTo>
                    <a:pt x="10260431" y="4898184"/>
                  </a:lnTo>
                  <a:lnTo>
                    <a:pt x="10289883" y="4910298"/>
                  </a:lnTo>
                  <a:lnTo>
                    <a:pt x="10305135" y="4930486"/>
                  </a:lnTo>
                  <a:lnTo>
                    <a:pt x="10331884" y="4943366"/>
                  </a:lnTo>
                  <a:lnTo>
                    <a:pt x="10356537" y="4957902"/>
                  </a:lnTo>
                  <a:lnTo>
                    <a:pt x="10381183" y="4972444"/>
                  </a:lnTo>
                  <a:lnTo>
                    <a:pt x="10403498" y="4988892"/>
                  </a:lnTo>
                  <a:lnTo>
                    <a:pt x="10410946" y="5012311"/>
                  </a:lnTo>
                  <a:lnTo>
                    <a:pt x="10418462" y="5036030"/>
                  </a:lnTo>
                  <a:lnTo>
                    <a:pt x="10410484" y="5061743"/>
                  </a:lnTo>
                  <a:lnTo>
                    <a:pt x="10400057" y="5083038"/>
                  </a:lnTo>
                  <a:lnTo>
                    <a:pt x="10388674" y="5105794"/>
                  </a:lnTo>
                  <a:lnTo>
                    <a:pt x="10373131" y="5123907"/>
                  </a:lnTo>
                  <a:lnTo>
                    <a:pt x="10355173" y="5137454"/>
                  </a:lnTo>
                  <a:lnTo>
                    <a:pt x="10337189" y="5150988"/>
                  </a:lnTo>
                  <a:lnTo>
                    <a:pt x="10315879" y="5159527"/>
                  </a:lnTo>
                  <a:lnTo>
                    <a:pt x="10293964" y="5164652"/>
                  </a:lnTo>
                  <a:lnTo>
                    <a:pt x="10272049" y="5169777"/>
                  </a:lnTo>
                  <a:lnTo>
                    <a:pt x="10249120" y="5171234"/>
                  </a:lnTo>
                  <a:lnTo>
                    <a:pt x="10225953" y="5168735"/>
                  </a:lnTo>
                  <a:lnTo>
                    <a:pt x="10202776" y="5166233"/>
                  </a:lnTo>
                  <a:lnTo>
                    <a:pt x="10179695" y="5160364"/>
                  </a:lnTo>
                  <a:lnTo>
                    <a:pt x="10157944" y="5151047"/>
                  </a:lnTo>
                  <a:lnTo>
                    <a:pt x="10138007" y="5142508"/>
                  </a:lnTo>
                  <a:lnTo>
                    <a:pt x="10114418" y="5115684"/>
                  </a:lnTo>
                  <a:lnTo>
                    <a:pt x="10094574" y="5083621"/>
                  </a:lnTo>
                  <a:lnTo>
                    <a:pt x="10077165" y="5049809"/>
                  </a:lnTo>
                  <a:lnTo>
                    <a:pt x="10054571" y="5017749"/>
                  </a:lnTo>
                  <a:lnTo>
                    <a:pt x="10023667" y="4985956"/>
                  </a:lnTo>
                  <a:lnTo>
                    <a:pt x="9998797" y="4974223"/>
                  </a:lnTo>
                  <a:lnTo>
                    <a:pt x="9958356" y="4955139"/>
                  </a:lnTo>
                  <a:lnTo>
                    <a:pt x="9914976" y="4962103"/>
                  </a:lnTo>
                  <a:lnTo>
                    <a:pt x="9873652" y="4947019"/>
                  </a:lnTo>
                  <a:lnTo>
                    <a:pt x="9838243" y="4934095"/>
                  </a:lnTo>
                  <a:lnTo>
                    <a:pt x="9811612" y="4905533"/>
                  </a:lnTo>
                  <a:lnTo>
                    <a:pt x="9778448" y="4889887"/>
                  </a:lnTo>
                  <a:lnTo>
                    <a:pt x="9737046" y="4870335"/>
                  </a:lnTo>
                  <a:lnTo>
                    <a:pt x="9688454" y="4866642"/>
                  </a:lnTo>
                  <a:lnTo>
                    <a:pt x="9639703" y="4842287"/>
                  </a:lnTo>
                  <a:lnTo>
                    <a:pt x="9580779" y="4812782"/>
                  </a:lnTo>
                  <a:lnTo>
                    <a:pt x="9538301" y="4762797"/>
                  </a:lnTo>
                  <a:lnTo>
                    <a:pt x="9484646" y="4726663"/>
                  </a:lnTo>
                  <a:lnTo>
                    <a:pt x="9454486" y="4706385"/>
                  </a:lnTo>
                  <a:lnTo>
                    <a:pt x="9428851" y="4704478"/>
                  </a:lnTo>
                  <a:lnTo>
                    <a:pt x="9407109" y="4711700"/>
                  </a:lnTo>
                  <a:lnTo>
                    <a:pt x="9385371" y="4718927"/>
                  </a:lnTo>
                  <a:lnTo>
                    <a:pt x="9366517" y="4735125"/>
                  </a:lnTo>
                  <a:lnTo>
                    <a:pt x="9348626" y="4749787"/>
                  </a:lnTo>
                  <a:lnTo>
                    <a:pt x="9330699" y="4764453"/>
                  </a:lnTo>
                  <a:lnTo>
                    <a:pt x="9314284" y="4777677"/>
                  </a:lnTo>
                  <a:lnTo>
                    <a:pt x="9276866" y="4781745"/>
                  </a:lnTo>
                  <a:lnTo>
                    <a:pt x="9255748" y="4772288"/>
                  </a:lnTo>
                  <a:lnTo>
                    <a:pt x="9231644" y="4741630"/>
                  </a:lnTo>
                  <a:lnTo>
                    <a:pt x="9211351" y="4720208"/>
                  </a:lnTo>
                  <a:lnTo>
                    <a:pt x="9198669" y="4686752"/>
                  </a:lnTo>
                  <a:lnTo>
                    <a:pt x="9174519" y="4664093"/>
                  </a:lnTo>
                  <a:lnTo>
                    <a:pt x="9131033" y="4623376"/>
                  </a:lnTo>
                  <a:lnTo>
                    <a:pt x="9076243" y="4608419"/>
                  </a:lnTo>
                  <a:lnTo>
                    <a:pt x="9039857" y="4574322"/>
                  </a:lnTo>
                  <a:lnTo>
                    <a:pt x="9020342" y="4556047"/>
                  </a:lnTo>
                  <a:lnTo>
                    <a:pt x="9003131" y="4517197"/>
                  </a:lnTo>
                  <a:lnTo>
                    <a:pt x="9004133" y="4477655"/>
                  </a:lnTo>
                  <a:lnTo>
                    <a:pt x="8995665" y="4445710"/>
                  </a:lnTo>
                  <a:lnTo>
                    <a:pt x="8982726" y="4419262"/>
                  </a:lnTo>
                  <a:lnTo>
                    <a:pt x="8969787" y="4392811"/>
                  </a:lnTo>
                  <a:lnTo>
                    <a:pt x="8952483" y="4371879"/>
                  </a:lnTo>
                  <a:lnTo>
                    <a:pt x="8935126" y="4353973"/>
                  </a:lnTo>
                  <a:lnTo>
                    <a:pt x="8917735" y="4336061"/>
                  </a:lnTo>
                  <a:lnTo>
                    <a:pt x="8899841" y="4320288"/>
                  </a:lnTo>
                  <a:lnTo>
                    <a:pt x="8875182" y="4292442"/>
                  </a:lnTo>
                  <a:lnTo>
                    <a:pt x="8869834" y="4265563"/>
                  </a:lnTo>
                  <a:lnTo>
                    <a:pt x="8885901" y="4227432"/>
                  </a:lnTo>
                  <a:lnTo>
                    <a:pt x="8914891" y="4211960"/>
                  </a:lnTo>
                  <a:lnTo>
                    <a:pt x="8949832" y="4210428"/>
                  </a:lnTo>
                  <a:lnTo>
                    <a:pt x="9002703" y="4192510"/>
                  </a:lnTo>
                  <a:lnTo>
                    <a:pt x="9044673" y="4172120"/>
                  </a:lnTo>
                  <a:lnTo>
                    <a:pt x="9080667" y="4145865"/>
                  </a:lnTo>
                  <a:lnTo>
                    <a:pt x="9116650" y="4119603"/>
                  </a:lnTo>
                  <a:lnTo>
                    <a:pt x="9146617" y="4086417"/>
                  </a:lnTo>
                  <a:lnTo>
                    <a:pt x="9160914" y="4050649"/>
                  </a:lnTo>
                  <a:lnTo>
                    <a:pt x="9172008" y="4022908"/>
                  </a:lnTo>
                  <a:lnTo>
                    <a:pt x="9165893" y="3998819"/>
                  </a:lnTo>
                  <a:lnTo>
                    <a:pt x="9155472" y="3974477"/>
                  </a:lnTo>
                  <a:lnTo>
                    <a:pt x="9145079" y="3950128"/>
                  </a:lnTo>
                  <a:lnTo>
                    <a:pt x="9130243" y="3925661"/>
                  </a:lnTo>
                  <a:lnTo>
                    <a:pt x="9122829" y="3899662"/>
                  </a:lnTo>
                  <a:lnTo>
                    <a:pt x="9122004" y="3848652"/>
                  </a:lnTo>
                  <a:lnTo>
                    <a:pt x="9125573" y="3812610"/>
                  </a:lnTo>
                  <a:lnTo>
                    <a:pt x="9129102" y="3776569"/>
                  </a:lnTo>
                  <a:lnTo>
                    <a:pt x="9131170" y="3736590"/>
                  </a:lnTo>
                  <a:lnTo>
                    <a:pt x="9121483" y="3701079"/>
                  </a:lnTo>
                  <a:lnTo>
                    <a:pt x="9105029" y="3640714"/>
                  </a:lnTo>
                  <a:lnTo>
                    <a:pt x="9076847" y="3584736"/>
                  </a:lnTo>
                  <a:lnTo>
                    <a:pt x="9039870" y="3535130"/>
                  </a:lnTo>
                  <a:lnTo>
                    <a:pt x="9021083" y="3509885"/>
                  </a:lnTo>
                  <a:lnTo>
                    <a:pt x="8988239" y="3487232"/>
                  </a:lnTo>
                  <a:lnTo>
                    <a:pt x="8973223" y="3460319"/>
                  </a:lnTo>
                  <a:lnTo>
                    <a:pt x="8960752" y="3438112"/>
                  </a:lnTo>
                  <a:lnTo>
                    <a:pt x="8963602" y="3411516"/>
                  </a:lnTo>
                  <a:lnTo>
                    <a:pt x="8965059" y="3385511"/>
                  </a:lnTo>
                  <a:lnTo>
                    <a:pt x="8966535" y="3359500"/>
                  </a:lnTo>
                  <a:lnTo>
                    <a:pt x="8967189" y="3334798"/>
                  </a:lnTo>
                  <a:lnTo>
                    <a:pt x="8950095" y="3316138"/>
                  </a:lnTo>
                  <a:lnTo>
                    <a:pt x="8922680" y="3286258"/>
                  </a:lnTo>
                  <a:lnTo>
                    <a:pt x="8875790" y="3271465"/>
                  </a:lnTo>
                  <a:lnTo>
                    <a:pt x="8845361" y="3244050"/>
                  </a:lnTo>
                  <a:lnTo>
                    <a:pt x="8817353" y="3203538"/>
                  </a:lnTo>
                  <a:lnTo>
                    <a:pt x="8776736" y="3161590"/>
                  </a:lnTo>
                  <a:lnTo>
                    <a:pt x="8775951" y="3124807"/>
                  </a:lnTo>
                  <a:lnTo>
                    <a:pt x="8770550" y="3088986"/>
                  </a:lnTo>
                  <a:lnTo>
                    <a:pt x="8763505" y="3054182"/>
                  </a:lnTo>
                  <a:lnTo>
                    <a:pt x="8747646" y="3020417"/>
                  </a:lnTo>
                  <a:lnTo>
                    <a:pt x="8735430" y="3003336"/>
                  </a:lnTo>
                  <a:lnTo>
                    <a:pt x="8716141" y="2988335"/>
                  </a:lnTo>
                  <a:lnTo>
                    <a:pt x="8684016" y="2972547"/>
                  </a:lnTo>
                  <a:lnTo>
                    <a:pt x="8650331" y="2974193"/>
                  </a:lnTo>
                  <a:lnTo>
                    <a:pt x="8615490" y="2985610"/>
                  </a:lnTo>
                  <a:lnTo>
                    <a:pt x="8582462" y="3000263"/>
                  </a:lnTo>
                  <a:lnTo>
                    <a:pt x="8550576" y="3009035"/>
                  </a:lnTo>
                  <a:lnTo>
                    <a:pt x="8521638" y="3004657"/>
                  </a:lnTo>
                  <a:lnTo>
                    <a:pt x="8488800" y="2992323"/>
                  </a:lnTo>
                  <a:lnTo>
                    <a:pt x="8470512" y="2976733"/>
                  </a:lnTo>
                  <a:lnTo>
                    <a:pt x="8447642" y="2942803"/>
                  </a:lnTo>
                  <a:lnTo>
                    <a:pt x="8433225" y="2905363"/>
                  </a:lnTo>
                  <a:lnTo>
                    <a:pt x="8410501" y="2869356"/>
                  </a:lnTo>
                  <a:lnTo>
                    <a:pt x="8384257" y="2852312"/>
                  </a:lnTo>
                  <a:lnTo>
                    <a:pt x="8358011" y="2835272"/>
                  </a:lnTo>
                  <a:lnTo>
                    <a:pt x="8318826" y="2819914"/>
                  </a:lnTo>
                  <a:lnTo>
                    <a:pt x="8256395" y="2807422"/>
                  </a:lnTo>
                  <a:lnTo>
                    <a:pt x="8271743" y="2762668"/>
                  </a:lnTo>
                  <a:lnTo>
                    <a:pt x="8304349" y="2738651"/>
                  </a:lnTo>
                  <a:lnTo>
                    <a:pt x="8332595" y="2713571"/>
                  </a:lnTo>
                  <a:lnTo>
                    <a:pt x="8360141" y="2688115"/>
                  </a:lnTo>
                  <a:lnTo>
                    <a:pt x="8378468" y="2660138"/>
                  </a:lnTo>
                  <a:lnTo>
                    <a:pt x="8382921" y="2629241"/>
                  </a:lnTo>
                  <a:lnTo>
                    <a:pt x="8359778" y="2613518"/>
                  </a:lnTo>
                  <a:lnTo>
                    <a:pt x="8339367" y="2619744"/>
                  </a:lnTo>
                  <a:lnTo>
                    <a:pt x="8320611" y="2631762"/>
                  </a:lnTo>
                  <a:lnTo>
                    <a:pt x="8295314" y="2656920"/>
                  </a:lnTo>
                  <a:lnTo>
                    <a:pt x="8279802" y="2677101"/>
                  </a:lnTo>
                  <a:lnTo>
                    <a:pt x="8226602" y="2704628"/>
                  </a:lnTo>
                  <a:lnTo>
                    <a:pt x="8192300" y="2696508"/>
                  </a:lnTo>
                  <a:lnTo>
                    <a:pt x="8159827" y="2709515"/>
                  </a:lnTo>
                  <a:lnTo>
                    <a:pt x="8133466" y="2732555"/>
                  </a:lnTo>
                  <a:lnTo>
                    <a:pt x="8092309" y="2736065"/>
                  </a:lnTo>
                  <a:lnTo>
                    <a:pt x="8066134" y="2717245"/>
                  </a:lnTo>
                  <a:lnTo>
                    <a:pt x="8036049" y="2698632"/>
                  </a:lnTo>
                  <a:lnTo>
                    <a:pt x="8005961" y="2680022"/>
                  </a:lnTo>
                  <a:lnTo>
                    <a:pt x="7971944" y="2661781"/>
                  </a:lnTo>
                  <a:lnTo>
                    <a:pt x="7935398" y="2663270"/>
                  </a:lnTo>
                  <a:lnTo>
                    <a:pt x="7902838" y="2664538"/>
                  </a:lnTo>
                  <a:lnTo>
                    <a:pt x="7873135" y="2688819"/>
                  </a:lnTo>
                  <a:lnTo>
                    <a:pt x="7841543" y="2695916"/>
                  </a:lnTo>
                  <a:lnTo>
                    <a:pt x="7826223" y="2667756"/>
                  </a:lnTo>
                  <a:lnTo>
                    <a:pt x="7860444" y="2629579"/>
                  </a:lnTo>
                  <a:lnTo>
                    <a:pt x="7897310" y="2589817"/>
                  </a:lnTo>
                  <a:lnTo>
                    <a:pt x="7934170" y="2550055"/>
                  </a:lnTo>
                  <a:lnTo>
                    <a:pt x="7972868" y="2508799"/>
                  </a:lnTo>
                  <a:lnTo>
                    <a:pt x="7985714" y="2481002"/>
                  </a:lnTo>
                  <a:lnTo>
                    <a:pt x="7998020" y="2454482"/>
                  </a:lnTo>
                  <a:lnTo>
                    <a:pt x="7991162" y="2415713"/>
                  </a:lnTo>
                  <a:lnTo>
                    <a:pt x="7974260" y="2380093"/>
                  </a:lnTo>
                  <a:lnTo>
                    <a:pt x="7968041" y="2357220"/>
                  </a:lnTo>
                  <a:lnTo>
                    <a:pt x="7958776" y="2323303"/>
                  </a:lnTo>
                  <a:lnTo>
                    <a:pt x="7962342" y="2283733"/>
                  </a:lnTo>
                  <a:lnTo>
                    <a:pt x="7947630" y="2249763"/>
                  </a:lnTo>
                  <a:lnTo>
                    <a:pt x="7927035" y="2225712"/>
                  </a:lnTo>
                  <a:lnTo>
                    <a:pt x="7895378" y="2213170"/>
                  </a:lnTo>
                  <a:lnTo>
                    <a:pt x="7868748" y="2217126"/>
                  </a:lnTo>
                  <a:lnTo>
                    <a:pt x="7846070" y="2227256"/>
                  </a:lnTo>
                  <a:lnTo>
                    <a:pt x="7816103" y="2253999"/>
                  </a:lnTo>
                  <a:lnTo>
                    <a:pt x="7798882" y="2278444"/>
                  </a:lnTo>
                  <a:lnTo>
                    <a:pt x="7777612" y="2291937"/>
                  </a:lnTo>
                  <a:lnTo>
                    <a:pt x="7758317" y="2304178"/>
                  </a:lnTo>
                  <a:lnTo>
                    <a:pt x="7737273" y="2308684"/>
                  </a:lnTo>
                  <a:lnTo>
                    <a:pt x="7717758" y="2319142"/>
                  </a:lnTo>
                  <a:lnTo>
                    <a:pt x="7693995" y="2331851"/>
                  </a:lnTo>
                  <a:lnTo>
                    <a:pt x="7672577" y="2351403"/>
                  </a:lnTo>
                  <a:lnTo>
                    <a:pt x="7648392" y="2362668"/>
                  </a:lnTo>
                  <a:lnTo>
                    <a:pt x="7619746" y="2368578"/>
                  </a:lnTo>
                  <a:lnTo>
                    <a:pt x="7600786" y="2358588"/>
                  </a:lnTo>
                  <a:lnTo>
                    <a:pt x="7598172" y="2326983"/>
                  </a:lnTo>
                  <a:lnTo>
                    <a:pt x="7606100" y="2303143"/>
                  </a:lnTo>
                  <a:lnTo>
                    <a:pt x="7621175" y="2283774"/>
                  </a:lnTo>
                  <a:lnTo>
                    <a:pt x="7636774" y="2266007"/>
                  </a:lnTo>
                  <a:lnTo>
                    <a:pt x="7656035" y="2252343"/>
                  </a:lnTo>
                  <a:lnTo>
                    <a:pt x="7666068" y="2230726"/>
                  </a:lnTo>
                  <a:lnTo>
                    <a:pt x="7676818" y="2207496"/>
                  </a:lnTo>
                  <a:lnTo>
                    <a:pt x="7676428" y="2181842"/>
                  </a:lnTo>
                  <a:lnTo>
                    <a:pt x="7674226" y="2157276"/>
                  </a:lnTo>
                  <a:lnTo>
                    <a:pt x="7672003" y="2132710"/>
                  </a:lnTo>
                  <a:lnTo>
                    <a:pt x="7668323" y="2108454"/>
                  </a:lnTo>
                  <a:lnTo>
                    <a:pt x="7675578" y="2086545"/>
                  </a:lnTo>
                  <a:lnTo>
                    <a:pt x="7726508" y="2042157"/>
                  </a:lnTo>
                  <a:lnTo>
                    <a:pt x="7776235" y="2013099"/>
                  </a:lnTo>
                  <a:lnTo>
                    <a:pt x="7825935" y="1984037"/>
                  </a:lnTo>
                  <a:lnTo>
                    <a:pt x="7879801" y="1956113"/>
                  </a:lnTo>
                  <a:lnTo>
                    <a:pt x="7912255" y="1957331"/>
                  </a:lnTo>
                  <a:lnTo>
                    <a:pt x="7923445" y="1975312"/>
                  </a:lnTo>
                  <a:lnTo>
                    <a:pt x="7931215" y="2002687"/>
                  </a:lnTo>
                  <a:lnTo>
                    <a:pt x="7951698" y="2011734"/>
                  </a:lnTo>
                  <a:lnTo>
                    <a:pt x="7970726" y="1987299"/>
                  </a:lnTo>
                  <a:lnTo>
                    <a:pt x="7978955" y="1946405"/>
                  </a:lnTo>
                  <a:lnTo>
                    <a:pt x="7980610" y="1921126"/>
                  </a:lnTo>
                  <a:lnTo>
                    <a:pt x="7978908" y="1896120"/>
                  </a:lnTo>
                  <a:lnTo>
                    <a:pt x="7975513" y="1846110"/>
                  </a:lnTo>
                  <a:lnTo>
                    <a:pt x="7961843" y="1795189"/>
                  </a:lnTo>
                  <a:lnTo>
                    <a:pt x="7943540" y="1775063"/>
                  </a:lnTo>
                  <a:lnTo>
                    <a:pt x="7902144" y="1807880"/>
                  </a:lnTo>
                  <a:lnTo>
                    <a:pt x="7897719" y="1848814"/>
                  </a:lnTo>
                  <a:lnTo>
                    <a:pt x="7870093" y="1877079"/>
                  </a:lnTo>
                  <a:lnTo>
                    <a:pt x="7852175" y="1895400"/>
                  </a:lnTo>
                  <a:lnTo>
                    <a:pt x="7800590" y="1915700"/>
                  </a:lnTo>
                  <a:lnTo>
                    <a:pt x="7746315" y="1934204"/>
                  </a:lnTo>
                  <a:lnTo>
                    <a:pt x="7692070" y="1952708"/>
                  </a:lnTo>
                  <a:lnTo>
                    <a:pt x="7635376" y="1969507"/>
                  </a:lnTo>
                  <a:lnTo>
                    <a:pt x="7606212" y="1980456"/>
                  </a:lnTo>
                  <a:lnTo>
                    <a:pt x="7582080" y="1989317"/>
                  </a:lnTo>
                  <a:lnTo>
                    <a:pt x="7551803" y="2010376"/>
                  </a:lnTo>
                  <a:lnTo>
                    <a:pt x="7529376" y="2035277"/>
                  </a:lnTo>
                  <a:lnTo>
                    <a:pt x="7506887" y="2074834"/>
                  </a:lnTo>
                  <a:lnTo>
                    <a:pt x="7498311" y="2103357"/>
                  </a:lnTo>
                  <a:lnTo>
                    <a:pt x="7472914" y="2132797"/>
                  </a:lnTo>
                  <a:lnTo>
                    <a:pt x="7437165" y="2174239"/>
                  </a:lnTo>
                  <a:lnTo>
                    <a:pt x="7340972" y="2236040"/>
                  </a:lnTo>
                  <a:lnTo>
                    <a:pt x="7321931" y="2266094"/>
                  </a:lnTo>
                  <a:lnTo>
                    <a:pt x="7304680" y="2302265"/>
                  </a:lnTo>
                  <a:lnTo>
                    <a:pt x="7266508" y="2333169"/>
                  </a:lnTo>
                  <a:lnTo>
                    <a:pt x="7235434" y="2314209"/>
                  </a:lnTo>
                  <a:lnTo>
                    <a:pt x="7206317" y="2327306"/>
                  </a:lnTo>
                  <a:lnTo>
                    <a:pt x="7184982" y="2336908"/>
                  </a:lnTo>
                  <a:lnTo>
                    <a:pt x="7165507" y="2365393"/>
                  </a:lnTo>
                  <a:lnTo>
                    <a:pt x="7150525" y="2392148"/>
                  </a:lnTo>
                  <a:lnTo>
                    <a:pt x="7105479" y="2420776"/>
                  </a:lnTo>
                  <a:lnTo>
                    <a:pt x="7069320" y="2416866"/>
                  </a:lnTo>
                  <a:lnTo>
                    <a:pt x="7034935" y="2426599"/>
                  </a:lnTo>
                  <a:lnTo>
                    <a:pt x="7013718" y="2432549"/>
                  </a:lnTo>
                  <a:lnTo>
                    <a:pt x="6996903" y="2447847"/>
                  </a:lnTo>
                  <a:lnTo>
                    <a:pt x="6976445" y="2453803"/>
                  </a:lnTo>
                  <a:lnTo>
                    <a:pt x="6951411" y="2457456"/>
                  </a:lnTo>
                  <a:lnTo>
                    <a:pt x="6932919" y="2438840"/>
                  </a:lnTo>
                  <a:lnTo>
                    <a:pt x="6939493" y="2413378"/>
                  </a:lnTo>
                  <a:lnTo>
                    <a:pt x="6965305" y="2398545"/>
                  </a:lnTo>
                  <a:lnTo>
                    <a:pt x="6980994" y="2375331"/>
                  </a:lnTo>
                  <a:lnTo>
                    <a:pt x="6999566" y="2365387"/>
                  </a:lnTo>
                  <a:lnTo>
                    <a:pt x="7042705" y="2342278"/>
                  </a:lnTo>
                  <a:lnTo>
                    <a:pt x="7067165" y="2325256"/>
                  </a:lnTo>
                  <a:lnTo>
                    <a:pt x="7095192" y="2296706"/>
                  </a:lnTo>
                  <a:lnTo>
                    <a:pt x="7098860" y="2274258"/>
                  </a:lnTo>
                  <a:lnTo>
                    <a:pt x="7095899" y="2252752"/>
                  </a:lnTo>
                  <a:lnTo>
                    <a:pt x="7099117" y="2225027"/>
                  </a:lnTo>
                  <a:lnTo>
                    <a:pt x="7123354" y="2185838"/>
                  </a:lnTo>
                  <a:lnTo>
                    <a:pt x="7156220" y="2145841"/>
                  </a:lnTo>
                  <a:lnTo>
                    <a:pt x="7203858" y="2124211"/>
                  </a:lnTo>
                  <a:lnTo>
                    <a:pt x="7230802" y="2077023"/>
                  </a:lnTo>
                  <a:lnTo>
                    <a:pt x="7241304" y="2058665"/>
                  </a:lnTo>
                  <a:lnTo>
                    <a:pt x="7238969" y="2018540"/>
                  </a:lnTo>
                  <a:lnTo>
                    <a:pt x="7238011" y="1977817"/>
                  </a:lnTo>
                  <a:lnTo>
                    <a:pt x="7249849" y="1960051"/>
                  </a:lnTo>
                  <a:lnTo>
                    <a:pt x="7276539" y="1936861"/>
                  </a:lnTo>
                  <a:lnTo>
                    <a:pt x="7315659" y="1926105"/>
                  </a:lnTo>
                  <a:lnTo>
                    <a:pt x="7338662" y="1922921"/>
                  </a:lnTo>
                  <a:lnTo>
                    <a:pt x="7361383" y="1917883"/>
                  </a:lnTo>
                  <a:lnTo>
                    <a:pt x="7384107" y="1912844"/>
                  </a:lnTo>
                  <a:lnTo>
                    <a:pt x="7406869" y="1906525"/>
                  </a:lnTo>
                  <a:lnTo>
                    <a:pt x="7426672" y="1892036"/>
                  </a:lnTo>
                  <a:lnTo>
                    <a:pt x="7446476" y="1877553"/>
                  </a:lnTo>
                  <a:lnTo>
                    <a:pt x="7463485" y="1855024"/>
                  </a:lnTo>
                  <a:lnTo>
                    <a:pt x="7474282" y="1821306"/>
                  </a:lnTo>
                  <a:lnTo>
                    <a:pt x="7480784" y="1801080"/>
                  </a:lnTo>
                  <a:lnTo>
                    <a:pt x="7475851" y="1780629"/>
                  </a:lnTo>
                  <a:lnTo>
                    <a:pt x="7494395" y="1745518"/>
                  </a:lnTo>
                  <a:lnTo>
                    <a:pt x="7513337" y="1726394"/>
                  </a:lnTo>
                  <a:lnTo>
                    <a:pt x="7523255" y="1707049"/>
                  </a:lnTo>
                  <a:lnTo>
                    <a:pt x="7546711" y="1654990"/>
                  </a:lnTo>
                  <a:lnTo>
                    <a:pt x="7554540" y="1619997"/>
                  </a:lnTo>
                  <a:lnTo>
                    <a:pt x="7560996" y="1585599"/>
                  </a:lnTo>
                  <a:lnTo>
                    <a:pt x="7558980" y="1556469"/>
                  </a:lnTo>
                  <a:lnTo>
                    <a:pt x="7545018" y="1538383"/>
                  </a:lnTo>
                  <a:lnTo>
                    <a:pt x="7514782" y="1516537"/>
                  </a:lnTo>
                  <a:lnTo>
                    <a:pt x="7474886" y="1510165"/>
                  </a:lnTo>
                  <a:lnTo>
                    <a:pt x="7448448" y="1481261"/>
                  </a:lnTo>
                  <a:lnTo>
                    <a:pt x="7419668" y="1475352"/>
                  </a:lnTo>
                  <a:lnTo>
                    <a:pt x="7391019" y="1470465"/>
                  </a:lnTo>
                  <a:lnTo>
                    <a:pt x="7364112" y="1458137"/>
                  </a:lnTo>
                  <a:lnTo>
                    <a:pt x="7320970" y="1434002"/>
                  </a:lnTo>
                  <a:lnTo>
                    <a:pt x="7293381" y="1421411"/>
                  </a:lnTo>
                  <a:lnTo>
                    <a:pt x="7265789" y="1408822"/>
                  </a:lnTo>
                  <a:lnTo>
                    <a:pt x="7239167" y="1400795"/>
                  </a:lnTo>
                  <a:lnTo>
                    <a:pt x="7226756" y="1428210"/>
                  </a:lnTo>
                  <a:lnTo>
                    <a:pt x="7245027" y="1455883"/>
                  </a:lnTo>
                  <a:lnTo>
                    <a:pt x="7275168" y="1494305"/>
                  </a:lnTo>
                  <a:lnTo>
                    <a:pt x="7308137" y="1531435"/>
                  </a:lnTo>
                  <a:lnTo>
                    <a:pt x="7327407" y="1569671"/>
                  </a:lnTo>
                  <a:lnTo>
                    <a:pt x="7337053" y="1588790"/>
                  </a:lnTo>
                  <a:lnTo>
                    <a:pt x="7342370" y="1625439"/>
                  </a:lnTo>
                  <a:lnTo>
                    <a:pt x="7334712" y="1662165"/>
                  </a:lnTo>
                  <a:lnTo>
                    <a:pt x="7316518" y="1677128"/>
                  </a:lnTo>
                  <a:lnTo>
                    <a:pt x="7270319" y="1676741"/>
                  </a:lnTo>
                  <a:lnTo>
                    <a:pt x="7249322" y="1655399"/>
                  </a:lnTo>
                  <a:lnTo>
                    <a:pt x="7218583" y="1658081"/>
                  </a:lnTo>
                  <a:lnTo>
                    <a:pt x="7182820" y="1680275"/>
                  </a:lnTo>
                  <a:lnTo>
                    <a:pt x="7168263" y="1708407"/>
                  </a:lnTo>
                  <a:lnTo>
                    <a:pt x="7153703" y="1736542"/>
                  </a:lnTo>
                  <a:lnTo>
                    <a:pt x="7139670" y="1771740"/>
                  </a:lnTo>
                  <a:lnTo>
                    <a:pt x="7126095" y="1804984"/>
                  </a:lnTo>
                  <a:lnTo>
                    <a:pt x="7112552" y="1838222"/>
                  </a:lnTo>
                  <a:lnTo>
                    <a:pt x="7099474" y="1869588"/>
                  </a:lnTo>
                  <a:lnTo>
                    <a:pt x="7082563" y="1886588"/>
                  </a:lnTo>
                  <a:lnTo>
                    <a:pt x="7064099" y="1899754"/>
                  </a:lnTo>
                  <a:lnTo>
                    <a:pt x="7033636" y="1896870"/>
                  </a:lnTo>
                  <a:lnTo>
                    <a:pt x="7007079" y="1862280"/>
                  </a:lnTo>
                  <a:lnTo>
                    <a:pt x="6984966" y="1827913"/>
                  </a:lnTo>
                  <a:lnTo>
                    <a:pt x="6969671" y="1792737"/>
                  </a:lnTo>
                  <a:lnTo>
                    <a:pt x="6956186" y="1756841"/>
                  </a:lnTo>
                  <a:lnTo>
                    <a:pt x="6950521" y="1722540"/>
                  </a:lnTo>
                  <a:lnTo>
                    <a:pt x="6956047" y="1692079"/>
                  </a:lnTo>
                  <a:lnTo>
                    <a:pt x="6965531" y="1666155"/>
                  </a:lnTo>
                  <a:lnTo>
                    <a:pt x="6998683" y="1662370"/>
                  </a:lnTo>
                  <a:lnTo>
                    <a:pt x="7013178" y="1634954"/>
                  </a:lnTo>
                  <a:lnTo>
                    <a:pt x="6999408" y="1601418"/>
                  </a:lnTo>
                  <a:lnTo>
                    <a:pt x="6972836" y="1590966"/>
                  </a:lnTo>
                  <a:lnTo>
                    <a:pt x="6945164" y="1587351"/>
                  </a:lnTo>
                  <a:lnTo>
                    <a:pt x="6895616" y="1607756"/>
                  </a:lnTo>
                  <a:lnTo>
                    <a:pt x="6870945" y="1619278"/>
                  </a:lnTo>
                  <a:lnTo>
                    <a:pt x="6848676" y="1624462"/>
                  </a:lnTo>
                  <a:lnTo>
                    <a:pt x="6821087" y="1654600"/>
                  </a:lnTo>
                  <a:lnTo>
                    <a:pt x="6814499" y="1687580"/>
                  </a:lnTo>
                  <a:lnTo>
                    <a:pt x="6809144" y="1712491"/>
                  </a:lnTo>
                  <a:lnTo>
                    <a:pt x="6802689" y="1742588"/>
                  </a:lnTo>
                  <a:lnTo>
                    <a:pt x="6795548" y="1769833"/>
                  </a:lnTo>
                  <a:lnTo>
                    <a:pt x="6795548" y="1800901"/>
                  </a:lnTo>
                  <a:lnTo>
                    <a:pt x="6795548" y="1824853"/>
                  </a:lnTo>
                  <a:lnTo>
                    <a:pt x="6801799" y="1859424"/>
                  </a:lnTo>
                  <a:lnTo>
                    <a:pt x="6805064" y="1892036"/>
                  </a:lnTo>
                  <a:lnTo>
                    <a:pt x="6808375" y="1924648"/>
                  </a:lnTo>
                  <a:lnTo>
                    <a:pt x="6809727" y="1956541"/>
                  </a:lnTo>
                  <a:lnTo>
                    <a:pt x="6799622" y="1976372"/>
                  </a:lnTo>
                  <a:lnTo>
                    <a:pt x="6777227" y="1983593"/>
                  </a:lnTo>
                  <a:lnTo>
                    <a:pt x="6756406" y="1970310"/>
                  </a:lnTo>
                  <a:lnTo>
                    <a:pt x="6747938" y="1942362"/>
                  </a:lnTo>
                  <a:lnTo>
                    <a:pt x="6747938" y="1913232"/>
                  </a:lnTo>
                  <a:lnTo>
                    <a:pt x="6755820" y="1865973"/>
                  </a:lnTo>
                  <a:lnTo>
                    <a:pt x="6765261" y="1833277"/>
                  </a:lnTo>
                  <a:lnTo>
                    <a:pt x="6760158" y="1804984"/>
                  </a:lnTo>
                  <a:lnTo>
                    <a:pt x="6720464" y="1814680"/>
                  </a:lnTo>
                  <a:lnTo>
                    <a:pt x="6704050" y="1857269"/>
                  </a:lnTo>
                  <a:lnTo>
                    <a:pt x="6690785" y="1877079"/>
                  </a:lnTo>
                  <a:lnTo>
                    <a:pt x="6664948" y="1878431"/>
                  </a:lnTo>
                  <a:lnTo>
                    <a:pt x="6673931" y="1843221"/>
                  </a:lnTo>
                  <a:lnTo>
                    <a:pt x="6680405" y="1802116"/>
                  </a:lnTo>
                  <a:lnTo>
                    <a:pt x="6669022" y="1772338"/>
                  </a:lnTo>
                  <a:lnTo>
                    <a:pt x="6643362" y="1800770"/>
                  </a:lnTo>
                  <a:lnTo>
                    <a:pt x="6630938" y="1818590"/>
                  </a:lnTo>
                  <a:lnTo>
                    <a:pt x="6618551" y="1836402"/>
                  </a:lnTo>
                  <a:lnTo>
                    <a:pt x="6604598" y="1852125"/>
                  </a:lnTo>
                  <a:lnTo>
                    <a:pt x="6576535" y="1840353"/>
                  </a:lnTo>
                  <a:lnTo>
                    <a:pt x="6587412" y="1809706"/>
                  </a:lnTo>
                  <a:lnTo>
                    <a:pt x="6621884" y="1763160"/>
                  </a:lnTo>
                  <a:lnTo>
                    <a:pt x="6629493" y="1712109"/>
                  </a:lnTo>
                  <a:lnTo>
                    <a:pt x="6635028" y="1671687"/>
                  </a:lnTo>
                  <a:lnTo>
                    <a:pt x="6654065" y="1644476"/>
                  </a:lnTo>
                  <a:lnTo>
                    <a:pt x="6696742" y="1636129"/>
                  </a:lnTo>
                  <a:lnTo>
                    <a:pt x="6723431" y="1628155"/>
                  </a:lnTo>
                  <a:lnTo>
                    <a:pt x="6742602" y="1606035"/>
                  </a:lnTo>
                  <a:lnTo>
                    <a:pt x="6752000" y="1581912"/>
                  </a:lnTo>
                  <a:lnTo>
                    <a:pt x="6772932" y="1544439"/>
                  </a:lnTo>
                  <a:lnTo>
                    <a:pt x="6780569" y="1524778"/>
                  </a:lnTo>
                  <a:lnTo>
                    <a:pt x="6786004" y="1494857"/>
                  </a:lnTo>
                  <a:lnTo>
                    <a:pt x="6779843" y="1474211"/>
                  </a:lnTo>
                  <a:lnTo>
                    <a:pt x="6745154" y="1438005"/>
                  </a:lnTo>
                  <a:lnTo>
                    <a:pt x="6706304" y="1420744"/>
                  </a:lnTo>
                  <a:lnTo>
                    <a:pt x="6670390" y="1403725"/>
                  </a:lnTo>
                  <a:lnTo>
                    <a:pt x="6634472" y="1386703"/>
                  </a:lnTo>
                  <a:lnTo>
                    <a:pt x="6601526" y="1370313"/>
                  </a:lnTo>
                  <a:lnTo>
                    <a:pt x="6584696" y="1345239"/>
                  </a:lnTo>
                  <a:lnTo>
                    <a:pt x="6596419" y="1314651"/>
                  </a:lnTo>
                  <a:lnTo>
                    <a:pt x="6625496" y="1312596"/>
                  </a:lnTo>
                  <a:lnTo>
                    <a:pt x="6655584" y="1311777"/>
                  </a:lnTo>
                  <a:lnTo>
                    <a:pt x="6671503" y="1288920"/>
                  </a:lnTo>
                  <a:lnTo>
                    <a:pt x="6656791" y="1266344"/>
                  </a:lnTo>
                  <a:lnTo>
                    <a:pt x="6639669" y="1243924"/>
                  </a:lnTo>
                  <a:lnTo>
                    <a:pt x="6622523" y="1207089"/>
                  </a:lnTo>
                  <a:lnTo>
                    <a:pt x="6606852" y="1171727"/>
                  </a:lnTo>
                  <a:lnTo>
                    <a:pt x="6586060" y="1145288"/>
                  </a:lnTo>
                  <a:lnTo>
                    <a:pt x="6564198" y="1121739"/>
                  </a:lnTo>
                  <a:lnTo>
                    <a:pt x="6537185" y="1108983"/>
                  </a:lnTo>
                  <a:lnTo>
                    <a:pt x="6504440" y="1112639"/>
                  </a:lnTo>
                  <a:lnTo>
                    <a:pt x="6484782" y="1128365"/>
                  </a:lnTo>
                  <a:lnTo>
                    <a:pt x="6479242" y="1153328"/>
                  </a:lnTo>
                  <a:lnTo>
                    <a:pt x="6475884" y="1179286"/>
                  </a:lnTo>
                  <a:lnTo>
                    <a:pt x="6472489" y="1205250"/>
                  </a:lnTo>
                  <a:lnTo>
                    <a:pt x="6471915" y="1232163"/>
                  </a:lnTo>
                  <a:lnTo>
                    <a:pt x="6460914" y="1251375"/>
                  </a:lnTo>
                  <a:lnTo>
                    <a:pt x="6440280" y="1269702"/>
                  </a:lnTo>
                  <a:lnTo>
                    <a:pt x="6410827" y="1271141"/>
                  </a:lnTo>
                  <a:lnTo>
                    <a:pt x="6377946" y="1259538"/>
                  </a:lnTo>
                  <a:lnTo>
                    <a:pt x="6344475" y="1245366"/>
                  </a:lnTo>
                  <a:lnTo>
                    <a:pt x="6312160" y="1221221"/>
                  </a:lnTo>
                  <a:lnTo>
                    <a:pt x="6293476" y="1189850"/>
                  </a:lnTo>
                  <a:lnTo>
                    <a:pt x="6293610" y="1156165"/>
                  </a:lnTo>
                  <a:lnTo>
                    <a:pt x="6300592" y="1122570"/>
                  </a:lnTo>
                  <a:lnTo>
                    <a:pt x="6311119" y="1086383"/>
                  </a:lnTo>
                  <a:lnTo>
                    <a:pt x="6318101" y="1050072"/>
                  </a:lnTo>
                  <a:lnTo>
                    <a:pt x="6318563" y="1015237"/>
                  </a:lnTo>
                  <a:lnTo>
                    <a:pt x="6296332" y="990225"/>
                  </a:lnTo>
                  <a:lnTo>
                    <a:pt x="6273462" y="998506"/>
                  </a:lnTo>
                  <a:lnTo>
                    <a:pt x="6224513" y="1113191"/>
                  </a:lnTo>
                  <a:lnTo>
                    <a:pt x="6214721" y="1134402"/>
                  </a:lnTo>
                  <a:lnTo>
                    <a:pt x="6203007" y="1159625"/>
                  </a:lnTo>
                  <a:lnTo>
                    <a:pt x="6187523" y="1188808"/>
                  </a:lnTo>
                  <a:lnTo>
                    <a:pt x="6164473" y="1214205"/>
                  </a:lnTo>
                  <a:lnTo>
                    <a:pt x="6137191" y="1226895"/>
                  </a:lnTo>
                  <a:lnTo>
                    <a:pt x="6109385" y="1222431"/>
                  </a:lnTo>
                  <a:lnTo>
                    <a:pt x="6083443" y="1203877"/>
                  </a:lnTo>
                  <a:lnTo>
                    <a:pt x="6086859" y="1175202"/>
                  </a:lnTo>
                  <a:lnTo>
                    <a:pt x="6100933" y="1145521"/>
                  </a:lnTo>
                  <a:lnTo>
                    <a:pt x="6119040" y="1117842"/>
                  </a:lnTo>
                  <a:lnTo>
                    <a:pt x="6129034" y="1092234"/>
                  </a:lnTo>
                  <a:lnTo>
                    <a:pt x="6124218" y="1066434"/>
                  </a:lnTo>
                  <a:lnTo>
                    <a:pt x="6104545" y="1054146"/>
                  </a:lnTo>
                  <a:lnTo>
                    <a:pt x="6083588" y="1053132"/>
                  </a:lnTo>
                  <a:lnTo>
                    <a:pt x="5855937" y="1018958"/>
                  </a:lnTo>
                  <a:lnTo>
                    <a:pt x="5834286" y="1007138"/>
                  </a:lnTo>
                  <a:lnTo>
                    <a:pt x="5817087" y="986476"/>
                  </a:lnTo>
                  <a:lnTo>
                    <a:pt x="5798496" y="969820"/>
                  </a:lnTo>
                  <a:lnTo>
                    <a:pt x="5779945" y="953154"/>
                  </a:lnTo>
                  <a:lnTo>
                    <a:pt x="5760219" y="939719"/>
                  </a:lnTo>
                  <a:lnTo>
                    <a:pt x="5730490" y="943973"/>
                  </a:lnTo>
                  <a:lnTo>
                    <a:pt x="5718249" y="975258"/>
                  </a:lnTo>
                  <a:lnTo>
                    <a:pt x="5731849" y="992941"/>
                  </a:lnTo>
                  <a:lnTo>
                    <a:pt x="5750511" y="1013299"/>
                  </a:lnTo>
                  <a:lnTo>
                    <a:pt x="5772953" y="1029965"/>
                  </a:lnTo>
                  <a:lnTo>
                    <a:pt x="5788980" y="1052788"/>
                  </a:lnTo>
                  <a:lnTo>
                    <a:pt x="5804861" y="1082715"/>
                  </a:lnTo>
                  <a:lnTo>
                    <a:pt x="5822553" y="1102094"/>
                  </a:lnTo>
                  <a:lnTo>
                    <a:pt x="5844753" y="1112639"/>
                  </a:lnTo>
                  <a:lnTo>
                    <a:pt x="5875446" y="1122840"/>
                  </a:lnTo>
                  <a:lnTo>
                    <a:pt x="5989985" y="1200627"/>
                  </a:lnTo>
                  <a:lnTo>
                    <a:pt x="6006610" y="1226895"/>
                  </a:lnTo>
                  <a:lnTo>
                    <a:pt x="6028178" y="1305117"/>
                  </a:lnTo>
                  <a:lnTo>
                    <a:pt x="6033815" y="1365631"/>
                  </a:lnTo>
                  <a:lnTo>
                    <a:pt x="6039455" y="1426151"/>
                  </a:lnTo>
                  <a:lnTo>
                    <a:pt x="6040701" y="1486523"/>
                  </a:lnTo>
                  <a:lnTo>
                    <a:pt x="6014954" y="1525162"/>
                  </a:lnTo>
                  <a:lnTo>
                    <a:pt x="5982763" y="1534911"/>
                  </a:lnTo>
                  <a:lnTo>
                    <a:pt x="5949472" y="1542461"/>
                  </a:lnTo>
                  <a:lnTo>
                    <a:pt x="5916175" y="1550004"/>
                  </a:lnTo>
                  <a:lnTo>
                    <a:pt x="5881356" y="1554720"/>
                  </a:lnTo>
                  <a:lnTo>
                    <a:pt x="5859698" y="1565582"/>
                  </a:lnTo>
                  <a:lnTo>
                    <a:pt x="5837340" y="1558869"/>
                  </a:lnTo>
                  <a:lnTo>
                    <a:pt x="5810504" y="1544755"/>
                  </a:lnTo>
                  <a:lnTo>
                    <a:pt x="5780295" y="1501592"/>
                  </a:lnTo>
                  <a:lnTo>
                    <a:pt x="5756321" y="1456767"/>
                  </a:lnTo>
                  <a:lnTo>
                    <a:pt x="5732357" y="1411941"/>
                  </a:lnTo>
                  <a:lnTo>
                    <a:pt x="5714076" y="1365678"/>
                  </a:lnTo>
                  <a:lnTo>
                    <a:pt x="5740000" y="1343868"/>
                  </a:lnTo>
                  <a:lnTo>
                    <a:pt x="5773443" y="1361079"/>
                  </a:lnTo>
                  <a:lnTo>
                    <a:pt x="5807190" y="1378347"/>
                  </a:lnTo>
                  <a:lnTo>
                    <a:pt x="5843373" y="1373789"/>
                  </a:lnTo>
                  <a:lnTo>
                    <a:pt x="5861186" y="1359123"/>
                  </a:lnTo>
                  <a:lnTo>
                    <a:pt x="5908876" y="1285636"/>
                  </a:lnTo>
                  <a:lnTo>
                    <a:pt x="5907298" y="1263616"/>
                  </a:lnTo>
                  <a:lnTo>
                    <a:pt x="5860483" y="1226743"/>
                  </a:lnTo>
                  <a:lnTo>
                    <a:pt x="5807044" y="1179965"/>
                  </a:lnTo>
                  <a:lnTo>
                    <a:pt x="5754957" y="1130312"/>
                  </a:lnTo>
                  <a:lnTo>
                    <a:pt x="5702917" y="1080659"/>
                  </a:lnTo>
                  <a:lnTo>
                    <a:pt x="5651897" y="1029146"/>
                  </a:lnTo>
                  <a:lnTo>
                    <a:pt x="5616225" y="997015"/>
                  </a:lnTo>
                  <a:lnTo>
                    <a:pt x="5587070" y="970787"/>
                  </a:lnTo>
                  <a:lnTo>
                    <a:pt x="5550846" y="947836"/>
                  </a:lnTo>
                  <a:lnTo>
                    <a:pt x="5526450" y="916762"/>
                  </a:lnTo>
                  <a:lnTo>
                    <a:pt x="5499568" y="882417"/>
                  </a:lnTo>
                  <a:lnTo>
                    <a:pt x="5474146" y="841964"/>
                  </a:lnTo>
                  <a:lnTo>
                    <a:pt x="5446198" y="805222"/>
                  </a:lnTo>
                  <a:lnTo>
                    <a:pt x="5418252" y="768489"/>
                  </a:lnTo>
                  <a:lnTo>
                    <a:pt x="5387411" y="735006"/>
                  </a:lnTo>
                  <a:lnTo>
                    <a:pt x="5348263" y="712728"/>
                  </a:lnTo>
                  <a:lnTo>
                    <a:pt x="5324435" y="699197"/>
                  </a:lnTo>
                  <a:lnTo>
                    <a:pt x="5254675" y="693164"/>
                  </a:lnTo>
                  <a:lnTo>
                    <a:pt x="5195918" y="703213"/>
                  </a:lnTo>
                  <a:lnTo>
                    <a:pt x="5166547" y="708239"/>
                  </a:lnTo>
                  <a:lnTo>
                    <a:pt x="5140365" y="717128"/>
                  </a:lnTo>
                  <a:lnTo>
                    <a:pt x="5123824" y="731775"/>
                  </a:lnTo>
                  <a:lnTo>
                    <a:pt x="5109868" y="747424"/>
                  </a:lnTo>
                  <a:lnTo>
                    <a:pt x="5106243" y="779608"/>
                  </a:lnTo>
                  <a:lnTo>
                    <a:pt x="5118732" y="810849"/>
                  </a:lnTo>
                  <a:lnTo>
                    <a:pt x="5149683" y="826991"/>
                  </a:lnTo>
                  <a:lnTo>
                    <a:pt x="5189820" y="834082"/>
                  </a:lnTo>
                  <a:lnTo>
                    <a:pt x="5210891" y="835152"/>
                  </a:lnTo>
                  <a:lnTo>
                    <a:pt x="5231988" y="836218"/>
                  </a:lnTo>
                  <a:lnTo>
                    <a:pt x="5269381" y="840590"/>
                  </a:lnTo>
                  <a:lnTo>
                    <a:pt x="5299980" y="849799"/>
                  </a:lnTo>
                  <a:lnTo>
                    <a:pt x="5307412" y="880451"/>
                  </a:lnTo>
                  <a:lnTo>
                    <a:pt x="5293860" y="901799"/>
                  </a:lnTo>
                  <a:lnTo>
                    <a:pt x="5271768" y="916201"/>
                  </a:lnTo>
                  <a:lnTo>
                    <a:pt x="5247974" y="928204"/>
                  </a:lnTo>
                  <a:lnTo>
                    <a:pt x="5228571" y="943967"/>
                  </a:lnTo>
                  <a:lnTo>
                    <a:pt x="5218143" y="966561"/>
                  </a:lnTo>
                  <a:lnTo>
                    <a:pt x="5241240" y="1018905"/>
                  </a:lnTo>
                  <a:lnTo>
                    <a:pt x="5281740" y="1043812"/>
                  </a:lnTo>
                  <a:lnTo>
                    <a:pt x="5292502" y="1079987"/>
                  </a:lnTo>
                  <a:lnTo>
                    <a:pt x="5287054" y="1101750"/>
                  </a:lnTo>
                  <a:lnTo>
                    <a:pt x="5263347" y="1128780"/>
                  </a:lnTo>
                  <a:lnTo>
                    <a:pt x="5224949" y="1153433"/>
                  </a:lnTo>
                  <a:lnTo>
                    <a:pt x="5203555" y="1152571"/>
                  </a:lnTo>
                  <a:lnTo>
                    <a:pt x="5185045" y="1142559"/>
                  </a:lnTo>
                  <a:lnTo>
                    <a:pt x="5166540" y="1132541"/>
                  </a:lnTo>
                  <a:lnTo>
                    <a:pt x="5150699" y="1112676"/>
                  </a:lnTo>
                  <a:lnTo>
                    <a:pt x="5137441" y="1089508"/>
                  </a:lnTo>
                  <a:lnTo>
                    <a:pt x="5110872" y="1043167"/>
                  </a:lnTo>
                  <a:lnTo>
                    <a:pt x="5093205" y="984309"/>
                  </a:lnTo>
                  <a:lnTo>
                    <a:pt x="5077594" y="964372"/>
                  </a:lnTo>
                  <a:lnTo>
                    <a:pt x="5049196" y="939759"/>
                  </a:lnTo>
                  <a:lnTo>
                    <a:pt x="5007397" y="947942"/>
                  </a:lnTo>
                  <a:lnTo>
                    <a:pt x="4995974" y="982051"/>
                  </a:lnTo>
                  <a:lnTo>
                    <a:pt x="4988793" y="1014552"/>
                  </a:lnTo>
                  <a:lnTo>
                    <a:pt x="4943013" y="1037943"/>
                  </a:lnTo>
                  <a:lnTo>
                    <a:pt x="4907564" y="1043260"/>
                  </a:lnTo>
                  <a:lnTo>
                    <a:pt x="4890734" y="1058177"/>
                  </a:lnTo>
                  <a:lnTo>
                    <a:pt x="4868121" y="1066387"/>
                  </a:lnTo>
                  <a:lnTo>
                    <a:pt x="4862764" y="1036163"/>
                  </a:lnTo>
                  <a:lnTo>
                    <a:pt x="4875600" y="1009209"/>
                  </a:lnTo>
                  <a:lnTo>
                    <a:pt x="4851797" y="965730"/>
                  </a:lnTo>
                  <a:lnTo>
                    <a:pt x="4881680" y="937828"/>
                  </a:lnTo>
                  <a:lnTo>
                    <a:pt x="4900764" y="920846"/>
                  </a:lnTo>
                  <a:lnTo>
                    <a:pt x="4919653" y="902202"/>
                  </a:lnTo>
                  <a:lnTo>
                    <a:pt x="4928121" y="874191"/>
                  </a:lnTo>
                  <a:lnTo>
                    <a:pt x="4921169" y="833791"/>
                  </a:lnTo>
                  <a:lnTo>
                    <a:pt x="4914646" y="811265"/>
                  </a:lnTo>
                  <a:lnTo>
                    <a:pt x="4885801" y="784826"/>
                  </a:lnTo>
                  <a:lnTo>
                    <a:pt x="4851164" y="763060"/>
                  </a:lnTo>
                  <a:lnTo>
                    <a:pt x="4824487" y="739961"/>
                  </a:lnTo>
                  <a:lnTo>
                    <a:pt x="4804907" y="718836"/>
                  </a:lnTo>
                  <a:lnTo>
                    <a:pt x="4789233" y="696407"/>
                  </a:lnTo>
                  <a:lnTo>
                    <a:pt x="4773557" y="673983"/>
                  </a:lnTo>
                  <a:lnTo>
                    <a:pt x="4761982" y="650078"/>
                  </a:lnTo>
                  <a:lnTo>
                    <a:pt x="4768062" y="617643"/>
                  </a:lnTo>
                  <a:lnTo>
                    <a:pt x="4795010" y="594264"/>
                  </a:lnTo>
                  <a:lnTo>
                    <a:pt x="4817371" y="558626"/>
                  </a:lnTo>
                  <a:lnTo>
                    <a:pt x="4816081" y="523239"/>
                  </a:lnTo>
                  <a:lnTo>
                    <a:pt x="4810996" y="488299"/>
                  </a:lnTo>
                  <a:lnTo>
                    <a:pt x="4805911" y="453358"/>
                  </a:lnTo>
                  <a:lnTo>
                    <a:pt x="4798175" y="417931"/>
                  </a:lnTo>
                  <a:lnTo>
                    <a:pt x="4791949" y="393089"/>
                  </a:lnTo>
                  <a:lnTo>
                    <a:pt x="4773287" y="368734"/>
                  </a:lnTo>
                  <a:lnTo>
                    <a:pt x="4729931" y="367624"/>
                  </a:lnTo>
                  <a:lnTo>
                    <a:pt x="4703539" y="353637"/>
                  </a:lnTo>
                  <a:lnTo>
                    <a:pt x="4663532" y="315215"/>
                  </a:lnTo>
                  <a:lnTo>
                    <a:pt x="4632827" y="321007"/>
                  </a:lnTo>
                  <a:lnTo>
                    <a:pt x="4627407" y="359255"/>
                  </a:lnTo>
                  <a:lnTo>
                    <a:pt x="4634917" y="418690"/>
                  </a:lnTo>
                  <a:lnTo>
                    <a:pt x="4634185" y="474706"/>
                  </a:lnTo>
                  <a:lnTo>
                    <a:pt x="4633857" y="502713"/>
                  </a:lnTo>
                  <a:lnTo>
                    <a:pt x="4631705" y="530386"/>
                  </a:lnTo>
                  <a:lnTo>
                    <a:pt x="4624663" y="553594"/>
                  </a:lnTo>
                  <a:lnTo>
                    <a:pt x="4617619" y="576808"/>
                  </a:lnTo>
                  <a:lnTo>
                    <a:pt x="4605536" y="595749"/>
                  </a:lnTo>
                  <a:lnTo>
                    <a:pt x="4586576" y="608003"/>
                  </a:lnTo>
                  <a:lnTo>
                    <a:pt x="4561588" y="608201"/>
                  </a:lnTo>
                  <a:lnTo>
                    <a:pt x="4525792" y="585645"/>
                  </a:lnTo>
                  <a:lnTo>
                    <a:pt x="4523755" y="553219"/>
                  </a:lnTo>
                  <a:lnTo>
                    <a:pt x="4500882" y="537279"/>
                  </a:lnTo>
                  <a:lnTo>
                    <a:pt x="4476660" y="520442"/>
                  </a:lnTo>
                  <a:lnTo>
                    <a:pt x="4439034" y="511386"/>
                  </a:lnTo>
                  <a:lnTo>
                    <a:pt x="4412472" y="496469"/>
                  </a:lnTo>
                  <a:lnTo>
                    <a:pt x="4391775" y="484823"/>
                  </a:lnTo>
                  <a:lnTo>
                    <a:pt x="4357557" y="450034"/>
                  </a:lnTo>
                  <a:lnTo>
                    <a:pt x="4328142" y="412139"/>
                  </a:lnTo>
                  <a:lnTo>
                    <a:pt x="4298730" y="374240"/>
                  </a:lnTo>
                  <a:lnTo>
                    <a:pt x="4274204" y="333483"/>
                  </a:lnTo>
                  <a:lnTo>
                    <a:pt x="4269653" y="310123"/>
                  </a:lnTo>
                  <a:lnTo>
                    <a:pt x="4264211" y="282029"/>
                  </a:lnTo>
                  <a:lnTo>
                    <a:pt x="4272883" y="254694"/>
                  </a:lnTo>
                  <a:lnTo>
                    <a:pt x="4281894" y="228513"/>
                  </a:lnTo>
                  <a:lnTo>
                    <a:pt x="4266936" y="199817"/>
                  </a:lnTo>
                  <a:lnTo>
                    <a:pt x="4242448" y="178318"/>
                  </a:lnTo>
                  <a:lnTo>
                    <a:pt x="4213885" y="160498"/>
                  </a:lnTo>
                  <a:lnTo>
                    <a:pt x="4187499" y="140971"/>
                  </a:lnTo>
                  <a:lnTo>
                    <a:pt x="4169535" y="117459"/>
                  </a:lnTo>
                  <a:lnTo>
                    <a:pt x="4166276" y="85694"/>
                  </a:lnTo>
                  <a:lnTo>
                    <a:pt x="4183999" y="66210"/>
                  </a:lnTo>
                  <a:lnTo>
                    <a:pt x="4157197" y="16820"/>
                  </a:lnTo>
                  <a:lnTo>
                    <a:pt x="4133633" y="1358"/>
                  </a:lnTo>
                  <a:lnTo>
                    <a:pt x="4094187" y="0"/>
                  </a:lnTo>
                  <a:close/>
                </a:path>
              </a:pathLst>
            </a:custGeom>
            <a:solidFill>
              <a:srgbClr val="FFC00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43" name="Cherkasy¬0" descr="Cherkasy¬0">
              <a:extLst>
                <a:ext uri="{FF2B5EF4-FFF2-40B4-BE49-F238E27FC236}">
                  <a16:creationId xmlns:a16="http://schemas.microsoft.com/office/drawing/2014/main" id="{4572D620-1901-4E9C-9069-4ED9737CC7FB}"/>
                </a:ext>
              </a:extLst>
            </p:cNvPr>
            <p:cNvSpPr/>
            <p:nvPr/>
          </p:nvSpPr>
          <p:spPr>
            <a:xfrm>
              <a:off x="3432837" y="2147050"/>
              <a:ext cx="1121467" cy="816678"/>
            </a:xfrm>
            <a:custGeom>
              <a:avLst/>
              <a:gdLst/>
              <a:ahLst/>
              <a:cxnLst/>
              <a:rect l="0" t="0" r="0" b="0"/>
              <a:pathLst>
                <a:path w="11443951" h="9460179">
                  <a:moveTo>
                    <a:pt x="1697177" y="9453385"/>
                  </a:moveTo>
                  <a:lnTo>
                    <a:pt x="1763828" y="9457460"/>
                  </a:lnTo>
                  <a:lnTo>
                    <a:pt x="1829117" y="9460178"/>
                  </a:lnTo>
                  <a:lnTo>
                    <a:pt x="1860278" y="9432736"/>
                  </a:lnTo>
                  <a:lnTo>
                    <a:pt x="1880807" y="9409852"/>
                  </a:lnTo>
                  <a:lnTo>
                    <a:pt x="1901336" y="9386968"/>
                  </a:lnTo>
                  <a:lnTo>
                    <a:pt x="1920153" y="9363840"/>
                  </a:lnTo>
                  <a:lnTo>
                    <a:pt x="1955915" y="9328808"/>
                  </a:lnTo>
                  <a:lnTo>
                    <a:pt x="1982816" y="9301036"/>
                  </a:lnTo>
                  <a:lnTo>
                    <a:pt x="2009726" y="9273259"/>
                  </a:lnTo>
                  <a:lnTo>
                    <a:pt x="2041327" y="9244405"/>
                  </a:lnTo>
                  <a:lnTo>
                    <a:pt x="2069871" y="9237105"/>
                  </a:lnTo>
                  <a:lnTo>
                    <a:pt x="2102514" y="9241180"/>
                  </a:lnTo>
                  <a:lnTo>
                    <a:pt x="2135160" y="9245256"/>
                  </a:lnTo>
                  <a:lnTo>
                    <a:pt x="2159007" y="9277775"/>
                  </a:lnTo>
                  <a:lnTo>
                    <a:pt x="2169170" y="9296948"/>
                  </a:lnTo>
                  <a:lnTo>
                    <a:pt x="2179325" y="9316112"/>
                  </a:lnTo>
                  <a:lnTo>
                    <a:pt x="2204533" y="9341832"/>
                  </a:lnTo>
                  <a:lnTo>
                    <a:pt x="2227297" y="9353894"/>
                  </a:lnTo>
                  <a:lnTo>
                    <a:pt x="2261664" y="9349989"/>
                  </a:lnTo>
                  <a:lnTo>
                    <a:pt x="2292211" y="9331860"/>
                  </a:lnTo>
                  <a:lnTo>
                    <a:pt x="2327065" y="9288322"/>
                  </a:lnTo>
                  <a:lnTo>
                    <a:pt x="2342524" y="9250130"/>
                  </a:lnTo>
                  <a:lnTo>
                    <a:pt x="2364206" y="9232496"/>
                  </a:lnTo>
                  <a:lnTo>
                    <a:pt x="2388462" y="9217743"/>
                  </a:lnTo>
                  <a:lnTo>
                    <a:pt x="2414005" y="9203088"/>
                  </a:lnTo>
                  <a:lnTo>
                    <a:pt x="2439541" y="9188435"/>
                  </a:lnTo>
                  <a:lnTo>
                    <a:pt x="2466337" y="9174519"/>
                  </a:lnTo>
                  <a:lnTo>
                    <a:pt x="2489886" y="9165148"/>
                  </a:lnTo>
                  <a:lnTo>
                    <a:pt x="2517382" y="9152763"/>
                  </a:lnTo>
                  <a:lnTo>
                    <a:pt x="2543284" y="9142376"/>
                  </a:lnTo>
                  <a:lnTo>
                    <a:pt x="2579787" y="9130037"/>
                  </a:lnTo>
                  <a:lnTo>
                    <a:pt x="2621440" y="9122743"/>
                  </a:lnTo>
                  <a:lnTo>
                    <a:pt x="2661559" y="9113318"/>
                  </a:lnTo>
                  <a:lnTo>
                    <a:pt x="2701674" y="9103888"/>
                  </a:lnTo>
                  <a:lnTo>
                    <a:pt x="2740841" y="9092327"/>
                  </a:lnTo>
                  <a:lnTo>
                    <a:pt x="2760852" y="9077950"/>
                  </a:lnTo>
                  <a:lnTo>
                    <a:pt x="2777220" y="9060052"/>
                  </a:lnTo>
                  <a:lnTo>
                    <a:pt x="2790732" y="9033283"/>
                  </a:lnTo>
                  <a:lnTo>
                    <a:pt x="2797578" y="9009943"/>
                  </a:lnTo>
                  <a:lnTo>
                    <a:pt x="2802828" y="8984599"/>
                  </a:lnTo>
                  <a:lnTo>
                    <a:pt x="2803922" y="8957297"/>
                  </a:lnTo>
                  <a:lnTo>
                    <a:pt x="2805742" y="8931049"/>
                  </a:lnTo>
                  <a:lnTo>
                    <a:pt x="2807556" y="8904807"/>
                  </a:lnTo>
                  <a:lnTo>
                    <a:pt x="2810821" y="8879311"/>
                  </a:lnTo>
                  <a:lnTo>
                    <a:pt x="2820700" y="8854878"/>
                  </a:lnTo>
                  <a:lnTo>
                    <a:pt x="2843312" y="8837526"/>
                  </a:lnTo>
                  <a:lnTo>
                    <a:pt x="2879704" y="8828702"/>
                  </a:lnTo>
                  <a:lnTo>
                    <a:pt x="2900763" y="8826658"/>
                  </a:lnTo>
                  <a:lnTo>
                    <a:pt x="2922715" y="8826316"/>
                  </a:lnTo>
                  <a:lnTo>
                    <a:pt x="2966632" y="8825623"/>
                  </a:lnTo>
                  <a:lnTo>
                    <a:pt x="3012936" y="8831123"/>
                  </a:lnTo>
                  <a:lnTo>
                    <a:pt x="3035614" y="8834480"/>
                  </a:lnTo>
                  <a:lnTo>
                    <a:pt x="3064632" y="8854990"/>
                  </a:lnTo>
                  <a:lnTo>
                    <a:pt x="3075059" y="8875282"/>
                  </a:lnTo>
                  <a:lnTo>
                    <a:pt x="3085483" y="8895575"/>
                  </a:lnTo>
                  <a:lnTo>
                    <a:pt x="3095219" y="8918585"/>
                  </a:lnTo>
                  <a:lnTo>
                    <a:pt x="3141461" y="8926195"/>
                  </a:lnTo>
                  <a:lnTo>
                    <a:pt x="3175537" y="8922620"/>
                  </a:lnTo>
                  <a:lnTo>
                    <a:pt x="3209721" y="8920167"/>
                  </a:lnTo>
                  <a:lnTo>
                    <a:pt x="3243902" y="8917713"/>
                  </a:lnTo>
                  <a:lnTo>
                    <a:pt x="3277813" y="8915544"/>
                  </a:lnTo>
                  <a:lnTo>
                    <a:pt x="3311730" y="8914726"/>
                  </a:lnTo>
                  <a:lnTo>
                    <a:pt x="3346999" y="8913876"/>
                  </a:lnTo>
                  <a:lnTo>
                    <a:pt x="3373320" y="8912042"/>
                  </a:lnTo>
                  <a:lnTo>
                    <a:pt x="3413370" y="8903812"/>
                  </a:lnTo>
                  <a:lnTo>
                    <a:pt x="3435509" y="8887523"/>
                  </a:lnTo>
                  <a:lnTo>
                    <a:pt x="3449446" y="8861703"/>
                  </a:lnTo>
                  <a:lnTo>
                    <a:pt x="3454227" y="8820848"/>
                  </a:lnTo>
                  <a:lnTo>
                    <a:pt x="3454555" y="8794495"/>
                  </a:lnTo>
                  <a:lnTo>
                    <a:pt x="3454555" y="8761025"/>
                  </a:lnTo>
                  <a:lnTo>
                    <a:pt x="3457445" y="8728381"/>
                  </a:lnTo>
                  <a:lnTo>
                    <a:pt x="3459823" y="8687579"/>
                  </a:lnTo>
                  <a:lnTo>
                    <a:pt x="3455914" y="8657650"/>
                  </a:lnTo>
                  <a:lnTo>
                    <a:pt x="3444274" y="8638842"/>
                  </a:lnTo>
                  <a:lnTo>
                    <a:pt x="3411854" y="8629649"/>
                  </a:lnTo>
                  <a:lnTo>
                    <a:pt x="3381109" y="8618206"/>
                  </a:lnTo>
                  <a:lnTo>
                    <a:pt x="3350410" y="8605774"/>
                  </a:lnTo>
                  <a:lnTo>
                    <a:pt x="3327466" y="8589822"/>
                  </a:lnTo>
                  <a:lnTo>
                    <a:pt x="3317178" y="8566516"/>
                  </a:lnTo>
                  <a:lnTo>
                    <a:pt x="3324681" y="8545576"/>
                  </a:lnTo>
                  <a:lnTo>
                    <a:pt x="3353957" y="8510854"/>
                  </a:lnTo>
                  <a:lnTo>
                    <a:pt x="3381096" y="8480828"/>
                  </a:lnTo>
                  <a:lnTo>
                    <a:pt x="3408233" y="8450795"/>
                  </a:lnTo>
                  <a:lnTo>
                    <a:pt x="3437186" y="8421620"/>
                  </a:lnTo>
                  <a:lnTo>
                    <a:pt x="3467454" y="8415201"/>
                  </a:lnTo>
                  <a:lnTo>
                    <a:pt x="3490603" y="8413144"/>
                  </a:lnTo>
                  <a:lnTo>
                    <a:pt x="3515755" y="8401932"/>
                  </a:lnTo>
                  <a:lnTo>
                    <a:pt x="3527398" y="8379490"/>
                  </a:lnTo>
                  <a:lnTo>
                    <a:pt x="3546131" y="8326139"/>
                  </a:lnTo>
                  <a:lnTo>
                    <a:pt x="3555200" y="8286318"/>
                  </a:lnTo>
                  <a:lnTo>
                    <a:pt x="3564270" y="8246498"/>
                  </a:lnTo>
                  <a:lnTo>
                    <a:pt x="3573640" y="8206031"/>
                  </a:lnTo>
                  <a:lnTo>
                    <a:pt x="3575804" y="8174594"/>
                  </a:lnTo>
                  <a:lnTo>
                    <a:pt x="3572709" y="8153200"/>
                  </a:lnTo>
                  <a:lnTo>
                    <a:pt x="3566366" y="8127552"/>
                  </a:lnTo>
                  <a:lnTo>
                    <a:pt x="3547530" y="8109020"/>
                  </a:lnTo>
                  <a:lnTo>
                    <a:pt x="3538879" y="8079568"/>
                  </a:lnTo>
                  <a:lnTo>
                    <a:pt x="3546758" y="8049949"/>
                  </a:lnTo>
                  <a:lnTo>
                    <a:pt x="3580135" y="8029175"/>
                  </a:lnTo>
                  <a:lnTo>
                    <a:pt x="3615048" y="8010195"/>
                  </a:lnTo>
                  <a:lnTo>
                    <a:pt x="3649954" y="7991209"/>
                  </a:lnTo>
                  <a:lnTo>
                    <a:pt x="3686690" y="7973714"/>
                  </a:lnTo>
                  <a:lnTo>
                    <a:pt x="3718096" y="7952885"/>
                  </a:lnTo>
                  <a:lnTo>
                    <a:pt x="3730666" y="7914979"/>
                  </a:lnTo>
                  <a:lnTo>
                    <a:pt x="3748274" y="7876788"/>
                  </a:lnTo>
                  <a:lnTo>
                    <a:pt x="3775550" y="7863294"/>
                  </a:lnTo>
                  <a:lnTo>
                    <a:pt x="3812276" y="7853778"/>
                  </a:lnTo>
                  <a:lnTo>
                    <a:pt x="3832846" y="7848819"/>
                  </a:lnTo>
                  <a:lnTo>
                    <a:pt x="3870766" y="7830656"/>
                  </a:lnTo>
                  <a:lnTo>
                    <a:pt x="3889800" y="7820520"/>
                  </a:lnTo>
                  <a:lnTo>
                    <a:pt x="3909486" y="7809032"/>
                  </a:lnTo>
                  <a:lnTo>
                    <a:pt x="3929249" y="7796647"/>
                  </a:lnTo>
                  <a:lnTo>
                    <a:pt x="3951232" y="7801519"/>
                  </a:lnTo>
                  <a:lnTo>
                    <a:pt x="3972564" y="7810818"/>
                  </a:lnTo>
                  <a:lnTo>
                    <a:pt x="3994541" y="7819774"/>
                  </a:lnTo>
                  <a:lnTo>
                    <a:pt x="4022930" y="7815877"/>
                  </a:lnTo>
                  <a:lnTo>
                    <a:pt x="4055923" y="7807350"/>
                  </a:lnTo>
                  <a:lnTo>
                    <a:pt x="4093831" y="7819774"/>
                  </a:lnTo>
                  <a:lnTo>
                    <a:pt x="4113538" y="7834772"/>
                  </a:lnTo>
                  <a:lnTo>
                    <a:pt x="4133984" y="7851022"/>
                  </a:lnTo>
                  <a:lnTo>
                    <a:pt x="4155046" y="7860578"/>
                  </a:lnTo>
                  <a:lnTo>
                    <a:pt x="4179178" y="7858685"/>
                  </a:lnTo>
                  <a:lnTo>
                    <a:pt x="4204364" y="7848872"/>
                  </a:lnTo>
                  <a:lnTo>
                    <a:pt x="4221693" y="7832015"/>
                  </a:lnTo>
                  <a:lnTo>
                    <a:pt x="4243456" y="7832015"/>
                  </a:lnTo>
                  <a:lnTo>
                    <a:pt x="4254122" y="7857873"/>
                  </a:lnTo>
                  <a:lnTo>
                    <a:pt x="4270878" y="7885051"/>
                  </a:lnTo>
                  <a:lnTo>
                    <a:pt x="4291066" y="7904104"/>
                  </a:lnTo>
                  <a:lnTo>
                    <a:pt x="4340073" y="7908944"/>
                  </a:lnTo>
                  <a:lnTo>
                    <a:pt x="4376753" y="7898662"/>
                  </a:lnTo>
                  <a:lnTo>
                    <a:pt x="4413443" y="7888381"/>
                  </a:lnTo>
                  <a:lnTo>
                    <a:pt x="4450005" y="7872501"/>
                  </a:lnTo>
                  <a:lnTo>
                    <a:pt x="4466531" y="7856494"/>
                  </a:lnTo>
                  <a:lnTo>
                    <a:pt x="4499168" y="7853989"/>
                  </a:lnTo>
                  <a:lnTo>
                    <a:pt x="4529110" y="7867165"/>
                  </a:lnTo>
                  <a:lnTo>
                    <a:pt x="4553583" y="7886417"/>
                  </a:lnTo>
                  <a:lnTo>
                    <a:pt x="4575346" y="7880975"/>
                  </a:lnTo>
                  <a:lnTo>
                    <a:pt x="4612178" y="7876873"/>
                  </a:lnTo>
                  <a:lnTo>
                    <a:pt x="4635776" y="7872765"/>
                  </a:lnTo>
                  <a:lnTo>
                    <a:pt x="4656960" y="7868736"/>
                  </a:lnTo>
                  <a:lnTo>
                    <a:pt x="4678140" y="7864699"/>
                  </a:lnTo>
                  <a:lnTo>
                    <a:pt x="4719529" y="7859212"/>
                  </a:lnTo>
                  <a:lnTo>
                    <a:pt x="4740846" y="7857959"/>
                  </a:lnTo>
                  <a:lnTo>
                    <a:pt x="4771216" y="7872817"/>
                  </a:lnTo>
                  <a:lnTo>
                    <a:pt x="4799732" y="7889153"/>
                  </a:lnTo>
                  <a:lnTo>
                    <a:pt x="4831637" y="7894021"/>
                  </a:lnTo>
                  <a:lnTo>
                    <a:pt x="4860984" y="7894574"/>
                  </a:lnTo>
                  <a:lnTo>
                    <a:pt x="4890359" y="7895036"/>
                  </a:lnTo>
                  <a:lnTo>
                    <a:pt x="4935963" y="7902296"/>
                  </a:lnTo>
                  <a:lnTo>
                    <a:pt x="4965139" y="7911226"/>
                  </a:lnTo>
                  <a:lnTo>
                    <a:pt x="4992930" y="7923137"/>
                  </a:lnTo>
                  <a:lnTo>
                    <a:pt x="5020720" y="7935046"/>
                  </a:lnTo>
                  <a:lnTo>
                    <a:pt x="5048188" y="7949430"/>
                  </a:lnTo>
                  <a:lnTo>
                    <a:pt x="5075898" y="7963939"/>
                  </a:lnTo>
                  <a:lnTo>
                    <a:pt x="5099023" y="7987068"/>
                  </a:lnTo>
                  <a:lnTo>
                    <a:pt x="5119809" y="8006786"/>
                  </a:lnTo>
                  <a:lnTo>
                    <a:pt x="5145237" y="8017299"/>
                  </a:lnTo>
                  <a:lnTo>
                    <a:pt x="5173833" y="8012907"/>
                  </a:lnTo>
                  <a:lnTo>
                    <a:pt x="5200675" y="8004202"/>
                  </a:lnTo>
                  <a:lnTo>
                    <a:pt x="5233510" y="8005276"/>
                  </a:lnTo>
                  <a:lnTo>
                    <a:pt x="5263664" y="8010677"/>
                  </a:lnTo>
                  <a:lnTo>
                    <a:pt x="5292174" y="8014265"/>
                  </a:lnTo>
                  <a:lnTo>
                    <a:pt x="5320683" y="8017860"/>
                  </a:lnTo>
                  <a:lnTo>
                    <a:pt x="5348269" y="8020853"/>
                  </a:lnTo>
                  <a:lnTo>
                    <a:pt x="5396728" y="7999611"/>
                  </a:lnTo>
                  <a:lnTo>
                    <a:pt x="5427024" y="7972942"/>
                  </a:lnTo>
                  <a:lnTo>
                    <a:pt x="5458120" y="7947618"/>
                  </a:lnTo>
                  <a:lnTo>
                    <a:pt x="5489203" y="7922292"/>
                  </a:lnTo>
                  <a:lnTo>
                    <a:pt x="5520138" y="7897700"/>
                  </a:lnTo>
                  <a:lnTo>
                    <a:pt x="5558771" y="7885051"/>
                  </a:lnTo>
                  <a:lnTo>
                    <a:pt x="5593783" y="7878733"/>
                  </a:lnTo>
                  <a:lnTo>
                    <a:pt x="5627133" y="7880481"/>
                  </a:lnTo>
                  <a:lnTo>
                    <a:pt x="5660787" y="7882333"/>
                  </a:lnTo>
                  <a:lnTo>
                    <a:pt x="5682543" y="7878245"/>
                  </a:lnTo>
                  <a:lnTo>
                    <a:pt x="5707032" y="7872811"/>
                  </a:lnTo>
                  <a:lnTo>
                    <a:pt x="5730562" y="7871070"/>
                  </a:lnTo>
                  <a:lnTo>
                    <a:pt x="5752865" y="7877057"/>
                  </a:lnTo>
                  <a:lnTo>
                    <a:pt x="5775043" y="7885051"/>
                  </a:lnTo>
                  <a:lnTo>
                    <a:pt x="5797225" y="7893038"/>
                  </a:lnTo>
                  <a:lnTo>
                    <a:pt x="5818579" y="7902746"/>
                  </a:lnTo>
                  <a:lnTo>
                    <a:pt x="5840335" y="7909531"/>
                  </a:lnTo>
                  <a:lnTo>
                    <a:pt x="5870256" y="7909531"/>
                  </a:lnTo>
                  <a:lnTo>
                    <a:pt x="5898825" y="7901374"/>
                  </a:lnTo>
                  <a:lnTo>
                    <a:pt x="5945377" y="7902600"/>
                  </a:lnTo>
                  <a:lnTo>
                    <a:pt x="5970907" y="7910890"/>
                  </a:lnTo>
                  <a:lnTo>
                    <a:pt x="5996444" y="7919187"/>
                  </a:lnTo>
                  <a:lnTo>
                    <a:pt x="6021431" y="7930984"/>
                  </a:lnTo>
                  <a:lnTo>
                    <a:pt x="6044828" y="7947221"/>
                  </a:lnTo>
                  <a:lnTo>
                    <a:pt x="6060685" y="7981620"/>
                  </a:lnTo>
                  <a:lnTo>
                    <a:pt x="6074882" y="8016936"/>
                  </a:lnTo>
                  <a:lnTo>
                    <a:pt x="6085316" y="8035586"/>
                  </a:lnTo>
                  <a:lnTo>
                    <a:pt x="6108279" y="8044185"/>
                  </a:lnTo>
                  <a:lnTo>
                    <a:pt x="6124126" y="8019329"/>
                  </a:lnTo>
                  <a:lnTo>
                    <a:pt x="6130522" y="7992871"/>
                  </a:lnTo>
                  <a:lnTo>
                    <a:pt x="6142289" y="7972090"/>
                  </a:lnTo>
                  <a:lnTo>
                    <a:pt x="6164052" y="7972090"/>
                  </a:lnTo>
                  <a:lnTo>
                    <a:pt x="6185893" y="7989224"/>
                  </a:lnTo>
                  <a:lnTo>
                    <a:pt x="6212939" y="7993049"/>
                  </a:lnTo>
                  <a:lnTo>
                    <a:pt x="6240224" y="7988420"/>
                  </a:lnTo>
                  <a:lnTo>
                    <a:pt x="6262651" y="7966446"/>
                  </a:lnTo>
                  <a:lnTo>
                    <a:pt x="6287812" y="7942348"/>
                  </a:lnTo>
                  <a:lnTo>
                    <a:pt x="6315029" y="7928571"/>
                  </a:lnTo>
                  <a:lnTo>
                    <a:pt x="6342714" y="7917162"/>
                  </a:lnTo>
                  <a:lnTo>
                    <a:pt x="6371674" y="7918216"/>
                  </a:lnTo>
                  <a:lnTo>
                    <a:pt x="6402087" y="7935370"/>
                  </a:lnTo>
                  <a:lnTo>
                    <a:pt x="6445371" y="7927271"/>
                  </a:lnTo>
                  <a:lnTo>
                    <a:pt x="6471453" y="7914971"/>
                  </a:lnTo>
                  <a:lnTo>
                    <a:pt x="6497536" y="7902665"/>
                  </a:lnTo>
                  <a:lnTo>
                    <a:pt x="6524074" y="7888816"/>
                  </a:lnTo>
                  <a:lnTo>
                    <a:pt x="6548184" y="7861105"/>
                  </a:lnTo>
                  <a:lnTo>
                    <a:pt x="6555070" y="7840311"/>
                  </a:lnTo>
                  <a:lnTo>
                    <a:pt x="6562589" y="7819756"/>
                  </a:lnTo>
                  <a:lnTo>
                    <a:pt x="6570099" y="7799205"/>
                  </a:lnTo>
                  <a:lnTo>
                    <a:pt x="6577593" y="7779197"/>
                  </a:lnTo>
                  <a:lnTo>
                    <a:pt x="6584352" y="7758547"/>
                  </a:lnTo>
                  <a:lnTo>
                    <a:pt x="6593992" y="7720126"/>
                  </a:lnTo>
                  <a:lnTo>
                    <a:pt x="6599198" y="7682713"/>
                  </a:lnTo>
                  <a:lnTo>
                    <a:pt x="6606115" y="7645650"/>
                  </a:lnTo>
                  <a:lnTo>
                    <a:pt x="6615531" y="7620865"/>
                  </a:lnTo>
                  <a:lnTo>
                    <a:pt x="6627397" y="7599512"/>
                  </a:lnTo>
                  <a:lnTo>
                    <a:pt x="6645241" y="7580491"/>
                  </a:lnTo>
                  <a:lnTo>
                    <a:pt x="6663240" y="7562678"/>
                  </a:lnTo>
                  <a:lnTo>
                    <a:pt x="6681245" y="7544859"/>
                  </a:lnTo>
                  <a:lnTo>
                    <a:pt x="6699632" y="7528919"/>
                  </a:lnTo>
                  <a:lnTo>
                    <a:pt x="6725019" y="7512584"/>
                  </a:lnTo>
                  <a:lnTo>
                    <a:pt x="6752456" y="7498860"/>
                  </a:lnTo>
                  <a:lnTo>
                    <a:pt x="6775689" y="7477355"/>
                  </a:lnTo>
                  <a:lnTo>
                    <a:pt x="6785661" y="7454601"/>
                  </a:lnTo>
                  <a:lnTo>
                    <a:pt x="6792460" y="7429376"/>
                  </a:lnTo>
                  <a:lnTo>
                    <a:pt x="6799260" y="7404158"/>
                  </a:lnTo>
                  <a:lnTo>
                    <a:pt x="6802407" y="7376412"/>
                  </a:lnTo>
                  <a:lnTo>
                    <a:pt x="6804701" y="7354570"/>
                  </a:lnTo>
                  <a:lnTo>
                    <a:pt x="6809746" y="7306547"/>
                  </a:lnTo>
                  <a:lnTo>
                    <a:pt x="6794913" y="7220614"/>
                  </a:lnTo>
                  <a:lnTo>
                    <a:pt x="6791102" y="7139656"/>
                  </a:lnTo>
                  <a:lnTo>
                    <a:pt x="6789195" y="7099176"/>
                  </a:lnTo>
                  <a:lnTo>
                    <a:pt x="6790073" y="7059949"/>
                  </a:lnTo>
                  <a:lnTo>
                    <a:pt x="6797902" y="7028122"/>
                  </a:lnTo>
                  <a:lnTo>
                    <a:pt x="6805737" y="6996290"/>
                  </a:lnTo>
                  <a:lnTo>
                    <a:pt x="6819969" y="6970668"/>
                  </a:lnTo>
                  <a:lnTo>
                    <a:pt x="6845508" y="6958751"/>
                  </a:lnTo>
                  <a:lnTo>
                    <a:pt x="6879512" y="6956033"/>
                  </a:lnTo>
                  <a:lnTo>
                    <a:pt x="6898823" y="6968049"/>
                  </a:lnTo>
                  <a:lnTo>
                    <a:pt x="6919714" y="6979413"/>
                  </a:lnTo>
                  <a:lnTo>
                    <a:pt x="6942085" y="6988678"/>
                  </a:lnTo>
                  <a:lnTo>
                    <a:pt x="6964450" y="6997938"/>
                  </a:lnTo>
                  <a:lnTo>
                    <a:pt x="6987081" y="7005363"/>
                  </a:lnTo>
                  <a:lnTo>
                    <a:pt x="7008732" y="7011800"/>
                  </a:lnTo>
                  <a:lnTo>
                    <a:pt x="7042817" y="7016601"/>
                  </a:lnTo>
                  <a:lnTo>
                    <a:pt x="7078021" y="7015157"/>
                  </a:lnTo>
                  <a:lnTo>
                    <a:pt x="7112109" y="7014518"/>
                  </a:lnTo>
                  <a:lnTo>
                    <a:pt x="7137155" y="7015994"/>
                  </a:lnTo>
                  <a:lnTo>
                    <a:pt x="7164103" y="7024323"/>
                  </a:lnTo>
                  <a:lnTo>
                    <a:pt x="7189639" y="7026757"/>
                  </a:lnTo>
                  <a:lnTo>
                    <a:pt x="7215182" y="7029198"/>
                  </a:lnTo>
                  <a:lnTo>
                    <a:pt x="7240393" y="7026230"/>
                  </a:lnTo>
                  <a:lnTo>
                    <a:pt x="7263092" y="7007718"/>
                  </a:lnTo>
                  <a:lnTo>
                    <a:pt x="7276474" y="6971545"/>
                  </a:lnTo>
                  <a:lnTo>
                    <a:pt x="7276691" y="6949227"/>
                  </a:lnTo>
                  <a:lnTo>
                    <a:pt x="7276890" y="6926911"/>
                  </a:lnTo>
                  <a:lnTo>
                    <a:pt x="7275215" y="6903822"/>
                  </a:lnTo>
                  <a:lnTo>
                    <a:pt x="7291865" y="6877718"/>
                  </a:lnTo>
                  <a:lnTo>
                    <a:pt x="7318859" y="6874415"/>
                  </a:lnTo>
                  <a:lnTo>
                    <a:pt x="7345695" y="6874613"/>
                  </a:lnTo>
                  <a:lnTo>
                    <a:pt x="7374521" y="6872226"/>
                  </a:lnTo>
                  <a:lnTo>
                    <a:pt x="7403694" y="6866263"/>
                  </a:lnTo>
                  <a:lnTo>
                    <a:pt x="7438839" y="6868750"/>
                  </a:lnTo>
                  <a:lnTo>
                    <a:pt x="7479076" y="6874660"/>
                  </a:lnTo>
                  <a:lnTo>
                    <a:pt x="7503846" y="6878511"/>
                  </a:lnTo>
                  <a:lnTo>
                    <a:pt x="7529935" y="6888541"/>
                  </a:lnTo>
                  <a:lnTo>
                    <a:pt x="7556646" y="6901117"/>
                  </a:lnTo>
                  <a:lnTo>
                    <a:pt x="7584099" y="6912513"/>
                  </a:lnTo>
                  <a:lnTo>
                    <a:pt x="7615167" y="6923792"/>
                  </a:lnTo>
                  <a:lnTo>
                    <a:pt x="7648830" y="6933624"/>
                  </a:lnTo>
                  <a:lnTo>
                    <a:pt x="7682028" y="6943800"/>
                  </a:lnTo>
                  <a:lnTo>
                    <a:pt x="7715238" y="6953970"/>
                  </a:lnTo>
                  <a:lnTo>
                    <a:pt x="7747441" y="6964126"/>
                  </a:lnTo>
                  <a:lnTo>
                    <a:pt x="7777244" y="6977804"/>
                  </a:lnTo>
                  <a:lnTo>
                    <a:pt x="7833011" y="7015888"/>
                  </a:lnTo>
                  <a:lnTo>
                    <a:pt x="7888778" y="7052616"/>
                  </a:lnTo>
                  <a:lnTo>
                    <a:pt x="7916054" y="7082563"/>
                  </a:lnTo>
                  <a:lnTo>
                    <a:pt x="7925504" y="7101576"/>
                  </a:lnTo>
                  <a:lnTo>
                    <a:pt x="7934955" y="7120597"/>
                  </a:lnTo>
                  <a:lnTo>
                    <a:pt x="7941661" y="7142333"/>
                  </a:lnTo>
                  <a:lnTo>
                    <a:pt x="7947267" y="7164149"/>
                  </a:lnTo>
                  <a:lnTo>
                    <a:pt x="7958485" y="7207774"/>
                  </a:lnTo>
                  <a:lnTo>
                    <a:pt x="7963682" y="7253424"/>
                  </a:lnTo>
                  <a:lnTo>
                    <a:pt x="7970388" y="7289287"/>
                  </a:lnTo>
                  <a:lnTo>
                    <a:pt x="7982412" y="7312673"/>
                  </a:lnTo>
                  <a:lnTo>
                    <a:pt x="8004622" y="7331192"/>
                  </a:lnTo>
                  <a:lnTo>
                    <a:pt x="8028878" y="7340979"/>
                  </a:lnTo>
                  <a:lnTo>
                    <a:pt x="8061868" y="7334218"/>
                  </a:lnTo>
                  <a:lnTo>
                    <a:pt x="8084651" y="7304251"/>
                  </a:lnTo>
                  <a:lnTo>
                    <a:pt x="8100954" y="7266957"/>
                  </a:lnTo>
                  <a:lnTo>
                    <a:pt x="8118655" y="7245761"/>
                  </a:lnTo>
                  <a:lnTo>
                    <a:pt x="8136443" y="7234253"/>
                  </a:lnTo>
                  <a:lnTo>
                    <a:pt x="8165645" y="7210721"/>
                  </a:lnTo>
                  <a:lnTo>
                    <a:pt x="8186670" y="7176389"/>
                  </a:lnTo>
                  <a:lnTo>
                    <a:pt x="8203915" y="7138983"/>
                  </a:lnTo>
                  <a:lnTo>
                    <a:pt x="8213865" y="7115182"/>
                  </a:lnTo>
                  <a:lnTo>
                    <a:pt x="8237002" y="7090510"/>
                  </a:lnTo>
                  <a:lnTo>
                    <a:pt x="8260116" y="7085255"/>
                  </a:lnTo>
                  <a:lnTo>
                    <a:pt x="8283231" y="7080012"/>
                  </a:lnTo>
                  <a:lnTo>
                    <a:pt x="8312144" y="7078678"/>
                  </a:lnTo>
                  <a:lnTo>
                    <a:pt x="8343088" y="7073014"/>
                  </a:lnTo>
                  <a:lnTo>
                    <a:pt x="8374029" y="7067355"/>
                  </a:lnTo>
                  <a:lnTo>
                    <a:pt x="8407862" y="7058202"/>
                  </a:lnTo>
                  <a:lnTo>
                    <a:pt x="8438304" y="7040369"/>
                  </a:lnTo>
                  <a:lnTo>
                    <a:pt x="8468739" y="7022536"/>
                  </a:lnTo>
                  <a:lnTo>
                    <a:pt x="8496958" y="6995088"/>
                  </a:lnTo>
                  <a:lnTo>
                    <a:pt x="8518550" y="6953317"/>
                  </a:lnTo>
                  <a:lnTo>
                    <a:pt x="8560718" y="6964205"/>
                  </a:lnTo>
                  <a:lnTo>
                    <a:pt x="8586577" y="6976444"/>
                  </a:lnTo>
                  <a:lnTo>
                    <a:pt x="8594682" y="6996796"/>
                  </a:lnTo>
                  <a:lnTo>
                    <a:pt x="8582494" y="7019972"/>
                  </a:lnTo>
                  <a:lnTo>
                    <a:pt x="8599801" y="7050505"/>
                  </a:lnTo>
                  <a:lnTo>
                    <a:pt x="8627381" y="7049892"/>
                  </a:lnTo>
                  <a:lnTo>
                    <a:pt x="8655407" y="7037988"/>
                  </a:lnTo>
                  <a:lnTo>
                    <a:pt x="8683681" y="7018270"/>
                  </a:lnTo>
                  <a:lnTo>
                    <a:pt x="8711711" y="7000925"/>
                  </a:lnTo>
                  <a:lnTo>
                    <a:pt x="8736946" y="6991349"/>
                  </a:lnTo>
                  <a:lnTo>
                    <a:pt x="8754254" y="7011306"/>
                  </a:lnTo>
                  <a:lnTo>
                    <a:pt x="8756554" y="7032185"/>
                  </a:lnTo>
                  <a:lnTo>
                    <a:pt x="8767065" y="7056903"/>
                  </a:lnTo>
                  <a:lnTo>
                    <a:pt x="8789653" y="7067369"/>
                  </a:lnTo>
                  <a:lnTo>
                    <a:pt x="8817800" y="7071662"/>
                  </a:lnTo>
                  <a:lnTo>
                    <a:pt x="8846890" y="7073066"/>
                  </a:lnTo>
                  <a:lnTo>
                    <a:pt x="8878376" y="7065523"/>
                  </a:lnTo>
                  <a:lnTo>
                    <a:pt x="8906706" y="7044266"/>
                  </a:lnTo>
                  <a:lnTo>
                    <a:pt x="8921130" y="7001861"/>
                  </a:lnTo>
                  <a:lnTo>
                    <a:pt x="8933424" y="6957405"/>
                  </a:lnTo>
                  <a:lnTo>
                    <a:pt x="8945709" y="6912949"/>
                  </a:lnTo>
                  <a:lnTo>
                    <a:pt x="8955569" y="6867015"/>
                  </a:lnTo>
                  <a:lnTo>
                    <a:pt x="8951928" y="6840352"/>
                  </a:lnTo>
                  <a:lnTo>
                    <a:pt x="8925257" y="6817304"/>
                  </a:lnTo>
                  <a:lnTo>
                    <a:pt x="8901479" y="6794894"/>
                  </a:lnTo>
                  <a:lnTo>
                    <a:pt x="8927983" y="6723450"/>
                  </a:lnTo>
                  <a:lnTo>
                    <a:pt x="8956545" y="6658161"/>
                  </a:lnTo>
                  <a:lnTo>
                    <a:pt x="8989104" y="6655622"/>
                  </a:lnTo>
                  <a:lnTo>
                    <a:pt x="9012191" y="6649556"/>
                  </a:lnTo>
                  <a:lnTo>
                    <a:pt x="9034075" y="6639116"/>
                  </a:lnTo>
                  <a:lnTo>
                    <a:pt x="9055962" y="6628683"/>
                  </a:lnTo>
                  <a:lnTo>
                    <a:pt x="9075623" y="6613969"/>
                  </a:lnTo>
                  <a:lnTo>
                    <a:pt x="9103445" y="6596954"/>
                  </a:lnTo>
                  <a:lnTo>
                    <a:pt x="9122960" y="6572263"/>
                  </a:lnTo>
                  <a:lnTo>
                    <a:pt x="9133375" y="6550704"/>
                  </a:lnTo>
                  <a:lnTo>
                    <a:pt x="9143786" y="6529146"/>
                  </a:lnTo>
                  <a:lnTo>
                    <a:pt x="9152716" y="6505997"/>
                  </a:lnTo>
                  <a:lnTo>
                    <a:pt x="9169230" y="6483232"/>
                  </a:lnTo>
                  <a:lnTo>
                    <a:pt x="9188295" y="6460724"/>
                  </a:lnTo>
                  <a:lnTo>
                    <a:pt x="9205271" y="6433302"/>
                  </a:lnTo>
                  <a:lnTo>
                    <a:pt x="9214796" y="6411327"/>
                  </a:lnTo>
                  <a:lnTo>
                    <a:pt x="9224501" y="6390198"/>
                  </a:lnTo>
                  <a:lnTo>
                    <a:pt x="9234209" y="6369067"/>
                  </a:lnTo>
                  <a:lnTo>
                    <a:pt x="9243839" y="6348518"/>
                  </a:lnTo>
                  <a:lnTo>
                    <a:pt x="9258511" y="6330349"/>
                  </a:lnTo>
                  <a:lnTo>
                    <a:pt x="9270805" y="6313268"/>
                  </a:lnTo>
                  <a:lnTo>
                    <a:pt x="9289793" y="6292269"/>
                  </a:lnTo>
                  <a:lnTo>
                    <a:pt x="9331226" y="6303718"/>
                  </a:lnTo>
                  <a:lnTo>
                    <a:pt x="9355082" y="6315392"/>
                  </a:lnTo>
                  <a:lnTo>
                    <a:pt x="9378941" y="6327071"/>
                  </a:lnTo>
                  <a:lnTo>
                    <a:pt x="9404180" y="6338731"/>
                  </a:lnTo>
                  <a:lnTo>
                    <a:pt x="9428529" y="6339878"/>
                  </a:lnTo>
                  <a:lnTo>
                    <a:pt x="9448314" y="6327592"/>
                  </a:lnTo>
                  <a:lnTo>
                    <a:pt x="9453786" y="6297342"/>
                  </a:lnTo>
                  <a:lnTo>
                    <a:pt x="9444100" y="6268159"/>
                  </a:lnTo>
                  <a:lnTo>
                    <a:pt x="9435335" y="6247385"/>
                  </a:lnTo>
                  <a:lnTo>
                    <a:pt x="9446605" y="6216777"/>
                  </a:lnTo>
                  <a:lnTo>
                    <a:pt x="9461181" y="6201141"/>
                  </a:lnTo>
                  <a:lnTo>
                    <a:pt x="9475748" y="6185491"/>
                  </a:lnTo>
                  <a:lnTo>
                    <a:pt x="9490488" y="6169690"/>
                  </a:lnTo>
                  <a:lnTo>
                    <a:pt x="9531905" y="6169855"/>
                  </a:lnTo>
                  <a:lnTo>
                    <a:pt x="9568632" y="6133134"/>
                  </a:lnTo>
                  <a:lnTo>
                    <a:pt x="9590395" y="6101848"/>
                  </a:lnTo>
                  <a:lnTo>
                    <a:pt x="9621680" y="6108654"/>
                  </a:lnTo>
                  <a:lnTo>
                    <a:pt x="9640727" y="6118177"/>
                  </a:lnTo>
                  <a:lnTo>
                    <a:pt x="9648013" y="6148230"/>
                  </a:lnTo>
                  <a:lnTo>
                    <a:pt x="9641598" y="6186058"/>
                  </a:lnTo>
                  <a:lnTo>
                    <a:pt x="9638001" y="6218828"/>
                  </a:lnTo>
                  <a:lnTo>
                    <a:pt x="9660893" y="6230020"/>
                  </a:lnTo>
                  <a:lnTo>
                    <a:pt x="9683112" y="6243013"/>
                  </a:lnTo>
                  <a:lnTo>
                    <a:pt x="9703287" y="6256915"/>
                  </a:lnTo>
                  <a:lnTo>
                    <a:pt x="9704500" y="6278057"/>
                  </a:lnTo>
                  <a:lnTo>
                    <a:pt x="9701334" y="6307670"/>
                  </a:lnTo>
                  <a:lnTo>
                    <a:pt x="9712828" y="6332625"/>
                  </a:lnTo>
                  <a:lnTo>
                    <a:pt x="9745762" y="6345128"/>
                  </a:lnTo>
                  <a:lnTo>
                    <a:pt x="9780814" y="6354848"/>
                  </a:lnTo>
                  <a:lnTo>
                    <a:pt x="9815866" y="6364576"/>
                  </a:lnTo>
                  <a:lnTo>
                    <a:pt x="9852779" y="6371785"/>
                  </a:lnTo>
                  <a:lnTo>
                    <a:pt x="9902301" y="6363672"/>
                  </a:lnTo>
                  <a:lnTo>
                    <a:pt x="9922065" y="6343460"/>
                  </a:lnTo>
                  <a:lnTo>
                    <a:pt x="9939964" y="6322204"/>
                  </a:lnTo>
                  <a:lnTo>
                    <a:pt x="9957861" y="6300955"/>
                  </a:lnTo>
                  <a:lnTo>
                    <a:pt x="9973438" y="6278071"/>
                  </a:lnTo>
                  <a:lnTo>
                    <a:pt x="9999812" y="6262354"/>
                  </a:lnTo>
                  <a:lnTo>
                    <a:pt x="10023364" y="6273929"/>
                  </a:lnTo>
                  <a:lnTo>
                    <a:pt x="10035174" y="6292283"/>
                  </a:lnTo>
                  <a:lnTo>
                    <a:pt x="10035636" y="6326056"/>
                  </a:lnTo>
                  <a:lnTo>
                    <a:pt x="10033019" y="6355462"/>
                  </a:lnTo>
                  <a:lnTo>
                    <a:pt x="10031090" y="6384776"/>
                  </a:lnTo>
                  <a:lnTo>
                    <a:pt x="10029187" y="6414091"/>
                  </a:lnTo>
                  <a:lnTo>
                    <a:pt x="10028297" y="6444052"/>
                  </a:lnTo>
                  <a:lnTo>
                    <a:pt x="10031090" y="6469106"/>
                  </a:lnTo>
                  <a:lnTo>
                    <a:pt x="10068992" y="6539367"/>
                  </a:lnTo>
                  <a:lnTo>
                    <a:pt x="10108621" y="6591527"/>
                  </a:lnTo>
                  <a:lnTo>
                    <a:pt x="10148258" y="6643679"/>
                  </a:lnTo>
                  <a:lnTo>
                    <a:pt x="10191995" y="6696069"/>
                  </a:lnTo>
                  <a:lnTo>
                    <a:pt x="10206556" y="6719382"/>
                  </a:lnTo>
                  <a:lnTo>
                    <a:pt x="10223181" y="6745999"/>
                  </a:lnTo>
                  <a:lnTo>
                    <a:pt x="10229782" y="6787468"/>
                  </a:lnTo>
                  <a:lnTo>
                    <a:pt x="10233760" y="6829563"/>
                  </a:lnTo>
                  <a:lnTo>
                    <a:pt x="10237735" y="6871652"/>
                  </a:lnTo>
                  <a:lnTo>
                    <a:pt x="10238886" y="6915369"/>
                  </a:lnTo>
                  <a:lnTo>
                    <a:pt x="10243282" y="6945178"/>
                  </a:lnTo>
                  <a:lnTo>
                    <a:pt x="10267764" y="6964225"/>
                  </a:lnTo>
                  <a:lnTo>
                    <a:pt x="10294876" y="6967133"/>
                  </a:lnTo>
                  <a:lnTo>
                    <a:pt x="10330421" y="6969468"/>
                  </a:lnTo>
                  <a:lnTo>
                    <a:pt x="10356174" y="6966941"/>
                  </a:lnTo>
                  <a:lnTo>
                    <a:pt x="10372853" y="6947705"/>
                  </a:lnTo>
                  <a:lnTo>
                    <a:pt x="10377593" y="6918159"/>
                  </a:lnTo>
                  <a:lnTo>
                    <a:pt x="10376579" y="6883965"/>
                  </a:lnTo>
                  <a:lnTo>
                    <a:pt x="10374449" y="6849506"/>
                  </a:lnTo>
                  <a:lnTo>
                    <a:pt x="10378710" y="6820496"/>
                  </a:lnTo>
                  <a:lnTo>
                    <a:pt x="10394265" y="6802353"/>
                  </a:lnTo>
                  <a:lnTo>
                    <a:pt x="10413966" y="6790897"/>
                  </a:lnTo>
                  <a:lnTo>
                    <a:pt x="10448668" y="6799635"/>
                  </a:lnTo>
                  <a:lnTo>
                    <a:pt x="10481491" y="6821544"/>
                  </a:lnTo>
                  <a:lnTo>
                    <a:pt x="10498994" y="6836363"/>
                  </a:lnTo>
                  <a:lnTo>
                    <a:pt x="10516503" y="6851174"/>
                  </a:lnTo>
                  <a:lnTo>
                    <a:pt x="10535584" y="6866125"/>
                  </a:lnTo>
                  <a:lnTo>
                    <a:pt x="10557483" y="6875807"/>
                  </a:lnTo>
                  <a:lnTo>
                    <a:pt x="10579392" y="6885489"/>
                  </a:lnTo>
                  <a:lnTo>
                    <a:pt x="10603694" y="6890250"/>
                  </a:lnTo>
                  <a:lnTo>
                    <a:pt x="10633655" y="6882607"/>
                  </a:lnTo>
                  <a:lnTo>
                    <a:pt x="10661288" y="6875562"/>
                  </a:lnTo>
                  <a:lnTo>
                    <a:pt x="10681476" y="6846756"/>
                  </a:lnTo>
                  <a:lnTo>
                    <a:pt x="10701670" y="6829563"/>
                  </a:lnTo>
                  <a:lnTo>
                    <a:pt x="10729935" y="6805439"/>
                  </a:lnTo>
                  <a:lnTo>
                    <a:pt x="10766642" y="6774147"/>
                  </a:lnTo>
                  <a:lnTo>
                    <a:pt x="10781922" y="6738428"/>
                  </a:lnTo>
                  <a:lnTo>
                    <a:pt x="10800309" y="6695437"/>
                  </a:lnTo>
                  <a:lnTo>
                    <a:pt x="10804113" y="6664736"/>
                  </a:lnTo>
                  <a:lnTo>
                    <a:pt x="10823873" y="6642651"/>
                  </a:lnTo>
                  <a:lnTo>
                    <a:pt x="10847211" y="6640494"/>
                  </a:lnTo>
                  <a:lnTo>
                    <a:pt x="10880146" y="6648889"/>
                  </a:lnTo>
                  <a:lnTo>
                    <a:pt x="10907052" y="6660899"/>
                  </a:lnTo>
                  <a:lnTo>
                    <a:pt x="10943531" y="6677162"/>
                  </a:lnTo>
                  <a:lnTo>
                    <a:pt x="10973582" y="6702129"/>
                  </a:lnTo>
                  <a:lnTo>
                    <a:pt x="11006352" y="6724822"/>
                  </a:lnTo>
                  <a:lnTo>
                    <a:pt x="11027563" y="6740618"/>
                  </a:lnTo>
                  <a:lnTo>
                    <a:pt x="11045798" y="6762908"/>
                  </a:lnTo>
                  <a:lnTo>
                    <a:pt x="11068116" y="6778532"/>
                  </a:lnTo>
                  <a:lnTo>
                    <a:pt x="11104498" y="6790581"/>
                  </a:lnTo>
                  <a:lnTo>
                    <a:pt x="11157549" y="6803230"/>
                  </a:lnTo>
                  <a:lnTo>
                    <a:pt x="11184539" y="6791477"/>
                  </a:lnTo>
                  <a:lnTo>
                    <a:pt x="11223985" y="6696260"/>
                  </a:lnTo>
                  <a:lnTo>
                    <a:pt x="11301475" y="6655148"/>
                  </a:lnTo>
                  <a:lnTo>
                    <a:pt x="11332800" y="6643210"/>
                  </a:lnTo>
                  <a:lnTo>
                    <a:pt x="11336499" y="6592378"/>
                  </a:lnTo>
                  <a:lnTo>
                    <a:pt x="11360473" y="6567765"/>
                  </a:lnTo>
                  <a:lnTo>
                    <a:pt x="11403952" y="6560412"/>
                  </a:lnTo>
                  <a:lnTo>
                    <a:pt x="11435662" y="6553844"/>
                  </a:lnTo>
                  <a:lnTo>
                    <a:pt x="11443950" y="6479775"/>
                  </a:lnTo>
                  <a:lnTo>
                    <a:pt x="11347770" y="6448694"/>
                  </a:lnTo>
                  <a:lnTo>
                    <a:pt x="11316572" y="6382561"/>
                  </a:lnTo>
                  <a:lnTo>
                    <a:pt x="11293364" y="6320839"/>
                  </a:lnTo>
                  <a:lnTo>
                    <a:pt x="11270162" y="6259117"/>
                  </a:lnTo>
                  <a:lnTo>
                    <a:pt x="11247956" y="6196921"/>
                  </a:lnTo>
                  <a:lnTo>
                    <a:pt x="11240902" y="6171194"/>
                  </a:lnTo>
                  <a:lnTo>
                    <a:pt x="11240359" y="6148732"/>
                  </a:lnTo>
                  <a:lnTo>
                    <a:pt x="11236831" y="6125313"/>
                  </a:lnTo>
                  <a:lnTo>
                    <a:pt x="11238697" y="6101485"/>
                  </a:lnTo>
                  <a:lnTo>
                    <a:pt x="11239615" y="6077724"/>
                  </a:lnTo>
                  <a:lnTo>
                    <a:pt x="11241671" y="6041993"/>
                  </a:lnTo>
                  <a:lnTo>
                    <a:pt x="11243289" y="6007621"/>
                  </a:lnTo>
                  <a:lnTo>
                    <a:pt x="11242502" y="5951511"/>
                  </a:lnTo>
                  <a:lnTo>
                    <a:pt x="11231997" y="5892514"/>
                  </a:lnTo>
                  <a:lnTo>
                    <a:pt x="11215827" y="5836608"/>
                  </a:lnTo>
                  <a:lnTo>
                    <a:pt x="11199655" y="5780703"/>
                  </a:lnTo>
                  <a:lnTo>
                    <a:pt x="11176614" y="5727384"/>
                  </a:lnTo>
                  <a:lnTo>
                    <a:pt x="11153255" y="5699229"/>
                  </a:lnTo>
                  <a:lnTo>
                    <a:pt x="11129830" y="5674189"/>
                  </a:lnTo>
                  <a:lnTo>
                    <a:pt x="11100507" y="5650810"/>
                  </a:lnTo>
                  <a:lnTo>
                    <a:pt x="11071650" y="5631216"/>
                  </a:lnTo>
                  <a:lnTo>
                    <a:pt x="11072366" y="5602607"/>
                  </a:lnTo>
                  <a:lnTo>
                    <a:pt x="11087370" y="5578720"/>
                  </a:lnTo>
                  <a:lnTo>
                    <a:pt x="11115207" y="5512410"/>
                  </a:lnTo>
                  <a:lnTo>
                    <a:pt x="11128298" y="5434095"/>
                  </a:lnTo>
                  <a:lnTo>
                    <a:pt x="11154613" y="5371417"/>
                  </a:lnTo>
                  <a:lnTo>
                    <a:pt x="11166854" y="5353736"/>
                  </a:lnTo>
                  <a:lnTo>
                    <a:pt x="11175405" y="5332045"/>
                  </a:lnTo>
                  <a:lnTo>
                    <a:pt x="11183333" y="5304512"/>
                  </a:lnTo>
                  <a:lnTo>
                    <a:pt x="11189975" y="5277565"/>
                  </a:lnTo>
                  <a:lnTo>
                    <a:pt x="11196622" y="5250618"/>
                  </a:lnTo>
                  <a:lnTo>
                    <a:pt x="11201431" y="5224581"/>
                  </a:lnTo>
                  <a:lnTo>
                    <a:pt x="11204938" y="5201393"/>
                  </a:lnTo>
                  <a:lnTo>
                    <a:pt x="11219018" y="5145119"/>
                  </a:lnTo>
                  <a:lnTo>
                    <a:pt x="11228100" y="5080126"/>
                  </a:lnTo>
                  <a:lnTo>
                    <a:pt x="11230065" y="5028805"/>
                  </a:lnTo>
                  <a:lnTo>
                    <a:pt x="11228059" y="4981045"/>
                  </a:lnTo>
                  <a:lnTo>
                    <a:pt x="11226056" y="4933277"/>
                  </a:lnTo>
                  <a:lnTo>
                    <a:pt x="11219223" y="4889237"/>
                  </a:lnTo>
                  <a:lnTo>
                    <a:pt x="11209022" y="4846384"/>
                  </a:lnTo>
                  <a:lnTo>
                    <a:pt x="11188617" y="4760663"/>
                  </a:lnTo>
                  <a:lnTo>
                    <a:pt x="11153636" y="4679367"/>
                  </a:lnTo>
                  <a:lnTo>
                    <a:pt x="11112445" y="4577060"/>
                  </a:lnTo>
                  <a:lnTo>
                    <a:pt x="11091559" y="4525192"/>
                  </a:lnTo>
                  <a:lnTo>
                    <a:pt x="11077929" y="4460615"/>
                  </a:lnTo>
                  <a:lnTo>
                    <a:pt x="11044439" y="4415202"/>
                  </a:lnTo>
                  <a:lnTo>
                    <a:pt x="10978719" y="4326085"/>
                  </a:lnTo>
                  <a:lnTo>
                    <a:pt x="10912885" y="4244789"/>
                  </a:lnTo>
                  <a:lnTo>
                    <a:pt x="10839047" y="4162202"/>
                  </a:lnTo>
                  <a:lnTo>
                    <a:pt x="10820679" y="4141651"/>
                  </a:lnTo>
                  <a:lnTo>
                    <a:pt x="10798876" y="4092282"/>
                  </a:lnTo>
                  <a:lnTo>
                    <a:pt x="10799602" y="4064267"/>
                  </a:lnTo>
                  <a:lnTo>
                    <a:pt x="10833950" y="3984568"/>
                  </a:lnTo>
                  <a:lnTo>
                    <a:pt x="10895032" y="3913521"/>
                  </a:lnTo>
                  <a:lnTo>
                    <a:pt x="10939699" y="3838471"/>
                  </a:lnTo>
                  <a:lnTo>
                    <a:pt x="10946504" y="3818073"/>
                  </a:lnTo>
                  <a:lnTo>
                    <a:pt x="10976360" y="3788884"/>
                  </a:lnTo>
                  <a:lnTo>
                    <a:pt x="10999552" y="3773189"/>
                  </a:lnTo>
                  <a:lnTo>
                    <a:pt x="11022742" y="3757486"/>
                  </a:lnTo>
                  <a:lnTo>
                    <a:pt x="11048005" y="3744310"/>
                  </a:lnTo>
                  <a:lnTo>
                    <a:pt x="11086164" y="3720733"/>
                  </a:lnTo>
                  <a:lnTo>
                    <a:pt x="11099329" y="3697789"/>
                  </a:lnTo>
                  <a:lnTo>
                    <a:pt x="11105645" y="3673889"/>
                  </a:lnTo>
                  <a:lnTo>
                    <a:pt x="11111964" y="3649995"/>
                  </a:lnTo>
                  <a:lnTo>
                    <a:pt x="11110789" y="3624407"/>
                  </a:lnTo>
                  <a:lnTo>
                    <a:pt x="11107003" y="3599083"/>
                  </a:lnTo>
                  <a:lnTo>
                    <a:pt x="11099435" y="3548427"/>
                  </a:lnTo>
                  <a:lnTo>
                    <a:pt x="11079333" y="3496630"/>
                  </a:lnTo>
                  <a:lnTo>
                    <a:pt x="11077082" y="3448098"/>
                  </a:lnTo>
                  <a:lnTo>
                    <a:pt x="11054721" y="3415837"/>
                  </a:lnTo>
                  <a:lnTo>
                    <a:pt x="11019232" y="3396883"/>
                  </a:lnTo>
                  <a:lnTo>
                    <a:pt x="10985947" y="3376004"/>
                  </a:lnTo>
                  <a:lnTo>
                    <a:pt x="10953211" y="3355402"/>
                  </a:lnTo>
                  <a:lnTo>
                    <a:pt x="10926192" y="3328606"/>
                  </a:lnTo>
                  <a:lnTo>
                    <a:pt x="10908420" y="3291674"/>
                  </a:lnTo>
                  <a:lnTo>
                    <a:pt x="10898033" y="3259037"/>
                  </a:lnTo>
                  <a:lnTo>
                    <a:pt x="10901930" y="3216954"/>
                  </a:lnTo>
                  <a:lnTo>
                    <a:pt x="10905701" y="3176059"/>
                  </a:lnTo>
                  <a:lnTo>
                    <a:pt x="10909462" y="3135164"/>
                  </a:lnTo>
                  <a:lnTo>
                    <a:pt x="10913096" y="3095667"/>
                  </a:lnTo>
                  <a:lnTo>
                    <a:pt x="10901620" y="3069960"/>
                  </a:lnTo>
                  <a:lnTo>
                    <a:pt x="10871355" y="3047135"/>
                  </a:lnTo>
                  <a:lnTo>
                    <a:pt x="10843004" y="3041438"/>
                  </a:lnTo>
                  <a:lnTo>
                    <a:pt x="10809133" y="3029158"/>
                  </a:lnTo>
                  <a:lnTo>
                    <a:pt x="10752891" y="3008786"/>
                  </a:lnTo>
                  <a:lnTo>
                    <a:pt x="10687134" y="2987241"/>
                  </a:lnTo>
                  <a:lnTo>
                    <a:pt x="10621420" y="2963867"/>
                  </a:lnTo>
                  <a:lnTo>
                    <a:pt x="10555710" y="2940489"/>
                  </a:lnTo>
                  <a:lnTo>
                    <a:pt x="10490123" y="2915619"/>
                  </a:lnTo>
                  <a:lnTo>
                    <a:pt x="10436433" y="2884973"/>
                  </a:lnTo>
                  <a:lnTo>
                    <a:pt x="10422493" y="2867602"/>
                  </a:lnTo>
                  <a:lnTo>
                    <a:pt x="10430300" y="2794346"/>
                  </a:lnTo>
                  <a:lnTo>
                    <a:pt x="10436433" y="2721749"/>
                  </a:lnTo>
                  <a:lnTo>
                    <a:pt x="10439500" y="2685452"/>
                  </a:lnTo>
                  <a:lnTo>
                    <a:pt x="10442699" y="2648671"/>
                  </a:lnTo>
                  <a:lnTo>
                    <a:pt x="10441875" y="2619733"/>
                  </a:lnTo>
                  <a:lnTo>
                    <a:pt x="10441050" y="2590802"/>
                  </a:lnTo>
                  <a:lnTo>
                    <a:pt x="10436204" y="2568715"/>
                  </a:lnTo>
                  <a:lnTo>
                    <a:pt x="10406974" y="2548218"/>
                  </a:lnTo>
                  <a:lnTo>
                    <a:pt x="10289961" y="2454175"/>
                  </a:lnTo>
                  <a:lnTo>
                    <a:pt x="10267408" y="2451635"/>
                  </a:lnTo>
                  <a:lnTo>
                    <a:pt x="10244650" y="2470115"/>
                  </a:lnTo>
                  <a:lnTo>
                    <a:pt x="10220611" y="2488434"/>
                  </a:lnTo>
                  <a:lnTo>
                    <a:pt x="10185900" y="2467885"/>
                  </a:lnTo>
                  <a:lnTo>
                    <a:pt x="10182123" y="2443167"/>
                  </a:lnTo>
                  <a:lnTo>
                    <a:pt x="10145012" y="2397108"/>
                  </a:lnTo>
                  <a:lnTo>
                    <a:pt x="10112751" y="2367161"/>
                  </a:lnTo>
                  <a:lnTo>
                    <a:pt x="10085500" y="2338177"/>
                  </a:lnTo>
                  <a:lnTo>
                    <a:pt x="10053777" y="2328647"/>
                  </a:lnTo>
                  <a:lnTo>
                    <a:pt x="10033816" y="2336819"/>
                  </a:lnTo>
                  <a:lnTo>
                    <a:pt x="10013854" y="2344989"/>
                  </a:lnTo>
                  <a:lnTo>
                    <a:pt x="9994265" y="2358983"/>
                  </a:lnTo>
                  <a:lnTo>
                    <a:pt x="9968679" y="2364391"/>
                  </a:lnTo>
                  <a:lnTo>
                    <a:pt x="9948233" y="2348748"/>
                  </a:lnTo>
                  <a:lnTo>
                    <a:pt x="9926359" y="2325936"/>
                  </a:lnTo>
                  <a:lnTo>
                    <a:pt x="9904484" y="2303125"/>
                  </a:lnTo>
                  <a:lnTo>
                    <a:pt x="9880914" y="2272920"/>
                  </a:lnTo>
                  <a:lnTo>
                    <a:pt x="9858351" y="2240242"/>
                  </a:lnTo>
                  <a:lnTo>
                    <a:pt x="9813222" y="2174894"/>
                  </a:lnTo>
                  <a:lnTo>
                    <a:pt x="9771404" y="2101908"/>
                  </a:lnTo>
                  <a:lnTo>
                    <a:pt x="9753619" y="2068854"/>
                  </a:lnTo>
                  <a:lnTo>
                    <a:pt x="9739669" y="2042989"/>
                  </a:lnTo>
                  <a:lnTo>
                    <a:pt x="9723348" y="2018127"/>
                  </a:lnTo>
                  <a:lnTo>
                    <a:pt x="9712809" y="1989966"/>
                  </a:lnTo>
                  <a:lnTo>
                    <a:pt x="9704980" y="1969054"/>
                  </a:lnTo>
                  <a:lnTo>
                    <a:pt x="9711423" y="1941474"/>
                  </a:lnTo>
                  <a:lnTo>
                    <a:pt x="9725050" y="1921959"/>
                  </a:lnTo>
                  <a:lnTo>
                    <a:pt x="9740724" y="1904898"/>
                  </a:lnTo>
                  <a:lnTo>
                    <a:pt x="9761064" y="1895488"/>
                  </a:lnTo>
                  <a:lnTo>
                    <a:pt x="9784898" y="1897478"/>
                  </a:lnTo>
                  <a:lnTo>
                    <a:pt x="9816480" y="1923088"/>
                  </a:lnTo>
                  <a:lnTo>
                    <a:pt x="9840959" y="1917198"/>
                  </a:lnTo>
                  <a:lnTo>
                    <a:pt x="9874675" y="1894756"/>
                  </a:lnTo>
                  <a:lnTo>
                    <a:pt x="9903743" y="1867136"/>
                  </a:lnTo>
                  <a:lnTo>
                    <a:pt x="9896265" y="1822838"/>
                  </a:lnTo>
                  <a:lnTo>
                    <a:pt x="9869655" y="1801371"/>
                  </a:lnTo>
                  <a:lnTo>
                    <a:pt x="9863792" y="1775058"/>
                  </a:lnTo>
                  <a:lnTo>
                    <a:pt x="9856096" y="1740409"/>
                  </a:lnTo>
                  <a:lnTo>
                    <a:pt x="9872523" y="1682743"/>
                  </a:lnTo>
                  <a:lnTo>
                    <a:pt x="9888271" y="1626797"/>
                  </a:lnTo>
                  <a:lnTo>
                    <a:pt x="9896147" y="1598822"/>
                  </a:lnTo>
                  <a:lnTo>
                    <a:pt x="9903328" y="1571018"/>
                  </a:lnTo>
                  <a:lnTo>
                    <a:pt x="9907318" y="1546545"/>
                  </a:lnTo>
                  <a:lnTo>
                    <a:pt x="9911309" y="1522071"/>
                  </a:lnTo>
                  <a:lnTo>
                    <a:pt x="9905960" y="1486696"/>
                  </a:lnTo>
                  <a:lnTo>
                    <a:pt x="9895251" y="1464589"/>
                  </a:lnTo>
                  <a:lnTo>
                    <a:pt x="9850280" y="1439292"/>
                  </a:lnTo>
                  <a:lnTo>
                    <a:pt x="9806825" y="1415523"/>
                  </a:lnTo>
                  <a:lnTo>
                    <a:pt x="9768576" y="1384679"/>
                  </a:lnTo>
                  <a:lnTo>
                    <a:pt x="9749458" y="1369260"/>
                  </a:lnTo>
                  <a:lnTo>
                    <a:pt x="9731599" y="1352113"/>
                  </a:lnTo>
                  <a:lnTo>
                    <a:pt x="9716889" y="1332995"/>
                  </a:lnTo>
                  <a:lnTo>
                    <a:pt x="9702183" y="1313876"/>
                  </a:lnTo>
                  <a:lnTo>
                    <a:pt x="9690643" y="1291665"/>
                  </a:lnTo>
                  <a:lnTo>
                    <a:pt x="9682888" y="1267705"/>
                  </a:lnTo>
                  <a:lnTo>
                    <a:pt x="9666989" y="1218712"/>
                  </a:lnTo>
                  <a:lnTo>
                    <a:pt x="9656785" y="1161989"/>
                  </a:lnTo>
                  <a:lnTo>
                    <a:pt x="9633921" y="1115363"/>
                  </a:lnTo>
                  <a:lnTo>
                    <a:pt x="9595827" y="1037827"/>
                  </a:lnTo>
                  <a:lnTo>
                    <a:pt x="9565017" y="1032478"/>
                  </a:lnTo>
                  <a:lnTo>
                    <a:pt x="9509290" y="1074580"/>
                  </a:lnTo>
                  <a:lnTo>
                    <a:pt x="9487018" y="1066396"/>
                  </a:lnTo>
                  <a:lnTo>
                    <a:pt x="9348276" y="1016064"/>
                  </a:lnTo>
                  <a:lnTo>
                    <a:pt x="9323069" y="996832"/>
                  </a:lnTo>
                  <a:lnTo>
                    <a:pt x="9323394" y="963739"/>
                  </a:lnTo>
                  <a:lnTo>
                    <a:pt x="9319382" y="932249"/>
                  </a:lnTo>
                  <a:lnTo>
                    <a:pt x="9311550" y="901807"/>
                  </a:lnTo>
                  <a:lnTo>
                    <a:pt x="9303752" y="871371"/>
                  </a:lnTo>
                  <a:lnTo>
                    <a:pt x="9291830" y="841925"/>
                  </a:lnTo>
                  <a:lnTo>
                    <a:pt x="9280268" y="814761"/>
                  </a:lnTo>
                  <a:lnTo>
                    <a:pt x="9257147" y="760432"/>
                  </a:lnTo>
                  <a:lnTo>
                    <a:pt x="9233998" y="716016"/>
                  </a:lnTo>
                  <a:lnTo>
                    <a:pt x="9242184" y="693698"/>
                  </a:lnTo>
                  <a:lnTo>
                    <a:pt x="9388572" y="647323"/>
                  </a:lnTo>
                  <a:lnTo>
                    <a:pt x="9412207" y="639290"/>
                  </a:lnTo>
                  <a:lnTo>
                    <a:pt x="9420201" y="588812"/>
                  </a:lnTo>
                  <a:lnTo>
                    <a:pt x="9416241" y="544356"/>
                  </a:lnTo>
                  <a:lnTo>
                    <a:pt x="9401324" y="512793"/>
                  </a:lnTo>
                  <a:lnTo>
                    <a:pt x="9346918" y="467908"/>
                  </a:lnTo>
                  <a:lnTo>
                    <a:pt x="9301333" y="488722"/>
                  </a:lnTo>
                  <a:lnTo>
                    <a:pt x="9270746" y="514152"/>
                  </a:lnTo>
                  <a:lnTo>
                    <a:pt x="9240159" y="539582"/>
                  </a:lnTo>
                  <a:lnTo>
                    <a:pt x="9207370" y="565948"/>
                  </a:lnTo>
                  <a:lnTo>
                    <a:pt x="9182333" y="563119"/>
                  </a:lnTo>
                  <a:lnTo>
                    <a:pt x="9157934" y="551921"/>
                  </a:lnTo>
                  <a:lnTo>
                    <a:pt x="9143728" y="495910"/>
                  </a:lnTo>
                  <a:lnTo>
                    <a:pt x="9129945" y="466701"/>
                  </a:lnTo>
                  <a:lnTo>
                    <a:pt x="9114322" y="448862"/>
                  </a:lnTo>
                  <a:lnTo>
                    <a:pt x="9098698" y="431030"/>
                  </a:lnTo>
                  <a:lnTo>
                    <a:pt x="9061280" y="420299"/>
                  </a:lnTo>
                  <a:lnTo>
                    <a:pt x="9019084" y="416376"/>
                  </a:lnTo>
                  <a:lnTo>
                    <a:pt x="8997349" y="412136"/>
                  </a:lnTo>
                  <a:lnTo>
                    <a:pt x="8975604" y="407895"/>
                  </a:lnTo>
                  <a:lnTo>
                    <a:pt x="8954328" y="400469"/>
                  </a:lnTo>
                  <a:lnTo>
                    <a:pt x="8933418" y="380855"/>
                  </a:lnTo>
                  <a:lnTo>
                    <a:pt x="8919627" y="353902"/>
                  </a:lnTo>
                  <a:lnTo>
                    <a:pt x="8920008" y="320750"/>
                  </a:lnTo>
                  <a:lnTo>
                    <a:pt x="8915741" y="288362"/>
                  </a:lnTo>
                  <a:lnTo>
                    <a:pt x="8890720" y="257313"/>
                  </a:lnTo>
                  <a:lnTo>
                    <a:pt x="8873574" y="244836"/>
                  </a:lnTo>
                  <a:lnTo>
                    <a:pt x="8856427" y="232358"/>
                  </a:lnTo>
                  <a:lnTo>
                    <a:pt x="8837591" y="219967"/>
                  </a:lnTo>
                  <a:lnTo>
                    <a:pt x="8825009" y="187671"/>
                  </a:lnTo>
                  <a:lnTo>
                    <a:pt x="8820526" y="156424"/>
                  </a:lnTo>
                  <a:lnTo>
                    <a:pt x="8813785" y="125923"/>
                  </a:lnTo>
                  <a:lnTo>
                    <a:pt x="8801209" y="104331"/>
                  </a:lnTo>
                  <a:lnTo>
                    <a:pt x="8789238" y="84329"/>
                  </a:lnTo>
                  <a:lnTo>
                    <a:pt x="8760433" y="70275"/>
                  </a:lnTo>
                  <a:lnTo>
                    <a:pt x="8728268" y="73903"/>
                  </a:lnTo>
                  <a:lnTo>
                    <a:pt x="8699469" y="85687"/>
                  </a:lnTo>
                  <a:lnTo>
                    <a:pt x="8672265" y="63924"/>
                  </a:lnTo>
                  <a:lnTo>
                    <a:pt x="8638921" y="55061"/>
                  </a:lnTo>
                  <a:lnTo>
                    <a:pt x="8613775" y="38086"/>
                  </a:lnTo>
                  <a:lnTo>
                    <a:pt x="8581439" y="16981"/>
                  </a:lnTo>
                  <a:lnTo>
                    <a:pt x="8545451" y="2058"/>
                  </a:lnTo>
                  <a:lnTo>
                    <a:pt x="8506318" y="0"/>
                  </a:lnTo>
                  <a:lnTo>
                    <a:pt x="8484621" y="2196"/>
                  </a:lnTo>
                  <a:lnTo>
                    <a:pt x="8463075" y="10044"/>
                  </a:lnTo>
                  <a:lnTo>
                    <a:pt x="8442394" y="23121"/>
                  </a:lnTo>
                  <a:lnTo>
                    <a:pt x="8421703" y="36200"/>
                  </a:lnTo>
                  <a:lnTo>
                    <a:pt x="8402467" y="53353"/>
                  </a:lnTo>
                  <a:lnTo>
                    <a:pt x="8386620" y="73448"/>
                  </a:lnTo>
                  <a:lnTo>
                    <a:pt x="8370773" y="93542"/>
                  </a:lnTo>
                  <a:lnTo>
                    <a:pt x="8357087" y="116848"/>
                  </a:lnTo>
                  <a:lnTo>
                    <a:pt x="8349900" y="140096"/>
                  </a:lnTo>
                  <a:lnTo>
                    <a:pt x="8342704" y="163349"/>
                  </a:lnTo>
                  <a:lnTo>
                    <a:pt x="8341888" y="186919"/>
                  </a:lnTo>
                  <a:lnTo>
                    <a:pt x="8347181" y="209467"/>
                  </a:lnTo>
                  <a:lnTo>
                    <a:pt x="8361065" y="247705"/>
                  </a:lnTo>
                  <a:lnTo>
                    <a:pt x="8384983" y="280046"/>
                  </a:lnTo>
                  <a:lnTo>
                    <a:pt x="8412467" y="310126"/>
                  </a:lnTo>
                  <a:lnTo>
                    <a:pt x="8426342" y="327536"/>
                  </a:lnTo>
                  <a:lnTo>
                    <a:pt x="8427430" y="367250"/>
                  </a:lnTo>
                  <a:lnTo>
                    <a:pt x="8416513" y="407585"/>
                  </a:lnTo>
                  <a:lnTo>
                    <a:pt x="8404306" y="427099"/>
                  </a:lnTo>
                  <a:lnTo>
                    <a:pt x="8379880" y="466135"/>
                  </a:lnTo>
                  <a:lnTo>
                    <a:pt x="8341392" y="501575"/>
                  </a:lnTo>
                  <a:lnTo>
                    <a:pt x="8317254" y="522316"/>
                  </a:lnTo>
                  <a:lnTo>
                    <a:pt x="8283417" y="551393"/>
                  </a:lnTo>
                  <a:lnTo>
                    <a:pt x="8257090" y="572418"/>
                  </a:lnTo>
                  <a:lnTo>
                    <a:pt x="8230202" y="576724"/>
                  </a:lnTo>
                  <a:lnTo>
                    <a:pt x="8203763" y="577720"/>
                  </a:lnTo>
                  <a:lnTo>
                    <a:pt x="8175030" y="562130"/>
                  </a:lnTo>
                  <a:lnTo>
                    <a:pt x="8158845" y="547990"/>
                  </a:lnTo>
                  <a:lnTo>
                    <a:pt x="8141792" y="527757"/>
                  </a:lnTo>
                  <a:lnTo>
                    <a:pt x="8121440" y="601224"/>
                  </a:lnTo>
                  <a:lnTo>
                    <a:pt x="8106237" y="639844"/>
                  </a:lnTo>
                  <a:lnTo>
                    <a:pt x="8087383" y="666494"/>
                  </a:lnTo>
                  <a:lnTo>
                    <a:pt x="8068522" y="693151"/>
                  </a:lnTo>
                  <a:lnTo>
                    <a:pt x="8046244" y="707594"/>
                  </a:lnTo>
                  <a:lnTo>
                    <a:pt x="8023452" y="718185"/>
                  </a:lnTo>
                  <a:lnTo>
                    <a:pt x="8000659" y="728776"/>
                  </a:lnTo>
                  <a:lnTo>
                    <a:pt x="7978078" y="735075"/>
                  </a:lnTo>
                  <a:lnTo>
                    <a:pt x="7958163" y="746748"/>
                  </a:lnTo>
                  <a:lnTo>
                    <a:pt x="7938238" y="758427"/>
                  </a:lnTo>
                  <a:lnTo>
                    <a:pt x="7920788" y="775324"/>
                  </a:lnTo>
                  <a:lnTo>
                    <a:pt x="7910553" y="805238"/>
                  </a:lnTo>
                  <a:lnTo>
                    <a:pt x="7923731" y="856480"/>
                  </a:lnTo>
                  <a:lnTo>
                    <a:pt x="7942393" y="893247"/>
                  </a:lnTo>
                  <a:lnTo>
                    <a:pt x="7949999" y="924935"/>
                  </a:lnTo>
                  <a:lnTo>
                    <a:pt x="7947999" y="968633"/>
                  </a:lnTo>
                  <a:lnTo>
                    <a:pt x="7952591" y="1011882"/>
                  </a:lnTo>
                  <a:lnTo>
                    <a:pt x="7959186" y="1038084"/>
                  </a:lnTo>
                  <a:lnTo>
                    <a:pt x="7963604" y="1062314"/>
                  </a:lnTo>
                  <a:lnTo>
                    <a:pt x="7996374" y="1153172"/>
                  </a:lnTo>
                  <a:lnTo>
                    <a:pt x="8001661" y="1188639"/>
                  </a:lnTo>
                  <a:lnTo>
                    <a:pt x="7992015" y="1207665"/>
                  </a:lnTo>
                  <a:lnTo>
                    <a:pt x="7975842" y="1221455"/>
                  </a:lnTo>
                  <a:lnTo>
                    <a:pt x="7959673" y="1235252"/>
                  </a:lnTo>
                  <a:lnTo>
                    <a:pt x="7937004" y="1243627"/>
                  </a:lnTo>
                  <a:lnTo>
                    <a:pt x="7911911" y="1250018"/>
                  </a:lnTo>
                  <a:lnTo>
                    <a:pt x="7861725" y="1262805"/>
                  </a:lnTo>
                  <a:lnTo>
                    <a:pt x="7800761" y="1268556"/>
                  </a:lnTo>
                  <a:lnTo>
                    <a:pt x="7758212" y="1294909"/>
                  </a:lnTo>
                  <a:lnTo>
                    <a:pt x="7762392" y="1354085"/>
                  </a:lnTo>
                  <a:lnTo>
                    <a:pt x="7769092" y="1399643"/>
                  </a:lnTo>
                  <a:lnTo>
                    <a:pt x="7775792" y="1445200"/>
                  </a:lnTo>
                  <a:lnTo>
                    <a:pt x="7779901" y="1496496"/>
                  </a:lnTo>
                  <a:lnTo>
                    <a:pt x="7765018" y="1535662"/>
                  </a:lnTo>
                  <a:lnTo>
                    <a:pt x="7753257" y="1566605"/>
                  </a:lnTo>
                  <a:lnTo>
                    <a:pt x="7739962" y="1594212"/>
                  </a:lnTo>
                  <a:lnTo>
                    <a:pt x="7724208" y="1621357"/>
                  </a:lnTo>
                  <a:lnTo>
                    <a:pt x="7708460" y="1648495"/>
                  </a:lnTo>
                  <a:lnTo>
                    <a:pt x="7691146" y="1675600"/>
                  </a:lnTo>
                  <a:lnTo>
                    <a:pt x="7671160" y="1701603"/>
                  </a:lnTo>
                  <a:lnTo>
                    <a:pt x="7657403" y="1719509"/>
                  </a:lnTo>
                  <a:lnTo>
                    <a:pt x="7622534" y="1749126"/>
                  </a:lnTo>
                  <a:lnTo>
                    <a:pt x="7614035" y="1770976"/>
                  </a:lnTo>
                  <a:lnTo>
                    <a:pt x="7613368" y="1808823"/>
                  </a:lnTo>
                  <a:lnTo>
                    <a:pt x="7616751" y="1832183"/>
                  </a:lnTo>
                  <a:lnTo>
                    <a:pt x="7620140" y="1855549"/>
                  </a:lnTo>
                  <a:lnTo>
                    <a:pt x="7621532" y="1878123"/>
                  </a:lnTo>
                  <a:lnTo>
                    <a:pt x="7587503" y="1910867"/>
                  </a:lnTo>
                  <a:lnTo>
                    <a:pt x="7557167" y="1934713"/>
                  </a:lnTo>
                  <a:lnTo>
                    <a:pt x="7536505" y="1960045"/>
                  </a:lnTo>
                  <a:lnTo>
                    <a:pt x="7519693" y="1980655"/>
                  </a:lnTo>
                  <a:lnTo>
                    <a:pt x="7501840" y="2019254"/>
                  </a:lnTo>
                  <a:lnTo>
                    <a:pt x="7484812" y="2055262"/>
                  </a:lnTo>
                  <a:lnTo>
                    <a:pt x="7467786" y="2091263"/>
                  </a:lnTo>
                  <a:lnTo>
                    <a:pt x="7451384" y="2124864"/>
                  </a:lnTo>
                  <a:lnTo>
                    <a:pt x="7433128" y="2136875"/>
                  </a:lnTo>
                  <a:lnTo>
                    <a:pt x="7367166" y="2126771"/>
                  </a:lnTo>
                  <a:lnTo>
                    <a:pt x="7307985" y="2115110"/>
                  </a:lnTo>
                  <a:lnTo>
                    <a:pt x="7248808" y="2103444"/>
                  </a:lnTo>
                  <a:lnTo>
                    <a:pt x="7187707" y="2091693"/>
                  </a:lnTo>
                  <a:lnTo>
                    <a:pt x="7161880" y="2087333"/>
                  </a:lnTo>
                  <a:lnTo>
                    <a:pt x="7137915" y="2084200"/>
                  </a:lnTo>
                  <a:lnTo>
                    <a:pt x="7114837" y="2079742"/>
                  </a:lnTo>
                  <a:lnTo>
                    <a:pt x="7091763" y="2075284"/>
                  </a:lnTo>
                  <a:lnTo>
                    <a:pt x="7069783" y="2068576"/>
                  </a:lnTo>
                  <a:lnTo>
                    <a:pt x="7055914" y="2048252"/>
                  </a:lnTo>
                  <a:lnTo>
                    <a:pt x="7056348" y="2003571"/>
                  </a:lnTo>
                  <a:lnTo>
                    <a:pt x="7057805" y="1979546"/>
                  </a:lnTo>
                  <a:lnTo>
                    <a:pt x="7062391" y="1952534"/>
                  </a:lnTo>
                  <a:lnTo>
                    <a:pt x="7063148" y="1928759"/>
                  </a:lnTo>
                  <a:lnTo>
                    <a:pt x="7063920" y="1904991"/>
                  </a:lnTo>
                  <a:lnTo>
                    <a:pt x="7050906" y="1871633"/>
                  </a:lnTo>
                  <a:lnTo>
                    <a:pt x="7021237" y="1852614"/>
                  </a:lnTo>
                  <a:lnTo>
                    <a:pt x="6988343" y="1860752"/>
                  </a:lnTo>
                  <a:lnTo>
                    <a:pt x="6975060" y="1887375"/>
                  </a:lnTo>
                  <a:lnTo>
                    <a:pt x="6971696" y="1921175"/>
                  </a:lnTo>
                  <a:lnTo>
                    <a:pt x="6970660" y="1960045"/>
                  </a:lnTo>
                  <a:lnTo>
                    <a:pt x="6965985" y="1997517"/>
                  </a:lnTo>
                  <a:lnTo>
                    <a:pt x="6948125" y="2034112"/>
                  </a:lnTo>
                  <a:lnTo>
                    <a:pt x="6933636" y="2051489"/>
                  </a:lnTo>
                  <a:lnTo>
                    <a:pt x="6909455" y="2066136"/>
                  </a:lnTo>
                  <a:lnTo>
                    <a:pt x="6888628" y="2078752"/>
                  </a:lnTo>
                  <a:lnTo>
                    <a:pt x="6851939" y="2083126"/>
                  </a:lnTo>
                  <a:lnTo>
                    <a:pt x="6827841" y="2074302"/>
                  </a:lnTo>
                  <a:lnTo>
                    <a:pt x="6805393" y="2066097"/>
                  </a:lnTo>
                  <a:lnTo>
                    <a:pt x="6792389" y="2026205"/>
                  </a:lnTo>
                  <a:lnTo>
                    <a:pt x="6758472" y="2017176"/>
                  </a:lnTo>
                  <a:lnTo>
                    <a:pt x="6727546" y="2027359"/>
                  </a:lnTo>
                  <a:lnTo>
                    <a:pt x="6713222" y="2053238"/>
                  </a:lnTo>
                  <a:lnTo>
                    <a:pt x="6708143" y="2087901"/>
                  </a:lnTo>
                  <a:lnTo>
                    <a:pt x="6706865" y="2122978"/>
                  </a:lnTo>
                  <a:lnTo>
                    <a:pt x="6701272" y="2153480"/>
                  </a:lnTo>
                  <a:lnTo>
                    <a:pt x="6685022" y="2172235"/>
                  </a:lnTo>
                  <a:lnTo>
                    <a:pt x="6651126" y="2163696"/>
                  </a:lnTo>
                  <a:lnTo>
                    <a:pt x="6647635" y="2141332"/>
                  </a:lnTo>
                  <a:lnTo>
                    <a:pt x="6629124" y="2106861"/>
                  </a:lnTo>
                  <a:lnTo>
                    <a:pt x="6603622" y="2097068"/>
                  </a:lnTo>
                  <a:lnTo>
                    <a:pt x="6593886" y="2075666"/>
                  </a:lnTo>
                  <a:lnTo>
                    <a:pt x="6584002" y="2053943"/>
                  </a:lnTo>
                  <a:lnTo>
                    <a:pt x="6589192" y="2009355"/>
                  </a:lnTo>
                  <a:lnTo>
                    <a:pt x="6580290" y="1980450"/>
                  </a:lnTo>
                  <a:lnTo>
                    <a:pt x="6556382" y="1971117"/>
                  </a:lnTo>
                  <a:lnTo>
                    <a:pt x="6531323" y="1945082"/>
                  </a:lnTo>
                  <a:lnTo>
                    <a:pt x="6517764" y="1915556"/>
                  </a:lnTo>
                  <a:lnTo>
                    <a:pt x="6512235" y="1884843"/>
                  </a:lnTo>
                  <a:lnTo>
                    <a:pt x="6508202" y="1856670"/>
                  </a:lnTo>
                  <a:lnTo>
                    <a:pt x="6497319" y="1830112"/>
                  </a:lnTo>
                  <a:lnTo>
                    <a:pt x="6463321" y="1810321"/>
                  </a:lnTo>
                  <a:lnTo>
                    <a:pt x="6437694" y="1816407"/>
                  </a:lnTo>
                  <a:lnTo>
                    <a:pt x="6411625" y="1825383"/>
                  </a:lnTo>
                  <a:lnTo>
                    <a:pt x="6385549" y="1834360"/>
                  </a:lnTo>
                  <a:lnTo>
                    <a:pt x="6359122" y="1846995"/>
                  </a:lnTo>
                  <a:lnTo>
                    <a:pt x="6338172" y="1851228"/>
                  </a:lnTo>
                  <a:lnTo>
                    <a:pt x="6289375" y="1861068"/>
                  </a:lnTo>
                  <a:lnTo>
                    <a:pt x="6237241" y="1847576"/>
                  </a:lnTo>
                  <a:lnTo>
                    <a:pt x="6188553" y="1849864"/>
                  </a:lnTo>
                  <a:lnTo>
                    <a:pt x="6163847" y="1851032"/>
                  </a:lnTo>
                  <a:lnTo>
                    <a:pt x="6138680" y="1857560"/>
                  </a:lnTo>
                  <a:lnTo>
                    <a:pt x="6113739" y="1867551"/>
                  </a:lnTo>
                  <a:lnTo>
                    <a:pt x="6088798" y="1877535"/>
                  </a:lnTo>
                  <a:lnTo>
                    <a:pt x="6062775" y="1890370"/>
                  </a:lnTo>
                  <a:lnTo>
                    <a:pt x="6038934" y="1905637"/>
                  </a:lnTo>
                  <a:lnTo>
                    <a:pt x="5991238" y="1936170"/>
                  </a:lnTo>
                  <a:lnTo>
                    <a:pt x="5947712" y="1973241"/>
                  </a:lnTo>
                  <a:lnTo>
                    <a:pt x="5912430" y="2003571"/>
                  </a:lnTo>
                  <a:lnTo>
                    <a:pt x="5895858" y="2017809"/>
                  </a:lnTo>
                  <a:lnTo>
                    <a:pt x="5879852" y="2040443"/>
                  </a:lnTo>
                  <a:lnTo>
                    <a:pt x="5862105" y="2052539"/>
                  </a:lnTo>
                  <a:lnTo>
                    <a:pt x="5839008" y="2068274"/>
                  </a:lnTo>
                  <a:lnTo>
                    <a:pt x="5793740" y="2062081"/>
                  </a:lnTo>
                  <a:lnTo>
                    <a:pt x="5750570" y="2063420"/>
                  </a:lnTo>
                  <a:lnTo>
                    <a:pt x="5728978" y="2064093"/>
                  </a:lnTo>
                  <a:lnTo>
                    <a:pt x="5690717" y="2074302"/>
                  </a:lnTo>
                  <a:lnTo>
                    <a:pt x="5657643" y="2094885"/>
                  </a:lnTo>
                  <a:lnTo>
                    <a:pt x="5649913" y="2116470"/>
                  </a:lnTo>
                  <a:lnTo>
                    <a:pt x="5624944" y="2191677"/>
                  </a:lnTo>
                  <a:lnTo>
                    <a:pt x="5612644" y="2211963"/>
                  </a:lnTo>
                  <a:lnTo>
                    <a:pt x="5584624" y="2234802"/>
                  </a:lnTo>
                  <a:lnTo>
                    <a:pt x="5560725" y="2259982"/>
                  </a:lnTo>
                  <a:lnTo>
                    <a:pt x="5556061" y="2281052"/>
                  </a:lnTo>
                  <a:lnTo>
                    <a:pt x="5571400" y="2305940"/>
                  </a:lnTo>
                  <a:lnTo>
                    <a:pt x="5615825" y="2335500"/>
                  </a:lnTo>
                  <a:lnTo>
                    <a:pt x="5640391" y="2349058"/>
                  </a:lnTo>
                  <a:lnTo>
                    <a:pt x="5635213" y="2382013"/>
                  </a:lnTo>
                  <a:lnTo>
                    <a:pt x="5617698" y="2410707"/>
                  </a:lnTo>
                  <a:lnTo>
                    <a:pt x="5600945" y="2440194"/>
                  </a:lnTo>
                  <a:lnTo>
                    <a:pt x="5584187" y="2469679"/>
                  </a:lnTo>
                  <a:lnTo>
                    <a:pt x="5568544" y="2499435"/>
                  </a:lnTo>
                  <a:lnTo>
                    <a:pt x="5569660" y="2535404"/>
                  </a:lnTo>
                  <a:lnTo>
                    <a:pt x="5633523" y="2580954"/>
                  </a:lnTo>
                  <a:lnTo>
                    <a:pt x="5627452" y="2634981"/>
                  </a:lnTo>
                  <a:lnTo>
                    <a:pt x="5598164" y="2815015"/>
                  </a:lnTo>
                  <a:lnTo>
                    <a:pt x="5565788" y="2863579"/>
                  </a:lnTo>
                  <a:lnTo>
                    <a:pt x="5531641" y="2903129"/>
                  </a:lnTo>
                  <a:lnTo>
                    <a:pt x="5523415" y="2944828"/>
                  </a:lnTo>
                  <a:lnTo>
                    <a:pt x="5535855" y="2975093"/>
                  </a:lnTo>
                  <a:lnTo>
                    <a:pt x="5554505" y="3009775"/>
                  </a:lnTo>
                  <a:lnTo>
                    <a:pt x="5550614" y="3050921"/>
                  </a:lnTo>
                  <a:lnTo>
                    <a:pt x="5513655" y="3123776"/>
                  </a:lnTo>
                  <a:lnTo>
                    <a:pt x="5478038" y="3194486"/>
                  </a:lnTo>
                  <a:lnTo>
                    <a:pt x="5456768" y="3273994"/>
                  </a:lnTo>
                  <a:lnTo>
                    <a:pt x="5430329" y="3284262"/>
                  </a:lnTo>
                  <a:lnTo>
                    <a:pt x="5404542" y="3305214"/>
                  </a:lnTo>
                  <a:lnTo>
                    <a:pt x="5390115" y="3329760"/>
                  </a:lnTo>
                  <a:lnTo>
                    <a:pt x="5380537" y="3369956"/>
                  </a:lnTo>
                  <a:lnTo>
                    <a:pt x="5381954" y="3399132"/>
                  </a:lnTo>
                  <a:lnTo>
                    <a:pt x="5383374" y="3428307"/>
                  </a:lnTo>
                  <a:lnTo>
                    <a:pt x="5389017" y="3457253"/>
                  </a:lnTo>
                  <a:lnTo>
                    <a:pt x="5412417" y="3475388"/>
                  </a:lnTo>
                  <a:lnTo>
                    <a:pt x="5447240" y="3475303"/>
                  </a:lnTo>
                  <a:lnTo>
                    <a:pt x="5479250" y="3481582"/>
                  </a:lnTo>
                  <a:lnTo>
                    <a:pt x="5489405" y="3502507"/>
                  </a:lnTo>
                  <a:lnTo>
                    <a:pt x="5495327" y="3555979"/>
                  </a:lnTo>
                  <a:lnTo>
                    <a:pt x="5493488" y="3596365"/>
                  </a:lnTo>
                  <a:lnTo>
                    <a:pt x="5489473" y="3635382"/>
                  </a:lnTo>
                  <a:lnTo>
                    <a:pt x="5481182" y="3666159"/>
                  </a:lnTo>
                  <a:lnTo>
                    <a:pt x="5395290" y="3701086"/>
                  </a:lnTo>
                  <a:lnTo>
                    <a:pt x="5364098" y="3709455"/>
                  </a:lnTo>
                  <a:lnTo>
                    <a:pt x="5343870" y="3729661"/>
                  </a:lnTo>
                  <a:lnTo>
                    <a:pt x="5323644" y="3749869"/>
                  </a:lnTo>
                  <a:lnTo>
                    <a:pt x="5315276" y="3781411"/>
                  </a:lnTo>
                  <a:lnTo>
                    <a:pt x="5288102" y="3846641"/>
                  </a:lnTo>
                  <a:lnTo>
                    <a:pt x="5278007" y="3870865"/>
                  </a:lnTo>
                  <a:lnTo>
                    <a:pt x="5264191" y="3894502"/>
                  </a:lnTo>
                  <a:lnTo>
                    <a:pt x="5254092" y="3918732"/>
                  </a:lnTo>
                  <a:lnTo>
                    <a:pt x="5243745" y="3943555"/>
                  </a:lnTo>
                  <a:lnTo>
                    <a:pt x="5236413" y="3964974"/>
                  </a:lnTo>
                  <a:lnTo>
                    <a:pt x="5220091" y="3988096"/>
                  </a:lnTo>
                  <a:lnTo>
                    <a:pt x="5196691" y="4021276"/>
                  </a:lnTo>
                  <a:lnTo>
                    <a:pt x="5170069" y="4033501"/>
                  </a:lnTo>
                  <a:lnTo>
                    <a:pt x="5143919" y="4042510"/>
                  </a:lnTo>
                  <a:lnTo>
                    <a:pt x="5117778" y="4051513"/>
                  </a:lnTo>
                  <a:lnTo>
                    <a:pt x="5091978" y="4057864"/>
                  </a:lnTo>
                  <a:lnTo>
                    <a:pt x="5069108" y="4079232"/>
                  </a:lnTo>
                  <a:lnTo>
                    <a:pt x="5045168" y="4101601"/>
                  </a:lnTo>
                  <a:lnTo>
                    <a:pt x="5033994" y="4127618"/>
                  </a:lnTo>
                  <a:lnTo>
                    <a:pt x="5018779" y="4149961"/>
                  </a:lnTo>
                  <a:lnTo>
                    <a:pt x="5002886" y="4171685"/>
                  </a:lnTo>
                  <a:lnTo>
                    <a:pt x="4980273" y="4188087"/>
                  </a:lnTo>
                  <a:lnTo>
                    <a:pt x="4946691" y="4197570"/>
                  </a:lnTo>
                  <a:lnTo>
                    <a:pt x="4906715" y="4230282"/>
                  </a:lnTo>
                  <a:lnTo>
                    <a:pt x="4887265" y="4292188"/>
                  </a:lnTo>
                  <a:lnTo>
                    <a:pt x="4851481" y="4330872"/>
                  </a:lnTo>
                  <a:lnTo>
                    <a:pt x="4824890" y="4345270"/>
                  </a:lnTo>
                  <a:lnTo>
                    <a:pt x="4793730" y="4351839"/>
                  </a:lnTo>
                  <a:lnTo>
                    <a:pt x="4772587" y="4368958"/>
                  </a:lnTo>
                  <a:lnTo>
                    <a:pt x="4723619" y="4476409"/>
                  </a:lnTo>
                  <a:lnTo>
                    <a:pt x="4708485" y="4508910"/>
                  </a:lnTo>
                  <a:lnTo>
                    <a:pt x="4661028" y="4560976"/>
                  </a:lnTo>
                  <a:lnTo>
                    <a:pt x="4655605" y="4587948"/>
                  </a:lnTo>
                  <a:lnTo>
                    <a:pt x="4647053" y="4630315"/>
                  </a:lnTo>
                  <a:lnTo>
                    <a:pt x="4652132" y="4657163"/>
                  </a:lnTo>
                  <a:lnTo>
                    <a:pt x="4654247" y="4684525"/>
                  </a:lnTo>
                  <a:lnTo>
                    <a:pt x="4656370" y="4711880"/>
                  </a:lnTo>
                  <a:lnTo>
                    <a:pt x="4655930" y="4740410"/>
                  </a:lnTo>
                  <a:lnTo>
                    <a:pt x="4633851" y="4785176"/>
                  </a:lnTo>
                  <a:lnTo>
                    <a:pt x="4609362" y="4793334"/>
                  </a:lnTo>
                  <a:lnTo>
                    <a:pt x="4563120" y="4782459"/>
                  </a:lnTo>
                  <a:lnTo>
                    <a:pt x="4541931" y="4753013"/>
                  </a:lnTo>
                  <a:lnTo>
                    <a:pt x="4534552" y="4732127"/>
                  </a:lnTo>
                  <a:lnTo>
                    <a:pt x="4527178" y="4711240"/>
                  </a:lnTo>
                  <a:lnTo>
                    <a:pt x="4519613" y="4690038"/>
                  </a:lnTo>
                  <a:lnTo>
                    <a:pt x="4484223" y="4669554"/>
                  </a:lnTo>
                  <a:lnTo>
                    <a:pt x="4445670" y="4678569"/>
                  </a:lnTo>
                  <a:lnTo>
                    <a:pt x="4428459" y="4706280"/>
                  </a:lnTo>
                  <a:lnTo>
                    <a:pt x="4420354" y="4739085"/>
                  </a:lnTo>
                  <a:lnTo>
                    <a:pt x="4399896" y="4759330"/>
                  </a:lnTo>
                  <a:lnTo>
                    <a:pt x="4338874" y="4772441"/>
                  </a:lnTo>
                  <a:lnTo>
                    <a:pt x="4316813" y="4753185"/>
                  </a:lnTo>
                  <a:lnTo>
                    <a:pt x="4297267" y="4718264"/>
                  </a:lnTo>
                  <a:lnTo>
                    <a:pt x="4264540" y="4709967"/>
                  </a:lnTo>
                  <a:lnTo>
                    <a:pt x="4239388" y="4734843"/>
                  </a:lnTo>
                  <a:lnTo>
                    <a:pt x="4217631" y="4767957"/>
                  </a:lnTo>
                  <a:lnTo>
                    <a:pt x="4205384" y="4785169"/>
                  </a:lnTo>
                  <a:lnTo>
                    <a:pt x="4193140" y="4802389"/>
                  </a:lnTo>
                  <a:lnTo>
                    <a:pt x="4177699" y="4818151"/>
                  </a:lnTo>
                  <a:lnTo>
                    <a:pt x="4156420" y="4825979"/>
                  </a:lnTo>
                  <a:lnTo>
                    <a:pt x="4135137" y="4833800"/>
                  </a:lnTo>
                  <a:lnTo>
                    <a:pt x="4108209" y="4834242"/>
                  </a:lnTo>
                  <a:lnTo>
                    <a:pt x="4069364" y="4820539"/>
                  </a:lnTo>
                  <a:lnTo>
                    <a:pt x="4038349" y="4840672"/>
                  </a:lnTo>
                  <a:lnTo>
                    <a:pt x="4024480" y="4858623"/>
                  </a:lnTo>
                  <a:lnTo>
                    <a:pt x="4010605" y="4876568"/>
                  </a:lnTo>
                  <a:lnTo>
                    <a:pt x="3993161" y="4895515"/>
                  </a:lnTo>
                  <a:lnTo>
                    <a:pt x="3957833" y="4902149"/>
                  </a:lnTo>
                  <a:lnTo>
                    <a:pt x="3920242" y="4858056"/>
                  </a:lnTo>
                  <a:lnTo>
                    <a:pt x="3900702" y="4817815"/>
                  </a:lnTo>
                  <a:lnTo>
                    <a:pt x="3881159" y="4777578"/>
                  </a:lnTo>
                  <a:lnTo>
                    <a:pt x="3859886" y="4735483"/>
                  </a:lnTo>
                  <a:lnTo>
                    <a:pt x="3834052" y="4718522"/>
                  </a:lnTo>
                  <a:lnTo>
                    <a:pt x="3806757" y="4709835"/>
                  </a:lnTo>
                  <a:lnTo>
                    <a:pt x="3779729" y="4719055"/>
                  </a:lnTo>
                  <a:lnTo>
                    <a:pt x="3753799" y="4736209"/>
                  </a:lnTo>
                  <a:lnTo>
                    <a:pt x="3728126" y="4753217"/>
                  </a:lnTo>
                  <a:lnTo>
                    <a:pt x="3703303" y="4760003"/>
                  </a:lnTo>
                  <a:lnTo>
                    <a:pt x="3678985" y="4747090"/>
                  </a:lnTo>
                  <a:lnTo>
                    <a:pt x="3617780" y="4685883"/>
                  </a:lnTo>
                  <a:lnTo>
                    <a:pt x="3591440" y="4697081"/>
                  </a:lnTo>
                  <a:lnTo>
                    <a:pt x="3573779" y="4739737"/>
                  </a:lnTo>
                  <a:lnTo>
                    <a:pt x="3555207" y="4779735"/>
                  </a:lnTo>
                  <a:lnTo>
                    <a:pt x="3536643" y="4819740"/>
                  </a:lnTo>
                  <a:lnTo>
                    <a:pt x="3516573" y="4857192"/>
                  </a:lnTo>
                  <a:lnTo>
                    <a:pt x="3484476" y="4855913"/>
                  </a:lnTo>
                  <a:lnTo>
                    <a:pt x="3459364" y="4822872"/>
                  </a:lnTo>
                  <a:lnTo>
                    <a:pt x="3434150" y="4811021"/>
                  </a:lnTo>
                  <a:lnTo>
                    <a:pt x="3408946" y="4799177"/>
                  </a:lnTo>
                  <a:lnTo>
                    <a:pt x="3380839" y="4789007"/>
                  </a:lnTo>
                  <a:lnTo>
                    <a:pt x="3364778" y="4772935"/>
                  </a:lnTo>
                  <a:lnTo>
                    <a:pt x="3344956" y="4789680"/>
                  </a:lnTo>
                  <a:lnTo>
                    <a:pt x="3335050" y="4825490"/>
                  </a:lnTo>
                  <a:lnTo>
                    <a:pt x="3299746" y="4837414"/>
                  </a:lnTo>
                  <a:lnTo>
                    <a:pt x="3158096" y="4889784"/>
                  </a:lnTo>
                  <a:lnTo>
                    <a:pt x="3138693" y="4860345"/>
                  </a:lnTo>
                  <a:lnTo>
                    <a:pt x="3130364" y="4821435"/>
                  </a:lnTo>
                  <a:lnTo>
                    <a:pt x="3110428" y="4798774"/>
                  </a:lnTo>
                  <a:lnTo>
                    <a:pt x="3092698" y="4778608"/>
                  </a:lnTo>
                  <a:lnTo>
                    <a:pt x="3064499" y="4756851"/>
                  </a:lnTo>
                  <a:lnTo>
                    <a:pt x="3032891" y="4744367"/>
                  </a:lnTo>
                  <a:lnTo>
                    <a:pt x="2999579" y="4733347"/>
                  </a:lnTo>
                  <a:lnTo>
                    <a:pt x="2968275" y="4733617"/>
                  </a:lnTo>
                  <a:lnTo>
                    <a:pt x="2940398" y="4747090"/>
                  </a:lnTo>
                  <a:lnTo>
                    <a:pt x="2908096" y="4797884"/>
                  </a:lnTo>
                  <a:lnTo>
                    <a:pt x="2892828" y="4839848"/>
                  </a:lnTo>
                  <a:lnTo>
                    <a:pt x="2893204" y="4864097"/>
                  </a:lnTo>
                  <a:lnTo>
                    <a:pt x="2894152" y="4888552"/>
                  </a:lnTo>
                  <a:lnTo>
                    <a:pt x="2895104" y="4912998"/>
                  </a:lnTo>
                  <a:lnTo>
                    <a:pt x="2896813" y="4936978"/>
                  </a:lnTo>
                  <a:lnTo>
                    <a:pt x="2892794" y="4961998"/>
                  </a:lnTo>
                  <a:lnTo>
                    <a:pt x="2888587" y="4988121"/>
                  </a:lnTo>
                  <a:lnTo>
                    <a:pt x="2870334" y="5011434"/>
                  </a:lnTo>
                  <a:lnTo>
                    <a:pt x="2864232" y="5038170"/>
                  </a:lnTo>
                  <a:lnTo>
                    <a:pt x="2840723" y="5141228"/>
                  </a:lnTo>
                  <a:lnTo>
                    <a:pt x="2818793" y="5243879"/>
                  </a:lnTo>
                  <a:lnTo>
                    <a:pt x="2793501" y="5346936"/>
                  </a:lnTo>
                  <a:lnTo>
                    <a:pt x="2770216" y="5366755"/>
                  </a:lnTo>
                  <a:lnTo>
                    <a:pt x="2732296" y="5370059"/>
                  </a:lnTo>
                  <a:lnTo>
                    <a:pt x="2695002" y="5367783"/>
                  </a:lnTo>
                  <a:lnTo>
                    <a:pt x="2693101" y="5322218"/>
                  </a:lnTo>
                  <a:lnTo>
                    <a:pt x="2688636" y="5273806"/>
                  </a:lnTo>
                  <a:lnTo>
                    <a:pt x="2690128" y="5235397"/>
                  </a:lnTo>
                  <a:lnTo>
                    <a:pt x="2644537" y="5212288"/>
                  </a:lnTo>
                  <a:lnTo>
                    <a:pt x="2480047" y="5185335"/>
                  </a:lnTo>
                  <a:lnTo>
                    <a:pt x="2324234" y="5157867"/>
                  </a:lnTo>
                  <a:lnTo>
                    <a:pt x="2246322" y="5144136"/>
                  </a:lnTo>
                  <a:lnTo>
                    <a:pt x="2169781" y="5130551"/>
                  </a:lnTo>
                  <a:lnTo>
                    <a:pt x="2112045" y="5117065"/>
                  </a:lnTo>
                  <a:lnTo>
                    <a:pt x="2054294" y="5103579"/>
                  </a:lnTo>
                  <a:lnTo>
                    <a:pt x="2014432" y="5089966"/>
                  </a:lnTo>
                  <a:lnTo>
                    <a:pt x="2001838" y="5059643"/>
                  </a:lnTo>
                  <a:lnTo>
                    <a:pt x="2008662" y="5025929"/>
                  </a:lnTo>
                  <a:lnTo>
                    <a:pt x="2023796" y="4994987"/>
                  </a:lnTo>
                  <a:lnTo>
                    <a:pt x="2055928" y="4949080"/>
                  </a:lnTo>
                  <a:lnTo>
                    <a:pt x="2081148" y="4918750"/>
                  </a:lnTo>
                  <a:lnTo>
                    <a:pt x="2082115" y="4885828"/>
                  </a:lnTo>
                  <a:lnTo>
                    <a:pt x="2037296" y="4867956"/>
                  </a:lnTo>
                  <a:lnTo>
                    <a:pt x="2004588" y="4855907"/>
                  </a:lnTo>
                  <a:lnTo>
                    <a:pt x="1971871" y="4843850"/>
                  </a:lnTo>
                  <a:lnTo>
                    <a:pt x="1938564" y="4834598"/>
                  </a:lnTo>
                  <a:lnTo>
                    <a:pt x="1911236" y="4869229"/>
                  </a:lnTo>
                  <a:lnTo>
                    <a:pt x="1924116" y="4897388"/>
                  </a:lnTo>
                  <a:lnTo>
                    <a:pt x="1912095" y="4923914"/>
                  </a:lnTo>
                  <a:lnTo>
                    <a:pt x="1833197" y="4934795"/>
                  </a:lnTo>
                  <a:lnTo>
                    <a:pt x="1812287" y="4949738"/>
                  </a:lnTo>
                  <a:lnTo>
                    <a:pt x="1793305" y="4991458"/>
                  </a:lnTo>
                  <a:lnTo>
                    <a:pt x="1795113" y="5017772"/>
                  </a:lnTo>
                  <a:lnTo>
                    <a:pt x="1817877" y="5049698"/>
                  </a:lnTo>
                  <a:lnTo>
                    <a:pt x="1829117" y="5070815"/>
                  </a:lnTo>
                  <a:lnTo>
                    <a:pt x="1840353" y="5091931"/>
                  </a:lnTo>
                  <a:lnTo>
                    <a:pt x="1849243" y="5114513"/>
                  </a:lnTo>
                  <a:lnTo>
                    <a:pt x="1837281" y="5145627"/>
                  </a:lnTo>
                  <a:lnTo>
                    <a:pt x="1810498" y="5150494"/>
                  </a:lnTo>
                  <a:lnTo>
                    <a:pt x="1784800" y="5131355"/>
                  </a:lnTo>
                  <a:lnTo>
                    <a:pt x="1761177" y="5113431"/>
                  </a:lnTo>
                  <a:lnTo>
                    <a:pt x="1736623" y="5102101"/>
                  </a:lnTo>
                  <a:lnTo>
                    <a:pt x="1712485" y="5091548"/>
                  </a:lnTo>
                  <a:lnTo>
                    <a:pt x="1687311" y="5090890"/>
                  </a:lnTo>
                  <a:lnTo>
                    <a:pt x="1663176" y="5102101"/>
                  </a:lnTo>
                  <a:lnTo>
                    <a:pt x="1653651" y="5121140"/>
                  </a:lnTo>
                  <a:lnTo>
                    <a:pt x="1609254" y="5114025"/>
                  </a:lnTo>
                  <a:lnTo>
                    <a:pt x="1597140" y="5089921"/>
                  </a:lnTo>
                  <a:lnTo>
                    <a:pt x="1573399" y="5072173"/>
                  </a:lnTo>
                  <a:lnTo>
                    <a:pt x="1543708" y="5077311"/>
                  </a:lnTo>
                  <a:lnTo>
                    <a:pt x="1524202" y="5094240"/>
                  </a:lnTo>
                  <a:lnTo>
                    <a:pt x="1510832" y="5118423"/>
                  </a:lnTo>
                  <a:lnTo>
                    <a:pt x="1498678" y="5143978"/>
                  </a:lnTo>
                  <a:lnTo>
                    <a:pt x="1490151" y="5174539"/>
                  </a:lnTo>
                  <a:lnTo>
                    <a:pt x="1470022" y="5193235"/>
                  </a:lnTo>
                  <a:lnTo>
                    <a:pt x="1437262" y="5204836"/>
                  </a:lnTo>
                  <a:lnTo>
                    <a:pt x="1412386" y="5209822"/>
                  </a:lnTo>
                  <a:lnTo>
                    <a:pt x="1381104" y="5204315"/>
                  </a:lnTo>
                  <a:lnTo>
                    <a:pt x="1348969" y="5198671"/>
                  </a:lnTo>
                  <a:lnTo>
                    <a:pt x="1316832" y="5192998"/>
                  </a:lnTo>
                  <a:lnTo>
                    <a:pt x="1283587" y="5187848"/>
                  </a:lnTo>
                  <a:lnTo>
                    <a:pt x="1257834" y="5197311"/>
                  </a:lnTo>
                  <a:lnTo>
                    <a:pt x="1243831" y="5230748"/>
                  </a:lnTo>
                  <a:lnTo>
                    <a:pt x="1215263" y="5251270"/>
                  </a:lnTo>
                  <a:lnTo>
                    <a:pt x="1189825" y="5265324"/>
                  </a:lnTo>
                  <a:lnTo>
                    <a:pt x="1164382" y="5279379"/>
                  </a:lnTo>
                  <a:lnTo>
                    <a:pt x="1142495" y="5286937"/>
                  </a:lnTo>
                  <a:lnTo>
                    <a:pt x="1127169" y="5336437"/>
                  </a:lnTo>
                  <a:lnTo>
                    <a:pt x="1116729" y="5367098"/>
                  </a:lnTo>
                  <a:lnTo>
                    <a:pt x="1102773" y="5395904"/>
                  </a:lnTo>
                  <a:lnTo>
                    <a:pt x="1088818" y="5424709"/>
                  </a:lnTo>
                  <a:lnTo>
                    <a:pt x="1070385" y="5451255"/>
                  </a:lnTo>
                  <a:lnTo>
                    <a:pt x="1040207" y="5481597"/>
                  </a:lnTo>
                  <a:lnTo>
                    <a:pt x="1018267" y="5501046"/>
                  </a:lnTo>
                  <a:lnTo>
                    <a:pt x="996851" y="5519274"/>
                  </a:lnTo>
                  <a:lnTo>
                    <a:pt x="978995" y="5542805"/>
                  </a:lnTo>
                  <a:lnTo>
                    <a:pt x="976211" y="5583779"/>
                  </a:lnTo>
                  <a:lnTo>
                    <a:pt x="981711" y="5608095"/>
                  </a:lnTo>
                  <a:lnTo>
                    <a:pt x="987218" y="5632410"/>
                  </a:lnTo>
                  <a:lnTo>
                    <a:pt x="992349" y="5657874"/>
                  </a:lnTo>
                  <a:lnTo>
                    <a:pt x="978995" y="5678826"/>
                  </a:lnTo>
                  <a:lnTo>
                    <a:pt x="957871" y="5680816"/>
                  </a:lnTo>
                  <a:lnTo>
                    <a:pt x="924586" y="5670667"/>
                  </a:lnTo>
                  <a:lnTo>
                    <a:pt x="892185" y="5658974"/>
                  </a:lnTo>
                  <a:lnTo>
                    <a:pt x="856460" y="5657959"/>
                  </a:lnTo>
                  <a:lnTo>
                    <a:pt x="823935" y="5665227"/>
                  </a:lnTo>
                  <a:lnTo>
                    <a:pt x="793276" y="5673931"/>
                  </a:lnTo>
                  <a:lnTo>
                    <a:pt x="761290" y="5678382"/>
                  </a:lnTo>
                  <a:lnTo>
                    <a:pt x="727358" y="5681548"/>
                  </a:lnTo>
                  <a:lnTo>
                    <a:pt x="694913" y="5682821"/>
                  </a:lnTo>
                  <a:lnTo>
                    <a:pt x="656022" y="5686218"/>
                  </a:lnTo>
                  <a:lnTo>
                    <a:pt x="634616" y="5684199"/>
                  </a:lnTo>
                  <a:lnTo>
                    <a:pt x="597031" y="5670733"/>
                  </a:lnTo>
                  <a:lnTo>
                    <a:pt x="564133" y="5647539"/>
                  </a:lnTo>
                  <a:lnTo>
                    <a:pt x="531813" y="5622801"/>
                  </a:lnTo>
                  <a:lnTo>
                    <a:pt x="503204" y="5589530"/>
                  </a:lnTo>
                  <a:lnTo>
                    <a:pt x="475723" y="5560486"/>
                  </a:lnTo>
                  <a:lnTo>
                    <a:pt x="467559" y="5533283"/>
                  </a:lnTo>
                  <a:lnTo>
                    <a:pt x="469380" y="5512014"/>
                  </a:lnTo>
                  <a:lnTo>
                    <a:pt x="491418" y="5491853"/>
                  </a:lnTo>
                  <a:lnTo>
                    <a:pt x="514428" y="5482211"/>
                  </a:lnTo>
                  <a:lnTo>
                    <a:pt x="536932" y="5477509"/>
                  </a:lnTo>
                  <a:lnTo>
                    <a:pt x="545248" y="5450009"/>
                  </a:lnTo>
                  <a:lnTo>
                    <a:pt x="532842" y="5427184"/>
                  </a:lnTo>
                  <a:lnTo>
                    <a:pt x="515801" y="5407300"/>
                  </a:lnTo>
                  <a:lnTo>
                    <a:pt x="487778" y="5395997"/>
                  </a:lnTo>
                  <a:lnTo>
                    <a:pt x="453954" y="5412227"/>
                  </a:lnTo>
                  <a:lnTo>
                    <a:pt x="433251" y="5415695"/>
                  </a:lnTo>
                  <a:lnTo>
                    <a:pt x="406642" y="5408751"/>
                  </a:lnTo>
                  <a:lnTo>
                    <a:pt x="372340" y="5385022"/>
                  </a:lnTo>
                  <a:lnTo>
                    <a:pt x="337006" y="5401852"/>
                  </a:lnTo>
                  <a:lnTo>
                    <a:pt x="315209" y="5421742"/>
                  </a:lnTo>
                  <a:lnTo>
                    <a:pt x="293421" y="5441639"/>
                  </a:lnTo>
                  <a:lnTo>
                    <a:pt x="273497" y="5464550"/>
                  </a:lnTo>
                  <a:lnTo>
                    <a:pt x="270325" y="5491115"/>
                  </a:lnTo>
                  <a:lnTo>
                    <a:pt x="282250" y="5508867"/>
                  </a:lnTo>
                  <a:lnTo>
                    <a:pt x="300509" y="5521445"/>
                  </a:lnTo>
                  <a:lnTo>
                    <a:pt x="320651" y="5533283"/>
                  </a:lnTo>
                  <a:lnTo>
                    <a:pt x="340792" y="5545119"/>
                  </a:lnTo>
                  <a:lnTo>
                    <a:pt x="362831" y="5555936"/>
                  </a:lnTo>
                  <a:lnTo>
                    <a:pt x="381865" y="5567285"/>
                  </a:lnTo>
                  <a:lnTo>
                    <a:pt x="400897" y="5578635"/>
                  </a:lnTo>
                  <a:lnTo>
                    <a:pt x="426750" y="5606729"/>
                  </a:lnTo>
                  <a:lnTo>
                    <a:pt x="435192" y="5644017"/>
                  </a:lnTo>
                  <a:lnTo>
                    <a:pt x="424033" y="5670660"/>
                  </a:lnTo>
                  <a:lnTo>
                    <a:pt x="392166" y="5687833"/>
                  </a:lnTo>
                  <a:lnTo>
                    <a:pt x="379571" y="5705627"/>
                  </a:lnTo>
                  <a:lnTo>
                    <a:pt x="373286" y="5741786"/>
                  </a:lnTo>
                  <a:lnTo>
                    <a:pt x="390029" y="5778117"/>
                  </a:lnTo>
                  <a:lnTo>
                    <a:pt x="400357" y="5796662"/>
                  </a:lnTo>
                  <a:lnTo>
                    <a:pt x="414121" y="5815314"/>
                  </a:lnTo>
                  <a:lnTo>
                    <a:pt x="431227" y="5852455"/>
                  </a:lnTo>
                  <a:lnTo>
                    <a:pt x="426750" y="5889650"/>
                  </a:lnTo>
                  <a:lnTo>
                    <a:pt x="405858" y="5903890"/>
                  </a:lnTo>
                  <a:lnTo>
                    <a:pt x="372415" y="5915252"/>
                  </a:lnTo>
                  <a:lnTo>
                    <a:pt x="342414" y="5929102"/>
                  </a:lnTo>
                  <a:lnTo>
                    <a:pt x="312422" y="5942945"/>
                  </a:lnTo>
                  <a:lnTo>
                    <a:pt x="286336" y="5958364"/>
                  </a:lnTo>
                  <a:lnTo>
                    <a:pt x="281208" y="5982144"/>
                  </a:lnTo>
                  <a:lnTo>
                    <a:pt x="286253" y="6005623"/>
                  </a:lnTo>
                  <a:lnTo>
                    <a:pt x="292128" y="6025868"/>
                  </a:lnTo>
                  <a:lnTo>
                    <a:pt x="302931" y="6066289"/>
                  </a:lnTo>
                  <a:lnTo>
                    <a:pt x="307039" y="6087069"/>
                  </a:lnTo>
                  <a:lnTo>
                    <a:pt x="305687" y="6112723"/>
                  </a:lnTo>
                  <a:lnTo>
                    <a:pt x="276083" y="6137494"/>
                  </a:lnTo>
                  <a:lnTo>
                    <a:pt x="255362" y="6145368"/>
                  </a:lnTo>
                  <a:lnTo>
                    <a:pt x="234640" y="6153250"/>
                  </a:lnTo>
                  <a:lnTo>
                    <a:pt x="212580" y="6159751"/>
                  </a:lnTo>
                  <a:lnTo>
                    <a:pt x="192023" y="6169413"/>
                  </a:lnTo>
                  <a:lnTo>
                    <a:pt x="173016" y="6184773"/>
                  </a:lnTo>
                  <a:lnTo>
                    <a:pt x="150773" y="6197831"/>
                  </a:lnTo>
                  <a:lnTo>
                    <a:pt x="115258" y="6216098"/>
                  </a:lnTo>
                  <a:lnTo>
                    <a:pt x="80380" y="6236319"/>
                  </a:lnTo>
                  <a:lnTo>
                    <a:pt x="38197" y="6273962"/>
                  </a:lnTo>
                  <a:lnTo>
                    <a:pt x="16778" y="6305994"/>
                  </a:lnTo>
                  <a:lnTo>
                    <a:pt x="6443" y="6341236"/>
                  </a:lnTo>
                  <a:lnTo>
                    <a:pt x="0" y="6377602"/>
                  </a:lnTo>
                  <a:lnTo>
                    <a:pt x="2013" y="6413696"/>
                  </a:lnTo>
                  <a:lnTo>
                    <a:pt x="14607" y="6448694"/>
                  </a:lnTo>
                  <a:lnTo>
                    <a:pt x="28073" y="6472153"/>
                  </a:lnTo>
                  <a:lnTo>
                    <a:pt x="47384" y="6493249"/>
                  </a:lnTo>
                  <a:lnTo>
                    <a:pt x="71739" y="6505819"/>
                  </a:lnTo>
                  <a:lnTo>
                    <a:pt x="99610" y="6514017"/>
                  </a:lnTo>
                  <a:lnTo>
                    <a:pt x="130017" y="6512045"/>
                  </a:lnTo>
                  <a:lnTo>
                    <a:pt x="160152" y="6511260"/>
                  </a:lnTo>
                  <a:lnTo>
                    <a:pt x="190277" y="6510482"/>
                  </a:lnTo>
                  <a:lnTo>
                    <a:pt x="219618" y="6511062"/>
                  </a:lnTo>
                  <a:lnTo>
                    <a:pt x="244479" y="6523508"/>
                  </a:lnTo>
                  <a:lnTo>
                    <a:pt x="274598" y="6558947"/>
                  </a:lnTo>
                  <a:lnTo>
                    <a:pt x="288005" y="6588797"/>
                  </a:lnTo>
                  <a:lnTo>
                    <a:pt x="301415" y="6618638"/>
                  </a:lnTo>
                  <a:lnTo>
                    <a:pt x="310896" y="6651066"/>
                  </a:lnTo>
                  <a:lnTo>
                    <a:pt x="297530" y="6671767"/>
                  </a:lnTo>
                  <a:lnTo>
                    <a:pt x="263308" y="6678915"/>
                  </a:lnTo>
                  <a:lnTo>
                    <a:pt x="228374" y="6686381"/>
                  </a:lnTo>
                  <a:lnTo>
                    <a:pt x="202311" y="6701687"/>
                  </a:lnTo>
                  <a:lnTo>
                    <a:pt x="190817" y="6722350"/>
                  </a:lnTo>
                  <a:lnTo>
                    <a:pt x="194153" y="6756103"/>
                  </a:lnTo>
                  <a:lnTo>
                    <a:pt x="199219" y="6785555"/>
                  </a:lnTo>
                  <a:lnTo>
                    <a:pt x="187164" y="6806864"/>
                  </a:lnTo>
                  <a:lnTo>
                    <a:pt x="166951" y="6820027"/>
                  </a:lnTo>
                  <a:lnTo>
                    <a:pt x="148004" y="6834819"/>
                  </a:lnTo>
                  <a:lnTo>
                    <a:pt x="147008" y="6864510"/>
                  </a:lnTo>
                  <a:lnTo>
                    <a:pt x="172365" y="6877633"/>
                  </a:lnTo>
                  <a:lnTo>
                    <a:pt x="200952" y="6893480"/>
                  </a:lnTo>
                  <a:lnTo>
                    <a:pt x="229549" y="6909321"/>
                  </a:lnTo>
                  <a:lnTo>
                    <a:pt x="262087" y="6927016"/>
                  </a:lnTo>
                  <a:lnTo>
                    <a:pt x="279847" y="6957411"/>
                  </a:lnTo>
                  <a:lnTo>
                    <a:pt x="300584" y="6970344"/>
                  </a:lnTo>
                  <a:lnTo>
                    <a:pt x="326520" y="6955605"/>
                  </a:lnTo>
                  <a:lnTo>
                    <a:pt x="356019" y="6957411"/>
                  </a:lnTo>
                  <a:lnTo>
                    <a:pt x="386572" y="6964191"/>
                  </a:lnTo>
                  <a:lnTo>
                    <a:pt x="402270" y="6979168"/>
                  </a:lnTo>
                  <a:lnTo>
                    <a:pt x="417959" y="6994152"/>
                  </a:lnTo>
                  <a:lnTo>
                    <a:pt x="434070" y="7017749"/>
                  </a:lnTo>
                  <a:lnTo>
                    <a:pt x="449871" y="7058064"/>
                  </a:lnTo>
                  <a:lnTo>
                    <a:pt x="460859" y="7082312"/>
                  </a:lnTo>
                  <a:lnTo>
                    <a:pt x="468825" y="7104543"/>
                  </a:lnTo>
                  <a:lnTo>
                    <a:pt x="466195" y="7130153"/>
                  </a:lnTo>
                  <a:lnTo>
                    <a:pt x="436352" y="7156050"/>
                  </a:lnTo>
                  <a:lnTo>
                    <a:pt x="414502" y="7168237"/>
                  </a:lnTo>
                  <a:lnTo>
                    <a:pt x="392662" y="7180426"/>
                  </a:lnTo>
                  <a:lnTo>
                    <a:pt x="371906" y="7192361"/>
                  </a:lnTo>
                  <a:lnTo>
                    <a:pt x="390175" y="7278426"/>
                  </a:lnTo>
                  <a:lnTo>
                    <a:pt x="397700" y="7311887"/>
                  </a:lnTo>
                  <a:lnTo>
                    <a:pt x="418586" y="7331461"/>
                  </a:lnTo>
                  <a:lnTo>
                    <a:pt x="439471" y="7351042"/>
                  </a:lnTo>
                  <a:lnTo>
                    <a:pt x="473587" y="7356140"/>
                  </a:lnTo>
                  <a:lnTo>
                    <a:pt x="545090" y="7372271"/>
                  </a:lnTo>
                  <a:lnTo>
                    <a:pt x="557935" y="7399884"/>
                  </a:lnTo>
                  <a:lnTo>
                    <a:pt x="562769" y="7422597"/>
                  </a:lnTo>
                  <a:lnTo>
                    <a:pt x="567597" y="7445309"/>
                  </a:lnTo>
                  <a:lnTo>
                    <a:pt x="571454" y="7470000"/>
                  </a:lnTo>
                  <a:lnTo>
                    <a:pt x="576930" y="7494264"/>
                  </a:lnTo>
                  <a:lnTo>
                    <a:pt x="584532" y="7524614"/>
                  </a:lnTo>
                  <a:lnTo>
                    <a:pt x="592163" y="7554810"/>
                  </a:lnTo>
                  <a:lnTo>
                    <a:pt x="596851" y="7591228"/>
                  </a:lnTo>
                  <a:lnTo>
                    <a:pt x="595902" y="7641475"/>
                  </a:lnTo>
                  <a:lnTo>
                    <a:pt x="599496" y="7689196"/>
                  </a:lnTo>
                  <a:lnTo>
                    <a:pt x="601291" y="7713057"/>
                  </a:lnTo>
                  <a:lnTo>
                    <a:pt x="604125" y="7736739"/>
                  </a:lnTo>
                  <a:lnTo>
                    <a:pt x="613901" y="7774955"/>
                  </a:lnTo>
                  <a:lnTo>
                    <a:pt x="630777" y="7796653"/>
                  </a:lnTo>
                  <a:lnTo>
                    <a:pt x="665209" y="7811499"/>
                  </a:lnTo>
                  <a:lnTo>
                    <a:pt x="720936" y="7815996"/>
                  </a:lnTo>
                  <a:lnTo>
                    <a:pt x="777677" y="7815692"/>
                  </a:lnTo>
                  <a:lnTo>
                    <a:pt x="834421" y="7815362"/>
                  </a:lnTo>
                  <a:lnTo>
                    <a:pt x="892033" y="7809764"/>
                  </a:lnTo>
                  <a:lnTo>
                    <a:pt x="931379" y="7804811"/>
                  </a:lnTo>
                  <a:lnTo>
                    <a:pt x="943627" y="7827932"/>
                  </a:lnTo>
                  <a:lnTo>
                    <a:pt x="948941" y="7851654"/>
                  </a:lnTo>
                  <a:lnTo>
                    <a:pt x="951704" y="7882722"/>
                  </a:lnTo>
                  <a:lnTo>
                    <a:pt x="982396" y="7904868"/>
                  </a:lnTo>
                  <a:lnTo>
                    <a:pt x="1017061" y="7915585"/>
                  </a:lnTo>
                  <a:lnTo>
                    <a:pt x="1044284" y="7932673"/>
                  </a:lnTo>
                  <a:lnTo>
                    <a:pt x="1049716" y="7958511"/>
                  </a:lnTo>
                  <a:lnTo>
                    <a:pt x="1028021" y="7987793"/>
                  </a:lnTo>
                  <a:lnTo>
                    <a:pt x="1002504" y="7997494"/>
                  </a:lnTo>
                  <a:lnTo>
                    <a:pt x="978995" y="8008843"/>
                  </a:lnTo>
                  <a:lnTo>
                    <a:pt x="955477" y="8020187"/>
                  </a:lnTo>
                  <a:lnTo>
                    <a:pt x="933990" y="8033970"/>
                  </a:lnTo>
                  <a:lnTo>
                    <a:pt x="920502" y="8057811"/>
                  </a:lnTo>
                  <a:lnTo>
                    <a:pt x="915064" y="8080933"/>
                  </a:lnTo>
                  <a:lnTo>
                    <a:pt x="916422" y="8104054"/>
                  </a:lnTo>
                  <a:lnTo>
                    <a:pt x="918540" y="8125481"/>
                  </a:lnTo>
                  <a:lnTo>
                    <a:pt x="934102" y="8161186"/>
                  </a:lnTo>
                  <a:lnTo>
                    <a:pt x="955530" y="8192736"/>
                  </a:lnTo>
                  <a:lnTo>
                    <a:pt x="997347" y="8232741"/>
                  </a:lnTo>
                  <a:lnTo>
                    <a:pt x="1032182" y="8253621"/>
                  </a:lnTo>
                  <a:lnTo>
                    <a:pt x="1064683" y="8275442"/>
                  </a:lnTo>
                  <a:lnTo>
                    <a:pt x="1085574" y="8289800"/>
                  </a:lnTo>
                  <a:lnTo>
                    <a:pt x="1109071" y="8304613"/>
                  </a:lnTo>
                  <a:lnTo>
                    <a:pt x="1132688" y="8316246"/>
                  </a:lnTo>
                  <a:lnTo>
                    <a:pt x="1155369" y="8324714"/>
                  </a:lnTo>
                  <a:lnTo>
                    <a:pt x="1178911" y="8331737"/>
                  </a:lnTo>
                  <a:lnTo>
                    <a:pt x="1202060" y="8339367"/>
                  </a:lnTo>
                  <a:lnTo>
                    <a:pt x="1225206" y="8347004"/>
                  </a:lnTo>
                  <a:lnTo>
                    <a:pt x="1248501" y="8354734"/>
                  </a:lnTo>
                  <a:lnTo>
                    <a:pt x="1271433" y="8362496"/>
                  </a:lnTo>
                  <a:lnTo>
                    <a:pt x="1299751" y="8403872"/>
                  </a:lnTo>
                  <a:lnTo>
                    <a:pt x="1288809" y="8435554"/>
                  </a:lnTo>
                  <a:lnTo>
                    <a:pt x="1283677" y="8479469"/>
                  </a:lnTo>
                  <a:lnTo>
                    <a:pt x="1281113" y="8501424"/>
                  </a:lnTo>
                  <a:lnTo>
                    <a:pt x="1280670" y="8526162"/>
                  </a:lnTo>
                  <a:lnTo>
                    <a:pt x="1285038" y="8555641"/>
                  </a:lnTo>
                  <a:lnTo>
                    <a:pt x="1289404" y="8585120"/>
                  </a:lnTo>
                  <a:lnTo>
                    <a:pt x="1298675" y="8619242"/>
                  </a:lnTo>
                  <a:lnTo>
                    <a:pt x="1317681" y="8659016"/>
                  </a:lnTo>
                  <a:lnTo>
                    <a:pt x="1332105" y="8691040"/>
                  </a:lnTo>
                  <a:lnTo>
                    <a:pt x="1349503" y="8724925"/>
                  </a:lnTo>
                  <a:lnTo>
                    <a:pt x="1369365" y="8754233"/>
                  </a:lnTo>
                  <a:lnTo>
                    <a:pt x="1402011" y="8795036"/>
                  </a:lnTo>
                  <a:lnTo>
                    <a:pt x="1433296" y="8834480"/>
                  </a:lnTo>
                  <a:lnTo>
                    <a:pt x="1460553" y="8868403"/>
                  </a:lnTo>
                  <a:lnTo>
                    <a:pt x="1472742" y="8890253"/>
                  </a:lnTo>
                  <a:lnTo>
                    <a:pt x="1484936" y="8912101"/>
                  </a:lnTo>
                  <a:lnTo>
                    <a:pt x="1495308" y="8936233"/>
                  </a:lnTo>
                  <a:lnTo>
                    <a:pt x="1500566" y="8967208"/>
                  </a:lnTo>
                  <a:lnTo>
                    <a:pt x="1505384" y="8992262"/>
                  </a:lnTo>
                  <a:lnTo>
                    <a:pt x="1510265" y="9018662"/>
                  </a:lnTo>
                  <a:lnTo>
                    <a:pt x="1511663" y="9047784"/>
                  </a:lnTo>
                  <a:lnTo>
                    <a:pt x="1503921" y="9077976"/>
                  </a:lnTo>
                  <a:lnTo>
                    <a:pt x="1490421" y="9105161"/>
                  </a:lnTo>
                  <a:lnTo>
                    <a:pt x="1476927" y="9132345"/>
                  </a:lnTo>
                  <a:lnTo>
                    <a:pt x="1457217" y="9155817"/>
                  </a:lnTo>
                  <a:lnTo>
                    <a:pt x="1436021" y="9159568"/>
                  </a:lnTo>
                  <a:lnTo>
                    <a:pt x="1406991" y="9172053"/>
                  </a:lnTo>
                  <a:lnTo>
                    <a:pt x="1397934" y="9209902"/>
                  </a:lnTo>
                  <a:lnTo>
                    <a:pt x="1387020" y="9248217"/>
                  </a:lnTo>
                  <a:lnTo>
                    <a:pt x="1372097" y="9265673"/>
                  </a:lnTo>
                  <a:lnTo>
                    <a:pt x="1353899" y="9286936"/>
                  </a:lnTo>
                  <a:lnTo>
                    <a:pt x="1320115" y="9310217"/>
                  </a:lnTo>
                  <a:lnTo>
                    <a:pt x="1295924" y="9336404"/>
                  </a:lnTo>
                  <a:lnTo>
                    <a:pt x="1273616" y="9363047"/>
                  </a:lnTo>
                  <a:lnTo>
                    <a:pt x="1266543" y="9394090"/>
                  </a:lnTo>
                  <a:lnTo>
                    <a:pt x="1280961" y="9430257"/>
                  </a:lnTo>
                  <a:lnTo>
                    <a:pt x="1328115" y="9435276"/>
                  </a:lnTo>
                  <a:lnTo>
                    <a:pt x="1359849" y="9423458"/>
                  </a:lnTo>
                  <a:lnTo>
                    <a:pt x="1391584" y="9411632"/>
                  </a:lnTo>
                  <a:lnTo>
                    <a:pt x="1422317" y="9395039"/>
                  </a:lnTo>
                  <a:lnTo>
                    <a:pt x="1472267" y="9368456"/>
                  </a:lnTo>
                  <a:lnTo>
                    <a:pt x="1506336" y="9350749"/>
                  </a:lnTo>
                  <a:lnTo>
                    <a:pt x="1539395" y="9345921"/>
                  </a:lnTo>
                  <a:lnTo>
                    <a:pt x="1571877" y="9344596"/>
                  </a:lnTo>
                  <a:lnTo>
                    <a:pt x="1604851" y="9355404"/>
                  </a:lnTo>
                  <a:lnTo>
                    <a:pt x="1638688" y="9381283"/>
                  </a:lnTo>
                  <a:lnTo>
                    <a:pt x="1661499" y="9399360"/>
                  </a:lnTo>
                  <a:lnTo>
                    <a:pt x="1683898" y="9420338"/>
                  </a:lnTo>
                  <a:lnTo>
                    <a:pt x="1699903" y="9445214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44" name="Donetsk¬0" descr="Donetsk¬0">
              <a:extLst>
                <a:ext uri="{FF2B5EF4-FFF2-40B4-BE49-F238E27FC236}">
                  <a16:creationId xmlns:a16="http://schemas.microsoft.com/office/drawing/2014/main" id="{6ACDA2C4-4756-4F6A-B71C-04B1AA38782C}"/>
                </a:ext>
              </a:extLst>
            </p:cNvPr>
            <p:cNvSpPr/>
            <p:nvPr/>
          </p:nvSpPr>
          <p:spPr>
            <a:xfrm>
              <a:off x="5821649" y="2602430"/>
              <a:ext cx="868728" cy="1072121"/>
            </a:xfrm>
            <a:custGeom>
              <a:avLst/>
              <a:gdLst/>
              <a:ahLst/>
              <a:cxnLst/>
              <a:rect l="0" t="0" r="0" b="0"/>
              <a:pathLst>
                <a:path w="8864896" h="12419153">
                  <a:moveTo>
                    <a:pt x="8795733" y="7136010"/>
                  </a:moveTo>
                  <a:lnTo>
                    <a:pt x="8813382" y="7077519"/>
                  </a:lnTo>
                  <a:lnTo>
                    <a:pt x="8830894" y="7020533"/>
                  </a:lnTo>
                  <a:lnTo>
                    <a:pt x="8848704" y="6962563"/>
                  </a:lnTo>
                  <a:lnTo>
                    <a:pt x="8864467" y="6906447"/>
                  </a:lnTo>
                  <a:lnTo>
                    <a:pt x="8864895" y="6865473"/>
                  </a:lnTo>
                  <a:lnTo>
                    <a:pt x="8855227" y="6840860"/>
                  </a:lnTo>
                  <a:lnTo>
                    <a:pt x="8823322" y="6826207"/>
                  </a:lnTo>
                  <a:lnTo>
                    <a:pt x="8795535" y="6808341"/>
                  </a:lnTo>
                  <a:lnTo>
                    <a:pt x="8768305" y="6788834"/>
                  </a:lnTo>
                  <a:lnTo>
                    <a:pt x="8752021" y="6765284"/>
                  </a:lnTo>
                  <a:lnTo>
                    <a:pt x="8753367" y="6733529"/>
                  </a:lnTo>
                  <a:lnTo>
                    <a:pt x="8761695" y="6700587"/>
                  </a:lnTo>
                  <a:lnTo>
                    <a:pt x="8771177" y="6668536"/>
                  </a:lnTo>
                  <a:lnTo>
                    <a:pt x="8779207" y="6635602"/>
                  </a:lnTo>
                  <a:lnTo>
                    <a:pt x="8787244" y="6602659"/>
                  </a:lnTo>
                  <a:lnTo>
                    <a:pt x="8794195" y="6568841"/>
                  </a:lnTo>
                  <a:lnTo>
                    <a:pt x="8796893" y="6534943"/>
                  </a:lnTo>
                  <a:lnTo>
                    <a:pt x="8799020" y="6507634"/>
                  </a:lnTo>
                  <a:lnTo>
                    <a:pt x="8792800" y="6477811"/>
                  </a:lnTo>
                  <a:lnTo>
                    <a:pt x="8772634" y="6456088"/>
                  </a:lnTo>
                  <a:lnTo>
                    <a:pt x="8747916" y="6446532"/>
                  </a:lnTo>
                  <a:lnTo>
                    <a:pt x="8727179" y="6438513"/>
                  </a:lnTo>
                  <a:lnTo>
                    <a:pt x="8693513" y="6427486"/>
                  </a:lnTo>
                  <a:lnTo>
                    <a:pt x="8657887" y="6418371"/>
                  </a:lnTo>
                  <a:lnTo>
                    <a:pt x="8633659" y="6412528"/>
                  </a:lnTo>
                  <a:lnTo>
                    <a:pt x="8524277" y="6386130"/>
                  </a:lnTo>
                  <a:lnTo>
                    <a:pt x="8454371" y="6373230"/>
                  </a:lnTo>
                  <a:lnTo>
                    <a:pt x="8384744" y="6369002"/>
                  </a:lnTo>
                  <a:lnTo>
                    <a:pt x="8315118" y="6364768"/>
                  </a:lnTo>
                  <a:lnTo>
                    <a:pt x="8244877" y="6369787"/>
                  </a:lnTo>
                  <a:lnTo>
                    <a:pt x="8133107" y="6378518"/>
                  </a:lnTo>
                  <a:lnTo>
                    <a:pt x="8081767" y="6376732"/>
                  </a:lnTo>
                  <a:lnTo>
                    <a:pt x="7968522" y="6232983"/>
                  </a:lnTo>
                  <a:lnTo>
                    <a:pt x="7953192" y="6213567"/>
                  </a:lnTo>
                  <a:lnTo>
                    <a:pt x="7949397" y="6191435"/>
                  </a:lnTo>
                  <a:lnTo>
                    <a:pt x="7953558" y="6167692"/>
                  </a:lnTo>
                  <a:lnTo>
                    <a:pt x="7957750" y="6143945"/>
                  </a:lnTo>
                  <a:lnTo>
                    <a:pt x="7969638" y="6119042"/>
                  </a:lnTo>
                  <a:lnTo>
                    <a:pt x="7983479" y="6094239"/>
                  </a:lnTo>
                  <a:lnTo>
                    <a:pt x="8011173" y="6044631"/>
                  </a:lnTo>
                  <a:lnTo>
                    <a:pt x="8048052" y="5996561"/>
                  </a:lnTo>
                  <a:lnTo>
                    <a:pt x="8055580" y="5962302"/>
                  </a:lnTo>
                  <a:lnTo>
                    <a:pt x="8051531" y="5938625"/>
                  </a:lnTo>
                  <a:lnTo>
                    <a:pt x="8032071" y="5916315"/>
                  </a:lnTo>
                  <a:lnTo>
                    <a:pt x="8009325" y="5898371"/>
                  </a:lnTo>
                  <a:lnTo>
                    <a:pt x="7986586" y="5880418"/>
                  </a:lnTo>
                  <a:lnTo>
                    <a:pt x="7960975" y="5866318"/>
                  </a:lnTo>
                  <a:lnTo>
                    <a:pt x="7851506" y="5800904"/>
                  </a:lnTo>
                  <a:lnTo>
                    <a:pt x="7772608" y="5763115"/>
                  </a:lnTo>
                  <a:lnTo>
                    <a:pt x="7672000" y="5729705"/>
                  </a:lnTo>
                  <a:lnTo>
                    <a:pt x="7649726" y="5722313"/>
                  </a:lnTo>
                  <a:lnTo>
                    <a:pt x="7624431" y="5719081"/>
                  </a:lnTo>
                  <a:lnTo>
                    <a:pt x="7602634" y="5710660"/>
                  </a:lnTo>
                  <a:lnTo>
                    <a:pt x="7556851" y="5693025"/>
                  </a:lnTo>
                  <a:lnTo>
                    <a:pt x="7513411" y="5669460"/>
                  </a:lnTo>
                  <a:lnTo>
                    <a:pt x="7467969" y="5650817"/>
                  </a:lnTo>
                  <a:lnTo>
                    <a:pt x="7447270" y="5642323"/>
                  </a:lnTo>
                  <a:lnTo>
                    <a:pt x="7398200" y="5626198"/>
                  </a:lnTo>
                  <a:lnTo>
                    <a:pt x="7352348" y="5605926"/>
                  </a:lnTo>
                  <a:lnTo>
                    <a:pt x="7329429" y="5595789"/>
                  </a:lnTo>
                  <a:lnTo>
                    <a:pt x="7307191" y="5584901"/>
                  </a:lnTo>
                  <a:lnTo>
                    <a:pt x="7272372" y="5561661"/>
                  </a:lnTo>
                  <a:lnTo>
                    <a:pt x="7255778" y="5536560"/>
                  </a:lnTo>
                  <a:lnTo>
                    <a:pt x="7254909" y="5491366"/>
                  </a:lnTo>
                  <a:lnTo>
                    <a:pt x="7262586" y="5464465"/>
                  </a:lnTo>
                  <a:lnTo>
                    <a:pt x="7270251" y="5437571"/>
                  </a:lnTo>
                  <a:lnTo>
                    <a:pt x="7279733" y="5410611"/>
                  </a:lnTo>
                  <a:lnTo>
                    <a:pt x="7262283" y="5344299"/>
                  </a:lnTo>
                  <a:lnTo>
                    <a:pt x="7233205" y="5298438"/>
                  </a:lnTo>
                  <a:lnTo>
                    <a:pt x="7217696" y="5250915"/>
                  </a:lnTo>
                  <a:lnTo>
                    <a:pt x="7205176" y="5212513"/>
                  </a:lnTo>
                  <a:lnTo>
                    <a:pt x="7197567" y="5171182"/>
                  </a:lnTo>
                  <a:lnTo>
                    <a:pt x="7187769" y="5131217"/>
                  </a:lnTo>
                  <a:lnTo>
                    <a:pt x="7177971" y="5091252"/>
                  </a:lnTo>
                  <a:lnTo>
                    <a:pt x="7165898" y="5052303"/>
                  </a:lnTo>
                  <a:lnTo>
                    <a:pt x="7145601" y="5016961"/>
                  </a:lnTo>
                  <a:lnTo>
                    <a:pt x="7049967" y="5016703"/>
                  </a:lnTo>
                  <a:lnTo>
                    <a:pt x="6963975" y="5034729"/>
                  </a:lnTo>
                  <a:lnTo>
                    <a:pt x="6880365" y="5046883"/>
                  </a:lnTo>
                  <a:lnTo>
                    <a:pt x="6816059" y="5056194"/>
                  </a:lnTo>
                  <a:lnTo>
                    <a:pt x="6749105" y="5048208"/>
                  </a:lnTo>
                  <a:lnTo>
                    <a:pt x="6684495" y="5045523"/>
                  </a:lnTo>
                  <a:lnTo>
                    <a:pt x="6648106" y="5019553"/>
                  </a:lnTo>
                  <a:lnTo>
                    <a:pt x="6627667" y="4961280"/>
                  </a:lnTo>
                  <a:lnTo>
                    <a:pt x="6619674" y="4910698"/>
                  </a:lnTo>
                  <a:lnTo>
                    <a:pt x="6602887" y="4859178"/>
                  </a:lnTo>
                  <a:lnTo>
                    <a:pt x="6593616" y="4830741"/>
                  </a:lnTo>
                  <a:lnTo>
                    <a:pt x="6586690" y="4805622"/>
                  </a:lnTo>
                  <a:lnTo>
                    <a:pt x="6581121" y="4774850"/>
                  </a:lnTo>
                  <a:lnTo>
                    <a:pt x="6597629" y="4758355"/>
                  </a:lnTo>
                  <a:lnTo>
                    <a:pt x="6653675" y="4748338"/>
                  </a:lnTo>
                  <a:lnTo>
                    <a:pt x="6706540" y="4747639"/>
                  </a:lnTo>
                  <a:lnTo>
                    <a:pt x="6751151" y="4735406"/>
                  </a:lnTo>
                  <a:lnTo>
                    <a:pt x="6773450" y="4729279"/>
                  </a:lnTo>
                  <a:lnTo>
                    <a:pt x="6793982" y="4719979"/>
                  </a:lnTo>
                  <a:lnTo>
                    <a:pt x="6809634" y="4705477"/>
                  </a:lnTo>
                  <a:lnTo>
                    <a:pt x="6825280" y="4690974"/>
                  </a:lnTo>
                  <a:lnTo>
                    <a:pt x="6836504" y="4671731"/>
                  </a:lnTo>
                  <a:lnTo>
                    <a:pt x="6840913" y="4644270"/>
                  </a:lnTo>
                  <a:lnTo>
                    <a:pt x="6845558" y="4615430"/>
                  </a:lnTo>
                  <a:lnTo>
                    <a:pt x="6837000" y="4583142"/>
                  </a:lnTo>
                  <a:lnTo>
                    <a:pt x="6823233" y="4553135"/>
                  </a:lnTo>
                  <a:lnTo>
                    <a:pt x="6809454" y="4523129"/>
                  </a:lnTo>
                  <a:lnTo>
                    <a:pt x="6790652" y="4495740"/>
                  </a:lnTo>
                  <a:lnTo>
                    <a:pt x="6774275" y="4474247"/>
                  </a:lnTo>
                  <a:lnTo>
                    <a:pt x="6744026" y="4434572"/>
                  </a:lnTo>
                  <a:lnTo>
                    <a:pt x="6688705" y="4420940"/>
                  </a:lnTo>
                  <a:lnTo>
                    <a:pt x="6658648" y="4383113"/>
                  </a:lnTo>
                  <a:lnTo>
                    <a:pt x="6641886" y="4361942"/>
                  </a:lnTo>
                  <a:lnTo>
                    <a:pt x="6637849" y="4339836"/>
                  </a:lnTo>
                  <a:lnTo>
                    <a:pt x="6635530" y="4316458"/>
                  </a:lnTo>
                  <a:lnTo>
                    <a:pt x="6633223" y="4293086"/>
                  </a:lnTo>
                  <a:lnTo>
                    <a:pt x="6632219" y="4268321"/>
                  </a:lnTo>
                  <a:lnTo>
                    <a:pt x="6623283" y="4245733"/>
                  </a:lnTo>
                  <a:lnTo>
                    <a:pt x="6608623" y="4208624"/>
                  </a:lnTo>
                  <a:lnTo>
                    <a:pt x="6576526" y="4184822"/>
                  </a:lnTo>
                  <a:lnTo>
                    <a:pt x="6562077" y="4145076"/>
                  </a:lnTo>
                  <a:lnTo>
                    <a:pt x="6541669" y="4136911"/>
                  </a:lnTo>
                  <a:lnTo>
                    <a:pt x="6511668" y="4168355"/>
                  </a:lnTo>
                  <a:lnTo>
                    <a:pt x="6489989" y="4191326"/>
                  </a:lnTo>
                  <a:lnTo>
                    <a:pt x="6466908" y="4212317"/>
                  </a:lnTo>
                  <a:lnTo>
                    <a:pt x="6439616" y="4222019"/>
                  </a:lnTo>
                  <a:lnTo>
                    <a:pt x="6408381" y="4213089"/>
                  </a:lnTo>
                  <a:lnTo>
                    <a:pt x="6392866" y="4175939"/>
                  </a:lnTo>
                  <a:lnTo>
                    <a:pt x="6352434" y="4173480"/>
                  </a:lnTo>
                  <a:lnTo>
                    <a:pt x="6315618" y="4173098"/>
                  </a:lnTo>
                  <a:lnTo>
                    <a:pt x="6283235" y="4164121"/>
                  </a:lnTo>
                  <a:lnTo>
                    <a:pt x="6252130" y="4151961"/>
                  </a:lnTo>
                  <a:lnTo>
                    <a:pt x="6227301" y="4132764"/>
                  </a:lnTo>
                  <a:lnTo>
                    <a:pt x="6212505" y="4104272"/>
                  </a:lnTo>
                  <a:lnTo>
                    <a:pt x="6203997" y="4078137"/>
                  </a:lnTo>
                  <a:lnTo>
                    <a:pt x="6207773" y="4042386"/>
                  </a:lnTo>
                  <a:lnTo>
                    <a:pt x="6208424" y="4015862"/>
                  </a:lnTo>
                  <a:lnTo>
                    <a:pt x="6209553" y="3970529"/>
                  </a:lnTo>
                  <a:lnTo>
                    <a:pt x="6216920" y="3921693"/>
                  </a:lnTo>
                  <a:lnTo>
                    <a:pt x="6231542" y="3878483"/>
                  </a:lnTo>
                  <a:lnTo>
                    <a:pt x="6244131" y="3852295"/>
                  </a:lnTo>
                  <a:lnTo>
                    <a:pt x="6256601" y="3807945"/>
                  </a:lnTo>
                  <a:lnTo>
                    <a:pt x="6257370" y="3767623"/>
                  </a:lnTo>
                  <a:lnTo>
                    <a:pt x="6256025" y="3735664"/>
                  </a:lnTo>
                  <a:lnTo>
                    <a:pt x="6231145" y="3714495"/>
                  </a:lnTo>
                  <a:lnTo>
                    <a:pt x="6198713" y="3708493"/>
                  </a:lnTo>
                  <a:lnTo>
                    <a:pt x="6166256" y="3703019"/>
                  </a:lnTo>
                  <a:lnTo>
                    <a:pt x="6133793" y="3697539"/>
                  </a:lnTo>
                  <a:lnTo>
                    <a:pt x="6101795" y="3691643"/>
                  </a:lnTo>
                  <a:lnTo>
                    <a:pt x="6076488" y="3669009"/>
                  </a:lnTo>
                  <a:lnTo>
                    <a:pt x="6056806" y="3637643"/>
                  </a:lnTo>
                  <a:lnTo>
                    <a:pt x="6060806" y="3596999"/>
                  </a:lnTo>
                  <a:lnTo>
                    <a:pt x="6069369" y="3574075"/>
                  </a:lnTo>
                  <a:lnTo>
                    <a:pt x="6077840" y="3550677"/>
                  </a:lnTo>
                  <a:lnTo>
                    <a:pt x="6086299" y="3527272"/>
                  </a:lnTo>
                  <a:lnTo>
                    <a:pt x="6095290" y="3504070"/>
                  </a:lnTo>
                  <a:lnTo>
                    <a:pt x="6099600" y="3481306"/>
                  </a:lnTo>
                  <a:lnTo>
                    <a:pt x="6103916" y="3458540"/>
                  </a:lnTo>
                  <a:lnTo>
                    <a:pt x="6103302" y="3437160"/>
                  </a:lnTo>
                  <a:lnTo>
                    <a:pt x="6092810" y="3418733"/>
                  </a:lnTo>
                  <a:lnTo>
                    <a:pt x="6081741" y="3399291"/>
                  </a:lnTo>
                  <a:lnTo>
                    <a:pt x="6035213" y="3298996"/>
                  </a:lnTo>
                  <a:lnTo>
                    <a:pt x="6035052" y="3273512"/>
                  </a:lnTo>
                  <a:lnTo>
                    <a:pt x="6048242" y="3251216"/>
                  </a:lnTo>
                  <a:lnTo>
                    <a:pt x="6050642" y="3229664"/>
                  </a:lnTo>
                  <a:lnTo>
                    <a:pt x="6053600" y="3202374"/>
                  </a:lnTo>
                  <a:lnTo>
                    <a:pt x="6032789" y="3153175"/>
                  </a:lnTo>
                  <a:lnTo>
                    <a:pt x="6028869" y="3124929"/>
                  </a:lnTo>
                  <a:lnTo>
                    <a:pt x="6024510" y="3093498"/>
                  </a:lnTo>
                  <a:lnTo>
                    <a:pt x="6015047" y="2978794"/>
                  </a:lnTo>
                  <a:lnTo>
                    <a:pt x="6024783" y="2952183"/>
                  </a:lnTo>
                  <a:lnTo>
                    <a:pt x="6038103" y="2915819"/>
                  </a:lnTo>
                  <a:lnTo>
                    <a:pt x="6055721" y="2895315"/>
                  </a:lnTo>
                  <a:lnTo>
                    <a:pt x="6076476" y="2877377"/>
                  </a:lnTo>
                  <a:lnTo>
                    <a:pt x="6097225" y="2859432"/>
                  </a:lnTo>
                  <a:lnTo>
                    <a:pt x="6120492" y="2845055"/>
                  </a:lnTo>
                  <a:lnTo>
                    <a:pt x="6145842" y="2818887"/>
                  </a:lnTo>
                  <a:lnTo>
                    <a:pt x="6171602" y="2792303"/>
                  </a:lnTo>
                  <a:lnTo>
                    <a:pt x="6229415" y="2709286"/>
                  </a:lnTo>
                  <a:lnTo>
                    <a:pt x="6239703" y="2670626"/>
                  </a:lnTo>
                  <a:lnTo>
                    <a:pt x="6219295" y="2643422"/>
                  </a:lnTo>
                  <a:lnTo>
                    <a:pt x="6193833" y="2638173"/>
                  </a:lnTo>
                  <a:lnTo>
                    <a:pt x="6115878" y="2656599"/>
                  </a:lnTo>
                  <a:lnTo>
                    <a:pt x="6098242" y="2673344"/>
                  </a:lnTo>
                  <a:lnTo>
                    <a:pt x="6081604" y="2631136"/>
                  </a:lnTo>
                  <a:lnTo>
                    <a:pt x="6079136" y="2574197"/>
                  </a:lnTo>
                  <a:lnTo>
                    <a:pt x="6092828" y="2542765"/>
                  </a:lnTo>
                  <a:lnTo>
                    <a:pt x="6105231" y="2514386"/>
                  </a:lnTo>
                  <a:lnTo>
                    <a:pt x="6131604" y="2490658"/>
                  </a:lnTo>
                  <a:lnTo>
                    <a:pt x="6148589" y="2465228"/>
                  </a:lnTo>
                  <a:lnTo>
                    <a:pt x="6163863" y="2442371"/>
                  </a:lnTo>
                  <a:lnTo>
                    <a:pt x="6182305" y="2402649"/>
                  </a:lnTo>
                  <a:lnTo>
                    <a:pt x="6192115" y="2363219"/>
                  </a:lnTo>
                  <a:lnTo>
                    <a:pt x="6199216" y="2324176"/>
                  </a:lnTo>
                  <a:lnTo>
                    <a:pt x="6195904" y="2287997"/>
                  </a:lnTo>
                  <a:lnTo>
                    <a:pt x="6178516" y="2258478"/>
                  </a:lnTo>
                  <a:lnTo>
                    <a:pt x="6155386" y="2232639"/>
                  </a:lnTo>
                  <a:lnTo>
                    <a:pt x="6130916" y="2206794"/>
                  </a:lnTo>
                  <a:lnTo>
                    <a:pt x="6120027" y="2180948"/>
                  </a:lnTo>
                  <a:lnTo>
                    <a:pt x="6128187" y="2152385"/>
                  </a:lnTo>
                  <a:lnTo>
                    <a:pt x="6136633" y="2133089"/>
                  </a:lnTo>
                  <a:lnTo>
                    <a:pt x="6148589" y="2112651"/>
                  </a:lnTo>
                  <a:lnTo>
                    <a:pt x="6141793" y="2078932"/>
                  </a:lnTo>
                  <a:lnTo>
                    <a:pt x="6115233" y="2048978"/>
                  </a:lnTo>
                  <a:lnTo>
                    <a:pt x="6069698" y="2045139"/>
                  </a:lnTo>
                  <a:lnTo>
                    <a:pt x="6028888" y="2038129"/>
                  </a:lnTo>
                  <a:lnTo>
                    <a:pt x="5989895" y="2030480"/>
                  </a:lnTo>
                  <a:lnTo>
                    <a:pt x="5961791" y="2015851"/>
                  </a:lnTo>
                  <a:lnTo>
                    <a:pt x="5952725" y="1990521"/>
                  </a:lnTo>
                  <a:lnTo>
                    <a:pt x="5953314" y="1958602"/>
                  </a:lnTo>
                  <a:lnTo>
                    <a:pt x="5957742" y="1922871"/>
                  </a:lnTo>
                  <a:lnTo>
                    <a:pt x="5955423" y="1891228"/>
                  </a:lnTo>
                  <a:lnTo>
                    <a:pt x="5953420" y="1863555"/>
                  </a:lnTo>
                  <a:lnTo>
                    <a:pt x="5942847" y="1812228"/>
                  </a:lnTo>
                  <a:lnTo>
                    <a:pt x="5928212" y="1762008"/>
                  </a:lnTo>
                  <a:lnTo>
                    <a:pt x="5913583" y="1711787"/>
                  </a:lnTo>
                  <a:lnTo>
                    <a:pt x="5895166" y="1663276"/>
                  </a:lnTo>
                  <a:lnTo>
                    <a:pt x="5877890" y="1639586"/>
                  </a:lnTo>
                  <a:lnTo>
                    <a:pt x="5832956" y="1637040"/>
                  </a:lnTo>
                  <a:lnTo>
                    <a:pt x="5795290" y="1599126"/>
                  </a:lnTo>
                  <a:lnTo>
                    <a:pt x="5747305" y="1597425"/>
                  </a:lnTo>
                  <a:lnTo>
                    <a:pt x="5722494" y="1596534"/>
                  </a:lnTo>
                  <a:lnTo>
                    <a:pt x="5695618" y="1603716"/>
                  </a:lnTo>
                  <a:lnTo>
                    <a:pt x="5671136" y="1601501"/>
                  </a:lnTo>
                  <a:lnTo>
                    <a:pt x="5642909" y="1598974"/>
                  </a:lnTo>
                  <a:lnTo>
                    <a:pt x="5613757" y="1586193"/>
                  </a:lnTo>
                  <a:lnTo>
                    <a:pt x="5585442" y="1582454"/>
                  </a:lnTo>
                  <a:lnTo>
                    <a:pt x="5530239" y="1575121"/>
                  </a:lnTo>
                  <a:lnTo>
                    <a:pt x="5473604" y="1575061"/>
                  </a:lnTo>
                  <a:lnTo>
                    <a:pt x="5418141" y="1568855"/>
                  </a:lnTo>
                  <a:lnTo>
                    <a:pt x="5384692" y="1565116"/>
                  </a:lnTo>
                  <a:lnTo>
                    <a:pt x="5351615" y="1553871"/>
                  </a:lnTo>
                  <a:lnTo>
                    <a:pt x="5317483" y="1555251"/>
                  </a:lnTo>
                  <a:lnTo>
                    <a:pt x="5290155" y="1540313"/>
                  </a:lnTo>
                  <a:lnTo>
                    <a:pt x="5283272" y="1511685"/>
                  </a:lnTo>
                  <a:lnTo>
                    <a:pt x="5265803" y="1487244"/>
                  </a:lnTo>
                  <a:lnTo>
                    <a:pt x="5245395" y="1476363"/>
                  </a:lnTo>
                  <a:lnTo>
                    <a:pt x="5189628" y="1480437"/>
                  </a:lnTo>
                  <a:lnTo>
                    <a:pt x="5168841" y="1460370"/>
                  </a:lnTo>
                  <a:lnTo>
                    <a:pt x="5174664" y="1436193"/>
                  </a:lnTo>
                  <a:lnTo>
                    <a:pt x="5184189" y="1412424"/>
                  </a:lnTo>
                  <a:lnTo>
                    <a:pt x="5193826" y="1388657"/>
                  </a:lnTo>
                  <a:lnTo>
                    <a:pt x="5207289" y="1364816"/>
                  </a:lnTo>
                  <a:lnTo>
                    <a:pt x="5228565" y="1350380"/>
                  </a:lnTo>
                  <a:lnTo>
                    <a:pt x="5256278" y="1359375"/>
                  </a:lnTo>
                  <a:lnTo>
                    <a:pt x="5285231" y="1367757"/>
                  </a:lnTo>
                  <a:lnTo>
                    <a:pt x="5304883" y="1336821"/>
                  </a:lnTo>
                  <a:lnTo>
                    <a:pt x="5297224" y="1308601"/>
                  </a:lnTo>
                  <a:lnTo>
                    <a:pt x="5301143" y="1283204"/>
                  </a:lnTo>
                  <a:lnTo>
                    <a:pt x="5336236" y="1286171"/>
                  </a:lnTo>
                  <a:lnTo>
                    <a:pt x="5358275" y="1284562"/>
                  </a:lnTo>
                  <a:lnTo>
                    <a:pt x="5380320" y="1282961"/>
                  </a:lnTo>
                  <a:lnTo>
                    <a:pt x="5401460" y="1279102"/>
                  </a:lnTo>
                  <a:lnTo>
                    <a:pt x="5422575" y="1246754"/>
                  </a:lnTo>
                  <a:lnTo>
                    <a:pt x="5425241" y="1219109"/>
                  </a:lnTo>
                  <a:lnTo>
                    <a:pt x="5422196" y="1189345"/>
                  </a:lnTo>
                  <a:lnTo>
                    <a:pt x="5419158" y="1159588"/>
                  </a:lnTo>
                  <a:lnTo>
                    <a:pt x="5410631" y="1126958"/>
                  </a:lnTo>
                  <a:lnTo>
                    <a:pt x="5399078" y="1095493"/>
                  </a:lnTo>
                  <a:lnTo>
                    <a:pt x="5375967" y="1032565"/>
                  </a:lnTo>
                  <a:lnTo>
                    <a:pt x="5341377" y="972070"/>
                  </a:lnTo>
                  <a:lnTo>
                    <a:pt x="5318829" y="933629"/>
                  </a:lnTo>
                  <a:lnTo>
                    <a:pt x="5292176" y="910210"/>
                  </a:lnTo>
                  <a:lnTo>
                    <a:pt x="5279501" y="874215"/>
                  </a:lnTo>
                  <a:lnTo>
                    <a:pt x="5291252" y="853849"/>
                  </a:lnTo>
                  <a:lnTo>
                    <a:pt x="5306582" y="835694"/>
                  </a:lnTo>
                  <a:lnTo>
                    <a:pt x="5321917" y="817538"/>
                  </a:lnTo>
                  <a:lnTo>
                    <a:pt x="5341104" y="802020"/>
                  </a:lnTo>
                  <a:lnTo>
                    <a:pt x="5371254" y="769705"/>
                  </a:lnTo>
                  <a:lnTo>
                    <a:pt x="5373381" y="740668"/>
                  </a:lnTo>
                  <a:lnTo>
                    <a:pt x="5371874" y="711921"/>
                  </a:lnTo>
                  <a:lnTo>
                    <a:pt x="5370348" y="683166"/>
                  </a:lnTo>
                  <a:lnTo>
                    <a:pt x="5364674" y="654598"/>
                  </a:lnTo>
                  <a:lnTo>
                    <a:pt x="5367787" y="631667"/>
                  </a:lnTo>
                  <a:lnTo>
                    <a:pt x="5376791" y="566141"/>
                  </a:lnTo>
                  <a:lnTo>
                    <a:pt x="5388276" y="496689"/>
                  </a:lnTo>
                  <a:lnTo>
                    <a:pt x="5407233" y="433075"/>
                  </a:lnTo>
                  <a:lnTo>
                    <a:pt x="5383557" y="433859"/>
                  </a:lnTo>
                  <a:lnTo>
                    <a:pt x="5208721" y="419879"/>
                  </a:lnTo>
                  <a:lnTo>
                    <a:pt x="5086279" y="532380"/>
                  </a:lnTo>
                  <a:lnTo>
                    <a:pt x="5039690" y="537228"/>
                  </a:lnTo>
                  <a:lnTo>
                    <a:pt x="4972680" y="489112"/>
                  </a:lnTo>
                  <a:lnTo>
                    <a:pt x="4939187" y="466003"/>
                  </a:lnTo>
                  <a:lnTo>
                    <a:pt x="4904014" y="449410"/>
                  </a:lnTo>
                  <a:lnTo>
                    <a:pt x="4868829" y="432817"/>
                  </a:lnTo>
                  <a:lnTo>
                    <a:pt x="4830896" y="421804"/>
                  </a:lnTo>
                  <a:lnTo>
                    <a:pt x="4765275" y="403160"/>
                  </a:lnTo>
                  <a:lnTo>
                    <a:pt x="4741512" y="387735"/>
                  </a:lnTo>
                  <a:lnTo>
                    <a:pt x="4725997" y="365589"/>
                  </a:lnTo>
                  <a:lnTo>
                    <a:pt x="4768202" y="255177"/>
                  </a:lnTo>
                  <a:lnTo>
                    <a:pt x="4774788" y="234502"/>
                  </a:lnTo>
                  <a:lnTo>
                    <a:pt x="4898061" y="228996"/>
                  </a:lnTo>
                  <a:lnTo>
                    <a:pt x="4928490" y="223615"/>
                  </a:lnTo>
                  <a:lnTo>
                    <a:pt x="4929892" y="172418"/>
                  </a:lnTo>
                  <a:lnTo>
                    <a:pt x="4902377" y="156544"/>
                  </a:lnTo>
                  <a:lnTo>
                    <a:pt x="4792201" y="147469"/>
                  </a:lnTo>
                  <a:lnTo>
                    <a:pt x="4769287" y="113823"/>
                  </a:lnTo>
                  <a:lnTo>
                    <a:pt x="4744359" y="79205"/>
                  </a:lnTo>
                  <a:lnTo>
                    <a:pt x="4716286" y="50873"/>
                  </a:lnTo>
                  <a:lnTo>
                    <a:pt x="4688207" y="22542"/>
                  </a:lnTo>
                  <a:lnTo>
                    <a:pt x="4657071" y="0"/>
                  </a:lnTo>
                  <a:lnTo>
                    <a:pt x="4631950" y="548"/>
                  </a:lnTo>
                  <a:lnTo>
                    <a:pt x="4609179" y="25002"/>
                  </a:lnTo>
                  <a:lnTo>
                    <a:pt x="4605682" y="49363"/>
                  </a:lnTo>
                  <a:lnTo>
                    <a:pt x="4602036" y="73990"/>
                  </a:lnTo>
                  <a:lnTo>
                    <a:pt x="4598383" y="98614"/>
                  </a:lnTo>
                  <a:lnTo>
                    <a:pt x="4593813" y="123266"/>
                  </a:lnTo>
                  <a:lnTo>
                    <a:pt x="4410252" y="154242"/>
                  </a:lnTo>
                  <a:lnTo>
                    <a:pt x="4372344" y="157467"/>
                  </a:lnTo>
                  <a:lnTo>
                    <a:pt x="4331193" y="151743"/>
                  </a:lnTo>
                  <a:lnTo>
                    <a:pt x="4287828" y="142003"/>
                  </a:lnTo>
                  <a:lnTo>
                    <a:pt x="4244476" y="132254"/>
                  </a:lnTo>
                  <a:lnTo>
                    <a:pt x="4199660" y="118207"/>
                  </a:lnTo>
                  <a:lnTo>
                    <a:pt x="4154534" y="102552"/>
                  </a:lnTo>
                  <a:lnTo>
                    <a:pt x="4109408" y="86902"/>
                  </a:lnTo>
                  <a:lnTo>
                    <a:pt x="4064437" y="69452"/>
                  </a:lnTo>
                  <a:lnTo>
                    <a:pt x="4021228" y="54949"/>
                  </a:lnTo>
                  <a:lnTo>
                    <a:pt x="3978018" y="40441"/>
                  </a:lnTo>
                  <a:lnTo>
                    <a:pt x="3936420" y="28603"/>
                  </a:lnTo>
                  <a:lnTo>
                    <a:pt x="3898817" y="22304"/>
                  </a:lnTo>
                  <a:lnTo>
                    <a:pt x="3848023" y="13790"/>
                  </a:lnTo>
                  <a:lnTo>
                    <a:pt x="3768877" y="18289"/>
                  </a:lnTo>
                  <a:lnTo>
                    <a:pt x="3716545" y="19588"/>
                  </a:lnTo>
                  <a:lnTo>
                    <a:pt x="3679004" y="26769"/>
                  </a:lnTo>
                  <a:lnTo>
                    <a:pt x="3616279" y="30126"/>
                  </a:lnTo>
                  <a:lnTo>
                    <a:pt x="3573764" y="22219"/>
                  </a:lnTo>
                  <a:lnTo>
                    <a:pt x="3530206" y="37268"/>
                  </a:lnTo>
                  <a:lnTo>
                    <a:pt x="3520551" y="69636"/>
                  </a:lnTo>
                  <a:lnTo>
                    <a:pt x="3428606" y="223212"/>
                  </a:lnTo>
                  <a:lnTo>
                    <a:pt x="3396900" y="248101"/>
                  </a:lnTo>
                  <a:lnTo>
                    <a:pt x="3419063" y="265149"/>
                  </a:lnTo>
                  <a:lnTo>
                    <a:pt x="3439068" y="272581"/>
                  </a:lnTo>
                  <a:lnTo>
                    <a:pt x="3459067" y="280020"/>
                  </a:lnTo>
                  <a:lnTo>
                    <a:pt x="3484529" y="286522"/>
                  </a:lnTo>
                  <a:lnTo>
                    <a:pt x="3509798" y="291628"/>
                  </a:lnTo>
                  <a:lnTo>
                    <a:pt x="3535062" y="296725"/>
                  </a:lnTo>
                  <a:lnTo>
                    <a:pt x="3560121" y="300379"/>
                  </a:lnTo>
                  <a:lnTo>
                    <a:pt x="3583251" y="302509"/>
                  </a:lnTo>
                  <a:lnTo>
                    <a:pt x="3606375" y="304639"/>
                  </a:lnTo>
                  <a:lnTo>
                    <a:pt x="3640377" y="303867"/>
                  </a:lnTo>
                  <a:lnTo>
                    <a:pt x="3663581" y="301356"/>
                  </a:lnTo>
                  <a:lnTo>
                    <a:pt x="3694922" y="290091"/>
                  </a:lnTo>
                  <a:lnTo>
                    <a:pt x="3717904" y="298427"/>
                  </a:lnTo>
                  <a:lnTo>
                    <a:pt x="3749914" y="337403"/>
                  </a:lnTo>
                  <a:lnTo>
                    <a:pt x="3778142" y="382037"/>
                  </a:lnTo>
                  <a:lnTo>
                    <a:pt x="3802246" y="426283"/>
                  </a:lnTo>
                  <a:lnTo>
                    <a:pt x="3731559" y="486995"/>
                  </a:lnTo>
                  <a:lnTo>
                    <a:pt x="3656698" y="535098"/>
                  </a:lnTo>
                  <a:lnTo>
                    <a:pt x="3581844" y="583202"/>
                  </a:lnTo>
                  <a:lnTo>
                    <a:pt x="3500974" y="631053"/>
                  </a:lnTo>
                  <a:lnTo>
                    <a:pt x="3475791" y="645279"/>
                  </a:lnTo>
                  <a:lnTo>
                    <a:pt x="3400645" y="687487"/>
                  </a:lnTo>
                  <a:lnTo>
                    <a:pt x="3342447" y="724530"/>
                  </a:lnTo>
                  <a:lnTo>
                    <a:pt x="3282643" y="758171"/>
                  </a:lnTo>
                  <a:lnTo>
                    <a:pt x="3252809" y="774942"/>
                  </a:lnTo>
                  <a:lnTo>
                    <a:pt x="3212806" y="776854"/>
                  </a:lnTo>
                  <a:lnTo>
                    <a:pt x="3186072" y="797615"/>
                  </a:lnTo>
                  <a:lnTo>
                    <a:pt x="3160226" y="817743"/>
                  </a:lnTo>
                  <a:lnTo>
                    <a:pt x="3138119" y="847564"/>
                  </a:lnTo>
                  <a:lnTo>
                    <a:pt x="3108533" y="862904"/>
                  </a:lnTo>
                  <a:lnTo>
                    <a:pt x="3072374" y="881694"/>
                  </a:lnTo>
                  <a:lnTo>
                    <a:pt x="3035762" y="896380"/>
                  </a:lnTo>
                  <a:lnTo>
                    <a:pt x="2999721" y="917320"/>
                  </a:lnTo>
                  <a:lnTo>
                    <a:pt x="2947885" y="947425"/>
                  </a:lnTo>
                  <a:lnTo>
                    <a:pt x="2917543" y="971760"/>
                  </a:lnTo>
                  <a:lnTo>
                    <a:pt x="2900428" y="993490"/>
                  </a:lnTo>
                  <a:lnTo>
                    <a:pt x="2883313" y="1015207"/>
                  </a:lnTo>
                  <a:lnTo>
                    <a:pt x="2880020" y="1051973"/>
                  </a:lnTo>
                  <a:lnTo>
                    <a:pt x="2884987" y="1086142"/>
                  </a:lnTo>
                  <a:lnTo>
                    <a:pt x="2885923" y="1121180"/>
                  </a:lnTo>
                  <a:lnTo>
                    <a:pt x="2865063" y="1160790"/>
                  </a:lnTo>
                  <a:lnTo>
                    <a:pt x="2848468" y="1175370"/>
                  </a:lnTo>
                  <a:lnTo>
                    <a:pt x="2824538" y="1181576"/>
                  </a:lnTo>
                  <a:lnTo>
                    <a:pt x="2797054" y="1185277"/>
                  </a:lnTo>
                  <a:lnTo>
                    <a:pt x="2768746" y="1190097"/>
                  </a:lnTo>
                  <a:lnTo>
                    <a:pt x="2743743" y="1202218"/>
                  </a:lnTo>
                  <a:lnTo>
                    <a:pt x="2724966" y="1227437"/>
                  </a:lnTo>
                  <a:lnTo>
                    <a:pt x="2660536" y="1331327"/>
                  </a:lnTo>
                  <a:lnTo>
                    <a:pt x="2661677" y="1370455"/>
                  </a:lnTo>
                  <a:lnTo>
                    <a:pt x="2688236" y="1385227"/>
                  </a:lnTo>
                  <a:lnTo>
                    <a:pt x="2717927" y="1398740"/>
                  </a:lnTo>
                  <a:lnTo>
                    <a:pt x="2722219" y="1442458"/>
                  </a:lnTo>
                  <a:lnTo>
                    <a:pt x="2705172" y="1469345"/>
                  </a:lnTo>
                  <a:lnTo>
                    <a:pt x="2704558" y="1499478"/>
                  </a:lnTo>
                  <a:lnTo>
                    <a:pt x="2716979" y="1527242"/>
                  </a:lnTo>
                  <a:lnTo>
                    <a:pt x="2732947" y="1553332"/>
                  </a:lnTo>
                  <a:lnTo>
                    <a:pt x="2746732" y="1578372"/>
                  </a:lnTo>
                  <a:lnTo>
                    <a:pt x="2753057" y="1603631"/>
                  </a:lnTo>
                  <a:lnTo>
                    <a:pt x="2745808" y="1629285"/>
                  </a:lnTo>
                  <a:lnTo>
                    <a:pt x="2718144" y="1655902"/>
                  </a:lnTo>
                  <a:lnTo>
                    <a:pt x="2676442" y="1664601"/>
                  </a:lnTo>
                  <a:lnTo>
                    <a:pt x="2647414" y="1662700"/>
                  </a:lnTo>
                  <a:lnTo>
                    <a:pt x="2618380" y="1660809"/>
                  </a:lnTo>
                  <a:lnTo>
                    <a:pt x="2589117" y="1655915"/>
                  </a:lnTo>
                  <a:lnTo>
                    <a:pt x="2535756" y="1670483"/>
                  </a:lnTo>
                  <a:lnTo>
                    <a:pt x="2484236" y="1732693"/>
                  </a:lnTo>
                  <a:lnTo>
                    <a:pt x="2405302" y="1768799"/>
                  </a:lnTo>
                  <a:lnTo>
                    <a:pt x="2392081" y="1815511"/>
                  </a:lnTo>
                  <a:lnTo>
                    <a:pt x="2379275" y="1868409"/>
                  </a:lnTo>
                  <a:lnTo>
                    <a:pt x="2356325" y="1911619"/>
                  </a:lnTo>
                  <a:lnTo>
                    <a:pt x="2312799" y="1900737"/>
                  </a:lnTo>
                  <a:lnTo>
                    <a:pt x="2291950" y="1907306"/>
                  </a:lnTo>
                  <a:lnTo>
                    <a:pt x="2275666" y="1930665"/>
                  </a:lnTo>
                  <a:lnTo>
                    <a:pt x="2268733" y="1963304"/>
                  </a:lnTo>
                  <a:lnTo>
                    <a:pt x="2271449" y="1991094"/>
                  </a:lnTo>
                  <a:lnTo>
                    <a:pt x="2274717" y="2019077"/>
                  </a:lnTo>
                  <a:lnTo>
                    <a:pt x="2277979" y="2047052"/>
                  </a:lnTo>
                  <a:lnTo>
                    <a:pt x="2281328" y="2075990"/>
                  </a:lnTo>
                  <a:lnTo>
                    <a:pt x="2281514" y="2097965"/>
                  </a:lnTo>
                  <a:lnTo>
                    <a:pt x="2281514" y="2119945"/>
                  </a:lnTo>
                  <a:lnTo>
                    <a:pt x="2263828" y="2138774"/>
                  </a:lnTo>
                  <a:lnTo>
                    <a:pt x="2240170" y="2145784"/>
                  </a:lnTo>
                  <a:lnTo>
                    <a:pt x="2211316" y="2153526"/>
                  </a:lnTo>
                  <a:lnTo>
                    <a:pt x="2179498" y="2160537"/>
                  </a:lnTo>
                  <a:lnTo>
                    <a:pt x="2149100" y="2164006"/>
                  </a:lnTo>
                  <a:lnTo>
                    <a:pt x="2120122" y="2162509"/>
                  </a:lnTo>
                  <a:lnTo>
                    <a:pt x="2095162" y="2153731"/>
                  </a:lnTo>
                  <a:lnTo>
                    <a:pt x="2069688" y="2134566"/>
                  </a:lnTo>
                  <a:lnTo>
                    <a:pt x="2052635" y="2110330"/>
                  </a:lnTo>
                  <a:lnTo>
                    <a:pt x="2038037" y="2085718"/>
                  </a:lnTo>
                  <a:lnTo>
                    <a:pt x="2022584" y="2063797"/>
                  </a:lnTo>
                  <a:lnTo>
                    <a:pt x="1999081" y="2050522"/>
                  </a:lnTo>
                  <a:lnTo>
                    <a:pt x="1963232" y="2050356"/>
                  </a:lnTo>
                  <a:lnTo>
                    <a:pt x="1923353" y="2058007"/>
                  </a:lnTo>
                  <a:lnTo>
                    <a:pt x="1907459" y="2072119"/>
                  </a:lnTo>
                  <a:lnTo>
                    <a:pt x="1891076" y="2096138"/>
                  </a:lnTo>
                  <a:lnTo>
                    <a:pt x="1889469" y="2127088"/>
                  </a:lnTo>
                  <a:lnTo>
                    <a:pt x="1887063" y="2156455"/>
                  </a:lnTo>
                  <a:lnTo>
                    <a:pt x="1884620" y="2185816"/>
                  </a:lnTo>
                  <a:lnTo>
                    <a:pt x="1880521" y="2213487"/>
                  </a:lnTo>
                  <a:lnTo>
                    <a:pt x="1859859" y="2232627"/>
                  </a:lnTo>
                  <a:lnTo>
                    <a:pt x="1819117" y="2236419"/>
                  </a:lnTo>
                  <a:lnTo>
                    <a:pt x="1794567" y="2224461"/>
                  </a:lnTo>
                  <a:lnTo>
                    <a:pt x="1769991" y="2212512"/>
                  </a:lnTo>
                  <a:lnTo>
                    <a:pt x="1745633" y="2196037"/>
                  </a:lnTo>
                  <a:lnTo>
                    <a:pt x="1707930" y="2190260"/>
                  </a:lnTo>
                  <a:lnTo>
                    <a:pt x="1690027" y="2210368"/>
                  </a:lnTo>
                  <a:lnTo>
                    <a:pt x="1674872" y="2233985"/>
                  </a:lnTo>
                  <a:lnTo>
                    <a:pt x="1659697" y="2257601"/>
                  </a:lnTo>
                  <a:lnTo>
                    <a:pt x="1646904" y="2285332"/>
                  </a:lnTo>
                  <a:lnTo>
                    <a:pt x="1636784" y="2341442"/>
                  </a:lnTo>
                  <a:lnTo>
                    <a:pt x="1651121" y="2362044"/>
                  </a:lnTo>
                  <a:lnTo>
                    <a:pt x="1674121" y="2375248"/>
                  </a:lnTo>
                  <a:lnTo>
                    <a:pt x="1702076" y="2383604"/>
                  </a:lnTo>
                  <a:lnTo>
                    <a:pt x="1729640" y="2392533"/>
                  </a:lnTo>
                  <a:lnTo>
                    <a:pt x="1758135" y="2401238"/>
                  </a:lnTo>
                  <a:lnTo>
                    <a:pt x="1770078" y="2421688"/>
                  </a:lnTo>
                  <a:lnTo>
                    <a:pt x="1764962" y="2456748"/>
                  </a:lnTo>
                  <a:lnTo>
                    <a:pt x="1753428" y="2487289"/>
                  </a:lnTo>
                  <a:lnTo>
                    <a:pt x="1729268" y="2512824"/>
                  </a:lnTo>
                  <a:lnTo>
                    <a:pt x="1686517" y="2492301"/>
                  </a:lnTo>
                  <a:lnTo>
                    <a:pt x="1660156" y="2461990"/>
                  </a:lnTo>
                  <a:lnTo>
                    <a:pt x="1634062" y="2442099"/>
                  </a:lnTo>
                  <a:lnTo>
                    <a:pt x="1606851" y="2431212"/>
                  </a:lnTo>
                  <a:lnTo>
                    <a:pt x="1571963" y="2418761"/>
                  </a:lnTo>
                  <a:lnTo>
                    <a:pt x="1504786" y="2380477"/>
                  </a:lnTo>
                  <a:lnTo>
                    <a:pt x="1469470" y="2361847"/>
                  </a:lnTo>
                  <a:lnTo>
                    <a:pt x="1437020" y="2344719"/>
                  </a:lnTo>
                  <a:lnTo>
                    <a:pt x="1406386" y="2325601"/>
                  </a:lnTo>
                  <a:lnTo>
                    <a:pt x="1375628" y="2310155"/>
                  </a:lnTo>
                  <a:lnTo>
                    <a:pt x="1344852" y="2294718"/>
                  </a:lnTo>
                  <a:lnTo>
                    <a:pt x="1314419" y="2282754"/>
                  </a:lnTo>
                  <a:lnTo>
                    <a:pt x="1284489" y="2276153"/>
                  </a:lnTo>
                  <a:lnTo>
                    <a:pt x="1254556" y="2269558"/>
                  </a:lnTo>
                  <a:lnTo>
                    <a:pt x="1224654" y="2269465"/>
                  </a:lnTo>
                  <a:lnTo>
                    <a:pt x="1194715" y="2278877"/>
                  </a:lnTo>
                  <a:lnTo>
                    <a:pt x="1164766" y="2288287"/>
                  </a:lnTo>
                  <a:lnTo>
                    <a:pt x="1134390" y="2306167"/>
                  </a:lnTo>
                  <a:lnTo>
                    <a:pt x="1103586" y="2338724"/>
                  </a:lnTo>
                  <a:lnTo>
                    <a:pt x="1079699" y="2363963"/>
                  </a:lnTo>
                  <a:lnTo>
                    <a:pt x="1064689" y="2398190"/>
                  </a:lnTo>
                  <a:lnTo>
                    <a:pt x="1036932" y="2420336"/>
                  </a:lnTo>
                  <a:lnTo>
                    <a:pt x="959105" y="2419505"/>
                  </a:lnTo>
                  <a:lnTo>
                    <a:pt x="883652" y="2424927"/>
                  </a:lnTo>
                  <a:lnTo>
                    <a:pt x="827463" y="2405373"/>
                  </a:lnTo>
                  <a:lnTo>
                    <a:pt x="779981" y="2388839"/>
                  </a:lnTo>
                  <a:lnTo>
                    <a:pt x="746141" y="2361417"/>
                  </a:lnTo>
                  <a:lnTo>
                    <a:pt x="703684" y="2338724"/>
                  </a:lnTo>
                  <a:lnTo>
                    <a:pt x="654546" y="2332684"/>
                  </a:lnTo>
                  <a:lnTo>
                    <a:pt x="613408" y="2330745"/>
                  </a:lnTo>
                  <a:lnTo>
                    <a:pt x="582622" y="2344166"/>
                  </a:lnTo>
                  <a:lnTo>
                    <a:pt x="563253" y="2366674"/>
                  </a:lnTo>
                  <a:lnTo>
                    <a:pt x="555762" y="2397821"/>
                  </a:lnTo>
                  <a:lnTo>
                    <a:pt x="556763" y="2433936"/>
                  </a:lnTo>
                  <a:lnTo>
                    <a:pt x="562763" y="2471104"/>
                  </a:lnTo>
                  <a:lnTo>
                    <a:pt x="578638" y="2548897"/>
                  </a:lnTo>
                  <a:lnTo>
                    <a:pt x="589316" y="2603477"/>
                  </a:lnTo>
                  <a:lnTo>
                    <a:pt x="609811" y="2661091"/>
                  </a:lnTo>
                  <a:lnTo>
                    <a:pt x="635196" y="2732460"/>
                  </a:lnTo>
                  <a:lnTo>
                    <a:pt x="643208" y="2773381"/>
                  </a:lnTo>
                  <a:lnTo>
                    <a:pt x="642457" y="2814791"/>
                  </a:lnTo>
                  <a:lnTo>
                    <a:pt x="641713" y="2856201"/>
                  </a:lnTo>
                  <a:lnTo>
                    <a:pt x="632352" y="2897565"/>
                  </a:lnTo>
                  <a:lnTo>
                    <a:pt x="627488" y="2967134"/>
                  </a:lnTo>
                  <a:lnTo>
                    <a:pt x="622052" y="3050104"/>
                  </a:lnTo>
                  <a:lnTo>
                    <a:pt x="634569" y="3093063"/>
                  </a:lnTo>
                  <a:lnTo>
                    <a:pt x="649257" y="3118117"/>
                  </a:lnTo>
                  <a:lnTo>
                    <a:pt x="663950" y="3143171"/>
                  </a:lnTo>
                  <a:lnTo>
                    <a:pt x="679574" y="3169050"/>
                  </a:lnTo>
                  <a:lnTo>
                    <a:pt x="683261" y="3190206"/>
                  </a:lnTo>
                  <a:lnTo>
                    <a:pt x="694532" y="3280299"/>
                  </a:lnTo>
                  <a:lnTo>
                    <a:pt x="711823" y="3311262"/>
                  </a:lnTo>
                  <a:lnTo>
                    <a:pt x="752289" y="3326997"/>
                  </a:lnTo>
                  <a:lnTo>
                    <a:pt x="779605" y="3320463"/>
                  </a:lnTo>
                  <a:lnTo>
                    <a:pt x="807039" y="3312628"/>
                  </a:lnTo>
                  <a:lnTo>
                    <a:pt x="834473" y="3304792"/>
                  </a:lnTo>
                  <a:lnTo>
                    <a:pt x="860980" y="3296272"/>
                  </a:lnTo>
                  <a:lnTo>
                    <a:pt x="887292" y="3294940"/>
                  </a:lnTo>
                  <a:lnTo>
                    <a:pt x="906807" y="3308295"/>
                  </a:lnTo>
                  <a:lnTo>
                    <a:pt x="916732" y="3330558"/>
                  </a:lnTo>
                  <a:lnTo>
                    <a:pt x="921296" y="3354788"/>
                  </a:lnTo>
                  <a:lnTo>
                    <a:pt x="908596" y="3372345"/>
                  </a:lnTo>
                  <a:lnTo>
                    <a:pt x="886266" y="3371546"/>
                  </a:lnTo>
                  <a:lnTo>
                    <a:pt x="866881" y="3383350"/>
                  </a:lnTo>
                  <a:lnTo>
                    <a:pt x="847586" y="3398012"/>
                  </a:lnTo>
                  <a:lnTo>
                    <a:pt x="834501" y="3428546"/>
                  </a:lnTo>
                  <a:lnTo>
                    <a:pt x="830346" y="3450824"/>
                  </a:lnTo>
                  <a:lnTo>
                    <a:pt x="830160" y="3482650"/>
                  </a:lnTo>
                  <a:lnTo>
                    <a:pt x="763507" y="3503055"/>
                  </a:lnTo>
                  <a:lnTo>
                    <a:pt x="753278" y="3550261"/>
                  </a:lnTo>
                  <a:lnTo>
                    <a:pt x="753991" y="3592824"/>
                  </a:lnTo>
                  <a:lnTo>
                    <a:pt x="754689" y="3635388"/>
                  </a:lnTo>
                  <a:lnTo>
                    <a:pt x="758878" y="3680438"/>
                  </a:lnTo>
                  <a:lnTo>
                    <a:pt x="770313" y="3704365"/>
                  </a:lnTo>
                  <a:lnTo>
                    <a:pt x="812059" y="3690205"/>
                  </a:lnTo>
                  <a:lnTo>
                    <a:pt x="857492" y="3691017"/>
                  </a:lnTo>
                  <a:lnTo>
                    <a:pt x="900891" y="3689400"/>
                  </a:lnTo>
                  <a:lnTo>
                    <a:pt x="930880" y="3674668"/>
                  </a:lnTo>
                  <a:lnTo>
                    <a:pt x="940343" y="3652674"/>
                  </a:lnTo>
                  <a:lnTo>
                    <a:pt x="949793" y="3630686"/>
                  </a:lnTo>
                  <a:lnTo>
                    <a:pt x="956261" y="3600666"/>
                  </a:lnTo>
                  <a:lnTo>
                    <a:pt x="960742" y="3571061"/>
                  </a:lnTo>
                  <a:lnTo>
                    <a:pt x="969702" y="3511859"/>
                  </a:lnTo>
                  <a:lnTo>
                    <a:pt x="970667" y="3451766"/>
                  </a:lnTo>
                  <a:lnTo>
                    <a:pt x="993577" y="3435009"/>
                  </a:lnTo>
                  <a:lnTo>
                    <a:pt x="1043692" y="3427115"/>
                  </a:lnTo>
                  <a:lnTo>
                    <a:pt x="1095403" y="3422802"/>
                  </a:lnTo>
                  <a:lnTo>
                    <a:pt x="1147112" y="3418489"/>
                  </a:lnTo>
                  <a:lnTo>
                    <a:pt x="1200777" y="3418007"/>
                  </a:lnTo>
                  <a:lnTo>
                    <a:pt x="1224623" y="3421443"/>
                  </a:lnTo>
                  <a:lnTo>
                    <a:pt x="1251859" y="3457933"/>
                  </a:lnTo>
                  <a:lnTo>
                    <a:pt x="1262326" y="3523579"/>
                  </a:lnTo>
                  <a:lnTo>
                    <a:pt x="1266791" y="3584667"/>
                  </a:lnTo>
                  <a:lnTo>
                    <a:pt x="1271240" y="3645756"/>
                  </a:lnTo>
                  <a:lnTo>
                    <a:pt x="1270620" y="3702346"/>
                  </a:lnTo>
                  <a:lnTo>
                    <a:pt x="1240259" y="3715715"/>
                  </a:lnTo>
                  <a:lnTo>
                    <a:pt x="1126220" y="3754987"/>
                  </a:lnTo>
                  <a:lnTo>
                    <a:pt x="1121774" y="3789056"/>
                  </a:lnTo>
                  <a:lnTo>
                    <a:pt x="1149856" y="3872607"/>
                  </a:lnTo>
                  <a:lnTo>
                    <a:pt x="1151167" y="3908397"/>
                  </a:lnTo>
                  <a:lnTo>
                    <a:pt x="1061393" y="3958723"/>
                  </a:lnTo>
                  <a:lnTo>
                    <a:pt x="1061861" y="3993815"/>
                  </a:lnTo>
                  <a:lnTo>
                    <a:pt x="1065489" y="4025372"/>
                  </a:lnTo>
                  <a:lnTo>
                    <a:pt x="1069234" y="4056928"/>
                  </a:lnTo>
                  <a:lnTo>
                    <a:pt x="1070202" y="4095805"/>
                  </a:lnTo>
                  <a:lnTo>
                    <a:pt x="1051883" y="4138270"/>
                  </a:lnTo>
                  <a:lnTo>
                    <a:pt x="1072155" y="4163521"/>
                  </a:lnTo>
                  <a:lnTo>
                    <a:pt x="1102333" y="4175584"/>
                  </a:lnTo>
                  <a:lnTo>
                    <a:pt x="1126694" y="4192678"/>
                  </a:lnTo>
                  <a:lnTo>
                    <a:pt x="1104134" y="4223054"/>
                  </a:lnTo>
                  <a:lnTo>
                    <a:pt x="1073079" y="4243913"/>
                  </a:lnTo>
                  <a:lnTo>
                    <a:pt x="1039636" y="4257967"/>
                  </a:lnTo>
                  <a:lnTo>
                    <a:pt x="1006147" y="4270747"/>
                  </a:lnTo>
                  <a:lnTo>
                    <a:pt x="975559" y="4278431"/>
                  </a:lnTo>
                  <a:lnTo>
                    <a:pt x="967560" y="4305569"/>
                  </a:lnTo>
                  <a:lnTo>
                    <a:pt x="964341" y="4350882"/>
                  </a:lnTo>
                  <a:lnTo>
                    <a:pt x="987528" y="4389100"/>
                  </a:lnTo>
                  <a:lnTo>
                    <a:pt x="994764" y="4433431"/>
                  </a:lnTo>
                  <a:lnTo>
                    <a:pt x="1000659" y="4469603"/>
                  </a:lnTo>
                  <a:lnTo>
                    <a:pt x="1012438" y="4563246"/>
                  </a:lnTo>
                  <a:lnTo>
                    <a:pt x="1012438" y="4600737"/>
                  </a:lnTo>
                  <a:lnTo>
                    <a:pt x="1012438" y="4641224"/>
                  </a:lnTo>
                  <a:lnTo>
                    <a:pt x="1000026" y="4672754"/>
                  </a:lnTo>
                  <a:lnTo>
                    <a:pt x="992033" y="4704112"/>
                  </a:lnTo>
                  <a:lnTo>
                    <a:pt x="984052" y="4735465"/>
                  </a:lnTo>
                  <a:lnTo>
                    <a:pt x="980691" y="4766427"/>
                  </a:lnTo>
                  <a:lnTo>
                    <a:pt x="996129" y="4808846"/>
                  </a:lnTo>
                  <a:lnTo>
                    <a:pt x="1011086" y="4833325"/>
                  </a:lnTo>
                  <a:lnTo>
                    <a:pt x="1032849" y="4836043"/>
                  </a:lnTo>
                  <a:lnTo>
                    <a:pt x="1072155" y="4813034"/>
                  </a:lnTo>
                  <a:lnTo>
                    <a:pt x="1099505" y="4806122"/>
                  </a:lnTo>
                  <a:lnTo>
                    <a:pt x="1126846" y="4799211"/>
                  </a:lnTo>
                  <a:lnTo>
                    <a:pt x="1154934" y="4798703"/>
                  </a:lnTo>
                  <a:lnTo>
                    <a:pt x="1179184" y="4830946"/>
                  </a:lnTo>
                  <a:lnTo>
                    <a:pt x="1183602" y="4859125"/>
                  </a:lnTo>
                  <a:lnTo>
                    <a:pt x="1182468" y="4880935"/>
                  </a:lnTo>
                  <a:lnTo>
                    <a:pt x="1217712" y="4879873"/>
                  </a:lnTo>
                  <a:lnTo>
                    <a:pt x="1272124" y="4883270"/>
                  </a:lnTo>
                  <a:lnTo>
                    <a:pt x="1304888" y="4898616"/>
                  </a:lnTo>
                  <a:lnTo>
                    <a:pt x="1322577" y="5008791"/>
                  </a:lnTo>
                  <a:lnTo>
                    <a:pt x="1325274" y="5038124"/>
                  </a:lnTo>
                  <a:lnTo>
                    <a:pt x="1340517" y="5064603"/>
                  </a:lnTo>
                  <a:lnTo>
                    <a:pt x="1345701" y="5093125"/>
                  </a:lnTo>
                  <a:lnTo>
                    <a:pt x="1350203" y="5117480"/>
                  </a:lnTo>
                  <a:lnTo>
                    <a:pt x="1347915" y="5144600"/>
                  </a:lnTo>
                  <a:lnTo>
                    <a:pt x="1351133" y="5169297"/>
                  </a:lnTo>
                  <a:lnTo>
                    <a:pt x="1356572" y="5210014"/>
                  </a:lnTo>
                  <a:lnTo>
                    <a:pt x="1367635" y="5252010"/>
                  </a:lnTo>
                  <a:lnTo>
                    <a:pt x="1374264" y="5293070"/>
                  </a:lnTo>
                  <a:lnTo>
                    <a:pt x="1382759" y="5345948"/>
                  </a:lnTo>
                  <a:lnTo>
                    <a:pt x="1397642" y="5415788"/>
                  </a:lnTo>
                  <a:lnTo>
                    <a:pt x="1390585" y="5468541"/>
                  </a:lnTo>
                  <a:lnTo>
                    <a:pt x="1386319" y="5500513"/>
                  </a:lnTo>
                  <a:lnTo>
                    <a:pt x="1375529" y="5519671"/>
                  </a:lnTo>
                  <a:lnTo>
                    <a:pt x="1345788" y="5545267"/>
                  </a:lnTo>
                  <a:lnTo>
                    <a:pt x="1306255" y="5554229"/>
                  </a:lnTo>
                  <a:lnTo>
                    <a:pt x="1264751" y="5558726"/>
                  </a:lnTo>
                  <a:lnTo>
                    <a:pt x="1225327" y="5566059"/>
                  </a:lnTo>
                  <a:lnTo>
                    <a:pt x="1193357" y="5586879"/>
                  </a:lnTo>
                  <a:lnTo>
                    <a:pt x="1181035" y="5617057"/>
                  </a:lnTo>
                  <a:lnTo>
                    <a:pt x="1196628" y="5716734"/>
                  </a:lnTo>
                  <a:lnTo>
                    <a:pt x="1206196" y="5804043"/>
                  </a:lnTo>
                  <a:lnTo>
                    <a:pt x="1232799" y="5891565"/>
                  </a:lnTo>
                  <a:lnTo>
                    <a:pt x="1239007" y="5911962"/>
                  </a:lnTo>
                  <a:lnTo>
                    <a:pt x="1254643" y="5931945"/>
                  </a:lnTo>
                  <a:lnTo>
                    <a:pt x="1260004" y="5954130"/>
                  </a:lnTo>
                  <a:lnTo>
                    <a:pt x="1265762" y="5978102"/>
                  </a:lnTo>
                  <a:lnTo>
                    <a:pt x="1272937" y="6024214"/>
                  </a:lnTo>
                  <a:lnTo>
                    <a:pt x="1273603" y="6069745"/>
                  </a:lnTo>
                  <a:lnTo>
                    <a:pt x="1274065" y="6092511"/>
                  </a:lnTo>
                  <a:lnTo>
                    <a:pt x="1272602" y="6115666"/>
                  </a:lnTo>
                  <a:lnTo>
                    <a:pt x="1263737" y="6154405"/>
                  </a:lnTo>
                  <a:lnTo>
                    <a:pt x="1245047" y="6181285"/>
                  </a:lnTo>
                  <a:lnTo>
                    <a:pt x="1193382" y="6229712"/>
                  </a:lnTo>
                  <a:lnTo>
                    <a:pt x="1152547" y="6262897"/>
                  </a:lnTo>
                  <a:lnTo>
                    <a:pt x="1132130" y="6279490"/>
                  </a:lnTo>
                  <a:lnTo>
                    <a:pt x="1111139" y="6295053"/>
                  </a:lnTo>
                  <a:lnTo>
                    <a:pt x="1092706" y="6305057"/>
                  </a:lnTo>
                  <a:lnTo>
                    <a:pt x="1074251" y="6315069"/>
                  </a:lnTo>
                  <a:lnTo>
                    <a:pt x="1047812" y="6314581"/>
                  </a:lnTo>
                  <a:lnTo>
                    <a:pt x="1023122" y="6303529"/>
                  </a:lnTo>
                  <a:lnTo>
                    <a:pt x="997006" y="6294308"/>
                  </a:lnTo>
                  <a:lnTo>
                    <a:pt x="973008" y="6281936"/>
                  </a:lnTo>
                  <a:lnTo>
                    <a:pt x="951539" y="6270890"/>
                  </a:lnTo>
                  <a:lnTo>
                    <a:pt x="928545" y="6250782"/>
                  </a:lnTo>
                  <a:lnTo>
                    <a:pt x="906351" y="6242492"/>
                  </a:lnTo>
                  <a:lnTo>
                    <a:pt x="884886" y="6234479"/>
                  </a:lnTo>
                  <a:lnTo>
                    <a:pt x="846181" y="6228050"/>
                  </a:lnTo>
                  <a:lnTo>
                    <a:pt x="809777" y="6218005"/>
                  </a:lnTo>
                  <a:lnTo>
                    <a:pt x="773373" y="6207967"/>
                  </a:lnTo>
                  <a:lnTo>
                    <a:pt x="739766" y="6193630"/>
                  </a:lnTo>
                  <a:lnTo>
                    <a:pt x="726806" y="6171762"/>
                  </a:lnTo>
                  <a:lnTo>
                    <a:pt x="717290" y="6117354"/>
                  </a:lnTo>
                  <a:lnTo>
                    <a:pt x="698137" y="6088791"/>
                  </a:lnTo>
                  <a:lnTo>
                    <a:pt x="675556" y="6077843"/>
                  </a:lnTo>
                  <a:lnTo>
                    <a:pt x="650633" y="6071110"/>
                  </a:lnTo>
                  <a:lnTo>
                    <a:pt x="625714" y="6064370"/>
                  </a:lnTo>
                  <a:lnTo>
                    <a:pt x="598540" y="6062181"/>
                  </a:lnTo>
                  <a:lnTo>
                    <a:pt x="570381" y="6053423"/>
                  </a:lnTo>
                  <a:lnTo>
                    <a:pt x="546277" y="6045944"/>
                  </a:lnTo>
                  <a:lnTo>
                    <a:pt x="525252" y="6034621"/>
                  </a:lnTo>
                  <a:lnTo>
                    <a:pt x="503734" y="6026219"/>
                  </a:lnTo>
                  <a:lnTo>
                    <a:pt x="482213" y="6017818"/>
                  </a:lnTo>
                  <a:lnTo>
                    <a:pt x="460459" y="6012086"/>
                  </a:lnTo>
                  <a:lnTo>
                    <a:pt x="434361" y="6016697"/>
                  </a:lnTo>
                  <a:lnTo>
                    <a:pt x="394410" y="6023799"/>
                  </a:lnTo>
                  <a:lnTo>
                    <a:pt x="355380" y="6047264"/>
                  </a:lnTo>
                  <a:lnTo>
                    <a:pt x="317382" y="6053423"/>
                  </a:lnTo>
                  <a:lnTo>
                    <a:pt x="288820" y="6049347"/>
                  </a:lnTo>
                  <a:lnTo>
                    <a:pt x="264232" y="6046076"/>
                  </a:lnTo>
                  <a:lnTo>
                    <a:pt x="228969" y="6053423"/>
                  </a:lnTo>
                  <a:lnTo>
                    <a:pt x="196010" y="6069852"/>
                  </a:lnTo>
                  <a:lnTo>
                    <a:pt x="175921" y="6083350"/>
                  </a:lnTo>
                  <a:lnTo>
                    <a:pt x="159649" y="6109882"/>
                  </a:lnTo>
                  <a:lnTo>
                    <a:pt x="154710" y="6139454"/>
                  </a:lnTo>
                  <a:lnTo>
                    <a:pt x="154158" y="6171762"/>
                  </a:lnTo>
                  <a:lnTo>
                    <a:pt x="153563" y="6204070"/>
                  </a:lnTo>
                  <a:lnTo>
                    <a:pt x="158245" y="6239314"/>
                  </a:lnTo>
                  <a:lnTo>
                    <a:pt x="162322" y="6275137"/>
                  </a:lnTo>
                  <a:lnTo>
                    <a:pt x="166371" y="6310961"/>
                  </a:lnTo>
                  <a:lnTo>
                    <a:pt x="170164" y="6346877"/>
                  </a:lnTo>
                  <a:lnTo>
                    <a:pt x="167764" y="6383953"/>
                  </a:lnTo>
                  <a:lnTo>
                    <a:pt x="165370" y="6421030"/>
                  </a:lnTo>
                  <a:lnTo>
                    <a:pt x="156459" y="6458053"/>
                  </a:lnTo>
                  <a:lnTo>
                    <a:pt x="136476" y="6494128"/>
                  </a:lnTo>
                  <a:lnTo>
                    <a:pt x="162452" y="6541479"/>
                  </a:lnTo>
                  <a:lnTo>
                    <a:pt x="176647" y="6570041"/>
                  </a:lnTo>
                  <a:lnTo>
                    <a:pt x="154031" y="6639631"/>
                  </a:lnTo>
                  <a:lnTo>
                    <a:pt x="154158" y="6676397"/>
                  </a:lnTo>
                  <a:lnTo>
                    <a:pt x="211414" y="6681924"/>
                  </a:lnTo>
                  <a:lnTo>
                    <a:pt x="246348" y="6685921"/>
                  </a:lnTo>
                  <a:lnTo>
                    <a:pt x="268415" y="6692719"/>
                  </a:lnTo>
                  <a:lnTo>
                    <a:pt x="290494" y="6699519"/>
                  </a:lnTo>
                  <a:lnTo>
                    <a:pt x="305141" y="6722641"/>
                  </a:lnTo>
                  <a:lnTo>
                    <a:pt x="314235" y="6756400"/>
                  </a:lnTo>
                  <a:lnTo>
                    <a:pt x="322821" y="6783848"/>
                  </a:lnTo>
                  <a:lnTo>
                    <a:pt x="331428" y="6811302"/>
                  </a:lnTo>
                  <a:lnTo>
                    <a:pt x="345582" y="6845834"/>
                  </a:lnTo>
                  <a:lnTo>
                    <a:pt x="375872" y="6892663"/>
                  </a:lnTo>
                  <a:lnTo>
                    <a:pt x="356958" y="6903315"/>
                  </a:lnTo>
                  <a:lnTo>
                    <a:pt x="318620" y="6909224"/>
                  </a:lnTo>
                  <a:lnTo>
                    <a:pt x="294258" y="6910741"/>
                  </a:lnTo>
                  <a:lnTo>
                    <a:pt x="269779" y="6911710"/>
                  </a:lnTo>
                  <a:lnTo>
                    <a:pt x="245294" y="6912679"/>
                  </a:lnTo>
                  <a:lnTo>
                    <a:pt x="220114" y="6912995"/>
                  </a:lnTo>
                  <a:lnTo>
                    <a:pt x="199049" y="6913068"/>
                  </a:lnTo>
                  <a:lnTo>
                    <a:pt x="177983" y="6913135"/>
                  </a:lnTo>
                  <a:lnTo>
                    <a:pt x="151445" y="6913068"/>
                  </a:lnTo>
                  <a:lnTo>
                    <a:pt x="135124" y="6951154"/>
                  </a:lnTo>
                  <a:lnTo>
                    <a:pt x="106127" y="6956977"/>
                  </a:lnTo>
                  <a:lnTo>
                    <a:pt x="67026" y="6952810"/>
                  </a:lnTo>
                  <a:lnTo>
                    <a:pt x="38541" y="6947079"/>
                  </a:lnTo>
                  <a:lnTo>
                    <a:pt x="12697" y="6970200"/>
                  </a:lnTo>
                  <a:lnTo>
                    <a:pt x="726" y="7017684"/>
                  </a:lnTo>
                  <a:lnTo>
                    <a:pt x="456" y="7049096"/>
                  </a:lnTo>
                  <a:lnTo>
                    <a:pt x="0" y="7080500"/>
                  </a:lnTo>
                  <a:lnTo>
                    <a:pt x="5113" y="7111259"/>
                  </a:lnTo>
                  <a:lnTo>
                    <a:pt x="128318" y="7145665"/>
                  </a:lnTo>
                  <a:lnTo>
                    <a:pt x="144171" y="7177465"/>
                  </a:lnTo>
                  <a:lnTo>
                    <a:pt x="153532" y="7201899"/>
                  </a:lnTo>
                  <a:lnTo>
                    <a:pt x="159597" y="7227275"/>
                  </a:lnTo>
                  <a:lnTo>
                    <a:pt x="165680" y="7252660"/>
                  </a:lnTo>
                  <a:lnTo>
                    <a:pt x="168483" y="7279158"/>
                  </a:lnTo>
                  <a:lnTo>
                    <a:pt x="160949" y="7299372"/>
                  </a:lnTo>
                  <a:lnTo>
                    <a:pt x="175782" y="7330816"/>
                  </a:lnTo>
                  <a:lnTo>
                    <a:pt x="178749" y="7365861"/>
                  </a:lnTo>
                  <a:lnTo>
                    <a:pt x="173183" y="7402747"/>
                  </a:lnTo>
                  <a:lnTo>
                    <a:pt x="166080" y="7439289"/>
                  </a:lnTo>
                  <a:lnTo>
                    <a:pt x="151315" y="7475093"/>
                  </a:lnTo>
                  <a:lnTo>
                    <a:pt x="141899" y="7504764"/>
                  </a:lnTo>
                  <a:lnTo>
                    <a:pt x="143725" y="7527121"/>
                  </a:lnTo>
                  <a:lnTo>
                    <a:pt x="154878" y="7550532"/>
                  </a:lnTo>
                  <a:lnTo>
                    <a:pt x="178625" y="7572771"/>
                  </a:lnTo>
                  <a:lnTo>
                    <a:pt x="206078" y="7589567"/>
                  </a:lnTo>
                  <a:lnTo>
                    <a:pt x="254295" y="7604471"/>
                  </a:lnTo>
                  <a:lnTo>
                    <a:pt x="291251" y="7605559"/>
                  </a:lnTo>
                  <a:lnTo>
                    <a:pt x="322802" y="7601332"/>
                  </a:lnTo>
                  <a:lnTo>
                    <a:pt x="347970" y="7597969"/>
                  </a:lnTo>
                  <a:lnTo>
                    <a:pt x="405529" y="7573661"/>
                  </a:lnTo>
                  <a:lnTo>
                    <a:pt x="426176" y="7578211"/>
                  </a:lnTo>
                  <a:lnTo>
                    <a:pt x="444999" y="7652133"/>
                  </a:lnTo>
                  <a:lnTo>
                    <a:pt x="449306" y="7714230"/>
                  </a:lnTo>
                  <a:lnTo>
                    <a:pt x="453613" y="7776329"/>
                  </a:lnTo>
                  <a:lnTo>
                    <a:pt x="456400" y="7839244"/>
                  </a:lnTo>
                  <a:lnTo>
                    <a:pt x="486746" y="7870780"/>
                  </a:lnTo>
                  <a:lnTo>
                    <a:pt x="509833" y="7891100"/>
                  </a:lnTo>
                  <a:lnTo>
                    <a:pt x="528194" y="7912823"/>
                  </a:lnTo>
                  <a:lnTo>
                    <a:pt x="552872" y="7941979"/>
                  </a:lnTo>
                  <a:lnTo>
                    <a:pt x="562440" y="7984510"/>
                  </a:lnTo>
                  <a:lnTo>
                    <a:pt x="571720" y="8027073"/>
                  </a:lnTo>
                  <a:lnTo>
                    <a:pt x="581000" y="8069643"/>
                  </a:lnTo>
                  <a:lnTo>
                    <a:pt x="589242" y="8111725"/>
                  </a:lnTo>
                  <a:lnTo>
                    <a:pt x="611163" y="8138612"/>
                  </a:lnTo>
                  <a:lnTo>
                    <a:pt x="660323" y="8161484"/>
                  </a:lnTo>
                  <a:lnTo>
                    <a:pt x="695499" y="8167175"/>
                  </a:lnTo>
                  <a:lnTo>
                    <a:pt x="730672" y="8172866"/>
                  </a:lnTo>
                  <a:lnTo>
                    <a:pt x="764595" y="8176104"/>
                  </a:lnTo>
                  <a:lnTo>
                    <a:pt x="772502" y="8210615"/>
                  </a:lnTo>
                  <a:lnTo>
                    <a:pt x="736005" y="8241012"/>
                  </a:lnTo>
                  <a:lnTo>
                    <a:pt x="648748" y="8252698"/>
                  </a:lnTo>
                  <a:lnTo>
                    <a:pt x="643347" y="8277884"/>
                  </a:lnTo>
                  <a:lnTo>
                    <a:pt x="651610" y="8305590"/>
                  </a:lnTo>
                  <a:lnTo>
                    <a:pt x="662862" y="8330399"/>
                  </a:lnTo>
                  <a:lnTo>
                    <a:pt x="674099" y="8355216"/>
                  </a:lnTo>
                  <a:lnTo>
                    <a:pt x="688805" y="8377177"/>
                  </a:lnTo>
                  <a:lnTo>
                    <a:pt x="722229" y="8380560"/>
                  </a:lnTo>
                  <a:lnTo>
                    <a:pt x="763420" y="8377968"/>
                  </a:lnTo>
                  <a:lnTo>
                    <a:pt x="789220" y="8402850"/>
                  </a:lnTo>
                  <a:lnTo>
                    <a:pt x="781602" y="8432765"/>
                  </a:lnTo>
                  <a:lnTo>
                    <a:pt x="773029" y="8466418"/>
                  </a:lnTo>
                  <a:lnTo>
                    <a:pt x="764437" y="8500072"/>
                  </a:lnTo>
                  <a:lnTo>
                    <a:pt x="754267" y="8538402"/>
                  </a:lnTo>
                  <a:lnTo>
                    <a:pt x="759424" y="8571153"/>
                  </a:lnTo>
                  <a:lnTo>
                    <a:pt x="786172" y="8586723"/>
                  </a:lnTo>
                  <a:lnTo>
                    <a:pt x="821997" y="8577959"/>
                  </a:lnTo>
                  <a:lnTo>
                    <a:pt x="863321" y="8562645"/>
                  </a:lnTo>
                  <a:lnTo>
                    <a:pt x="884570" y="8552112"/>
                  </a:lnTo>
                  <a:lnTo>
                    <a:pt x="927060" y="8531049"/>
                  </a:lnTo>
                  <a:lnTo>
                    <a:pt x="967566" y="8508118"/>
                  </a:lnTo>
                  <a:lnTo>
                    <a:pt x="998609" y="8513560"/>
                  </a:lnTo>
                  <a:lnTo>
                    <a:pt x="1017451" y="8533239"/>
                  </a:lnTo>
                  <a:lnTo>
                    <a:pt x="1040145" y="8566820"/>
                  </a:lnTo>
                  <a:lnTo>
                    <a:pt x="1053325" y="8592705"/>
                  </a:lnTo>
                  <a:lnTo>
                    <a:pt x="1068192" y="8616043"/>
                  </a:lnTo>
                  <a:lnTo>
                    <a:pt x="1092848" y="8654723"/>
                  </a:lnTo>
                  <a:lnTo>
                    <a:pt x="1125777" y="8692367"/>
                  </a:lnTo>
                  <a:lnTo>
                    <a:pt x="1157973" y="8730300"/>
                  </a:lnTo>
                  <a:lnTo>
                    <a:pt x="1190151" y="8768234"/>
                  </a:lnTo>
                  <a:lnTo>
                    <a:pt x="1220667" y="8806940"/>
                  </a:lnTo>
                  <a:lnTo>
                    <a:pt x="1239580" y="8848640"/>
                  </a:lnTo>
                  <a:lnTo>
                    <a:pt x="1272053" y="8844617"/>
                  </a:lnTo>
                  <a:lnTo>
                    <a:pt x="1299598" y="8820019"/>
                  </a:lnTo>
                  <a:lnTo>
                    <a:pt x="1322549" y="8794231"/>
                  </a:lnTo>
                  <a:lnTo>
                    <a:pt x="1341348" y="8775021"/>
                  </a:lnTo>
                  <a:lnTo>
                    <a:pt x="1418962" y="8721972"/>
                  </a:lnTo>
                  <a:lnTo>
                    <a:pt x="1446334" y="8708537"/>
                  </a:lnTo>
                  <a:lnTo>
                    <a:pt x="1482642" y="8743016"/>
                  </a:lnTo>
                  <a:lnTo>
                    <a:pt x="1496607" y="8762425"/>
                  </a:lnTo>
                  <a:lnTo>
                    <a:pt x="1521194" y="8787940"/>
                  </a:lnTo>
                  <a:lnTo>
                    <a:pt x="1541540" y="8798307"/>
                  </a:lnTo>
                  <a:lnTo>
                    <a:pt x="1562785" y="8806947"/>
                  </a:lnTo>
                  <a:lnTo>
                    <a:pt x="1584775" y="8807613"/>
                  </a:lnTo>
                  <a:lnTo>
                    <a:pt x="1619074" y="8837751"/>
                  </a:lnTo>
                  <a:lnTo>
                    <a:pt x="1659803" y="8873542"/>
                  </a:lnTo>
                  <a:lnTo>
                    <a:pt x="1681854" y="8951711"/>
                  </a:lnTo>
                  <a:lnTo>
                    <a:pt x="1725169" y="8991453"/>
                  </a:lnTo>
                  <a:lnTo>
                    <a:pt x="1747828" y="9012201"/>
                  </a:lnTo>
                  <a:lnTo>
                    <a:pt x="1775845" y="9027922"/>
                  </a:lnTo>
                  <a:lnTo>
                    <a:pt x="1798622" y="9048584"/>
                  </a:lnTo>
                  <a:lnTo>
                    <a:pt x="1822596" y="9070261"/>
                  </a:lnTo>
                  <a:lnTo>
                    <a:pt x="1839339" y="9103071"/>
                  </a:lnTo>
                  <a:lnTo>
                    <a:pt x="1866631" y="9124755"/>
                  </a:lnTo>
                  <a:lnTo>
                    <a:pt x="1900259" y="9151366"/>
                  </a:lnTo>
                  <a:lnTo>
                    <a:pt x="1939445" y="9171216"/>
                  </a:lnTo>
                  <a:lnTo>
                    <a:pt x="1972726" y="9198202"/>
                  </a:lnTo>
                  <a:lnTo>
                    <a:pt x="1993085" y="9214762"/>
                  </a:lnTo>
                  <a:lnTo>
                    <a:pt x="2010523" y="9239111"/>
                  </a:lnTo>
                  <a:lnTo>
                    <a:pt x="2025771" y="9264852"/>
                  </a:lnTo>
                  <a:lnTo>
                    <a:pt x="2041032" y="9290596"/>
                  </a:lnTo>
                  <a:lnTo>
                    <a:pt x="2054917" y="9317602"/>
                  </a:lnTo>
                  <a:lnTo>
                    <a:pt x="2067939" y="9339663"/>
                  </a:lnTo>
                  <a:lnTo>
                    <a:pt x="2073719" y="9361044"/>
                  </a:lnTo>
                  <a:lnTo>
                    <a:pt x="2101940" y="9377747"/>
                  </a:lnTo>
                  <a:lnTo>
                    <a:pt x="2135104" y="9358242"/>
                  </a:lnTo>
                  <a:lnTo>
                    <a:pt x="2145448" y="9308378"/>
                  </a:lnTo>
                  <a:lnTo>
                    <a:pt x="2226937" y="9294094"/>
                  </a:lnTo>
                  <a:lnTo>
                    <a:pt x="2278841" y="9323301"/>
                  </a:lnTo>
                  <a:lnTo>
                    <a:pt x="2327719" y="9326064"/>
                  </a:lnTo>
                  <a:lnTo>
                    <a:pt x="2355593" y="9327636"/>
                  </a:lnTo>
                  <a:lnTo>
                    <a:pt x="2386419" y="9306167"/>
                  </a:lnTo>
                  <a:lnTo>
                    <a:pt x="2416129" y="9311100"/>
                  </a:lnTo>
                  <a:lnTo>
                    <a:pt x="2429703" y="9355947"/>
                  </a:lnTo>
                  <a:lnTo>
                    <a:pt x="2410083" y="9384435"/>
                  </a:lnTo>
                  <a:lnTo>
                    <a:pt x="2390282" y="9413119"/>
                  </a:lnTo>
                  <a:lnTo>
                    <a:pt x="2370501" y="9441793"/>
                  </a:lnTo>
                  <a:lnTo>
                    <a:pt x="2350117" y="9470644"/>
                  </a:lnTo>
                  <a:lnTo>
                    <a:pt x="2344040" y="9501529"/>
                  </a:lnTo>
                  <a:lnTo>
                    <a:pt x="2338478" y="9529834"/>
                  </a:lnTo>
                  <a:lnTo>
                    <a:pt x="2354160" y="9565243"/>
                  </a:lnTo>
                  <a:lnTo>
                    <a:pt x="2345392" y="9589939"/>
                  </a:lnTo>
                  <a:lnTo>
                    <a:pt x="2321617" y="9611959"/>
                  </a:lnTo>
                  <a:lnTo>
                    <a:pt x="2304055" y="9648695"/>
                  </a:lnTo>
                  <a:lnTo>
                    <a:pt x="2293711" y="9687874"/>
                  </a:lnTo>
                  <a:lnTo>
                    <a:pt x="2283362" y="9727053"/>
                  </a:lnTo>
                  <a:lnTo>
                    <a:pt x="2280751" y="9769274"/>
                  </a:lnTo>
                  <a:lnTo>
                    <a:pt x="2285551" y="9800773"/>
                  </a:lnTo>
                  <a:lnTo>
                    <a:pt x="2288980" y="9823348"/>
                  </a:lnTo>
                  <a:lnTo>
                    <a:pt x="2303745" y="9846593"/>
                  </a:lnTo>
                  <a:lnTo>
                    <a:pt x="2299150" y="9870145"/>
                  </a:lnTo>
                  <a:lnTo>
                    <a:pt x="2281173" y="9892243"/>
                  </a:lnTo>
                  <a:lnTo>
                    <a:pt x="2241088" y="9915070"/>
                  </a:lnTo>
                  <a:lnTo>
                    <a:pt x="2216172" y="9927270"/>
                  </a:lnTo>
                  <a:lnTo>
                    <a:pt x="2203770" y="9891161"/>
                  </a:lnTo>
                  <a:lnTo>
                    <a:pt x="2186493" y="9852732"/>
                  </a:lnTo>
                  <a:lnTo>
                    <a:pt x="2161763" y="9823894"/>
                  </a:lnTo>
                  <a:lnTo>
                    <a:pt x="2136065" y="9798252"/>
                  </a:lnTo>
                  <a:lnTo>
                    <a:pt x="2103149" y="9781527"/>
                  </a:lnTo>
                  <a:lnTo>
                    <a:pt x="2062476" y="9776284"/>
                  </a:lnTo>
                  <a:lnTo>
                    <a:pt x="2041516" y="9783071"/>
                  </a:lnTo>
                  <a:lnTo>
                    <a:pt x="2016228" y="9803495"/>
                  </a:lnTo>
                  <a:lnTo>
                    <a:pt x="1997277" y="9826387"/>
                  </a:lnTo>
                  <a:lnTo>
                    <a:pt x="1980682" y="9867876"/>
                  </a:lnTo>
                  <a:lnTo>
                    <a:pt x="1976838" y="9900453"/>
                  </a:lnTo>
                  <a:lnTo>
                    <a:pt x="1961818" y="9935434"/>
                  </a:lnTo>
                  <a:lnTo>
                    <a:pt x="1953286" y="9955303"/>
                  </a:lnTo>
                  <a:lnTo>
                    <a:pt x="1937733" y="9974799"/>
                  </a:lnTo>
                  <a:lnTo>
                    <a:pt x="1925095" y="9995282"/>
                  </a:lnTo>
                  <a:lnTo>
                    <a:pt x="1912451" y="10015758"/>
                  </a:lnTo>
                  <a:lnTo>
                    <a:pt x="1902610" y="10038209"/>
                  </a:lnTo>
                  <a:lnTo>
                    <a:pt x="1903335" y="10061932"/>
                  </a:lnTo>
                  <a:lnTo>
                    <a:pt x="1904123" y="10087137"/>
                  </a:lnTo>
                  <a:lnTo>
                    <a:pt x="1915397" y="10138867"/>
                  </a:lnTo>
                  <a:lnTo>
                    <a:pt x="1903335" y="10161222"/>
                  </a:lnTo>
                  <a:lnTo>
                    <a:pt x="1885389" y="10183159"/>
                  </a:lnTo>
                  <a:lnTo>
                    <a:pt x="1773935" y="10220394"/>
                  </a:lnTo>
                  <a:lnTo>
                    <a:pt x="1748269" y="10226514"/>
                  </a:lnTo>
                  <a:lnTo>
                    <a:pt x="1688527" y="10229652"/>
                  </a:lnTo>
                  <a:lnTo>
                    <a:pt x="1644895" y="10225153"/>
                  </a:lnTo>
                  <a:lnTo>
                    <a:pt x="1601258" y="10220657"/>
                  </a:lnTo>
                  <a:lnTo>
                    <a:pt x="1558283" y="10212704"/>
                  </a:lnTo>
                  <a:lnTo>
                    <a:pt x="1546799" y="10188216"/>
                  </a:lnTo>
                  <a:lnTo>
                    <a:pt x="1530632" y="10168028"/>
                  </a:lnTo>
                  <a:lnTo>
                    <a:pt x="1510069" y="10156252"/>
                  </a:lnTo>
                  <a:lnTo>
                    <a:pt x="1480316" y="10174868"/>
                  </a:lnTo>
                  <a:lnTo>
                    <a:pt x="1455828" y="10166670"/>
                  </a:lnTo>
                  <a:lnTo>
                    <a:pt x="1424549" y="10127221"/>
                  </a:lnTo>
                  <a:lnTo>
                    <a:pt x="1399298" y="10129903"/>
                  </a:lnTo>
                  <a:lnTo>
                    <a:pt x="1354147" y="10151409"/>
                  </a:lnTo>
                  <a:lnTo>
                    <a:pt x="1341571" y="10172111"/>
                  </a:lnTo>
                  <a:lnTo>
                    <a:pt x="1328815" y="10193130"/>
                  </a:lnTo>
                  <a:lnTo>
                    <a:pt x="1323888" y="10222437"/>
                  </a:lnTo>
                  <a:lnTo>
                    <a:pt x="1328381" y="10248482"/>
                  </a:lnTo>
                  <a:lnTo>
                    <a:pt x="1351611" y="10280526"/>
                  </a:lnTo>
                  <a:lnTo>
                    <a:pt x="1377463" y="10298587"/>
                  </a:lnTo>
                  <a:lnTo>
                    <a:pt x="1393252" y="10331252"/>
                  </a:lnTo>
                  <a:lnTo>
                    <a:pt x="1406287" y="10358159"/>
                  </a:lnTo>
                  <a:lnTo>
                    <a:pt x="1422081" y="10422614"/>
                  </a:lnTo>
                  <a:lnTo>
                    <a:pt x="1431345" y="10486312"/>
                  </a:lnTo>
                  <a:lnTo>
                    <a:pt x="1440610" y="10550020"/>
                  </a:lnTo>
                  <a:lnTo>
                    <a:pt x="1444244" y="10613542"/>
                  </a:lnTo>
                  <a:lnTo>
                    <a:pt x="1434043" y="10641379"/>
                  </a:lnTo>
                  <a:lnTo>
                    <a:pt x="1418484" y="10658730"/>
                  </a:lnTo>
                  <a:lnTo>
                    <a:pt x="1395193" y="10668614"/>
                  </a:lnTo>
                  <a:lnTo>
                    <a:pt x="1368751" y="10674022"/>
                  </a:lnTo>
                  <a:lnTo>
                    <a:pt x="1342309" y="10679432"/>
                  </a:lnTo>
                  <a:lnTo>
                    <a:pt x="1312677" y="10680446"/>
                  </a:lnTo>
                  <a:lnTo>
                    <a:pt x="1283060" y="10680821"/>
                  </a:lnTo>
                  <a:lnTo>
                    <a:pt x="1253434" y="10681218"/>
                  </a:lnTo>
                  <a:lnTo>
                    <a:pt x="1223829" y="10679925"/>
                  </a:lnTo>
                  <a:lnTo>
                    <a:pt x="1198724" y="10682182"/>
                  </a:lnTo>
                  <a:lnTo>
                    <a:pt x="1173625" y="10684437"/>
                  </a:lnTo>
                  <a:lnTo>
                    <a:pt x="1153114" y="10690173"/>
                  </a:lnTo>
                  <a:lnTo>
                    <a:pt x="1133435" y="10721631"/>
                  </a:lnTo>
                  <a:lnTo>
                    <a:pt x="1154603" y="10767151"/>
                  </a:lnTo>
                  <a:lnTo>
                    <a:pt x="1186278" y="10791168"/>
                  </a:lnTo>
                  <a:lnTo>
                    <a:pt x="1220487" y="10825002"/>
                  </a:lnTo>
                  <a:lnTo>
                    <a:pt x="1236762" y="10841112"/>
                  </a:lnTo>
                  <a:lnTo>
                    <a:pt x="1249319" y="10860581"/>
                  </a:lnTo>
                  <a:lnTo>
                    <a:pt x="1269455" y="10875333"/>
                  </a:lnTo>
                  <a:lnTo>
                    <a:pt x="1298743" y="10896669"/>
                  </a:lnTo>
                  <a:lnTo>
                    <a:pt x="1333299" y="10901639"/>
                  </a:lnTo>
                  <a:lnTo>
                    <a:pt x="1366029" y="10914776"/>
                  </a:lnTo>
                  <a:lnTo>
                    <a:pt x="1400885" y="10928719"/>
                  </a:lnTo>
                  <a:lnTo>
                    <a:pt x="1507322" y="10987506"/>
                  </a:lnTo>
                  <a:lnTo>
                    <a:pt x="1527898" y="11014069"/>
                  </a:lnTo>
                  <a:lnTo>
                    <a:pt x="1551940" y="11045100"/>
                  </a:lnTo>
                  <a:lnTo>
                    <a:pt x="1572540" y="11079439"/>
                  </a:lnTo>
                  <a:lnTo>
                    <a:pt x="1589103" y="11116085"/>
                  </a:lnTo>
                  <a:lnTo>
                    <a:pt x="1605660" y="11152734"/>
                  </a:lnTo>
                  <a:lnTo>
                    <a:pt x="1618026" y="11190641"/>
                  </a:lnTo>
                  <a:lnTo>
                    <a:pt x="1629907" y="11227619"/>
                  </a:lnTo>
                  <a:lnTo>
                    <a:pt x="1637268" y="11250616"/>
                  </a:lnTo>
                  <a:lnTo>
                    <a:pt x="1657118" y="11375542"/>
                  </a:lnTo>
                  <a:lnTo>
                    <a:pt x="1719508" y="11416522"/>
                  </a:lnTo>
                  <a:lnTo>
                    <a:pt x="1780335" y="11457794"/>
                  </a:lnTo>
                  <a:lnTo>
                    <a:pt x="1817616" y="11507822"/>
                  </a:lnTo>
                  <a:lnTo>
                    <a:pt x="1837256" y="11477855"/>
                  </a:lnTo>
                  <a:lnTo>
                    <a:pt x="1859908" y="11443978"/>
                  </a:lnTo>
                  <a:lnTo>
                    <a:pt x="1880186" y="11423495"/>
                  </a:lnTo>
                  <a:lnTo>
                    <a:pt x="1916184" y="11452821"/>
                  </a:lnTo>
                  <a:lnTo>
                    <a:pt x="1939438" y="11485975"/>
                  </a:lnTo>
                  <a:lnTo>
                    <a:pt x="1963158" y="11506464"/>
                  </a:lnTo>
                  <a:lnTo>
                    <a:pt x="1981476" y="11522320"/>
                  </a:lnTo>
                  <a:lnTo>
                    <a:pt x="2003986" y="11533253"/>
                  </a:lnTo>
                  <a:lnTo>
                    <a:pt x="2024364" y="11545910"/>
                  </a:lnTo>
                  <a:lnTo>
                    <a:pt x="2044747" y="11558566"/>
                  </a:lnTo>
                  <a:lnTo>
                    <a:pt x="2063003" y="11573542"/>
                  </a:lnTo>
                  <a:lnTo>
                    <a:pt x="2076050" y="11596235"/>
                  </a:lnTo>
                  <a:lnTo>
                    <a:pt x="2074531" y="11619316"/>
                  </a:lnTo>
                  <a:lnTo>
                    <a:pt x="2058520" y="11641166"/>
                  </a:lnTo>
                  <a:lnTo>
                    <a:pt x="2033889" y="11662888"/>
                  </a:lnTo>
                  <a:lnTo>
                    <a:pt x="2008364" y="11684527"/>
                  </a:lnTo>
                  <a:lnTo>
                    <a:pt x="1980459" y="11706858"/>
                  </a:lnTo>
                  <a:lnTo>
                    <a:pt x="1972677" y="11733619"/>
                  </a:lnTo>
                  <a:lnTo>
                    <a:pt x="1981817" y="11761245"/>
                  </a:lnTo>
                  <a:lnTo>
                    <a:pt x="2002356" y="11784242"/>
                  </a:lnTo>
                  <a:lnTo>
                    <a:pt x="2023005" y="11808427"/>
                  </a:lnTo>
                  <a:lnTo>
                    <a:pt x="2043655" y="11832615"/>
                  </a:lnTo>
                  <a:lnTo>
                    <a:pt x="2064088" y="11858117"/>
                  </a:lnTo>
                  <a:lnTo>
                    <a:pt x="2070618" y="11891402"/>
                  </a:lnTo>
                  <a:lnTo>
                    <a:pt x="2055481" y="11918904"/>
                  </a:lnTo>
                  <a:lnTo>
                    <a:pt x="1991553" y="11960985"/>
                  </a:lnTo>
                  <a:lnTo>
                    <a:pt x="1967238" y="11977089"/>
                  </a:lnTo>
                  <a:lnTo>
                    <a:pt x="1934043" y="11966678"/>
                  </a:lnTo>
                  <a:lnTo>
                    <a:pt x="1879721" y="11931440"/>
                  </a:lnTo>
                  <a:lnTo>
                    <a:pt x="1852343" y="11946022"/>
                  </a:lnTo>
                  <a:lnTo>
                    <a:pt x="1831389" y="11957630"/>
                  </a:lnTo>
                  <a:lnTo>
                    <a:pt x="1817499" y="11976457"/>
                  </a:lnTo>
                  <a:lnTo>
                    <a:pt x="1799937" y="11992053"/>
                  </a:lnTo>
                  <a:lnTo>
                    <a:pt x="1779064" y="12006188"/>
                  </a:lnTo>
                  <a:lnTo>
                    <a:pt x="1759933" y="12025167"/>
                  </a:lnTo>
                  <a:lnTo>
                    <a:pt x="1673390" y="12111283"/>
                  </a:lnTo>
                  <a:lnTo>
                    <a:pt x="1667988" y="12132156"/>
                  </a:lnTo>
                  <a:lnTo>
                    <a:pt x="1677687" y="12186987"/>
                  </a:lnTo>
                  <a:lnTo>
                    <a:pt x="1733281" y="12296738"/>
                  </a:lnTo>
                  <a:lnTo>
                    <a:pt x="1787690" y="12396031"/>
                  </a:lnTo>
                  <a:lnTo>
                    <a:pt x="1852510" y="12362542"/>
                  </a:lnTo>
                  <a:lnTo>
                    <a:pt x="1910789" y="12344261"/>
                  </a:lnTo>
                  <a:lnTo>
                    <a:pt x="1965874" y="12315785"/>
                  </a:lnTo>
                  <a:lnTo>
                    <a:pt x="2020544" y="12287474"/>
                  </a:lnTo>
                  <a:lnTo>
                    <a:pt x="2103987" y="12272343"/>
                  </a:lnTo>
                  <a:lnTo>
                    <a:pt x="2169911" y="12238249"/>
                  </a:lnTo>
                  <a:lnTo>
                    <a:pt x="2238515" y="12202762"/>
                  </a:lnTo>
                  <a:lnTo>
                    <a:pt x="2293184" y="12137129"/>
                  </a:lnTo>
                  <a:lnTo>
                    <a:pt x="2365775" y="12111751"/>
                  </a:lnTo>
                  <a:lnTo>
                    <a:pt x="2398300" y="12100363"/>
                  </a:lnTo>
                  <a:lnTo>
                    <a:pt x="2492106" y="12078045"/>
                  </a:lnTo>
                  <a:lnTo>
                    <a:pt x="2523564" y="12085914"/>
                  </a:lnTo>
                  <a:lnTo>
                    <a:pt x="2578519" y="12099637"/>
                  </a:lnTo>
                  <a:lnTo>
                    <a:pt x="2616439" y="12168963"/>
                  </a:lnTo>
                  <a:lnTo>
                    <a:pt x="2662297" y="12198803"/>
                  </a:lnTo>
                  <a:lnTo>
                    <a:pt x="2691244" y="12217633"/>
                  </a:lnTo>
                  <a:lnTo>
                    <a:pt x="2767115" y="12234423"/>
                  </a:lnTo>
                  <a:lnTo>
                    <a:pt x="2777918" y="12266817"/>
                  </a:lnTo>
                  <a:lnTo>
                    <a:pt x="2794878" y="12317738"/>
                  </a:lnTo>
                  <a:lnTo>
                    <a:pt x="2735781" y="12358204"/>
                  </a:lnTo>
                  <a:lnTo>
                    <a:pt x="2739830" y="12400115"/>
                  </a:lnTo>
                  <a:lnTo>
                    <a:pt x="2765670" y="12419152"/>
                  </a:lnTo>
                  <a:lnTo>
                    <a:pt x="2822206" y="12397985"/>
                  </a:lnTo>
                  <a:lnTo>
                    <a:pt x="2903522" y="12228172"/>
                  </a:lnTo>
                  <a:lnTo>
                    <a:pt x="2931620" y="12174318"/>
                  </a:lnTo>
                  <a:lnTo>
                    <a:pt x="2962055" y="12115912"/>
                  </a:lnTo>
                  <a:lnTo>
                    <a:pt x="2996614" y="12040810"/>
                  </a:lnTo>
                  <a:lnTo>
                    <a:pt x="3036351" y="11989331"/>
                  </a:lnTo>
                  <a:lnTo>
                    <a:pt x="3057355" y="11962126"/>
                  </a:lnTo>
                  <a:lnTo>
                    <a:pt x="3090209" y="11945336"/>
                  </a:lnTo>
                  <a:lnTo>
                    <a:pt x="3109804" y="11915884"/>
                  </a:lnTo>
                  <a:lnTo>
                    <a:pt x="3161454" y="11838394"/>
                  </a:lnTo>
                  <a:lnTo>
                    <a:pt x="3201191" y="11750958"/>
                  </a:lnTo>
                  <a:lnTo>
                    <a:pt x="3258068" y="11677846"/>
                  </a:lnTo>
                  <a:lnTo>
                    <a:pt x="3319702" y="11598616"/>
                  </a:lnTo>
                  <a:lnTo>
                    <a:pt x="3392646" y="11529501"/>
                  </a:lnTo>
                  <a:lnTo>
                    <a:pt x="3453938" y="11450691"/>
                  </a:lnTo>
                  <a:lnTo>
                    <a:pt x="3497291" y="11394880"/>
                  </a:lnTo>
                  <a:lnTo>
                    <a:pt x="3506729" y="11330909"/>
                  </a:lnTo>
                  <a:lnTo>
                    <a:pt x="3573633" y="11291550"/>
                  </a:lnTo>
                  <a:lnTo>
                    <a:pt x="3624340" y="11261623"/>
                  </a:lnTo>
                  <a:lnTo>
                    <a:pt x="3647979" y="11271489"/>
                  </a:lnTo>
                  <a:lnTo>
                    <a:pt x="3701489" y="11279309"/>
                  </a:lnTo>
                  <a:lnTo>
                    <a:pt x="3727205" y="11283088"/>
                  </a:lnTo>
                  <a:lnTo>
                    <a:pt x="3756493" y="11279507"/>
                  </a:lnTo>
                  <a:lnTo>
                    <a:pt x="3781745" y="11286108"/>
                  </a:lnTo>
                  <a:lnTo>
                    <a:pt x="3827863" y="11298225"/>
                  </a:lnTo>
                  <a:lnTo>
                    <a:pt x="3871432" y="11332781"/>
                  </a:lnTo>
                  <a:lnTo>
                    <a:pt x="3917761" y="11343234"/>
                  </a:lnTo>
                  <a:lnTo>
                    <a:pt x="3971197" y="11355224"/>
                  </a:lnTo>
                  <a:lnTo>
                    <a:pt x="4039887" y="11342173"/>
                  </a:lnTo>
                  <a:lnTo>
                    <a:pt x="4095952" y="11348675"/>
                  </a:lnTo>
                  <a:lnTo>
                    <a:pt x="4145896" y="11354420"/>
                  </a:lnTo>
                  <a:lnTo>
                    <a:pt x="4193037" y="11376689"/>
                  </a:lnTo>
                  <a:lnTo>
                    <a:pt x="4244209" y="11374522"/>
                  </a:lnTo>
                  <a:lnTo>
                    <a:pt x="4296870" y="11372311"/>
                  </a:lnTo>
                  <a:lnTo>
                    <a:pt x="4360339" y="11346979"/>
                  </a:lnTo>
                  <a:lnTo>
                    <a:pt x="4407437" y="11324196"/>
                  </a:lnTo>
                  <a:lnTo>
                    <a:pt x="4440080" y="11316965"/>
                  </a:lnTo>
                  <a:lnTo>
                    <a:pt x="4519988" y="11275650"/>
                  </a:lnTo>
                  <a:lnTo>
                    <a:pt x="4586812" y="11240375"/>
                  </a:lnTo>
                  <a:lnTo>
                    <a:pt x="4659068" y="11227619"/>
                  </a:lnTo>
                  <a:lnTo>
                    <a:pt x="4685975" y="11222856"/>
                  </a:lnTo>
                  <a:lnTo>
                    <a:pt x="4710457" y="11231188"/>
                  </a:lnTo>
                  <a:lnTo>
                    <a:pt x="4736607" y="11228977"/>
                  </a:lnTo>
                  <a:lnTo>
                    <a:pt x="4772314" y="11221585"/>
                  </a:lnTo>
                  <a:lnTo>
                    <a:pt x="4830326" y="11233575"/>
                  </a:lnTo>
                  <a:lnTo>
                    <a:pt x="4897832" y="11270857"/>
                  </a:lnTo>
                  <a:lnTo>
                    <a:pt x="4939274" y="11288834"/>
                  </a:lnTo>
                  <a:lnTo>
                    <a:pt x="5008386" y="11253214"/>
                  </a:lnTo>
                  <a:lnTo>
                    <a:pt x="5026326" y="11239866"/>
                  </a:lnTo>
                  <a:lnTo>
                    <a:pt x="5049066" y="11241271"/>
                  </a:lnTo>
                  <a:lnTo>
                    <a:pt x="5108101" y="11263800"/>
                  </a:lnTo>
                  <a:lnTo>
                    <a:pt x="5190992" y="11322453"/>
                  </a:lnTo>
                  <a:lnTo>
                    <a:pt x="5246678" y="11320119"/>
                  </a:lnTo>
                  <a:lnTo>
                    <a:pt x="5313539" y="11317356"/>
                  </a:lnTo>
                  <a:lnTo>
                    <a:pt x="5357022" y="11216314"/>
                  </a:lnTo>
                  <a:lnTo>
                    <a:pt x="5411258" y="11237141"/>
                  </a:lnTo>
                  <a:lnTo>
                    <a:pt x="5453308" y="11269278"/>
                  </a:lnTo>
                  <a:lnTo>
                    <a:pt x="5487179" y="11312891"/>
                  </a:lnTo>
                  <a:lnTo>
                    <a:pt x="5530965" y="11344601"/>
                  </a:lnTo>
                  <a:lnTo>
                    <a:pt x="5554852" y="11361859"/>
                  </a:lnTo>
                  <a:lnTo>
                    <a:pt x="5589572" y="11372739"/>
                  </a:lnTo>
                  <a:lnTo>
                    <a:pt x="5609850" y="11394927"/>
                  </a:lnTo>
                  <a:lnTo>
                    <a:pt x="5624355" y="11418516"/>
                  </a:lnTo>
                  <a:lnTo>
                    <a:pt x="5618860" y="11533498"/>
                  </a:lnTo>
                  <a:lnTo>
                    <a:pt x="5531653" y="11540170"/>
                  </a:lnTo>
                  <a:lnTo>
                    <a:pt x="5530965" y="11616640"/>
                  </a:lnTo>
                  <a:lnTo>
                    <a:pt x="5636931" y="11577446"/>
                  </a:lnTo>
                  <a:lnTo>
                    <a:pt x="5653252" y="11502250"/>
                  </a:lnTo>
                  <a:lnTo>
                    <a:pt x="5713224" y="11435727"/>
                  </a:lnTo>
                  <a:lnTo>
                    <a:pt x="5740726" y="11412178"/>
                  </a:lnTo>
                  <a:lnTo>
                    <a:pt x="5794068" y="11347357"/>
                  </a:lnTo>
                  <a:lnTo>
                    <a:pt x="5824677" y="11288149"/>
                  </a:lnTo>
                  <a:lnTo>
                    <a:pt x="5869648" y="11241224"/>
                  </a:lnTo>
                  <a:lnTo>
                    <a:pt x="5902211" y="11207214"/>
                  </a:lnTo>
                  <a:lnTo>
                    <a:pt x="5938041" y="11186090"/>
                  </a:lnTo>
                  <a:lnTo>
                    <a:pt x="5977108" y="11160972"/>
                  </a:lnTo>
                  <a:lnTo>
                    <a:pt x="5933892" y="11038167"/>
                  </a:lnTo>
                  <a:lnTo>
                    <a:pt x="5943058" y="11062482"/>
                  </a:lnTo>
                  <a:lnTo>
                    <a:pt x="5929496" y="10935175"/>
                  </a:lnTo>
                  <a:lnTo>
                    <a:pt x="5926885" y="10910311"/>
                  </a:lnTo>
                  <a:lnTo>
                    <a:pt x="5927152" y="10884809"/>
                  </a:lnTo>
                  <a:lnTo>
                    <a:pt x="5921335" y="10860361"/>
                  </a:lnTo>
                  <a:lnTo>
                    <a:pt x="5910998" y="10816711"/>
                  </a:lnTo>
                  <a:lnTo>
                    <a:pt x="5896003" y="10782365"/>
                  </a:lnTo>
                  <a:lnTo>
                    <a:pt x="5902297" y="10735224"/>
                  </a:lnTo>
                  <a:lnTo>
                    <a:pt x="5930302" y="10524859"/>
                  </a:lnTo>
                  <a:lnTo>
                    <a:pt x="6189164" y="10493961"/>
                  </a:lnTo>
                  <a:lnTo>
                    <a:pt x="6246425" y="10391096"/>
                  </a:lnTo>
                  <a:lnTo>
                    <a:pt x="6271844" y="10345446"/>
                  </a:lnTo>
                  <a:lnTo>
                    <a:pt x="6268185" y="10279562"/>
                  </a:lnTo>
                  <a:lnTo>
                    <a:pt x="6268185" y="10249080"/>
                  </a:lnTo>
                  <a:lnTo>
                    <a:pt x="6260831" y="10195226"/>
                  </a:lnTo>
                  <a:lnTo>
                    <a:pt x="6245067" y="10169389"/>
                  </a:lnTo>
                  <a:lnTo>
                    <a:pt x="6217739" y="10144900"/>
                  </a:lnTo>
                  <a:lnTo>
                    <a:pt x="6115624" y="10161396"/>
                  </a:lnTo>
                  <a:lnTo>
                    <a:pt x="6076401" y="10162583"/>
                  </a:lnTo>
                  <a:lnTo>
                    <a:pt x="6016628" y="10164456"/>
                  </a:lnTo>
                  <a:lnTo>
                    <a:pt x="5999339" y="10195056"/>
                  </a:lnTo>
                  <a:lnTo>
                    <a:pt x="5929496" y="10166657"/>
                  </a:lnTo>
                  <a:lnTo>
                    <a:pt x="5904077" y="10159266"/>
                  </a:lnTo>
                  <a:lnTo>
                    <a:pt x="5824671" y="10066093"/>
                  </a:lnTo>
                  <a:lnTo>
                    <a:pt x="5964985" y="9912899"/>
                  </a:lnTo>
                  <a:lnTo>
                    <a:pt x="6008387" y="9847009"/>
                  </a:lnTo>
                  <a:lnTo>
                    <a:pt x="6028491" y="9816409"/>
                  </a:lnTo>
                  <a:lnTo>
                    <a:pt x="6043758" y="9775177"/>
                  </a:lnTo>
                  <a:lnTo>
                    <a:pt x="6069593" y="9749083"/>
                  </a:lnTo>
                  <a:lnTo>
                    <a:pt x="6092810" y="9725658"/>
                  </a:lnTo>
                  <a:lnTo>
                    <a:pt x="6127406" y="9703932"/>
                  </a:lnTo>
                  <a:lnTo>
                    <a:pt x="6143045" y="9674269"/>
                  </a:lnTo>
                  <a:lnTo>
                    <a:pt x="6154648" y="9642897"/>
                  </a:lnTo>
                  <a:lnTo>
                    <a:pt x="6158474" y="9438575"/>
                  </a:lnTo>
                  <a:lnTo>
                    <a:pt x="6150016" y="9374854"/>
                  </a:lnTo>
                  <a:lnTo>
                    <a:pt x="6136826" y="9315342"/>
                  </a:lnTo>
                  <a:lnTo>
                    <a:pt x="6133514" y="9253963"/>
                  </a:lnTo>
                  <a:lnTo>
                    <a:pt x="6130947" y="9205680"/>
                  </a:lnTo>
                  <a:lnTo>
                    <a:pt x="6137433" y="9156074"/>
                  </a:lnTo>
                  <a:lnTo>
                    <a:pt x="6132162" y="9107062"/>
                  </a:lnTo>
                  <a:lnTo>
                    <a:pt x="6132752" y="9080029"/>
                  </a:lnTo>
                  <a:lnTo>
                    <a:pt x="6147982" y="9026214"/>
                  </a:lnTo>
                  <a:lnTo>
                    <a:pt x="6167956" y="8988940"/>
                  </a:lnTo>
                  <a:lnTo>
                    <a:pt x="6177053" y="8946561"/>
                  </a:lnTo>
                  <a:lnTo>
                    <a:pt x="6184829" y="8910770"/>
                  </a:lnTo>
                  <a:lnTo>
                    <a:pt x="6184277" y="8871451"/>
                  </a:lnTo>
                  <a:lnTo>
                    <a:pt x="6196096" y="8836387"/>
                  </a:lnTo>
                  <a:lnTo>
                    <a:pt x="6212077" y="8788738"/>
                  </a:lnTo>
                  <a:lnTo>
                    <a:pt x="6249402" y="8772798"/>
                  </a:lnTo>
                  <a:lnTo>
                    <a:pt x="6274988" y="8734370"/>
                  </a:lnTo>
                  <a:lnTo>
                    <a:pt x="6320728" y="8665763"/>
                  </a:lnTo>
                  <a:lnTo>
                    <a:pt x="6301473" y="8579601"/>
                  </a:lnTo>
                  <a:lnTo>
                    <a:pt x="6390609" y="8530337"/>
                  </a:lnTo>
                  <a:lnTo>
                    <a:pt x="6483657" y="8478909"/>
                  </a:lnTo>
                  <a:lnTo>
                    <a:pt x="6522966" y="8532506"/>
                  </a:lnTo>
                  <a:lnTo>
                    <a:pt x="6595991" y="8516738"/>
                  </a:lnTo>
                  <a:lnTo>
                    <a:pt x="6633397" y="8508659"/>
                  </a:lnTo>
                  <a:lnTo>
                    <a:pt x="6657761" y="8462284"/>
                  </a:lnTo>
                  <a:lnTo>
                    <a:pt x="6689852" y="8443283"/>
                  </a:lnTo>
                  <a:lnTo>
                    <a:pt x="6743666" y="8411405"/>
                  </a:lnTo>
                  <a:lnTo>
                    <a:pt x="6839642" y="8440059"/>
                  </a:lnTo>
                  <a:lnTo>
                    <a:pt x="6902044" y="8439208"/>
                  </a:lnTo>
                  <a:lnTo>
                    <a:pt x="6998441" y="8445626"/>
                  </a:lnTo>
                  <a:lnTo>
                    <a:pt x="7220375" y="8415065"/>
                  </a:lnTo>
                  <a:lnTo>
                    <a:pt x="7304661" y="8368479"/>
                  </a:lnTo>
                  <a:lnTo>
                    <a:pt x="7333819" y="8352328"/>
                  </a:lnTo>
                  <a:lnTo>
                    <a:pt x="7361104" y="8327628"/>
                  </a:lnTo>
                  <a:lnTo>
                    <a:pt x="7383553" y="8303188"/>
                  </a:lnTo>
                  <a:lnTo>
                    <a:pt x="7422657" y="8260560"/>
                  </a:lnTo>
                  <a:lnTo>
                    <a:pt x="7438049" y="8204620"/>
                  </a:lnTo>
                  <a:lnTo>
                    <a:pt x="7474691" y="8159011"/>
                  </a:lnTo>
                  <a:lnTo>
                    <a:pt x="7492538" y="8136780"/>
                  </a:lnTo>
                  <a:lnTo>
                    <a:pt x="7520121" y="8119099"/>
                  </a:lnTo>
                  <a:lnTo>
                    <a:pt x="7544058" y="8104603"/>
                  </a:lnTo>
                  <a:lnTo>
                    <a:pt x="7620909" y="8058056"/>
                  </a:lnTo>
                  <a:lnTo>
                    <a:pt x="7630725" y="8095040"/>
                  </a:lnTo>
                  <a:lnTo>
                    <a:pt x="7693673" y="8134524"/>
                  </a:lnTo>
                  <a:lnTo>
                    <a:pt x="7738012" y="8162321"/>
                  </a:lnTo>
                  <a:lnTo>
                    <a:pt x="7789736" y="8158628"/>
                  </a:lnTo>
                  <a:lnTo>
                    <a:pt x="7818813" y="8108685"/>
                  </a:lnTo>
                  <a:lnTo>
                    <a:pt x="7845205" y="8063372"/>
                  </a:lnTo>
                  <a:lnTo>
                    <a:pt x="7850098" y="7914643"/>
                  </a:lnTo>
                  <a:lnTo>
                    <a:pt x="7855542" y="7857049"/>
                  </a:lnTo>
                  <a:lnTo>
                    <a:pt x="7865446" y="7751374"/>
                  </a:lnTo>
                  <a:lnTo>
                    <a:pt x="7912203" y="7658582"/>
                  </a:lnTo>
                  <a:lnTo>
                    <a:pt x="7950749" y="7561881"/>
                  </a:lnTo>
                  <a:lnTo>
                    <a:pt x="8008563" y="7416807"/>
                  </a:lnTo>
                  <a:lnTo>
                    <a:pt x="8008780" y="7255159"/>
                  </a:lnTo>
                  <a:lnTo>
                    <a:pt x="8188787" y="7191907"/>
                  </a:lnTo>
                  <a:lnTo>
                    <a:pt x="8307335" y="7150207"/>
                  </a:lnTo>
                  <a:lnTo>
                    <a:pt x="8451568" y="7180004"/>
                  </a:lnTo>
                  <a:lnTo>
                    <a:pt x="8573725" y="7189191"/>
                  </a:lnTo>
                  <a:lnTo>
                    <a:pt x="8601444" y="7191315"/>
                  </a:lnTo>
                  <a:lnTo>
                    <a:pt x="8632177" y="7204154"/>
                  </a:lnTo>
                  <a:lnTo>
                    <a:pt x="8659419" y="7204154"/>
                  </a:lnTo>
                  <a:lnTo>
                    <a:pt x="8706939" y="7192251"/>
                  </a:lnTo>
                  <a:lnTo>
                    <a:pt x="8727427" y="7187831"/>
                  </a:lnTo>
                  <a:lnTo>
                    <a:pt x="8764789" y="7186315"/>
                  </a:lnTo>
                  <a:lnTo>
                    <a:pt x="8788633" y="7186473"/>
                  </a:lnTo>
                  <a:close/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45" name="Luhansk¬0" descr="Luhansk¬0">
              <a:extLst>
                <a:ext uri="{FF2B5EF4-FFF2-40B4-BE49-F238E27FC236}">
                  <a16:creationId xmlns:a16="http://schemas.microsoft.com/office/drawing/2014/main" id="{DACD71D9-7A49-4C27-A143-4590E3B5E8DE}"/>
                </a:ext>
              </a:extLst>
            </p:cNvPr>
            <p:cNvSpPr/>
            <p:nvPr/>
          </p:nvSpPr>
          <p:spPr>
            <a:xfrm>
              <a:off x="6268725" y="2225977"/>
              <a:ext cx="800591" cy="1025487"/>
            </a:xfrm>
            <a:custGeom>
              <a:avLst/>
              <a:gdLst/>
              <a:ahLst/>
              <a:cxnLst/>
              <a:rect l="0" t="0" r="0" b="0"/>
              <a:pathLst>
                <a:path w="8169587" h="11878959">
                  <a:moveTo>
                    <a:pt x="1518165" y="32025"/>
                  </a:moveTo>
                  <a:lnTo>
                    <a:pt x="1463849" y="92091"/>
                  </a:lnTo>
                  <a:lnTo>
                    <a:pt x="1394768" y="88201"/>
                  </a:lnTo>
                  <a:lnTo>
                    <a:pt x="1336917" y="84949"/>
                  </a:lnTo>
                  <a:lnTo>
                    <a:pt x="1222406" y="29051"/>
                  </a:lnTo>
                  <a:lnTo>
                    <a:pt x="1173051" y="65079"/>
                  </a:lnTo>
                  <a:lnTo>
                    <a:pt x="1158299" y="130830"/>
                  </a:lnTo>
                  <a:lnTo>
                    <a:pt x="1179178" y="179249"/>
                  </a:lnTo>
                  <a:lnTo>
                    <a:pt x="1186663" y="225579"/>
                  </a:lnTo>
                  <a:lnTo>
                    <a:pt x="1191388" y="255289"/>
                  </a:lnTo>
                  <a:lnTo>
                    <a:pt x="1192064" y="290552"/>
                  </a:lnTo>
                  <a:lnTo>
                    <a:pt x="1193466" y="320796"/>
                  </a:lnTo>
                  <a:lnTo>
                    <a:pt x="1194848" y="350783"/>
                  </a:lnTo>
                  <a:lnTo>
                    <a:pt x="1204764" y="378560"/>
                  </a:lnTo>
                  <a:lnTo>
                    <a:pt x="1209787" y="409207"/>
                  </a:lnTo>
                  <a:lnTo>
                    <a:pt x="1206600" y="467691"/>
                  </a:lnTo>
                  <a:lnTo>
                    <a:pt x="1219213" y="526313"/>
                  </a:lnTo>
                  <a:lnTo>
                    <a:pt x="1209787" y="586030"/>
                  </a:lnTo>
                  <a:lnTo>
                    <a:pt x="1198222" y="659227"/>
                  </a:lnTo>
                  <a:lnTo>
                    <a:pt x="1060754" y="841365"/>
                  </a:lnTo>
                  <a:lnTo>
                    <a:pt x="973107" y="787339"/>
                  </a:lnTo>
                  <a:lnTo>
                    <a:pt x="946585" y="745943"/>
                  </a:lnTo>
                  <a:lnTo>
                    <a:pt x="930945" y="731573"/>
                  </a:lnTo>
                  <a:lnTo>
                    <a:pt x="875811" y="716081"/>
                  </a:lnTo>
                  <a:lnTo>
                    <a:pt x="798110" y="784643"/>
                  </a:lnTo>
                  <a:lnTo>
                    <a:pt x="756835" y="814543"/>
                  </a:lnTo>
                  <a:lnTo>
                    <a:pt x="707616" y="850122"/>
                  </a:lnTo>
                  <a:lnTo>
                    <a:pt x="648655" y="866214"/>
                  </a:lnTo>
                  <a:lnTo>
                    <a:pt x="611293" y="919284"/>
                  </a:lnTo>
                  <a:lnTo>
                    <a:pt x="605005" y="947786"/>
                  </a:lnTo>
                  <a:lnTo>
                    <a:pt x="621581" y="986294"/>
                  </a:lnTo>
                  <a:lnTo>
                    <a:pt x="648017" y="1036257"/>
                  </a:lnTo>
                  <a:lnTo>
                    <a:pt x="680120" y="1096951"/>
                  </a:lnTo>
                  <a:lnTo>
                    <a:pt x="716416" y="1155677"/>
                  </a:lnTo>
                  <a:lnTo>
                    <a:pt x="808515" y="1200839"/>
                  </a:lnTo>
                  <a:lnTo>
                    <a:pt x="816682" y="1234849"/>
                  </a:lnTo>
                  <a:lnTo>
                    <a:pt x="784077" y="1261500"/>
                  </a:lnTo>
                  <a:lnTo>
                    <a:pt x="754416" y="1266663"/>
                  </a:lnTo>
                  <a:lnTo>
                    <a:pt x="732464" y="1263082"/>
                  </a:lnTo>
                  <a:lnTo>
                    <a:pt x="679593" y="1267739"/>
                  </a:lnTo>
                  <a:lnTo>
                    <a:pt x="636327" y="1277023"/>
                  </a:lnTo>
                  <a:lnTo>
                    <a:pt x="597694" y="1293333"/>
                  </a:lnTo>
                  <a:lnTo>
                    <a:pt x="578378" y="1301492"/>
                  </a:lnTo>
                  <a:lnTo>
                    <a:pt x="544643" y="1323261"/>
                  </a:lnTo>
                  <a:lnTo>
                    <a:pt x="517767" y="1349805"/>
                  </a:lnTo>
                  <a:lnTo>
                    <a:pt x="513340" y="1384468"/>
                  </a:lnTo>
                  <a:lnTo>
                    <a:pt x="531335" y="1396266"/>
                  </a:lnTo>
                  <a:lnTo>
                    <a:pt x="575854" y="1425535"/>
                  </a:lnTo>
                  <a:lnTo>
                    <a:pt x="616713" y="1456557"/>
                  </a:lnTo>
                  <a:lnTo>
                    <a:pt x="657560" y="1487580"/>
                  </a:lnTo>
                  <a:lnTo>
                    <a:pt x="695375" y="1520666"/>
                  </a:lnTo>
                  <a:lnTo>
                    <a:pt x="690972" y="1555256"/>
                  </a:lnTo>
                  <a:lnTo>
                    <a:pt x="625289" y="1590730"/>
                  </a:lnTo>
                  <a:lnTo>
                    <a:pt x="589918" y="1610983"/>
                  </a:lnTo>
                  <a:lnTo>
                    <a:pt x="577292" y="1632555"/>
                  </a:lnTo>
                  <a:lnTo>
                    <a:pt x="567743" y="1656507"/>
                  </a:lnTo>
                  <a:lnTo>
                    <a:pt x="558193" y="1680461"/>
                  </a:lnTo>
                  <a:lnTo>
                    <a:pt x="550826" y="1707019"/>
                  </a:lnTo>
                  <a:lnTo>
                    <a:pt x="545983" y="1729956"/>
                  </a:lnTo>
                  <a:lnTo>
                    <a:pt x="502742" y="1723895"/>
                  </a:lnTo>
                  <a:lnTo>
                    <a:pt x="476604" y="1714998"/>
                  </a:lnTo>
                  <a:lnTo>
                    <a:pt x="450485" y="1706101"/>
                  </a:lnTo>
                  <a:lnTo>
                    <a:pt x="425792" y="1697858"/>
                  </a:lnTo>
                  <a:lnTo>
                    <a:pt x="395896" y="1715572"/>
                  </a:lnTo>
                  <a:lnTo>
                    <a:pt x="310152" y="1836628"/>
                  </a:lnTo>
                  <a:lnTo>
                    <a:pt x="305228" y="1860535"/>
                  </a:lnTo>
                  <a:lnTo>
                    <a:pt x="309098" y="1882515"/>
                  </a:lnTo>
                  <a:lnTo>
                    <a:pt x="315721" y="1907444"/>
                  </a:lnTo>
                  <a:lnTo>
                    <a:pt x="336507" y="1919025"/>
                  </a:lnTo>
                  <a:lnTo>
                    <a:pt x="387096" y="1890205"/>
                  </a:lnTo>
                  <a:lnTo>
                    <a:pt x="419485" y="1878222"/>
                  </a:lnTo>
                  <a:lnTo>
                    <a:pt x="452277" y="1868052"/>
                  </a:lnTo>
                  <a:lnTo>
                    <a:pt x="481900" y="1866628"/>
                  </a:lnTo>
                  <a:lnTo>
                    <a:pt x="505173" y="1878222"/>
                  </a:lnTo>
                  <a:lnTo>
                    <a:pt x="518673" y="1895038"/>
                  </a:lnTo>
                  <a:lnTo>
                    <a:pt x="531019" y="1925824"/>
                  </a:lnTo>
                  <a:lnTo>
                    <a:pt x="534455" y="1953272"/>
                  </a:lnTo>
                  <a:lnTo>
                    <a:pt x="528179" y="1993363"/>
                  </a:lnTo>
                  <a:lnTo>
                    <a:pt x="515398" y="2018180"/>
                  </a:lnTo>
                  <a:lnTo>
                    <a:pt x="511963" y="2045528"/>
                  </a:lnTo>
                  <a:lnTo>
                    <a:pt x="508000" y="2077170"/>
                  </a:lnTo>
                  <a:lnTo>
                    <a:pt x="517984" y="2115481"/>
                  </a:lnTo>
                  <a:lnTo>
                    <a:pt x="525562" y="2152979"/>
                  </a:lnTo>
                  <a:lnTo>
                    <a:pt x="533152" y="2190478"/>
                  </a:lnTo>
                  <a:lnTo>
                    <a:pt x="538876" y="2227778"/>
                  </a:lnTo>
                  <a:lnTo>
                    <a:pt x="524210" y="2256354"/>
                  </a:lnTo>
                  <a:lnTo>
                    <a:pt x="488808" y="2282416"/>
                  </a:lnTo>
                  <a:lnTo>
                    <a:pt x="467408" y="2305294"/>
                  </a:lnTo>
                  <a:lnTo>
                    <a:pt x="454838" y="2325725"/>
                  </a:lnTo>
                  <a:lnTo>
                    <a:pt x="442274" y="2346157"/>
                  </a:lnTo>
                  <a:lnTo>
                    <a:pt x="437158" y="2380134"/>
                  </a:lnTo>
                  <a:lnTo>
                    <a:pt x="439856" y="2409066"/>
                  </a:lnTo>
                  <a:lnTo>
                    <a:pt x="439868" y="2432813"/>
                  </a:lnTo>
                  <a:lnTo>
                    <a:pt x="426257" y="2452223"/>
                  </a:lnTo>
                  <a:lnTo>
                    <a:pt x="395691" y="2478919"/>
                  </a:lnTo>
                  <a:lnTo>
                    <a:pt x="349312" y="2486187"/>
                  </a:lnTo>
                  <a:lnTo>
                    <a:pt x="324241" y="2517512"/>
                  </a:lnTo>
                  <a:lnTo>
                    <a:pt x="343843" y="2562100"/>
                  </a:lnTo>
                  <a:lnTo>
                    <a:pt x="347868" y="2602039"/>
                  </a:lnTo>
                  <a:lnTo>
                    <a:pt x="356884" y="2633134"/>
                  </a:lnTo>
                  <a:lnTo>
                    <a:pt x="376064" y="2661478"/>
                  </a:lnTo>
                  <a:lnTo>
                    <a:pt x="400286" y="2686395"/>
                  </a:lnTo>
                  <a:lnTo>
                    <a:pt x="405855" y="2724262"/>
                  </a:lnTo>
                  <a:lnTo>
                    <a:pt x="381931" y="2731852"/>
                  </a:lnTo>
                  <a:lnTo>
                    <a:pt x="350088" y="2731068"/>
                  </a:lnTo>
                  <a:lnTo>
                    <a:pt x="371215" y="2801778"/>
                  </a:lnTo>
                  <a:lnTo>
                    <a:pt x="389533" y="2850760"/>
                  </a:lnTo>
                  <a:lnTo>
                    <a:pt x="398705" y="2875253"/>
                  </a:lnTo>
                  <a:lnTo>
                    <a:pt x="405377" y="2898763"/>
                  </a:lnTo>
                  <a:lnTo>
                    <a:pt x="409042" y="2938781"/>
                  </a:lnTo>
                  <a:lnTo>
                    <a:pt x="392262" y="2963657"/>
                  </a:lnTo>
                  <a:lnTo>
                    <a:pt x="360506" y="2981385"/>
                  </a:lnTo>
                  <a:lnTo>
                    <a:pt x="313234" y="2999765"/>
                  </a:lnTo>
                  <a:lnTo>
                    <a:pt x="287518" y="3026230"/>
                  </a:lnTo>
                  <a:lnTo>
                    <a:pt x="268437" y="3045869"/>
                  </a:lnTo>
                  <a:lnTo>
                    <a:pt x="258205" y="3068365"/>
                  </a:lnTo>
                  <a:lnTo>
                    <a:pt x="252159" y="3092879"/>
                  </a:lnTo>
                  <a:lnTo>
                    <a:pt x="246113" y="3117392"/>
                  </a:lnTo>
                  <a:lnTo>
                    <a:pt x="244265" y="3143790"/>
                  </a:lnTo>
                  <a:lnTo>
                    <a:pt x="243992" y="3169049"/>
                  </a:lnTo>
                  <a:lnTo>
                    <a:pt x="243533" y="3194308"/>
                  </a:lnTo>
                  <a:lnTo>
                    <a:pt x="244457" y="3219255"/>
                  </a:lnTo>
                  <a:lnTo>
                    <a:pt x="242640" y="3241138"/>
                  </a:lnTo>
                  <a:lnTo>
                    <a:pt x="240904" y="3263020"/>
                  </a:lnTo>
                  <a:lnTo>
                    <a:pt x="226318" y="3295545"/>
                  </a:lnTo>
                  <a:lnTo>
                    <a:pt x="205929" y="3303816"/>
                  </a:lnTo>
                  <a:lnTo>
                    <a:pt x="180479" y="3307120"/>
                  </a:lnTo>
                  <a:lnTo>
                    <a:pt x="155588" y="3311868"/>
                  </a:lnTo>
                  <a:lnTo>
                    <a:pt x="130715" y="3316617"/>
                  </a:lnTo>
                  <a:lnTo>
                    <a:pt x="106623" y="3322730"/>
                  </a:lnTo>
                  <a:lnTo>
                    <a:pt x="90302" y="3336355"/>
                  </a:lnTo>
                  <a:lnTo>
                    <a:pt x="79084" y="3359371"/>
                  </a:lnTo>
                  <a:lnTo>
                    <a:pt x="21407" y="3438860"/>
                  </a:lnTo>
                  <a:lnTo>
                    <a:pt x="47880" y="3479873"/>
                  </a:lnTo>
                  <a:lnTo>
                    <a:pt x="77441" y="3506115"/>
                  </a:lnTo>
                  <a:lnTo>
                    <a:pt x="97105" y="3532224"/>
                  </a:lnTo>
                  <a:lnTo>
                    <a:pt x="117339" y="3569274"/>
                  </a:lnTo>
                  <a:lnTo>
                    <a:pt x="122945" y="3593431"/>
                  </a:lnTo>
                  <a:lnTo>
                    <a:pt x="128557" y="3617588"/>
                  </a:lnTo>
                  <a:lnTo>
                    <a:pt x="131465" y="3644956"/>
                  </a:lnTo>
                  <a:lnTo>
                    <a:pt x="132470" y="3672319"/>
                  </a:lnTo>
                  <a:lnTo>
                    <a:pt x="134473" y="3727057"/>
                  </a:lnTo>
                  <a:lnTo>
                    <a:pt x="128898" y="3781438"/>
                  </a:lnTo>
                  <a:lnTo>
                    <a:pt x="120229" y="3815145"/>
                  </a:lnTo>
                  <a:lnTo>
                    <a:pt x="112849" y="3843820"/>
                  </a:lnTo>
                  <a:lnTo>
                    <a:pt x="95734" y="3883838"/>
                  </a:lnTo>
                  <a:lnTo>
                    <a:pt x="88944" y="3922595"/>
                  </a:lnTo>
                  <a:lnTo>
                    <a:pt x="84541" y="3961196"/>
                  </a:lnTo>
                  <a:lnTo>
                    <a:pt x="93340" y="3995535"/>
                  </a:lnTo>
                  <a:lnTo>
                    <a:pt x="120229" y="4023254"/>
                  </a:lnTo>
                  <a:lnTo>
                    <a:pt x="156537" y="4034340"/>
                  </a:lnTo>
                  <a:lnTo>
                    <a:pt x="178718" y="4035494"/>
                  </a:lnTo>
                  <a:lnTo>
                    <a:pt x="200887" y="4036649"/>
                  </a:lnTo>
                  <a:lnTo>
                    <a:pt x="223267" y="4037644"/>
                  </a:lnTo>
                  <a:lnTo>
                    <a:pt x="244010" y="4050457"/>
                  </a:lnTo>
                  <a:lnTo>
                    <a:pt x="260332" y="4070862"/>
                  </a:lnTo>
                  <a:lnTo>
                    <a:pt x="276653" y="4091267"/>
                  </a:lnTo>
                  <a:lnTo>
                    <a:pt x="283450" y="4117106"/>
                  </a:lnTo>
                  <a:lnTo>
                    <a:pt x="290252" y="4142951"/>
                  </a:lnTo>
                  <a:lnTo>
                    <a:pt x="288994" y="4166311"/>
                  </a:lnTo>
                  <a:lnTo>
                    <a:pt x="272095" y="4182863"/>
                  </a:lnTo>
                  <a:lnTo>
                    <a:pt x="252165" y="4198718"/>
                  </a:lnTo>
                  <a:lnTo>
                    <a:pt x="232234" y="4214579"/>
                  </a:lnTo>
                  <a:lnTo>
                    <a:pt x="209867" y="4229338"/>
                  </a:lnTo>
                  <a:lnTo>
                    <a:pt x="196398" y="4247686"/>
                  </a:lnTo>
                  <a:lnTo>
                    <a:pt x="216806" y="4295293"/>
                  </a:lnTo>
                  <a:lnTo>
                    <a:pt x="158608" y="4331361"/>
                  </a:lnTo>
                  <a:lnTo>
                    <a:pt x="113116" y="4361071"/>
                  </a:lnTo>
                  <a:lnTo>
                    <a:pt x="65820" y="4380987"/>
                  </a:lnTo>
                  <a:lnTo>
                    <a:pt x="36035" y="4387834"/>
                  </a:lnTo>
                  <a:lnTo>
                    <a:pt x="0" y="4431380"/>
                  </a:lnTo>
                  <a:lnTo>
                    <a:pt x="33815" y="4441674"/>
                  </a:lnTo>
                  <a:lnTo>
                    <a:pt x="64952" y="4464196"/>
                  </a:lnTo>
                  <a:lnTo>
                    <a:pt x="93024" y="4492528"/>
                  </a:lnTo>
                  <a:lnTo>
                    <a:pt x="121097" y="4520860"/>
                  </a:lnTo>
                  <a:lnTo>
                    <a:pt x="146032" y="4555476"/>
                  </a:lnTo>
                  <a:lnTo>
                    <a:pt x="155588" y="4575498"/>
                  </a:lnTo>
                  <a:lnTo>
                    <a:pt x="279121" y="4598197"/>
                  </a:lnTo>
                  <a:lnTo>
                    <a:pt x="302494" y="4601343"/>
                  </a:lnTo>
                  <a:lnTo>
                    <a:pt x="317922" y="4654155"/>
                  </a:lnTo>
                  <a:lnTo>
                    <a:pt x="274799" y="4670649"/>
                  </a:lnTo>
                  <a:lnTo>
                    <a:pt x="162539" y="4667015"/>
                  </a:lnTo>
                  <a:lnTo>
                    <a:pt x="144940" y="4696830"/>
                  </a:lnTo>
                  <a:lnTo>
                    <a:pt x="102729" y="4807242"/>
                  </a:lnTo>
                  <a:lnTo>
                    <a:pt x="118257" y="4829388"/>
                  </a:lnTo>
                  <a:lnTo>
                    <a:pt x="142013" y="4844821"/>
                  </a:lnTo>
                  <a:lnTo>
                    <a:pt x="207634" y="4863457"/>
                  </a:lnTo>
                  <a:lnTo>
                    <a:pt x="245573" y="4874471"/>
                  </a:lnTo>
                  <a:lnTo>
                    <a:pt x="280746" y="4891063"/>
                  </a:lnTo>
                  <a:lnTo>
                    <a:pt x="315925" y="4907656"/>
                  </a:lnTo>
                  <a:lnTo>
                    <a:pt x="349418" y="4930765"/>
                  </a:lnTo>
                  <a:lnTo>
                    <a:pt x="405886" y="4971317"/>
                  </a:lnTo>
                  <a:lnTo>
                    <a:pt x="452475" y="4983577"/>
                  </a:lnTo>
                  <a:lnTo>
                    <a:pt x="579990" y="4866576"/>
                  </a:lnTo>
                  <a:lnTo>
                    <a:pt x="760351" y="4875526"/>
                  </a:lnTo>
                  <a:lnTo>
                    <a:pt x="784027" y="4874742"/>
                  </a:lnTo>
                  <a:lnTo>
                    <a:pt x="765070" y="4938349"/>
                  </a:lnTo>
                  <a:lnTo>
                    <a:pt x="753592" y="5007807"/>
                  </a:lnTo>
                  <a:lnTo>
                    <a:pt x="744575" y="5073327"/>
                  </a:lnTo>
                  <a:lnTo>
                    <a:pt x="741444" y="5096265"/>
                  </a:lnTo>
                  <a:lnTo>
                    <a:pt x="747149" y="5124834"/>
                  </a:lnTo>
                  <a:lnTo>
                    <a:pt x="748662" y="5153581"/>
                  </a:lnTo>
                  <a:lnTo>
                    <a:pt x="750193" y="5182328"/>
                  </a:lnTo>
                  <a:lnTo>
                    <a:pt x="748079" y="5211365"/>
                  </a:lnTo>
                  <a:lnTo>
                    <a:pt x="729630" y="5231111"/>
                  </a:lnTo>
                  <a:lnTo>
                    <a:pt x="698705" y="5259205"/>
                  </a:lnTo>
                  <a:lnTo>
                    <a:pt x="683382" y="5277361"/>
                  </a:lnTo>
                  <a:lnTo>
                    <a:pt x="668046" y="5295516"/>
                  </a:lnTo>
                  <a:lnTo>
                    <a:pt x="656301" y="5315881"/>
                  </a:lnTo>
                  <a:lnTo>
                    <a:pt x="668970" y="5351869"/>
                  </a:lnTo>
                  <a:lnTo>
                    <a:pt x="688430" y="5363028"/>
                  </a:lnTo>
                  <a:lnTo>
                    <a:pt x="718171" y="5413731"/>
                  </a:lnTo>
                  <a:lnTo>
                    <a:pt x="752761" y="5474231"/>
                  </a:lnTo>
                  <a:lnTo>
                    <a:pt x="775866" y="5537154"/>
                  </a:lnTo>
                  <a:lnTo>
                    <a:pt x="787425" y="5568617"/>
                  </a:lnTo>
                  <a:lnTo>
                    <a:pt x="795952" y="5601249"/>
                  </a:lnTo>
                  <a:lnTo>
                    <a:pt x="798997" y="5631012"/>
                  </a:lnTo>
                  <a:lnTo>
                    <a:pt x="802041" y="5660768"/>
                  </a:lnTo>
                  <a:lnTo>
                    <a:pt x="799456" y="5688421"/>
                  </a:lnTo>
                  <a:lnTo>
                    <a:pt x="788114" y="5711266"/>
                  </a:lnTo>
                  <a:lnTo>
                    <a:pt x="757108" y="5724620"/>
                  </a:lnTo>
                  <a:lnTo>
                    <a:pt x="735069" y="5726223"/>
                  </a:lnTo>
                  <a:lnTo>
                    <a:pt x="713024" y="5727825"/>
                  </a:lnTo>
                  <a:lnTo>
                    <a:pt x="689899" y="5726183"/>
                  </a:lnTo>
                  <a:lnTo>
                    <a:pt x="674012" y="5750260"/>
                  </a:lnTo>
                  <a:lnTo>
                    <a:pt x="681683" y="5778487"/>
                  </a:lnTo>
                  <a:lnTo>
                    <a:pt x="675234" y="5802394"/>
                  </a:lnTo>
                  <a:lnTo>
                    <a:pt x="647180" y="5805454"/>
                  </a:lnTo>
                  <a:lnTo>
                    <a:pt x="618958" y="5796617"/>
                  </a:lnTo>
                  <a:lnTo>
                    <a:pt x="592262" y="5798318"/>
                  </a:lnTo>
                  <a:lnTo>
                    <a:pt x="570614" y="5830324"/>
                  </a:lnTo>
                  <a:lnTo>
                    <a:pt x="560983" y="5854091"/>
                  </a:lnTo>
                  <a:lnTo>
                    <a:pt x="551340" y="5877859"/>
                  </a:lnTo>
                  <a:lnTo>
                    <a:pt x="545629" y="5902036"/>
                  </a:lnTo>
                  <a:lnTo>
                    <a:pt x="566428" y="5922098"/>
                  </a:lnTo>
                  <a:lnTo>
                    <a:pt x="622195" y="5918022"/>
                  </a:lnTo>
                  <a:lnTo>
                    <a:pt x="642591" y="5928904"/>
                  </a:lnTo>
                  <a:lnTo>
                    <a:pt x="660059" y="5953344"/>
                  </a:lnTo>
                  <a:lnTo>
                    <a:pt x="666949" y="5981973"/>
                  </a:lnTo>
                  <a:lnTo>
                    <a:pt x="682036" y="6007798"/>
                  </a:lnTo>
                  <a:lnTo>
                    <a:pt x="728409" y="5995539"/>
                  </a:lnTo>
                  <a:lnTo>
                    <a:pt x="761486" y="6006777"/>
                  </a:lnTo>
                  <a:lnTo>
                    <a:pt x="794935" y="6010516"/>
                  </a:lnTo>
                  <a:lnTo>
                    <a:pt x="850404" y="6016722"/>
                  </a:lnTo>
                  <a:lnTo>
                    <a:pt x="907027" y="6016788"/>
                  </a:lnTo>
                  <a:lnTo>
                    <a:pt x="962236" y="6024121"/>
                  </a:lnTo>
                  <a:lnTo>
                    <a:pt x="990551" y="6027861"/>
                  </a:lnTo>
                  <a:lnTo>
                    <a:pt x="1019709" y="6040635"/>
                  </a:lnTo>
                  <a:lnTo>
                    <a:pt x="1047924" y="6043160"/>
                  </a:lnTo>
                  <a:lnTo>
                    <a:pt x="1072413" y="6045370"/>
                  </a:lnTo>
                  <a:lnTo>
                    <a:pt x="1099282" y="6038189"/>
                  </a:lnTo>
                  <a:lnTo>
                    <a:pt x="1124105" y="6039085"/>
                  </a:lnTo>
                  <a:lnTo>
                    <a:pt x="1172090" y="6040787"/>
                  </a:lnTo>
                  <a:lnTo>
                    <a:pt x="1209750" y="6078701"/>
                  </a:lnTo>
                  <a:lnTo>
                    <a:pt x="1254677" y="6081253"/>
                  </a:lnTo>
                  <a:lnTo>
                    <a:pt x="1271960" y="6104941"/>
                  </a:lnTo>
                  <a:lnTo>
                    <a:pt x="1290384" y="6153447"/>
                  </a:lnTo>
                  <a:lnTo>
                    <a:pt x="1305006" y="6203675"/>
                  </a:lnTo>
                  <a:lnTo>
                    <a:pt x="1319635" y="6253895"/>
                  </a:lnTo>
                  <a:lnTo>
                    <a:pt x="1330214" y="6305216"/>
                  </a:lnTo>
                  <a:lnTo>
                    <a:pt x="1332211" y="6332888"/>
                  </a:lnTo>
                  <a:lnTo>
                    <a:pt x="1334524" y="6364536"/>
                  </a:lnTo>
                  <a:lnTo>
                    <a:pt x="1330084" y="6400261"/>
                  </a:lnTo>
                  <a:lnTo>
                    <a:pt x="1329513" y="6432188"/>
                  </a:lnTo>
                  <a:lnTo>
                    <a:pt x="1338592" y="6457512"/>
                  </a:lnTo>
                  <a:lnTo>
                    <a:pt x="1366683" y="6472139"/>
                  </a:lnTo>
                  <a:lnTo>
                    <a:pt x="1405688" y="6479790"/>
                  </a:lnTo>
                  <a:lnTo>
                    <a:pt x="1446492" y="6486800"/>
                  </a:lnTo>
                  <a:lnTo>
                    <a:pt x="1492021" y="6490639"/>
                  </a:lnTo>
                  <a:lnTo>
                    <a:pt x="1510420" y="6505635"/>
                  </a:lnTo>
                  <a:lnTo>
                    <a:pt x="1525383" y="6535563"/>
                  </a:lnTo>
                  <a:lnTo>
                    <a:pt x="1513421" y="6574756"/>
                  </a:lnTo>
                  <a:lnTo>
                    <a:pt x="1504981" y="6594046"/>
                  </a:lnTo>
                  <a:lnTo>
                    <a:pt x="1496821" y="6622615"/>
                  </a:lnTo>
                  <a:lnTo>
                    <a:pt x="1507704" y="6648454"/>
                  </a:lnTo>
                  <a:lnTo>
                    <a:pt x="1532186" y="6674300"/>
                  </a:lnTo>
                  <a:lnTo>
                    <a:pt x="1555310" y="6700145"/>
                  </a:lnTo>
                  <a:lnTo>
                    <a:pt x="1572692" y="6729664"/>
                  </a:lnTo>
                  <a:lnTo>
                    <a:pt x="1576003" y="6765837"/>
                  </a:lnTo>
                  <a:lnTo>
                    <a:pt x="1568909" y="6804878"/>
                  </a:lnTo>
                  <a:lnTo>
                    <a:pt x="1559105" y="6844310"/>
                  </a:lnTo>
                  <a:lnTo>
                    <a:pt x="1540651" y="6884038"/>
                  </a:lnTo>
                  <a:lnTo>
                    <a:pt x="1525383" y="6906895"/>
                  </a:lnTo>
                  <a:lnTo>
                    <a:pt x="1508404" y="6932325"/>
                  </a:lnTo>
                  <a:lnTo>
                    <a:pt x="1482025" y="6956054"/>
                  </a:lnTo>
                  <a:lnTo>
                    <a:pt x="1469616" y="6984425"/>
                  </a:lnTo>
                  <a:lnTo>
                    <a:pt x="1455924" y="7015856"/>
                  </a:lnTo>
                  <a:lnTo>
                    <a:pt x="1458392" y="7072797"/>
                  </a:lnTo>
                  <a:lnTo>
                    <a:pt x="1462813" y="7106846"/>
                  </a:lnTo>
                  <a:lnTo>
                    <a:pt x="1492685" y="7098253"/>
                  </a:lnTo>
                  <a:lnTo>
                    <a:pt x="1570652" y="7079834"/>
                  </a:lnTo>
                  <a:lnTo>
                    <a:pt x="1596114" y="7085077"/>
                  </a:lnTo>
                  <a:lnTo>
                    <a:pt x="1616522" y="7112287"/>
                  </a:lnTo>
                  <a:lnTo>
                    <a:pt x="1606228" y="7150946"/>
                  </a:lnTo>
                  <a:lnTo>
                    <a:pt x="1548421" y="7233962"/>
                  </a:lnTo>
                  <a:lnTo>
                    <a:pt x="1522661" y="7260547"/>
                  </a:lnTo>
                  <a:lnTo>
                    <a:pt x="1497311" y="7286709"/>
                  </a:lnTo>
                  <a:lnTo>
                    <a:pt x="1474044" y="7301093"/>
                  </a:lnTo>
                  <a:lnTo>
                    <a:pt x="1453295" y="7319038"/>
                  </a:lnTo>
                  <a:lnTo>
                    <a:pt x="1432539" y="7336974"/>
                  </a:lnTo>
                  <a:lnTo>
                    <a:pt x="1414922" y="7357479"/>
                  </a:lnTo>
                  <a:lnTo>
                    <a:pt x="1401602" y="7393842"/>
                  </a:lnTo>
                  <a:lnTo>
                    <a:pt x="1391866" y="7420453"/>
                  </a:lnTo>
                  <a:lnTo>
                    <a:pt x="1401143" y="7535159"/>
                  </a:lnTo>
                  <a:lnTo>
                    <a:pt x="1405694" y="7566590"/>
                  </a:lnTo>
                  <a:lnTo>
                    <a:pt x="1409607" y="7594836"/>
                  </a:lnTo>
                  <a:lnTo>
                    <a:pt x="1430431" y="7644033"/>
                  </a:lnTo>
                  <a:lnTo>
                    <a:pt x="1427454" y="7671323"/>
                  </a:lnTo>
                  <a:lnTo>
                    <a:pt x="1425061" y="7692875"/>
                  </a:lnTo>
                  <a:lnTo>
                    <a:pt x="1411852" y="7715173"/>
                  </a:lnTo>
                  <a:lnTo>
                    <a:pt x="1409775" y="7737972"/>
                  </a:lnTo>
                  <a:lnTo>
                    <a:pt x="1458566" y="7840951"/>
                  </a:lnTo>
                  <a:lnTo>
                    <a:pt x="1469622" y="7860392"/>
                  </a:lnTo>
                  <a:lnTo>
                    <a:pt x="1480109" y="7878819"/>
                  </a:lnTo>
                  <a:lnTo>
                    <a:pt x="1480735" y="7900193"/>
                  </a:lnTo>
                  <a:lnTo>
                    <a:pt x="1476425" y="7922965"/>
                  </a:lnTo>
                  <a:lnTo>
                    <a:pt x="1472115" y="7945731"/>
                  </a:lnTo>
                  <a:lnTo>
                    <a:pt x="1463124" y="7968931"/>
                  </a:lnTo>
                  <a:lnTo>
                    <a:pt x="1454659" y="7992330"/>
                  </a:lnTo>
                  <a:lnTo>
                    <a:pt x="1446194" y="8015730"/>
                  </a:lnTo>
                  <a:lnTo>
                    <a:pt x="1437606" y="8038660"/>
                  </a:lnTo>
                  <a:lnTo>
                    <a:pt x="1433612" y="8079304"/>
                  </a:lnTo>
                  <a:lnTo>
                    <a:pt x="1453301" y="8110670"/>
                  </a:lnTo>
                  <a:lnTo>
                    <a:pt x="1478614" y="8133303"/>
                  </a:lnTo>
                  <a:lnTo>
                    <a:pt x="1510612" y="8139198"/>
                  </a:lnTo>
                  <a:lnTo>
                    <a:pt x="1543069" y="8144672"/>
                  </a:lnTo>
                  <a:lnTo>
                    <a:pt x="1575538" y="8150153"/>
                  </a:lnTo>
                  <a:lnTo>
                    <a:pt x="1607964" y="8156154"/>
                  </a:lnTo>
                  <a:lnTo>
                    <a:pt x="1632850" y="8177317"/>
                  </a:lnTo>
                  <a:lnTo>
                    <a:pt x="1634201" y="8209282"/>
                  </a:lnTo>
                  <a:lnTo>
                    <a:pt x="1633439" y="8249598"/>
                  </a:lnTo>
                  <a:lnTo>
                    <a:pt x="1624683" y="8280692"/>
                  </a:lnTo>
                  <a:lnTo>
                    <a:pt x="1612863" y="8306987"/>
                  </a:lnTo>
                  <a:lnTo>
                    <a:pt x="1593739" y="8363346"/>
                  </a:lnTo>
                  <a:lnTo>
                    <a:pt x="1586384" y="8412188"/>
                  </a:lnTo>
                  <a:lnTo>
                    <a:pt x="1585237" y="8457522"/>
                  </a:lnTo>
                  <a:lnTo>
                    <a:pt x="1584580" y="8484047"/>
                  </a:lnTo>
                  <a:lnTo>
                    <a:pt x="1580816" y="8519797"/>
                  </a:lnTo>
                  <a:lnTo>
                    <a:pt x="1589330" y="8545933"/>
                  </a:lnTo>
                  <a:lnTo>
                    <a:pt x="1604113" y="8574423"/>
                  </a:lnTo>
                  <a:lnTo>
                    <a:pt x="1628943" y="8593614"/>
                  </a:lnTo>
                  <a:lnTo>
                    <a:pt x="1660060" y="8605782"/>
                  </a:lnTo>
                  <a:lnTo>
                    <a:pt x="1692437" y="8614751"/>
                  </a:lnTo>
                  <a:lnTo>
                    <a:pt x="1729253" y="8615134"/>
                  </a:lnTo>
                  <a:lnTo>
                    <a:pt x="1756625" y="8612582"/>
                  </a:lnTo>
                  <a:lnTo>
                    <a:pt x="1782093" y="8642549"/>
                  </a:lnTo>
                  <a:lnTo>
                    <a:pt x="1802042" y="8664259"/>
                  </a:lnTo>
                  <a:lnTo>
                    <a:pt x="1830084" y="8658824"/>
                  </a:lnTo>
                  <a:lnTo>
                    <a:pt x="1855968" y="8644461"/>
                  </a:lnTo>
                  <a:lnTo>
                    <a:pt x="1888487" y="8610016"/>
                  </a:lnTo>
                  <a:lnTo>
                    <a:pt x="1905596" y="8581650"/>
                  </a:lnTo>
                  <a:lnTo>
                    <a:pt x="1938840" y="8586729"/>
                  </a:lnTo>
                  <a:lnTo>
                    <a:pt x="1953289" y="8626469"/>
                  </a:lnTo>
                  <a:lnTo>
                    <a:pt x="1985380" y="8650277"/>
                  </a:lnTo>
                  <a:lnTo>
                    <a:pt x="2000046" y="8687387"/>
                  </a:lnTo>
                  <a:lnTo>
                    <a:pt x="2008988" y="8709974"/>
                  </a:lnTo>
                  <a:lnTo>
                    <a:pt x="2009961" y="8734739"/>
                  </a:lnTo>
                  <a:lnTo>
                    <a:pt x="2012287" y="8758117"/>
                  </a:lnTo>
                  <a:lnTo>
                    <a:pt x="2014594" y="8781489"/>
                  </a:lnTo>
                  <a:lnTo>
                    <a:pt x="2018643" y="8803597"/>
                  </a:lnTo>
                  <a:lnTo>
                    <a:pt x="2035411" y="8824766"/>
                  </a:lnTo>
                  <a:lnTo>
                    <a:pt x="2065462" y="8862595"/>
                  </a:lnTo>
                  <a:lnTo>
                    <a:pt x="2120783" y="8876226"/>
                  </a:lnTo>
                  <a:lnTo>
                    <a:pt x="2151026" y="8915900"/>
                  </a:lnTo>
                  <a:lnTo>
                    <a:pt x="2167403" y="8937393"/>
                  </a:lnTo>
                  <a:lnTo>
                    <a:pt x="2186217" y="8964788"/>
                  </a:lnTo>
                  <a:lnTo>
                    <a:pt x="2199990" y="8994788"/>
                  </a:lnTo>
                  <a:lnTo>
                    <a:pt x="2213769" y="9024796"/>
                  </a:lnTo>
                  <a:lnTo>
                    <a:pt x="2222321" y="9057083"/>
                  </a:lnTo>
                  <a:lnTo>
                    <a:pt x="2217670" y="9085924"/>
                  </a:lnTo>
                  <a:lnTo>
                    <a:pt x="2213254" y="9113385"/>
                  </a:lnTo>
                  <a:lnTo>
                    <a:pt x="2202043" y="9132629"/>
                  </a:lnTo>
                  <a:lnTo>
                    <a:pt x="2186391" y="9147131"/>
                  </a:lnTo>
                  <a:lnTo>
                    <a:pt x="2170739" y="9161634"/>
                  </a:lnTo>
                  <a:lnTo>
                    <a:pt x="2150207" y="9170939"/>
                  </a:lnTo>
                  <a:lnTo>
                    <a:pt x="2127902" y="9177059"/>
                  </a:lnTo>
                  <a:lnTo>
                    <a:pt x="2083284" y="9189292"/>
                  </a:lnTo>
                  <a:lnTo>
                    <a:pt x="2030438" y="9189992"/>
                  </a:lnTo>
                  <a:lnTo>
                    <a:pt x="1986447" y="9196098"/>
                  </a:lnTo>
                  <a:lnTo>
                    <a:pt x="1957878" y="9216503"/>
                  </a:lnTo>
                  <a:lnTo>
                    <a:pt x="1963446" y="9247275"/>
                  </a:lnTo>
                  <a:lnTo>
                    <a:pt x="1970373" y="9272401"/>
                  </a:lnTo>
                  <a:lnTo>
                    <a:pt x="1979644" y="9300831"/>
                  </a:lnTo>
                  <a:lnTo>
                    <a:pt x="1996431" y="9352351"/>
                  </a:lnTo>
                  <a:lnTo>
                    <a:pt x="2004424" y="9402934"/>
                  </a:lnTo>
                  <a:lnTo>
                    <a:pt x="2019090" y="9454540"/>
                  </a:lnTo>
                  <a:lnTo>
                    <a:pt x="2051478" y="9486755"/>
                  </a:lnTo>
                  <a:lnTo>
                    <a:pt x="2125861" y="9489855"/>
                  </a:lnTo>
                  <a:lnTo>
                    <a:pt x="2192809" y="9497847"/>
                  </a:lnTo>
                  <a:lnTo>
                    <a:pt x="2257122" y="9488542"/>
                  </a:lnTo>
                  <a:lnTo>
                    <a:pt x="2340732" y="9476382"/>
                  </a:lnTo>
                  <a:lnTo>
                    <a:pt x="2426724" y="9458358"/>
                  </a:lnTo>
                  <a:lnTo>
                    <a:pt x="2511481" y="9453174"/>
                  </a:lnTo>
                  <a:lnTo>
                    <a:pt x="2542655" y="9493958"/>
                  </a:lnTo>
                  <a:lnTo>
                    <a:pt x="2554728" y="9532907"/>
                  </a:lnTo>
                  <a:lnTo>
                    <a:pt x="2564526" y="9572872"/>
                  </a:lnTo>
                  <a:lnTo>
                    <a:pt x="2574324" y="9612837"/>
                  </a:lnTo>
                  <a:lnTo>
                    <a:pt x="2581933" y="9654166"/>
                  </a:lnTo>
                  <a:lnTo>
                    <a:pt x="2594453" y="9692569"/>
                  </a:lnTo>
                  <a:lnTo>
                    <a:pt x="2609962" y="9740091"/>
                  </a:lnTo>
                  <a:lnTo>
                    <a:pt x="2639039" y="9785960"/>
                  </a:lnTo>
                  <a:lnTo>
                    <a:pt x="2658375" y="9832672"/>
                  </a:lnTo>
                  <a:lnTo>
                    <a:pt x="2647008" y="9879224"/>
                  </a:lnTo>
                  <a:lnTo>
                    <a:pt x="2639337" y="9906118"/>
                  </a:lnTo>
                  <a:lnTo>
                    <a:pt x="2631672" y="9933019"/>
                  </a:lnTo>
                  <a:lnTo>
                    <a:pt x="2626253" y="9959340"/>
                  </a:lnTo>
                  <a:lnTo>
                    <a:pt x="2636584" y="9990349"/>
                  </a:lnTo>
                  <a:lnTo>
                    <a:pt x="2666548" y="10014935"/>
                  </a:lnTo>
                  <a:lnTo>
                    <a:pt x="2706186" y="10037450"/>
                  </a:lnTo>
                  <a:lnTo>
                    <a:pt x="2729111" y="10047580"/>
                  </a:lnTo>
                  <a:lnTo>
                    <a:pt x="2774950" y="10067853"/>
                  </a:lnTo>
                  <a:lnTo>
                    <a:pt x="2824033" y="10083977"/>
                  </a:lnTo>
                  <a:lnTo>
                    <a:pt x="2844726" y="10092471"/>
                  </a:lnTo>
                  <a:lnTo>
                    <a:pt x="2890174" y="10111115"/>
                  </a:lnTo>
                  <a:lnTo>
                    <a:pt x="2933607" y="10134678"/>
                  </a:lnTo>
                  <a:lnTo>
                    <a:pt x="2979384" y="10152319"/>
                  </a:lnTo>
                  <a:lnTo>
                    <a:pt x="3001194" y="10160734"/>
                  </a:lnTo>
                  <a:lnTo>
                    <a:pt x="3026482" y="10163966"/>
                  </a:lnTo>
                  <a:lnTo>
                    <a:pt x="3048763" y="10171360"/>
                  </a:lnTo>
                  <a:lnTo>
                    <a:pt x="3149371" y="10204768"/>
                  </a:lnTo>
                  <a:lnTo>
                    <a:pt x="3228262" y="10242558"/>
                  </a:lnTo>
                  <a:lnTo>
                    <a:pt x="3320802" y="10297856"/>
                  </a:lnTo>
                  <a:lnTo>
                    <a:pt x="3363342" y="10322079"/>
                  </a:lnTo>
                  <a:lnTo>
                    <a:pt x="3386088" y="10340024"/>
                  </a:lnTo>
                  <a:lnTo>
                    <a:pt x="3408828" y="10357975"/>
                  </a:lnTo>
                  <a:lnTo>
                    <a:pt x="3428275" y="10380279"/>
                  </a:lnTo>
                  <a:lnTo>
                    <a:pt x="3432330" y="10403955"/>
                  </a:lnTo>
                  <a:lnTo>
                    <a:pt x="3424808" y="10438215"/>
                  </a:lnTo>
                  <a:lnTo>
                    <a:pt x="3387930" y="10486286"/>
                  </a:lnTo>
                  <a:lnTo>
                    <a:pt x="3360242" y="10535892"/>
                  </a:lnTo>
                  <a:lnTo>
                    <a:pt x="3346401" y="10560696"/>
                  </a:lnTo>
                  <a:lnTo>
                    <a:pt x="3334476" y="10585598"/>
                  </a:lnTo>
                  <a:lnTo>
                    <a:pt x="3330321" y="10609347"/>
                  </a:lnTo>
                  <a:lnTo>
                    <a:pt x="3326142" y="10633088"/>
                  </a:lnTo>
                  <a:lnTo>
                    <a:pt x="3329862" y="10655220"/>
                  </a:lnTo>
                  <a:lnTo>
                    <a:pt x="3345278" y="10674636"/>
                  </a:lnTo>
                  <a:lnTo>
                    <a:pt x="3451380" y="10809291"/>
                  </a:lnTo>
                  <a:lnTo>
                    <a:pt x="3499830" y="10820957"/>
                  </a:lnTo>
                  <a:lnTo>
                    <a:pt x="3621634" y="10811434"/>
                  </a:lnTo>
                  <a:lnTo>
                    <a:pt x="3691874" y="10806422"/>
                  </a:lnTo>
                  <a:lnTo>
                    <a:pt x="3761507" y="10810655"/>
                  </a:lnTo>
                  <a:lnTo>
                    <a:pt x="3831128" y="10814883"/>
                  </a:lnTo>
                  <a:lnTo>
                    <a:pt x="3901027" y="10827783"/>
                  </a:lnTo>
                  <a:lnTo>
                    <a:pt x="4010422" y="10854175"/>
                  </a:lnTo>
                  <a:lnTo>
                    <a:pt x="4034638" y="10860025"/>
                  </a:lnTo>
                  <a:lnTo>
                    <a:pt x="4070270" y="10869139"/>
                  </a:lnTo>
                  <a:lnTo>
                    <a:pt x="4103936" y="10880166"/>
                  </a:lnTo>
                  <a:lnTo>
                    <a:pt x="4124679" y="10888186"/>
                  </a:lnTo>
                  <a:lnTo>
                    <a:pt x="4149397" y="10897742"/>
                  </a:lnTo>
                  <a:lnTo>
                    <a:pt x="4169563" y="10919472"/>
                  </a:lnTo>
                  <a:lnTo>
                    <a:pt x="4175801" y="10949287"/>
                  </a:lnTo>
                  <a:lnTo>
                    <a:pt x="4173650" y="10976597"/>
                  </a:lnTo>
                  <a:lnTo>
                    <a:pt x="4170952" y="11010494"/>
                  </a:lnTo>
                  <a:lnTo>
                    <a:pt x="4164001" y="11044313"/>
                  </a:lnTo>
                  <a:lnTo>
                    <a:pt x="4155964" y="11077255"/>
                  </a:lnTo>
                  <a:lnTo>
                    <a:pt x="4147933" y="11110189"/>
                  </a:lnTo>
                  <a:lnTo>
                    <a:pt x="4138452" y="11142248"/>
                  </a:lnTo>
                  <a:lnTo>
                    <a:pt x="4130130" y="11175190"/>
                  </a:lnTo>
                  <a:lnTo>
                    <a:pt x="4128765" y="11206937"/>
                  </a:lnTo>
                  <a:lnTo>
                    <a:pt x="4145062" y="11230487"/>
                  </a:lnTo>
                  <a:lnTo>
                    <a:pt x="4172285" y="11249995"/>
                  </a:lnTo>
                  <a:lnTo>
                    <a:pt x="4200079" y="11267860"/>
                  </a:lnTo>
                  <a:lnTo>
                    <a:pt x="4231990" y="11282515"/>
                  </a:lnTo>
                  <a:lnTo>
                    <a:pt x="4241652" y="11307126"/>
                  </a:lnTo>
                  <a:lnTo>
                    <a:pt x="4241199" y="11348100"/>
                  </a:lnTo>
                  <a:lnTo>
                    <a:pt x="4225460" y="11404216"/>
                  </a:lnTo>
                  <a:lnTo>
                    <a:pt x="4207651" y="11462186"/>
                  </a:lnTo>
                  <a:lnTo>
                    <a:pt x="4190138" y="11519172"/>
                  </a:lnTo>
                  <a:lnTo>
                    <a:pt x="4172490" y="11577663"/>
                  </a:lnTo>
                  <a:lnTo>
                    <a:pt x="4165483" y="11628134"/>
                  </a:lnTo>
                  <a:lnTo>
                    <a:pt x="4206324" y="11628398"/>
                  </a:lnTo>
                  <a:lnTo>
                    <a:pt x="4250339" y="11630765"/>
                  </a:lnTo>
                  <a:lnTo>
                    <a:pt x="4270220" y="11641732"/>
                  </a:lnTo>
                  <a:lnTo>
                    <a:pt x="4348008" y="11684790"/>
                  </a:lnTo>
                  <a:lnTo>
                    <a:pt x="4414832" y="11791701"/>
                  </a:lnTo>
                  <a:lnTo>
                    <a:pt x="4509617" y="11795440"/>
                  </a:lnTo>
                  <a:lnTo>
                    <a:pt x="4552337" y="11797141"/>
                  </a:lnTo>
                  <a:lnTo>
                    <a:pt x="4704761" y="11739501"/>
                  </a:lnTo>
                  <a:lnTo>
                    <a:pt x="4761260" y="11727426"/>
                  </a:lnTo>
                  <a:lnTo>
                    <a:pt x="4823309" y="11714124"/>
                  </a:lnTo>
                  <a:lnTo>
                    <a:pt x="4888310" y="11694656"/>
                  </a:lnTo>
                  <a:lnTo>
                    <a:pt x="4951686" y="11692065"/>
                  </a:lnTo>
                  <a:lnTo>
                    <a:pt x="5004352" y="11689941"/>
                  </a:lnTo>
                  <a:lnTo>
                    <a:pt x="5058073" y="11703243"/>
                  </a:lnTo>
                  <a:lnTo>
                    <a:pt x="5110826" y="11701581"/>
                  </a:lnTo>
                  <a:lnTo>
                    <a:pt x="5167139" y="11699840"/>
                  </a:lnTo>
                  <a:lnTo>
                    <a:pt x="5224103" y="11690237"/>
                  </a:lnTo>
                  <a:lnTo>
                    <a:pt x="5280844" y="11696147"/>
                  </a:lnTo>
                  <a:lnTo>
                    <a:pt x="5406194" y="11709153"/>
                  </a:lnTo>
                  <a:lnTo>
                    <a:pt x="5414107" y="11804534"/>
                  </a:lnTo>
                  <a:lnTo>
                    <a:pt x="5474004" y="11817203"/>
                  </a:lnTo>
                  <a:lnTo>
                    <a:pt x="5543451" y="11831909"/>
                  </a:lnTo>
                  <a:lnTo>
                    <a:pt x="5626894" y="11755950"/>
                  </a:lnTo>
                  <a:lnTo>
                    <a:pt x="5692986" y="11761430"/>
                  </a:lnTo>
                  <a:lnTo>
                    <a:pt x="5716538" y="11763428"/>
                  </a:lnTo>
                  <a:lnTo>
                    <a:pt x="5763766" y="11790631"/>
                  </a:lnTo>
                  <a:lnTo>
                    <a:pt x="5788205" y="11800880"/>
                  </a:lnTo>
                  <a:lnTo>
                    <a:pt x="5891064" y="11843853"/>
                  </a:lnTo>
                  <a:lnTo>
                    <a:pt x="6002133" y="11760415"/>
                  </a:lnTo>
                  <a:lnTo>
                    <a:pt x="6130975" y="11765512"/>
                  </a:lnTo>
                  <a:lnTo>
                    <a:pt x="6255935" y="11770445"/>
                  </a:lnTo>
                  <a:lnTo>
                    <a:pt x="6433493" y="11871862"/>
                  </a:lnTo>
                  <a:lnTo>
                    <a:pt x="6567606" y="11877052"/>
                  </a:lnTo>
                  <a:lnTo>
                    <a:pt x="6617209" y="11878958"/>
                  </a:lnTo>
                  <a:lnTo>
                    <a:pt x="6704850" y="11834072"/>
                  </a:lnTo>
                  <a:lnTo>
                    <a:pt x="6733537" y="11794075"/>
                  </a:lnTo>
                  <a:lnTo>
                    <a:pt x="6750286" y="11770781"/>
                  </a:lnTo>
                  <a:lnTo>
                    <a:pt x="6781614" y="11722539"/>
                  </a:lnTo>
                  <a:lnTo>
                    <a:pt x="6798829" y="11702947"/>
                  </a:lnTo>
                  <a:lnTo>
                    <a:pt x="6921203" y="11564248"/>
                  </a:lnTo>
                  <a:lnTo>
                    <a:pt x="6815070" y="11481404"/>
                  </a:lnTo>
                  <a:lnTo>
                    <a:pt x="6820595" y="11360175"/>
                  </a:lnTo>
                  <a:lnTo>
                    <a:pt x="6824973" y="11264747"/>
                  </a:lnTo>
                  <a:lnTo>
                    <a:pt x="6907325" y="11171278"/>
                  </a:lnTo>
                  <a:lnTo>
                    <a:pt x="6904931" y="11081330"/>
                  </a:lnTo>
                  <a:lnTo>
                    <a:pt x="6904329" y="11059995"/>
                  </a:lnTo>
                  <a:lnTo>
                    <a:pt x="6894643" y="11038911"/>
                  </a:lnTo>
                  <a:lnTo>
                    <a:pt x="6888609" y="11018765"/>
                  </a:lnTo>
                  <a:lnTo>
                    <a:pt x="6875897" y="10976642"/>
                  </a:lnTo>
                  <a:lnTo>
                    <a:pt x="6838281" y="10924912"/>
                  </a:lnTo>
                  <a:lnTo>
                    <a:pt x="6748711" y="10805129"/>
                  </a:lnTo>
                  <a:lnTo>
                    <a:pt x="6751241" y="10783452"/>
                  </a:lnTo>
                  <a:lnTo>
                    <a:pt x="6768449" y="10756710"/>
                  </a:lnTo>
                  <a:lnTo>
                    <a:pt x="6956785" y="10701583"/>
                  </a:lnTo>
                  <a:lnTo>
                    <a:pt x="6993347" y="10700481"/>
                  </a:lnTo>
                  <a:lnTo>
                    <a:pt x="7020763" y="10699585"/>
                  </a:lnTo>
                  <a:lnTo>
                    <a:pt x="7048011" y="10706818"/>
                  </a:lnTo>
                  <a:lnTo>
                    <a:pt x="7074961" y="10707280"/>
                  </a:lnTo>
                  <a:lnTo>
                    <a:pt x="7087710" y="10681521"/>
                  </a:lnTo>
                  <a:lnTo>
                    <a:pt x="7070539" y="10663240"/>
                  </a:lnTo>
                  <a:lnTo>
                    <a:pt x="7059997" y="10643349"/>
                  </a:lnTo>
                  <a:lnTo>
                    <a:pt x="7049710" y="10623796"/>
                  </a:lnTo>
                  <a:lnTo>
                    <a:pt x="7030114" y="10609426"/>
                  </a:lnTo>
                  <a:lnTo>
                    <a:pt x="7021910" y="10588942"/>
                  </a:lnTo>
                  <a:lnTo>
                    <a:pt x="7007567" y="10553105"/>
                  </a:lnTo>
                  <a:lnTo>
                    <a:pt x="7015076" y="10518383"/>
                  </a:lnTo>
                  <a:lnTo>
                    <a:pt x="7006953" y="10481485"/>
                  </a:lnTo>
                  <a:lnTo>
                    <a:pt x="6998290" y="10459933"/>
                  </a:lnTo>
                  <a:lnTo>
                    <a:pt x="6959724" y="10265132"/>
                  </a:lnTo>
                  <a:lnTo>
                    <a:pt x="7107610" y="10268146"/>
                  </a:lnTo>
                  <a:lnTo>
                    <a:pt x="7144333" y="10161836"/>
                  </a:lnTo>
                  <a:lnTo>
                    <a:pt x="7154230" y="10132977"/>
                  </a:lnTo>
                  <a:lnTo>
                    <a:pt x="7153772" y="10105007"/>
                  </a:lnTo>
                  <a:lnTo>
                    <a:pt x="7160655" y="10076148"/>
                  </a:lnTo>
                  <a:lnTo>
                    <a:pt x="7182799" y="9983483"/>
                  </a:lnTo>
                  <a:lnTo>
                    <a:pt x="7237890" y="9873091"/>
                  </a:lnTo>
                  <a:lnTo>
                    <a:pt x="7299394" y="9800026"/>
                  </a:lnTo>
                  <a:lnTo>
                    <a:pt x="7341648" y="9749912"/>
                  </a:lnTo>
                  <a:lnTo>
                    <a:pt x="7439280" y="9742981"/>
                  </a:lnTo>
                  <a:lnTo>
                    <a:pt x="7495264" y="9698010"/>
                  </a:lnTo>
                  <a:lnTo>
                    <a:pt x="7533854" y="9661282"/>
                  </a:lnTo>
                  <a:lnTo>
                    <a:pt x="7576233" y="9589325"/>
                  </a:lnTo>
                  <a:lnTo>
                    <a:pt x="7614072" y="9389415"/>
                  </a:lnTo>
                  <a:lnTo>
                    <a:pt x="7530629" y="9359322"/>
                  </a:lnTo>
                  <a:lnTo>
                    <a:pt x="7504615" y="9349588"/>
                  </a:lnTo>
                  <a:lnTo>
                    <a:pt x="7458199" y="9355075"/>
                  </a:lnTo>
                  <a:lnTo>
                    <a:pt x="7353288" y="9386018"/>
                  </a:lnTo>
                  <a:lnTo>
                    <a:pt x="7326598" y="9404206"/>
                  </a:lnTo>
                  <a:lnTo>
                    <a:pt x="7299518" y="9422698"/>
                  </a:lnTo>
                  <a:lnTo>
                    <a:pt x="7271594" y="9448030"/>
                  </a:lnTo>
                  <a:lnTo>
                    <a:pt x="7242268" y="9462697"/>
                  </a:lnTo>
                  <a:lnTo>
                    <a:pt x="7145772" y="9265134"/>
                  </a:lnTo>
                  <a:lnTo>
                    <a:pt x="6995902" y="9356262"/>
                  </a:lnTo>
                  <a:lnTo>
                    <a:pt x="6959346" y="9264111"/>
                  </a:lnTo>
                  <a:lnTo>
                    <a:pt x="6956084" y="9206558"/>
                  </a:lnTo>
                  <a:lnTo>
                    <a:pt x="7108075" y="9190954"/>
                  </a:lnTo>
                  <a:lnTo>
                    <a:pt x="7162013" y="9145773"/>
                  </a:lnTo>
                  <a:lnTo>
                    <a:pt x="7211957" y="9103862"/>
                  </a:lnTo>
                  <a:lnTo>
                    <a:pt x="7226970" y="9034193"/>
                  </a:lnTo>
                  <a:lnTo>
                    <a:pt x="7259948" y="8986630"/>
                  </a:lnTo>
                  <a:lnTo>
                    <a:pt x="7193726" y="8950287"/>
                  </a:lnTo>
                  <a:lnTo>
                    <a:pt x="7219957" y="8833351"/>
                  </a:lnTo>
                  <a:lnTo>
                    <a:pt x="7202817" y="8773074"/>
                  </a:lnTo>
                  <a:lnTo>
                    <a:pt x="7196361" y="8750335"/>
                  </a:lnTo>
                  <a:lnTo>
                    <a:pt x="7161374" y="8728104"/>
                  </a:lnTo>
                  <a:lnTo>
                    <a:pt x="7153852" y="8702352"/>
                  </a:lnTo>
                  <a:lnTo>
                    <a:pt x="7144513" y="8669831"/>
                  </a:lnTo>
                  <a:lnTo>
                    <a:pt x="7162528" y="8624135"/>
                  </a:lnTo>
                  <a:lnTo>
                    <a:pt x="7144333" y="8592169"/>
                  </a:lnTo>
                  <a:lnTo>
                    <a:pt x="7106760" y="8526181"/>
                  </a:lnTo>
                  <a:lnTo>
                    <a:pt x="6936867" y="8414944"/>
                  </a:lnTo>
                  <a:lnTo>
                    <a:pt x="6975668" y="8336453"/>
                  </a:lnTo>
                  <a:lnTo>
                    <a:pt x="7008273" y="8324015"/>
                  </a:lnTo>
                  <a:lnTo>
                    <a:pt x="7045040" y="8321488"/>
                  </a:lnTo>
                  <a:lnTo>
                    <a:pt x="7062931" y="8307890"/>
                  </a:lnTo>
                  <a:lnTo>
                    <a:pt x="7071308" y="8259134"/>
                  </a:lnTo>
                  <a:lnTo>
                    <a:pt x="7054937" y="8237833"/>
                  </a:lnTo>
                  <a:lnTo>
                    <a:pt x="7049114" y="8207231"/>
                  </a:lnTo>
                  <a:lnTo>
                    <a:pt x="7039720" y="8157672"/>
                  </a:lnTo>
                  <a:lnTo>
                    <a:pt x="7043719" y="8027256"/>
                  </a:lnTo>
                  <a:lnTo>
                    <a:pt x="7012397" y="7990959"/>
                  </a:lnTo>
                  <a:lnTo>
                    <a:pt x="6994370" y="7970046"/>
                  </a:lnTo>
                  <a:lnTo>
                    <a:pt x="6970316" y="7960352"/>
                  </a:lnTo>
                  <a:lnTo>
                    <a:pt x="6952544" y="7940634"/>
                  </a:lnTo>
                  <a:lnTo>
                    <a:pt x="6927764" y="7913172"/>
                  </a:lnTo>
                  <a:lnTo>
                    <a:pt x="6865107" y="7865972"/>
                  </a:lnTo>
                  <a:lnTo>
                    <a:pt x="6830126" y="7856298"/>
                  </a:lnTo>
                  <a:lnTo>
                    <a:pt x="6760289" y="7837020"/>
                  </a:lnTo>
                  <a:lnTo>
                    <a:pt x="6671792" y="7868096"/>
                  </a:lnTo>
                  <a:lnTo>
                    <a:pt x="6597533" y="7860374"/>
                  </a:lnTo>
                  <a:lnTo>
                    <a:pt x="6523534" y="7852703"/>
                  </a:lnTo>
                  <a:lnTo>
                    <a:pt x="6460028" y="7811215"/>
                  </a:lnTo>
                  <a:lnTo>
                    <a:pt x="6378538" y="7831811"/>
                  </a:lnTo>
                  <a:lnTo>
                    <a:pt x="6360561" y="7798441"/>
                  </a:lnTo>
                  <a:lnTo>
                    <a:pt x="6325152" y="7738400"/>
                  </a:lnTo>
                  <a:lnTo>
                    <a:pt x="6329574" y="7701231"/>
                  </a:lnTo>
                  <a:lnTo>
                    <a:pt x="6333102" y="7671990"/>
                  </a:lnTo>
                  <a:lnTo>
                    <a:pt x="6348103" y="7648993"/>
                  </a:lnTo>
                  <a:lnTo>
                    <a:pt x="6360859" y="7623701"/>
                  </a:lnTo>
                  <a:lnTo>
                    <a:pt x="6376963" y="7591776"/>
                  </a:lnTo>
                  <a:lnTo>
                    <a:pt x="6385849" y="7555392"/>
                  </a:lnTo>
                  <a:lnTo>
                    <a:pt x="6401662" y="7523044"/>
                  </a:lnTo>
                  <a:lnTo>
                    <a:pt x="6427800" y="7469619"/>
                  </a:lnTo>
                  <a:lnTo>
                    <a:pt x="6472095" y="7421008"/>
                  </a:lnTo>
                  <a:lnTo>
                    <a:pt x="6490073" y="7363902"/>
                  </a:lnTo>
                  <a:lnTo>
                    <a:pt x="6503052" y="7322605"/>
                  </a:lnTo>
                  <a:lnTo>
                    <a:pt x="6503889" y="7266483"/>
                  </a:lnTo>
                  <a:lnTo>
                    <a:pt x="6498239" y="7223800"/>
                  </a:lnTo>
                  <a:lnTo>
                    <a:pt x="6487437" y="7190094"/>
                  </a:lnTo>
                  <a:lnTo>
                    <a:pt x="6491437" y="7168033"/>
                  </a:lnTo>
                  <a:lnTo>
                    <a:pt x="6497892" y="7132137"/>
                  </a:lnTo>
                  <a:lnTo>
                    <a:pt x="6524043" y="7104677"/>
                  </a:lnTo>
                  <a:lnTo>
                    <a:pt x="6536321" y="7071457"/>
                  </a:lnTo>
                  <a:lnTo>
                    <a:pt x="6554980" y="7020921"/>
                  </a:lnTo>
                  <a:lnTo>
                    <a:pt x="6563612" y="6966382"/>
                  </a:lnTo>
                  <a:lnTo>
                    <a:pt x="6579847" y="6915033"/>
                  </a:lnTo>
                  <a:lnTo>
                    <a:pt x="6597068" y="6891154"/>
                  </a:lnTo>
                  <a:lnTo>
                    <a:pt x="6657331" y="6907469"/>
                  </a:lnTo>
                  <a:lnTo>
                    <a:pt x="6684585" y="6893276"/>
                  </a:lnTo>
                  <a:lnTo>
                    <a:pt x="6699288" y="6875530"/>
                  </a:lnTo>
                  <a:lnTo>
                    <a:pt x="6706227" y="6830810"/>
                  </a:lnTo>
                  <a:lnTo>
                    <a:pt x="6714512" y="6807582"/>
                  </a:lnTo>
                  <a:lnTo>
                    <a:pt x="6723013" y="6783715"/>
                  </a:lnTo>
                  <a:lnTo>
                    <a:pt x="6738014" y="6751579"/>
                  </a:lnTo>
                  <a:lnTo>
                    <a:pt x="6751241" y="6730053"/>
                  </a:lnTo>
                  <a:lnTo>
                    <a:pt x="6764760" y="6707966"/>
                  </a:lnTo>
                  <a:lnTo>
                    <a:pt x="6856227" y="6616515"/>
                  </a:lnTo>
                  <a:lnTo>
                    <a:pt x="6877733" y="6604914"/>
                  </a:lnTo>
                  <a:lnTo>
                    <a:pt x="7003257" y="6537304"/>
                  </a:lnTo>
                  <a:lnTo>
                    <a:pt x="7138300" y="6673964"/>
                  </a:lnTo>
                  <a:lnTo>
                    <a:pt x="7240904" y="6725970"/>
                  </a:lnTo>
                  <a:lnTo>
                    <a:pt x="7266410" y="6738890"/>
                  </a:lnTo>
                  <a:lnTo>
                    <a:pt x="7295059" y="6742378"/>
                  </a:lnTo>
                  <a:lnTo>
                    <a:pt x="7321154" y="6753174"/>
                  </a:lnTo>
                  <a:lnTo>
                    <a:pt x="7346275" y="6763523"/>
                  </a:lnTo>
                  <a:lnTo>
                    <a:pt x="7388194" y="6780102"/>
                  </a:lnTo>
                  <a:lnTo>
                    <a:pt x="7415015" y="6779013"/>
                  </a:lnTo>
                  <a:lnTo>
                    <a:pt x="7497980" y="6775637"/>
                  </a:lnTo>
                  <a:lnTo>
                    <a:pt x="7580617" y="6699637"/>
                  </a:lnTo>
                  <a:lnTo>
                    <a:pt x="7635367" y="6645717"/>
                  </a:lnTo>
                  <a:lnTo>
                    <a:pt x="7725476" y="6556983"/>
                  </a:lnTo>
                  <a:lnTo>
                    <a:pt x="7767216" y="6504066"/>
                  </a:lnTo>
                  <a:lnTo>
                    <a:pt x="7804026" y="6377760"/>
                  </a:lnTo>
                  <a:lnTo>
                    <a:pt x="7808448" y="6303376"/>
                  </a:lnTo>
                  <a:lnTo>
                    <a:pt x="7782608" y="6243968"/>
                  </a:lnTo>
                  <a:lnTo>
                    <a:pt x="7706098" y="6219976"/>
                  </a:lnTo>
                  <a:lnTo>
                    <a:pt x="7543038" y="6168886"/>
                  </a:lnTo>
                  <a:lnTo>
                    <a:pt x="7549239" y="6389722"/>
                  </a:lnTo>
                  <a:lnTo>
                    <a:pt x="7451738" y="6400881"/>
                  </a:lnTo>
                  <a:lnTo>
                    <a:pt x="7355074" y="6411974"/>
                  </a:lnTo>
                  <a:lnTo>
                    <a:pt x="7313632" y="6272089"/>
                  </a:lnTo>
                  <a:lnTo>
                    <a:pt x="7268109" y="6256704"/>
                  </a:lnTo>
                  <a:lnTo>
                    <a:pt x="7239633" y="6247095"/>
                  </a:lnTo>
                  <a:lnTo>
                    <a:pt x="7157635" y="6279318"/>
                  </a:lnTo>
                  <a:lnTo>
                    <a:pt x="7100807" y="6277101"/>
                  </a:lnTo>
                  <a:lnTo>
                    <a:pt x="7047552" y="6275058"/>
                  </a:lnTo>
                  <a:lnTo>
                    <a:pt x="7009204" y="6244647"/>
                  </a:lnTo>
                  <a:lnTo>
                    <a:pt x="6963420" y="6222694"/>
                  </a:lnTo>
                  <a:lnTo>
                    <a:pt x="6877143" y="6181357"/>
                  </a:lnTo>
                  <a:lnTo>
                    <a:pt x="6847595" y="6246522"/>
                  </a:lnTo>
                  <a:lnTo>
                    <a:pt x="6719950" y="6171010"/>
                  </a:lnTo>
                  <a:lnTo>
                    <a:pt x="6678297" y="6146377"/>
                  </a:lnTo>
                  <a:lnTo>
                    <a:pt x="6695424" y="6002259"/>
                  </a:lnTo>
                  <a:lnTo>
                    <a:pt x="6634256" y="5945213"/>
                  </a:lnTo>
                  <a:lnTo>
                    <a:pt x="6613308" y="5925706"/>
                  </a:lnTo>
                  <a:lnTo>
                    <a:pt x="6586904" y="5904496"/>
                  </a:lnTo>
                  <a:lnTo>
                    <a:pt x="6563525" y="5888088"/>
                  </a:lnTo>
                  <a:lnTo>
                    <a:pt x="6512818" y="5852555"/>
                  </a:lnTo>
                  <a:lnTo>
                    <a:pt x="6463550" y="5843117"/>
                  </a:lnTo>
                  <a:lnTo>
                    <a:pt x="6460152" y="5771107"/>
                  </a:lnTo>
                  <a:lnTo>
                    <a:pt x="6458583" y="5738357"/>
                  </a:lnTo>
                  <a:lnTo>
                    <a:pt x="6469206" y="5702316"/>
                  </a:lnTo>
                  <a:lnTo>
                    <a:pt x="6471035" y="5669098"/>
                  </a:lnTo>
                  <a:lnTo>
                    <a:pt x="6474384" y="5606545"/>
                  </a:lnTo>
                  <a:lnTo>
                    <a:pt x="6475215" y="5540134"/>
                  </a:lnTo>
                  <a:lnTo>
                    <a:pt x="6495523" y="5480029"/>
                  </a:lnTo>
                  <a:lnTo>
                    <a:pt x="6530634" y="5454249"/>
                  </a:lnTo>
                  <a:lnTo>
                    <a:pt x="6632557" y="5491886"/>
                  </a:lnTo>
                  <a:lnTo>
                    <a:pt x="6677782" y="5493627"/>
                  </a:lnTo>
                  <a:lnTo>
                    <a:pt x="6798841" y="5498302"/>
                  </a:lnTo>
                  <a:lnTo>
                    <a:pt x="6865963" y="5395310"/>
                  </a:lnTo>
                  <a:lnTo>
                    <a:pt x="6948463" y="5378012"/>
                  </a:lnTo>
                  <a:lnTo>
                    <a:pt x="7050187" y="5356677"/>
                  </a:lnTo>
                  <a:lnTo>
                    <a:pt x="7244346" y="5443005"/>
                  </a:lnTo>
                  <a:lnTo>
                    <a:pt x="7321154" y="5376654"/>
                  </a:lnTo>
                  <a:lnTo>
                    <a:pt x="7370378" y="5334170"/>
                  </a:lnTo>
                  <a:lnTo>
                    <a:pt x="7317154" y="5267033"/>
                  </a:lnTo>
                  <a:lnTo>
                    <a:pt x="7319802" y="5216154"/>
                  </a:lnTo>
                  <a:lnTo>
                    <a:pt x="7321978" y="5175199"/>
                  </a:lnTo>
                  <a:lnTo>
                    <a:pt x="7344253" y="5134621"/>
                  </a:lnTo>
                  <a:lnTo>
                    <a:pt x="7363334" y="5099173"/>
                  </a:lnTo>
                  <a:lnTo>
                    <a:pt x="7385522" y="5057921"/>
                  </a:lnTo>
                  <a:lnTo>
                    <a:pt x="7415653" y="5022877"/>
                  </a:lnTo>
                  <a:lnTo>
                    <a:pt x="7442225" y="4984917"/>
                  </a:lnTo>
                  <a:lnTo>
                    <a:pt x="7523368" y="4868958"/>
                  </a:lnTo>
                  <a:lnTo>
                    <a:pt x="7614116" y="4827027"/>
                  </a:lnTo>
                  <a:lnTo>
                    <a:pt x="7725141" y="4749604"/>
                  </a:lnTo>
                  <a:lnTo>
                    <a:pt x="7754305" y="4729284"/>
                  </a:lnTo>
                  <a:lnTo>
                    <a:pt x="7790775" y="4717296"/>
                  </a:lnTo>
                  <a:lnTo>
                    <a:pt x="7823076" y="4693830"/>
                  </a:lnTo>
                  <a:lnTo>
                    <a:pt x="7875185" y="4615688"/>
                  </a:lnTo>
                  <a:lnTo>
                    <a:pt x="7897763" y="4522937"/>
                  </a:lnTo>
                  <a:lnTo>
                    <a:pt x="7952296" y="4447636"/>
                  </a:lnTo>
                  <a:lnTo>
                    <a:pt x="8028379" y="4412888"/>
                  </a:lnTo>
                  <a:lnTo>
                    <a:pt x="8056693" y="4425490"/>
                  </a:lnTo>
                  <a:lnTo>
                    <a:pt x="8119604" y="4359224"/>
                  </a:lnTo>
                  <a:lnTo>
                    <a:pt x="8137370" y="4308411"/>
                  </a:lnTo>
                  <a:lnTo>
                    <a:pt x="8089938" y="4233934"/>
                  </a:lnTo>
                  <a:lnTo>
                    <a:pt x="8097838" y="4174237"/>
                  </a:lnTo>
                  <a:lnTo>
                    <a:pt x="8101707" y="4144890"/>
                  </a:lnTo>
                  <a:lnTo>
                    <a:pt x="8119393" y="4122230"/>
                  </a:lnTo>
                  <a:lnTo>
                    <a:pt x="8129123" y="4095343"/>
                  </a:lnTo>
                  <a:lnTo>
                    <a:pt x="8154411" y="4025338"/>
                  </a:lnTo>
                  <a:lnTo>
                    <a:pt x="8169586" y="3958010"/>
                  </a:lnTo>
                  <a:lnTo>
                    <a:pt x="8157685" y="3883151"/>
                  </a:lnTo>
                  <a:lnTo>
                    <a:pt x="8141401" y="3781057"/>
                  </a:lnTo>
                  <a:lnTo>
                    <a:pt x="8090446" y="3761714"/>
                  </a:lnTo>
                  <a:lnTo>
                    <a:pt x="8031188" y="3688648"/>
                  </a:lnTo>
                  <a:lnTo>
                    <a:pt x="8013762" y="3659235"/>
                  </a:lnTo>
                  <a:lnTo>
                    <a:pt x="7979755" y="3610241"/>
                  </a:lnTo>
                  <a:lnTo>
                    <a:pt x="7946852" y="3575644"/>
                  </a:lnTo>
                  <a:lnTo>
                    <a:pt x="7919653" y="3543105"/>
                  </a:lnTo>
                  <a:lnTo>
                    <a:pt x="7868178" y="3481535"/>
                  </a:lnTo>
                  <a:lnTo>
                    <a:pt x="7834177" y="3403624"/>
                  </a:lnTo>
                  <a:lnTo>
                    <a:pt x="7797236" y="3333637"/>
                  </a:lnTo>
                  <a:lnTo>
                    <a:pt x="7781467" y="3303796"/>
                  </a:lnTo>
                  <a:lnTo>
                    <a:pt x="7751453" y="3274145"/>
                  </a:lnTo>
                  <a:lnTo>
                    <a:pt x="7738747" y="3243862"/>
                  </a:lnTo>
                  <a:lnTo>
                    <a:pt x="7713527" y="3183631"/>
                  </a:lnTo>
                  <a:lnTo>
                    <a:pt x="7719108" y="3099407"/>
                  </a:lnTo>
                  <a:lnTo>
                    <a:pt x="7734654" y="3037111"/>
                  </a:lnTo>
                  <a:lnTo>
                    <a:pt x="7810110" y="2754171"/>
                  </a:lnTo>
                  <a:lnTo>
                    <a:pt x="7972742" y="2856352"/>
                  </a:lnTo>
                  <a:lnTo>
                    <a:pt x="8044781" y="2692982"/>
                  </a:lnTo>
                  <a:lnTo>
                    <a:pt x="8056985" y="2665311"/>
                  </a:lnTo>
                  <a:lnTo>
                    <a:pt x="8064370" y="2642208"/>
                  </a:lnTo>
                  <a:lnTo>
                    <a:pt x="8061102" y="2611371"/>
                  </a:lnTo>
                  <a:lnTo>
                    <a:pt x="8057276" y="2574960"/>
                  </a:lnTo>
                  <a:lnTo>
                    <a:pt x="8033389" y="2541999"/>
                  </a:lnTo>
                  <a:lnTo>
                    <a:pt x="8024385" y="2506631"/>
                  </a:lnTo>
                  <a:lnTo>
                    <a:pt x="7970950" y="2483127"/>
                  </a:lnTo>
                  <a:lnTo>
                    <a:pt x="7945401" y="2498730"/>
                  </a:lnTo>
                  <a:lnTo>
                    <a:pt x="7893807" y="2493031"/>
                  </a:lnTo>
                  <a:lnTo>
                    <a:pt x="7845512" y="2487697"/>
                  </a:lnTo>
                  <a:lnTo>
                    <a:pt x="7815722" y="2460367"/>
                  </a:lnTo>
                  <a:lnTo>
                    <a:pt x="7774106" y="2442706"/>
                  </a:lnTo>
                  <a:lnTo>
                    <a:pt x="7722890" y="2420963"/>
                  </a:lnTo>
                  <a:lnTo>
                    <a:pt x="7591066" y="2420685"/>
                  </a:lnTo>
                  <a:lnTo>
                    <a:pt x="7538790" y="2441348"/>
                  </a:lnTo>
                  <a:lnTo>
                    <a:pt x="7476301" y="2478966"/>
                  </a:lnTo>
                  <a:lnTo>
                    <a:pt x="7422195" y="2547994"/>
                  </a:lnTo>
                  <a:lnTo>
                    <a:pt x="7381776" y="2622148"/>
                  </a:lnTo>
                  <a:lnTo>
                    <a:pt x="7322518" y="2660337"/>
                  </a:lnTo>
                  <a:lnTo>
                    <a:pt x="7282092" y="2686395"/>
                  </a:lnTo>
                  <a:lnTo>
                    <a:pt x="7236700" y="2698403"/>
                  </a:lnTo>
                  <a:lnTo>
                    <a:pt x="7193304" y="2716105"/>
                  </a:lnTo>
                  <a:lnTo>
                    <a:pt x="7085720" y="2759993"/>
                  </a:lnTo>
                  <a:lnTo>
                    <a:pt x="6936011" y="2801819"/>
                  </a:lnTo>
                  <a:lnTo>
                    <a:pt x="6823330" y="2758273"/>
                  </a:lnTo>
                  <a:lnTo>
                    <a:pt x="6797527" y="2724842"/>
                  </a:lnTo>
                  <a:lnTo>
                    <a:pt x="6738225" y="2619766"/>
                  </a:lnTo>
                  <a:lnTo>
                    <a:pt x="6715870" y="2601848"/>
                  </a:lnTo>
                  <a:lnTo>
                    <a:pt x="6698612" y="2587971"/>
                  </a:lnTo>
                  <a:lnTo>
                    <a:pt x="6507504" y="2506229"/>
                  </a:lnTo>
                  <a:lnTo>
                    <a:pt x="6480560" y="2499831"/>
                  </a:lnTo>
                  <a:lnTo>
                    <a:pt x="6401625" y="2481128"/>
                  </a:lnTo>
                  <a:lnTo>
                    <a:pt x="6353461" y="2525426"/>
                  </a:lnTo>
                  <a:lnTo>
                    <a:pt x="6272442" y="2430466"/>
                  </a:lnTo>
                  <a:lnTo>
                    <a:pt x="6210046" y="2357269"/>
                  </a:lnTo>
                  <a:lnTo>
                    <a:pt x="6204347" y="2257232"/>
                  </a:lnTo>
                  <a:lnTo>
                    <a:pt x="6184032" y="2167943"/>
                  </a:lnTo>
                  <a:lnTo>
                    <a:pt x="6169025" y="2101466"/>
                  </a:lnTo>
                  <a:lnTo>
                    <a:pt x="6134690" y="2037008"/>
                  </a:lnTo>
                  <a:lnTo>
                    <a:pt x="6120104" y="1970716"/>
                  </a:lnTo>
                  <a:lnTo>
                    <a:pt x="6111770" y="1932735"/>
                  </a:lnTo>
                  <a:lnTo>
                    <a:pt x="6102754" y="1888088"/>
                  </a:lnTo>
                  <a:lnTo>
                    <a:pt x="6086097" y="1852384"/>
                  </a:lnTo>
                  <a:lnTo>
                    <a:pt x="6074575" y="1831721"/>
                  </a:lnTo>
                  <a:lnTo>
                    <a:pt x="5998413" y="1809002"/>
                  </a:lnTo>
                  <a:lnTo>
                    <a:pt x="5923428" y="1823353"/>
                  </a:lnTo>
                  <a:lnTo>
                    <a:pt x="5854868" y="1804774"/>
                  </a:lnTo>
                  <a:lnTo>
                    <a:pt x="5746298" y="1775336"/>
                  </a:lnTo>
                  <a:lnTo>
                    <a:pt x="5729338" y="1664606"/>
                  </a:lnTo>
                  <a:lnTo>
                    <a:pt x="5616830" y="1678278"/>
                  </a:lnTo>
                  <a:lnTo>
                    <a:pt x="5489656" y="1693750"/>
                  </a:lnTo>
                  <a:lnTo>
                    <a:pt x="5447990" y="1820945"/>
                  </a:lnTo>
                  <a:lnTo>
                    <a:pt x="5272702" y="1814298"/>
                  </a:lnTo>
                  <a:lnTo>
                    <a:pt x="5236996" y="1812952"/>
                  </a:lnTo>
                  <a:lnTo>
                    <a:pt x="5196024" y="1793952"/>
                  </a:lnTo>
                  <a:lnTo>
                    <a:pt x="5162519" y="1783011"/>
                  </a:lnTo>
                  <a:lnTo>
                    <a:pt x="5126478" y="1771173"/>
                  </a:lnTo>
                  <a:lnTo>
                    <a:pt x="5083163" y="1763926"/>
                  </a:lnTo>
                  <a:lnTo>
                    <a:pt x="5049627" y="1746285"/>
                  </a:lnTo>
                  <a:lnTo>
                    <a:pt x="4898052" y="1666566"/>
                  </a:lnTo>
                  <a:lnTo>
                    <a:pt x="4905872" y="1614367"/>
                  </a:lnTo>
                  <a:lnTo>
                    <a:pt x="4871443" y="1464722"/>
                  </a:lnTo>
                  <a:lnTo>
                    <a:pt x="4867474" y="1428489"/>
                  </a:lnTo>
                  <a:lnTo>
                    <a:pt x="4843767" y="1362731"/>
                  </a:lnTo>
                  <a:lnTo>
                    <a:pt x="4801431" y="1313547"/>
                  </a:lnTo>
                  <a:lnTo>
                    <a:pt x="4789829" y="1260696"/>
                  </a:lnTo>
                  <a:lnTo>
                    <a:pt x="4770103" y="1170965"/>
                  </a:lnTo>
                  <a:lnTo>
                    <a:pt x="4799987" y="1110496"/>
                  </a:lnTo>
                  <a:lnTo>
                    <a:pt x="4706857" y="1051222"/>
                  </a:lnTo>
                  <a:lnTo>
                    <a:pt x="4678258" y="1033052"/>
                  </a:lnTo>
                  <a:lnTo>
                    <a:pt x="4637485" y="1034899"/>
                  </a:lnTo>
                  <a:lnTo>
                    <a:pt x="4528890" y="1026636"/>
                  </a:lnTo>
                  <a:lnTo>
                    <a:pt x="4508779" y="1095321"/>
                  </a:lnTo>
                  <a:lnTo>
                    <a:pt x="4457942" y="1165478"/>
                  </a:lnTo>
                  <a:lnTo>
                    <a:pt x="4434093" y="1198360"/>
                  </a:lnTo>
                  <a:lnTo>
                    <a:pt x="4327147" y="1335825"/>
                  </a:lnTo>
                  <a:lnTo>
                    <a:pt x="4304240" y="1351824"/>
                  </a:lnTo>
                  <a:lnTo>
                    <a:pt x="4220754" y="1410017"/>
                  </a:lnTo>
                  <a:lnTo>
                    <a:pt x="4118273" y="1361558"/>
                  </a:lnTo>
                  <a:lnTo>
                    <a:pt x="4026756" y="1395350"/>
                  </a:lnTo>
                  <a:lnTo>
                    <a:pt x="3959176" y="1420305"/>
                  </a:lnTo>
                  <a:lnTo>
                    <a:pt x="3911948" y="1430547"/>
                  </a:lnTo>
                  <a:lnTo>
                    <a:pt x="3839047" y="1421195"/>
                  </a:lnTo>
                  <a:lnTo>
                    <a:pt x="3765172" y="1370038"/>
                  </a:lnTo>
                  <a:lnTo>
                    <a:pt x="3731506" y="1159127"/>
                  </a:lnTo>
                  <a:lnTo>
                    <a:pt x="3643177" y="1102912"/>
                  </a:lnTo>
                  <a:lnTo>
                    <a:pt x="3510217" y="1018326"/>
                  </a:lnTo>
                  <a:lnTo>
                    <a:pt x="3242816" y="1033646"/>
                  </a:lnTo>
                  <a:lnTo>
                    <a:pt x="3187508" y="1002254"/>
                  </a:lnTo>
                  <a:lnTo>
                    <a:pt x="3129918" y="969523"/>
                  </a:lnTo>
                  <a:lnTo>
                    <a:pt x="3107811" y="880578"/>
                  </a:lnTo>
                  <a:lnTo>
                    <a:pt x="3055572" y="840396"/>
                  </a:lnTo>
                  <a:lnTo>
                    <a:pt x="3030451" y="821053"/>
                  </a:lnTo>
                  <a:lnTo>
                    <a:pt x="2988668" y="811740"/>
                  </a:lnTo>
                  <a:lnTo>
                    <a:pt x="2965804" y="790062"/>
                  </a:lnTo>
                  <a:lnTo>
                    <a:pt x="2894180" y="722267"/>
                  </a:lnTo>
                  <a:lnTo>
                    <a:pt x="2985530" y="562150"/>
                  </a:lnTo>
                  <a:lnTo>
                    <a:pt x="2933161" y="520747"/>
                  </a:lnTo>
                  <a:lnTo>
                    <a:pt x="2890993" y="527718"/>
                  </a:lnTo>
                  <a:lnTo>
                    <a:pt x="2866294" y="609053"/>
                  </a:lnTo>
                  <a:lnTo>
                    <a:pt x="2794416" y="630921"/>
                  </a:lnTo>
                  <a:lnTo>
                    <a:pt x="2737328" y="648305"/>
                  </a:lnTo>
                  <a:lnTo>
                    <a:pt x="2681183" y="586010"/>
                  </a:lnTo>
                  <a:lnTo>
                    <a:pt x="2612151" y="588754"/>
                  </a:lnTo>
                  <a:lnTo>
                    <a:pt x="2570833" y="590389"/>
                  </a:lnTo>
                  <a:lnTo>
                    <a:pt x="2518935" y="622698"/>
                  </a:lnTo>
                  <a:lnTo>
                    <a:pt x="2478851" y="636362"/>
                  </a:lnTo>
                  <a:lnTo>
                    <a:pt x="2438345" y="650178"/>
                  </a:lnTo>
                  <a:lnTo>
                    <a:pt x="2399662" y="653872"/>
                  </a:lnTo>
                  <a:lnTo>
                    <a:pt x="2357791" y="660849"/>
                  </a:lnTo>
                  <a:lnTo>
                    <a:pt x="2290422" y="668710"/>
                  </a:lnTo>
                  <a:lnTo>
                    <a:pt x="2212039" y="636125"/>
                  </a:lnTo>
                  <a:lnTo>
                    <a:pt x="2183390" y="527289"/>
                  </a:lnTo>
                  <a:lnTo>
                    <a:pt x="2118395" y="492178"/>
                  </a:lnTo>
                  <a:lnTo>
                    <a:pt x="2008312" y="432653"/>
                  </a:lnTo>
                  <a:lnTo>
                    <a:pt x="1906079" y="596767"/>
                  </a:lnTo>
                  <a:lnTo>
                    <a:pt x="1791953" y="406484"/>
                  </a:lnTo>
                  <a:lnTo>
                    <a:pt x="1780090" y="374775"/>
                  </a:lnTo>
                  <a:lnTo>
                    <a:pt x="1767893" y="340073"/>
                  </a:lnTo>
                  <a:lnTo>
                    <a:pt x="1760662" y="307190"/>
                  </a:lnTo>
                  <a:lnTo>
                    <a:pt x="1741196" y="218331"/>
                  </a:lnTo>
                  <a:lnTo>
                    <a:pt x="1723219" y="0"/>
                  </a:lnTo>
                  <a:lnTo>
                    <a:pt x="1585200" y="21552"/>
                  </a:lnTo>
                  <a:close/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46" name="Mykolaiv¬0" descr="Mykolaiv¬0">
              <a:extLst>
                <a:ext uri="{FF2B5EF4-FFF2-40B4-BE49-F238E27FC236}">
                  <a16:creationId xmlns:a16="http://schemas.microsoft.com/office/drawing/2014/main" id="{57100BDF-96D4-46BA-B831-117098668A04}"/>
                </a:ext>
              </a:extLst>
            </p:cNvPr>
            <p:cNvSpPr/>
            <p:nvPr/>
          </p:nvSpPr>
          <p:spPr>
            <a:xfrm>
              <a:off x="3644081" y="3066650"/>
              <a:ext cx="1006769" cy="736963"/>
            </a:xfrm>
            <a:custGeom>
              <a:avLst/>
              <a:gdLst/>
              <a:ahLst/>
              <a:cxnLst/>
              <a:rect l="0" t="0" r="0" b="0"/>
              <a:pathLst>
                <a:path w="10273523" h="8536773">
                  <a:moveTo>
                    <a:pt x="320942" y="502597"/>
                  </a:moveTo>
                  <a:lnTo>
                    <a:pt x="314142" y="525718"/>
                  </a:lnTo>
                  <a:lnTo>
                    <a:pt x="308701" y="554281"/>
                  </a:lnTo>
                  <a:lnTo>
                    <a:pt x="305405" y="575260"/>
                  </a:lnTo>
                  <a:lnTo>
                    <a:pt x="308766" y="601060"/>
                  </a:lnTo>
                  <a:lnTo>
                    <a:pt x="395753" y="633177"/>
                  </a:lnTo>
                  <a:lnTo>
                    <a:pt x="384873" y="701184"/>
                  </a:lnTo>
                  <a:lnTo>
                    <a:pt x="353591" y="718863"/>
                  </a:lnTo>
                  <a:lnTo>
                    <a:pt x="330470" y="702627"/>
                  </a:lnTo>
                  <a:lnTo>
                    <a:pt x="301520" y="691956"/>
                  </a:lnTo>
                  <a:lnTo>
                    <a:pt x="273338" y="699818"/>
                  </a:lnTo>
                  <a:lnTo>
                    <a:pt x="248686" y="735358"/>
                  </a:lnTo>
                  <a:lnTo>
                    <a:pt x="229812" y="754225"/>
                  </a:lnTo>
                  <a:lnTo>
                    <a:pt x="188733" y="736110"/>
                  </a:lnTo>
                  <a:lnTo>
                    <a:pt x="158338" y="746055"/>
                  </a:lnTo>
                  <a:lnTo>
                    <a:pt x="125078" y="762391"/>
                  </a:lnTo>
                  <a:lnTo>
                    <a:pt x="89551" y="777085"/>
                  </a:lnTo>
                  <a:lnTo>
                    <a:pt x="54505" y="793941"/>
                  </a:lnTo>
                  <a:lnTo>
                    <a:pt x="24420" y="815440"/>
                  </a:lnTo>
                  <a:lnTo>
                    <a:pt x="0" y="840229"/>
                  </a:lnTo>
                  <a:lnTo>
                    <a:pt x="2657" y="872566"/>
                  </a:lnTo>
                  <a:lnTo>
                    <a:pt x="50437" y="880980"/>
                  </a:lnTo>
                  <a:lnTo>
                    <a:pt x="74752" y="891611"/>
                  </a:lnTo>
                  <a:lnTo>
                    <a:pt x="71416" y="942873"/>
                  </a:lnTo>
                  <a:lnTo>
                    <a:pt x="64446" y="971733"/>
                  </a:lnTo>
                  <a:lnTo>
                    <a:pt x="66588" y="1003144"/>
                  </a:lnTo>
                  <a:lnTo>
                    <a:pt x="71369" y="1040596"/>
                  </a:lnTo>
                  <a:lnTo>
                    <a:pt x="69314" y="1061635"/>
                  </a:lnTo>
                  <a:lnTo>
                    <a:pt x="41238" y="1088323"/>
                  </a:lnTo>
                  <a:lnTo>
                    <a:pt x="34820" y="1109421"/>
                  </a:lnTo>
                  <a:lnTo>
                    <a:pt x="33945" y="1131006"/>
                  </a:lnTo>
                  <a:lnTo>
                    <a:pt x="32584" y="1162286"/>
                  </a:lnTo>
                  <a:lnTo>
                    <a:pt x="31933" y="1183283"/>
                  </a:lnTo>
                  <a:lnTo>
                    <a:pt x="34993" y="1213825"/>
                  </a:lnTo>
                  <a:lnTo>
                    <a:pt x="48372" y="1231288"/>
                  </a:lnTo>
                  <a:lnTo>
                    <a:pt x="70678" y="1238456"/>
                  </a:lnTo>
                  <a:lnTo>
                    <a:pt x="95343" y="1243561"/>
                  </a:lnTo>
                  <a:lnTo>
                    <a:pt x="119453" y="1246958"/>
                  </a:lnTo>
                  <a:lnTo>
                    <a:pt x="142767" y="1252062"/>
                  </a:lnTo>
                  <a:lnTo>
                    <a:pt x="164464" y="1260977"/>
                  </a:lnTo>
                  <a:lnTo>
                    <a:pt x="185362" y="1280089"/>
                  </a:lnTo>
                  <a:lnTo>
                    <a:pt x="203975" y="1303745"/>
                  </a:lnTo>
                  <a:lnTo>
                    <a:pt x="221543" y="1328919"/>
                  </a:lnTo>
                  <a:lnTo>
                    <a:pt x="238097" y="1354752"/>
                  </a:lnTo>
                  <a:lnTo>
                    <a:pt x="255665" y="1379917"/>
                  </a:lnTo>
                  <a:lnTo>
                    <a:pt x="275081" y="1403652"/>
                  </a:lnTo>
                  <a:lnTo>
                    <a:pt x="299684" y="1424947"/>
                  </a:lnTo>
                  <a:lnTo>
                    <a:pt x="315103" y="1439601"/>
                  </a:lnTo>
                  <a:lnTo>
                    <a:pt x="335279" y="1496469"/>
                  </a:lnTo>
                  <a:lnTo>
                    <a:pt x="336504" y="1586925"/>
                  </a:lnTo>
                  <a:lnTo>
                    <a:pt x="342717" y="1630194"/>
                  </a:lnTo>
                  <a:lnTo>
                    <a:pt x="348915" y="1673338"/>
                  </a:lnTo>
                  <a:lnTo>
                    <a:pt x="360080" y="1718097"/>
                  </a:lnTo>
                  <a:lnTo>
                    <a:pt x="367196" y="1760773"/>
                  </a:lnTo>
                  <a:lnTo>
                    <a:pt x="379865" y="1836865"/>
                  </a:lnTo>
                  <a:lnTo>
                    <a:pt x="383329" y="1913801"/>
                  </a:lnTo>
                  <a:lnTo>
                    <a:pt x="397120" y="1990651"/>
                  </a:lnTo>
                  <a:lnTo>
                    <a:pt x="403148" y="2024207"/>
                  </a:lnTo>
                  <a:lnTo>
                    <a:pt x="407082" y="2049306"/>
                  </a:lnTo>
                  <a:lnTo>
                    <a:pt x="414365" y="2089773"/>
                  </a:lnTo>
                  <a:lnTo>
                    <a:pt x="425689" y="2118507"/>
                  </a:lnTo>
                  <a:lnTo>
                    <a:pt x="443223" y="2143476"/>
                  </a:lnTo>
                  <a:lnTo>
                    <a:pt x="459690" y="2156593"/>
                  </a:lnTo>
                  <a:lnTo>
                    <a:pt x="476157" y="2169710"/>
                  </a:lnTo>
                  <a:lnTo>
                    <a:pt x="498760" y="2184845"/>
                  </a:lnTo>
                  <a:lnTo>
                    <a:pt x="530420" y="2204200"/>
                  </a:lnTo>
                  <a:lnTo>
                    <a:pt x="552183" y="2206918"/>
                  </a:lnTo>
                  <a:lnTo>
                    <a:pt x="589056" y="2221454"/>
                  </a:lnTo>
                  <a:lnTo>
                    <a:pt x="622006" y="2245341"/>
                  </a:lnTo>
                  <a:lnTo>
                    <a:pt x="662360" y="2250444"/>
                  </a:lnTo>
                  <a:lnTo>
                    <a:pt x="676287" y="2313684"/>
                  </a:lnTo>
                  <a:lnTo>
                    <a:pt x="679044" y="2354360"/>
                  </a:lnTo>
                  <a:lnTo>
                    <a:pt x="674607" y="2381024"/>
                  </a:lnTo>
                  <a:lnTo>
                    <a:pt x="670155" y="2407680"/>
                  </a:lnTo>
                  <a:lnTo>
                    <a:pt x="646038" y="2431349"/>
                  </a:lnTo>
                  <a:lnTo>
                    <a:pt x="620139" y="2447876"/>
                  </a:lnTo>
                  <a:lnTo>
                    <a:pt x="601210" y="2474671"/>
                  </a:lnTo>
                  <a:lnTo>
                    <a:pt x="599793" y="2530643"/>
                  </a:lnTo>
                  <a:lnTo>
                    <a:pt x="613268" y="2550243"/>
                  </a:lnTo>
                  <a:lnTo>
                    <a:pt x="630374" y="2569493"/>
                  </a:lnTo>
                  <a:lnTo>
                    <a:pt x="654202" y="2575527"/>
                  </a:lnTo>
                  <a:lnTo>
                    <a:pt x="681444" y="2590960"/>
                  </a:lnTo>
                  <a:lnTo>
                    <a:pt x="721147" y="2631933"/>
                  </a:lnTo>
                  <a:lnTo>
                    <a:pt x="739242" y="2663892"/>
                  </a:lnTo>
                  <a:lnTo>
                    <a:pt x="735806" y="2697949"/>
                  </a:lnTo>
                  <a:lnTo>
                    <a:pt x="725174" y="2727414"/>
                  </a:lnTo>
                  <a:lnTo>
                    <a:pt x="699936" y="2769595"/>
                  </a:lnTo>
                  <a:lnTo>
                    <a:pt x="679723" y="2797347"/>
                  </a:lnTo>
                  <a:lnTo>
                    <a:pt x="681397" y="2832610"/>
                  </a:lnTo>
                  <a:lnTo>
                    <a:pt x="689332" y="2872099"/>
                  </a:lnTo>
                  <a:lnTo>
                    <a:pt x="697722" y="2892458"/>
                  </a:lnTo>
                  <a:lnTo>
                    <a:pt x="706109" y="2912810"/>
                  </a:lnTo>
                  <a:lnTo>
                    <a:pt x="714822" y="2933413"/>
                  </a:lnTo>
                  <a:lnTo>
                    <a:pt x="732166" y="2974584"/>
                  </a:lnTo>
                  <a:lnTo>
                    <a:pt x="725243" y="3027198"/>
                  </a:lnTo>
                  <a:lnTo>
                    <a:pt x="739890" y="3047518"/>
                  </a:lnTo>
                  <a:lnTo>
                    <a:pt x="842249" y="3087542"/>
                  </a:lnTo>
                  <a:lnTo>
                    <a:pt x="869104" y="3101926"/>
                  </a:lnTo>
                  <a:lnTo>
                    <a:pt x="894829" y="3127553"/>
                  </a:lnTo>
                  <a:lnTo>
                    <a:pt x="919553" y="3160634"/>
                  </a:lnTo>
                  <a:lnTo>
                    <a:pt x="943915" y="3175380"/>
                  </a:lnTo>
                  <a:lnTo>
                    <a:pt x="1000665" y="3150346"/>
                  </a:lnTo>
                  <a:lnTo>
                    <a:pt x="1063296" y="3150814"/>
                  </a:lnTo>
                  <a:lnTo>
                    <a:pt x="1123460" y="3137294"/>
                  </a:lnTo>
                  <a:lnTo>
                    <a:pt x="1168347" y="3186261"/>
                  </a:lnTo>
                  <a:lnTo>
                    <a:pt x="1205074" y="3198501"/>
                  </a:lnTo>
                  <a:lnTo>
                    <a:pt x="1253000" y="3174865"/>
                  </a:lnTo>
                  <a:lnTo>
                    <a:pt x="1279885" y="3154975"/>
                  </a:lnTo>
                  <a:lnTo>
                    <a:pt x="1306773" y="3135091"/>
                  </a:lnTo>
                  <a:lnTo>
                    <a:pt x="1330192" y="3112556"/>
                  </a:lnTo>
                  <a:lnTo>
                    <a:pt x="1334294" y="3091044"/>
                  </a:lnTo>
                  <a:lnTo>
                    <a:pt x="1364664" y="3085517"/>
                  </a:lnTo>
                  <a:lnTo>
                    <a:pt x="1401772" y="3093425"/>
                  </a:lnTo>
                  <a:lnTo>
                    <a:pt x="1409173" y="3116163"/>
                  </a:lnTo>
                  <a:lnTo>
                    <a:pt x="1424065" y="3138652"/>
                  </a:lnTo>
                  <a:lnTo>
                    <a:pt x="1441270" y="3152667"/>
                  </a:lnTo>
                  <a:lnTo>
                    <a:pt x="1484089" y="3153161"/>
                  </a:lnTo>
                  <a:lnTo>
                    <a:pt x="1530164" y="3152257"/>
                  </a:lnTo>
                  <a:lnTo>
                    <a:pt x="1576236" y="3151355"/>
                  </a:lnTo>
                  <a:lnTo>
                    <a:pt x="1625333" y="3149316"/>
                  </a:lnTo>
                  <a:lnTo>
                    <a:pt x="1652578" y="3154975"/>
                  </a:lnTo>
                  <a:lnTo>
                    <a:pt x="1687947" y="3235221"/>
                  </a:lnTo>
                  <a:lnTo>
                    <a:pt x="1678896" y="3266850"/>
                  </a:lnTo>
                  <a:lnTo>
                    <a:pt x="1653778" y="3275517"/>
                  </a:lnTo>
                  <a:lnTo>
                    <a:pt x="1659152" y="3309375"/>
                  </a:lnTo>
                  <a:lnTo>
                    <a:pt x="1677070" y="3326357"/>
                  </a:lnTo>
                  <a:lnTo>
                    <a:pt x="1694988" y="3343339"/>
                  </a:lnTo>
                  <a:lnTo>
                    <a:pt x="1715750" y="3357339"/>
                  </a:lnTo>
                  <a:lnTo>
                    <a:pt x="1743652" y="3340767"/>
                  </a:lnTo>
                  <a:lnTo>
                    <a:pt x="1754172" y="3321298"/>
                  </a:lnTo>
                  <a:lnTo>
                    <a:pt x="1768627" y="3282448"/>
                  </a:lnTo>
                  <a:lnTo>
                    <a:pt x="1776363" y="3244745"/>
                  </a:lnTo>
                  <a:lnTo>
                    <a:pt x="1782629" y="3207457"/>
                  </a:lnTo>
                  <a:lnTo>
                    <a:pt x="1784080" y="3174569"/>
                  </a:lnTo>
                  <a:lnTo>
                    <a:pt x="1834642" y="3142557"/>
                  </a:lnTo>
                  <a:lnTo>
                    <a:pt x="1878630" y="3135930"/>
                  </a:lnTo>
                  <a:lnTo>
                    <a:pt x="1920540" y="3127770"/>
                  </a:lnTo>
                  <a:lnTo>
                    <a:pt x="1956014" y="3120839"/>
                  </a:lnTo>
                  <a:lnTo>
                    <a:pt x="1991528" y="3109193"/>
                  </a:lnTo>
                  <a:lnTo>
                    <a:pt x="2027997" y="3104643"/>
                  </a:lnTo>
                  <a:lnTo>
                    <a:pt x="2038862" y="3141244"/>
                  </a:lnTo>
                  <a:lnTo>
                    <a:pt x="2058454" y="3175248"/>
                  </a:lnTo>
                  <a:lnTo>
                    <a:pt x="2063366" y="3202577"/>
                  </a:lnTo>
                  <a:lnTo>
                    <a:pt x="2067672" y="3224340"/>
                  </a:lnTo>
                  <a:lnTo>
                    <a:pt x="2090886" y="3257961"/>
                  </a:lnTo>
                  <a:lnTo>
                    <a:pt x="2085150" y="3280516"/>
                  </a:lnTo>
                  <a:lnTo>
                    <a:pt x="2067145" y="3293990"/>
                  </a:lnTo>
                  <a:lnTo>
                    <a:pt x="2051121" y="3308676"/>
                  </a:lnTo>
                  <a:lnTo>
                    <a:pt x="2035094" y="3323363"/>
                  </a:lnTo>
                  <a:lnTo>
                    <a:pt x="2020791" y="3339427"/>
                  </a:lnTo>
                  <a:lnTo>
                    <a:pt x="2018475" y="3360359"/>
                  </a:lnTo>
                  <a:lnTo>
                    <a:pt x="2076642" y="3364996"/>
                  </a:lnTo>
                  <a:lnTo>
                    <a:pt x="2137956" y="3370517"/>
                  </a:lnTo>
                  <a:lnTo>
                    <a:pt x="2189857" y="3372613"/>
                  </a:lnTo>
                  <a:lnTo>
                    <a:pt x="2212259" y="3410831"/>
                  </a:lnTo>
                  <a:lnTo>
                    <a:pt x="2221142" y="3441979"/>
                  </a:lnTo>
                  <a:lnTo>
                    <a:pt x="2230028" y="3473126"/>
                  </a:lnTo>
                  <a:lnTo>
                    <a:pt x="2237913" y="3505316"/>
                  </a:lnTo>
                  <a:lnTo>
                    <a:pt x="2324519" y="3548078"/>
                  </a:lnTo>
                  <a:lnTo>
                    <a:pt x="2338843" y="3588840"/>
                  </a:lnTo>
                  <a:lnTo>
                    <a:pt x="2332236" y="3754484"/>
                  </a:lnTo>
                  <a:lnTo>
                    <a:pt x="2324519" y="3788831"/>
                  </a:lnTo>
                  <a:lnTo>
                    <a:pt x="2301398" y="3801070"/>
                  </a:lnTo>
                  <a:lnTo>
                    <a:pt x="2278267" y="3813312"/>
                  </a:lnTo>
                  <a:lnTo>
                    <a:pt x="2276909" y="3840522"/>
                  </a:lnTo>
                  <a:lnTo>
                    <a:pt x="2283715" y="3867719"/>
                  </a:lnTo>
                  <a:lnTo>
                    <a:pt x="2280518" y="3906115"/>
                  </a:lnTo>
                  <a:lnTo>
                    <a:pt x="2273303" y="3946305"/>
                  </a:lnTo>
                  <a:lnTo>
                    <a:pt x="2268990" y="3967144"/>
                  </a:lnTo>
                  <a:lnTo>
                    <a:pt x="2263800" y="4000317"/>
                  </a:lnTo>
                  <a:lnTo>
                    <a:pt x="2246443" y="4053644"/>
                  </a:lnTo>
                  <a:lnTo>
                    <a:pt x="2227942" y="4105756"/>
                  </a:lnTo>
                  <a:lnTo>
                    <a:pt x="2209450" y="4157867"/>
                  </a:lnTo>
                  <a:lnTo>
                    <a:pt x="2188809" y="4208004"/>
                  </a:lnTo>
                  <a:lnTo>
                    <a:pt x="2286434" y="4594070"/>
                  </a:lnTo>
                  <a:lnTo>
                    <a:pt x="2392533" y="4970841"/>
                  </a:lnTo>
                  <a:lnTo>
                    <a:pt x="2459199" y="4983767"/>
                  </a:lnTo>
                  <a:lnTo>
                    <a:pt x="2529356" y="4988524"/>
                  </a:lnTo>
                  <a:lnTo>
                    <a:pt x="2595200" y="5002129"/>
                  </a:lnTo>
                  <a:lnTo>
                    <a:pt x="2637455" y="5019300"/>
                  </a:lnTo>
                  <a:lnTo>
                    <a:pt x="2702657" y="5025759"/>
                  </a:lnTo>
                  <a:lnTo>
                    <a:pt x="2753835" y="5022060"/>
                  </a:lnTo>
                  <a:lnTo>
                    <a:pt x="2800592" y="5022528"/>
                  </a:lnTo>
                  <a:lnTo>
                    <a:pt x="2834041" y="5027585"/>
                  </a:lnTo>
                  <a:lnTo>
                    <a:pt x="2862346" y="5116215"/>
                  </a:lnTo>
                  <a:lnTo>
                    <a:pt x="2871322" y="5138149"/>
                  </a:lnTo>
                  <a:lnTo>
                    <a:pt x="2927629" y="5118264"/>
                  </a:lnTo>
                  <a:lnTo>
                    <a:pt x="2963050" y="5100833"/>
                  </a:lnTo>
                  <a:lnTo>
                    <a:pt x="2999178" y="5085098"/>
                  </a:lnTo>
                  <a:lnTo>
                    <a:pt x="3035303" y="5069371"/>
                  </a:lnTo>
                  <a:lnTo>
                    <a:pt x="3071729" y="5055862"/>
                  </a:lnTo>
                  <a:lnTo>
                    <a:pt x="3113435" y="5048377"/>
                  </a:lnTo>
                  <a:lnTo>
                    <a:pt x="3299827" y="5010925"/>
                  </a:lnTo>
                  <a:lnTo>
                    <a:pt x="3324265" y="5008929"/>
                  </a:lnTo>
                  <a:lnTo>
                    <a:pt x="3349625" y="5040933"/>
                  </a:lnTo>
                  <a:lnTo>
                    <a:pt x="3386305" y="5141888"/>
                  </a:lnTo>
                  <a:lnTo>
                    <a:pt x="3399079" y="5183033"/>
                  </a:lnTo>
                  <a:lnTo>
                    <a:pt x="3377930" y="5216277"/>
                  </a:lnTo>
                  <a:lnTo>
                    <a:pt x="3362973" y="5233457"/>
                  </a:lnTo>
                  <a:lnTo>
                    <a:pt x="3348748" y="5251047"/>
                  </a:lnTo>
                  <a:lnTo>
                    <a:pt x="3334522" y="5268634"/>
                  </a:lnTo>
                  <a:lnTo>
                    <a:pt x="3320647" y="5286791"/>
                  </a:lnTo>
                  <a:lnTo>
                    <a:pt x="3302496" y="5300015"/>
                  </a:lnTo>
                  <a:lnTo>
                    <a:pt x="3263212" y="5313031"/>
                  </a:lnTo>
                  <a:lnTo>
                    <a:pt x="3239929" y="5319052"/>
                  </a:lnTo>
                  <a:lnTo>
                    <a:pt x="3216650" y="5325080"/>
                  </a:lnTo>
                  <a:lnTo>
                    <a:pt x="3195765" y="5333002"/>
                  </a:lnTo>
                  <a:lnTo>
                    <a:pt x="3193852" y="5378481"/>
                  </a:lnTo>
                  <a:lnTo>
                    <a:pt x="3182435" y="5417976"/>
                  </a:lnTo>
                  <a:lnTo>
                    <a:pt x="3181440" y="5452356"/>
                  </a:lnTo>
                  <a:lnTo>
                    <a:pt x="3183102" y="5485727"/>
                  </a:lnTo>
                  <a:lnTo>
                    <a:pt x="3198825" y="5511478"/>
                  </a:lnTo>
                  <a:lnTo>
                    <a:pt x="3234491" y="5525802"/>
                  </a:lnTo>
                  <a:lnTo>
                    <a:pt x="3275140" y="5534614"/>
                  </a:lnTo>
                  <a:lnTo>
                    <a:pt x="3303802" y="5539467"/>
                  </a:lnTo>
                  <a:lnTo>
                    <a:pt x="3328343" y="5550291"/>
                  </a:lnTo>
                  <a:lnTo>
                    <a:pt x="3352887" y="5561112"/>
                  </a:lnTo>
                  <a:lnTo>
                    <a:pt x="3373782" y="5577554"/>
                  </a:lnTo>
                  <a:lnTo>
                    <a:pt x="3400431" y="5610138"/>
                  </a:lnTo>
                  <a:lnTo>
                    <a:pt x="3443812" y="5610430"/>
                  </a:lnTo>
                  <a:lnTo>
                    <a:pt x="3466551" y="5595749"/>
                  </a:lnTo>
                  <a:lnTo>
                    <a:pt x="3490209" y="5582928"/>
                  </a:lnTo>
                  <a:lnTo>
                    <a:pt x="3513863" y="5570107"/>
                  </a:lnTo>
                  <a:lnTo>
                    <a:pt x="3537803" y="5559865"/>
                  </a:lnTo>
                  <a:lnTo>
                    <a:pt x="3566378" y="5563890"/>
                  </a:lnTo>
                  <a:lnTo>
                    <a:pt x="3592798" y="5587346"/>
                  </a:lnTo>
                  <a:lnTo>
                    <a:pt x="3587824" y="5618460"/>
                  </a:lnTo>
                  <a:lnTo>
                    <a:pt x="3586804" y="5641417"/>
                  </a:lnTo>
                  <a:lnTo>
                    <a:pt x="3602927" y="5674875"/>
                  </a:lnTo>
                  <a:lnTo>
                    <a:pt x="3627335" y="5695023"/>
                  </a:lnTo>
                  <a:lnTo>
                    <a:pt x="3645440" y="5707683"/>
                  </a:lnTo>
                  <a:lnTo>
                    <a:pt x="3661591" y="5723031"/>
                  </a:lnTo>
                  <a:lnTo>
                    <a:pt x="3677748" y="5738375"/>
                  </a:lnTo>
                  <a:lnTo>
                    <a:pt x="3691390" y="5756433"/>
                  </a:lnTo>
                  <a:lnTo>
                    <a:pt x="3702397" y="5778798"/>
                  </a:lnTo>
                  <a:lnTo>
                    <a:pt x="3709166" y="5812957"/>
                  </a:lnTo>
                  <a:lnTo>
                    <a:pt x="3714673" y="5853457"/>
                  </a:lnTo>
                  <a:lnTo>
                    <a:pt x="3732318" y="5879455"/>
                  </a:lnTo>
                  <a:lnTo>
                    <a:pt x="3760943" y="5888081"/>
                  </a:lnTo>
                  <a:lnTo>
                    <a:pt x="3788178" y="5882153"/>
                  </a:lnTo>
                  <a:lnTo>
                    <a:pt x="3811206" y="5883529"/>
                  </a:lnTo>
                  <a:lnTo>
                    <a:pt x="3833828" y="5885880"/>
                  </a:lnTo>
                  <a:lnTo>
                    <a:pt x="3851160" y="5900223"/>
                  </a:lnTo>
                  <a:lnTo>
                    <a:pt x="3862899" y="5931139"/>
                  </a:lnTo>
                  <a:lnTo>
                    <a:pt x="3872337" y="5971428"/>
                  </a:lnTo>
                  <a:lnTo>
                    <a:pt x="3858685" y="6002462"/>
                  </a:lnTo>
                  <a:lnTo>
                    <a:pt x="3823640" y="6021847"/>
                  </a:lnTo>
                  <a:lnTo>
                    <a:pt x="3804686" y="6044161"/>
                  </a:lnTo>
                  <a:lnTo>
                    <a:pt x="3811011" y="6071493"/>
                  </a:lnTo>
                  <a:lnTo>
                    <a:pt x="3818520" y="6116442"/>
                  </a:lnTo>
                  <a:lnTo>
                    <a:pt x="3826725" y="6143172"/>
                  </a:lnTo>
                  <a:lnTo>
                    <a:pt x="3826173" y="6166452"/>
                  </a:lnTo>
                  <a:lnTo>
                    <a:pt x="3824061" y="6189244"/>
                  </a:lnTo>
                  <a:lnTo>
                    <a:pt x="3811966" y="6208948"/>
                  </a:lnTo>
                  <a:lnTo>
                    <a:pt x="3786727" y="6224935"/>
                  </a:lnTo>
                  <a:lnTo>
                    <a:pt x="3763606" y="6234460"/>
                  </a:lnTo>
                  <a:lnTo>
                    <a:pt x="3741837" y="6246698"/>
                  </a:lnTo>
                  <a:lnTo>
                    <a:pt x="3739930" y="6279198"/>
                  </a:lnTo>
                  <a:lnTo>
                    <a:pt x="3736494" y="6317673"/>
                  </a:lnTo>
                  <a:lnTo>
                    <a:pt x="3728238" y="6354155"/>
                  </a:lnTo>
                  <a:lnTo>
                    <a:pt x="3719987" y="6390646"/>
                  </a:lnTo>
                  <a:lnTo>
                    <a:pt x="3706251" y="6424761"/>
                  </a:lnTo>
                  <a:lnTo>
                    <a:pt x="3684712" y="6450732"/>
                  </a:lnTo>
                  <a:lnTo>
                    <a:pt x="3598615" y="6484736"/>
                  </a:lnTo>
                  <a:lnTo>
                    <a:pt x="3577655" y="6519509"/>
                  </a:lnTo>
                  <a:lnTo>
                    <a:pt x="3582780" y="6545691"/>
                  </a:lnTo>
                  <a:lnTo>
                    <a:pt x="3570455" y="6570430"/>
                  </a:lnTo>
                  <a:lnTo>
                    <a:pt x="3434032" y="6582293"/>
                  </a:lnTo>
                  <a:lnTo>
                    <a:pt x="3401644" y="6579859"/>
                  </a:lnTo>
                  <a:lnTo>
                    <a:pt x="3376082" y="6580216"/>
                  </a:lnTo>
                  <a:lnTo>
                    <a:pt x="3353470" y="6580414"/>
                  </a:lnTo>
                  <a:lnTo>
                    <a:pt x="3331059" y="6584029"/>
                  </a:lnTo>
                  <a:lnTo>
                    <a:pt x="3308651" y="6587641"/>
                  </a:lnTo>
                  <a:lnTo>
                    <a:pt x="3286082" y="6594295"/>
                  </a:lnTo>
                  <a:lnTo>
                    <a:pt x="3268492" y="6605792"/>
                  </a:lnTo>
                  <a:lnTo>
                    <a:pt x="3234485" y="6574517"/>
                  </a:lnTo>
                  <a:lnTo>
                    <a:pt x="3173258" y="6562105"/>
                  </a:lnTo>
                  <a:lnTo>
                    <a:pt x="3137731" y="6637936"/>
                  </a:lnTo>
                  <a:lnTo>
                    <a:pt x="3128299" y="6660074"/>
                  </a:lnTo>
                  <a:lnTo>
                    <a:pt x="3090404" y="6676672"/>
                  </a:lnTo>
                  <a:lnTo>
                    <a:pt x="3063069" y="6670244"/>
                  </a:lnTo>
                  <a:lnTo>
                    <a:pt x="3007336" y="6677893"/>
                  </a:lnTo>
                  <a:lnTo>
                    <a:pt x="2896198" y="6693920"/>
                  </a:lnTo>
                  <a:lnTo>
                    <a:pt x="2875397" y="6705098"/>
                  </a:lnTo>
                  <a:lnTo>
                    <a:pt x="2881260" y="6737570"/>
                  </a:lnTo>
                  <a:lnTo>
                    <a:pt x="2892499" y="6788218"/>
                  </a:lnTo>
                  <a:lnTo>
                    <a:pt x="2899938" y="6830427"/>
                  </a:lnTo>
                  <a:lnTo>
                    <a:pt x="2912117" y="6871038"/>
                  </a:lnTo>
                  <a:lnTo>
                    <a:pt x="2924299" y="6911656"/>
                  </a:lnTo>
                  <a:lnTo>
                    <a:pt x="2941135" y="6950624"/>
                  </a:lnTo>
                  <a:lnTo>
                    <a:pt x="2967890" y="6974415"/>
                  </a:lnTo>
                  <a:lnTo>
                    <a:pt x="2986996" y="6991409"/>
                  </a:lnTo>
                  <a:lnTo>
                    <a:pt x="3018045" y="7006590"/>
                  </a:lnTo>
                  <a:lnTo>
                    <a:pt x="3039979" y="7020663"/>
                  </a:lnTo>
                  <a:lnTo>
                    <a:pt x="3071391" y="7040476"/>
                  </a:lnTo>
                  <a:lnTo>
                    <a:pt x="3091263" y="7058103"/>
                  </a:lnTo>
                  <a:lnTo>
                    <a:pt x="3143387" y="7094026"/>
                  </a:lnTo>
                  <a:lnTo>
                    <a:pt x="3161537" y="7122344"/>
                  </a:lnTo>
                  <a:lnTo>
                    <a:pt x="3174640" y="7152602"/>
                  </a:lnTo>
                  <a:lnTo>
                    <a:pt x="3187737" y="7182852"/>
                  </a:lnTo>
                  <a:lnTo>
                    <a:pt x="3196478" y="7215891"/>
                  </a:lnTo>
                  <a:lnTo>
                    <a:pt x="3214080" y="7250534"/>
                  </a:lnTo>
                  <a:lnTo>
                    <a:pt x="3225654" y="7273302"/>
                  </a:lnTo>
                  <a:lnTo>
                    <a:pt x="3257876" y="7289524"/>
                  </a:lnTo>
                  <a:lnTo>
                    <a:pt x="3290255" y="7309027"/>
                  </a:lnTo>
                  <a:lnTo>
                    <a:pt x="3322703" y="7329206"/>
                  </a:lnTo>
                  <a:lnTo>
                    <a:pt x="3350298" y="7354128"/>
                  </a:lnTo>
                  <a:lnTo>
                    <a:pt x="3367785" y="7385196"/>
                  </a:lnTo>
                  <a:lnTo>
                    <a:pt x="3378324" y="7424899"/>
                  </a:lnTo>
                  <a:lnTo>
                    <a:pt x="3375952" y="7455843"/>
                  </a:lnTo>
                  <a:lnTo>
                    <a:pt x="3375952" y="7509359"/>
                  </a:lnTo>
                  <a:lnTo>
                    <a:pt x="3386686" y="7564230"/>
                  </a:lnTo>
                  <a:lnTo>
                    <a:pt x="3394996" y="7610987"/>
                  </a:lnTo>
                  <a:lnTo>
                    <a:pt x="3394996" y="7638191"/>
                  </a:lnTo>
                  <a:lnTo>
                    <a:pt x="3387347" y="7675479"/>
                  </a:lnTo>
                  <a:lnTo>
                    <a:pt x="3378160" y="7712441"/>
                  </a:lnTo>
                  <a:lnTo>
                    <a:pt x="3371869" y="7751090"/>
                  </a:lnTo>
                  <a:lnTo>
                    <a:pt x="3369230" y="7788111"/>
                  </a:lnTo>
                  <a:lnTo>
                    <a:pt x="3379276" y="7817545"/>
                  </a:lnTo>
                  <a:lnTo>
                    <a:pt x="3389548" y="7844941"/>
                  </a:lnTo>
                  <a:lnTo>
                    <a:pt x="3399830" y="7872335"/>
                  </a:lnTo>
                  <a:lnTo>
                    <a:pt x="3411259" y="7897865"/>
                  </a:lnTo>
                  <a:lnTo>
                    <a:pt x="3412679" y="7927910"/>
                  </a:lnTo>
                  <a:lnTo>
                    <a:pt x="3400788" y="7969585"/>
                  </a:lnTo>
                  <a:lnTo>
                    <a:pt x="3389548" y="7990483"/>
                  </a:lnTo>
                  <a:lnTo>
                    <a:pt x="3378324" y="8011384"/>
                  </a:lnTo>
                  <a:lnTo>
                    <a:pt x="3368774" y="8031522"/>
                  </a:lnTo>
                  <a:lnTo>
                    <a:pt x="3397715" y="8171390"/>
                  </a:lnTo>
                  <a:lnTo>
                    <a:pt x="3402515" y="8194424"/>
                  </a:lnTo>
                  <a:lnTo>
                    <a:pt x="3404264" y="8222611"/>
                  </a:lnTo>
                  <a:lnTo>
                    <a:pt x="3409953" y="8244843"/>
                  </a:lnTo>
                  <a:lnTo>
                    <a:pt x="3415447" y="8266302"/>
                  </a:lnTo>
                  <a:lnTo>
                    <a:pt x="3424938" y="8294461"/>
                  </a:lnTo>
                  <a:lnTo>
                    <a:pt x="3431722" y="8323731"/>
                  </a:lnTo>
                  <a:lnTo>
                    <a:pt x="3438773" y="8378943"/>
                  </a:lnTo>
                  <a:lnTo>
                    <a:pt x="3441241" y="8409425"/>
                  </a:lnTo>
                  <a:lnTo>
                    <a:pt x="3494968" y="8408612"/>
                  </a:lnTo>
                  <a:lnTo>
                    <a:pt x="3581047" y="8464175"/>
                  </a:lnTo>
                  <a:lnTo>
                    <a:pt x="3633028" y="8480155"/>
                  </a:lnTo>
                  <a:lnTo>
                    <a:pt x="3691325" y="8498092"/>
                  </a:lnTo>
                  <a:lnTo>
                    <a:pt x="3745713" y="8494861"/>
                  </a:lnTo>
                  <a:lnTo>
                    <a:pt x="3804416" y="8503276"/>
                  </a:lnTo>
                  <a:lnTo>
                    <a:pt x="3848450" y="8509521"/>
                  </a:lnTo>
                  <a:lnTo>
                    <a:pt x="3890082" y="8528357"/>
                  </a:lnTo>
                  <a:lnTo>
                    <a:pt x="3933630" y="8534564"/>
                  </a:lnTo>
                  <a:lnTo>
                    <a:pt x="3960152" y="8536772"/>
                  </a:lnTo>
                  <a:lnTo>
                    <a:pt x="3985530" y="8532441"/>
                  </a:lnTo>
                  <a:lnTo>
                    <a:pt x="4007083" y="8522323"/>
                  </a:lnTo>
                  <a:lnTo>
                    <a:pt x="4048717" y="8504173"/>
                  </a:lnTo>
                  <a:lnTo>
                    <a:pt x="4089527" y="8467617"/>
                  </a:lnTo>
                  <a:lnTo>
                    <a:pt x="4121339" y="8455667"/>
                  </a:lnTo>
                  <a:lnTo>
                    <a:pt x="4160679" y="8440921"/>
                  </a:lnTo>
                  <a:lnTo>
                    <a:pt x="4200293" y="8437947"/>
                  </a:lnTo>
                  <a:lnTo>
                    <a:pt x="4238312" y="8417589"/>
                  </a:lnTo>
                  <a:lnTo>
                    <a:pt x="4303418" y="8382688"/>
                  </a:lnTo>
                  <a:lnTo>
                    <a:pt x="4265516" y="8342393"/>
                  </a:lnTo>
                  <a:lnTo>
                    <a:pt x="4295446" y="8295168"/>
                  </a:lnTo>
                  <a:lnTo>
                    <a:pt x="4317802" y="8259846"/>
                  </a:lnTo>
                  <a:lnTo>
                    <a:pt x="4387766" y="8234725"/>
                  </a:lnTo>
                  <a:lnTo>
                    <a:pt x="4423299" y="8189075"/>
                  </a:lnTo>
                  <a:lnTo>
                    <a:pt x="4449211" y="8155791"/>
                  </a:lnTo>
                  <a:lnTo>
                    <a:pt x="4460686" y="8100151"/>
                  </a:lnTo>
                  <a:lnTo>
                    <a:pt x="4479072" y="8061214"/>
                  </a:lnTo>
                  <a:lnTo>
                    <a:pt x="4494929" y="8027631"/>
                  </a:lnTo>
                  <a:lnTo>
                    <a:pt x="4518729" y="8001155"/>
                  </a:lnTo>
                  <a:lnTo>
                    <a:pt x="4536198" y="7968720"/>
                  </a:lnTo>
                  <a:lnTo>
                    <a:pt x="4554646" y="7919793"/>
                  </a:lnTo>
                  <a:lnTo>
                    <a:pt x="4556069" y="7893267"/>
                  </a:lnTo>
                  <a:lnTo>
                    <a:pt x="4546191" y="7871551"/>
                  </a:lnTo>
                  <a:lnTo>
                    <a:pt x="4491611" y="7854082"/>
                  </a:lnTo>
                  <a:lnTo>
                    <a:pt x="4464407" y="7837547"/>
                  </a:lnTo>
                  <a:lnTo>
                    <a:pt x="4430108" y="7813660"/>
                  </a:lnTo>
                  <a:lnTo>
                    <a:pt x="4327919" y="7742501"/>
                  </a:lnTo>
                  <a:lnTo>
                    <a:pt x="4376121" y="7679851"/>
                  </a:lnTo>
                  <a:lnTo>
                    <a:pt x="4352572" y="7578341"/>
                  </a:lnTo>
                  <a:lnTo>
                    <a:pt x="4347341" y="7555728"/>
                  </a:lnTo>
                  <a:lnTo>
                    <a:pt x="4330805" y="7538303"/>
                  </a:lnTo>
                  <a:lnTo>
                    <a:pt x="4326731" y="7515777"/>
                  </a:lnTo>
                  <a:lnTo>
                    <a:pt x="4356652" y="7504888"/>
                  </a:lnTo>
                  <a:lnTo>
                    <a:pt x="4439859" y="7553260"/>
                  </a:lnTo>
                  <a:lnTo>
                    <a:pt x="4394736" y="7667517"/>
                  </a:lnTo>
                  <a:lnTo>
                    <a:pt x="4442346" y="7713002"/>
                  </a:lnTo>
                  <a:lnTo>
                    <a:pt x="4487335" y="7728638"/>
                  </a:lnTo>
                  <a:lnTo>
                    <a:pt x="4507635" y="7745642"/>
                  </a:lnTo>
                  <a:lnTo>
                    <a:pt x="4565334" y="7802132"/>
                  </a:lnTo>
                  <a:lnTo>
                    <a:pt x="4646017" y="7847534"/>
                  </a:lnTo>
                  <a:lnTo>
                    <a:pt x="4644678" y="7703012"/>
                  </a:lnTo>
                  <a:lnTo>
                    <a:pt x="4632775" y="7662670"/>
                  </a:lnTo>
                  <a:lnTo>
                    <a:pt x="4638216" y="7642272"/>
                  </a:lnTo>
                  <a:lnTo>
                    <a:pt x="4663889" y="7628114"/>
                  </a:lnTo>
                  <a:lnTo>
                    <a:pt x="4696045" y="7626372"/>
                  </a:lnTo>
                  <a:lnTo>
                    <a:pt x="4719827" y="7612345"/>
                  </a:lnTo>
                  <a:lnTo>
                    <a:pt x="4780545" y="7576555"/>
                  </a:lnTo>
                  <a:lnTo>
                    <a:pt x="4836189" y="7533581"/>
                  </a:lnTo>
                  <a:lnTo>
                    <a:pt x="4861288" y="7464084"/>
                  </a:lnTo>
                  <a:lnTo>
                    <a:pt x="4873020" y="7431565"/>
                  </a:lnTo>
                  <a:lnTo>
                    <a:pt x="4871405" y="7387273"/>
                  </a:lnTo>
                  <a:lnTo>
                    <a:pt x="4888492" y="7357985"/>
                  </a:lnTo>
                  <a:lnTo>
                    <a:pt x="4926471" y="7367212"/>
                  </a:lnTo>
                  <a:lnTo>
                    <a:pt x="4938989" y="7408701"/>
                  </a:lnTo>
                  <a:lnTo>
                    <a:pt x="4933376" y="7442321"/>
                  </a:lnTo>
                  <a:lnTo>
                    <a:pt x="4920028" y="7522319"/>
                  </a:lnTo>
                  <a:lnTo>
                    <a:pt x="4821526" y="7603204"/>
                  </a:lnTo>
                  <a:lnTo>
                    <a:pt x="4774236" y="7664035"/>
                  </a:lnTo>
                  <a:lnTo>
                    <a:pt x="4700253" y="7759207"/>
                  </a:lnTo>
                  <a:lnTo>
                    <a:pt x="4748138" y="7812423"/>
                  </a:lnTo>
                  <a:lnTo>
                    <a:pt x="4718469" y="7897983"/>
                  </a:lnTo>
                  <a:lnTo>
                    <a:pt x="4692365" y="7973265"/>
                  </a:lnTo>
                  <a:lnTo>
                    <a:pt x="4615430" y="8006253"/>
                  </a:lnTo>
                  <a:lnTo>
                    <a:pt x="4600129" y="8050334"/>
                  </a:lnTo>
                  <a:lnTo>
                    <a:pt x="4588501" y="8083907"/>
                  </a:lnTo>
                  <a:lnTo>
                    <a:pt x="4601192" y="8128540"/>
                  </a:lnTo>
                  <a:lnTo>
                    <a:pt x="4587884" y="8160507"/>
                  </a:lnTo>
                  <a:lnTo>
                    <a:pt x="4578663" y="8182651"/>
                  </a:lnTo>
                  <a:lnTo>
                    <a:pt x="4555198" y="8197782"/>
                  </a:lnTo>
                  <a:lnTo>
                    <a:pt x="4545723" y="8218996"/>
                  </a:lnTo>
                  <a:lnTo>
                    <a:pt x="4478347" y="8247646"/>
                  </a:lnTo>
                  <a:lnTo>
                    <a:pt x="4444219" y="8284881"/>
                  </a:lnTo>
                  <a:lnTo>
                    <a:pt x="4419054" y="8370699"/>
                  </a:lnTo>
                  <a:lnTo>
                    <a:pt x="4466834" y="8391742"/>
                  </a:lnTo>
                  <a:lnTo>
                    <a:pt x="4523219" y="8416646"/>
                  </a:lnTo>
                  <a:lnTo>
                    <a:pt x="4588318" y="8388465"/>
                  </a:lnTo>
                  <a:lnTo>
                    <a:pt x="4670865" y="8437987"/>
                  </a:lnTo>
                  <a:lnTo>
                    <a:pt x="4695500" y="8450266"/>
                  </a:lnTo>
                  <a:lnTo>
                    <a:pt x="4712224" y="8485761"/>
                  </a:lnTo>
                  <a:lnTo>
                    <a:pt x="4798002" y="8526484"/>
                  </a:lnTo>
                  <a:lnTo>
                    <a:pt x="4823210" y="8495113"/>
                  </a:lnTo>
                  <a:lnTo>
                    <a:pt x="4840145" y="8448229"/>
                  </a:lnTo>
                  <a:lnTo>
                    <a:pt x="4850051" y="8366959"/>
                  </a:lnTo>
                  <a:lnTo>
                    <a:pt x="4876257" y="8333253"/>
                  </a:lnTo>
                  <a:lnTo>
                    <a:pt x="4905710" y="8295419"/>
                  </a:lnTo>
                  <a:lnTo>
                    <a:pt x="4980881" y="8263669"/>
                  </a:lnTo>
                  <a:lnTo>
                    <a:pt x="5028602" y="8259800"/>
                  </a:lnTo>
                  <a:lnTo>
                    <a:pt x="5074797" y="8256061"/>
                  </a:lnTo>
                  <a:lnTo>
                    <a:pt x="5233076" y="8316376"/>
                  </a:lnTo>
                  <a:lnTo>
                    <a:pt x="5276152" y="8341410"/>
                  </a:lnTo>
                  <a:lnTo>
                    <a:pt x="5306885" y="8359264"/>
                  </a:lnTo>
                  <a:lnTo>
                    <a:pt x="5337169" y="8384853"/>
                  </a:lnTo>
                  <a:lnTo>
                    <a:pt x="5370004" y="8398542"/>
                  </a:lnTo>
                  <a:lnTo>
                    <a:pt x="5421161" y="8419837"/>
                  </a:lnTo>
                  <a:lnTo>
                    <a:pt x="5448796" y="8397884"/>
                  </a:lnTo>
                  <a:lnTo>
                    <a:pt x="5491070" y="8406703"/>
                  </a:lnTo>
                  <a:lnTo>
                    <a:pt x="5534490" y="8415756"/>
                  </a:lnTo>
                  <a:lnTo>
                    <a:pt x="5570426" y="8455543"/>
                  </a:lnTo>
                  <a:lnTo>
                    <a:pt x="5617564" y="8461109"/>
                  </a:lnTo>
                  <a:lnTo>
                    <a:pt x="5772032" y="8405084"/>
                  </a:lnTo>
                  <a:lnTo>
                    <a:pt x="5794387" y="8393103"/>
                  </a:lnTo>
                  <a:lnTo>
                    <a:pt x="5813605" y="8382853"/>
                  </a:lnTo>
                  <a:lnTo>
                    <a:pt x="5831709" y="8367086"/>
                  </a:lnTo>
                  <a:lnTo>
                    <a:pt x="5851513" y="8359093"/>
                  </a:lnTo>
                  <a:lnTo>
                    <a:pt x="5909627" y="8335885"/>
                  </a:lnTo>
                  <a:lnTo>
                    <a:pt x="5976228" y="8296650"/>
                  </a:lnTo>
                  <a:lnTo>
                    <a:pt x="5980739" y="8225796"/>
                  </a:lnTo>
                  <a:lnTo>
                    <a:pt x="5859168" y="7993286"/>
                  </a:lnTo>
                  <a:lnTo>
                    <a:pt x="5983793" y="7949930"/>
                  </a:lnTo>
                  <a:lnTo>
                    <a:pt x="5963053" y="7847664"/>
                  </a:lnTo>
                  <a:lnTo>
                    <a:pt x="5952083" y="7793593"/>
                  </a:lnTo>
                  <a:lnTo>
                    <a:pt x="5924203" y="7735361"/>
                  </a:lnTo>
                  <a:lnTo>
                    <a:pt x="5881440" y="7699397"/>
                  </a:lnTo>
                  <a:lnTo>
                    <a:pt x="5862526" y="7687243"/>
                  </a:lnTo>
                  <a:lnTo>
                    <a:pt x="5786143" y="7598699"/>
                  </a:lnTo>
                  <a:lnTo>
                    <a:pt x="5796090" y="7469228"/>
                  </a:lnTo>
                  <a:lnTo>
                    <a:pt x="5843355" y="7382474"/>
                  </a:lnTo>
                  <a:lnTo>
                    <a:pt x="5905419" y="7268769"/>
                  </a:lnTo>
                  <a:lnTo>
                    <a:pt x="6024687" y="7274586"/>
                  </a:lnTo>
                  <a:lnTo>
                    <a:pt x="6074591" y="7219249"/>
                  </a:lnTo>
                  <a:lnTo>
                    <a:pt x="6110086" y="7179884"/>
                  </a:lnTo>
                  <a:lnTo>
                    <a:pt x="6204998" y="6893607"/>
                  </a:lnTo>
                  <a:lnTo>
                    <a:pt x="6198366" y="6843834"/>
                  </a:lnTo>
                  <a:lnTo>
                    <a:pt x="6176897" y="6811870"/>
                  </a:lnTo>
                  <a:lnTo>
                    <a:pt x="6114715" y="6814803"/>
                  </a:lnTo>
                  <a:lnTo>
                    <a:pt x="6083685" y="6852506"/>
                  </a:lnTo>
                  <a:lnTo>
                    <a:pt x="6039222" y="6864239"/>
                  </a:lnTo>
                  <a:lnTo>
                    <a:pt x="6012489" y="6871336"/>
                  </a:lnTo>
                  <a:lnTo>
                    <a:pt x="5973893" y="6858713"/>
                  </a:lnTo>
                  <a:lnTo>
                    <a:pt x="5954896" y="6839753"/>
                  </a:lnTo>
                  <a:lnTo>
                    <a:pt x="5865205" y="6749976"/>
                  </a:lnTo>
                  <a:lnTo>
                    <a:pt x="6001051" y="6593300"/>
                  </a:lnTo>
                  <a:lnTo>
                    <a:pt x="6056905" y="6521463"/>
                  </a:lnTo>
                  <a:lnTo>
                    <a:pt x="6071447" y="6502766"/>
                  </a:lnTo>
                  <a:lnTo>
                    <a:pt x="6096989" y="6457404"/>
                  </a:lnTo>
                  <a:lnTo>
                    <a:pt x="6085474" y="6434417"/>
                  </a:lnTo>
                  <a:lnTo>
                    <a:pt x="6049215" y="6361897"/>
                  </a:lnTo>
                  <a:lnTo>
                    <a:pt x="5937973" y="6498425"/>
                  </a:lnTo>
                  <a:lnTo>
                    <a:pt x="5895045" y="6503789"/>
                  </a:lnTo>
                  <a:lnTo>
                    <a:pt x="5848756" y="6500127"/>
                  </a:lnTo>
                  <a:lnTo>
                    <a:pt x="5795284" y="6491244"/>
                  </a:lnTo>
                  <a:lnTo>
                    <a:pt x="5772671" y="6478919"/>
                  </a:lnTo>
                  <a:lnTo>
                    <a:pt x="5749503" y="6452096"/>
                  </a:lnTo>
                  <a:lnTo>
                    <a:pt x="5734072" y="6434200"/>
                  </a:lnTo>
                  <a:lnTo>
                    <a:pt x="5730714" y="6408142"/>
                  </a:lnTo>
                  <a:lnTo>
                    <a:pt x="5723657" y="6386807"/>
                  </a:lnTo>
                  <a:lnTo>
                    <a:pt x="5659648" y="6194803"/>
                  </a:lnTo>
                  <a:lnTo>
                    <a:pt x="5874891" y="6102654"/>
                  </a:lnTo>
                  <a:lnTo>
                    <a:pt x="5831114" y="5977384"/>
                  </a:lnTo>
                  <a:lnTo>
                    <a:pt x="5772842" y="5810504"/>
                  </a:lnTo>
                  <a:lnTo>
                    <a:pt x="5666743" y="5890844"/>
                  </a:lnTo>
                  <a:lnTo>
                    <a:pt x="5631163" y="5808725"/>
                  </a:lnTo>
                  <a:lnTo>
                    <a:pt x="5597035" y="5729954"/>
                  </a:lnTo>
                  <a:lnTo>
                    <a:pt x="5715797" y="5625012"/>
                  </a:lnTo>
                  <a:lnTo>
                    <a:pt x="5631163" y="5482276"/>
                  </a:lnTo>
                  <a:lnTo>
                    <a:pt x="5588918" y="5410994"/>
                  </a:lnTo>
                  <a:lnTo>
                    <a:pt x="5526872" y="5417111"/>
                  </a:lnTo>
                  <a:lnTo>
                    <a:pt x="5458423" y="5396582"/>
                  </a:lnTo>
                  <a:lnTo>
                    <a:pt x="5426373" y="5386933"/>
                  </a:lnTo>
                  <a:lnTo>
                    <a:pt x="5352259" y="5331247"/>
                  </a:lnTo>
                  <a:lnTo>
                    <a:pt x="5333284" y="5302731"/>
                  </a:lnTo>
                  <a:lnTo>
                    <a:pt x="5292074" y="5240924"/>
                  </a:lnTo>
                  <a:lnTo>
                    <a:pt x="5322081" y="5110984"/>
                  </a:lnTo>
                  <a:lnTo>
                    <a:pt x="5408092" y="5108222"/>
                  </a:lnTo>
                  <a:lnTo>
                    <a:pt x="5423331" y="5161223"/>
                  </a:lnTo>
                  <a:lnTo>
                    <a:pt x="5392855" y="5227833"/>
                  </a:lnTo>
                  <a:lnTo>
                    <a:pt x="5404014" y="5268720"/>
                  </a:lnTo>
                  <a:lnTo>
                    <a:pt x="5432856" y="5374475"/>
                  </a:lnTo>
                  <a:lnTo>
                    <a:pt x="5641070" y="5361682"/>
                  </a:lnTo>
                  <a:lnTo>
                    <a:pt x="5697810" y="5430587"/>
                  </a:lnTo>
                  <a:lnTo>
                    <a:pt x="5761788" y="5508287"/>
                  </a:lnTo>
                  <a:lnTo>
                    <a:pt x="5692760" y="5623356"/>
                  </a:lnTo>
                  <a:lnTo>
                    <a:pt x="5710058" y="5712148"/>
                  </a:lnTo>
                  <a:lnTo>
                    <a:pt x="5730801" y="5818842"/>
                  </a:lnTo>
                  <a:lnTo>
                    <a:pt x="5837110" y="5785898"/>
                  </a:lnTo>
                  <a:lnTo>
                    <a:pt x="5880081" y="5848167"/>
                  </a:lnTo>
                  <a:lnTo>
                    <a:pt x="5902266" y="5862281"/>
                  </a:lnTo>
                  <a:lnTo>
                    <a:pt x="5909925" y="5899643"/>
                  </a:lnTo>
                  <a:lnTo>
                    <a:pt x="5915450" y="5924339"/>
                  </a:lnTo>
                  <a:lnTo>
                    <a:pt x="5942865" y="6047736"/>
                  </a:lnTo>
                  <a:lnTo>
                    <a:pt x="5906005" y="6140996"/>
                  </a:lnTo>
                  <a:lnTo>
                    <a:pt x="5850161" y="6249423"/>
                  </a:lnTo>
                  <a:lnTo>
                    <a:pt x="5836602" y="6275735"/>
                  </a:lnTo>
                  <a:lnTo>
                    <a:pt x="5825204" y="6296648"/>
                  </a:lnTo>
                  <a:lnTo>
                    <a:pt x="5821592" y="6326960"/>
                  </a:lnTo>
                  <a:lnTo>
                    <a:pt x="5831709" y="6375115"/>
                  </a:lnTo>
                  <a:lnTo>
                    <a:pt x="5885607" y="6386807"/>
                  </a:lnTo>
                  <a:lnTo>
                    <a:pt x="5927691" y="6388165"/>
                  </a:lnTo>
                  <a:lnTo>
                    <a:pt x="5956424" y="6370656"/>
                  </a:lnTo>
                  <a:lnTo>
                    <a:pt x="6000967" y="6353141"/>
                  </a:lnTo>
                  <a:lnTo>
                    <a:pt x="6033784" y="6347365"/>
                  </a:lnTo>
                  <a:lnTo>
                    <a:pt x="6076380" y="6339877"/>
                  </a:lnTo>
                  <a:lnTo>
                    <a:pt x="6152294" y="6342726"/>
                  </a:lnTo>
                  <a:lnTo>
                    <a:pt x="6187489" y="6369128"/>
                  </a:lnTo>
                  <a:lnTo>
                    <a:pt x="6339957" y="6483421"/>
                  </a:lnTo>
                  <a:lnTo>
                    <a:pt x="5952514" y="6585440"/>
                  </a:lnTo>
                  <a:lnTo>
                    <a:pt x="6067791" y="6755423"/>
                  </a:lnTo>
                  <a:lnTo>
                    <a:pt x="6147274" y="6797288"/>
                  </a:lnTo>
                  <a:lnTo>
                    <a:pt x="6261407" y="6696081"/>
                  </a:lnTo>
                  <a:lnTo>
                    <a:pt x="6315345" y="6792144"/>
                  </a:lnTo>
                  <a:lnTo>
                    <a:pt x="6327586" y="6835459"/>
                  </a:lnTo>
                  <a:lnTo>
                    <a:pt x="6327586" y="6900661"/>
                  </a:lnTo>
                  <a:lnTo>
                    <a:pt x="6234327" y="7238123"/>
                  </a:lnTo>
                  <a:lnTo>
                    <a:pt x="6202446" y="7279097"/>
                  </a:lnTo>
                  <a:lnTo>
                    <a:pt x="6147188" y="7350165"/>
                  </a:lnTo>
                  <a:lnTo>
                    <a:pt x="6085644" y="7359898"/>
                  </a:lnTo>
                  <a:lnTo>
                    <a:pt x="6062346" y="7461362"/>
                  </a:lnTo>
                  <a:lnTo>
                    <a:pt x="6054570" y="7495152"/>
                  </a:lnTo>
                  <a:lnTo>
                    <a:pt x="6053463" y="7633305"/>
                  </a:lnTo>
                  <a:lnTo>
                    <a:pt x="6058275" y="7669470"/>
                  </a:lnTo>
                  <a:lnTo>
                    <a:pt x="6109109" y="7810336"/>
                  </a:lnTo>
                  <a:lnTo>
                    <a:pt x="6125301" y="7834638"/>
                  </a:lnTo>
                  <a:lnTo>
                    <a:pt x="6147749" y="7855704"/>
                  </a:lnTo>
                  <a:lnTo>
                    <a:pt x="6163010" y="7876226"/>
                  </a:lnTo>
                  <a:lnTo>
                    <a:pt x="6196862" y="7877467"/>
                  </a:lnTo>
                  <a:lnTo>
                    <a:pt x="6237901" y="7884623"/>
                  </a:lnTo>
                  <a:lnTo>
                    <a:pt x="6269103" y="7889826"/>
                  </a:lnTo>
                  <a:lnTo>
                    <a:pt x="6303891" y="7895630"/>
                  </a:lnTo>
                  <a:lnTo>
                    <a:pt x="6338460" y="7898743"/>
                  </a:lnTo>
                  <a:lnTo>
                    <a:pt x="6373844" y="7885748"/>
                  </a:lnTo>
                  <a:lnTo>
                    <a:pt x="6397631" y="7863223"/>
                  </a:lnTo>
                  <a:lnTo>
                    <a:pt x="6411928" y="7843583"/>
                  </a:lnTo>
                  <a:lnTo>
                    <a:pt x="6426225" y="7823950"/>
                  </a:lnTo>
                  <a:lnTo>
                    <a:pt x="6440674" y="7803031"/>
                  </a:lnTo>
                  <a:lnTo>
                    <a:pt x="6465057" y="7780759"/>
                  </a:lnTo>
                  <a:lnTo>
                    <a:pt x="6489722" y="7772732"/>
                  </a:lnTo>
                  <a:lnTo>
                    <a:pt x="6513937" y="7770134"/>
                  </a:lnTo>
                  <a:lnTo>
                    <a:pt x="6538153" y="7767535"/>
                  </a:lnTo>
                  <a:lnTo>
                    <a:pt x="6563215" y="7770069"/>
                  </a:lnTo>
                  <a:lnTo>
                    <a:pt x="6586798" y="7780192"/>
                  </a:lnTo>
                  <a:lnTo>
                    <a:pt x="6609153" y="7805496"/>
                  </a:lnTo>
                  <a:lnTo>
                    <a:pt x="6632113" y="7832700"/>
                  </a:lnTo>
                  <a:lnTo>
                    <a:pt x="6652214" y="7848271"/>
                  </a:lnTo>
                  <a:lnTo>
                    <a:pt x="6678935" y="7845568"/>
                  </a:lnTo>
                  <a:lnTo>
                    <a:pt x="6705724" y="7839506"/>
                  </a:lnTo>
                  <a:lnTo>
                    <a:pt x="6732519" y="7833438"/>
                  </a:lnTo>
                  <a:lnTo>
                    <a:pt x="6758477" y="7824425"/>
                  </a:lnTo>
                  <a:lnTo>
                    <a:pt x="6807774" y="7810376"/>
                  </a:lnTo>
                  <a:lnTo>
                    <a:pt x="6837589" y="7798585"/>
                  </a:lnTo>
                  <a:lnTo>
                    <a:pt x="6862149" y="7785097"/>
                  </a:lnTo>
                  <a:lnTo>
                    <a:pt x="6886708" y="7771606"/>
                  </a:lnTo>
                  <a:lnTo>
                    <a:pt x="6906512" y="7756172"/>
                  </a:lnTo>
                  <a:lnTo>
                    <a:pt x="6923364" y="7737491"/>
                  </a:lnTo>
                  <a:lnTo>
                    <a:pt x="6957054" y="7700122"/>
                  </a:lnTo>
                  <a:lnTo>
                    <a:pt x="6977987" y="7651294"/>
                  </a:lnTo>
                  <a:lnTo>
                    <a:pt x="6999526" y="7582424"/>
                  </a:lnTo>
                  <a:lnTo>
                    <a:pt x="7010791" y="7542650"/>
                  </a:lnTo>
                  <a:lnTo>
                    <a:pt x="7017215" y="7522574"/>
                  </a:lnTo>
                  <a:lnTo>
                    <a:pt x="7023636" y="7502507"/>
                  </a:lnTo>
                  <a:lnTo>
                    <a:pt x="7031540" y="7481838"/>
                  </a:lnTo>
                  <a:lnTo>
                    <a:pt x="7057892" y="7455334"/>
                  </a:lnTo>
                  <a:lnTo>
                    <a:pt x="7089949" y="7444932"/>
                  </a:lnTo>
                  <a:lnTo>
                    <a:pt x="7121947" y="7438247"/>
                  </a:lnTo>
                  <a:lnTo>
                    <a:pt x="7153948" y="7431553"/>
                  </a:lnTo>
                  <a:lnTo>
                    <a:pt x="7186222" y="7429072"/>
                  </a:lnTo>
                  <a:lnTo>
                    <a:pt x="7239016" y="7452860"/>
                  </a:lnTo>
                  <a:lnTo>
                    <a:pt x="7274970" y="7470040"/>
                  </a:lnTo>
                  <a:lnTo>
                    <a:pt x="7311017" y="7484489"/>
                  </a:lnTo>
                  <a:lnTo>
                    <a:pt x="7335248" y="7494185"/>
                  </a:lnTo>
                  <a:lnTo>
                    <a:pt x="7364747" y="7505027"/>
                  </a:lnTo>
                  <a:lnTo>
                    <a:pt x="7389906" y="7511700"/>
                  </a:lnTo>
                  <a:lnTo>
                    <a:pt x="7410645" y="7517228"/>
                  </a:lnTo>
                  <a:lnTo>
                    <a:pt x="7432839" y="7517827"/>
                  </a:lnTo>
                  <a:lnTo>
                    <a:pt x="7453837" y="7522583"/>
                  </a:lnTo>
                  <a:lnTo>
                    <a:pt x="7489602" y="7530682"/>
                  </a:lnTo>
                  <a:lnTo>
                    <a:pt x="7521842" y="7521222"/>
                  </a:lnTo>
                  <a:lnTo>
                    <a:pt x="7541819" y="7488241"/>
                  </a:lnTo>
                  <a:lnTo>
                    <a:pt x="7553130" y="7450494"/>
                  </a:lnTo>
                  <a:lnTo>
                    <a:pt x="7565830" y="7394659"/>
                  </a:lnTo>
                  <a:lnTo>
                    <a:pt x="7577615" y="7359359"/>
                  </a:lnTo>
                  <a:lnTo>
                    <a:pt x="7590858" y="7323646"/>
                  </a:lnTo>
                  <a:lnTo>
                    <a:pt x="7607902" y="7297127"/>
                  </a:lnTo>
                  <a:lnTo>
                    <a:pt x="7629302" y="7284545"/>
                  </a:lnTo>
                  <a:lnTo>
                    <a:pt x="7700163" y="7264227"/>
                  </a:lnTo>
                  <a:lnTo>
                    <a:pt x="7753080" y="7253260"/>
                  </a:lnTo>
                  <a:lnTo>
                    <a:pt x="7779538" y="7247778"/>
                  </a:lnTo>
                  <a:lnTo>
                    <a:pt x="7806770" y="7243394"/>
                  </a:lnTo>
                  <a:lnTo>
                    <a:pt x="7829252" y="7242377"/>
                  </a:lnTo>
                  <a:lnTo>
                    <a:pt x="7851735" y="7241369"/>
                  </a:lnTo>
                  <a:lnTo>
                    <a:pt x="7879578" y="7251902"/>
                  </a:lnTo>
                  <a:lnTo>
                    <a:pt x="7902513" y="7274744"/>
                  </a:lnTo>
                  <a:lnTo>
                    <a:pt x="7901822" y="7307858"/>
                  </a:lnTo>
                  <a:lnTo>
                    <a:pt x="7914946" y="7330796"/>
                  </a:lnTo>
                  <a:lnTo>
                    <a:pt x="7932421" y="7351787"/>
                  </a:lnTo>
                  <a:lnTo>
                    <a:pt x="7968199" y="7358763"/>
                  </a:lnTo>
                  <a:lnTo>
                    <a:pt x="7993518" y="7355604"/>
                  </a:lnTo>
                  <a:lnTo>
                    <a:pt x="8031919" y="7345753"/>
                  </a:lnTo>
                  <a:lnTo>
                    <a:pt x="8063061" y="7337779"/>
                  </a:lnTo>
                  <a:lnTo>
                    <a:pt x="8087506" y="7330433"/>
                  </a:lnTo>
                  <a:lnTo>
                    <a:pt x="8106733" y="7321271"/>
                  </a:lnTo>
                  <a:lnTo>
                    <a:pt x="8125957" y="7312112"/>
                  </a:lnTo>
                  <a:lnTo>
                    <a:pt x="8150259" y="7288628"/>
                  </a:lnTo>
                  <a:lnTo>
                    <a:pt x="8164246" y="7257402"/>
                  </a:lnTo>
                  <a:lnTo>
                    <a:pt x="8166581" y="7235577"/>
                  </a:lnTo>
                  <a:lnTo>
                    <a:pt x="8168915" y="7213755"/>
                  </a:lnTo>
                  <a:lnTo>
                    <a:pt x="8169238" y="7187270"/>
                  </a:lnTo>
                  <a:lnTo>
                    <a:pt x="8166581" y="7153967"/>
                  </a:lnTo>
                  <a:lnTo>
                    <a:pt x="8157400" y="7114180"/>
                  </a:lnTo>
                  <a:lnTo>
                    <a:pt x="8181631" y="7096076"/>
                  </a:lnTo>
                  <a:lnTo>
                    <a:pt x="8209639" y="7096513"/>
                  </a:lnTo>
                  <a:lnTo>
                    <a:pt x="8233228" y="7139003"/>
                  </a:lnTo>
                  <a:lnTo>
                    <a:pt x="8261245" y="7148314"/>
                  </a:lnTo>
                  <a:lnTo>
                    <a:pt x="8285262" y="7142662"/>
                  </a:lnTo>
                  <a:lnTo>
                    <a:pt x="8307704" y="7149337"/>
                  </a:lnTo>
                  <a:lnTo>
                    <a:pt x="8311570" y="7178619"/>
                  </a:lnTo>
                  <a:lnTo>
                    <a:pt x="8322655" y="7204205"/>
                  </a:lnTo>
                  <a:lnTo>
                    <a:pt x="8358374" y="7202934"/>
                  </a:lnTo>
                  <a:lnTo>
                    <a:pt x="8401081" y="7193000"/>
                  </a:lnTo>
                  <a:lnTo>
                    <a:pt x="8423663" y="7185252"/>
                  </a:lnTo>
                  <a:lnTo>
                    <a:pt x="8446238" y="7177503"/>
                  </a:lnTo>
                  <a:lnTo>
                    <a:pt x="8468370" y="7169491"/>
                  </a:lnTo>
                  <a:lnTo>
                    <a:pt x="8506811" y="7162927"/>
                  </a:lnTo>
                  <a:lnTo>
                    <a:pt x="8532472" y="7175730"/>
                  </a:lnTo>
                  <a:lnTo>
                    <a:pt x="8543804" y="7197731"/>
                  </a:lnTo>
                  <a:lnTo>
                    <a:pt x="8564668" y="7210853"/>
                  </a:lnTo>
                  <a:lnTo>
                    <a:pt x="8590964" y="7219256"/>
                  </a:lnTo>
                  <a:lnTo>
                    <a:pt x="8618739" y="7226102"/>
                  </a:lnTo>
                  <a:lnTo>
                    <a:pt x="8649776" y="7229069"/>
                  </a:lnTo>
                  <a:lnTo>
                    <a:pt x="8667139" y="7245102"/>
                  </a:lnTo>
                  <a:lnTo>
                    <a:pt x="8690744" y="7266890"/>
                  </a:lnTo>
                  <a:lnTo>
                    <a:pt x="8702998" y="7302181"/>
                  </a:lnTo>
                  <a:lnTo>
                    <a:pt x="8720184" y="7329429"/>
                  </a:lnTo>
                  <a:lnTo>
                    <a:pt x="8738261" y="7354478"/>
                  </a:lnTo>
                  <a:lnTo>
                    <a:pt x="8764671" y="7369671"/>
                  </a:lnTo>
                  <a:lnTo>
                    <a:pt x="8803159" y="7370239"/>
                  </a:lnTo>
                  <a:lnTo>
                    <a:pt x="9004455" y="7338948"/>
                  </a:lnTo>
                  <a:lnTo>
                    <a:pt x="9054189" y="7331342"/>
                  </a:lnTo>
                  <a:lnTo>
                    <a:pt x="9106263" y="7354134"/>
                  </a:lnTo>
                  <a:lnTo>
                    <a:pt x="9155441" y="7356633"/>
                  </a:lnTo>
                  <a:lnTo>
                    <a:pt x="9193454" y="7342423"/>
                  </a:lnTo>
                  <a:lnTo>
                    <a:pt x="9212573" y="7325348"/>
                  </a:lnTo>
                  <a:lnTo>
                    <a:pt x="9231685" y="7308273"/>
                  </a:lnTo>
                  <a:lnTo>
                    <a:pt x="9250229" y="7288938"/>
                  </a:lnTo>
                  <a:lnTo>
                    <a:pt x="9293439" y="7267070"/>
                  </a:lnTo>
                  <a:lnTo>
                    <a:pt x="9323009" y="7258602"/>
                  </a:lnTo>
                  <a:lnTo>
                    <a:pt x="9352673" y="7253260"/>
                  </a:lnTo>
                  <a:lnTo>
                    <a:pt x="9382324" y="7247911"/>
                  </a:lnTo>
                  <a:lnTo>
                    <a:pt x="9412464" y="7246380"/>
                  </a:lnTo>
                  <a:lnTo>
                    <a:pt x="9441080" y="7243735"/>
                  </a:lnTo>
                  <a:lnTo>
                    <a:pt x="9469701" y="7241090"/>
                  </a:lnTo>
                  <a:lnTo>
                    <a:pt x="9496627" y="7238138"/>
                  </a:lnTo>
                  <a:lnTo>
                    <a:pt x="9519974" y="7232855"/>
                  </a:lnTo>
                  <a:lnTo>
                    <a:pt x="9543318" y="7227565"/>
                  </a:lnTo>
                  <a:lnTo>
                    <a:pt x="9563271" y="7218921"/>
                  </a:lnTo>
                  <a:lnTo>
                    <a:pt x="9586621" y="7160766"/>
                  </a:lnTo>
                  <a:lnTo>
                    <a:pt x="9563184" y="7143084"/>
                  </a:lnTo>
                  <a:lnTo>
                    <a:pt x="9536296" y="7152602"/>
                  </a:lnTo>
                  <a:lnTo>
                    <a:pt x="9506797" y="7155833"/>
                  </a:lnTo>
                  <a:lnTo>
                    <a:pt x="9487328" y="7144442"/>
                  </a:lnTo>
                  <a:lnTo>
                    <a:pt x="9472755" y="7110692"/>
                  </a:lnTo>
                  <a:lnTo>
                    <a:pt x="9420470" y="7118235"/>
                  </a:lnTo>
                  <a:lnTo>
                    <a:pt x="9337399" y="7139509"/>
                  </a:lnTo>
                  <a:lnTo>
                    <a:pt x="9260173" y="7141719"/>
                  </a:lnTo>
                  <a:lnTo>
                    <a:pt x="9221567" y="7142826"/>
                  </a:lnTo>
                  <a:lnTo>
                    <a:pt x="9184221" y="7139986"/>
                  </a:lnTo>
                  <a:lnTo>
                    <a:pt x="9155441" y="7128120"/>
                  </a:lnTo>
                  <a:lnTo>
                    <a:pt x="9128156" y="7114047"/>
                  </a:lnTo>
                  <a:lnTo>
                    <a:pt x="9109277" y="7093226"/>
                  </a:lnTo>
                  <a:lnTo>
                    <a:pt x="9101032" y="7064189"/>
                  </a:lnTo>
                  <a:lnTo>
                    <a:pt x="9114638" y="7041068"/>
                  </a:lnTo>
                  <a:lnTo>
                    <a:pt x="9132320" y="7022021"/>
                  </a:lnTo>
                  <a:lnTo>
                    <a:pt x="9194099" y="7022061"/>
                  </a:lnTo>
                  <a:lnTo>
                    <a:pt x="9255525" y="7011873"/>
                  </a:lnTo>
                  <a:lnTo>
                    <a:pt x="9315946" y="7000258"/>
                  </a:lnTo>
                  <a:lnTo>
                    <a:pt x="9376370" y="6988646"/>
                  </a:lnTo>
                  <a:lnTo>
                    <a:pt x="9436640" y="6976393"/>
                  </a:lnTo>
                  <a:lnTo>
                    <a:pt x="9498211" y="6971696"/>
                  </a:lnTo>
                  <a:lnTo>
                    <a:pt x="9533400" y="6946153"/>
                  </a:lnTo>
                  <a:lnTo>
                    <a:pt x="9552617" y="6920006"/>
                  </a:lnTo>
                  <a:lnTo>
                    <a:pt x="9571834" y="6893865"/>
                  </a:lnTo>
                  <a:lnTo>
                    <a:pt x="9590382" y="6865770"/>
                  </a:lnTo>
                  <a:lnTo>
                    <a:pt x="9618777" y="6833850"/>
                  </a:lnTo>
                  <a:lnTo>
                    <a:pt x="9645126" y="6822824"/>
                  </a:lnTo>
                  <a:lnTo>
                    <a:pt x="9673673" y="6815271"/>
                  </a:lnTo>
                  <a:lnTo>
                    <a:pt x="9702223" y="6807721"/>
                  </a:lnTo>
                  <a:lnTo>
                    <a:pt x="9732125" y="6803479"/>
                  </a:lnTo>
                  <a:lnTo>
                    <a:pt x="9758009" y="6797591"/>
                  </a:lnTo>
                  <a:lnTo>
                    <a:pt x="9814666" y="6798481"/>
                  </a:lnTo>
                  <a:lnTo>
                    <a:pt x="9835539" y="6794872"/>
                  </a:lnTo>
                  <a:lnTo>
                    <a:pt x="9847390" y="6759433"/>
                  </a:lnTo>
                  <a:lnTo>
                    <a:pt x="9837288" y="6721500"/>
                  </a:lnTo>
                  <a:lnTo>
                    <a:pt x="9809696" y="6698298"/>
                  </a:lnTo>
                  <a:lnTo>
                    <a:pt x="9756815" y="6692816"/>
                  </a:lnTo>
                  <a:lnTo>
                    <a:pt x="9699730" y="6707057"/>
                  </a:lnTo>
                  <a:lnTo>
                    <a:pt x="9649194" y="6698298"/>
                  </a:lnTo>
                  <a:lnTo>
                    <a:pt x="9631046" y="6686631"/>
                  </a:lnTo>
                  <a:lnTo>
                    <a:pt x="9618219" y="6639629"/>
                  </a:lnTo>
                  <a:lnTo>
                    <a:pt x="9612468" y="6592206"/>
                  </a:lnTo>
                  <a:lnTo>
                    <a:pt x="9606716" y="6544776"/>
                  </a:lnTo>
                  <a:lnTo>
                    <a:pt x="9607752" y="6496797"/>
                  </a:lnTo>
                  <a:lnTo>
                    <a:pt x="9621475" y="6471466"/>
                  </a:lnTo>
                  <a:lnTo>
                    <a:pt x="9651910" y="6448022"/>
                  </a:lnTo>
                  <a:lnTo>
                    <a:pt x="9686172" y="6431573"/>
                  </a:lnTo>
                  <a:lnTo>
                    <a:pt x="9731056" y="6457882"/>
                  </a:lnTo>
                  <a:lnTo>
                    <a:pt x="9739604" y="6501197"/>
                  </a:lnTo>
                  <a:lnTo>
                    <a:pt x="9771608" y="6526916"/>
                  </a:lnTo>
                  <a:lnTo>
                    <a:pt x="9803448" y="6552506"/>
                  </a:lnTo>
                  <a:lnTo>
                    <a:pt x="9841278" y="6575627"/>
                  </a:lnTo>
                  <a:lnTo>
                    <a:pt x="9874985" y="6599005"/>
                  </a:lnTo>
                  <a:lnTo>
                    <a:pt x="9877701" y="6556837"/>
                  </a:lnTo>
                  <a:lnTo>
                    <a:pt x="9883505" y="6530423"/>
                  </a:lnTo>
                  <a:lnTo>
                    <a:pt x="9921596" y="6489108"/>
                  </a:lnTo>
                  <a:lnTo>
                    <a:pt x="9955237" y="6448022"/>
                  </a:lnTo>
                  <a:lnTo>
                    <a:pt x="9972055" y="6427478"/>
                  </a:lnTo>
                  <a:lnTo>
                    <a:pt x="9988383" y="6406685"/>
                  </a:lnTo>
                  <a:lnTo>
                    <a:pt x="9998763" y="6388171"/>
                  </a:lnTo>
                  <a:lnTo>
                    <a:pt x="10009144" y="6369667"/>
                  </a:lnTo>
                  <a:lnTo>
                    <a:pt x="10008285" y="6340565"/>
                  </a:lnTo>
                  <a:lnTo>
                    <a:pt x="9999489" y="6318886"/>
                  </a:lnTo>
                  <a:lnTo>
                    <a:pt x="9866226" y="6188395"/>
                  </a:lnTo>
                  <a:lnTo>
                    <a:pt x="9836897" y="6170541"/>
                  </a:lnTo>
                  <a:lnTo>
                    <a:pt x="9814285" y="6156725"/>
                  </a:lnTo>
                  <a:lnTo>
                    <a:pt x="9638140" y="6041616"/>
                  </a:lnTo>
                  <a:lnTo>
                    <a:pt x="9586792" y="6033926"/>
                  </a:lnTo>
                  <a:lnTo>
                    <a:pt x="9554484" y="6056626"/>
                  </a:lnTo>
                  <a:lnTo>
                    <a:pt x="9524048" y="6048127"/>
                  </a:lnTo>
                  <a:lnTo>
                    <a:pt x="9507048" y="6025375"/>
                  </a:lnTo>
                  <a:lnTo>
                    <a:pt x="9505696" y="5994707"/>
                  </a:lnTo>
                  <a:lnTo>
                    <a:pt x="9505011" y="5963791"/>
                  </a:lnTo>
                  <a:lnTo>
                    <a:pt x="9500459" y="5940965"/>
                  </a:lnTo>
                  <a:lnTo>
                    <a:pt x="9489796" y="5921074"/>
                  </a:lnTo>
                  <a:lnTo>
                    <a:pt x="9487328" y="5897141"/>
                  </a:lnTo>
                  <a:lnTo>
                    <a:pt x="9491089" y="5875273"/>
                  </a:lnTo>
                  <a:lnTo>
                    <a:pt x="9510458" y="5846229"/>
                  </a:lnTo>
                  <a:lnTo>
                    <a:pt x="9530854" y="5818253"/>
                  </a:lnTo>
                  <a:lnTo>
                    <a:pt x="9551253" y="5790273"/>
                  </a:lnTo>
                  <a:lnTo>
                    <a:pt x="9573273" y="5763100"/>
                  </a:lnTo>
                  <a:lnTo>
                    <a:pt x="9585263" y="5740716"/>
                  </a:lnTo>
                  <a:lnTo>
                    <a:pt x="9598056" y="5716786"/>
                  </a:lnTo>
                  <a:lnTo>
                    <a:pt x="9604012" y="5689628"/>
                  </a:lnTo>
                  <a:lnTo>
                    <a:pt x="9615184" y="5665905"/>
                  </a:lnTo>
                  <a:lnTo>
                    <a:pt x="9629000" y="5636453"/>
                  </a:lnTo>
                  <a:lnTo>
                    <a:pt x="9644816" y="5607463"/>
                  </a:lnTo>
                  <a:lnTo>
                    <a:pt x="9657352" y="5577495"/>
                  </a:lnTo>
                  <a:lnTo>
                    <a:pt x="9675329" y="5534562"/>
                  </a:lnTo>
                  <a:lnTo>
                    <a:pt x="9678349" y="5477390"/>
                  </a:lnTo>
                  <a:lnTo>
                    <a:pt x="9706319" y="5440115"/>
                  </a:lnTo>
                  <a:lnTo>
                    <a:pt x="9747808" y="5460724"/>
                  </a:lnTo>
                  <a:lnTo>
                    <a:pt x="9754608" y="5493032"/>
                  </a:lnTo>
                  <a:lnTo>
                    <a:pt x="9777050" y="5509481"/>
                  </a:lnTo>
                  <a:lnTo>
                    <a:pt x="9813138" y="5514572"/>
                  </a:lnTo>
                  <a:lnTo>
                    <a:pt x="9839623" y="5517645"/>
                  </a:lnTo>
                  <a:lnTo>
                    <a:pt x="9866108" y="5520711"/>
                  </a:lnTo>
                  <a:lnTo>
                    <a:pt x="9894537" y="5523679"/>
                  </a:lnTo>
                  <a:lnTo>
                    <a:pt x="9922591" y="5513571"/>
                  </a:lnTo>
                  <a:lnTo>
                    <a:pt x="9950118" y="5490515"/>
                  </a:lnTo>
                  <a:lnTo>
                    <a:pt x="10008648" y="5429539"/>
                  </a:lnTo>
                  <a:lnTo>
                    <a:pt x="10031357" y="5375750"/>
                  </a:lnTo>
                  <a:lnTo>
                    <a:pt x="10058611" y="5350346"/>
                  </a:lnTo>
                  <a:lnTo>
                    <a:pt x="10087431" y="5331154"/>
                  </a:lnTo>
                  <a:lnTo>
                    <a:pt x="10127726" y="5342341"/>
                  </a:lnTo>
                  <a:lnTo>
                    <a:pt x="10153123" y="5359400"/>
                  </a:lnTo>
                  <a:lnTo>
                    <a:pt x="10187834" y="5391156"/>
                  </a:lnTo>
                  <a:lnTo>
                    <a:pt x="10209597" y="5393872"/>
                  </a:lnTo>
                  <a:lnTo>
                    <a:pt x="10233561" y="5366767"/>
                  </a:lnTo>
                  <a:lnTo>
                    <a:pt x="10239518" y="5339463"/>
                  </a:lnTo>
                  <a:lnTo>
                    <a:pt x="10245471" y="5312153"/>
                  </a:lnTo>
                  <a:lnTo>
                    <a:pt x="10251678" y="5279780"/>
                  </a:lnTo>
                  <a:lnTo>
                    <a:pt x="10273522" y="5253769"/>
                  </a:lnTo>
                  <a:lnTo>
                    <a:pt x="10261281" y="5214001"/>
                  </a:lnTo>
                  <a:lnTo>
                    <a:pt x="10233410" y="5172798"/>
                  </a:lnTo>
                  <a:lnTo>
                    <a:pt x="10208230" y="5131349"/>
                  </a:lnTo>
                  <a:lnTo>
                    <a:pt x="10183059" y="5089907"/>
                  </a:lnTo>
                  <a:lnTo>
                    <a:pt x="10160459" y="5048235"/>
                  </a:lnTo>
                  <a:lnTo>
                    <a:pt x="10156546" y="5008935"/>
                  </a:lnTo>
                  <a:lnTo>
                    <a:pt x="10152041" y="4963536"/>
                  </a:lnTo>
                  <a:lnTo>
                    <a:pt x="10159560" y="4924729"/>
                  </a:lnTo>
                  <a:lnTo>
                    <a:pt x="10171509" y="4881079"/>
                  </a:lnTo>
                  <a:lnTo>
                    <a:pt x="10179028" y="4853487"/>
                  </a:lnTo>
                  <a:lnTo>
                    <a:pt x="10191645" y="4830186"/>
                  </a:lnTo>
                  <a:lnTo>
                    <a:pt x="10201430" y="4803543"/>
                  </a:lnTo>
                  <a:lnTo>
                    <a:pt x="10215538" y="4765160"/>
                  </a:lnTo>
                  <a:lnTo>
                    <a:pt x="10222706" y="4731057"/>
                  </a:lnTo>
                  <a:lnTo>
                    <a:pt x="10224554" y="4700166"/>
                  </a:lnTo>
                  <a:lnTo>
                    <a:pt x="10226405" y="4669278"/>
                  </a:lnTo>
                  <a:lnTo>
                    <a:pt x="10222313" y="4641162"/>
                  </a:lnTo>
                  <a:lnTo>
                    <a:pt x="10215035" y="4613114"/>
                  </a:lnTo>
                  <a:lnTo>
                    <a:pt x="10200475" y="4557018"/>
                  </a:lnTo>
                  <a:lnTo>
                    <a:pt x="10171193" y="4502122"/>
                  </a:lnTo>
                  <a:lnTo>
                    <a:pt x="10138866" y="4429485"/>
                  </a:lnTo>
                  <a:lnTo>
                    <a:pt x="10129252" y="4407889"/>
                  </a:lnTo>
                  <a:lnTo>
                    <a:pt x="10095340" y="4402283"/>
                  </a:lnTo>
                  <a:lnTo>
                    <a:pt x="10057188" y="4407902"/>
                  </a:lnTo>
                  <a:lnTo>
                    <a:pt x="10011690" y="4407464"/>
                  </a:lnTo>
                  <a:lnTo>
                    <a:pt x="9981763" y="4401899"/>
                  </a:lnTo>
                  <a:lnTo>
                    <a:pt x="9953879" y="4399564"/>
                  </a:lnTo>
                  <a:lnTo>
                    <a:pt x="9926179" y="4389540"/>
                  </a:lnTo>
                  <a:lnTo>
                    <a:pt x="9905405" y="4363340"/>
                  </a:lnTo>
                  <a:lnTo>
                    <a:pt x="9891306" y="4327476"/>
                  </a:lnTo>
                  <a:lnTo>
                    <a:pt x="9879791" y="4290210"/>
                  </a:lnTo>
                  <a:lnTo>
                    <a:pt x="9876455" y="4248838"/>
                  </a:lnTo>
                  <a:lnTo>
                    <a:pt x="9879065" y="4226818"/>
                  </a:lnTo>
                  <a:lnTo>
                    <a:pt x="9889031" y="4207951"/>
                  </a:lnTo>
                  <a:lnTo>
                    <a:pt x="9922591" y="4194172"/>
                  </a:lnTo>
                  <a:lnTo>
                    <a:pt x="9956403" y="4183081"/>
                  </a:lnTo>
                  <a:lnTo>
                    <a:pt x="9972898" y="4151539"/>
                  </a:lnTo>
                  <a:lnTo>
                    <a:pt x="9969199" y="4129181"/>
                  </a:lnTo>
                  <a:lnTo>
                    <a:pt x="9965770" y="4087785"/>
                  </a:lnTo>
                  <a:lnTo>
                    <a:pt x="9981084" y="4055436"/>
                  </a:lnTo>
                  <a:lnTo>
                    <a:pt x="10015507" y="4073631"/>
                  </a:lnTo>
                  <a:lnTo>
                    <a:pt x="10034963" y="4124756"/>
                  </a:lnTo>
                  <a:lnTo>
                    <a:pt x="10050453" y="4171051"/>
                  </a:lnTo>
                  <a:lnTo>
                    <a:pt x="10065947" y="4217355"/>
                  </a:lnTo>
                  <a:lnTo>
                    <a:pt x="10078501" y="4258066"/>
                  </a:lnTo>
                  <a:lnTo>
                    <a:pt x="10105669" y="4267470"/>
                  </a:lnTo>
                  <a:lnTo>
                    <a:pt x="10133127" y="4269367"/>
                  </a:lnTo>
                  <a:lnTo>
                    <a:pt x="10160629" y="4267628"/>
                  </a:lnTo>
                  <a:lnTo>
                    <a:pt x="10188129" y="4265886"/>
                  </a:lnTo>
                  <a:lnTo>
                    <a:pt x="10214654" y="4261039"/>
                  </a:lnTo>
                  <a:lnTo>
                    <a:pt x="10236802" y="4254029"/>
                  </a:lnTo>
                  <a:lnTo>
                    <a:pt x="10251092" y="4235050"/>
                  </a:lnTo>
                  <a:lnTo>
                    <a:pt x="10249719" y="4207719"/>
                  </a:lnTo>
                  <a:lnTo>
                    <a:pt x="10238160" y="4176493"/>
                  </a:lnTo>
                  <a:lnTo>
                    <a:pt x="10226353" y="4145350"/>
                  </a:lnTo>
                  <a:lnTo>
                    <a:pt x="10210270" y="4113907"/>
                  </a:lnTo>
                  <a:lnTo>
                    <a:pt x="10206701" y="4042175"/>
                  </a:lnTo>
                  <a:lnTo>
                    <a:pt x="10236036" y="3988281"/>
                  </a:lnTo>
                  <a:lnTo>
                    <a:pt x="10228635" y="3930300"/>
                  </a:lnTo>
                  <a:lnTo>
                    <a:pt x="10225317" y="3904221"/>
                  </a:lnTo>
                  <a:lnTo>
                    <a:pt x="10212279" y="3880394"/>
                  </a:lnTo>
                  <a:lnTo>
                    <a:pt x="10200072" y="3856852"/>
                  </a:lnTo>
                  <a:lnTo>
                    <a:pt x="10187865" y="3833307"/>
                  </a:lnTo>
                  <a:lnTo>
                    <a:pt x="10176904" y="3809289"/>
                  </a:lnTo>
                  <a:lnTo>
                    <a:pt x="10175587" y="3782038"/>
                  </a:lnTo>
                  <a:lnTo>
                    <a:pt x="10187260" y="3745034"/>
                  </a:lnTo>
                  <a:lnTo>
                    <a:pt x="10197356" y="3726272"/>
                  </a:lnTo>
                  <a:lnTo>
                    <a:pt x="10207445" y="3707503"/>
                  </a:lnTo>
                  <a:lnTo>
                    <a:pt x="10204156" y="3669141"/>
                  </a:lnTo>
                  <a:lnTo>
                    <a:pt x="10181112" y="3625145"/>
                  </a:lnTo>
                  <a:lnTo>
                    <a:pt x="10129171" y="3601977"/>
                  </a:lnTo>
                  <a:lnTo>
                    <a:pt x="10099421" y="3561690"/>
                  </a:lnTo>
                  <a:lnTo>
                    <a:pt x="10092872" y="3498312"/>
                  </a:lnTo>
                  <a:lnTo>
                    <a:pt x="10090407" y="3439610"/>
                  </a:lnTo>
                  <a:lnTo>
                    <a:pt x="10102140" y="3376703"/>
                  </a:lnTo>
                  <a:lnTo>
                    <a:pt x="10057036" y="3365649"/>
                  </a:lnTo>
                  <a:lnTo>
                    <a:pt x="10011352" y="3358118"/>
                  </a:lnTo>
                  <a:lnTo>
                    <a:pt x="9964753" y="3352216"/>
                  </a:lnTo>
                  <a:lnTo>
                    <a:pt x="9918161" y="3346314"/>
                  </a:lnTo>
                  <a:lnTo>
                    <a:pt x="9870644" y="3341683"/>
                  </a:lnTo>
                  <a:lnTo>
                    <a:pt x="9824659" y="3335893"/>
                  </a:lnTo>
                  <a:lnTo>
                    <a:pt x="9794494" y="3328256"/>
                  </a:lnTo>
                  <a:lnTo>
                    <a:pt x="9765047" y="3310885"/>
                  </a:lnTo>
                  <a:lnTo>
                    <a:pt x="9749845" y="3284203"/>
                  </a:lnTo>
                  <a:lnTo>
                    <a:pt x="9749021" y="3261285"/>
                  </a:lnTo>
                  <a:lnTo>
                    <a:pt x="9767528" y="3224354"/>
                  </a:lnTo>
                  <a:lnTo>
                    <a:pt x="9793167" y="3190627"/>
                  </a:lnTo>
                  <a:lnTo>
                    <a:pt x="9808335" y="3175386"/>
                  </a:lnTo>
                  <a:lnTo>
                    <a:pt x="9823503" y="3160151"/>
                  </a:lnTo>
                  <a:lnTo>
                    <a:pt x="9839021" y="3145940"/>
                  </a:lnTo>
                  <a:lnTo>
                    <a:pt x="9861978" y="3115063"/>
                  </a:lnTo>
                  <a:lnTo>
                    <a:pt x="9869543" y="3080175"/>
                  </a:lnTo>
                  <a:lnTo>
                    <a:pt x="9869543" y="3047129"/>
                  </a:lnTo>
                  <a:lnTo>
                    <a:pt x="9862514" y="3015117"/>
                  </a:lnTo>
                  <a:lnTo>
                    <a:pt x="9851861" y="2983599"/>
                  </a:lnTo>
                  <a:lnTo>
                    <a:pt x="9841204" y="2952090"/>
                  </a:lnTo>
                  <a:lnTo>
                    <a:pt x="9826920" y="2921640"/>
                  </a:lnTo>
                  <a:lnTo>
                    <a:pt x="9811054" y="2891106"/>
                  </a:lnTo>
                  <a:lnTo>
                    <a:pt x="9779319" y="2830038"/>
                  </a:lnTo>
                  <a:lnTo>
                    <a:pt x="9742643" y="2769324"/>
                  </a:lnTo>
                  <a:lnTo>
                    <a:pt x="9722641" y="2708843"/>
                  </a:lnTo>
                  <a:lnTo>
                    <a:pt x="9740308" y="2687475"/>
                  </a:lnTo>
                  <a:lnTo>
                    <a:pt x="9759367" y="2677556"/>
                  </a:lnTo>
                  <a:lnTo>
                    <a:pt x="9778420" y="2667637"/>
                  </a:lnTo>
                  <a:lnTo>
                    <a:pt x="9802375" y="2658458"/>
                  </a:lnTo>
                  <a:lnTo>
                    <a:pt x="9827375" y="2650353"/>
                  </a:lnTo>
                  <a:lnTo>
                    <a:pt x="9877379" y="2634135"/>
                  </a:lnTo>
                  <a:lnTo>
                    <a:pt x="9929028" y="2622925"/>
                  </a:lnTo>
                  <a:lnTo>
                    <a:pt x="9951833" y="2617662"/>
                  </a:lnTo>
                  <a:lnTo>
                    <a:pt x="9976697" y="2618177"/>
                  </a:lnTo>
                  <a:lnTo>
                    <a:pt x="10023568" y="2617115"/>
                  </a:lnTo>
                  <a:lnTo>
                    <a:pt x="10051814" y="2614991"/>
                  </a:lnTo>
                  <a:lnTo>
                    <a:pt x="10080051" y="2612855"/>
                  </a:lnTo>
                  <a:lnTo>
                    <a:pt x="10107600" y="2608422"/>
                  </a:lnTo>
                  <a:lnTo>
                    <a:pt x="10107489" y="2571425"/>
                  </a:lnTo>
                  <a:lnTo>
                    <a:pt x="10118843" y="2496527"/>
                  </a:lnTo>
                  <a:lnTo>
                    <a:pt x="10071109" y="2463585"/>
                  </a:lnTo>
                  <a:lnTo>
                    <a:pt x="10027748" y="2440715"/>
                  </a:lnTo>
                  <a:lnTo>
                    <a:pt x="9998763" y="2412323"/>
                  </a:lnTo>
                  <a:lnTo>
                    <a:pt x="9987710" y="2392854"/>
                  </a:lnTo>
                  <a:lnTo>
                    <a:pt x="10011005" y="2281698"/>
                  </a:lnTo>
                  <a:lnTo>
                    <a:pt x="10008279" y="2243659"/>
                  </a:lnTo>
                  <a:lnTo>
                    <a:pt x="10002847" y="2185168"/>
                  </a:lnTo>
                  <a:lnTo>
                    <a:pt x="9998763" y="2125320"/>
                  </a:lnTo>
                  <a:lnTo>
                    <a:pt x="9994345" y="2063519"/>
                  </a:lnTo>
                  <a:lnTo>
                    <a:pt x="10001058" y="2039395"/>
                  </a:lnTo>
                  <a:lnTo>
                    <a:pt x="10018220" y="2001777"/>
                  </a:lnTo>
                  <a:lnTo>
                    <a:pt x="10035484" y="1949855"/>
                  </a:lnTo>
                  <a:lnTo>
                    <a:pt x="10038842" y="1927565"/>
                  </a:lnTo>
                  <a:lnTo>
                    <a:pt x="10034442" y="1903678"/>
                  </a:lnTo>
                  <a:lnTo>
                    <a:pt x="10031409" y="1879126"/>
                  </a:lnTo>
                  <a:lnTo>
                    <a:pt x="10028374" y="1854572"/>
                  </a:lnTo>
                  <a:lnTo>
                    <a:pt x="10026297" y="1829518"/>
                  </a:lnTo>
                  <a:lnTo>
                    <a:pt x="10034126" y="1808395"/>
                  </a:lnTo>
                  <a:lnTo>
                    <a:pt x="10047929" y="1787950"/>
                  </a:lnTo>
                  <a:lnTo>
                    <a:pt x="10072015" y="1760826"/>
                  </a:lnTo>
                  <a:lnTo>
                    <a:pt x="10089899" y="1741747"/>
                  </a:lnTo>
                  <a:lnTo>
                    <a:pt x="10086020" y="1704967"/>
                  </a:lnTo>
                  <a:lnTo>
                    <a:pt x="10079010" y="1677816"/>
                  </a:lnTo>
                  <a:lnTo>
                    <a:pt x="10072005" y="1650664"/>
                  </a:lnTo>
                  <a:lnTo>
                    <a:pt x="10064034" y="1624727"/>
                  </a:lnTo>
                  <a:lnTo>
                    <a:pt x="10035893" y="1618771"/>
                  </a:lnTo>
                  <a:lnTo>
                    <a:pt x="10014704" y="1623797"/>
                  </a:lnTo>
                  <a:lnTo>
                    <a:pt x="9993316" y="1628848"/>
                  </a:lnTo>
                  <a:lnTo>
                    <a:pt x="9971943" y="1633907"/>
                  </a:lnTo>
                  <a:lnTo>
                    <a:pt x="9949387" y="1637903"/>
                  </a:lnTo>
                  <a:lnTo>
                    <a:pt x="9925311" y="1635648"/>
                  </a:lnTo>
                  <a:lnTo>
                    <a:pt x="9902186" y="1622048"/>
                  </a:lnTo>
                  <a:lnTo>
                    <a:pt x="9884507" y="1603003"/>
                  </a:lnTo>
                  <a:lnTo>
                    <a:pt x="9898019" y="1541083"/>
                  </a:lnTo>
                  <a:lnTo>
                    <a:pt x="9915792" y="1496910"/>
                  </a:lnTo>
                  <a:lnTo>
                    <a:pt x="9933561" y="1452732"/>
                  </a:lnTo>
                  <a:lnTo>
                    <a:pt x="9954025" y="1408071"/>
                  </a:lnTo>
                  <a:lnTo>
                    <a:pt x="9955876" y="1378189"/>
                  </a:lnTo>
                  <a:lnTo>
                    <a:pt x="9939889" y="1362929"/>
                  </a:lnTo>
                  <a:lnTo>
                    <a:pt x="9913069" y="1359526"/>
                  </a:lnTo>
                  <a:lnTo>
                    <a:pt x="9891220" y="1337934"/>
                  </a:lnTo>
                  <a:lnTo>
                    <a:pt x="9847951" y="1319106"/>
                  </a:lnTo>
                  <a:lnTo>
                    <a:pt x="9836404" y="1289521"/>
                  </a:lnTo>
                  <a:lnTo>
                    <a:pt x="9843691" y="1253434"/>
                  </a:lnTo>
                  <a:lnTo>
                    <a:pt x="9850379" y="1216436"/>
                  </a:lnTo>
                  <a:lnTo>
                    <a:pt x="9841216" y="1176240"/>
                  </a:lnTo>
                  <a:lnTo>
                    <a:pt x="9817906" y="1152241"/>
                  </a:lnTo>
                  <a:lnTo>
                    <a:pt x="9793365" y="1124214"/>
                  </a:lnTo>
                  <a:lnTo>
                    <a:pt x="9768818" y="1096191"/>
                  </a:lnTo>
                  <a:lnTo>
                    <a:pt x="9742816" y="1064833"/>
                  </a:lnTo>
                  <a:lnTo>
                    <a:pt x="9732160" y="1030361"/>
                  </a:lnTo>
                  <a:lnTo>
                    <a:pt x="9728141" y="1000710"/>
                  </a:lnTo>
                  <a:lnTo>
                    <a:pt x="9725279" y="970236"/>
                  </a:lnTo>
                  <a:lnTo>
                    <a:pt x="9710387" y="943308"/>
                  </a:lnTo>
                  <a:lnTo>
                    <a:pt x="9675515" y="947793"/>
                  </a:lnTo>
                  <a:lnTo>
                    <a:pt x="9658762" y="965071"/>
                  </a:lnTo>
                  <a:lnTo>
                    <a:pt x="9642382" y="980029"/>
                  </a:lnTo>
                  <a:lnTo>
                    <a:pt x="9625999" y="994992"/>
                  </a:lnTo>
                  <a:lnTo>
                    <a:pt x="9597498" y="1011315"/>
                  </a:lnTo>
                  <a:lnTo>
                    <a:pt x="9567742" y="1018569"/>
                  </a:lnTo>
                  <a:lnTo>
                    <a:pt x="9543867" y="1006105"/>
                  </a:lnTo>
                  <a:lnTo>
                    <a:pt x="9518600" y="993634"/>
                  </a:lnTo>
                  <a:lnTo>
                    <a:pt x="9492652" y="980754"/>
                  </a:lnTo>
                  <a:lnTo>
                    <a:pt x="9462948" y="973869"/>
                  </a:lnTo>
                  <a:lnTo>
                    <a:pt x="9427474" y="977311"/>
                  </a:lnTo>
                  <a:lnTo>
                    <a:pt x="9397045" y="1003678"/>
                  </a:lnTo>
                  <a:lnTo>
                    <a:pt x="9381480" y="1028547"/>
                  </a:lnTo>
                  <a:lnTo>
                    <a:pt x="9374423" y="1052124"/>
                  </a:lnTo>
                  <a:lnTo>
                    <a:pt x="9367360" y="1075700"/>
                  </a:lnTo>
                  <a:lnTo>
                    <a:pt x="9368824" y="1098408"/>
                  </a:lnTo>
                  <a:lnTo>
                    <a:pt x="9377307" y="1139137"/>
                  </a:lnTo>
                  <a:lnTo>
                    <a:pt x="9388022" y="1174539"/>
                  </a:lnTo>
                  <a:lnTo>
                    <a:pt x="9390602" y="1205396"/>
                  </a:lnTo>
                  <a:lnTo>
                    <a:pt x="9372492" y="1227437"/>
                  </a:lnTo>
                  <a:lnTo>
                    <a:pt x="9343303" y="1237467"/>
                  </a:lnTo>
                  <a:lnTo>
                    <a:pt x="9313218" y="1243910"/>
                  </a:lnTo>
                  <a:lnTo>
                    <a:pt x="9283123" y="1250361"/>
                  </a:lnTo>
                  <a:lnTo>
                    <a:pt x="9252220" y="1253645"/>
                  </a:lnTo>
                  <a:lnTo>
                    <a:pt x="9227524" y="1262957"/>
                  </a:lnTo>
                  <a:lnTo>
                    <a:pt x="9220637" y="1295681"/>
                  </a:lnTo>
                  <a:lnTo>
                    <a:pt x="9210474" y="1334320"/>
                  </a:lnTo>
                  <a:lnTo>
                    <a:pt x="9193520" y="1363608"/>
                  </a:lnTo>
                  <a:lnTo>
                    <a:pt x="9161013" y="1376436"/>
                  </a:lnTo>
                  <a:lnTo>
                    <a:pt x="9122643" y="1364380"/>
                  </a:lnTo>
                  <a:lnTo>
                    <a:pt x="9103928" y="1352311"/>
                  </a:lnTo>
                  <a:lnTo>
                    <a:pt x="9073493" y="1309187"/>
                  </a:lnTo>
                  <a:lnTo>
                    <a:pt x="9055243" y="1270264"/>
                  </a:lnTo>
                  <a:lnTo>
                    <a:pt x="9035737" y="1237111"/>
                  </a:lnTo>
                  <a:lnTo>
                    <a:pt x="8993014" y="1246409"/>
                  </a:lnTo>
                  <a:lnTo>
                    <a:pt x="8972485" y="1256506"/>
                  </a:lnTo>
                  <a:lnTo>
                    <a:pt x="8935759" y="1269406"/>
                  </a:lnTo>
                  <a:lnTo>
                    <a:pt x="8903798" y="1273839"/>
                  </a:lnTo>
                  <a:lnTo>
                    <a:pt x="8871260" y="1276608"/>
                  </a:lnTo>
                  <a:lnTo>
                    <a:pt x="8839761" y="1274702"/>
                  </a:lnTo>
                  <a:lnTo>
                    <a:pt x="8796341" y="1292878"/>
                  </a:lnTo>
                  <a:lnTo>
                    <a:pt x="8772091" y="1306193"/>
                  </a:lnTo>
                  <a:lnTo>
                    <a:pt x="8747137" y="1323088"/>
                  </a:lnTo>
                  <a:lnTo>
                    <a:pt x="8724246" y="1339128"/>
                  </a:lnTo>
                  <a:lnTo>
                    <a:pt x="8701757" y="1360674"/>
                  </a:lnTo>
                  <a:lnTo>
                    <a:pt x="8692967" y="1379930"/>
                  </a:lnTo>
                  <a:lnTo>
                    <a:pt x="8684174" y="1399188"/>
                  </a:lnTo>
                  <a:lnTo>
                    <a:pt x="8676736" y="1422817"/>
                  </a:lnTo>
                  <a:lnTo>
                    <a:pt x="8673920" y="1445220"/>
                  </a:lnTo>
                  <a:lnTo>
                    <a:pt x="8671105" y="1467622"/>
                  </a:lnTo>
                  <a:lnTo>
                    <a:pt x="8671710" y="1489669"/>
                  </a:lnTo>
                  <a:lnTo>
                    <a:pt x="8684279" y="1523191"/>
                  </a:lnTo>
                  <a:lnTo>
                    <a:pt x="8714724" y="1536354"/>
                  </a:lnTo>
                  <a:lnTo>
                    <a:pt x="8796334" y="1547236"/>
                  </a:lnTo>
                  <a:lnTo>
                    <a:pt x="8792260" y="1651971"/>
                  </a:lnTo>
                  <a:lnTo>
                    <a:pt x="8747289" y="1668912"/>
                  </a:lnTo>
                  <a:lnTo>
                    <a:pt x="8709289" y="1671016"/>
                  </a:lnTo>
                  <a:lnTo>
                    <a:pt x="8671282" y="1673114"/>
                  </a:lnTo>
                  <a:lnTo>
                    <a:pt x="8631290" y="1675264"/>
                  </a:lnTo>
                  <a:lnTo>
                    <a:pt x="8615437" y="1691415"/>
                  </a:lnTo>
                  <a:lnTo>
                    <a:pt x="8599491" y="1714384"/>
                  </a:lnTo>
                  <a:lnTo>
                    <a:pt x="8596009" y="1736457"/>
                  </a:lnTo>
                  <a:lnTo>
                    <a:pt x="8601825" y="1758070"/>
                  </a:lnTo>
                  <a:lnTo>
                    <a:pt x="8610008" y="1779575"/>
                  </a:lnTo>
                  <a:lnTo>
                    <a:pt x="8626475" y="1800679"/>
                  </a:lnTo>
                  <a:lnTo>
                    <a:pt x="8637194" y="1820635"/>
                  </a:lnTo>
                  <a:lnTo>
                    <a:pt x="8648412" y="1841547"/>
                  </a:lnTo>
                  <a:lnTo>
                    <a:pt x="8635625" y="1907602"/>
                  </a:lnTo>
                  <a:lnTo>
                    <a:pt x="8638552" y="1943057"/>
                  </a:lnTo>
                  <a:lnTo>
                    <a:pt x="8680720" y="1975701"/>
                  </a:lnTo>
                  <a:lnTo>
                    <a:pt x="8679988" y="2004053"/>
                  </a:lnTo>
                  <a:lnTo>
                    <a:pt x="8660182" y="2016102"/>
                  </a:lnTo>
                  <a:lnTo>
                    <a:pt x="8636639" y="2018080"/>
                  </a:lnTo>
                  <a:lnTo>
                    <a:pt x="8614073" y="2020585"/>
                  </a:lnTo>
                  <a:lnTo>
                    <a:pt x="8591497" y="2023086"/>
                  </a:lnTo>
                  <a:lnTo>
                    <a:pt x="8570500" y="2026066"/>
                  </a:lnTo>
                  <a:lnTo>
                    <a:pt x="8558107" y="2053461"/>
                  </a:lnTo>
                  <a:lnTo>
                    <a:pt x="8560395" y="2098109"/>
                  </a:lnTo>
                  <a:lnTo>
                    <a:pt x="8561022" y="2140283"/>
                  </a:lnTo>
                  <a:lnTo>
                    <a:pt x="8561617" y="2182451"/>
                  </a:lnTo>
                  <a:lnTo>
                    <a:pt x="8560829" y="2223128"/>
                  </a:lnTo>
                  <a:lnTo>
                    <a:pt x="8431808" y="2246375"/>
                  </a:lnTo>
                  <a:lnTo>
                    <a:pt x="8314829" y="2253174"/>
                  </a:lnTo>
                  <a:lnTo>
                    <a:pt x="8278403" y="2263766"/>
                  </a:lnTo>
                  <a:lnTo>
                    <a:pt x="8213155" y="2275578"/>
                  </a:lnTo>
                  <a:lnTo>
                    <a:pt x="8163719" y="2281573"/>
                  </a:lnTo>
                  <a:lnTo>
                    <a:pt x="8116243" y="2291267"/>
                  </a:lnTo>
                  <a:lnTo>
                    <a:pt x="7973417" y="2321189"/>
                  </a:lnTo>
                  <a:lnTo>
                    <a:pt x="7943494" y="2327308"/>
                  </a:lnTo>
                  <a:lnTo>
                    <a:pt x="7913489" y="2342397"/>
                  </a:lnTo>
                  <a:lnTo>
                    <a:pt x="7880924" y="2336152"/>
                  </a:lnTo>
                  <a:lnTo>
                    <a:pt x="7860268" y="2332155"/>
                  </a:lnTo>
                  <a:lnTo>
                    <a:pt x="7798811" y="2309811"/>
                  </a:lnTo>
                  <a:lnTo>
                    <a:pt x="7739463" y="2284461"/>
                  </a:lnTo>
                  <a:lnTo>
                    <a:pt x="7680120" y="2259110"/>
                  </a:lnTo>
                  <a:lnTo>
                    <a:pt x="7622806" y="2230884"/>
                  </a:lnTo>
                  <a:lnTo>
                    <a:pt x="7593924" y="2212378"/>
                  </a:lnTo>
                  <a:lnTo>
                    <a:pt x="7506023" y="2270486"/>
                  </a:lnTo>
                  <a:lnTo>
                    <a:pt x="7470462" y="2231656"/>
                  </a:lnTo>
                  <a:lnTo>
                    <a:pt x="7422471" y="2185795"/>
                  </a:lnTo>
                  <a:lnTo>
                    <a:pt x="7368130" y="2151165"/>
                  </a:lnTo>
                  <a:lnTo>
                    <a:pt x="7340960" y="2133853"/>
                  </a:lnTo>
                  <a:lnTo>
                    <a:pt x="7312468" y="2119688"/>
                  </a:lnTo>
                  <a:lnTo>
                    <a:pt x="7285159" y="2110363"/>
                  </a:lnTo>
                  <a:lnTo>
                    <a:pt x="7257849" y="2101030"/>
                  </a:lnTo>
                  <a:lnTo>
                    <a:pt x="7231952" y="2097396"/>
                  </a:lnTo>
                  <a:lnTo>
                    <a:pt x="7210348" y="2100839"/>
                  </a:lnTo>
                  <a:lnTo>
                    <a:pt x="7140975" y="2118520"/>
                  </a:lnTo>
                  <a:lnTo>
                    <a:pt x="7077385" y="2135442"/>
                  </a:lnTo>
                  <a:lnTo>
                    <a:pt x="7060729" y="2149807"/>
                  </a:lnTo>
                  <a:lnTo>
                    <a:pt x="7042876" y="2165192"/>
                  </a:lnTo>
                  <a:lnTo>
                    <a:pt x="7032414" y="2191888"/>
                  </a:lnTo>
                  <a:lnTo>
                    <a:pt x="7019919" y="2211014"/>
                  </a:lnTo>
                  <a:lnTo>
                    <a:pt x="7003808" y="2235665"/>
                  </a:lnTo>
                  <a:lnTo>
                    <a:pt x="6984960" y="2261457"/>
                  </a:lnTo>
                  <a:lnTo>
                    <a:pt x="6970951" y="2287185"/>
                  </a:lnTo>
                  <a:lnTo>
                    <a:pt x="6946357" y="2332360"/>
                  </a:lnTo>
                  <a:lnTo>
                    <a:pt x="6927168" y="2386233"/>
                  </a:lnTo>
                  <a:lnTo>
                    <a:pt x="6898863" y="2430004"/>
                  </a:lnTo>
                  <a:lnTo>
                    <a:pt x="6884709" y="2451892"/>
                  </a:lnTo>
                  <a:lnTo>
                    <a:pt x="6867643" y="2471335"/>
                  </a:lnTo>
                  <a:lnTo>
                    <a:pt x="6847179" y="2485777"/>
                  </a:lnTo>
                  <a:lnTo>
                    <a:pt x="6826715" y="2500220"/>
                  </a:lnTo>
                  <a:lnTo>
                    <a:pt x="6802723" y="2509340"/>
                  </a:lnTo>
                  <a:lnTo>
                    <a:pt x="6772365" y="2511622"/>
                  </a:lnTo>
                  <a:lnTo>
                    <a:pt x="6720663" y="2510515"/>
                  </a:lnTo>
                  <a:lnTo>
                    <a:pt x="6689387" y="2503458"/>
                  </a:lnTo>
                  <a:lnTo>
                    <a:pt x="6658115" y="2496401"/>
                  </a:lnTo>
                  <a:lnTo>
                    <a:pt x="6628727" y="2484841"/>
                  </a:lnTo>
                  <a:lnTo>
                    <a:pt x="6600087" y="2449689"/>
                  </a:lnTo>
                  <a:lnTo>
                    <a:pt x="6589917" y="2419307"/>
                  </a:lnTo>
                  <a:lnTo>
                    <a:pt x="6579214" y="2387842"/>
                  </a:lnTo>
                  <a:lnTo>
                    <a:pt x="6568511" y="2356379"/>
                  </a:lnTo>
                  <a:lnTo>
                    <a:pt x="6556738" y="2324598"/>
                  </a:lnTo>
                  <a:lnTo>
                    <a:pt x="6537046" y="2300790"/>
                  </a:lnTo>
                  <a:lnTo>
                    <a:pt x="6518384" y="2278222"/>
                  </a:lnTo>
                  <a:lnTo>
                    <a:pt x="6481279" y="2261346"/>
                  </a:lnTo>
                  <a:lnTo>
                    <a:pt x="6442984" y="2247978"/>
                  </a:lnTo>
                  <a:lnTo>
                    <a:pt x="6425512" y="2232777"/>
                  </a:lnTo>
                  <a:lnTo>
                    <a:pt x="6408635" y="2218116"/>
                  </a:lnTo>
                  <a:lnTo>
                    <a:pt x="6397755" y="2193669"/>
                  </a:lnTo>
                  <a:lnTo>
                    <a:pt x="6376547" y="2183809"/>
                  </a:lnTo>
                  <a:lnTo>
                    <a:pt x="6345359" y="2171985"/>
                  </a:lnTo>
                  <a:lnTo>
                    <a:pt x="6312517" y="2162989"/>
                  </a:lnTo>
                  <a:lnTo>
                    <a:pt x="6279970" y="2155247"/>
                  </a:lnTo>
                  <a:lnTo>
                    <a:pt x="6235554" y="2144134"/>
                  </a:lnTo>
                  <a:lnTo>
                    <a:pt x="6206496" y="2145243"/>
                  </a:lnTo>
                  <a:lnTo>
                    <a:pt x="6188835" y="2160688"/>
                  </a:lnTo>
                  <a:lnTo>
                    <a:pt x="6171180" y="2176132"/>
                  </a:lnTo>
                  <a:lnTo>
                    <a:pt x="6165121" y="2204940"/>
                  </a:lnTo>
                  <a:lnTo>
                    <a:pt x="6164356" y="2249099"/>
                  </a:lnTo>
                  <a:lnTo>
                    <a:pt x="6032286" y="2262110"/>
                  </a:lnTo>
                  <a:lnTo>
                    <a:pt x="5919096" y="2254118"/>
                  </a:lnTo>
                  <a:lnTo>
                    <a:pt x="5803903" y="2262704"/>
                  </a:lnTo>
                  <a:lnTo>
                    <a:pt x="5774358" y="2259644"/>
                  </a:lnTo>
                  <a:lnTo>
                    <a:pt x="5756660" y="2241555"/>
                  </a:lnTo>
                  <a:lnTo>
                    <a:pt x="5758570" y="2215544"/>
                  </a:lnTo>
                  <a:lnTo>
                    <a:pt x="5761735" y="2187891"/>
                  </a:lnTo>
                  <a:lnTo>
                    <a:pt x="5764895" y="2160239"/>
                  </a:lnTo>
                  <a:lnTo>
                    <a:pt x="5770290" y="2131084"/>
                  </a:lnTo>
                  <a:lnTo>
                    <a:pt x="5773080" y="2090848"/>
                  </a:lnTo>
                  <a:lnTo>
                    <a:pt x="5760991" y="2073661"/>
                  </a:lnTo>
                  <a:lnTo>
                    <a:pt x="5748130" y="2055954"/>
                  </a:lnTo>
                  <a:lnTo>
                    <a:pt x="5735272" y="2038240"/>
                  </a:lnTo>
                  <a:lnTo>
                    <a:pt x="5721170" y="2021035"/>
                  </a:lnTo>
                  <a:lnTo>
                    <a:pt x="5718203" y="1996106"/>
                  </a:lnTo>
                  <a:lnTo>
                    <a:pt x="5725080" y="1959550"/>
                  </a:lnTo>
                  <a:lnTo>
                    <a:pt x="5738608" y="1938973"/>
                  </a:lnTo>
                  <a:lnTo>
                    <a:pt x="5752133" y="1918398"/>
                  </a:lnTo>
                  <a:lnTo>
                    <a:pt x="5770460" y="1897123"/>
                  </a:lnTo>
                  <a:lnTo>
                    <a:pt x="5786217" y="1873684"/>
                  </a:lnTo>
                  <a:lnTo>
                    <a:pt x="5801965" y="1850253"/>
                  </a:lnTo>
                  <a:lnTo>
                    <a:pt x="5815518" y="1825521"/>
                  </a:lnTo>
                  <a:lnTo>
                    <a:pt x="5820218" y="1800238"/>
                  </a:lnTo>
                  <a:lnTo>
                    <a:pt x="5824922" y="1774952"/>
                  </a:lnTo>
                  <a:lnTo>
                    <a:pt x="5820814" y="1748803"/>
                  </a:lnTo>
                  <a:lnTo>
                    <a:pt x="5801175" y="1722701"/>
                  </a:lnTo>
                  <a:lnTo>
                    <a:pt x="5787758" y="1704881"/>
                  </a:lnTo>
                  <a:lnTo>
                    <a:pt x="5772817" y="1686863"/>
                  </a:lnTo>
                  <a:lnTo>
                    <a:pt x="5757655" y="1669658"/>
                  </a:lnTo>
                  <a:lnTo>
                    <a:pt x="5742487" y="1652451"/>
                  </a:lnTo>
                  <a:lnTo>
                    <a:pt x="5727291" y="1636320"/>
                  </a:lnTo>
                  <a:lnTo>
                    <a:pt x="5712768" y="1619332"/>
                  </a:lnTo>
                  <a:lnTo>
                    <a:pt x="5694989" y="1598512"/>
                  </a:lnTo>
                  <a:lnTo>
                    <a:pt x="5693426" y="1553271"/>
                  </a:lnTo>
                  <a:lnTo>
                    <a:pt x="5695082" y="1528197"/>
                  </a:lnTo>
                  <a:lnTo>
                    <a:pt x="5652108" y="1452105"/>
                  </a:lnTo>
                  <a:lnTo>
                    <a:pt x="5612408" y="1446751"/>
                  </a:lnTo>
                  <a:lnTo>
                    <a:pt x="5538577" y="1474383"/>
                  </a:lnTo>
                  <a:lnTo>
                    <a:pt x="5519617" y="1490111"/>
                  </a:lnTo>
                  <a:lnTo>
                    <a:pt x="5480549" y="1436250"/>
                  </a:lnTo>
                  <a:lnTo>
                    <a:pt x="5439336" y="1395065"/>
                  </a:lnTo>
                  <a:lnTo>
                    <a:pt x="5408079" y="1348645"/>
                  </a:lnTo>
                  <a:lnTo>
                    <a:pt x="5390766" y="1322930"/>
                  </a:lnTo>
                  <a:lnTo>
                    <a:pt x="5375790" y="1295107"/>
                  </a:lnTo>
                  <a:lnTo>
                    <a:pt x="5360470" y="1267033"/>
                  </a:lnTo>
                  <a:lnTo>
                    <a:pt x="5345162" y="1238965"/>
                  </a:lnTo>
                  <a:lnTo>
                    <a:pt x="5330602" y="1211154"/>
                  </a:lnTo>
                  <a:lnTo>
                    <a:pt x="5315586" y="1184061"/>
                  </a:lnTo>
                  <a:lnTo>
                    <a:pt x="5305317" y="1165523"/>
                  </a:lnTo>
                  <a:lnTo>
                    <a:pt x="5291600" y="1144605"/>
                  </a:lnTo>
                  <a:lnTo>
                    <a:pt x="5280224" y="1124214"/>
                  </a:lnTo>
                  <a:lnTo>
                    <a:pt x="5268847" y="1103821"/>
                  </a:lnTo>
                  <a:lnTo>
                    <a:pt x="5258823" y="1084044"/>
                  </a:lnTo>
                  <a:lnTo>
                    <a:pt x="5254377" y="1063005"/>
                  </a:lnTo>
                  <a:lnTo>
                    <a:pt x="5281879" y="1055652"/>
                  </a:lnTo>
                  <a:lnTo>
                    <a:pt x="5324822" y="1037332"/>
                  </a:lnTo>
                  <a:lnTo>
                    <a:pt x="5365918" y="1016755"/>
                  </a:lnTo>
                  <a:lnTo>
                    <a:pt x="5407010" y="996186"/>
                  </a:lnTo>
                  <a:lnTo>
                    <a:pt x="5447020" y="972643"/>
                  </a:lnTo>
                  <a:lnTo>
                    <a:pt x="5469291" y="954190"/>
                  </a:lnTo>
                  <a:lnTo>
                    <a:pt x="5481052" y="933633"/>
                  </a:lnTo>
                  <a:lnTo>
                    <a:pt x="5490177" y="898575"/>
                  </a:lnTo>
                  <a:lnTo>
                    <a:pt x="5493773" y="871220"/>
                  </a:lnTo>
                  <a:lnTo>
                    <a:pt x="5487566" y="831360"/>
                  </a:lnTo>
                  <a:lnTo>
                    <a:pt x="5472773" y="794099"/>
                  </a:lnTo>
                  <a:lnTo>
                    <a:pt x="5459769" y="756956"/>
                  </a:lnTo>
                  <a:lnTo>
                    <a:pt x="5453187" y="722175"/>
                  </a:lnTo>
                  <a:lnTo>
                    <a:pt x="5446164" y="701190"/>
                  </a:lnTo>
                  <a:lnTo>
                    <a:pt x="5439147" y="680211"/>
                  </a:lnTo>
                  <a:lnTo>
                    <a:pt x="5429932" y="661237"/>
                  </a:lnTo>
                  <a:lnTo>
                    <a:pt x="5398455" y="649249"/>
                  </a:lnTo>
                  <a:lnTo>
                    <a:pt x="5346957" y="666389"/>
                  </a:lnTo>
                  <a:lnTo>
                    <a:pt x="5295187" y="680785"/>
                  </a:lnTo>
                  <a:lnTo>
                    <a:pt x="5269294" y="687986"/>
                  </a:lnTo>
                  <a:lnTo>
                    <a:pt x="5243475" y="694990"/>
                  </a:lnTo>
                  <a:lnTo>
                    <a:pt x="5221731" y="697108"/>
                  </a:lnTo>
                  <a:lnTo>
                    <a:pt x="5199990" y="699224"/>
                  </a:lnTo>
                  <a:lnTo>
                    <a:pt x="5172767" y="687591"/>
                  </a:lnTo>
                  <a:lnTo>
                    <a:pt x="5164606" y="652222"/>
                  </a:lnTo>
                  <a:lnTo>
                    <a:pt x="5138347" y="633289"/>
                  </a:lnTo>
                  <a:lnTo>
                    <a:pt x="5110200" y="644059"/>
                  </a:lnTo>
                  <a:lnTo>
                    <a:pt x="5083463" y="661422"/>
                  </a:lnTo>
                  <a:lnTo>
                    <a:pt x="5053068" y="664462"/>
                  </a:lnTo>
                  <a:lnTo>
                    <a:pt x="4959874" y="549052"/>
                  </a:lnTo>
                  <a:lnTo>
                    <a:pt x="4936964" y="545866"/>
                  </a:lnTo>
                  <a:lnTo>
                    <a:pt x="4900724" y="567886"/>
                  </a:lnTo>
                  <a:lnTo>
                    <a:pt x="4882536" y="580576"/>
                  </a:lnTo>
                  <a:lnTo>
                    <a:pt x="4864968" y="596792"/>
                  </a:lnTo>
                  <a:lnTo>
                    <a:pt x="4840591" y="624333"/>
                  </a:lnTo>
                  <a:lnTo>
                    <a:pt x="4843599" y="664462"/>
                  </a:lnTo>
                  <a:lnTo>
                    <a:pt x="4850926" y="705859"/>
                  </a:lnTo>
                  <a:lnTo>
                    <a:pt x="4812900" y="744631"/>
                  </a:lnTo>
                  <a:lnTo>
                    <a:pt x="4762854" y="752663"/>
                  </a:lnTo>
                  <a:lnTo>
                    <a:pt x="4723895" y="754232"/>
                  </a:lnTo>
                  <a:lnTo>
                    <a:pt x="4706215" y="699824"/>
                  </a:lnTo>
                  <a:lnTo>
                    <a:pt x="4676992" y="688099"/>
                  </a:lnTo>
                  <a:lnTo>
                    <a:pt x="4651108" y="699528"/>
                  </a:lnTo>
                  <a:lnTo>
                    <a:pt x="4625436" y="763842"/>
                  </a:lnTo>
                  <a:lnTo>
                    <a:pt x="4637416" y="823472"/>
                  </a:lnTo>
                  <a:lnTo>
                    <a:pt x="4625963" y="880729"/>
                  </a:lnTo>
                  <a:lnTo>
                    <a:pt x="4538911" y="897052"/>
                  </a:lnTo>
                  <a:lnTo>
                    <a:pt x="4524428" y="857370"/>
                  </a:lnTo>
                  <a:lnTo>
                    <a:pt x="4534688" y="836286"/>
                  </a:lnTo>
                  <a:lnTo>
                    <a:pt x="4554010" y="802751"/>
                  </a:lnTo>
                  <a:lnTo>
                    <a:pt x="4564754" y="775996"/>
                  </a:lnTo>
                  <a:lnTo>
                    <a:pt x="4571231" y="712098"/>
                  </a:lnTo>
                  <a:lnTo>
                    <a:pt x="4575860" y="665372"/>
                  </a:lnTo>
                  <a:lnTo>
                    <a:pt x="4575637" y="631811"/>
                  </a:lnTo>
                  <a:lnTo>
                    <a:pt x="4575439" y="598250"/>
                  </a:lnTo>
                  <a:lnTo>
                    <a:pt x="4555232" y="566522"/>
                  </a:lnTo>
                  <a:lnTo>
                    <a:pt x="4515656" y="550621"/>
                  </a:lnTo>
                  <a:lnTo>
                    <a:pt x="4477702" y="551557"/>
                  </a:lnTo>
                  <a:lnTo>
                    <a:pt x="4439741" y="552494"/>
                  </a:lnTo>
                  <a:lnTo>
                    <a:pt x="4388914" y="557329"/>
                  </a:lnTo>
                  <a:lnTo>
                    <a:pt x="4319913" y="562439"/>
                  </a:lnTo>
                  <a:lnTo>
                    <a:pt x="4288368" y="575300"/>
                  </a:lnTo>
                  <a:lnTo>
                    <a:pt x="4264410" y="601277"/>
                  </a:lnTo>
                  <a:lnTo>
                    <a:pt x="4238306" y="625012"/>
                  </a:lnTo>
                  <a:lnTo>
                    <a:pt x="4206804" y="626219"/>
                  </a:lnTo>
                  <a:lnTo>
                    <a:pt x="4185475" y="612916"/>
                  </a:lnTo>
                  <a:lnTo>
                    <a:pt x="4171652" y="589649"/>
                  </a:lnTo>
                  <a:lnTo>
                    <a:pt x="4159644" y="564009"/>
                  </a:lnTo>
                  <a:lnTo>
                    <a:pt x="4153957" y="531371"/>
                  </a:lnTo>
                  <a:lnTo>
                    <a:pt x="4143090" y="512113"/>
                  </a:lnTo>
                  <a:lnTo>
                    <a:pt x="4097815" y="528106"/>
                  </a:lnTo>
                  <a:lnTo>
                    <a:pt x="4072359" y="548841"/>
                  </a:lnTo>
                  <a:lnTo>
                    <a:pt x="4046910" y="569575"/>
                  </a:lnTo>
                  <a:lnTo>
                    <a:pt x="4020397" y="592473"/>
                  </a:lnTo>
                  <a:lnTo>
                    <a:pt x="3998913" y="601891"/>
                  </a:lnTo>
                  <a:lnTo>
                    <a:pt x="3950407" y="599298"/>
                  </a:lnTo>
                  <a:lnTo>
                    <a:pt x="3913219" y="589649"/>
                  </a:lnTo>
                  <a:lnTo>
                    <a:pt x="3876030" y="579996"/>
                  </a:lnTo>
                  <a:lnTo>
                    <a:pt x="3838088" y="569627"/>
                  </a:lnTo>
                  <a:lnTo>
                    <a:pt x="3782771" y="562347"/>
                  </a:lnTo>
                  <a:lnTo>
                    <a:pt x="3740522" y="567017"/>
                  </a:lnTo>
                  <a:lnTo>
                    <a:pt x="3701027" y="562439"/>
                  </a:lnTo>
                  <a:lnTo>
                    <a:pt x="3661529" y="555252"/>
                  </a:lnTo>
                  <a:lnTo>
                    <a:pt x="3626266" y="536989"/>
                  </a:lnTo>
                  <a:lnTo>
                    <a:pt x="3596292" y="502591"/>
                  </a:lnTo>
                  <a:lnTo>
                    <a:pt x="3582470" y="481005"/>
                  </a:lnTo>
                  <a:lnTo>
                    <a:pt x="3588128" y="369294"/>
                  </a:lnTo>
                  <a:lnTo>
                    <a:pt x="3583797" y="343826"/>
                  </a:lnTo>
                  <a:lnTo>
                    <a:pt x="3565265" y="332192"/>
                  </a:lnTo>
                  <a:lnTo>
                    <a:pt x="3537803" y="328486"/>
                  </a:lnTo>
                  <a:lnTo>
                    <a:pt x="3509364" y="325979"/>
                  </a:lnTo>
                  <a:lnTo>
                    <a:pt x="3476284" y="328354"/>
                  </a:lnTo>
                  <a:lnTo>
                    <a:pt x="3458908" y="314886"/>
                  </a:lnTo>
                  <a:lnTo>
                    <a:pt x="3443303" y="262141"/>
                  </a:lnTo>
                  <a:lnTo>
                    <a:pt x="3439868" y="215593"/>
                  </a:lnTo>
                  <a:lnTo>
                    <a:pt x="3436432" y="169041"/>
                  </a:lnTo>
                  <a:lnTo>
                    <a:pt x="3434466" y="120252"/>
                  </a:lnTo>
                  <a:lnTo>
                    <a:pt x="3432535" y="97974"/>
                  </a:lnTo>
                  <a:lnTo>
                    <a:pt x="3413798" y="75254"/>
                  </a:lnTo>
                  <a:lnTo>
                    <a:pt x="3356648" y="75538"/>
                  </a:lnTo>
                  <a:lnTo>
                    <a:pt x="3327226" y="75141"/>
                  </a:lnTo>
                  <a:lnTo>
                    <a:pt x="3288633" y="70394"/>
                  </a:lnTo>
                  <a:lnTo>
                    <a:pt x="3259662" y="49785"/>
                  </a:lnTo>
                  <a:lnTo>
                    <a:pt x="3238559" y="34682"/>
                  </a:lnTo>
                  <a:lnTo>
                    <a:pt x="3213801" y="32842"/>
                  </a:lnTo>
                  <a:lnTo>
                    <a:pt x="3186981" y="39147"/>
                  </a:lnTo>
                  <a:lnTo>
                    <a:pt x="3161029" y="46929"/>
                  </a:lnTo>
                  <a:lnTo>
                    <a:pt x="3135071" y="54698"/>
                  </a:lnTo>
                  <a:lnTo>
                    <a:pt x="3109919" y="64260"/>
                  </a:lnTo>
                  <a:lnTo>
                    <a:pt x="3087576" y="70050"/>
                  </a:lnTo>
                  <a:lnTo>
                    <a:pt x="3065233" y="75834"/>
                  </a:lnTo>
                  <a:lnTo>
                    <a:pt x="3031809" y="70050"/>
                  </a:lnTo>
                  <a:lnTo>
                    <a:pt x="3009392" y="44556"/>
                  </a:lnTo>
                  <a:lnTo>
                    <a:pt x="3008682" y="11561"/>
                  </a:lnTo>
                  <a:lnTo>
                    <a:pt x="2990366" y="0"/>
                  </a:lnTo>
                  <a:lnTo>
                    <a:pt x="2931982" y="11824"/>
                  </a:lnTo>
                  <a:lnTo>
                    <a:pt x="2910753" y="14278"/>
                  </a:lnTo>
                  <a:lnTo>
                    <a:pt x="2806123" y="39905"/>
                  </a:lnTo>
                  <a:lnTo>
                    <a:pt x="2772011" y="45563"/>
                  </a:lnTo>
                  <a:lnTo>
                    <a:pt x="2740512" y="70559"/>
                  </a:lnTo>
                  <a:lnTo>
                    <a:pt x="2736094" y="100842"/>
                  </a:lnTo>
                  <a:lnTo>
                    <a:pt x="2733105" y="141539"/>
                  </a:lnTo>
                  <a:lnTo>
                    <a:pt x="2723043" y="178861"/>
                  </a:lnTo>
                  <a:lnTo>
                    <a:pt x="2711720" y="215265"/>
                  </a:lnTo>
                  <a:lnTo>
                    <a:pt x="2693563" y="240390"/>
                  </a:lnTo>
                  <a:lnTo>
                    <a:pt x="2667276" y="246873"/>
                  </a:lnTo>
                  <a:lnTo>
                    <a:pt x="2621995" y="237569"/>
                  </a:lnTo>
                  <a:lnTo>
                    <a:pt x="2595187" y="235992"/>
                  </a:lnTo>
                  <a:lnTo>
                    <a:pt x="2568370" y="234415"/>
                  </a:lnTo>
                  <a:lnTo>
                    <a:pt x="2542778" y="237944"/>
                  </a:lnTo>
                  <a:lnTo>
                    <a:pt x="2529898" y="256389"/>
                  </a:lnTo>
                  <a:lnTo>
                    <a:pt x="2526336" y="281733"/>
                  </a:lnTo>
                  <a:lnTo>
                    <a:pt x="2517130" y="315387"/>
                  </a:lnTo>
                  <a:lnTo>
                    <a:pt x="2504052" y="338001"/>
                  </a:lnTo>
                  <a:lnTo>
                    <a:pt x="2488428" y="352431"/>
                  </a:lnTo>
                  <a:lnTo>
                    <a:pt x="2457168" y="364150"/>
                  </a:lnTo>
                  <a:lnTo>
                    <a:pt x="2426522" y="366570"/>
                  </a:lnTo>
                  <a:lnTo>
                    <a:pt x="2395699" y="367032"/>
                  </a:lnTo>
                  <a:lnTo>
                    <a:pt x="2370286" y="357985"/>
                  </a:lnTo>
                  <a:lnTo>
                    <a:pt x="2354427" y="338009"/>
                  </a:lnTo>
                  <a:lnTo>
                    <a:pt x="2351711" y="297205"/>
                  </a:lnTo>
                  <a:lnTo>
                    <a:pt x="2350350" y="256397"/>
                  </a:lnTo>
                  <a:lnTo>
                    <a:pt x="2335520" y="227056"/>
                  </a:lnTo>
                  <a:lnTo>
                    <a:pt x="2317713" y="215593"/>
                  </a:lnTo>
                  <a:lnTo>
                    <a:pt x="2299900" y="204126"/>
                  </a:lnTo>
                  <a:lnTo>
                    <a:pt x="2278797" y="196291"/>
                  </a:lnTo>
                  <a:lnTo>
                    <a:pt x="2250077" y="200386"/>
                  </a:lnTo>
                  <a:lnTo>
                    <a:pt x="2225213" y="219669"/>
                  </a:lnTo>
                  <a:lnTo>
                    <a:pt x="2205217" y="245270"/>
                  </a:lnTo>
                  <a:lnTo>
                    <a:pt x="2183591" y="290894"/>
                  </a:lnTo>
                  <a:lnTo>
                    <a:pt x="2176239" y="326092"/>
                  </a:lnTo>
                  <a:lnTo>
                    <a:pt x="2169446" y="352972"/>
                  </a:lnTo>
                  <a:lnTo>
                    <a:pt x="2144821" y="361546"/>
                  </a:lnTo>
                  <a:lnTo>
                    <a:pt x="2117902" y="357997"/>
                  </a:lnTo>
                  <a:lnTo>
                    <a:pt x="2094635" y="348890"/>
                  </a:lnTo>
                  <a:lnTo>
                    <a:pt x="2080726" y="321382"/>
                  </a:lnTo>
                  <a:lnTo>
                    <a:pt x="2078620" y="289344"/>
                  </a:lnTo>
                  <a:lnTo>
                    <a:pt x="2074236" y="257761"/>
                  </a:lnTo>
                  <a:lnTo>
                    <a:pt x="2047032" y="235998"/>
                  </a:lnTo>
                  <a:lnTo>
                    <a:pt x="2023356" y="238531"/>
                  </a:lnTo>
                  <a:lnTo>
                    <a:pt x="1999977" y="247064"/>
                  </a:lnTo>
                  <a:lnTo>
                    <a:pt x="1976301" y="253679"/>
                  </a:lnTo>
                  <a:lnTo>
                    <a:pt x="1950179" y="256383"/>
                  </a:lnTo>
                  <a:lnTo>
                    <a:pt x="1927334" y="257755"/>
                  </a:lnTo>
                  <a:lnTo>
                    <a:pt x="1904482" y="259127"/>
                  </a:lnTo>
                  <a:lnTo>
                    <a:pt x="1881243" y="259332"/>
                  </a:lnTo>
                  <a:lnTo>
                    <a:pt x="1853267" y="258282"/>
                  </a:lnTo>
                  <a:lnTo>
                    <a:pt x="1826676" y="242792"/>
                  </a:lnTo>
                  <a:lnTo>
                    <a:pt x="1804616" y="224748"/>
                  </a:lnTo>
                  <a:lnTo>
                    <a:pt x="1746179" y="216801"/>
                  </a:lnTo>
                  <a:lnTo>
                    <a:pt x="1716503" y="229186"/>
                  </a:lnTo>
                  <a:lnTo>
                    <a:pt x="1698703" y="245897"/>
                  </a:lnTo>
                  <a:lnTo>
                    <a:pt x="1659924" y="247751"/>
                  </a:lnTo>
                  <a:lnTo>
                    <a:pt x="1629370" y="245132"/>
                  </a:lnTo>
                  <a:lnTo>
                    <a:pt x="1600885" y="248232"/>
                  </a:lnTo>
                  <a:lnTo>
                    <a:pt x="1572397" y="251324"/>
                  </a:lnTo>
                  <a:lnTo>
                    <a:pt x="1545853" y="259259"/>
                  </a:lnTo>
                  <a:lnTo>
                    <a:pt x="1534232" y="278152"/>
                  </a:lnTo>
                  <a:lnTo>
                    <a:pt x="1534034" y="304506"/>
                  </a:lnTo>
                  <a:lnTo>
                    <a:pt x="1507582" y="321850"/>
                  </a:lnTo>
                  <a:lnTo>
                    <a:pt x="1497512" y="343443"/>
                  </a:lnTo>
                  <a:lnTo>
                    <a:pt x="1486861" y="366268"/>
                  </a:lnTo>
                  <a:lnTo>
                    <a:pt x="1489776" y="392449"/>
                  </a:lnTo>
                  <a:lnTo>
                    <a:pt x="1474381" y="415531"/>
                  </a:lnTo>
                  <a:lnTo>
                    <a:pt x="1440690" y="432507"/>
                  </a:lnTo>
                  <a:lnTo>
                    <a:pt x="1409092" y="429137"/>
                  </a:lnTo>
                  <a:lnTo>
                    <a:pt x="1377504" y="425760"/>
                  </a:lnTo>
                  <a:lnTo>
                    <a:pt x="1338799" y="415987"/>
                  </a:lnTo>
                  <a:lnTo>
                    <a:pt x="1298919" y="403292"/>
                  </a:lnTo>
                  <a:lnTo>
                    <a:pt x="1219166" y="377907"/>
                  </a:lnTo>
                  <a:lnTo>
                    <a:pt x="1135729" y="342869"/>
                  </a:lnTo>
                  <a:lnTo>
                    <a:pt x="1105774" y="329837"/>
                  </a:lnTo>
                  <a:lnTo>
                    <a:pt x="1057936" y="337659"/>
                  </a:lnTo>
                  <a:lnTo>
                    <a:pt x="1034911" y="345506"/>
                  </a:lnTo>
                  <a:lnTo>
                    <a:pt x="978784" y="331195"/>
                  </a:lnTo>
                  <a:lnTo>
                    <a:pt x="955297" y="338595"/>
                  </a:lnTo>
                  <a:lnTo>
                    <a:pt x="920787" y="336643"/>
                  </a:lnTo>
                  <a:lnTo>
                    <a:pt x="870883" y="333755"/>
                  </a:lnTo>
                  <a:lnTo>
                    <a:pt x="821085" y="322061"/>
                  </a:lnTo>
                  <a:lnTo>
                    <a:pt x="771162" y="318962"/>
                  </a:lnTo>
                  <a:lnTo>
                    <a:pt x="736309" y="316793"/>
                  </a:lnTo>
                  <a:lnTo>
                    <a:pt x="715845" y="343402"/>
                  </a:lnTo>
                  <a:lnTo>
                    <a:pt x="680027" y="339361"/>
                  </a:lnTo>
                  <a:lnTo>
                    <a:pt x="645173" y="306247"/>
                  </a:lnTo>
                  <a:lnTo>
                    <a:pt x="628343" y="293117"/>
                  </a:lnTo>
                  <a:lnTo>
                    <a:pt x="593858" y="288237"/>
                  </a:lnTo>
                  <a:lnTo>
                    <a:pt x="559451" y="297997"/>
                  </a:lnTo>
                  <a:lnTo>
                    <a:pt x="526325" y="318962"/>
                  </a:lnTo>
                  <a:lnTo>
                    <a:pt x="495483" y="341919"/>
                  </a:lnTo>
                  <a:lnTo>
                    <a:pt x="469736" y="373475"/>
                  </a:lnTo>
                  <a:lnTo>
                    <a:pt x="455597" y="400568"/>
                  </a:lnTo>
                  <a:lnTo>
                    <a:pt x="434981" y="440077"/>
                  </a:lnTo>
                  <a:lnTo>
                    <a:pt x="427211" y="465693"/>
                  </a:lnTo>
                  <a:lnTo>
                    <a:pt x="410710" y="479462"/>
                  </a:lnTo>
                  <a:lnTo>
                    <a:pt x="392001" y="490350"/>
                  </a:lnTo>
                  <a:lnTo>
                    <a:pt x="361407" y="493054"/>
                  </a:lnTo>
                  <a:lnTo>
                    <a:pt x="314136" y="488986"/>
                  </a:ln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47" name="Odessa¬0" descr="Odessa¬0">
              <a:extLst>
                <a:ext uri="{FF2B5EF4-FFF2-40B4-BE49-F238E27FC236}">
                  <a16:creationId xmlns:a16="http://schemas.microsoft.com/office/drawing/2014/main" id="{0D898B39-FF01-487F-9C83-F4A5742D8C61}"/>
                </a:ext>
              </a:extLst>
            </p:cNvPr>
            <p:cNvSpPr/>
            <p:nvPr/>
          </p:nvSpPr>
          <p:spPr>
            <a:xfrm>
              <a:off x="2959698" y="3066937"/>
              <a:ext cx="1063859" cy="1367932"/>
            </a:xfrm>
            <a:custGeom>
              <a:avLst/>
              <a:gdLst/>
              <a:ahLst/>
              <a:cxnLst/>
              <a:rect l="0" t="0" r="0" b="0"/>
              <a:pathLst>
                <a:path w="10856097" h="15845753">
                  <a:moveTo>
                    <a:pt x="6029786" y="0"/>
                  </a:moveTo>
                  <a:lnTo>
                    <a:pt x="6007068" y="5519"/>
                  </a:lnTo>
                  <a:lnTo>
                    <a:pt x="5979736" y="29189"/>
                  </a:lnTo>
                  <a:lnTo>
                    <a:pt x="5967616" y="49045"/>
                  </a:lnTo>
                  <a:lnTo>
                    <a:pt x="5955502" y="68903"/>
                  </a:lnTo>
                  <a:lnTo>
                    <a:pt x="5943946" y="92618"/>
                  </a:lnTo>
                  <a:lnTo>
                    <a:pt x="5932253" y="117052"/>
                  </a:lnTo>
                  <a:lnTo>
                    <a:pt x="5920567" y="141494"/>
                  </a:lnTo>
                  <a:lnTo>
                    <a:pt x="5907846" y="166850"/>
                  </a:lnTo>
                  <a:lnTo>
                    <a:pt x="5894169" y="189148"/>
                  </a:lnTo>
                  <a:lnTo>
                    <a:pt x="5880489" y="211438"/>
                  </a:lnTo>
                  <a:lnTo>
                    <a:pt x="5866009" y="231494"/>
                  </a:lnTo>
                  <a:lnTo>
                    <a:pt x="5847924" y="244914"/>
                  </a:lnTo>
                  <a:lnTo>
                    <a:pt x="5812794" y="230597"/>
                  </a:lnTo>
                  <a:lnTo>
                    <a:pt x="5796234" y="213629"/>
                  </a:lnTo>
                  <a:lnTo>
                    <a:pt x="5779674" y="196659"/>
                  </a:lnTo>
                  <a:lnTo>
                    <a:pt x="5762620" y="175529"/>
                  </a:lnTo>
                  <a:lnTo>
                    <a:pt x="5745908" y="153780"/>
                  </a:lnTo>
                  <a:lnTo>
                    <a:pt x="5729196" y="132029"/>
                  </a:lnTo>
                  <a:lnTo>
                    <a:pt x="5712782" y="109745"/>
                  </a:lnTo>
                  <a:lnTo>
                    <a:pt x="5694218" y="93931"/>
                  </a:lnTo>
                  <a:lnTo>
                    <a:pt x="5675652" y="78122"/>
                  </a:lnTo>
                  <a:lnTo>
                    <a:pt x="5655123" y="68580"/>
                  </a:lnTo>
                  <a:lnTo>
                    <a:pt x="5633010" y="69450"/>
                  </a:lnTo>
                  <a:lnTo>
                    <a:pt x="5609889" y="74885"/>
                  </a:lnTo>
                  <a:lnTo>
                    <a:pt x="5585400" y="88491"/>
                  </a:lnTo>
                  <a:lnTo>
                    <a:pt x="5562279" y="103454"/>
                  </a:lnTo>
                  <a:lnTo>
                    <a:pt x="5541874" y="115694"/>
                  </a:lnTo>
                  <a:lnTo>
                    <a:pt x="5518021" y="119176"/>
                  </a:lnTo>
                  <a:lnTo>
                    <a:pt x="5493145" y="110953"/>
                  </a:lnTo>
                  <a:lnTo>
                    <a:pt x="5469786" y="114329"/>
                  </a:lnTo>
                  <a:lnTo>
                    <a:pt x="5460071" y="136686"/>
                  </a:lnTo>
                  <a:lnTo>
                    <a:pt x="5425556" y="147382"/>
                  </a:lnTo>
                  <a:lnTo>
                    <a:pt x="5409938" y="170095"/>
                  </a:lnTo>
                  <a:lnTo>
                    <a:pt x="5380048" y="171421"/>
                  </a:lnTo>
                  <a:lnTo>
                    <a:pt x="5344615" y="187816"/>
                  </a:lnTo>
                  <a:lnTo>
                    <a:pt x="5324988" y="200597"/>
                  </a:lnTo>
                  <a:lnTo>
                    <a:pt x="5306561" y="212263"/>
                  </a:lnTo>
                  <a:lnTo>
                    <a:pt x="5269717" y="235596"/>
                  </a:lnTo>
                  <a:lnTo>
                    <a:pt x="5235831" y="258170"/>
                  </a:lnTo>
                  <a:lnTo>
                    <a:pt x="5198596" y="239593"/>
                  </a:lnTo>
                  <a:lnTo>
                    <a:pt x="5195154" y="209717"/>
                  </a:lnTo>
                  <a:lnTo>
                    <a:pt x="5174625" y="200023"/>
                  </a:lnTo>
                  <a:lnTo>
                    <a:pt x="5154010" y="193818"/>
                  </a:lnTo>
                  <a:lnTo>
                    <a:pt x="5124300" y="216345"/>
                  </a:lnTo>
                  <a:lnTo>
                    <a:pt x="5092717" y="239995"/>
                  </a:lnTo>
                  <a:lnTo>
                    <a:pt x="5082448" y="259370"/>
                  </a:lnTo>
                  <a:lnTo>
                    <a:pt x="5084848" y="280276"/>
                  </a:lnTo>
                  <a:lnTo>
                    <a:pt x="5087248" y="301175"/>
                  </a:lnTo>
                  <a:lnTo>
                    <a:pt x="5101935" y="323909"/>
                  </a:lnTo>
                  <a:lnTo>
                    <a:pt x="5122935" y="352365"/>
                  </a:lnTo>
                  <a:lnTo>
                    <a:pt x="5173267" y="420371"/>
                  </a:lnTo>
                  <a:lnTo>
                    <a:pt x="5198097" y="454039"/>
                  </a:lnTo>
                  <a:lnTo>
                    <a:pt x="5211848" y="479845"/>
                  </a:lnTo>
                  <a:lnTo>
                    <a:pt x="5212710" y="504707"/>
                  </a:lnTo>
                  <a:lnTo>
                    <a:pt x="5213575" y="529571"/>
                  </a:lnTo>
                  <a:lnTo>
                    <a:pt x="5201724" y="554248"/>
                  </a:lnTo>
                  <a:lnTo>
                    <a:pt x="5177341" y="589037"/>
                  </a:lnTo>
                  <a:lnTo>
                    <a:pt x="5161144" y="603954"/>
                  </a:lnTo>
                  <a:lnTo>
                    <a:pt x="5155479" y="633757"/>
                  </a:lnTo>
                  <a:lnTo>
                    <a:pt x="5163869" y="683061"/>
                  </a:lnTo>
                  <a:lnTo>
                    <a:pt x="5156943" y="714175"/>
                  </a:lnTo>
                  <a:lnTo>
                    <a:pt x="5109525" y="720427"/>
                  </a:lnTo>
                  <a:lnTo>
                    <a:pt x="5086721" y="682982"/>
                  </a:lnTo>
                  <a:lnTo>
                    <a:pt x="5054927" y="684254"/>
                  </a:lnTo>
                  <a:lnTo>
                    <a:pt x="4974780" y="712817"/>
                  </a:lnTo>
                  <a:lnTo>
                    <a:pt x="4931149" y="716899"/>
                  </a:lnTo>
                  <a:lnTo>
                    <a:pt x="4848493" y="724674"/>
                  </a:lnTo>
                  <a:lnTo>
                    <a:pt x="4762635" y="719702"/>
                  </a:lnTo>
                  <a:lnTo>
                    <a:pt x="4679511" y="718257"/>
                  </a:lnTo>
                  <a:lnTo>
                    <a:pt x="4655758" y="717862"/>
                  </a:lnTo>
                  <a:lnTo>
                    <a:pt x="4621571" y="717288"/>
                  </a:lnTo>
                  <a:lnTo>
                    <a:pt x="4588379" y="714181"/>
                  </a:lnTo>
                  <a:lnTo>
                    <a:pt x="4555184" y="711068"/>
                  </a:lnTo>
                  <a:lnTo>
                    <a:pt x="4522916" y="705681"/>
                  </a:lnTo>
                  <a:lnTo>
                    <a:pt x="4501324" y="695136"/>
                  </a:lnTo>
                  <a:lnTo>
                    <a:pt x="4475223" y="682427"/>
                  </a:lnTo>
                  <a:lnTo>
                    <a:pt x="4448684" y="662960"/>
                  </a:lnTo>
                  <a:lnTo>
                    <a:pt x="4423795" y="647533"/>
                  </a:lnTo>
                  <a:lnTo>
                    <a:pt x="4393530" y="628830"/>
                  </a:lnTo>
                  <a:lnTo>
                    <a:pt x="4363650" y="612462"/>
                  </a:lnTo>
                  <a:lnTo>
                    <a:pt x="4342183" y="583602"/>
                  </a:lnTo>
                  <a:lnTo>
                    <a:pt x="4328071" y="565328"/>
                  </a:lnTo>
                  <a:lnTo>
                    <a:pt x="4295933" y="561839"/>
                  </a:lnTo>
                  <a:lnTo>
                    <a:pt x="4278319" y="590000"/>
                  </a:lnTo>
                  <a:lnTo>
                    <a:pt x="4254742" y="610595"/>
                  </a:lnTo>
                  <a:lnTo>
                    <a:pt x="4227926" y="627129"/>
                  </a:lnTo>
                  <a:lnTo>
                    <a:pt x="4201111" y="643655"/>
                  </a:lnTo>
                  <a:lnTo>
                    <a:pt x="4171718" y="655816"/>
                  </a:lnTo>
                  <a:lnTo>
                    <a:pt x="4140874" y="665214"/>
                  </a:lnTo>
                  <a:lnTo>
                    <a:pt x="4099682" y="668485"/>
                  </a:lnTo>
                  <a:lnTo>
                    <a:pt x="4068666" y="679710"/>
                  </a:lnTo>
                  <a:lnTo>
                    <a:pt x="4052463" y="699218"/>
                  </a:lnTo>
                  <a:lnTo>
                    <a:pt x="4030917" y="718705"/>
                  </a:lnTo>
                  <a:lnTo>
                    <a:pt x="3989831" y="725908"/>
                  </a:lnTo>
                  <a:lnTo>
                    <a:pt x="3890570" y="732073"/>
                  </a:lnTo>
                  <a:lnTo>
                    <a:pt x="3826370" y="727108"/>
                  </a:lnTo>
                  <a:lnTo>
                    <a:pt x="3779737" y="716384"/>
                  </a:lnTo>
                  <a:lnTo>
                    <a:pt x="3735532" y="720981"/>
                  </a:lnTo>
                  <a:lnTo>
                    <a:pt x="3711908" y="723441"/>
                  </a:lnTo>
                  <a:lnTo>
                    <a:pt x="3689769" y="727596"/>
                  </a:lnTo>
                  <a:lnTo>
                    <a:pt x="3667525" y="731862"/>
                  </a:lnTo>
                  <a:lnTo>
                    <a:pt x="3645280" y="736136"/>
                  </a:lnTo>
                  <a:lnTo>
                    <a:pt x="3622805" y="739302"/>
                  </a:lnTo>
                  <a:lnTo>
                    <a:pt x="3598153" y="737304"/>
                  </a:lnTo>
                  <a:lnTo>
                    <a:pt x="3568792" y="709037"/>
                  </a:lnTo>
                  <a:lnTo>
                    <a:pt x="3528952" y="691145"/>
                  </a:lnTo>
                  <a:lnTo>
                    <a:pt x="3487978" y="676095"/>
                  </a:lnTo>
                  <a:lnTo>
                    <a:pt x="3447004" y="661040"/>
                  </a:lnTo>
                  <a:lnTo>
                    <a:pt x="3404718" y="649123"/>
                  </a:lnTo>
                  <a:lnTo>
                    <a:pt x="3368281" y="633929"/>
                  </a:lnTo>
                  <a:lnTo>
                    <a:pt x="3336269" y="620579"/>
                  </a:lnTo>
                  <a:lnTo>
                    <a:pt x="3317948" y="598567"/>
                  </a:lnTo>
                  <a:lnTo>
                    <a:pt x="3308590" y="576672"/>
                  </a:lnTo>
                  <a:lnTo>
                    <a:pt x="3267622" y="546875"/>
                  </a:lnTo>
                  <a:lnTo>
                    <a:pt x="3243143" y="530554"/>
                  </a:lnTo>
                  <a:lnTo>
                    <a:pt x="3217118" y="514020"/>
                  </a:lnTo>
                  <a:lnTo>
                    <a:pt x="3192889" y="494373"/>
                  </a:lnTo>
                  <a:lnTo>
                    <a:pt x="3171047" y="472063"/>
                  </a:lnTo>
                  <a:lnTo>
                    <a:pt x="3149211" y="449759"/>
                  </a:lnTo>
                  <a:lnTo>
                    <a:pt x="3129618" y="424309"/>
                  </a:lnTo>
                  <a:lnTo>
                    <a:pt x="3112564" y="398616"/>
                  </a:lnTo>
                  <a:lnTo>
                    <a:pt x="3058162" y="408699"/>
                  </a:lnTo>
                  <a:lnTo>
                    <a:pt x="3014628" y="425819"/>
                  </a:lnTo>
                  <a:lnTo>
                    <a:pt x="2971090" y="442939"/>
                  </a:lnTo>
                  <a:lnTo>
                    <a:pt x="2926297" y="463502"/>
                  </a:lnTo>
                  <a:lnTo>
                    <a:pt x="2900807" y="482905"/>
                  </a:lnTo>
                  <a:lnTo>
                    <a:pt x="2901731" y="523754"/>
                  </a:lnTo>
                  <a:lnTo>
                    <a:pt x="2903722" y="545933"/>
                  </a:lnTo>
                  <a:lnTo>
                    <a:pt x="2909948" y="571198"/>
                  </a:lnTo>
                  <a:lnTo>
                    <a:pt x="2916695" y="597201"/>
                  </a:lnTo>
                  <a:lnTo>
                    <a:pt x="2923442" y="623212"/>
                  </a:lnTo>
                  <a:lnTo>
                    <a:pt x="2930564" y="649697"/>
                  </a:lnTo>
                  <a:lnTo>
                    <a:pt x="2934376" y="673373"/>
                  </a:lnTo>
                  <a:lnTo>
                    <a:pt x="2938188" y="697055"/>
                  </a:lnTo>
                  <a:lnTo>
                    <a:pt x="2938464" y="718026"/>
                  </a:lnTo>
                  <a:lnTo>
                    <a:pt x="2892583" y="773858"/>
                  </a:lnTo>
                  <a:lnTo>
                    <a:pt x="2859253" y="787530"/>
                  </a:lnTo>
                  <a:lnTo>
                    <a:pt x="2825567" y="808033"/>
                  </a:lnTo>
                  <a:lnTo>
                    <a:pt x="2791992" y="830562"/>
                  </a:lnTo>
                  <a:lnTo>
                    <a:pt x="2773876" y="848843"/>
                  </a:lnTo>
                  <a:lnTo>
                    <a:pt x="2755759" y="867118"/>
                  </a:lnTo>
                  <a:lnTo>
                    <a:pt x="2736521" y="891353"/>
                  </a:lnTo>
                  <a:lnTo>
                    <a:pt x="2715385" y="926373"/>
                  </a:lnTo>
                  <a:lnTo>
                    <a:pt x="2697177" y="954368"/>
                  </a:lnTo>
                  <a:lnTo>
                    <a:pt x="2685464" y="973981"/>
                  </a:lnTo>
                  <a:lnTo>
                    <a:pt x="2673752" y="993587"/>
                  </a:lnTo>
                  <a:lnTo>
                    <a:pt x="2663668" y="1013873"/>
                  </a:lnTo>
                  <a:lnTo>
                    <a:pt x="2642848" y="1037140"/>
                  </a:lnTo>
                  <a:lnTo>
                    <a:pt x="2565397" y="1064774"/>
                  </a:lnTo>
                  <a:lnTo>
                    <a:pt x="2490955" y="1088231"/>
                  </a:lnTo>
                  <a:lnTo>
                    <a:pt x="2453732" y="1099964"/>
                  </a:lnTo>
                  <a:lnTo>
                    <a:pt x="2417969" y="1110574"/>
                  </a:lnTo>
                  <a:lnTo>
                    <a:pt x="2388938" y="1118158"/>
                  </a:lnTo>
                  <a:lnTo>
                    <a:pt x="2356385" y="1126040"/>
                  </a:lnTo>
                  <a:lnTo>
                    <a:pt x="2343947" y="1149538"/>
                  </a:lnTo>
                  <a:lnTo>
                    <a:pt x="2367175" y="1180725"/>
                  </a:lnTo>
                  <a:lnTo>
                    <a:pt x="2390065" y="1211035"/>
                  </a:lnTo>
                  <a:lnTo>
                    <a:pt x="2407134" y="1245084"/>
                  </a:lnTo>
                  <a:lnTo>
                    <a:pt x="2433830" y="1273225"/>
                  </a:lnTo>
                  <a:lnTo>
                    <a:pt x="2472824" y="1314371"/>
                  </a:lnTo>
                  <a:lnTo>
                    <a:pt x="2521944" y="1349053"/>
                  </a:lnTo>
                  <a:lnTo>
                    <a:pt x="2560326" y="1390199"/>
                  </a:lnTo>
                  <a:lnTo>
                    <a:pt x="2605765" y="1438909"/>
                  </a:lnTo>
                  <a:lnTo>
                    <a:pt x="2652161" y="1507350"/>
                  </a:lnTo>
                  <a:lnTo>
                    <a:pt x="2722192" y="1524860"/>
                  </a:lnTo>
                  <a:lnTo>
                    <a:pt x="2753919" y="1532807"/>
                  </a:lnTo>
                  <a:lnTo>
                    <a:pt x="2789176" y="1533533"/>
                  </a:lnTo>
                  <a:lnTo>
                    <a:pt x="2821484" y="1535742"/>
                  </a:lnTo>
                  <a:lnTo>
                    <a:pt x="2867985" y="1538973"/>
                  </a:lnTo>
                  <a:lnTo>
                    <a:pt x="2916762" y="1525118"/>
                  </a:lnTo>
                  <a:lnTo>
                    <a:pt x="2946622" y="1486774"/>
                  </a:lnTo>
                  <a:lnTo>
                    <a:pt x="2984412" y="1438190"/>
                  </a:lnTo>
                  <a:lnTo>
                    <a:pt x="2982644" y="1384672"/>
                  </a:lnTo>
                  <a:lnTo>
                    <a:pt x="2996949" y="1328992"/>
                  </a:lnTo>
                  <a:lnTo>
                    <a:pt x="3005001" y="1297659"/>
                  </a:lnTo>
                  <a:lnTo>
                    <a:pt x="3039115" y="1270501"/>
                  </a:lnTo>
                  <a:lnTo>
                    <a:pt x="3065087" y="1261447"/>
                  </a:lnTo>
                  <a:lnTo>
                    <a:pt x="3124829" y="1247208"/>
                  </a:lnTo>
                  <a:lnTo>
                    <a:pt x="3186460" y="1241002"/>
                  </a:lnTo>
                  <a:lnTo>
                    <a:pt x="3233626" y="1247380"/>
                  </a:lnTo>
                  <a:lnTo>
                    <a:pt x="3267906" y="1263022"/>
                  </a:lnTo>
                  <a:lnTo>
                    <a:pt x="3291074" y="1287845"/>
                  </a:lnTo>
                  <a:lnTo>
                    <a:pt x="3384096" y="1439759"/>
                  </a:lnTo>
                  <a:lnTo>
                    <a:pt x="3397866" y="1514743"/>
                  </a:lnTo>
                  <a:lnTo>
                    <a:pt x="3403650" y="1679880"/>
                  </a:lnTo>
                  <a:lnTo>
                    <a:pt x="3434928" y="1731611"/>
                  </a:lnTo>
                  <a:lnTo>
                    <a:pt x="3486660" y="1817219"/>
                  </a:lnTo>
                  <a:lnTo>
                    <a:pt x="3605064" y="1788189"/>
                  </a:lnTo>
                  <a:lnTo>
                    <a:pt x="3651202" y="1822745"/>
                  </a:lnTo>
                  <a:lnTo>
                    <a:pt x="3656650" y="1858107"/>
                  </a:lnTo>
                  <a:lnTo>
                    <a:pt x="3631338" y="1880042"/>
                  </a:lnTo>
                  <a:lnTo>
                    <a:pt x="3591803" y="1960545"/>
                  </a:lnTo>
                  <a:lnTo>
                    <a:pt x="3568238" y="1992768"/>
                  </a:lnTo>
                  <a:lnTo>
                    <a:pt x="3548236" y="2020097"/>
                  </a:lnTo>
                  <a:lnTo>
                    <a:pt x="3517609" y="2041393"/>
                  </a:lnTo>
                  <a:lnTo>
                    <a:pt x="3497501" y="2067581"/>
                  </a:lnTo>
                  <a:lnTo>
                    <a:pt x="3459778" y="2116674"/>
                  </a:lnTo>
                  <a:lnTo>
                    <a:pt x="3416252" y="2206020"/>
                  </a:lnTo>
                  <a:lnTo>
                    <a:pt x="3440376" y="2267525"/>
                  </a:lnTo>
                  <a:lnTo>
                    <a:pt x="3463564" y="2299833"/>
                  </a:lnTo>
                  <a:lnTo>
                    <a:pt x="3579944" y="2301917"/>
                  </a:lnTo>
                  <a:lnTo>
                    <a:pt x="3628087" y="2335538"/>
                  </a:lnTo>
                  <a:lnTo>
                    <a:pt x="3676817" y="2348801"/>
                  </a:lnTo>
                  <a:lnTo>
                    <a:pt x="3666680" y="2462036"/>
                  </a:lnTo>
                  <a:lnTo>
                    <a:pt x="3618564" y="2491963"/>
                  </a:lnTo>
                  <a:lnTo>
                    <a:pt x="3592210" y="2521283"/>
                  </a:lnTo>
                  <a:lnTo>
                    <a:pt x="3562758" y="2539519"/>
                  </a:lnTo>
                  <a:lnTo>
                    <a:pt x="3538317" y="2562687"/>
                  </a:lnTo>
                  <a:lnTo>
                    <a:pt x="3464117" y="2632949"/>
                  </a:lnTo>
                  <a:lnTo>
                    <a:pt x="3485564" y="2736746"/>
                  </a:lnTo>
                  <a:lnTo>
                    <a:pt x="3496149" y="2825203"/>
                  </a:lnTo>
                  <a:lnTo>
                    <a:pt x="3504459" y="2850962"/>
                  </a:lnTo>
                  <a:lnTo>
                    <a:pt x="3511668" y="2924457"/>
                  </a:lnTo>
                  <a:lnTo>
                    <a:pt x="3474346" y="3160575"/>
                  </a:lnTo>
                  <a:lnTo>
                    <a:pt x="3451264" y="3218306"/>
                  </a:lnTo>
                  <a:lnTo>
                    <a:pt x="3430161" y="3271092"/>
                  </a:lnTo>
                  <a:lnTo>
                    <a:pt x="3371413" y="3308372"/>
                  </a:lnTo>
                  <a:lnTo>
                    <a:pt x="3343807" y="3359759"/>
                  </a:lnTo>
                  <a:lnTo>
                    <a:pt x="3322934" y="3362773"/>
                  </a:lnTo>
                  <a:lnTo>
                    <a:pt x="3298349" y="3405119"/>
                  </a:lnTo>
                  <a:lnTo>
                    <a:pt x="3270188" y="3452082"/>
                  </a:lnTo>
                  <a:lnTo>
                    <a:pt x="3223048" y="3523881"/>
                  </a:lnTo>
                  <a:lnTo>
                    <a:pt x="3217311" y="3554270"/>
                  </a:lnTo>
                  <a:lnTo>
                    <a:pt x="3210254" y="3591630"/>
                  </a:lnTo>
                  <a:lnTo>
                    <a:pt x="3259155" y="3767734"/>
                  </a:lnTo>
                  <a:lnTo>
                    <a:pt x="3278518" y="3804546"/>
                  </a:lnTo>
                  <a:lnTo>
                    <a:pt x="3305952" y="3850619"/>
                  </a:lnTo>
                  <a:lnTo>
                    <a:pt x="3358573" y="3919013"/>
                  </a:lnTo>
                  <a:lnTo>
                    <a:pt x="3371011" y="3963687"/>
                  </a:lnTo>
                  <a:lnTo>
                    <a:pt x="3385995" y="4017457"/>
                  </a:lnTo>
                  <a:lnTo>
                    <a:pt x="3388119" y="4106125"/>
                  </a:lnTo>
                  <a:lnTo>
                    <a:pt x="3429495" y="4144594"/>
                  </a:lnTo>
                  <a:lnTo>
                    <a:pt x="3458742" y="4161938"/>
                  </a:lnTo>
                  <a:lnTo>
                    <a:pt x="3481865" y="4146801"/>
                  </a:lnTo>
                  <a:lnTo>
                    <a:pt x="3504307" y="4136430"/>
                  </a:lnTo>
                  <a:lnTo>
                    <a:pt x="3522734" y="4111864"/>
                  </a:lnTo>
                  <a:lnTo>
                    <a:pt x="3527284" y="4077562"/>
                  </a:lnTo>
                  <a:lnTo>
                    <a:pt x="3547833" y="4053458"/>
                  </a:lnTo>
                  <a:lnTo>
                    <a:pt x="3583307" y="4026381"/>
                  </a:lnTo>
                  <a:lnTo>
                    <a:pt x="3661662" y="4020688"/>
                  </a:lnTo>
                  <a:lnTo>
                    <a:pt x="3665876" y="4128483"/>
                  </a:lnTo>
                  <a:lnTo>
                    <a:pt x="3677055" y="4166357"/>
                  </a:lnTo>
                  <a:lnTo>
                    <a:pt x="3712673" y="4203421"/>
                  </a:lnTo>
                  <a:lnTo>
                    <a:pt x="3761832" y="4196411"/>
                  </a:lnTo>
                  <a:lnTo>
                    <a:pt x="3806275" y="4216682"/>
                  </a:lnTo>
                  <a:lnTo>
                    <a:pt x="3844124" y="4267476"/>
                  </a:lnTo>
                  <a:lnTo>
                    <a:pt x="3840766" y="4290519"/>
                  </a:lnTo>
                  <a:lnTo>
                    <a:pt x="3862042" y="4344538"/>
                  </a:lnTo>
                  <a:lnTo>
                    <a:pt x="3874281" y="4373107"/>
                  </a:lnTo>
                  <a:lnTo>
                    <a:pt x="3882313" y="4394355"/>
                  </a:lnTo>
                  <a:lnTo>
                    <a:pt x="3872072" y="4428536"/>
                  </a:lnTo>
                  <a:lnTo>
                    <a:pt x="3887881" y="4446560"/>
                  </a:lnTo>
                  <a:lnTo>
                    <a:pt x="3924587" y="4457520"/>
                  </a:lnTo>
                  <a:lnTo>
                    <a:pt x="3992172" y="4427382"/>
                  </a:lnTo>
                  <a:lnTo>
                    <a:pt x="4014383" y="4447918"/>
                  </a:lnTo>
                  <a:lnTo>
                    <a:pt x="4035250" y="4476989"/>
                  </a:lnTo>
                  <a:lnTo>
                    <a:pt x="4149916" y="4625039"/>
                  </a:lnTo>
                  <a:lnTo>
                    <a:pt x="4063093" y="4621002"/>
                  </a:lnTo>
                  <a:lnTo>
                    <a:pt x="4082390" y="4726756"/>
                  </a:lnTo>
                  <a:lnTo>
                    <a:pt x="4089578" y="4766078"/>
                  </a:lnTo>
                  <a:lnTo>
                    <a:pt x="4181004" y="4900178"/>
                  </a:lnTo>
                  <a:lnTo>
                    <a:pt x="4215693" y="4921262"/>
                  </a:lnTo>
                  <a:lnTo>
                    <a:pt x="4248634" y="4941243"/>
                  </a:lnTo>
                  <a:lnTo>
                    <a:pt x="4273609" y="4926747"/>
                  </a:lnTo>
                  <a:lnTo>
                    <a:pt x="4306829" y="4923979"/>
                  </a:lnTo>
                  <a:lnTo>
                    <a:pt x="4342850" y="4921005"/>
                  </a:lnTo>
                  <a:lnTo>
                    <a:pt x="4409134" y="4918590"/>
                  </a:lnTo>
                  <a:lnTo>
                    <a:pt x="4434683" y="4889974"/>
                  </a:lnTo>
                  <a:lnTo>
                    <a:pt x="4492810" y="4824812"/>
                  </a:lnTo>
                  <a:lnTo>
                    <a:pt x="4448262" y="4650113"/>
                  </a:lnTo>
                  <a:lnTo>
                    <a:pt x="4509497" y="4622019"/>
                  </a:lnTo>
                  <a:lnTo>
                    <a:pt x="4558226" y="4609309"/>
                  </a:lnTo>
                  <a:lnTo>
                    <a:pt x="4693994" y="4615898"/>
                  </a:lnTo>
                  <a:lnTo>
                    <a:pt x="4732569" y="4643782"/>
                  </a:lnTo>
                  <a:lnTo>
                    <a:pt x="4812948" y="4701890"/>
                  </a:lnTo>
                  <a:lnTo>
                    <a:pt x="4925778" y="5078617"/>
                  </a:lnTo>
                  <a:lnTo>
                    <a:pt x="4816898" y="5121213"/>
                  </a:lnTo>
                  <a:lnTo>
                    <a:pt x="4787399" y="5131414"/>
                  </a:lnTo>
                  <a:lnTo>
                    <a:pt x="4752419" y="5137364"/>
                  </a:lnTo>
                  <a:lnTo>
                    <a:pt x="4732569" y="5159297"/>
                  </a:lnTo>
                  <a:lnTo>
                    <a:pt x="4684069" y="5212810"/>
                  </a:lnTo>
                  <a:lnTo>
                    <a:pt x="4721258" y="5266203"/>
                  </a:lnTo>
                  <a:lnTo>
                    <a:pt x="4729852" y="5321157"/>
                  </a:lnTo>
                  <a:lnTo>
                    <a:pt x="4736209" y="5361753"/>
                  </a:lnTo>
                  <a:lnTo>
                    <a:pt x="4734652" y="5402774"/>
                  </a:lnTo>
                  <a:lnTo>
                    <a:pt x="4736652" y="5443578"/>
                  </a:lnTo>
                  <a:lnTo>
                    <a:pt x="4739585" y="5503512"/>
                  </a:lnTo>
                  <a:lnTo>
                    <a:pt x="4752505" y="5567483"/>
                  </a:lnTo>
                  <a:lnTo>
                    <a:pt x="4765215" y="5625843"/>
                  </a:lnTo>
                  <a:lnTo>
                    <a:pt x="4766842" y="5666144"/>
                  </a:lnTo>
                  <a:lnTo>
                    <a:pt x="4762706" y="5691473"/>
                  </a:lnTo>
                  <a:lnTo>
                    <a:pt x="4752149" y="5715533"/>
                  </a:lnTo>
                  <a:lnTo>
                    <a:pt x="4670148" y="5777037"/>
                  </a:lnTo>
                  <a:lnTo>
                    <a:pt x="4586813" y="5767896"/>
                  </a:lnTo>
                  <a:lnTo>
                    <a:pt x="4510861" y="5780906"/>
                  </a:lnTo>
                  <a:lnTo>
                    <a:pt x="4495904" y="5813599"/>
                  </a:lnTo>
                  <a:lnTo>
                    <a:pt x="4510861" y="5847556"/>
                  </a:lnTo>
                  <a:lnTo>
                    <a:pt x="4539675" y="5915695"/>
                  </a:lnTo>
                  <a:lnTo>
                    <a:pt x="4592745" y="5969977"/>
                  </a:lnTo>
                  <a:lnTo>
                    <a:pt x="4618312" y="6040707"/>
                  </a:lnTo>
                  <a:lnTo>
                    <a:pt x="4622290" y="6064765"/>
                  </a:lnTo>
                  <a:lnTo>
                    <a:pt x="4643585" y="6082109"/>
                  </a:lnTo>
                  <a:lnTo>
                    <a:pt x="4664560" y="6080156"/>
                  </a:lnTo>
                  <a:lnTo>
                    <a:pt x="4699349" y="6030339"/>
                  </a:lnTo>
                  <a:lnTo>
                    <a:pt x="4682367" y="5952381"/>
                  </a:lnTo>
                  <a:lnTo>
                    <a:pt x="4752974" y="5918293"/>
                  </a:lnTo>
                  <a:lnTo>
                    <a:pt x="4799244" y="5895975"/>
                  </a:lnTo>
                  <a:lnTo>
                    <a:pt x="4875177" y="5935973"/>
                  </a:lnTo>
                  <a:lnTo>
                    <a:pt x="4899873" y="5976782"/>
                  </a:lnTo>
                  <a:lnTo>
                    <a:pt x="4944633" y="6176984"/>
                  </a:lnTo>
                  <a:lnTo>
                    <a:pt x="4932097" y="6260892"/>
                  </a:lnTo>
                  <a:lnTo>
                    <a:pt x="4877412" y="6245169"/>
                  </a:lnTo>
                  <a:lnTo>
                    <a:pt x="4845467" y="6288267"/>
                  </a:lnTo>
                  <a:lnTo>
                    <a:pt x="4823980" y="6317258"/>
                  </a:lnTo>
                  <a:lnTo>
                    <a:pt x="4821838" y="6397380"/>
                  </a:lnTo>
                  <a:lnTo>
                    <a:pt x="4816904" y="6435167"/>
                  </a:lnTo>
                  <a:lnTo>
                    <a:pt x="4819469" y="6469897"/>
                  </a:lnTo>
                  <a:lnTo>
                    <a:pt x="4814074" y="6527109"/>
                  </a:lnTo>
                  <a:lnTo>
                    <a:pt x="4753739" y="6709628"/>
                  </a:lnTo>
                  <a:lnTo>
                    <a:pt x="4773378" y="6735769"/>
                  </a:lnTo>
                  <a:lnTo>
                    <a:pt x="4807144" y="6757321"/>
                  </a:lnTo>
                  <a:lnTo>
                    <a:pt x="4882702" y="6721490"/>
                  </a:lnTo>
                  <a:lnTo>
                    <a:pt x="4931155" y="6741210"/>
                  </a:lnTo>
                  <a:lnTo>
                    <a:pt x="4961063" y="6753371"/>
                  </a:lnTo>
                  <a:lnTo>
                    <a:pt x="5032088" y="6867965"/>
                  </a:lnTo>
                  <a:lnTo>
                    <a:pt x="5098459" y="6890835"/>
                  </a:lnTo>
                  <a:lnTo>
                    <a:pt x="5151383" y="6909110"/>
                  </a:lnTo>
                  <a:lnTo>
                    <a:pt x="5210040" y="6878120"/>
                  </a:lnTo>
                  <a:lnTo>
                    <a:pt x="5263042" y="6900351"/>
                  </a:lnTo>
                  <a:lnTo>
                    <a:pt x="5348928" y="6936315"/>
                  </a:lnTo>
                  <a:lnTo>
                    <a:pt x="5342193" y="7090786"/>
                  </a:lnTo>
                  <a:lnTo>
                    <a:pt x="5407228" y="7131589"/>
                  </a:lnTo>
                  <a:lnTo>
                    <a:pt x="5426886" y="7143961"/>
                  </a:lnTo>
                  <a:lnTo>
                    <a:pt x="5451774" y="7143831"/>
                  </a:lnTo>
                  <a:lnTo>
                    <a:pt x="5473875" y="7146553"/>
                  </a:lnTo>
                  <a:lnTo>
                    <a:pt x="5499126" y="7149567"/>
                  </a:lnTo>
                  <a:lnTo>
                    <a:pt x="5528942" y="7155734"/>
                  </a:lnTo>
                  <a:lnTo>
                    <a:pt x="5554128" y="7154711"/>
                  </a:lnTo>
                  <a:lnTo>
                    <a:pt x="5693744" y="7149396"/>
                  </a:lnTo>
                  <a:lnTo>
                    <a:pt x="5791850" y="7094693"/>
                  </a:lnTo>
                  <a:lnTo>
                    <a:pt x="5880576" y="7252646"/>
                  </a:lnTo>
                  <a:lnTo>
                    <a:pt x="5913452" y="7311222"/>
                  </a:lnTo>
                  <a:lnTo>
                    <a:pt x="5916326" y="7360484"/>
                  </a:lnTo>
                  <a:lnTo>
                    <a:pt x="5941785" y="7413154"/>
                  </a:lnTo>
                  <a:lnTo>
                    <a:pt x="5977107" y="7421184"/>
                  </a:lnTo>
                  <a:lnTo>
                    <a:pt x="5997043" y="7372812"/>
                  </a:lnTo>
                  <a:lnTo>
                    <a:pt x="6030195" y="7370986"/>
                  </a:lnTo>
                  <a:lnTo>
                    <a:pt x="6051555" y="7372555"/>
                  </a:lnTo>
                  <a:lnTo>
                    <a:pt x="6075107" y="7395552"/>
                  </a:lnTo>
                  <a:lnTo>
                    <a:pt x="6094681" y="7449279"/>
                  </a:lnTo>
                  <a:lnTo>
                    <a:pt x="6072468" y="7489106"/>
                  </a:lnTo>
                  <a:lnTo>
                    <a:pt x="6071005" y="7524685"/>
                  </a:lnTo>
                  <a:lnTo>
                    <a:pt x="6068899" y="7576589"/>
                  </a:lnTo>
                  <a:lnTo>
                    <a:pt x="6117017" y="7637965"/>
                  </a:lnTo>
                  <a:lnTo>
                    <a:pt x="6137652" y="7683826"/>
                  </a:lnTo>
                  <a:lnTo>
                    <a:pt x="6158209" y="7745589"/>
                  </a:lnTo>
                  <a:lnTo>
                    <a:pt x="6161672" y="7782440"/>
                  </a:lnTo>
                  <a:lnTo>
                    <a:pt x="6167303" y="7809948"/>
                  </a:lnTo>
                  <a:lnTo>
                    <a:pt x="6166214" y="7832092"/>
                  </a:lnTo>
                  <a:lnTo>
                    <a:pt x="6163734" y="7882973"/>
                  </a:lnTo>
                  <a:lnTo>
                    <a:pt x="6136064" y="7935937"/>
                  </a:lnTo>
                  <a:lnTo>
                    <a:pt x="6139010" y="7988511"/>
                  </a:lnTo>
                  <a:lnTo>
                    <a:pt x="6141199" y="8027705"/>
                  </a:lnTo>
                  <a:lnTo>
                    <a:pt x="6138886" y="8092824"/>
                  </a:lnTo>
                  <a:lnTo>
                    <a:pt x="6132210" y="8132694"/>
                  </a:lnTo>
                  <a:lnTo>
                    <a:pt x="6134709" y="8161806"/>
                  </a:lnTo>
                  <a:lnTo>
                    <a:pt x="6127745" y="8232880"/>
                  </a:lnTo>
                  <a:lnTo>
                    <a:pt x="6073318" y="8270537"/>
                  </a:lnTo>
                  <a:lnTo>
                    <a:pt x="6080527" y="8344880"/>
                  </a:lnTo>
                  <a:lnTo>
                    <a:pt x="6088408" y="8425945"/>
                  </a:lnTo>
                  <a:lnTo>
                    <a:pt x="6105626" y="8491829"/>
                  </a:lnTo>
                  <a:lnTo>
                    <a:pt x="6137652" y="8566593"/>
                  </a:lnTo>
                  <a:lnTo>
                    <a:pt x="6154910" y="8598133"/>
                  </a:lnTo>
                  <a:lnTo>
                    <a:pt x="6150110" y="8631290"/>
                  </a:lnTo>
                  <a:lnTo>
                    <a:pt x="6152615" y="8668612"/>
                  </a:lnTo>
                  <a:lnTo>
                    <a:pt x="6137891" y="8774280"/>
                  </a:lnTo>
                  <a:lnTo>
                    <a:pt x="6059951" y="8736874"/>
                  </a:lnTo>
                  <a:lnTo>
                    <a:pt x="5985311" y="8748858"/>
                  </a:lnTo>
                  <a:lnTo>
                    <a:pt x="5952051" y="8754259"/>
                  </a:lnTo>
                  <a:lnTo>
                    <a:pt x="5925739" y="8777762"/>
                  </a:lnTo>
                  <a:lnTo>
                    <a:pt x="5896897" y="8792384"/>
                  </a:lnTo>
                  <a:lnTo>
                    <a:pt x="5900110" y="8815552"/>
                  </a:lnTo>
                  <a:lnTo>
                    <a:pt x="5901970" y="8841820"/>
                  </a:lnTo>
                  <a:lnTo>
                    <a:pt x="5896897" y="8869921"/>
                  </a:lnTo>
                  <a:lnTo>
                    <a:pt x="5899300" y="8916039"/>
                  </a:lnTo>
                  <a:lnTo>
                    <a:pt x="5941574" y="8952461"/>
                  </a:lnTo>
                  <a:lnTo>
                    <a:pt x="5970347" y="8984177"/>
                  </a:lnTo>
                  <a:lnTo>
                    <a:pt x="5993983" y="9026212"/>
                  </a:lnTo>
                  <a:lnTo>
                    <a:pt x="6031255" y="9050099"/>
                  </a:lnTo>
                  <a:lnTo>
                    <a:pt x="6107368" y="9039904"/>
                  </a:lnTo>
                  <a:lnTo>
                    <a:pt x="6113173" y="9064423"/>
                  </a:lnTo>
                  <a:lnTo>
                    <a:pt x="6130279" y="9088955"/>
                  </a:lnTo>
                  <a:lnTo>
                    <a:pt x="6148581" y="9156536"/>
                  </a:lnTo>
                  <a:lnTo>
                    <a:pt x="6193419" y="9121555"/>
                  </a:lnTo>
                  <a:lnTo>
                    <a:pt x="6213929" y="9091674"/>
                  </a:lnTo>
                  <a:lnTo>
                    <a:pt x="6242386" y="9073961"/>
                  </a:lnTo>
                  <a:lnTo>
                    <a:pt x="6260224" y="9086419"/>
                  </a:lnTo>
                  <a:lnTo>
                    <a:pt x="6266214" y="9121992"/>
                  </a:lnTo>
                  <a:lnTo>
                    <a:pt x="6285041" y="9147243"/>
                  </a:lnTo>
                  <a:lnTo>
                    <a:pt x="6307682" y="9174618"/>
                  </a:lnTo>
                  <a:lnTo>
                    <a:pt x="6310847" y="9207007"/>
                  </a:lnTo>
                  <a:lnTo>
                    <a:pt x="6326722" y="9223586"/>
                  </a:lnTo>
                  <a:lnTo>
                    <a:pt x="6312733" y="9254951"/>
                  </a:lnTo>
                  <a:lnTo>
                    <a:pt x="6279113" y="9260312"/>
                  </a:lnTo>
                  <a:lnTo>
                    <a:pt x="6280130" y="9284965"/>
                  </a:lnTo>
                  <a:lnTo>
                    <a:pt x="6298811" y="9306554"/>
                  </a:lnTo>
                  <a:lnTo>
                    <a:pt x="6321644" y="9306049"/>
                  </a:lnTo>
                  <a:lnTo>
                    <a:pt x="6355111" y="9327046"/>
                  </a:lnTo>
                  <a:lnTo>
                    <a:pt x="6369845" y="9355351"/>
                  </a:lnTo>
                  <a:lnTo>
                    <a:pt x="6431476" y="9388636"/>
                  </a:lnTo>
                  <a:lnTo>
                    <a:pt x="6435767" y="9353485"/>
                  </a:lnTo>
                  <a:lnTo>
                    <a:pt x="6491305" y="9404490"/>
                  </a:lnTo>
                  <a:lnTo>
                    <a:pt x="6501208" y="9440788"/>
                  </a:lnTo>
                  <a:lnTo>
                    <a:pt x="6517148" y="9471137"/>
                  </a:lnTo>
                  <a:lnTo>
                    <a:pt x="6579591" y="9447166"/>
                  </a:lnTo>
                  <a:lnTo>
                    <a:pt x="6569455" y="9411336"/>
                  </a:lnTo>
                  <a:lnTo>
                    <a:pt x="6664051" y="9443935"/>
                  </a:lnTo>
                  <a:lnTo>
                    <a:pt x="6702665" y="9464464"/>
                  </a:lnTo>
                  <a:lnTo>
                    <a:pt x="6716652" y="9485468"/>
                  </a:lnTo>
                  <a:lnTo>
                    <a:pt x="6727975" y="9503783"/>
                  </a:lnTo>
                  <a:lnTo>
                    <a:pt x="6716804" y="9570393"/>
                  </a:lnTo>
                  <a:lnTo>
                    <a:pt x="6695252" y="9611069"/>
                  </a:lnTo>
                  <a:lnTo>
                    <a:pt x="6686090" y="9637210"/>
                  </a:lnTo>
                  <a:lnTo>
                    <a:pt x="6670850" y="9662923"/>
                  </a:lnTo>
                  <a:lnTo>
                    <a:pt x="6640651" y="9675766"/>
                  </a:lnTo>
                  <a:lnTo>
                    <a:pt x="6618652" y="9683713"/>
                  </a:lnTo>
                  <a:lnTo>
                    <a:pt x="6586521" y="9691492"/>
                  </a:lnTo>
                  <a:lnTo>
                    <a:pt x="6535919" y="9684141"/>
                  </a:lnTo>
                  <a:lnTo>
                    <a:pt x="6482000" y="9701017"/>
                  </a:lnTo>
                  <a:lnTo>
                    <a:pt x="6431454" y="9701017"/>
                  </a:lnTo>
                  <a:lnTo>
                    <a:pt x="6388120" y="9701017"/>
                  </a:lnTo>
                  <a:lnTo>
                    <a:pt x="6344061" y="9694810"/>
                  </a:lnTo>
                  <a:lnTo>
                    <a:pt x="6300876" y="9698292"/>
                  </a:lnTo>
                  <a:lnTo>
                    <a:pt x="6273969" y="9697107"/>
                  </a:lnTo>
                  <a:lnTo>
                    <a:pt x="6236858" y="9705091"/>
                  </a:lnTo>
                  <a:lnTo>
                    <a:pt x="6197692" y="9694335"/>
                  </a:lnTo>
                  <a:lnTo>
                    <a:pt x="6170298" y="9695576"/>
                  </a:lnTo>
                  <a:lnTo>
                    <a:pt x="6120611" y="9692642"/>
                  </a:lnTo>
                  <a:lnTo>
                    <a:pt x="6007734" y="9665475"/>
                  </a:lnTo>
                  <a:lnTo>
                    <a:pt x="5968986" y="9690134"/>
                  </a:lnTo>
                  <a:lnTo>
                    <a:pt x="5900131" y="9733998"/>
                  </a:lnTo>
                  <a:lnTo>
                    <a:pt x="5892501" y="9872399"/>
                  </a:lnTo>
                  <a:lnTo>
                    <a:pt x="5793524" y="9872399"/>
                  </a:lnTo>
                  <a:lnTo>
                    <a:pt x="5752398" y="9865599"/>
                  </a:lnTo>
                  <a:lnTo>
                    <a:pt x="5700925" y="9857646"/>
                  </a:lnTo>
                  <a:lnTo>
                    <a:pt x="5663749" y="9817950"/>
                  </a:lnTo>
                  <a:lnTo>
                    <a:pt x="5654779" y="9785347"/>
                  </a:lnTo>
                  <a:lnTo>
                    <a:pt x="5641459" y="9736972"/>
                  </a:lnTo>
                  <a:lnTo>
                    <a:pt x="5675699" y="9702158"/>
                  </a:lnTo>
                  <a:lnTo>
                    <a:pt x="5667026" y="9653408"/>
                  </a:lnTo>
                  <a:lnTo>
                    <a:pt x="5655994" y="9633517"/>
                  </a:lnTo>
                  <a:lnTo>
                    <a:pt x="5632039" y="9564015"/>
                  </a:lnTo>
                  <a:lnTo>
                    <a:pt x="5596680" y="9508629"/>
                  </a:lnTo>
                  <a:lnTo>
                    <a:pt x="5566369" y="9456179"/>
                  </a:lnTo>
                  <a:lnTo>
                    <a:pt x="5538953" y="9408744"/>
                  </a:lnTo>
                  <a:lnTo>
                    <a:pt x="5487797" y="9351699"/>
                  </a:lnTo>
                  <a:lnTo>
                    <a:pt x="5445313" y="9317437"/>
                  </a:lnTo>
                  <a:lnTo>
                    <a:pt x="5425884" y="9301755"/>
                  </a:lnTo>
                  <a:lnTo>
                    <a:pt x="5382932" y="9286112"/>
                  </a:lnTo>
                  <a:lnTo>
                    <a:pt x="5370499" y="9268470"/>
                  </a:lnTo>
                  <a:lnTo>
                    <a:pt x="5351077" y="9240844"/>
                  </a:lnTo>
                  <a:lnTo>
                    <a:pt x="5350140" y="9206412"/>
                  </a:lnTo>
                  <a:lnTo>
                    <a:pt x="5326973" y="9180060"/>
                  </a:lnTo>
                  <a:lnTo>
                    <a:pt x="5309439" y="9210064"/>
                  </a:lnTo>
                  <a:lnTo>
                    <a:pt x="5340578" y="9309063"/>
                  </a:lnTo>
                  <a:lnTo>
                    <a:pt x="5340578" y="9346000"/>
                  </a:lnTo>
                  <a:lnTo>
                    <a:pt x="5328991" y="9378559"/>
                  </a:lnTo>
                  <a:lnTo>
                    <a:pt x="5244578" y="9481130"/>
                  </a:lnTo>
                  <a:lnTo>
                    <a:pt x="5171934" y="9410440"/>
                  </a:lnTo>
                  <a:lnTo>
                    <a:pt x="5082138" y="9439858"/>
                  </a:lnTo>
                  <a:lnTo>
                    <a:pt x="5075245" y="9491073"/>
                  </a:lnTo>
                  <a:lnTo>
                    <a:pt x="5133400" y="9537536"/>
                  </a:lnTo>
                  <a:lnTo>
                    <a:pt x="5136547" y="9581313"/>
                  </a:lnTo>
                  <a:lnTo>
                    <a:pt x="5121286" y="9617360"/>
                  </a:lnTo>
                  <a:lnTo>
                    <a:pt x="5085180" y="9680653"/>
                  </a:lnTo>
                  <a:lnTo>
                    <a:pt x="5064753" y="9726222"/>
                  </a:lnTo>
                  <a:lnTo>
                    <a:pt x="5012765" y="9751343"/>
                  </a:lnTo>
                  <a:lnTo>
                    <a:pt x="4953023" y="9780246"/>
                  </a:lnTo>
                  <a:lnTo>
                    <a:pt x="4820253" y="9698419"/>
                  </a:lnTo>
                  <a:lnTo>
                    <a:pt x="4804657" y="9633003"/>
                  </a:lnTo>
                  <a:lnTo>
                    <a:pt x="4790484" y="9573623"/>
                  </a:lnTo>
                  <a:lnTo>
                    <a:pt x="4817115" y="9539151"/>
                  </a:lnTo>
                  <a:lnTo>
                    <a:pt x="4776095" y="9484742"/>
                  </a:lnTo>
                  <a:lnTo>
                    <a:pt x="4750505" y="9467273"/>
                  </a:lnTo>
                  <a:lnTo>
                    <a:pt x="4713522" y="9490441"/>
                  </a:lnTo>
                  <a:lnTo>
                    <a:pt x="4684959" y="9491542"/>
                  </a:lnTo>
                  <a:lnTo>
                    <a:pt x="4631338" y="9493619"/>
                  </a:lnTo>
                  <a:lnTo>
                    <a:pt x="4555680" y="9447594"/>
                  </a:lnTo>
                  <a:lnTo>
                    <a:pt x="4509497" y="9420811"/>
                  </a:lnTo>
                  <a:lnTo>
                    <a:pt x="4418130" y="9305792"/>
                  </a:lnTo>
                  <a:lnTo>
                    <a:pt x="4605882" y="9201907"/>
                  </a:lnTo>
                  <a:lnTo>
                    <a:pt x="4509497" y="9121567"/>
                  </a:lnTo>
                  <a:lnTo>
                    <a:pt x="4390650" y="9040168"/>
                  </a:lnTo>
                  <a:lnTo>
                    <a:pt x="4285210" y="9236590"/>
                  </a:lnTo>
                  <a:lnTo>
                    <a:pt x="4232015" y="9309274"/>
                  </a:lnTo>
                  <a:lnTo>
                    <a:pt x="4207528" y="9342775"/>
                  </a:lnTo>
                  <a:lnTo>
                    <a:pt x="4172141" y="9360619"/>
                  </a:lnTo>
                  <a:lnTo>
                    <a:pt x="4144963" y="9389526"/>
                  </a:lnTo>
                  <a:lnTo>
                    <a:pt x="4133613" y="9420306"/>
                  </a:lnTo>
                  <a:lnTo>
                    <a:pt x="4164028" y="9450778"/>
                  </a:lnTo>
                  <a:lnTo>
                    <a:pt x="4158562" y="9482020"/>
                  </a:lnTo>
                  <a:lnTo>
                    <a:pt x="4134081" y="9505147"/>
                  </a:lnTo>
                  <a:lnTo>
                    <a:pt x="4092685" y="9502384"/>
                  </a:lnTo>
                  <a:lnTo>
                    <a:pt x="4036272" y="9394499"/>
                  </a:lnTo>
                  <a:lnTo>
                    <a:pt x="4023906" y="9358247"/>
                  </a:lnTo>
                  <a:lnTo>
                    <a:pt x="4012346" y="9324284"/>
                  </a:lnTo>
                  <a:lnTo>
                    <a:pt x="4008540" y="9285939"/>
                  </a:lnTo>
                  <a:lnTo>
                    <a:pt x="3996702" y="9252148"/>
                  </a:lnTo>
                  <a:lnTo>
                    <a:pt x="3978534" y="9212408"/>
                  </a:lnTo>
                  <a:lnTo>
                    <a:pt x="3974939" y="9188217"/>
                  </a:lnTo>
                  <a:lnTo>
                    <a:pt x="3948461" y="9169856"/>
                  </a:lnTo>
                  <a:lnTo>
                    <a:pt x="3874241" y="9181588"/>
                  </a:lnTo>
                  <a:lnTo>
                    <a:pt x="3855031" y="9239439"/>
                  </a:lnTo>
                  <a:lnTo>
                    <a:pt x="3834844" y="9288875"/>
                  </a:lnTo>
                  <a:lnTo>
                    <a:pt x="3818646" y="9317267"/>
                  </a:lnTo>
                  <a:lnTo>
                    <a:pt x="3795420" y="9408105"/>
                  </a:lnTo>
                  <a:lnTo>
                    <a:pt x="3892629" y="9554499"/>
                  </a:lnTo>
                  <a:lnTo>
                    <a:pt x="3806275" y="9597634"/>
                  </a:lnTo>
                  <a:lnTo>
                    <a:pt x="3764918" y="9598447"/>
                  </a:lnTo>
                  <a:lnTo>
                    <a:pt x="3708854" y="9558706"/>
                  </a:lnTo>
                  <a:lnTo>
                    <a:pt x="3667537" y="9607159"/>
                  </a:lnTo>
                  <a:lnTo>
                    <a:pt x="3630065" y="9651113"/>
                  </a:lnTo>
                  <a:lnTo>
                    <a:pt x="3633553" y="9780287"/>
                  </a:lnTo>
                  <a:lnTo>
                    <a:pt x="3542399" y="9773106"/>
                  </a:lnTo>
                  <a:lnTo>
                    <a:pt x="3496129" y="9769490"/>
                  </a:lnTo>
                  <a:lnTo>
                    <a:pt x="3456046" y="9737697"/>
                  </a:lnTo>
                  <a:lnTo>
                    <a:pt x="3460787" y="9687412"/>
                  </a:lnTo>
                  <a:lnTo>
                    <a:pt x="3463675" y="9656812"/>
                  </a:lnTo>
                  <a:lnTo>
                    <a:pt x="3543481" y="9551733"/>
                  </a:lnTo>
                  <a:lnTo>
                    <a:pt x="3550557" y="9501067"/>
                  </a:lnTo>
                  <a:lnTo>
                    <a:pt x="3558167" y="9446440"/>
                  </a:lnTo>
                  <a:lnTo>
                    <a:pt x="3542083" y="9394630"/>
                  </a:lnTo>
                  <a:lnTo>
                    <a:pt x="3536959" y="9341917"/>
                  </a:lnTo>
                  <a:lnTo>
                    <a:pt x="3533899" y="9310467"/>
                  </a:lnTo>
                  <a:lnTo>
                    <a:pt x="3551751" y="9264262"/>
                  </a:lnTo>
                  <a:lnTo>
                    <a:pt x="3554639" y="9230385"/>
                  </a:lnTo>
                  <a:lnTo>
                    <a:pt x="3559467" y="9173939"/>
                  </a:lnTo>
                  <a:lnTo>
                    <a:pt x="3553789" y="9121741"/>
                  </a:lnTo>
                  <a:lnTo>
                    <a:pt x="3547841" y="9065803"/>
                  </a:lnTo>
                  <a:lnTo>
                    <a:pt x="3535897" y="8953881"/>
                  </a:lnTo>
                  <a:lnTo>
                    <a:pt x="3558319" y="8914349"/>
                  </a:lnTo>
                  <a:lnTo>
                    <a:pt x="3470311" y="8827765"/>
                  </a:lnTo>
                  <a:lnTo>
                    <a:pt x="3363447" y="8826026"/>
                  </a:lnTo>
                  <a:lnTo>
                    <a:pt x="3171977" y="8976494"/>
                  </a:lnTo>
                  <a:lnTo>
                    <a:pt x="3073132" y="9016836"/>
                  </a:lnTo>
                  <a:lnTo>
                    <a:pt x="3030773" y="9034134"/>
                  </a:lnTo>
                  <a:lnTo>
                    <a:pt x="2986100" y="9047097"/>
                  </a:lnTo>
                  <a:lnTo>
                    <a:pt x="2943912" y="9064442"/>
                  </a:lnTo>
                  <a:lnTo>
                    <a:pt x="2871823" y="9083101"/>
                  </a:lnTo>
                  <a:lnTo>
                    <a:pt x="2866000" y="9107416"/>
                  </a:lnTo>
                  <a:lnTo>
                    <a:pt x="2811974" y="9140614"/>
                  </a:lnTo>
                  <a:lnTo>
                    <a:pt x="2788635" y="9154933"/>
                  </a:lnTo>
                  <a:lnTo>
                    <a:pt x="2760329" y="9163565"/>
                  </a:lnTo>
                  <a:lnTo>
                    <a:pt x="2737162" y="9178702"/>
                  </a:lnTo>
                  <a:lnTo>
                    <a:pt x="2707156" y="9198208"/>
                  </a:lnTo>
                  <a:lnTo>
                    <a:pt x="2675993" y="9229964"/>
                  </a:lnTo>
                  <a:lnTo>
                    <a:pt x="2650110" y="9254865"/>
                  </a:lnTo>
                  <a:lnTo>
                    <a:pt x="2631235" y="9273059"/>
                  </a:lnTo>
                  <a:lnTo>
                    <a:pt x="2616403" y="9306133"/>
                  </a:lnTo>
                  <a:lnTo>
                    <a:pt x="2597060" y="9320160"/>
                  </a:lnTo>
                  <a:lnTo>
                    <a:pt x="2575573" y="9346381"/>
                  </a:lnTo>
                  <a:lnTo>
                    <a:pt x="2547671" y="9373719"/>
                  </a:lnTo>
                  <a:lnTo>
                    <a:pt x="2531770" y="9401767"/>
                  </a:lnTo>
                  <a:lnTo>
                    <a:pt x="2495959" y="9464979"/>
                  </a:lnTo>
                  <a:lnTo>
                    <a:pt x="2558486" y="9702118"/>
                  </a:lnTo>
                  <a:lnTo>
                    <a:pt x="2583455" y="9774464"/>
                  </a:lnTo>
                  <a:lnTo>
                    <a:pt x="2593301" y="9794401"/>
                  </a:lnTo>
                  <a:lnTo>
                    <a:pt x="2607942" y="9881921"/>
                  </a:lnTo>
                  <a:lnTo>
                    <a:pt x="2612176" y="9904239"/>
                  </a:lnTo>
                  <a:lnTo>
                    <a:pt x="2630106" y="9970077"/>
                  </a:lnTo>
                  <a:lnTo>
                    <a:pt x="2622838" y="9999793"/>
                  </a:lnTo>
                  <a:lnTo>
                    <a:pt x="2641687" y="10046841"/>
                  </a:lnTo>
                  <a:lnTo>
                    <a:pt x="2626987" y="10092754"/>
                  </a:lnTo>
                  <a:lnTo>
                    <a:pt x="2617293" y="10123010"/>
                  </a:lnTo>
                  <a:lnTo>
                    <a:pt x="2593063" y="10142736"/>
                  </a:lnTo>
                  <a:lnTo>
                    <a:pt x="2582095" y="10171643"/>
                  </a:lnTo>
                  <a:lnTo>
                    <a:pt x="2550071" y="10256189"/>
                  </a:lnTo>
                  <a:lnTo>
                    <a:pt x="2604452" y="10315482"/>
                  </a:lnTo>
                  <a:lnTo>
                    <a:pt x="2651468" y="10378393"/>
                  </a:lnTo>
                  <a:lnTo>
                    <a:pt x="2687813" y="10412909"/>
                  </a:lnTo>
                  <a:lnTo>
                    <a:pt x="2723919" y="10440200"/>
                  </a:lnTo>
                  <a:lnTo>
                    <a:pt x="2757560" y="10470886"/>
                  </a:lnTo>
                  <a:lnTo>
                    <a:pt x="2801218" y="10510797"/>
                  </a:lnTo>
                  <a:lnTo>
                    <a:pt x="2835433" y="10544677"/>
                  </a:lnTo>
                  <a:lnTo>
                    <a:pt x="2865017" y="10597384"/>
                  </a:lnTo>
                  <a:lnTo>
                    <a:pt x="2876578" y="10625733"/>
                  </a:lnTo>
                  <a:lnTo>
                    <a:pt x="2899028" y="10653148"/>
                  </a:lnTo>
                  <a:lnTo>
                    <a:pt x="2900769" y="10683366"/>
                  </a:lnTo>
                  <a:lnTo>
                    <a:pt x="2889847" y="10730381"/>
                  </a:lnTo>
                  <a:lnTo>
                    <a:pt x="2766746" y="10956007"/>
                  </a:lnTo>
                  <a:lnTo>
                    <a:pt x="2741244" y="10986396"/>
                  </a:lnTo>
                  <a:lnTo>
                    <a:pt x="2697440" y="11038470"/>
                  </a:lnTo>
                  <a:lnTo>
                    <a:pt x="2628880" y="11066267"/>
                  </a:lnTo>
                  <a:lnTo>
                    <a:pt x="2607948" y="11137379"/>
                  </a:lnTo>
                  <a:lnTo>
                    <a:pt x="2592938" y="11188430"/>
                  </a:lnTo>
                  <a:lnTo>
                    <a:pt x="2605627" y="11234759"/>
                  </a:lnTo>
                  <a:lnTo>
                    <a:pt x="2612024" y="11285640"/>
                  </a:lnTo>
                  <a:lnTo>
                    <a:pt x="2617287" y="11350290"/>
                  </a:lnTo>
                  <a:lnTo>
                    <a:pt x="2657120" y="11401682"/>
                  </a:lnTo>
                  <a:lnTo>
                    <a:pt x="2678672" y="11459744"/>
                  </a:lnTo>
                  <a:lnTo>
                    <a:pt x="2696228" y="11507056"/>
                  </a:lnTo>
                  <a:lnTo>
                    <a:pt x="2691340" y="11637721"/>
                  </a:lnTo>
                  <a:lnTo>
                    <a:pt x="2648744" y="11670578"/>
                  </a:lnTo>
                  <a:lnTo>
                    <a:pt x="2597845" y="11690601"/>
                  </a:lnTo>
                  <a:lnTo>
                    <a:pt x="2520104" y="11697869"/>
                  </a:lnTo>
                  <a:lnTo>
                    <a:pt x="2274246" y="11793547"/>
                  </a:lnTo>
                  <a:lnTo>
                    <a:pt x="2243407" y="11786192"/>
                  </a:lnTo>
                  <a:lnTo>
                    <a:pt x="2221237" y="11802430"/>
                  </a:lnTo>
                  <a:lnTo>
                    <a:pt x="2184067" y="11800687"/>
                  </a:lnTo>
                  <a:lnTo>
                    <a:pt x="2159073" y="11806597"/>
                  </a:lnTo>
                  <a:lnTo>
                    <a:pt x="2140310" y="11819136"/>
                  </a:lnTo>
                  <a:lnTo>
                    <a:pt x="2109321" y="11826825"/>
                  </a:lnTo>
                  <a:lnTo>
                    <a:pt x="2060037" y="11828230"/>
                  </a:lnTo>
                  <a:lnTo>
                    <a:pt x="2047539" y="11848765"/>
                  </a:lnTo>
                  <a:lnTo>
                    <a:pt x="2024035" y="11854324"/>
                  </a:lnTo>
                  <a:lnTo>
                    <a:pt x="1886973" y="11884595"/>
                  </a:lnTo>
                  <a:lnTo>
                    <a:pt x="1860614" y="11933135"/>
                  </a:lnTo>
                  <a:lnTo>
                    <a:pt x="1873435" y="12065031"/>
                  </a:lnTo>
                  <a:lnTo>
                    <a:pt x="1876051" y="12091901"/>
                  </a:lnTo>
                  <a:lnTo>
                    <a:pt x="1892968" y="12124841"/>
                  </a:lnTo>
                  <a:lnTo>
                    <a:pt x="1899279" y="12152092"/>
                  </a:lnTo>
                  <a:lnTo>
                    <a:pt x="1907905" y="12189364"/>
                  </a:lnTo>
                  <a:lnTo>
                    <a:pt x="1910049" y="12228857"/>
                  </a:lnTo>
                  <a:lnTo>
                    <a:pt x="1916961" y="12266343"/>
                  </a:lnTo>
                  <a:lnTo>
                    <a:pt x="1924697" y="12308300"/>
                  </a:lnTo>
                  <a:lnTo>
                    <a:pt x="1942714" y="12349017"/>
                  </a:lnTo>
                  <a:lnTo>
                    <a:pt x="1946881" y="12391485"/>
                  </a:lnTo>
                  <a:lnTo>
                    <a:pt x="1948965" y="12412861"/>
                  </a:lnTo>
                  <a:lnTo>
                    <a:pt x="1933560" y="12472671"/>
                  </a:lnTo>
                  <a:lnTo>
                    <a:pt x="1925118" y="12493498"/>
                  </a:lnTo>
                  <a:lnTo>
                    <a:pt x="1872689" y="12623223"/>
                  </a:lnTo>
                  <a:lnTo>
                    <a:pt x="1696757" y="12594022"/>
                  </a:lnTo>
                  <a:lnTo>
                    <a:pt x="1666684" y="12644481"/>
                  </a:lnTo>
                  <a:lnTo>
                    <a:pt x="1661158" y="12682355"/>
                  </a:lnTo>
                  <a:lnTo>
                    <a:pt x="1693802" y="12722011"/>
                  </a:lnTo>
                  <a:lnTo>
                    <a:pt x="1687088" y="12772337"/>
                  </a:lnTo>
                  <a:lnTo>
                    <a:pt x="1682011" y="12810341"/>
                  </a:lnTo>
                  <a:lnTo>
                    <a:pt x="1642263" y="12869084"/>
                  </a:lnTo>
                  <a:lnTo>
                    <a:pt x="1604111" y="12881152"/>
                  </a:lnTo>
                  <a:lnTo>
                    <a:pt x="1571954" y="12891353"/>
                  </a:lnTo>
                  <a:lnTo>
                    <a:pt x="1530215" y="12887871"/>
                  </a:lnTo>
                  <a:lnTo>
                    <a:pt x="1496654" y="12890674"/>
                  </a:lnTo>
                  <a:lnTo>
                    <a:pt x="1455786" y="12894072"/>
                  </a:lnTo>
                  <a:lnTo>
                    <a:pt x="1409627" y="12900199"/>
                  </a:lnTo>
                  <a:lnTo>
                    <a:pt x="1368799" y="12900199"/>
                  </a:lnTo>
                  <a:lnTo>
                    <a:pt x="1315881" y="12914905"/>
                  </a:lnTo>
                  <a:lnTo>
                    <a:pt x="1273139" y="12942022"/>
                  </a:lnTo>
                  <a:lnTo>
                    <a:pt x="1284463" y="13006288"/>
                  </a:lnTo>
                  <a:lnTo>
                    <a:pt x="1288064" y="13045272"/>
                  </a:lnTo>
                  <a:lnTo>
                    <a:pt x="1325397" y="13133896"/>
                  </a:lnTo>
                  <a:lnTo>
                    <a:pt x="1293986" y="13165438"/>
                  </a:lnTo>
                  <a:lnTo>
                    <a:pt x="1265424" y="13174954"/>
                  </a:lnTo>
                  <a:lnTo>
                    <a:pt x="1234816" y="13177131"/>
                  </a:lnTo>
                  <a:lnTo>
                    <a:pt x="1178799" y="13184854"/>
                  </a:lnTo>
                  <a:lnTo>
                    <a:pt x="1137904" y="13172917"/>
                  </a:lnTo>
                  <a:lnTo>
                    <a:pt x="1099482" y="13195353"/>
                  </a:lnTo>
                  <a:lnTo>
                    <a:pt x="1064245" y="13247808"/>
                  </a:lnTo>
                  <a:lnTo>
                    <a:pt x="1055698" y="13318158"/>
                  </a:lnTo>
                  <a:lnTo>
                    <a:pt x="1023311" y="13366741"/>
                  </a:lnTo>
                  <a:lnTo>
                    <a:pt x="1008387" y="13383149"/>
                  </a:lnTo>
                  <a:lnTo>
                    <a:pt x="992935" y="13413795"/>
                  </a:lnTo>
                  <a:lnTo>
                    <a:pt x="969346" y="13433685"/>
                  </a:lnTo>
                  <a:lnTo>
                    <a:pt x="978506" y="13482997"/>
                  </a:lnTo>
                  <a:lnTo>
                    <a:pt x="1077654" y="13511346"/>
                  </a:lnTo>
                  <a:lnTo>
                    <a:pt x="1104923" y="13559892"/>
                  </a:lnTo>
                  <a:lnTo>
                    <a:pt x="1124536" y="13594826"/>
                  </a:lnTo>
                  <a:lnTo>
                    <a:pt x="1082856" y="13715802"/>
                  </a:lnTo>
                  <a:lnTo>
                    <a:pt x="1147085" y="13802004"/>
                  </a:lnTo>
                  <a:lnTo>
                    <a:pt x="1183132" y="13833540"/>
                  </a:lnTo>
                  <a:lnTo>
                    <a:pt x="1201493" y="13864571"/>
                  </a:lnTo>
                  <a:lnTo>
                    <a:pt x="1174710" y="13906019"/>
                  </a:lnTo>
                  <a:lnTo>
                    <a:pt x="1085086" y="13918385"/>
                  </a:lnTo>
                  <a:lnTo>
                    <a:pt x="1045068" y="13957064"/>
                  </a:lnTo>
                  <a:lnTo>
                    <a:pt x="1039264" y="13985500"/>
                  </a:lnTo>
                  <a:lnTo>
                    <a:pt x="1053463" y="14036467"/>
                  </a:lnTo>
                  <a:lnTo>
                    <a:pt x="1091251" y="14030517"/>
                  </a:lnTo>
                  <a:lnTo>
                    <a:pt x="1106281" y="14074043"/>
                  </a:lnTo>
                  <a:lnTo>
                    <a:pt x="1109632" y="14097636"/>
                  </a:lnTo>
                  <a:lnTo>
                    <a:pt x="1117262" y="14249595"/>
                  </a:lnTo>
                  <a:lnTo>
                    <a:pt x="1018735" y="14298349"/>
                  </a:lnTo>
                  <a:lnTo>
                    <a:pt x="895443" y="14283513"/>
                  </a:lnTo>
                  <a:lnTo>
                    <a:pt x="846627" y="14277656"/>
                  </a:lnTo>
                  <a:lnTo>
                    <a:pt x="766710" y="14273777"/>
                  </a:lnTo>
                  <a:lnTo>
                    <a:pt x="721337" y="14257672"/>
                  </a:lnTo>
                  <a:lnTo>
                    <a:pt x="669291" y="14262466"/>
                  </a:lnTo>
                  <a:lnTo>
                    <a:pt x="591457" y="14254138"/>
                  </a:lnTo>
                  <a:lnTo>
                    <a:pt x="510102" y="14205257"/>
                  </a:lnTo>
                  <a:lnTo>
                    <a:pt x="443857" y="14195093"/>
                  </a:lnTo>
                  <a:lnTo>
                    <a:pt x="414978" y="14193782"/>
                  </a:lnTo>
                  <a:lnTo>
                    <a:pt x="390088" y="14180049"/>
                  </a:lnTo>
                  <a:lnTo>
                    <a:pt x="362245" y="14176056"/>
                  </a:lnTo>
                  <a:lnTo>
                    <a:pt x="282335" y="14164534"/>
                  </a:lnTo>
                  <a:lnTo>
                    <a:pt x="98667" y="14228759"/>
                  </a:lnTo>
                  <a:lnTo>
                    <a:pt x="82048" y="14318875"/>
                  </a:lnTo>
                  <a:lnTo>
                    <a:pt x="70078" y="14339357"/>
                  </a:lnTo>
                  <a:lnTo>
                    <a:pt x="53485" y="14375997"/>
                  </a:lnTo>
                  <a:lnTo>
                    <a:pt x="34333" y="14420586"/>
                  </a:lnTo>
                  <a:lnTo>
                    <a:pt x="29466" y="14458079"/>
                  </a:lnTo>
                  <a:lnTo>
                    <a:pt x="16757" y="14487537"/>
                  </a:lnTo>
                  <a:lnTo>
                    <a:pt x="7531" y="14506408"/>
                  </a:lnTo>
                  <a:lnTo>
                    <a:pt x="0" y="14571569"/>
                  </a:lnTo>
                  <a:lnTo>
                    <a:pt x="33640" y="14563709"/>
                  </a:lnTo>
                  <a:lnTo>
                    <a:pt x="93521" y="14606166"/>
                  </a:lnTo>
                  <a:lnTo>
                    <a:pt x="120132" y="14616757"/>
                  </a:lnTo>
                  <a:lnTo>
                    <a:pt x="152223" y="14629467"/>
                  </a:lnTo>
                  <a:lnTo>
                    <a:pt x="213365" y="14654330"/>
                  </a:lnTo>
                  <a:lnTo>
                    <a:pt x="231665" y="14683408"/>
                  </a:lnTo>
                  <a:lnTo>
                    <a:pt x="267759" y="14740744"/>
                  </a:lnTo>
                  <a:lnTo>
                    <a:pt x="239620" y="14834893"/>
                  </a:lnTo>
                  <a:lnTo>
                    <a:pt x="253430" y="14901038"/>
                  </a:lnTo>
                  <a:lnTo>
                    <a:pt x="269455" y="14977889"/>
                  </a:lnTo>
                  <a:lnTo>
                    <a:pt x="323011" y="15105617"/>
                  </a:lnTo>
                  <a:lnTo>
                    <a:pt x="362245" y="15174438"/>
                  </a:lnTo>
                  <a:lnTo>
                    <a:pt x="377419" y="15201001"/>
                  </a:lnTo>
                  <a:lnTo>
                    <a:pt x="433575" y="15269778"/>
                  </a:lnTo>
                  <a:lnTo>
                    <a:pt x="456096" y="15290053"/>
                  </a:lnTo>
                  <a:lnTo>
                    <a:pt x="477715" y="15309481"/>
                  </a:lnTo>
                  <a:lnTo>
                    <a:pt x="509555" y="15316575"/>
                  </a:lnTo>
                  <a:lnTo>
                    <a:pt x="532268" y="15333579"/>
                  </a:lnTo>
                  <a:lnTo>
                    <a:pt x="559947" y="15354365"/>
                  </a:lnTo>
                  <a:lnTo>
                    <a:pt x="605723" y="15383904"/>
                  </a:lnTo>
                  <a:lnTo>
                    <a:pt x="661211" y="15405329"/>
                  </a:lnTo>
                  <a:lnTo>
                    <a:pt x="719728" y="15413403"/>
                  </a:lnTo>
                  <a:lnTo>
                    <a:pt x="775745" y="15434230"/>
                  </a:lnTo>
                  <a:lnTo>
                    <a:pt x="823037" y="15451879"/>
                  </a:lnTo>
                  <a:lnTo>
                    <a:pt x="869307" y="15476826"/>
                  </a:lnTo>
                  <a:lnTo>
                    <a:pt x="917206" y="15491361"/>
                  </a:lnTo>
                  <a:lnTo>
                    <a:pt x="966259" y="15506285"/>
                  </a:lnTo>
                  <a:lnTo>
                    <a:pt x="1020608" y="15516997"/>
                  </a:lnTo>
                  <a:lnTo>
                    <a:pt x="1066831" y="15540329"/>
                  </a:lnTo>
                  <a:lnTo>
                    <a:pt x="1100195" y="15557119"/>
                  </a:lnTo>
                  <a:lnTo>
                    <a:pt x="1135985" y="15610427"/>
                  </a:lnTo>
                  <a:lnTo>
                    <a:pt x="1177006" y="15634187"/>
                  </a:lnTo>
                  <a:lnTo>
                    <a:pt x="1314661" y="15714269"/>
                  </a:lnTo>
                  <a:lnTo>
                    <a:pt x="1377042" y="15652586"/>
                  </a:lnTo>
                  <a:lnTo>
                    <a:pt x="1474891" y="15687229"/>
                  </a:lnTo>
                  <a:lnTo>
                    <a:pt x="1565346" y="15719282"/>
                  </a:lnTo>
                  <a:lnTo>
                    <a:pt x="1611610" y="15791963"/>
                  </a:lnTo>
                  <a:lnTo>
                    <a:pt x="1722444" y="15791963"/>
                  </a:lnTo>
                  <a:lnTo>
                    <a:pt x="1752964" y="15789247"/>
                  </a:lnTo>
                  <a:lnTo>
                    <a:pt x="1860508" y="15751373"/>
                  </a:lnTo>
                  <a:lnTo>
                    <a:pt x="1874786" y="15767484"/>
                  </a:lnTo>
                  <a:lnTo>
                    <a:pt x="1883009" y="15725400"/>
                  </a:lnTo>
                  <a:lnTo>
                    <a:pt x="2078734" y="15767444"/>
                  </a:lnTo>
                  <a:lnTo>
                    <a:pt x="2055698" y="15683148"/>
                  </a:lnTo>
                  <a:lnTo>
                    <a:pt x="2040265" y="15665208"/>
                  </a:lnTo>
                  <a:lnTo>
                    <a:pt x="2024537" y="15650338"/>
                  </a:lnTo>
                  <a:lnTo>
                    <a:pt x="1998565" y="15632823"/>
                  </a:lnTo>
                  <a:lnTo>
                    <a:pt x="1978101" y="15619223"/>
                  </a:lnTo>
                  <a:lnTo>
                    <a:pt x="1945878" y="15618842"/>
                  </a:lnTo>
                  <a:lnTo>
                    <a:pt x="1926476" y="15600176"/>
                  </a:lnTo>
                  <a:lnTo>
                    <a:pt x="1906223" y="15560734"/>
                  </a:lnTo>
                  <a:lnTo>
                    <a:pt x="1894129" y="15440357"/>
                  </a:lnTo>
                  <a:lnTo>
                    <a:pt x="2069362" y="15488769"/>
                  </a:lnTo>
                  <a:lnTo>
                    <a:pt x="2039375" y="15397510"/>
                  </a:lnTo>
                  <a:lnTo>
                    <a:pt x="2008088" y="15355472"/>
                  </a:lnTo>
                  <a:lnTo>
                    <a:pt x="1982691" y="15318405"/>
                  </a:lnTo>
                  <a:lnTo>
                    <a:pt x="2001289" y="15262848"/>
                  </a:lnTo>
                  <a:lnTo>
                    <a:pt x="2019795" y="15243256"/>
                  </a:lnTo>
                  <a:lnTo>
                    <a:pt x="2061138" y="15241085"/>
                  </a:lnTo>
                  <a:lnTo>
                    <a:pt x="2175797" y="15221961"/>
                  </a:lnTo>
                  <a:lnTo>
                    <a:pt x="2169229" y="15315639"/>
                  </a:lnTo>
                  <a:lnTo>
                    <a:pt x="2227080" y="15363506"/>
                  </a:lnTo>
                  <a:lnTo>
                    <a:pt x="2258662" y="15371328"/>
                  </a:lnTo>
                  <a:lnTo>
                    <a:pt x="2282912" y="15341526"/>
                  </a:lnTo>
                  <a:lnTo>
                    <a:pt x="2315490" y="15351258"/>
                  </a:lnTo>
                  <a:lnTo>
                    <a:pt x="2347542" y="15360783"/>
                  </a:lnTo>
                  <a:lnTo>
                    <a:pt x="2368176" y="15414597"/>
                  </a:lnTo>
                  <a:lnTo>
                    <a:pt x="2393026" y="15436952"/>
                  </a:lnTo>
                  <a:lnTo>
                    <a:pt x="2441183" y="15480308"/>
                  </a:lnTo>
                  <a:lnTo>
                    <a:pt x="2540178" y="15525623"/>
                  </a:lnTo>
                  <a:lnTo>
                    <a:pt x="2584813" y="15458715"/>
                  </a:lnTo>
                  <a:lnTo>
                    <a:pt x="2624362" y="15399336"/>
                  </a:lnTo>
                  <a:lnTo>
                    <a:pt x="2602751" y="15318451"/>
                  </a:lnTo>
                  <a:lnTo>
                    <a:pt x="2644662" y="15260132"/>
                  </a:lnTo>
                  <a:lnTo>
                    <a:pt x="2669676" y="15253838"/>
                  </a:lnTo>
                  <a:lnTo>
                    <a:pt x="2771713" y="15260349"/>
                  </a:lnTo>
                  <a:lnTo>
                    <a:pt x="2825144" y="15247423"/>
                  </a:lnTo>
                  <a:lnTo>
                    <a:pt x="2827584" y="15162284"/>
                  </a:lnTo>
                  <a:lnTo>
                    <a:pt x="2882699" y="15139076"/>
                  </a:lnTo>
                  <a:lnTo>
                    <a:pt x="2903669" y="15130230"/>
                  </a:lnTo>
                  <a:lnTo>
                    <a:pt x="2928367" y="15134695"/>
                  </a:lnTo>
                  <a:lnTo>
                    <a:pt x="2949346" y="15121393"/>
                  </a:lnTo>
                  <a:lnTo>
                    <a:pt x="2986007" y="15098185"/>
                  </a:lnTo>
                  <a:lnTo>
                    <a:pt x="3013382" y="15054442"/>
                  </a:lnTo>
                  <a:lnTo>
                    <a:pt x="3052721" y="15038425"/>
                  </a:lnTo>
                  <a:lnTo>
                    <a:pt x="3115229" y="15012876"/>
                  </a:lnTo>
                  <a:lnTo>
                    <a:pt x="3136647" y="15039572"/>
                  </a:lnTo>
                  <a:lnTo>
                    <a:pt x="3199623" y="14989451"/>
                  </a:lnTo>
                  <a:lnTo>
                    <a:pt x="3228608" y="14956383"/>
                  </a:lnTo>
                  <a:lnTo>
                    <a:pt x="3272371" y="14935088"/>
                  </a:lnTo>
                  <a:lnTo>
                    <a:pt x="3338511" y="14949717"/>
                  </a:lnTo>
                  <a:lnTo>
                    <a:pt x="3354682" y="14929600"/>
                  </a:lnTo>
                  <a:lnTo>
                    <a:pt x="3373727" y="14910563"/>
                  </a:lnTo>
                  <a:lnTo>
                    <a:pt x="3392412" y="14885870"/>
                  </a:lnTo>
                  <a:lnTo>
                    <a:pt x="3401763" y="14858839"/>
                  </a:lnTo>
                  <a:lnTo>
                    <a:pt x="3418613" y="14841196"/>
                  </a:lnTo>
                  <a:lnTo>
                    <a:pt x="3437297" y="14821681"/>
                  </a:lnTo>
                  <a:lnTo>
                    <a:pt x="3458994" y="14805958"/>
                  </a:lnTo>
                  <a:lnTo>
                    <a:pt x="3475744" y="14784071"/>
                  </a:lnTo>
                  <a:lnTo>
                    <a:pt x="3490175" y="14765322"/>
                  </a:lnTo>
                  <a:lnTo>
                    <a:pt x="3511490" y="14738843"/>
                  </a:lnTo>
                  <a:lnTo>
                    <a:pt x="3517912" y="14716057"/>
                  </a:lnTo>
                  <a:lnTo>
                    <a:pt x="3541396" y="14701016"/>
                  </a:lnTo>
                  <a:lnTo>
                    <a:pt x="3571556" y="14701562"/>
                  </a:lnTo>
                  <a:lnTo>
                    <a:pt x="3596801" y="14711983"/>
                  </a:lnTo>
                  <a:lnTo>
                    <a:pt x="3624512" y="14710110"/>
                  </a:lnTo>
                  <a:lnTo>
                    <a:pt x="3827504" y="14803499"/>
                  </a:lnTo>
                  <a:lnTo>
                    <a:pt x="3790987" y="14658721"/>
                  </a:lnTo>
                  <a:lnTo>
                    <a:pt x="3874281" y="14641252"/>
                  </a:lnTo>
                  <a:lnTo>
                    <a:pt x="3895643" y="14636787"/>
                  </a:lnTo>
                  <a:lnTo>
                    <a:pt x="3971155" y="14669182"/>
                  </a:lnTo>
                  <a:lnTo>
                    <a:pt x="4002143" y="14673898"/>
                  </a:lnTo>
                  <a:lnTo>
                    <a:pt x="4102756" y="14691841"/>
                  </a:lnTo>
                  <a:lnTo>
                    <a:pt x="4173783" y="14646356"/>
                  </a:lnTo>
                  <a:lnTo>
                    <a:pt x="4238814" y="14663015"/>
                  </a:lnTo>
                  <a:lnTo>
                    <a:pt x="4261007" y="14667861"/>
                  </a:lnTo>
                  <a:lnTo>
                    <a:pt x="4296243" y="14695962"/>
                  </a:lnTo>
                  <a:lnTo>
                    <a:pt x="4314986" y="14709266"/>
                  </a:lnTo>
                  <a:lnTo>
                    <a:pt x="4357298" y="14739317"/>
                  </a:lnTo>
                  <a:lnTo>
                    <a:pt x="4400528" y="14761887"/>
                  </a:lnTo>
                  <a:lnTo>
                    <a:pt x="4455088" y="14763672"/>
                  </a:lnTo>
                  <a:lnTo>
                    <a:pt x="4505776" y="14761418"/>
                  </a:lnTo>
                  <a:lnTo>
                    <a:pt x="4613081" y="14820884"/>
                  </a:lnTo>
                  <a:lnTo>
                    <a:pt x="4652316" y="14850725"/>
                  </a:lnTo>
                  <a:lnTo>
                    <a:pt x="4685685" y="14855316"/>
                  </a:lnTo>
                  <a:lnTo>
                    <a:pt x="4734587" y="14879842"/>
                  </a:lnTo>
                  <a:lnTo>
                    <a:pt x="4781555" y="14889110"/>
                  </a:lnTo>
                  <a:lnTo>
                    <a:pt x="4819621" y="14920097"/>
                  </a:lnTo>
                  <a:lnTo>
                    <a:pt x="5025310" y="15150393"/>
                  </a:lnTo>
                  <a:lnTo>
                    <a:pt x="5033170" y="15182614"/>
                  </a:lnTo>
                  <a:lnTo>
                    <a:pt x="5084454" y="15308089"/>
                  </a:lnTo>
                  <a:lnTo>
                    <a:pt x="5137673" y="15471868"/>
                  </a:lnTo>
                  <a:lnTo>
                    <a:pt x="5099817" y="15606998"/>
                  </a:lnTo>
                  <a:lnTo>
                    <a:pt x="5084860" y="15634199"/>
                  </a:lnTo>
                  <a:lnTo>
                    <a:pt x="5070867" y="15806651"/>
                  </a:lnTo>
                  <a:lnTo>
                    <a:pt x="5071255" y="15835511"/>
                  </a:lnTo>
                  <a:lnTo>
                    <a:pt x="5099712" y="15845752"/>
                  </a:lnTo>
                  <a:lnTo>
                    <a:pt x="5131509" y="15842605"/>
                  </a:lnTo>
                  <a:lnTo>
                    <a:pt x="5155507" y="15805122"/>
                  </a:lnTo>
                  <a:lnTo>
                    <a:pt x="5167832" y="15786543"/>
                  </a:lnTo>
                  <a:lnTo>
                    <a:pt x="5202562" y="15801888"/>
                  </a:lnTo>
                  <a:lnTo>
                    <a:pt x="5220201" y="15815698"/>
                  </a:lnTo>
                  <a:lnTo>
                    <a:pt x="5239921" y="15827353"/>
                  </a:lnTo>
                  <a:lnTo>
                    <a:pt x="5259560" y="15795042"/>
                  </a:lnTo>
                  <a:lnTo>
                    <a:pt x="5278582" y="15767372"/>
                  </a:lnTo>
                  <a:lnTo>
                    <a:pt x="5301452" y="15768861"/>
                  </a:lnTo>
                  <a:lnTo>
                    <a:pt x="5351759" y="15729840"/>
                  </a:lnTo>
                  <a:lnTo>
                    <a:pt x="5296348" y="15671738"/>
                  </a:lnTo>
                  <a:lnTo>
                    <a:pt x="5301129" y="15628761"/>
                  </a:lnTo>
                  <a:lnTo>
                    <a:pt x="5311395" y="15607081"/>
                  </a:lnTo>
                  <a:lnTo>
                    <a:pt x="5342082" y="15518538"/>
                  </a:lnTo>
                  <a:lnTo>
                    <a:pt x="5355920" y="15433529"/>
                  </a:lnTo>
                  <a:lnTo>
                    <a:pt x="5381382" y="15354002"/>
                  </a:lnTo>
                  <a:lnTo>
                    <a:pt x="5393325" y="15316684"/>
                  </a:lnTo>
                  <a:lnTo>
                    <a:pt x="5422595" y="15284583"/>
                  </a:lnTo>
                  <a:lnTo>
                    <a:pt x="5423550" y="15243823"/>
                  </a:lnTo>
                  <a:lnTo>
                    <a:pt x="5424545" y="15202207"/>
                  </a:lnTo>
                  <a:lnTo>
                    <a:pt x="5395747" y="15195283"/>
                  </a:lnTo>
                  <a:lnTo>
                    <a:pt x="5390904" y="15163574"/>
                  </a:lnTo>
                  <a:lnTo>
                    <a:pt x="5397790" y="15137473"/>
                  </a:lnTo>
                  <a:lnTo>
                    <a:pt x="5412046" y="15109379"/>
                  </a:lnTo>
                  <a:lnTo>
                    <a:pt x="5409944" y="15081963"/>
                  </a:lnTo>
                  <a:lnTo>
                    <a:pt x="5407265" y="15047361"/>
                  </a:lnTo>
                  <a:lnTo>
                    <a:pt x="5382827" y="15015059"/>
                  </a:lnTo>
                  <a:lnTo>
                    <a:pt x="5380024" y="14978586"/>
                  </a:lnTo>
                  <a:lnTo>
                    <a:pt x="5377959" y="14951760"/>
                  </a:lnTo>
                  <a:lnTo>
                    <a:pt x="5383868" y="14874487"/>
                  </a:lnTo>
                  <a:lnTo>
                    <a:pt x="5364195" y="14829089"/>
                  </a:lnTo>
                  <a:lnTo>
                    <a:pt x="5329552" y="14820757"/>
                  </a:lnTo>
                  <a:lnTo>
                    <a:pt x="5312015" y="14799035"/>
                  </a:lnTo>
                  <a:lnTo>
                    <a:pt x="5331952" y="14788753"/>
                  </a:lnTo>
                  <a:lnTo>
                    <a:pt x="5360437" y="14811790"/>
                  </a:lnTo>
                  <a:lnTo>
                    <a:pt x="5381388" y="14804482"/>
                  </a:lnTo>
                  <a:lnTo>
                    <a:pt x="5404174" y="14768863"/>
                  </a:lnTo>
                  <a:lnTo>
                    <a:pt x="5405808" y="14591776"/>
                  </a:lnTo>
                  <a:lnTo>
                    <a:pt x="5393635" y="14567805"/>
                  </a:lnTo>
                  <a:lnTo>
                    <a:pt x="5352081" y="14539032"/>
                  </a:lnTo>
                  <a:lnTo>
                    <a:pt x="5344668" y="14480753"/>
                  </a:lnTo>
                  <a:lnTo>
                    <a:pt x="5323348" y="14465154"/>
                  </a:lnTo>
                  <a:lnTo>
                    <a:pt x="5298847" y="14485600"/>
                  </a:lnTo>
                  <a:lnTo>
                    <a:pt x="5285412" y="14522577"/>
                  </a:lnTo>
                  <a:lnTo>
                    <a:pt x="5268449" y="14646272"/>
                  </a:lnTo>
                  <a:lnTo>
                    <a:pt x="5249452" y="14658941"/>
                  </a:lnTo>
                  <a:lnTo>
                    <a:pt x="5230920" y="14637004"/>
                  </a:lnTo>
                  <a:lnTo>
                    <a:pt x="5250639" y="14565086"/>
                  </a:lnTo>
                  <a:lnTo>
                    <a:pt x="5226328" y="14531079"/>
                  </a:lnTo>
                  <a:lnTo>
                    <a:pt x="5161786" y="14525473"/>
                  </a:lnTo>
                  <a:lnTo>
                    <a:pt x="5168604" y="14574518"/>
                  </a:lnTo>
                  <a:lnTo>
                    <a:pt x="5142001" y="14599090"/>
                  </a:lnTo>
                  <a:lnTo>
                    <a:pt x="5103771" y="14563892"/>
                  </a:lnTo>
                  <a:lnTo>
                    <a:pt x="5135722" y="14482704"/>
                  </a:lnTo>
                  <a:lnTo>
                    <a:pt x="5103907" y="14450823"/>
                  </a:lnTo>
                  <a:lnTo>
                    <a:pt x="5082144" y="14448101"/>
                  </a:lnTo>
                  <a:lnTo>
                    <a:pt x="5011903" y="14472884"/>
                  </a:lnTo>
                  <a:lnTo>
                    <a:pt x="5037874" y="14595298"/>
                  </a:lnTo>
                  <a:lnTo>
                    <a:pt x="5025013" y="14650774"/>
                  </a:lnTo>
                  <a:lnTo>
                    <a:pt x="4997176" y="14646818"/>
                  </a:lnTo>
                  <a:lnTo>
                    <a:pt x="4978771" y="14631730"/>
                  </a:lnTo>
                  <a:lnTo>
                    <a:pt x="4949997" y="14593308"/>
                  </a:lnTo>
                  <a:lnTo>
                    <a:pt x="4936990" y="14563545"/>
                  </a:lnTo>
                  <a:lnTo>
                    <a:pt x="4920287" y="14533795"/>
                  </a:lnTo>
                  <a:lnTo>
                    <a:pt x="4906384" y="14509012"/>
                  </a:lnTo>
                  <a:lnTo>
                    <a:pt x="4884212" y="14489333"/>
                  </a:lnTo>
                  <a:lnTo>
                    <a:pt x="4868594" y="14467139"/>
                  </a:lnTo>
                  <a:lnTo>
                    <a:pt x="4860213" y="14440622"/>
                  </a:lnTo>
                  <a:lnTo>
                    <a:pt x="4871314" y="14419538"/>
                  </a:lnTo>
                  <a:lnTo>
                    <a:pt x="4957324" y="14406659"/>
                  </a:lnTo>
                  <a:lnTo>
                    <a:pt x="4943638" y="14287640"/>
                  </a:lnTo>
                  <a:lnTo>
                    <a:pt x="5004614" y="14239993"/>
                  </a:lnTo>
                  <a:lnTo>
                    <a:pt x="5055429" y="14216357"/>
                  </a:lnTo>
                  <a:lnTo>
                    <a:pt x="5082057" y="14184027"/>
                  </a:lnTo>
                  <a:lnTo>
                    <a:pt x="5087697" y="14149338"/>
                  </a:lnTo>
                  <a:lnTo>
                    <a:pt x="5101191" y="14118937"/>
                  </a:lnTo>
                  <a:lnTo>
                    <a:pt x="5069838" y="14129131"/>
                  </a:lnTo>
                  <a:lnTo>
                    <a:pt x="5046776" y="14105331"/>
                  </a:lnTo>
                  <a:lnTo>
                    <a:pt x="5026991" y="14097936"/>
                  </a:lnTo>
                  <a:lnTo>
                    <a:pt x="5005209" y="14103973"/>
                  </a:lnTo>
                  <a:lnTo>
                    <a:pt x="4955305" y="14103973"/>
                  </a:lnTo>
                  <a:lnTo>
                    <a:pt x="4860496" y="14070778"/>
                  </a:lnTo>
                  <a:lnTo>
                    <a:pt x="4842751" y="14045487"/>
                  </a:lnTo>
                  <a:lnTo>
                    <a:pt x="4833952" y="14018239"/>
                  </a:lnTo>
                  <a:lnTo>
                    <a:pt x="4838897" y="13914521"/>
                  </a:lnTo>
                  <a:lnTo>
                    <a:pt x="4878712" y="13792786"/>
                  </a:lnTo>
                  <a:lnTo>
                    <a:pt x="4876758" y="13713594"/>
                  </a:lnTo>
                  <a:lnTo>
                    <a:pt x="4873884" y="13597003"/>
                  </a:lnTo>
                  <a:lnTo>
                    <a:pt x="4821177" y="13442153"/>
                  </a:lnTo>
                  <a:lnTo>
                    <a:pt x="4848189" y="13332743"/>
                  </a:lnTo>
                  <a:lnTo>
                    <a:pt x="4866061" y="13260267"/>
                  </a:lnTo>
                  <a:lnTo>
                    <a:pt x="4945932" y="13260992"/>
                  </a:lnTo>
                  <a:lnTo>
                    <a:pt x="4988292" y="13215764"/>
                  </a:lnTo>
                  <a:lnTo>
                    <a:pt x="4985576" y="13194001"/>
                  </a:lnTo>
                  <a:lnTo>
                    <a:pt x="4974820" y="13175937"/>
                  </a:lnTo>
                  <a:lnTo>
                    <a:pt x="4951296" y="13170067"/>
                  </a:lnTo>
                  <a:lnTo>
                    <a:pt x="4894354" y="13089688"/>
                  </a:lnTo>
                  <a:lnTo>
                    <a:pt x="4948341" y="12951802"/>
                  </a:lnTo>
                  <a:lnTo>
                    <a:pt x="4984209" y="12892032"/>
                  </a:lnTo>
                  <a:lnTo>
                    <a:pt x="5014350" y="12858288"/>
                  </a:lnTo>
                  <a:lnTo>
                    <a:pt x="5032268" y="12836010"/>
                  </a:lnTo>
                  <a:lnTo>
                    <a:pt x="5013116" y="12755848"/>
                  </a:lnTo>
                  <a:lnTo>
                    <a:pt x="4952270" y="12701315"/>
                  </a:lnTo>
                  <a:lnTo>
                    <a:pt x="4977409" y="12632240"/>
                  </a:lnTo>
                  <a:lnTo>
                    <a:pt x="5005981" y="12628156"/>
                  </a:lnTo>
                  <a:lnTo>
                    <a:pt x="5019664" y="12644996"/>
                  </a:lnTo>
                  <a:lnTo>
                    <a:pt x="5033862" y="12668920"/>
                  </a:lnTo>
                  <a:lnTo>
                    <a:pt x="5044060" y="12704328"/>
                  </a:lnTo>
                  <a:lnTo>
                    <a:pt x="5068650" y="12728854"/>
                  </a:lnTo>
                  <a:lnTo>
                    <a:pt x="5110285" y="12708706"/>
                  </a:lnTo>
                  <a:lnTo>
                    <a:pt x="5139276" y="12719292"/>
                  </a:lnTo>
                  <a:lnTo>
                    <a:pt x="5159206" y="12754958"/>
                  </a:lnTo>
                  <a:lnTo>
                    <a:pt x="5154623" y="12780290"/>
                  </a:lnTo>
                  <a:lnTo>
                    <a:pt x="5162397" y="12804986"/>
                  </a:lnTo>
                  <a:lnTo>
                    <a:pt x="5187201" y="12828615"/>
                  </a:lnTo>
                  <a:lnTo>
                    <a:pt x="5213593" y="12880386"/>
                  </a:lnTo>
                  <a:lnTo>
                    <a:pt x="5156595" y="12913888"/>
                  </a:lnTo>
                  <a:lnTo>
                    <a:pt x="5150159" y="12957330"/>
                  </a:lnTo>
                  <a:lnTo>
                    <a:pt x="5145719" y="12987297"/>
                  </a:lnTo>
                  <a:lnTo>
                    <a:pt x="5124464" y="13060152"/>
                  </a:lnTo>
                  <a:lnTo>
                    <a:pt x="5128396" y="13083825"/>
                  </a:lnTo>
                  <a:lnTo>
                    <a:pt x="5133136" y="13112176"/>
                  </a:lnTo>
                  <a:lnTo>
                    <a:pt x="5165293" y="13120632"/>
                  </a:lnTo>
                  <a:lnTo>
                    <a:pt x="5169196" y="13158639"/>
                  </a:lnTo>
                  <a:lnTo>
                    <a:pt x="5173490" y="13200425"/>
                  </a:lnTo>
                  <a:lnTo>
                    <a:pt x="5138894" y="13237270"/>
                  </a:lnTo>
                  <a:lnTo>
                    <a:pt x="5137911" y="13278337"/>
                  </a:lnTo>
                  <a:lnTo>
                    <a:pt x="5146946" y="13317351"/>
                  </a:lnTo>
                  <a:lnTo>
                    <a:pt x="5174597" y="13341542"/>
                  </a:lnTo>
                  <a:lnTo>
                    <a:pt x="5196084" y="13352549"/>
                  </a:lnTo>
                  <a:lnTo>
                    <a:pt x="5212722" y="13368105"/>
                  </a:lnTo>
                  <a:lnTo>
                    <a:pt x="5260208" y="13412608"/>
                  </a:lnTo>
                  <a:lnTo>
                    <a:pt x="5316865" y="13502977"/>
                  </a:lnTo>
                  <a:lnTo>
                    <a:pt x="5339226" y="13563975"/>
                  </a:lnTo>
                  <a:lnTo>
                    <a:pt x="5363622" y="13630535"/>
                  </a:lnTo>
                  <a:lnTo>
                    <a:pt x="5316396" y="13686476"/>
                  </a:lnTo>
                  <a:lnTo>
                    <a:pt x="5335152" y="13744885"/>
                  </a:lnTo>
                  <a:lnTo>
                    <a:pt x="5364862" y="13735230"/>
                  </a:lnTo>
                  <a:lnTo>
                    <a:pt x="5367156" y="13706918"/>
                  </a:lnTo>
                  <a:lnTo>
                    <a:pt x="5407154" y="13659107"/>
                  </a:lnTo>
                  <a:lnTo>
                    <a:pt x="5471230" y="13667436"/>
                  </a:lnTo>
                  <a:lnTo>
                    <a:pt x="5505176" y="13633348"/>
                  </a:lnTo>
                  <a:lnTo>
                    <a:pt x="5514019" y="13610943"/>
                  </a:lnTo>
                  <a:lnTo>
                    <a:pt x="5502286" y="13578424"/>
                  </a:lnTo>
                  <a:lnTo>
                    <a:pt x="5505176" y="13553092"/>
                  </a:lnTo>
                  <a:lnTo>
                    <a:pt x="5520942" y="13536730"/>
                  </a:lnTo>
                  <a:lnTo>
                    <a:pt x="5543852" y="13541704"/>
                  </a:lnTo>
                  <a:lnTo>
                    <a:pt x="5582619" y="13564654"/>
                  </a:lnTo>
                  <a:lnTo>
                    <a:pt x="5642256" y="13549440"/>
                  </a:lnTo>
                  <a:lnTo>
                    <a:pt x="5672480" y="13502766"/>
                  </a:lnTo>
                  <a:lnTo>
                    <a:pt x="5704695" y="13475689"/>
                  </a:lnTo>
                  <a:lnTo>
                    <a:pt x="5779977" y="13459451"/>
                  </a:lnTo>
                  <a:lnTo>
                    <a:pt x="5789456" y="13412992"/>
                  </a:lnTo>
                  <a:lnTo>
                    <a:pt x="5779193" y="13336054"/>
                  </a:lnTo>
                  <a:lnTo>
                    <a:pt x="5688374" y="13374821"/>
                  </a:lnTo>
                  <a:lnTo>
                    <a:pt x="5647995" y="13342262"/>
                  </a:lnTo>
                  <a:lnTo>
                    <a:pt x="5558264" y="13223373"/>
                  </a:lnTo>
                  <a:lnTo>
                    <a:pt x="5540181" y="13178148"/>
                  </a:lnTo>
                  <a:lnTo>
                    <a:pt x="5545489" y="13111029"/>
                  </a:lnTo>
                  <a:lnTo>
                    <a:pt x="5563665" y="13086544"/>
                  </a:lnTo>
                  <a:lnTo>
                    <a:pt x="5585422" y="13070219"/>
                  </a:lnTo>
                  <a:lnTo>
                    <a:pt x="5612118" y="13055944"/>
                  </a:lnTo>
                  <a:lnTo>
                    <a:pt x="5644445" y="13052158"/>
                  </a:lnTo>
                  <a:lnTo>
                    <a:pt x="5672480" y="13041660"/>
                  </a:lnTo>
                  <a:lnTo>
                    <a:pt x="5698404" y="13031924"/>
                  </a:lnTo>
                  <a:lnTo>
                    <a:pt x="5720062" y="13007907"/>
                  </a:lnTo>
                  <a:lnTo>
                    <a:pt x="5745927" y="13000850"/>
                  </a:lnTo>
                  <a:lnTo>
                    <a:pt x="5769051" y="12994525"/>
                  </a:lnTo>
                  <a:lnTo>
                    <a:pt x="5807880" y="13009054"/>
                  </a:lnTo>
                  <a:lnTo>
                    <a:pt x="5833556" y="12992224"/>
                  </a:lnTo>
                  <a:lnTo>
                    <a:pt x="5853173" y="12952223"/>
                  </a:lnTo>
                  <a:lnTo>
                    <a:pt x="5875150" y="12930125"/>
                  </a:lnTo>
                  <a:lnTo>
                    <a:pt x="5905071" y="12949172"/>
                  </a:lnTo>
                  <a:lnTo>
                    <a:pt x="5898442" y="13049737"/>
                  </a:lnTo>
                  <a:lnTo>
                    <a:pt x="5939416" y="13008632"/>
                  </a:lnTo>
                  <a:lnTo>
                    <a:pt x="5982601" y="13057987"/>
                  </a:lnTo>
                  <a:lnTo>
                    <a:pt x="6003365" y="13081704"/>
                  </a:lnTo>
                  <a:lnTo>
                    <a:pt x="5998711" y="13112772"/>
                  </a:lnTo>
                  <a:lnTo>
                    <a:pt x="6013886" y="13138234"/>
                  </a:lnTo>
                  <a:lnTo>
                    <a:pt x="6044045" y="13126377"/>
                  </a:lnTo>
                  <a:lnTo>
                    <a:pt x="6038055" y="13102701"/>
                  </a:lnTo>
                  <a:lnTo>
                    <a:pt x="6035649" y="13081109"/>
                  </a:lnTo>
                  <a:lnTo>
                    <a:pt x="6039342" y="13045700"/>
                  </a:lnTo>
                  <a:lnTo>
                    <a:pt x="6037773" y="13018030"/>
                  </a:lnTo>
                  <a:lnTo>
                    <a:pt x="6014115" y="12978578"/>
                  </a:lnTo>
                  <a:lnTo>
                    <a:pt x="5996727" y="12938500"/>
                  </a:lnTo>
                  <a:lnTo>
                    <a:pt x="5976217" y="12897098"/>
                  </a:lnTo>
                  <a:lnTo>
                    <a:pt x="5971712" y="12868917"/>
                  </a:lnTo>
                  <a:lnTo>
                    <a:pt x="5963297" y="12816250"/>
                  </a:lnTo>
                  <a:lnTo>
                    <a:pt x="5988653" y="12696679"/>
                  </a:lnTo>
                  <a:lnTo>
                    <a:pt x="6016596" y="12649929"/>
                  </a:lnTo>
                  <a:lnTo>
                    <a:pt x="6057681" y="12707863"/>
                  </a:lnTo>
                  <a:lnTo>
                    <a:pt x="6018937" y="12780039"/>
                  </a:lnTo>
                  <a:lnTo>
                    <a:pt x="6034284" y="12809069"/>
                  </a:lnTo>
                  <a:lnTo>
                    <a:pt x="6079063" y="12842652"/>
                  </a:lnTo>
                  <a:lnTo>
                    <a:pt x="6084610" y="12890680"/>
                  </a:lnTo>
                  <a:lnTo>
                    <a:pt x="6103189" y="12864071"/>
                  </a:lnTo>
                  <a:lnTo>
                    <a:pt x="6156640" y="12740376"/>
                  </a:lnTo>
                  <a:lnTo>
                    <a:pt x="6153790" y="12703181"/>
                  </a:lnTo>
                  <a:lnTo>
                    <a:pt x="6129513" y="12688184"/>
                  </a:lnTo>
                  <a:lnTo>
                    <a:pt x="6125411" y="12663525"/>
                  </a:lnTo>
                  <a:lnTo>
                    <a:pt x="6120862" y="12636236"/>
                  </a:lnTo>
                  <a:lnTo>
                    <a:pt x="6125380" y="12611326"/>
                  </a:lnTo>
                  <a:lnTo>
                    <a:pt x="6130858" y="12584630"/>
                  </a:lnTo>
                  <a:lnTo>
                    <a:pt x="6149812" y="12492270"/>
                  </a:lnTo>
                  <a:lnTo>
                    <a:pt x="6200225" y="12502511"/>
                  </a:lnTo>
                  <a:lnTo>
                    <a:pt x="6275039" y="12526147"/>
                  </a:lnTo>
                  <a:lnTo>
                    <a:pt x="6296591" y="12532947"/>
                  </a:lnTo>
                  <a:lnTo>
                    <a:pt x="6323709" y="12538050"/>
                  </a:lnTo>
                  <a:lnTo>
                    <a:pt x="6343050" y="12549268"/>
                  </a:lnTo>
                  <a:lnTo>
                    <a:pt x="6385593" y="12574008"/>
                  </a:lnTo>
                  <a:lnTo>
                    <a:pt x="6411954" y="12650053"/>
                  </a:lnTo>
                  <a:lnTo>
                    <a:pt x="6435544" y="12692087"/>
                  </a:lnTo>
                  <a:lnTo>
                    <a:pt x="6461830" y="12727459"/>
                  </a:lnTo>
                  <a:lnTo>
                    <a:pt x="6473622" y="12745138"/>
                  </a:lnTo>
                  <a:lnTo>
                    <a:pt x="6498129" y="12716873"/>
                  </a:lnTo>
                  <a:lnTo>
                    <a:pt x="6499620" y="12661404"/>
                  </a:lnTo>
                  <a:lnTo>
                    <a:pt x="6525315" y="12647203"/>
                  </a:lnTo>
                  <a:lnTo>
                    <a:pt x="6545506" y="12655454"/>
                  </a:lnTo>
                  <a:lnTo>
                    <a:pt x="6555025" y="12681127"/>
                  </a:lnTo>
                  <a:lnTo>
                    <a:pt x="6576999" y="12692087"/>
                  </a:lnTo>
                  <a:lnTo>
                    <a:pt x="6607375" y="12669177"/>
                  </a:lnTo>
                  <a:lnTo>
                    <a:pt x="6599084" y="12645588"/>
                  </a:lnTo>
                  <a:lnTo>
                    <a:pt x="6606370" y="12606527"/>
                  </a:lnTo>
                  <a:lnTo>
                    <a:pt x="6624205" y="12592797"/>
                  </a:lnTo>
                  <a:lnTo>
                    <a:pt x="6609986" y="12546890"/>
                  </a:lnTo>
                  <a:lnTo>
                    <a:pt x="6595940" y="12519521"/>
                  </a:lnTo>
                  <a:lnTo>
                    <a:pt x="6589246" y="12492146"/>
                  </a:lnTo>
                  <a:lnTo>
                    <a:pt x="6594895" y="12460982"/>
                  </a:lnTo>
                  <a:lnTo>
                    <a:pt x="6628564" y="12428550"/>
                  </a:lnTo>
                  <a:lnTo>
                    <a:pt x="6639572" y="12395569"/>
                  </a:lnTo>
                  <a:lnTo>
                    <a:pt x="6649075" y="12367047"/>
                  </a:lnTo>
                  <a:lnTo>
                    <a:pt x="6653003" y="12270392"/>
                  </a:lnTo>
                  <a:lnTo>
                    <a:pt x="6672215" y="12247308"/>
                  </a:lnTo>
                  <a:lnTo>
                    <a:pt x="6700483" y="12268473"/>
                  </a:lnTo>
                  <a:lnTo>
                    <a:pt x="6720332" y="12311233"/>
                  </a:lnTo>
                  <a:lnTo>
                    <a:pt x="6734102" y="12341194"/>
                  </a:lnTo>
                  <a:lnTo>
                    <a:pt x="6745661" y="12375164"/>
                  </a:lnTo>
                  <a:lnTo>
                    <a:pt x="6742247" y="12408443"/>
                  </a:lnTo>
                  <a:lnTo>
                    <a:pt x="6704820" y="12423366"/>
                  </a:lnTo>
                  <a:lnTo>
                    <a:pt x="6710302" y="12462216"/>
                  </a:lnTo>
                  <a:lnTo>
                    <a:pt x="6719548" y="12481812"/>
                  </a:lnTo>
                  <a:lnTo>
                    <a:pt x="6740586" y="12489033"/>
                  </a:lnTo>
                  <a:lnTo>
                    <a:pt x="6749745" y="12511184"/>
                  </a:lnTo>
                  <a:lnTo>
                    <a:pt x="6774463" y="12571071"/>
                  </a:lnTo>
                  <a:lnTo>
                    <a:pt x="6740248" y="12599126"/>
                  </a:lnTo>
                  <a:lnTo>
                    <a:pt x="6744303" y="12652645"/>
                  </a:lnTo>
                  <a:lnTo>
                    <a:pt x="6773613" y="12629688"/>
                  </a:lnTo>
                  <a:lnTo>
                    <a:pt x="6804517" y="12610009"/>
                  </a:lnTo>
                  <a:lnTo>
                    <a:pt x="6834081" y="12588714"/>
                  </a:lnTo>
                  <a:lnTo>
                    <a:pt x="6864708" y="12566693"/>
                  </a:lnTo>
                  <a:lnTo>
                    <a:pt x="6892629" y="12535281"/>
                  </a:lnTo>
                  <a:lnTo>
                    <a:pt x="6919768" y="12509819"/>
                  </a:lnTo>
                  <a:lnTo>
                    <a:pt x="6957239" y="12484019"/>
                  </a:lnTo>
                  <a:lnTo>
                    <a:pt x="6994437" y="12451460"/>
                  </a:lnTo>
                  <a:lnTo>
                    <a:pt x="7015452" y="12430206"/>
                  </a:lnTo>
                  <a:lnTo>
                    <a:pt x="7038108" y="12411884"/>
                  </a:lnTo>
                  <a:lnTo>
                    <a:pt x="7066566" y="12388934"/>
                  </a:lnTo>
                  <a:lnTo>
                    <a:pt x="7105568" y="12377880"/>
                  </a:lnTo>
                  <a:lnTo>
                    <a:pt x="7131960" y="12352037"/>
                  </a:lnTo>
                  <a:lnTo>
                    <a:pt x="7148282" y="12330274"/>
                  </a:lnTo>
                  <a:lnTo>
                    <a:pt x="7164222" y="12303708"/>
                  </a:lnTo>
                  <a:lnTo>
                    <a:pt x="7180292" y="12272039"/>
                  </a:lnTo>
                  <a:lnTo>
                    <a:pt x="7198613" y="12247302"/>
                  </a:lnTo>
                  <a:lnTo>
                    <a:pt x="7219077" y="12219670"/>
                  </a:lnTo>
                  <a:lnTo>
                    <a:pt x="7244245" y="12194682"/>
                  </a:lnTo>
                  <a:lnTo>
                    <a:pt x="7262544" y="12165692"/>
                  </a:lnTo>
                  <a:lnTo>
                    <a:pt x="7279607" y="12138658"/>
                  </a:lnTo>
                  <a:lnTo>
                    <a:pt x="7299820" y="12095125"/>
                  </a:lnTo>
                  <a:lnTo>
                    <a:pt x="7311512" y="12065031"/>
                  </a:lnTo>
                  <a:lnTo>
                    <a:pt x="7342667" y="11965958"/>
                  </a:lnTo>
                  <a:lnTo>
                    <a:pt x="7440918" y="11823092"/>
                  </a:lnTo>
                  <a:lnTo>
                    <a:pt x="7511456" y="11749472"/>
                  </a:lnTo>
                  <a:lnTo>
                    <a:pt x="7548099" y="11711254"/>
                  </a:lnTo>
                  <a:lnTo>
                    <a:pt x="7656598" y="11621101"/>
                  </a:lnTo>
                  <a:lnTo>
                    <a:pt x="7674680" y="11576726"/>
                  </a:lnTo>
                  <a:lnTo>
                    <a:pt x="7727961" y="11544253"/>
                  </a:lnTo>
                  <a:lnTo>
                    <a:pt x="7756675" y="11517347"/>
                  </a:lnTo>
                  <a:lnTo>
                    <a:pt x="7775338" y="11488307"/>
                  </a:lnTo>
                  <a:lnTo>
                    <a:pt x="7822392" y="11424766"/>
                  </a:lnTo>
                  <a:lnTo>
                    <a:pt x="7903854" y="11342641"/>
                  </a:lnTo>
                  <a:lnTo>
                    <a:pt x="7968483" y="11297881"/>
                  </a:lnTo>
                  <a:lnTo>
                    <a:pt x="8003910" y="11270636"/>
                  </a:lnTo>
                  <a:lnTo>
                    <a:pt x="8058406" y="11184561"/>
                  </a:lnTo>
                  <a:lnTo>
                    <a:pt x="8070625" y="11042678"/>
                  </a:lnTo>
                  <a:lnTo>
                    <a:pt x="8096345" y="11004076"/>
                  </a:lnTo>
                  <a:lnTo>
                    <a:pt x="8119698" y="10969011"/>
                  </a:lnTo>
                  <a:lnTo>
                    <a:pt x="8160766" y="10969479"/>
                  </a:lnTo>
                  <a:lnTo>
                    <a:pt x="8186116" y="10933348"/>
                  </a:lnTo>
                  <a:lnTo>
                    <a:pt x="8243564" y="10851524"/>
                  </a:lnTo>
                  <a:lnTo>
                    <a:pt x="8258229" y="10744792"/>
                  </a:lnTo>
                  <a:lnTo>
                    <a:pt x="8318058" y="10664031"/>
                  </a:lnTo>
                  <a:lnTo>
                    <a:pt x="8342692" y="10640653"/>
                  </a:lnTo>
                  <a:lnTo>
                    <a:pt x="8379543" y="10588157"/>
                  </a:lnTo>
                  <a:lnTo>
                    <a:pt x="8401135" y="10543273"/>
                  </a:lnTo>
                  <a:lnTo>
                    <a:pt x="8429593" y="10504891"/>
                  </a:lnTo>
                  <a:lnTo>
                    <a:pt x="8462363" y="10460599"/>
                  </a:lnTo>
                  <a:lnTo>
                    <a:pt x="8512313" y="10428291"/>
                  </a:lnTo>
                  <a:lnTo>
                    <a:pt x="8545207" y="10383834"/>
                  </a:lnTo>
                  <a:lnTo>
                    <a:pt x="8587335" y="10326957"/>
                  </a:lnTo>
                  <a:lnTo>
                    <a:pt x="8688408" y="10068564"/>
                  </a:lnTo>
                  <a:lnTo>
                    <a:pt x="8674427" y="10005693"/>
                  </a:lnTo>
                  <a:lnTo>
                    <a:pt x="8662437" y="9981338"/>
                  </a:lnTo>
                  <a:lnTo>
                    <a:pt x="8618403" y="9965103"/>
                  </a:lnTo>
                  <a:lnTo>
                    <a:pt x="8514666" y="9908183"/>
                  </a:lnTo>
                  <a:lnTo>
                    <a:pt x="8552007" y="9854710"/>
                  </a:lnTo>
                  <a:lnTo>
                    <a:pt x="8621637" y="9829552"/>
                  </a:lnTo>
                  <a:lnTo>
                    <a:pt x="8695576" y="9930203"/>
                  </a:lnTo>
                  <a:lnTo>
                    <a:pt x="8751957" y="9924083"/>
                  </a:lnTo>
                  <a:lnTo>
                    <a:pt x="8763309" y="9906146"/>
                  </a:lnTo>
                  <a:lnTo>
                    <a:pt x="8770028" y="9869205"/>
                  </a:lnTo>
                  <a:lnTo>
                    <a:pt x="8775085" y="9847911"/>
                  </a:lnTo>
                  <a:lnTo>
                    <a:pt x="8794659" y="9823385"/>
                  </a:lnTo>
                  <a:lnTo>
                    <a:pt x="8814701" y="9804769"/>
                  </a:lnTo>
                  <a:lnTo>
                    <a:pt x="8836293" y="9796221"/>
                  </a:lnTo>
                  <a:lnTo>
                    <a:pt x="8871166" y="9773825"/>
                  </a:lnTo>
                  <a:lnTo>
                    <a:pt x="8906022" y="9744794"/>
                  </a:lnTo>
                  <a:lnTo>
                    <a:pt x="8935586" y="9715974"/>
                  </a:lnTo>
                  <a:lnTo>
                    <a:pt x="8946811" y="9678950"/>
                  </a:lnTo>
                  <a:lnTo>
                    <a:pt x="8963768" y="9640311"/>
                  </a:lnTo>
                  <a:lnTo>
                    <a:pt x="8972313" y="9598992"/>
                  </a:lnTo>
                  <a:lnTo>
                    <a:pt x="8981367" y="9555172"/>
                  </a:lnTo>
                  <a:lnTo>
                    <a:pt x="8984514" y="9506415"/>
                  </a:lnTo>
                  <a:lnTo>
                    <a:pt x="9000875" y="9464331"/>
                  </a:lnTo>
                  <a:lnTo>
                    <a:pt x="9011737" y="9436450"/>
                  </a:lnTo>
                  <a:lnTo>
                    <a:pt x="9032439" y="9407971"/>
                  </a:lnTo>
                  <a:lnTo>
                    <a:pt x="9040321" y="9380004"/>
                  </a:lnTo>
                  <a:lnTo>
                    <a:pt x="9045034" y="9348974"/>
                  </a:lnTo>
                  <a:lnTo>
                    <a:pt x="9032241" y="9319304"/>
                  </a:lnTo>
                  <a:lnTo>
                    <a:pt x="9008314" y="9300180"/>
                  </a:lnTo>
                  <a:lnTo>
                    <a:pt x="8983912" y="9245256"/>
                  </a:lnTo>
                  <a:lnTo>
                    <a:pt x="9011157" y="9201817"/>
                  </a:lnTo>
                  <a:lnTo>
                    <a:pt x="8994070" y="9162371"/>
                  </a:lnTo>
                  <a:lnTo>
                    <a:pt x="8976027" y="9120718"/>
                  </a:lnTo>
                  <a:lnTo>
                    <a:pt x="8903384" y="9125049"/>
                  </a:lnTo>
                  <a:lnTo>
                    <a:pt x="8883897" y="9053556"/>
                  </a:lnTo>
                  <a:lnTo>
                    <a:pt x="8881580" y="9028773"/>
                  </a:lnTo>
                  <a:lnTo>
                    <a:pt x="8901635" y="8986651"/>
                  </a:lnTo>
                  <a:lnTo>
                    <a:pt x="8932731" y="8964464"/>
                  </a:lnTo>
                  <a:lnTo>
                    <a:pt x="8953260" y="8936574"/>
                  </a:lnTo>
                  <a:lnTo>
                    <a:pt x="8985159" y="8893265"/>
                  </a:lnTo>
                  <a:lnTo>
                    <a:pt x="9012363" y="8800554"/>
                  </a:lnTo>
                  <a:lnTo>
                    <a:pt x="9066158" y="8782875"/>
                  </a:lnTo>
                  <a:lnTo>
                    <a:pt x="9125138" y="8763536"/>
                  </a:lnTo>
                  <a:lnTo>
                    <a:pt x="9145543" y="8836775"/>
                  </a:lnTo>
                  <a:lnTo>
                    <a:pt x="9234824" y="8803280"/>
                  </a:lnTo>
                  <a:lnTo>
                    <a:pt x="9295199" y="8780624"/>
                  </a:lnTo>
                  <a:lnTo>
                    <a:pt x="9377392" y="8744319"/>
                  </a:lnTo>
                  <a:lnTo>
                    <a:pt x="9429333" y="8705345"/>
                  </a:lnTo>
                  <a:lnTo>
                    <a:pt x="9458832" y="8683200"/>
                  </a:lnTo>
                  <a:lnTo>
                    <a:pt x="9486592" y="8649196"/>
                  </a:lnTo>
                  <a:lnTo>
                    <a:pt x="9521827" y="8635972"/>
                  </a:lnTo>
                  <a:lnTo>
                    <a:pt x="9566922" y="8619055"/>
                  </a:lnTo>
                  <a:lnTo>
                    <a:pt x="9588133" y="8650256"/>
                  </a:lnTo>
                  <a:lnTo>
                    <a:pt x="9618397" y="8641414"/>
                  </a:lnTo>
                  <a:lnTo>
                    <a:pt x="9669281" y="8601797"/>
                  </a:lnTo>
                  <a:lnTo>
                    <a:pt x="9758268" y="8539358"/>
                  </a:lnTo>
                  <a:lnTo>
                    <a:pt x="9818348" y="8518999"/>
                  </a:lnTo>
                  <a:lnTo>
                    <a:pt x="9856222" y="8506160"/>
                  </a:lnTo>
                  <a:lnTo>
                    <a:pt x="9898151" y="8498039"/>
                  </a:lnTo>
                  <a:lnTo>
                    <a:pt x="9935327" y="8483631"/>
                  </a:lnTo>
                  <a:lnTo>
                    <a:pt x="9956709" y="8475340"/>
                  </a:lnTo>
                  <a:lnTo>
                    <a:pt x="9978769" y="8466122"/>
                  </a:lnTo>
                  <a:lnTo>
                    <a:pt x="10001974" y="8463232"/>
                  </a:lnTo>
                  <a:lnTo>
                    <a:pt x="10061825" y="8455747"/>
                  </a:lnTo>
                  <a:lnTo>
                    <a:pt x="10122609" y="8475169"/>
                  </a:lnTo>
                  <a:lnTo>
                    <a:pt x="10182887" y="8461874"/>
                  </a:lnTo>
                  <a:lnTo>
                    <a:pt x="10276850" y="8441193"/>
                  </a:lnTo>
                  <a:lnTo>
                    <a:pt x="10321586" y="8395590"/>
                  </a:lnTo>
                  <a:lnTo>
                    <a:pt x="10424999" y="8406101"/>
                  </a:lnTo>
                  <a:lnTo>
                    <a:pt x="10422531" y="8375619"/>
                  </a:lnTo>
                  <a:lnTo>
                    <a:pt x="10420172" y="8340672"/>
                  </a:lnTo>
                  <a:lnTo>
                    <a:pt x="10408697" y="8291137"/>
                  </a:lnTo>
                  <a:lnTo>
                    <a:pt x="10399212" y="8262984"/>
                  </a:lnTo>
                  <a:lnTo>
                    <a:pt x="10393711" y="8241519"/>
                  </a:lnTo>
                  <a:lnTo>
                    <a:pt x="10388022" y="8219287"/>
                  </a:lnTo>
                  <a:lnTo>
                    <a:pt x="10386273" y="8191106"/>
                  </a:lnTo>
                  <a:lnTo>
                    <a:pt x="10381473" y="8168066"/>
                  </a:lnTo>
                  <a:lnTo>
                    <a:pt x="10355627" y="8042926"/>
                  </a:lnTo>
                  <a:lnTo>
                    <a:pt x="10362076" y="8008060"/>
                  </a:lnTo>
                  <a:lnTo>
                    <a:pt x="10373310" y="7987159"/>
                  </a:lnTo>
                  <a:lnTo>
                    <a:pt x="10384546" y="7966261"/>
                  </a:lnTo>
                  <a:lnTo>
                    <a:pt x="10397373" y="7944523"/>
                  </a:lnTo>
                  <a:lnTo>
                    <a:pt x="10395020" y="7894541"/>
                  </a:lnTo>
                  <a:lnTo>
                    <a:pt x="10383588" y="7869011"/>
                  </a:lnTo>
                  <a:lnTo>
                    <a:pt x="10373310" y="7841624"/>
                  </a:lnTo>
                  <a:lnTo>
                    <a:pt x="10363034" y="7814227"/>
                  </a:lnTo>
                  <a:lnTo>
                    <a:pt x="10352988" y="7784787"/>
                  </a:lnTo>
                  <a:lnTo>
                    <a:pt x="10355627" y="7747766"/>
                  </a:lnTo>
                  <a:lnTo>
                    <a:pt x="10361912" y="7709126"/>
                  </a:lnTo>
                  <a:lnTo>
                    <a:pt x="10371105" y="7672155"/>
                  </a:lnTo>
                  <a:lnTo>
                    <a:pt x="10378748" y="7634867"/>
                  </a:lnTo>
                  <a:lnTo>
                    <a:pt x="10378748" y="7607663"/>
                  </a:lnTo>
                  <a:lnTo>
                    <a:pt x="10370438" y="7560912"/>
                  </a:lnTo>
                  <a:lnTo>
                    <a:pt x="10359710" y="7506035"/>
                  </a:lnTo>
                  <a:lnTo>
                    <a:pt x="10359710" y="7458044"/>
                  </a:lnTo>
                  <a:lnTo>
                    <a:pt x="10363785" y="7436281"/>
                  </a:lnTo>
                  <a:lnTo>
                    <a:pt x="10356591" y="7395775"/>
                  </a:lnTo>
                  <a:lnTo>
                    <a:pt x="10345187" y="7364350"/>
                  </a:lnTo>
                  <a:lnTo>
                    <a:pt x="10320258" y="7338346"/>
                  </a:lnTo>
                  <a:lnTo>
                    <a:pt x="10290198" y="7315448"/>
                  </a:lnTo>
                  <a:lnTo>
                    <a:pt x="10241634" y="7286200"/>
                  </a:lnTo>
                  <a:lnTo>
                    <a:pt x="10209413" y="7269978"/>
                  </a:lnTo>
                  <a:lnTo>
                    <a:pt x="10197838" y="7247210"/>
                  </a:lnTo>
                  <a:lnTo>
                    <a:pt x="10180230" y="7212567"/>
                  </a:lnTo>
                  <a:lnTo>
                    <a:pt x="10171499" y="7179534"/>
                  </a:lnTo>
                  <a:lnTo>
                    <a:pt x="10158392" y="7149278"/>
                  </a:lnTo>
                  <a:lnTo>
                    <a:pt x="10145296" y="7119026"/>
                  </a:lnTo>
                  <a:lnTo>
                    <a:pt x="10127139" y="7090702"/>
                  </a:lnTo>
                  <a:lnTo>
                    <a:pt x="10091745" y="7066307"/>
                  </a:lnTo>
                  <a:lnTo>
                    <a:pt x="10055149" y="7037152"/>
                  </a:lnTo>
                  <a:lnTo>
                    <a:pt x="10034614" y="7032303"/>
                  </a:lnTo>
                  <a:lnTo>
                    <a:pt x="10001804" y="7003272"/>
                  </a:lnTo>
                  <a:lnTo>
                    <a:pt x="9970754" y="6988091"/>
                  </a:lnTo>
                  <a:lnTo>
                    <a:pt x="9951642" y="6971091"/>
                  </a:lnTo>
                  <a:lnTo>
                    <a:pt x="9924893" y="6947300"/>
                  </a:lnTo>
                  <a:lnTo>
                    <a:pt x="9908051" y="6908332"/>
                  </a:lnTo>
                  <a:lnTo>
                    <a:pt x="9895875" y="6867714"/>
                  </a:lnTo>
                  <a:lnTo>
                    <a:pt x="9883696" y="6827103"/>
                  </a:lnTo>
                  <a:lnTo>
                    <a:pt x="9876258" y="6784894"/>
                  </a:lnTo>
                  <a:lnTo>
                    <a:pt x="9868674" y="6750741"/>
                  </a:lnTo>
                  <a:lnTo>
                    <a:pt x="9868212" y="6717119"/>
                  </a:lnTo>
                  <a:lnTo>
                    <a:pt x="9865948" y="6688175"/>
                  </a:lnTo>
                  <a:lnTo>
                    <a:pt x="9979039" y="6676185"/>
                  </a:lnTo>
                  <a:lnTo>
                    <a:pt x="10046821" y="6666920"/>
                  </a:lnTo>
                  <a:lnTo>
                    <a:pt x="10074156" y="6673348"/>
                  </a:lnTo>
                  <a:lnTo>
                    <a:pt x="10112051" y="6656750"/>
                  </a:lnTo>
                  <a:lnTo>
                    <a:pt x="10121489" y="6634612"/>
                  </a:lnTo>
                  <a:lnTo>
                    <a:pt x="10143435" y="6569835"/>
                  </a:lnTo>
                  <a:lnTo>
                    <a:pt x="10204340" y="6560992"/>
                  </a:lnTo>
                  <a:lnTo>
                    <a:pt x="10235923" y="6599755"/>
                  </a:lnTo>
                  <a:lnTo>
                    <a:pt x="10269834" y="6590978"/>
                  </a:lnTo>
                  <a:lnTo>
                    <a:pt x="10292409" y="6584330"/>
                  </a:lnTo>
                  <a:lnTo>
                    <a:pt x="10314817" y="6580718"/>
                  </a:lnTo>
                  <a:lnTo>
                    <a:pt x="10337228" y="6577102"/>
                  </a:lnTo>
                  <a:lnTo>
                    <a:pt x="10359841" y="6576913"/>
                  </a:lnTo>
                  <a:lnTo>
                    <a:pt x="10385396" y="6576575"/>
                  </a:lnTo>
                  <a:lnTo>
                    <a:pt x="10417784" y="6578975"/>
                  </a:lnTo>
                  <a:lnTo>
                    <a:pt x="10543693" y="6572092"/>
                  </a:lnTo>
                  <a:lnTo>
                    <a:pt x="10566538" y="6542376"/>
                  </a:lnTo>
                  <a:lnTo>
                    <a:pt x="10561416" y="6516191"/>
                  </a:lnTo>
                  <a:lnTo>
                    <a:pt x="10575976" y="6489582"/>
                  </a:lnTo>
                  <a:lnTo>
                    <a:pt x="10656250" y="6453922"/>
                  </a:lnTo>
                  <a:lnTo>
                    <a:pt x="10690010" y="6421444"/>
                  </a:lnTo>
                  <a:lnTo>
                    <a:pt x="10703739" y="6387328"/>
                  </a:lnTo>
                  <a:lnTo>
                    <a:pt x="10711996" y="6350846"/>
                  </a:lnTo>
                  <a:lnTo>
                    <a:pt x="10720253" y="6314356"/>
                  </a:lnTo>
                  <a:lnTo>
                    <a:pt x="10723682" y="6275880"/>
                  </a:lnTo>
                  <a:lnTo>
                    <a:pt x="10725595" y="6243386"/>
                  </a:lnTo>
                  <a:lnTo>
                    <a:pt x="10747358" y="6231148"/>
                  </a:lnTo>
                  <a:lnTo>
                    <a:pt x="10770485" y="6221623"/>
                  </a:lnTo>
                  <a:lnTo>
                    <a:pt x="10795718" y="6205634"/>
                  </a:lnTo>
                  <a:lnTo>
                    <a:pt x="10807813" y="6185926"/>
                  </a:lnTo>
                  <a:lnTo>
                    <a:pt x="10809931" y="6163134"/>
                  </a:lnTo>
                  <a:lnTo>
                    <a:pt x="10810452" y="6139861"/>
                  </a:lnTo>
                  <a:lnTo>
                    <a:pt x="10802272" y="6113125"/>
                  </a:lnTo>
                  <a:lnTo>
                    <a:pt x="10797684" y="6085604"/>
                  </a:lnTo>
                  <a:lnTo>
                    <a:pt x="10788444" y="6040844"/>
                  </a:lnTo>
                  <a:lnTo>
                    <a:pt x="10807404" y="6018535"/>
                  </a:lnTo>
                  <a:lnTo>
                    <a:pt x="10842450" y="5999147"/>
                  </a:lnTo>
                  <a:lnTo>
                    <a:pt x="10856096" y="5968116"/>
                  </a:lnTo>
                  <a:lnTo>
                    <a:pt x="10851228" y="5945932"/>
                  </a:lnTo>
                  <a:lnTo>
                    <a:pt x="10841830" y="5908644"/>
                  </a:lnTo>
                  <a:lnTo>
                    <a:pt x="10826259" y="5889737"/>
                  </a:lnTo>
                  <a:lnTo>
                    <a:pt x="10806486" y="5880906"/>
                  </a:lnTo>
                  <a:lnTo>
                    <a:pt x="10771936" y="5878823"/>
                  </a:lnTo>
                  <a:lnTo>
                    <a:pt x="10744701" y="5884763"/>
                  </a:lnTo>
                  <a:lnTo>
                    <a:pt x="10716086" y="5876137"/>
                  </a:lnTo>
                  <a:lnTo>
                    <a:pt x="10698437" y="5850139"/>
                  </a:lnTo>
                  <a:lnTo>
                    <a:pt x="10692924" y="5809642"/>
                  </a:lnTo>
                  <a:lnTo>
                    <a:pt x="10692509" y="5788385"/>
                  </a:lnTo>
                  <a:lnTo>
                    <a:pt x="10675158" y="5753122"/>
                  </a:lnTo>
                  <a:lnTo>
                    <a:pt x="10661506" y="5735061"/>
                  </a:lnTo>
                  <a:lnTo>
                    <a:pt x="10645355" y="5719719"/>
                  </a:lnTo>
                  <a:lnTo>
                    <a:pt x="10629198" y="5704374"/>
                  </a:lnTo>
                  <a:lnTo>
                    <a:pt x="10611100" y="5691705"/>
                  </a:lnTo>
                  <a:lnTo>
                    <a:pt x="10592304" y="5676193"/>
                  </a:lnTo>
                  <a:lnTo>
                    <a:pt x="10570563" y="5638102"/>
                  </a:lnTo>
                  <a:lnTo>
                    <a:pt x="10571576" y="5615152"/>
                  </a:lnTo>
                  <a:lnTo>
                    <a:pt x="10576556" y="5584037"/>
                  </a:lnTo>
                  <a:lnTo>
                    <a:pt x="10550136" y="5560572"/>
                  </a:lnTo>
                  <a:lnTo>
                    <a:pt x="10521567" y="5556554"/>
                  </a:lnTo>
                  <a:lnTo>
                    <a:pt x="10497628" y="5566789"/>
                  </a:lnTo>
                  <a:lnTo>
                    <a:pt x="10473973" y="5579616"/>
                  </a:lnTo>
                  <a:lnTo>
                    <a:pt x="10450309" y="5592437"/>
                  </a:lnTo>
                  <a:lnTo>
                    <a:pt x="10427570" y="5607118"/>
                  </a:lnTo>
                  <a:lnTo>
                    <a:pt x="10401878" y="5610904"/>
                  </a:lnTo>
                  <a:lnTo>
                    <a:pt x="10357546" y="5574243"/>
                  </a:lnTo>
                  <a:lnTo>
                    <a:pt x="10336648" y="5557794"/>
                  </a:lnTo>
                  <a:lnTo>
                    <a:pt x="10312107" y="5546973"/>
                  </a:lnTo>
                  <a:lnTo>
                    <a:pt x="10287560" y="5536158"/>
                  </a:lnTo>
                  <a:lnTo>
                    <a:pt x="10258907" y="5531296"/>
                  </a:lnTo>
                  <a:lnTo>
                    <a:pt x="10218255" y="5522494"/>
                  </a:lnTo>
                  <a:lnTo>
                    <a:pt x="10195820" y="5517632"/>
                  </a:lnTo>
                  <a:lnTo>
                    <a:pt x="10174723" y="5495289"/>
                  </a:lnTo>
                  <a:lnTo>
                    <a:pt x="10164705" y="5466231"/>
                  </a:lnTo>
                  <a:lnTo>
                    <a:pt x="10166197" y="5414665"/>
                  </a:lnTo>
                  <a:lnTo>
                    <a:pt x="10177616" y="5375170"/>
                  </a:lnTo>
                  <a:lnTo>
                    <a:pt x="10174723" y="5345664"/>
                  </a:lnTo>
                  <a:lnTo>
                    <a:pt x="10200408" y="5321771"/>
                  </a:lnTo>
                  <a:lnTo>
                    <a:pt x="10223691" y="5315744"/>
                  </a:lnTo>
                  <a:lnTo>
                    <a:pt x="10246976" y="5309713"/>
                  </a:lnTo>
                  <a:lnTo>
                    <a:pt x="10273257" y="5306178"/>
                  </a:lnTo>
                  <a:lnTo>
                    <a:pt x="10304411" y="5283479"/>
                  </a:lnTo>
                  <a:lnTo>
                    <a:pt x="10318287" y="5265319"/>
                  </a:lnTo>
                  <a:lnTo>
                    <a:pt x="10332512" y="5247735"/>
                  </a:lnTo>
                  <a:lnTo>
                    <a:pt x="10346738" y="5230146"/>
                  </a:lnTo>
                  <a:lnTo>
                    <a:pt x="10361689" y="5212959"/>
                  </a:lnTo>
                  <a:lnTo>
                    <a:pt x="10380115" y="5200126"/>
                  </a:lnTo>
                  <a:lnTo>
                    <a:pt x="10370069" y="5138576"/>
                  </a:lnTo>
                  <a:lnTo>
                    <a:pt x="10333383" y="5037621"/>
                  </a:lnTo>
                  <a:lnTo>
                    <a:pt x="10308024" y="5005617"/>
                  </a:lnTo>
                  <a:lnTo>
                    <a:pt x="10283585" y="5007623"/>
                  </a:lnTo>
                  <a:lnTo>
                    <a:pt x="10108761" y="5042991"/>
                  </a:lnTo>
                  <a:lnTo>
                    <a:pt x="10055493" y="5052554"/>
                  </a:lnTo>
                  <a:lnTo>
                    <a:pt x="10019071" y="5066060"/>
                  </a:lnTo>
                  <a:lnTo>
                    <a:pt x="9982943" y="5081795"/>
                  </a:lnTo>
                  <a:lnTo>
                    <a:pt x="9946815" y="5097524"/>
                  </a:lnTo>
                  <a:lnTo>
                    <a:pt x="9911394" y="5114953"/>
                  </a:lnTo>
                  <a:lnTo>
                    <a:pt x="9872770" y="5132121"/>
                  </a:lnTo>
                  <a:lnTo>
                    <a:pt x="9844198" y="5123963"/>
                  </a:lnTo>
                  <a:lnTo>
                    <a:pt x="9832406" y="5035550"/>
                  </a:lnTo>
                  <a:lnTo>
                    <a:pt x="9795639" y="5019353"/>
                  </a:lnTo>
                  <a:lnTo>
                    <a:pt x="9737593" y="5018767"/>
                  </a:lnTo>
                  <a:lnTo>
                    <a:pt x="9686415" y="5022459"/>
                  </a:lnTo>
                  <a:lnTo>
                    <a:pt x="9640173" y="5017870"/>
                  </a:lnTo>
                  <a:lnTo>
                    <a:pt x="9598092" y="5002780"/>
                  </a:lnTo>
                  <a:lnTo>
                    <a:pt x="9513120" y="4985224"/>
                  </a:lnTo>
                  <a:lnTo>
                    <a:pt x="9442966" y="4980465"/>
                  </a:lnTo>
                  <a:lnTo>
                    <a:pt x="9376291" y="4967545"/>
                  </a:lnTo>
                  <a:lnTo>
                    <a:pt x="9270199" y="4590759"/>
                  </a:lnTo>
                  <a:lnTo>
                    <a:pt x="9164106" y="4212620"/>
                  </a:lnTo>
                  <a:lnTo>
                    <a:pt x="9193208" y="4154559"/>
                  </a:lnTo>
                  <a:lnTo>
                    <a:pt x="9211715" y="4102444"/>
                  </a:lnTo>
                  <a:lnTo>
                    <a:pt x="9230207" y="4050333"/>
                  </a:lnTo>
                  <a:lnTo>
                    <a:pt x="9247564" y="3997006"/>
                  </a:lnTo>
                  <a:lnTo>
                    <a:pt x="9252748" y="3963832"/>
                  </a:lnTo>
                  <a:lnTo>
                    <a:pt x="9257068" y="3942993"/>
                  </a:lnTo>
                  <a:lnTo>
                    <a:pt x="9264283" y="3902804"/>
                  </a:lnTo>
                  <a:lnTo>
                    <a:pt x="9267482" y="3864409"/>
                  </a:lnTo>
                  <a:lnTo>
                    <a:pt x="9260677" y="3837205"/>
                  </a:lnTo>
                  <a:lnTo>
                    <a:pt x="9262035" y="3810000"/>
                  </a:lnTo>
                  <a:lnTo>
                    <a:pt x="9285162" y="3797760"/>
                  </a:lnTo>
                  <a:lnTo>
                    <a:pt x="9308283" y="3785521"/>
                  </a:lnTo>
                  <a:lnTo>
                    <a:pt x="9316000" y="3751174"/>
                  </a:lnTo>
                  <a:lnTo>
                    <a:pt x="9322608" y="3585530"/>
                  </a:lnTo>
                  <a:lnTo>
                    <a:pt x="9308283" y="3544760"/>
                  </a:lnTo>
                  <a:lnTo>
                    <a:pt x="9229395" y="3517556"/>
                  </a:lnTo>
                  <a:lnTo>
                    <a:pt x="9213793" y="3469816"/>
                  </a:lnTo>
                  <a:lnTo>
                    <a:pt x="9204910" y="3438668"/>
                  </a:lnTo>
                  <a:lnTo>
                    <a:pt x="9196026" y="3407521"/>
                  </a:lnTo>
                  <a:lnTo>
                    <a:pt x="9185863" y="3378140"/>
                  </a:lnTo>
                  <a:lnTo>
                    <a:pt x="9121727" y="3367212"/>
                  </a:lnTo>
                  <a:lnTo>
                    <a:pt x="9060407" y="3361686"/>
                  </a:lnTo>
                  <a:lnTo>
                    <a:pt x="9009039" y="3372013"/>
                  </a:lnTo>
                  <a:lnTo>
                    <a:pt x="9004556" y="3336117"/>
                  </a:lnTo>
                  <a:lnTo>
                    <a:pt x="9018859" y="3320052"/>
                  </a:lnTo>
                  <a:lnTo>
                    <a:pt x="9034886" y="3305366"/>
                  </a:lnTo>
                  <a:lnTo>
                    <a:pt x="9050910" y="3290678"/>
                  </a:lnTo>
                  <a:lnTo>
                    <a:pt x="9068909" y="3277205"/>
                  </a:lnTo>
                  <a:lnTo>
                    <a:pt x="9074654" y="3254657"/>
                  </a:lnTo>
                  <a:lnTo>
                    <a:pt x="9051440" y="3221030"/>
                  </a:lnTo>
                  <a:lnTo>
                    <a:pt x="9047133" y="3199267"/>
                  </a:lnTo>
                  <a:lnTo>
                    <a:pt x="9042225" y="3171937"/>
                  </a:lnTo>
                  <a:lnTo>
                    <a:pt x="9022626" y="3137934"/>
                  </a:lnTo>
                  <a:lnTo>
                    <a:pt x="9022645" y="3112213"/>
                  </a:lnTo>
                  <a:lnTo>
                    <a:pt x="8975293" y="3105882"/>
                  </a:lnTo>
                  <a:lnTo>
                    <a:pt x="8939782" y="3117529"/>
                  </a:lnTo>
                  <a:lnTo>
                    <a:pt x="8904314" y="3124460"/>
                  </a:lnTo>
                  <a:lnTo>
                    <a:pt x="8862397" y="3132618"/>
                  </a:lnTo>
                  <a:lnTo>
                    <a:pt x="8818400" y="3139253"/>
                  </a:lnTo>
                  <a:lnTo>
                    <a:pt x="8779168" y="3157105"/>
                  </a:lnTo>
                  <a:lnTo>
                    <a:pt x="8766394" y="3204147"/>
                  </a:lnTo>
                  <a:lnTo>
                    <a:pt x="8760127" y="3241435"/>
                  </a:lnTo>
                  <a:lnTo>
                    <a:pt x="8752391" y="3279138"/>
                  </a:lnTo>
                  <a:lnTo>
                    <a:pt x="8737943" y="3317994"/>
                  </a:lnTo>
                  <a:lnTo>
                    <a:pt x="8727410" y="3337455"/>
                  </a:lnTo>
                  <a:lnTo>
                    <a:pt x="8712521" y="3354332"/>
                  </a:lnTo>
                  <a:lnTo>
                    <a:pt x="8678756" y="3340027"/>
                  </a:lnTo>
                  <a:lnTo>
                    <a:pt x="8660837" y="3323047"/>
                  </a:lnTo>
                  <a:lnTo>
                    <a:pt x="8642919" y="3306065"/>
                  </a:lnTo>
                  <a:lnTo>
                    <a:pt x="8627794" y="3286193"/>
                  </a:lnTo>
                  <a:lnTo>
                    <a:pt x="8662664" y="3263540"/>
                  </a:lnTo>
                  <a:lnTo>
                    <a:pt x="8671711" y="3231911"/>
                  </a:lnTo>
                  <a:lnTo>
                    <a:pt x="8636349" y="3151665"/>
                  </a:lnTo>
                  <a:lnTo>
                    <a:pt x="8609098" y="3146013"/>
                  </a:lnTo>
                  <a:lnTo>
                    <a:pt x="8560000" y="3148037"/>
                  </a:lnTo>
                  <a:lnTo>
                    <a:pt x="8513928" y="3148947"/>
                  </a:lnTo>
                  <a:lnTo>
                    <a:pt x="8467857" y="3149857"/>
                  </a:lnTo>
                  <a:lnTo>
                    <a:pt x="8425035" y="3149409"/>
                  </a:lnTo>
                  <a:lnTo>
                    <a:pt x="8407836" y="3135342"/>
                  </a:lnTo>
                  <a:lnTo>
                    <a:pt x="8392978" y="3112853"/>
                  </a:lnTo>
                  <a:lnTo>
                    <a:pt x="8385539" y="3090114"/>
                  </a:lnTo>
                  <a:lnTo>
                    <a:pt x="8348428" y="3082213"/>
                  </a:lnTo>
                  <a:lnTo>
                    <a:pt x="8318058" y="3087740"/>
                  </a:lnTo>
                  <a:lnTo>
                    <a:pt x="8313956" y="3109246"/>
                  </a:lnTo>
                  <a:lnTo>
                    <a:pt x="8290537" y="3131781"/>
                  </a:lnTo>
                  <a:lnTo>
                    <a:pt x="8263652" y="3151665"/>
                  </a:lnTo>
                  <a:lnTo>
                    <a:pt x="8236764" y="3171555"/>
                  </a:lnTo>
                  <a:lnTo>
                    <a:pt x="8206670" y="3188201"/>
                  </a:lnTo>
                  <a:lnTo>
                    <a:pt x="8152118" y="3182950"/>
                  </a:lnTo>
                  <a:lnTo>
                    <a:pt x="8123549" y="3140782"/>
                  </a:lnTo>
                  <a:lnTo>
                    <a:pt x="8047061" y="3147496"/>
                  </a:lnTo>
                  <a:lnTo>
                    <a:pt x="7984429" y="3147034"/>
                  </a:lnTo>
                  <a:lnTo>
                    <a:pt x="7927679" y="3172068"/>
                  </a:lnTo>
                  <a:lnTo>
                    <a:pt x="7903311" y="3157322"/>
                  </a:lnTo>
                  <a:lnTo>
                    <a:pt x="7878600" y="3124243"/>
                  </a:lnTo>
                  <a:lnTo>
                    <a:pt x="7865782" y="3105533"/>
                  </a:lnTo>
                  <a:lnTo>
                    <a:pt x="7826014" y="3084238"/>
                  </a:lnTo>
                  <a:lnTo>
                    <a:pt x="7735849" y="3058023"/>
                  </a:lnTo>
                  <a:lnTo>
                    <a:pt x="7709007" y="3023888"/>
                  </a:lnTo>
                  <a:lnTo>
                    <a:pt x="7715924" y="2971274"/>
                  </a:lnTo>
                  <a:lnTo>
                    <a:pt x="7705965" y="2947637"/>
                  </a:lnTo>
                  <a:lnTo>
                    <a:pt x="7689873" y="2909506"/>
                  </a:lnTo>
                  <a:lnTo>
                    <a:pt x="7681486" y="2889148"/>
                  </a:lnTo>
                  <a:lnTo>
                    <a:pt x="7673096" y="2868789"/>
                  </a:lnTo>
                  <a:lnTo>
                    <a:pt x="7666079" y="2848595"/>
                  </a:lnTo>
                  <a:lnTo>
                    <a:pt x="7663487" y="2794042"/>
                  </a:lnTo>
                  <a:lnTo>
                    <a:pt x="7683703" y="2766284"/>
                  </a:lnTo>
                  <a:lnTo>
                    <a:pt x="7700533" y="2738163"/>
                  </a:lnTo>
                  <a:lnTo>
                    <a:pt x="7715971" y="2710610"/>
                  </a:lnTo>
                  <a:lnTo>
                    <a:pt x="7723167" y="2678664"/>
                  </a:lnTo>
                  <a:lnTo>
                    <a:pt x="7715497" y="2640230"/>
                  </a:lnTo>
                  <a:lnTo>
                    <a:pt x="7665211" y="2587648"/>
                  </a:lnTo>
                  <a:lnTo>
                    <a:pt x="7637966" y="2572223"/>
                  </a:lnTo>
                  <a:lnTo>
                    <a:pt x="7614138" y="2566189"/>
                  </a:lnTo>
                  <a:lnTo>
                    <a:pt x="7597032" y="2546931"/>
                  </a:lnTo>
                  <a:lnTo>
                    <a:pt x="7583557" y="2527337"/>
                  </a:lnTo>
                  <a:lnTo>
                    <a:pt x="7579666" y="2490617"/>
                  </a:lnTo>
                  <a:lnTo>
                    <a:pt x="7594440" y="2457966"/>
                  </a:lnTo>
                  <a:lnTo>
                    <a:pt x="7617561" y="2438088"/>
                  </a:lnTo>
                  <a:lnTo>
                    <a:pt x="7642041" y="2417995"/>
                  </a:lnTo>
                  <a:lnTo>
                    <a:pt x="7658365" y="2377712"/>
                  </a:lnTo>
                  <a:lnTo>
                    <a:pt x="7662815" y="2351050"/>
                  </a:lnTo>
                  <a:lnTo>
                    <a:pt x="7660052" y="2310372"/>
                  </a:lnTo>
                  <a:lnTo>
                    <a:pt x="7646124" y="2247134"/>
                  </a:lnTo>
                  <a:lnTo>
                    <a:pt x="7605764" y="2242035"/>
                  </a:lnTo>
                  <a:lnTo>
                    <a:pt x="7572823" y="2218142"/>
                  </a:lnTo>
                  <a:lnTo>
                    <a:pt x="7535951" y="2203607"/>
                  </a:lnTo>
                  <a:lnTo>
                    <a:pt x="7514188" y="2200884"/>
                  </a:lnTo>
                  <a:lnTo>
                    <a:pt x="7482525" y="2181527"/>
                  </a:lnTo>
                  <a:lnTo>
                    <a:pt x="7459925" y="2166400"/>
                  </a:lnTo>
                  <a:lnTo>
                    <a:pt x="7443457" y="2153275"/>
                  </a:lnTo>
                  <a:lnTo>
                    <a:pt x="7426990" y="2140158"/>
                  </a:lnTo>
                  <a:lnTo>
                    <a:pt x="7409453" y="2115189"/>
                  </a:lnTo>
                  <a:lnTo>
                    <a:pt x="7398136" y="2086456"/>
                  </a:lnTo>
                  <a:lnTo>
                    <a:pt x="7390850" y="2045990"/>
                  </a:lnTo>
                  <a:lnTo>
                    <a:pt x="7386912" y="2020889"/>
                  </a:lnTo>
                  <a:lnTo>
                    <a:pt x="7380891" y="1987334"/>
                  </a:lnTo>
                  <a:lnTo>
                    <a:pt x="7367093" y="1910483"/>
                  </a:lnTo>
                  <a:lnTo>
                    <a:pt x="7363633" y="1833541"/>
                  </a:lnTo>
                  <a:lnTo>
                    <a:pt x="7350964" y="1757456"/>
                  </a:lnTo>
                  <a:lnTo>
                    <a:pt x="7343842" y="1714781"/>
                  </a:lnTo>
                  <a:lnTo>
                    <a:pt x="7332689" y="1670021"/>
                  </a:lnTo>
                  <a:lnTo>
                    <a:pt x="7326475" y="1626884"/>
                  </a:lnTo>
                  <a:lnTo>
                    <a:pt x="7320277" y="1583607"/>
                  </a:lnTo>
                  <a:lnTo>
                    <a:pt x="7319037" y="1493152"/>
                  </a:lnTo>
                  <a:lnTo>
                    <a:pt x="7304719" y="1452770"/>
                  </a:lnTo>
                  <a:lnTo>
                    <a:pt x="7283452" y="1421629"/>
                  </a:lnTo>
                  <a:lnTo>
                    <a:pt x="7258839" y="1400341"/>
                  </a:lnTo>
                  <a:lnTo>
                    <a:pt x="7239429" y="1376600"/>
                  </a:lnTo>
                  <a:lnTo>
                    <a:pt x="7221855" y="1351434"/>
                  </a:lnTo>
                  <a:lnTo>
                    <a:pt x="7205308" y="1325601"/>
                  </a:lnTo>
                  <a:lnTo>
                    <a:pt x="7187740" y="1300429"/>
                  </a:lnTo>
                  <a:lnTo>
                    <a:pt x="7169127" y="1276773"/>
                  </a:lnTo>
                  <a:lnTo>
                    <a:pt x="7148229" y="1257661"/>
                  </a:lnTo>
                  <a:lnTo>
                    <a:pt x="7126531" y="1248744"/>
                  </a:lnTo>
                  <a:lnTo>
                    <a:pt x="7103218" y="1243640"/>
                  </a:lnTo>
                  <a:lnTo>
                    <a:pt x="7079107" y="1240250"/>
                  </a:lnTo>
                  <a:lnTo>
                    <a:pt x="7054436" y="1235139"/>
                  </a:lnTo>
                  <a:lnTo>
                    <a:pt x="7032140" y="1227970"/>
                  </a:lnTo>
                  <a:lnTo>
                    <a:pt x="7018758" y="1210507"/>
                  </a:lnTo>
                  <a:lnTo>
                    <a:pt x="7015691" y="1179967"/>
                  </a:lnTo>
                  <a:lnTo>
                    <a:pt x="7016358" y="1158968"/>
                  </a:lnTo>
                  <a:lnTo>
                    <a:pt x="7017294" y="1137989"/>
                  </a:lnTo>
                  <a:lnTo>
                    <a:pt x="7018593" y="1106103"/>
                  </a:lnTo>
                  <a:lnTo>
                    <a:pt x="7025002" y="1085013"/>
                  </a:lnTo>
                  <a:lnTo>
                    <a:pt x="7040369" y="1064561"/>
                  </a:lnTo>
                  <a:lnTo>
                    <a:pt x="7055143" y="1037272"/>
                  </a:lnTo>
                  <a:lnTo>
                    <a:pt x="7050362" y="999826"/>
                  </a:lnTo>
                  <a:lnTo>
                    <a:pt x="7048216" y="968415"/>
                  </a:lnTo>
                  <a:lnTo>
                    <a:pt x="7055186" y="939555"/>
                  </a:lnTo>
                  <a:lnTo>
                    <a:pt x="7058526" y="908692"/>
                  </a:lnTo>
                  <a:lnTo>
                    <a:pt x="7047643" y="876047"/>
                  </a:lnTo>
                  <a:lnTo>
                    <a:pt x="6998077" y="878514"/>
                  </a:lnTo>
                  <a:lnTo>
                    <a:pt x="6978270" y="854290"/>
                  </a:lnTo>
                  <a:lnTo>
                    <a:pt x="6994613" y="823768"/>
                  </a:lnTo>
                  <a:lnTo>
                    <a:pt x="7021778" y="800475"/>
                  </a:lnTo>
                  <a:lnTo>
                    <a:pt x="7055800" y="782194"/>
                  </a:lnTo>
                  <a:lnTo>
                    <a:pt x="7091525" y="766789"/>
                  </a:lnTo>
                  <a:lnTo>
                    <a:pt x="7126174" y="751357"/>
                  </a:lnTo>
                  <a:lnTo>
                    <a:pt x="7155094" y="733228"/>
                  </a:lnTo>
                  <a:lnTo>
                    <a:pt x="7198561" y="743258"/>
                  </a:lnTo>
                  <a:lnTo>
                    <a:pt x="7227188" y="744110"/>
                  </a:lnTo>
                  <a:lnTo>
                    <a:pt x="7246170" y="704751"/>
                  </a:lnTo>
                  <a:lnTo>
                    <a:pt x="7285296" y="688639"/>
                  </a:lnTo>
                  <a:lnTo>
                    <a:pt x="7314244" y="699309"/>
                  </a:lnTo>
                  <a:lnTo>
                    <a:pt x="7337365" y="715547"/>
                  </a:lnTo>
                  <a:lnTo>
                    <a:pt x="7368650" y="697866"/>
                  </a:lnTo>
                  <a:lnTo>
                    <a:pt x="7379533" y="629859"/>
                  </a:lnTo>
                  <a:lnTo>
                    <a:pt x="7296561" y="604014"/>
                  </a:lnTo>
                  <a:lnTo>
                    <a:pt x="7289755" y="580892"/>
                  </a:lnTo>
                  <a:lnTo>
                    <a:pt x="7292471" y="550971"/>
                  </a:lnTo>
                  <a:lnTo>
                    <a:pt x="7297913" y="522402"/>
                  </a:lnTo>
                  <a:lnTo>
                    <a:pt x="7304719" y="499280"/>
                  </a:lnTo>
                  <a:lnTo>
                    <a:pt x="7273679" y="474667"/>
                  </a:lnTo>
                  <a:lnTo>
                    <a:pt x="7242146" y="467993"/>
                  </a:lnTo>
                  <a:lnTo>
                    <a:pt x="7218206" y="468587"/>
                  </a:lnTo>
                  <a:lnTo>
                    <a:pt x="7192099" y="479020"/>
                  </a:lnTo>
                  <a:lnTo>
                    <a:pt x="7152377" y="487034"/>
                  </a:lnTo>
                  <a:lnTo>
                    <a:pt x="7080540" y="476323"/>
                  </a:lnTo>
                  <a:lnTo>
                    <a:pt x="7011465" y="439339"/>
                  </a:lnTo>
                  <a:lnTo>
                    <a:pt x="6940186" y="431267"/>
                  </a:lnTo>
                  <a:lnTo>
                    <a:pt x="6859273" y="478789"/>
                  </a:lnTo>
                  <a:lnTo>
                    <a:pt x="6810901" y="466372"/>
                  </a:lnTo>
                  <a:lnTo>
                    <a:pt x="6774707" y="454045"/>
                  </a:lnTo>
                  <a:lnTo>
                    <a:pt x="6741593" y="448948"/>
                  </a:lnTo>
                  <a:lnTo>
                    <a:pt x="6697763" y="456236"/>
                  </a:lnTo>
                  <a:lnTo>
                    <a:pt x="6674946" y="465269"/>
                  </a:lnTo>
                  <a:lnTo>
                    <a:pt x="6652120" y="474304"/>
                  </a:lnTo>
                  <a:lnTo>
                    <a:pt x="6629857" y="481612"/>
                  </a:lnTo>
                  <a:lnTo>
                    <a:pt x="6584207" y="463779"/>
                  </a:lnTo>
                  <a:lnTo>
                    <a:pt x="6545515" y="452726"/>
                  </a:lnTo>
                  <a:lnTo>
                    <a:pt x="6507639" y="439424"/>
                  </a:lnTo>
                  <a:lnTo>
                    <a:pt x="6469771" y="426123"/>
                  </a:lnTo>
                  <a:lnTo>
                    <a:pt x="6433466" y="410756"/>
                  </a:lnTo>
                  <a:lnTo>
                    <a:pt x="6409706" y="393181"/>
                  </a:lnTo>
                  <a:lnTo>
                    <a:pt x="6393661" y="355023"/>
                  </a:lnTo>
                  <a:lnTo>
                    <a:pt x="6387943" y="334691"/>
                  </a:lnTo>
                  <a:lnTo>
                    <a:pt x="6382223" y="314359"/>
                  </a:lnTo>
                  <a:lnTo>
                    <a:pt x="6364819" y="278924"/>
                  </a:lnTo>
                  <a:lnTo>
                    <a:pt x="6340517" y="255558"/>
                  </a:lnTo>
                  <a:lnTo>
                    <a:pt x="6315669" y="234277"/>
                  </a:lnTo>
                  <a:lnTo>
                    <a:pt x="6295450" y="204112"/>
                  </a:lnTo>
                  <a:lnTo>
                    <a:pt x="6295779" y="174296"/>
                  </a:lnTo>
                  <a:lnTo>
                    <a:pt x="6299226" y="149664"/>
                  </a:lnTo>
                  <a:lnTo>
                    <a:pt x="6296808" y="127941"/>
                  </a:lnTo>
                  <a:lnTo>
                    <a:pt x="6294393" y="106217"/>
                  </a:lnTo>
                  <a:lnTo>
                    <a:pt x="6261446" y="68092"/>
                  </a:lnTo>
                  <a:lnTo>
                    <a:pt x="6243382" y="40249"/>
                  </a:lnTo>
                  <a:lnTo>
                    <a:pt x="6227296" y="24730"/>
                  </a:lnTo>
                  <a:lnTo>
                    <a:pt x="6201589" y="39529"/>
                  </a:lnTo>
                  <a:lnTo>
                    <a:pt x="6176794" y="58088"/>
                  </a:lnTo>
                  <a:lnTo>
                    <a:pt x="6152938" y="75380"/>
                  </a:lnTo>
                  <a:lnTo>
                    <a:pt x="6129500" y="85773"/>
                  </a:lnTo>
                  <a:lnTo>
                    <a:pt x="6105291" y="88029"/>
                  </a:lnTo>
                  <a:lnTo>
                    <a:pt x="6087273" y="73882"/>
                  </a:lnTo>
                  <a:lnTo>
                    <a:pt x="6076452" y="55852"/>
                  </a:lnTo>
                  <a:lnTo>
                    <a:pt x="6066459" y="35058"/>
                  </a:lnTo>
                  <a:lnTo>
                    <a:pt x="6053812" y="1679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48" name="Dnipropetrovsk¬0" descr="Dnipropetrovsk¬0">
              <a:extLst>
                <a:ext uri="{FF2B5EF4-FFF2-40B4-BE49-F238E27FC236}">
                  <a16:creationId xmlns:a16="http://schemas.microsoft.com/office/drawing/2014/main" id="{CEB14F3A-DD5A-4D73-B4D2-C64F5EE54767}"/>
                </a:ext>
              </a:extLst>
            </p:cNvPr>
            <p:cNvSpPr/>
            <p:nvPr/>
          </p:nvSpPr>
          <p:spPr>
            <a:xfrm>
              <a:off x="4596865" y="2631800"/>
              <a:ext cx="1355766" cy="776330"/>
            </a:xfrm>
            <a:custGeom>
              <a:avLst/>
              <a:gdLst/>
              <a:ahLst/>
              <a:cxnLst/>
              <a:rect l="0" t="0" r="0" b="0"/>
              <a:pathLst>
                <a:path w="13834844" h="8992798">
                  <a:moveTo>
                    <a:pt x="3283530" y="1665939"/>
                  </a:moveTo>
                  <a:lnTo>
                    <a:pt x="3237747" y="1725253"/>
                  </a:lnTo>
                  <a:lnTo>
                    <a:pt x="3214731" y="1749106"/>
                  </a:lnTo>
                  <a:lnTo>
                    <a:pt x="3200558" y="1777471"/>
                  </a:lnTo>
                  <a:lnTo>
                    <a:pt x="3186379" y="1805842"/>
                  </a:lnTo>
                  <a:lnTo>
                    <a:pt x="3180960" y="1837973"/>
                  </a:lnTo>
                  <a:lnTo>
                    <a:pt x="3176073" y="1893092"/>
                  </a:lnTo>
                  <a:lnTo>
                    <a:pt x="3173100" y="1923140"/>
                  </a:lnTo>
                  <a:lnTo>
                    <a:pt x="3157922" y="1945925"/>
                  </a:lnTo>
                  <a:lnTo>
                    <a:pt x="3123875" y="1947455"/>
                  </a:lnTo>
                  <a:lnTo>
                    <a:pt x="3098326" y="1952704"/>
                  </a:lnTo>
                  <a:lnTo>
                    <a:pt x="3091737" y="1988303"/>
                  </a:lnTo>
                  <a:lnTo>
                    <a:pt x="3089179" y="2028948"/>
                  </a:lnTo>
                  <a:lnTo>
                    <a:pt x="3071338" y="2045429"/>
                  </a:lnTo>
                  <a:lnTo>
                    <a:pt x="3033254" y="2037265"/>
                  </a:lnTo>
                  <a:lnTo>
                    <a:pt x="3020889" y="2100766"/>
                  </a:lnTo>
                  <a:lnTo>
                    <a:pt x="3004685" y="2147438"/>
                  </a:lnTo>
                  <a:lnTo>
                    <a:pt x="2988488" y="2194117"/>
                  </a:lnTo>
                  <a:lnTo>
                    <a:pt x="2968387" y="2239009"/>
                  </a:lnTo>
                  <a:lnTo>
                    <a:pt x="2940379" y="2243355"/>
                  </a:lnTo>
                  <a:lnTo>
                    <a:pt x="2912322" y="2232771"/>
                  </a:lnTo>
                  <a:lnTo>
                    <a:pt x="2908920" y="2198126"/>
                  </a:lnTo>
                  <a:lnTo>
                    <a:pt x="2909770" y="2164124"/>
                  </a:lnTo>
                  <a:lnTo>
                    <a:pt x="2899957" y="2140640"/>
                  </a:lnTo>
                  <a:lnTo>
                    <a:pt x="2879914" y="2116858"/>
                  </a:lnTo>
                  <a:lnTo>
                    <a:pt x="2884993" y="2078073"/>
                  </a:lnTo>
                  <a:lnTo>
                    <a:pt x="2889945" y="2040773"/>
                  </a:lnTo>
                  <a:lnTo>
                    <a:pt x="2863236" y="2023666"/>
                  </a:lnTo>
                  <a:lnTo>
                    <a:pt x="2833737" y="2060854"/>
                  </a:lnTo>
                  <a:lnTo>
                    <a:pt x="2824854" y="2132647"/>
                  </a:lnTo>
                  <a:lnTo>
                    <a:pt x="2804747" y="2150162"/>
                  </a:lnTo>
                  <a:lnTo>
                    <a:pt x="2782984" y="2148804"/>
                  </a:lnTo>
                  <a:lnTo>
                    <a:pt x="2760244" y="2115519"/>
                  </a:lnTo>
                  <a:lnTo>
                    <a:pt x="2768244" y="2087082"/>
                  </a:lnTo>
                  <a:lnTo>
                    <a:pt x="2774826" y="2059028"/>
                  </a:lnTo>
                  <a:lnTo>
                    <a:pt x="2781393" y="2030978"/>
                  </a:lnTo>
                  <a:lnTo>
                    <a:pt x="2787489" y="2003796"/>
                  </a:lnTo>
                  <a:lnTo>
                    <a:pt x="2767934" y="1987176"/>
                  </a:lnTo>
                  <a:lnTo>
                    <a:pt x="2731294" y="1978780"/>
                  </a:lnTo>
                  <a:lnTo>
                    <a:pt x="2696143" y="1972007"/>
                  </a:lnTo>
                  <a:lnTo>
                    <a:pt x="2666517" y="1989517"/>
                  </a:lnTo>
                  <a:lnTo>
                    <a:pt x="2653175" y="2007284"/>
                  </a:lnTo>
                  <a:lnTo>
                    <a:pt x="2632587" y="2042771"/>
                  </a:lnTo>
                  <a:lnTo>
                    <a:pt x="2615676" y="2075356"/>
                  </a:lnTo>
                  <a:lnTo>
                    <a:pt x="2596896" y="2101419"/>
                  </a:lnTo>
                  <a:lnTo>
                    <a:pt x="2563729" y="2111865"/>
                  </a:lnTo>
                  <a:lnTo>
                    <a:pt x="2540686" y="2111423"/>
                  </a:lnTo>
                  <a:lnTo>
                    <a:pt x="2506861" y="2101202"/>
                  </a:lnTo>
                  <a:lnTo>
                    <a:pt x="2492974" y="2070384"/>
                  </a:lnTo>
                  <a:lnTo>
                    <a:pt x="2489182" y="2046794"/>
                  </a:lnTo>
                  <a:lnTo>
                    <a:pt x="2485390" y="2023204"/>
                  </a:lnTo>
                  <a:lnTo>
                    <a:pt x="2481055" y="1998875"/>
                  </a:lnTo>
                  <a:lnTo>
                    <a:pt x="2464693" y="1985580"/>
                  </a:lnTo>
                  <a:lnTo>
                    <a:pt x="2437867" y="1980079"/>
                  </a:lnTo>
                  <a:lnTo>
                    <a:pt x="2401751" y="1974771"/>
                  </a:lnTo>
                  <a:lnTo>
                    <a:pt x="2374925" y="1974704"/>
                  </a:lnTo>
                  <a:lnTo>
                    <a:pt x="2343169" y="2033175"/>
                  </a:lnTo>
                  <a:lnTo>
                    <a:pt x="2324590" y="2054958"/>
                  </a:lnTo>
                  <a:lnTo>
                    <a:pt x="2289231" y="2053593"/>
                  </a:lnTo>
                  <a:lnTo>
                    <a:pt x="2272314" y="2068365"/>
                  </a:lnTo>
                  <a:lnTo>
                    <a:pt x="2269846" y="2105983"/>
                  </a:lnTo>
                  <a:lnTo>
                    <a:pt x="2256585" y="2127041"/>
                  </a:lnTo>
                  <a:lnTo>
                    <a:pt x="2233951" y="2119106"/>
                  </a:lnTo>
                  <a:lnTo>
                    <a:pt x="2210343" y="2105278"/>
                  </a:lnTo>
                  <a:lnTo>
                    <a:pt x="2186534" y="2094633"/>
                  </a:lnTo>
                  <a:lnTo>
                    <a:pt x="2168891" y="2082729"/>
                  </a:lnTo>
                  <a:lnTo>
                    <a:pt x="2166808" y="2054952"/>
                  </a:lnTo>
                  <a:lnTo>
                    <a:pt x="2131188" y="2040093"/>
                  </a:lnTo>
                  <a:lnTo>
                    <a:pt x="2105602" y="2045429"/>
                  </a:lnTo>
                  <a:lnTo>
                    <a:pt x="2085197" y="2067192"/>
                  </a:lnTo>
                  <a:lnTo>
                    <a:pt x="2077256" y="2087834"/>
                  </a:lnTo>
                  <a:lnTo>
                    <a:pt x="2075799" y="2118381"/>
                  </a:lnTo>
                  <a:lnTo>
                    <a:pt x="2057993" y="2147446"/>
                  </a:lnTo>
                  <a:lnTo>
                    <a:pt x="2022630" y="2154252"/>
                  </a:lnTo>
                  <a:lnTo>
                    <a:pt x="2009487" y="2180941"/>
                  </a:lnTo>
                  <a:lnTo>
                    <a:pt x="2016088" y="2206825"/>
                  </a:lnTo>
                  <a:lnTo>
                    <a:pt x="2025346" y="2231780"/>
                  </a:lnTo>
                  <a:lnTo>
                    <a:pt x="2034608" y="2256735"/>
                  </a:lnTo>
                  <a:lnTo>
                    <a:pt x="2047389" y="2280141"/>
                  </a:lnTo>
                  <a:lnTo>
                    <a:pt x="2092080" y="2298218"/>
                  </a:lnTo>
                  <a:lnTo>
                    <a:pt x="2108752" y="2312977"/>
                  </a:lnTo>
                  <a:lnTo>
                    <a:pt x="2119201" y="2332433"/>
                  </a:lnTo>
                  <a:lnTo>
                    <a:pt x="2129647" y="2351894"/>
                  </a:lnTo>
                  <a:lnTo>
                    <a:pt x="2132760" y="2376506"/>
                  </a:lnTo>
                  <a:lnTo>
                    <a:pt x="2136881" y="2404528"/>
                  </a:lnTo>
                  <a:lnTo>
                    <a:pt x="2157286" y="2423567"/>
                  </a:lnTo>
                  <a:lnTo>
                    <a:pt x="2173992" y="2436329"/>
                  </a:lnTo>
                  <a:lnTo>
                    <a:pt x="2268820" y="2449413"/>
                  </a:lnTo>
                  <a:lnTo>
                    <a:pt x="2358594" y="2461653"/>
                  </a:lnTo>
                  <a:lnTo>
                    <a:pt x="2385799" y="2465220"/>
                  </a:lnTo>
                  <a:lnTo>
                    <a:pt x="2410073" y="2486450"/>
                  </a:lnTo>
                  <a:lnTo>
                    <a:pt x="2434766" y="2506545"/>
                  </a:lnTo>
                  <a:lnTo>
                    <a:pt x="2459456" y="2526632"/>
                  </a:lnTo>
                  <a:lnTo>
                    <a:pt x="2484478" y="2545302"/>
                  </a:lnTo>
                  <a:lnTo>
                    <a:pt x="2512297" y="2544623"/>
                  </a:lnTo>
                  <a:lnTo>
                    <a:pt x="2548239" y="2543746"/>
                  </a:lnTo>
                  <a:lnTo>
                    <a:pt x="2582618" y="2543845"/>
                  </a:lnTo>
                  <a:lnTo>
                    <a:pt x="2617037" y="2544623"/>
                  </a:lnTo>
                  <a:lnTo>
                    <a:pt x="2651448" y="2545407"/>
                  </a:lnTo>
                  <a:lnTo>
                    <a:pt x="2686066" y="2546483"/>
                  </a:lnTo>
                  <a:lnTo>
                    <a:pt x="2721769" y="2550065"/>
                  </a:lnTo>
                  <a:lnTo>
                    <a:pt x="2747014" y="2587496"/>
                  </a:lnTo>
                  <a:lnTo>
                    <a:pt x="2742128" y="2626302"/>
                  </a:lnTo>
                  <a:lnTo>
                    <a:pt x="2757131" y="2648004"/>
                  </a:lnTo>
                  <a:lnTo>
                    <a:pt x="2786829" y="2653367"/>
                  </a:lnTo>
                  <a:lnTo>
                    <a:pt x="2819459" y="2657917"/>
                  </a:lnTo>
                  <a:lnTo>
                    <a:pt x="2850989" y="2664321"/>
                  </a:lnTo>
                  <a:lnTo>
                    <a:pt x="2882513" y="2670732"/>
                  </a:lnTo>
                  <a:lnTo>
                    <a:pt x="2912601" y="2678829"/>
                  </a:lnTo>
                  <a:lnTo>
                    <a:pt x="2940760" y="2690166"/>
                  </a:lnTo>
                  <a:lnTo>
                    <a:pt x="2946326" y="2725066"/>
                  </a:lnTo>
                  <a:lnTo>
                    <a:pt x="2935319" y="2754097"/>
                  </a:lnTo>
                  <a:lnTo>
                    <a:pt x="2925552" y="2776796"/>
                  </a:lnTo>
                  <a:lnTo>
                    <a:pt x="2909844" y="2795850"/>
                  </a:lnTo>
                  <a:lnTo>
                    <a:pt x="2884993" y="2804423"/>
                  </a:lnTo>
                  <a:lnTo>
                    <a:pt x="2861866" y="2803065"/>
                  </a:lnTo>
                  <a:lnTo>
                    <a:pt x="2834668" y="2801705"/>
                  </a:lnTo>
                  <a:lnTo>
                    <a:pt x="2812061" y="2802603"/>
                  </a:lnTo>
                  <a:lnTo>
                    <a:pt x="2786537" y="2806243"/>
                  </a:lnTo>
                  <a:lnTo>
                    <a:pt x="2757131" y="2813946"/>
                  </a:lnTo>
                  <a:lnTo>
                    <a:pt x="2737480" y="2838630"/>
                  </a:lnTo>
                  <a:lnTo>
                    <a:pt x="2727211" y="2857472"/>
                  </a:lnTo>
                  <a:lnTo>
                    <a:pt x="2716941" y="2876307"/>
                  </a:lnTo>
                  <a:lnTo>
                    <a:pt x="2706517" y="2896474"/>
                  </a:lnTo>
                  <a:lnTo>
                    <a:pt x="2690993" y="2911188"/>
                  </a:lnTo>
                  <a:lnTo>
                    <a:pt x="2672935" y="2924885"/>
                  </a:lnTo>
                  <a:lnTo>
                    <a:pt x="2655122" y="2939084"/>
                  </a:lnTo>
                  <a:lnTo>
                    <a:pt x="2637303" y="2953283"/>
                  </a:lnTo>
                  <a:lnTo>
                    <a:pt x="2618864" y="2967673"/>
                  </a:lnTo>
                  <a:lnTo>
                    <a:pt x="2575338" y="2997502"/>
                  </a:lnTo>
                  <a:lnTo>
                    <a:pt x="2534763" y="3019654"/>
                  </a:lnTo>
                  <a:lnTo>
                    <a:pt x="2493256" y="3039742"/>
                  </a:lnTo>
                  <a:lnTo>
                    <a:pt x="2451748" y="3059824"/>
                  </a:lnTo>
                  <a:lnTo>
                    <a:pt x="2409773" y="3078876"/>
                  </a:lnTo>
                  <a:lnTo>
                    <a:pt x="2368119" y="3096867"/>
                  </a:lnTo>
                  <a:lnTo>
                    <a:pt x="2337886" y="3109925"/>
                  </a:lnTo>
                  <a:lnTo>
                    <a:pt x="2243612" y="3141521"/>
                  </a:lnTo>
                  <a:lnTo>
                    <a:pt x="2221217" y="3162157"/>
                  </a:lnTo>
                  <a:lnTo>
                    <a:pt x="2175480" y="3194314"/>
                  </a:lnTo>
                  <a:lnTo>
                    <a:pt x="2156303" y="3229629"/>
                  </a:lnTo>
                  <a:lnTo>
                    <a:pt x="2142328" y="3258733"/>
                  </a:lnTo>
                  <a:lnTo>
                    <a:pt x="2128348" y="3287837"/>
                  </a:lnTo>
                  <a:lnTo>
                    <a:pt x="2119353" y="3311209"/>
                  </a:lnTo>
                  <a:lnTo>
                    <a:pt x="2097075" y="3317915"/>
                  </a:lnTo>
                  <a:lnTo>
                    <a:pt x="2075108" y="3312699"/>
                  </a:lnTo>
                  <a:lnTo>
                    <a:pt x="2055400" y="3297834"/>
                  </a:lnTo>
                  <a:lnTo>
                    <a:pt x="2053562" y="3269357"/>
                  </a:lnTo>
                  <a:lnTo>
                    <a:pt x="2026035" y="3265895"/>
                  </a:lnTo>
                  <a:lnTo>
                    <a:pt x="1999543" y="3279197"/>
                  </a:lnTo>
                  <a:lnTo>
                    <a:pt x="1968215" y="3291377"/>
                  </a:lnTo>
                  <a:lnTo>
                    <a:pt x="1936896" y="3303558"/>
                  </a:lnTo>
                  <a:lnTo>
                    <a:pt x="1901463" y="3314875"/>
                  </a:lnTo>
                  <a:lnTo>
                    <a:pt x="1863483" y="3328104"/>
                  </a:lnTo>
                  <a:lnTo>
                    <a:pt x="1825501" y="3341326"/>
                  </a:lnTo>
                  <a:lnTo>
                    <a:pt x="1786189" y="3355888"/>
                  </a:lnTo>
                  <a:lnTo>
                    <a:pt x="1747869" y="3374348"/>
                  </a:lnTo>
                  <a:lnTo>
                    <a:pt x="1709539" y="3392807"/>
                  </a:lnTo>
                  <a:lnTo>
                    <a:pt x="1671405" y="3415830"/>
                  </a:lnTo>
                  <a:lnTo>
                    <a:pt x="1639051" y="3443720"/>
                  </a:lnTo>
                  <a:lnTo>
                    <a:pt x="1609803" y="3465226"/>
                  </a:lnTo>
                  <a:lnTo>
                    <a:pt x="1601664" y="3497244"/>
                  </a:lnTo>
                  <a:lnTo>
                    <a:pt x="1604888" y="3519410"/>
                  </a:lnTo>
                  <a:lnTo>
                    <a:pt x="1610488" y="3541654"/>
                  </a:lnTo>
                  <a:lnTo>
                    <a:pt x="1616075" y="3563899"/>
                  </a:lnTo>
                  <a:lnTo>
                    <a:pt x="1623790" y="3586223"/>
                  </a:lnTo>
                  <a:lnTo>
                    <a:pt x="1663533" y="3598785"/>
                  </a:lnTo>
                  <a:lnTo>
                    <a:pt x="1693460" y="3597427"/>
                  </a:lnTo>
                  <a:lnTo>
                    <a:pt x="1678648" y="3626689"/>
                  </a:lnTo>
                  <a:lnTo>
                    <a:pt x="1676670" y="3658008"/>
                  </a:lnTo>
                  <a:lnTo>
                    <a:pt x="1682577" y="3689914"/>
                  </a:lnTo>
                  <a:lnTo>
                    <a:pt x="1688486" y="3721827"/>
                  </a:lnTo>
                  <a:lnTo>
                    <a:pt x="1701986" y="3753594"/>
                  </a:lnTo>
                  <a:lnTo>
                    <a:pt x="1716581" y="3783772"/>
                  </a:lnTo>
                  <a:lnTo>
                    <a:pt x="1731175" y="3813950"/>
                  </a:lnTo>
                  <a:lnTo>
                    <a:pt x="1747512" y="3842685"/>
                  </a:lnTo>
                  <a:lnTo>
                    <a:pt x="1758749" y="3866742"/>
                  </a:lnTo>
                  <a:lnTo>
                    <a:pt x="1769985" y="3890801"/>
                  </a:lnTo>
                  <a:lnTo>
                    <a:pt x="1772348" y="3923875"/>
                  </a:lnTo>
                  <a:lnTo>
                    <a:pt x="1712500" y="3956520"/>
                  </a:lnTo>
                  <a:lnTo>
                    <a:pt x="1709378" y="3985161"/>
                  </a:lnTo>
                  <a:lnTo>
                    <a:pt x="1720664" y="4016369"/>
                  </a:lnTo>
                  <a:lnTo>
                    <a:pt x="1726593" y="4048327"/>
                  </a:lnTo>
                  <a:lnTo>
                    <a:pt x="1740508" y="4069404"/>
                  </a:lnTo>
                  <a:lnTo>
                    <a:pt x="1772004" y="4073131"/>
                  </a:lnTo>
                  <a:lnTo>
                    <a:pt x="1777169" y="4111131"/>
                  </a:lnTo>
                  <a:lnTo>
                    <a:pt x="1781448" y="4142166"/>
                  </a:lnTo>
                  <a:lnTo>
                    <a:pt x="1787305" y="4172786"/>
                  </a:lnTo>
                  <a:lnTo>
                    <a:pt x="1793162" y="4203405"/>
                  </a:lnTo>
                  <a:lnTo>
                    <a:pt x="1800349" y="4232971"/>
                  </a:lnTo>
                  <a:lnTo>
                    <a:pt x="1803627" y="4265279"/>
                  </a:lnTo>
                  <a:lnTo>
                    <a:pt x="1807248" y="4300899"/>
                  </a:lnTo>
                  <a:lnTo>
                    <a:pt x="1809102" y="4337586"/>
                  </a:lnTo>
                  <a:lnTo>
                    <a:pt x="1810432" y="4374096"/>
                  </a:lnTo>
                  <a:lnTo>
                    <a:pt x="1811753" y="4410611"/>
                  </a:lnTo>
                  <a:lnTo>
                    <a:pt x="1812755" y="4447082"/>
                  </a:lnTo>
                  <a:lnTo>
                    <a:pt x="1814504" y="4482911"/>
                  </a:lnTo>
                  <a:lnTo>
                    <a:pt x="1815598" y="4505124"/>
                  </a:lnTo>
                  <a:lnTo>
                    <a:pt x="1815031" y="4526820"/>
                  </a:lnTo>
                  <a:lnTo>
                    <a:pt x="1815868" y="4548202"/>
                  </a:lnTo>
                  <a:lnTo>
                    <a:pt x="1816693" y="4569582"/>
                  </a:lnTo>
                  <a:lnTo>
                    <a:pt x="1818683" y="4591239"/>
                  </a:lnTo>
                  <a:lnTo>
                    <a:pt x="1824025" y="4613491"/>
                  </a:lnTo>
                  <a:lnTo>
                    <a:pt x="1856070" y="4619321"/>
                  </a:lnTo>
                  <a:lnTo>
                    <a:pt x="1892632" y="4632147"/>
                  </a:lnTo>
                  <a:lnTo>
                    <a:pt x="1913797" y="4655659"/>
                  </a:lnTo>
                  <a:lnTo>
                    <a:pt x="1905769" y="4760610"/>
                  </a:lnTo>
                  <a:lnTo>
                    <a:pt x="1893398" y="4842004"/>
                  </a:lnTo>
                  <a:lnTo>
                    <a:pt x="1881017" y="4923405"/>
                  </a:lnTo>
                  <a:lnTo>
                    <a:pt x="1865192" y="5002082"/>
                  </a:lnTo>
                  <a:lnTo>
                    <a:pt x="1843389" y="5007398"/>
                  </a:lnTo>
                  <a:lnTo>
                    <a:pt x="1813077" y="5004891"/>
                  </a:lnTo>
                  <a:lnTo>
                    <a:pt x="1783222" y="5003870"/>
                  </a:lnTo>
                  <a:lnTo>
                    <a:pt x="1753366" y="5002847"/>
                  </a:lnTo>
                  <a:lnTo>
                    <a:pt x="1724608" y="5003276"/>
                  </a:lnTo>
                  <a:lnTo>
                    <a:pt x="1691237" y="5032009"/>
                  </a:lnTo>
                  <a:lnTo>
                    <a:pt x="1695274" y="5079783"/>
                  </a:lnTo>
                  <a:lnTo>
                    <a:pt x="1666243" y="5114043"/>
                  </a:lnTo>
                  <a:lnTo>
                    <a:pt x="1647770" y="5135852"/>
                  </a:lnTo>
                  <a:lnTo>
                    <a:pt x="1620534" y="5150341"/>
                  </a:lnTo>
                  <a:lnTo>
                    <a:pt x="1595512" y="5163010"/>
                  </a:lnTo>
                  <a:lnTo>
                    <a:pt x="1570491" y="5175686"/>
                  </a:lnTo>
                  <a:lnTo>
                    <a:pt x="1548120" y="5185949"/>
                  </a:lnTo>
                  <a:lnTo>
                    <a:pt x="1535900" y="5212341"/>
                  </a:lnTo>
                  <a:lnTo>
                    <a:pt x="1524782" y="5237823"/>
                  </a:lnTo>
                  <a:lnTo>
                    <a:pt x="1513517" y="5262733"/>
                  </a:lnTo>
                  <a:lnTo>
                    <a:pt x="1486697" y="5306403"/>
                  </a:lnTo>
                  <a:lnTo>
                    <a:pt x="1462289" y="5324250"/>
                  </a:lnTo>
                  <a:lnTo>
                    <a:pt x="1435004" y="5327593"/>
                  </a:lnTo>
                  <a:lnTo>
                    <a:pt x="1407728" y="5330951"/>
                  </a:lnTo>
                  <a:lnTo>
                    <a:pt x="1378434" y="5319792"/>
                  </a:lnTo>
                  <a:lnTo>
                    <a:pt x="1349316" y="5293590"/>
                  </a:lnTo>
                  <a:lnTo>
                    <a:pt x="1331209" y="5265113"/>
                  </a:lnTo>
                  <a:lnTo>
                    <a:pt x="1313954" y="5242446"/>
                  </a:lnTo>
                  <a:lnTo>
                    <a:pt x="1284034" y="5233735"/>
                  </a:lnTo>
                  <a:lnTo>
                    <a:pt x="1250795" y="5260595"/>
                  </a:lnTo>
                  <a:lnTo>
                    <a:pt x="1267377" y="5295331"/>
                  </a:lnTo>
                  <a:lnTo>
                    <a:pt x="1254107" y="5319429"/>
                  </a:lnTo>
                  <a:lnTo>
                    <a:pt x="1222471" y="5346395"/>
                  </a:lnTo>
                  <a:lnTo>
                    <a:pt x="1190176" y="5375196"/>
                  </a:lnTo>
                  <a:lnTo>
                    <a:pt x="1157892" y="5403996"/>
                  </a:lnTo>
                  <a:lnTo>
                    <a:pt x="1121129" y="5440927"/>
                  </a:lnTo>
                  <a:lnTo>
                    <a:pt x="1099046" y="5479929"/>
                  </a:lnTo>
                  <a:lnTo>
                    <a:pt x="1081934" y="5510154"/>
                  </a:lnTo>
                  <a:lnTo>
                    <a:pt x="1068143" y="5553765"/>
                  </a:lnTo>
                  <a:lnTo>
                    <a:pt x="1055520" y="5594186"/>
                  </a:lnTo>
                  <a:lnTo>
                    <a:pt x="1042898" y="5634613"/>
                  </a:lnTo>
                  <a:lnTo>
                    <a:pt x="1031609" y="5672229"/>
                  </a:lnTo>
                  <a:lnTo>
                    <a:pt x="1017430" y="5693479"/>
                  </a:lnTo>
                  <a:lnTo>
                    <a:pt x="983959" y="5697336"/>
                  </a:lnTo>
                  <a:lnTo>
                    <a:pt x="969674" y="5660174"/>
                  </a:lnTo>
                  <a:lnTo>
                    <a:pt x="961669" y="5621383"/>
                  </a:lnTo>
                  <a:lnTo>
                    <a:pt x="953663" y="5582591"/>
                  </a:lnTo>
                  <a:lnTo>
                    <a:pt x="951626" y="5541742"/>
                  </a:lnTo>
                  <a:lnTo>
                    <a:pt x="966760" y="5515152"/>
                  </a:lnTo>
                  <a:lnTo>
                    <a:pt x="990231" y="5488081"/>
                  </a:lnTo>
                  <a:lnTo>
                    <a:pt x="952996" y="5310619"/>
                  </a:lnTo>
                  <a:lnTo>
                    <a:pt x="935143" y="5295530"/>
                  </a:lnTo>
                  <a:lnTo>
                    <a:pt x="906370" y="5298846"/>
                  </a:lnTo>
                  <a:lnTo>
                    <a:pt x="895530" y="5326196"/>
                  </a:lnTo>
                  <a:lnTo>
                    <a:pt x="892296" y="5362942"/>
                  </a:lnTo>
                  <a:lnTo>
                    <a:pt x="887531" y="5398581"/>
                  </a:lnTo>
                  <a:lnTo>
                    <a:pt x="880790" y="5433185"/>
                  </a:lnTo>
                  <a:lnTo>
                    <a:pt x="867817" y="5470399"/>
                  </a:lnTo>
                  <a:lnTo>
                    <a:pt x="855576" y="5506994"/>
                  </a:lnTo>
                  <a:lnTo>
                    <a:pt x="855576" y="5549281"/>
                  </a:lnTo>
                  <a:lnTo>
                    <a:pt x="859659" y="5586014"/>
                  </a:lnTo>
                  <a:lnTo>
                    <a:pt x="862732" y="5616958"/>
                  </a:lnTo>
                  <a:lnTo>
                    <a:pt x="864732" y="5647565"/>
                  </a:lnTo>
                  <a:lnTo>
                    <a:pt x="862376" y="5682590"/>
                  </a:lnTo>
                  <a:lnTo>
                    <a:pt x="854398" y="5723999"/>
                  </a:lnTo>
                  <a:lnTo>
                    <a:pt x="844690" y="5751962"/>
                  </a:lnTo>
                  <a:lnTo>
                    <a:pt x="835165" y="5772361"/>
                  </a:lnTo>
                  <a:lnTo>
                    <a:pt x="820201" y="5790040"/>
                  </a:lnTo>
                  <a:lnTo>
                    <a:pt x="801545" y="5801232"/>
                  </a:lnTo>
                  <a:lnTo>
                    <a:pt x="778114" y="5805723"/>
                  </a:lnTo>
                  <a:lnTo>
                    <a:pt x="752196" y="5806363"/>
                  </a:lnTo>
                  <a:lnTo>
                    <a:pt x="726285" y="5807030"/>
                  </a:lnTo>
                  <a:lnTo>
                    <a:pt x="698355" y="5804450"/>
                  </a:lnTo>
                  <a:lnTo>
                    <a:pt x="671941" y="5800930"/>
                  </a:lnTo>
                  <a:lnTo>
                    <a:pt x="645536" y="5797401"/>
                  </a:lnTo>
                  <a:lnTo>
                    <a:pt x="619993" y="5792712"/>
                  </a:lnTo>
                  <a:lnTo>
                    <a:pt x="579711" y="5790093"/>
                  </a:lnTo>
                  <a:lnTo>
                    <a:pt x="557690" y="5798206"/>
                  </a:lnTo>
                  <a:lnTo>
                    <a:pt x="548392" y="5820015"/>
                  </a:lnTo>
                  <a:lnTo>
                    <a:pt x="542491" y="5844409"/>
                  </a:lnTo>
                  <a:lnTo>
                    <a:pt x="525047" y="5866213"/>
                  </a:lnTo>
                  <a:lnTo>
                    <a:pt x="486789" y="5867901"/>
                  </a:lnTo>
                  <a:lnTo>
                    <a:pt x="461767" y="5873914"/>
                  </a:lnTo>
                  <a:lnTo>
                    <a:pt x="430535" y="5893878"/>
                  </a:lnTo>
                  <a:lnTo>
                    <a:pt x="418948" y="5923344"/>
                  </a:lnTo>
                  <a:lnTo>
                    <a:pt x="412025" y="5958013"/>
                  </a:lnTo>
                  <a:lnTo>
                    <a:pt x="401393" y="5997490"/>
                  </a:lnTo>
                  <a:lnTo>
                    <a:pt x="393071" y="6019121"/>
                  </a:lnTo>
                  <a:lnTo>
                    <a:pt x="375422" y="6040324"/>
                  </a:lnTo>
                  <a:lnTo>
                    <a:pt x="346860" y="6055282"/>
                  </a:lnTo>
                  <a:lnTo>
                    <a:pt x="281571" y="6049840"/>
                  </a:lnTo>
                  <a:lnTo>
                    <a:pt x="266877" y="6064844"/>
                  </a:lnTo>
                  <a:lnTo>
                    <a:pt x="255455" y="6086528"/>
                  </a:lnTo>
                  <a:lnTo>
                    <a:pt x="246202" y="6113771"/>
                  </a:lnTo>
                  <a:lnTo>
                    <a:pt x="238603" y="6143330"/>
                  </a:lnTo>
                  <a:lnTo>
                    <a:pt x="232036" y="6176707"/>
                  </a:lnTo>
                  <a:lnTo>
                    <a:pt x="225797" y="6213064"/>
                  </a:lnTo>
                  <a:lnTo>
                    <a:pt x="221491" y="6248526"/>
                  </a:lnTo>
                  <a:lnTo>
                    <a:pt x="216505" y="6283703"/>
                  </a:lnTo>
                  <a:lnTo>
                    <a:pt x="210840" y="6316439"/>
                  </a:lnTo>
                  <a:lnTo>
                    <a:pt x="206031" y="6347772"/>
                  </a:lnTo>
                  <a:lnTo>
                    <a:pt x="200137" y="6371586"/>
                  </a:lnTo>
                  <a:lnTo>
                    <a:pt x="190435" y="6395334"/>
                  </a:lnTo>
                  <a:lnTo>
                    <a:pt x="217255" y="6400096"/>
                  </a:lnTo>
                  <a:lnTo>
                    <a:pt x="233236" y="6415350"/>
                  </a:lnTo>
                  <a:lnTo>
                    <a:pt x="231388" y="6445231"/>
                  </a:lnTo>
                  <a:lnTo>
                    <a:pt x="210918" y="6489898"/>
                  </a:lnTo>
                  <a:lnTo>
                    <a:pt x="193151" y="6534071"/>
                  </a:lnTo>
                  <a:lnTo>
                    <a:pt x="175385" y="6578243"/>
                  </a:lnTo>
                  <a:lnTo>
                    <a:pt x="160527" y="6622483"/>
                  </a:lnTo>
                  <a:lnTo>
                    <a:pt x="163739" y="6646712"/>
                  </a:lnTo>
                  <a:lnTo>
                    <a:pt x="188119" y="6665403"/>
                  </a:lnTo>
                  <a:lnTo>
                    <a:pt x="226752" y="6675064"/>
                  </a:lnTo>
                  <a:lnTo>
                    <a:pt x="249306" y="6671073"/>
                  </a:lnTo>
                  <a:lnTo>
                    <a:pt x="270688" y="6666009"/>
                  </a:lnTo>
                  <a:lnTo>
                    <a:pt x="292063" y="6660950"/>
                  </a:lnTo>
                  <a:lnTo>
                    <a:pt x="313253" y="6655938"/>
                  </a:lnTo>
                  <a:lnTo>
                    <a:pt x="335977" y="6657851"/>
                  </a:lnTo>
                  <a:lnTo>
                    <a:pt x="349365" y="6687824"/>
                  </a:lnTo>
                  <a:lnTo>
                    <a:pt x="356382" y="6714976"/>
                  </a:lnTo>
                  <a:lnTo>
                    <a:pt x="363386" y="6742128"/>
                  </a:lnTo>
                  <a:lnTo>
                    <a:pt x="368623" y="6770320"/>
                  </a:lnTo>
                  <a:lnTo>
                    <a:pt x="349377" y="6797987"/>
                  </a:lnTo>
                  <a:lnTo>
                    <a:pt x="325295" y="6825118"/>
                  </a:lnTo>
                  <a:lnTo>
                    <a:pt x="311491" y="6845556"/>
                  </a:lnTo>
                  <a:lnTo>
                    <a:pt x="303662" y="6866679"/>
                  </a:lnTo>
                  <a:lnTo>
                    <a:pt x="305734" y="6891733"/>
                  </a:lnTo>
                  <a:lnTo>
                    <a:pt x="308775" y="6916286"/>
                  </a:lnTo>
                  <a:lnTo>
                    <a:pt x="311808" y="6940838"/>
                  </a:lnTo>
                  <a:lnTo>
                    <a:pt x="316214" y="6964725"/>
                  </a:lnTo>
                  <a:lnTo>
                    <a:pt x="312849" y="6987015"/>
                  </a:lnTo>
                  <a:lnTo>
                    <a:pt x="307033" y="7025655"/>
                  </a:lnTo>
                  <a:lnTo>
                    <a:pt x="287003" y="7057746"/>
                  </a:lnTo>
                  <a:lnTo>
                    <a:pt x="271705" y="7100680"/>
                  </a:lnTo>
                  <a:lnTo>
                    <a:pt x="276123" y="7162487"/>
                  </a:lnTo>
                  <a:lnTo>
                    <a:pt x="280197" y="7222336"/>
                  </a:lnTo>
                  <a:lnTo>
                    <a:pt x="285639" y="7280819"/>
                  </a:lnTo>
                  <a:lnTo>
                    <a:pt x="288370" y="7318865"/>
                  </a:lnTo>
                  <a:lnTo>
                    <a:pt x="265069" y="7430022"/>
                  </a:lnTo>
                  <a:lnTo>
                    <a:pt x="276123" y="7449483"/>
                  </a:lnTo>
                  <a:lnTo>
                    <a:pt x="305113" y="7477882"/>
                  </a:lnTo>
                  <a:lnTo>
                    <a:pt x="348469" y="7500745"/>
                  </a:lnTo>
                  <a:lnTo>
                    <a:pt x="383574" y="7520214"/>
                  </a:lnTo>
                  <a:lnTo>
                    <a:pt x="384851" y="7608585"/>
                  </a:lnTo>
                  <a:lnTo>
                    <a:pt x="391738" y="7637194"/>
                  </a:lnTo>
                  <a:lnTo>
                    <a:pt x="357417" y="7650021"/>
                  </a:lnTo>
                  <a:lnTo>
                    <a:pt x="329171" y="7652158"/>
                  </a:lnTo>
                  <a:lnTo>
                    <a:pt x="300918" y="7654296"/>
                  </a:lnTo>
                  <a:lnTo>
                    <a:pt x="272232" y="7654348"/>
                  </a:lnTo>
                  <a:lnTo>
                    <a:pt x="229193" y="7654829"/>
                  </a:lnTo>
                  <a:lnTo>
                    <a:pt x="206388" y="7660092"/>
                  </a:lnTo>
                  <a:lnTo>
                    <a:pt x="154738" y="7671304"/>
                  </a:lnTo>
                  <a:lnTo>
                    <a:pt x="104735" y="7687514"/>
                  </a:lnTo>
                  <a:lnTo>
                    <a:pt x="79732" y="7695625"/>
                  </a:lnTo>
                  <a:lnTo>
                    <a:pt x="55780" y="7704798"/>
                  </a:lnTo>
                  <a:lnTo>
                    <a:pt x="36727" y="7714717"/>
                  </a:lnTo>
                  <a:lnTo>
                    <a:pt x="17667" y="7724643"/>
                  </a:lnTo>
                  <a:lnTo>
                    <a:pt x="0" y="7746003"/>
                  </a:lnTo>
                  <a:lnTo>
                    <a:pt x="19996" y="7806493"/>
                  </a:lnTo>
                  <a:lnTo>
                    <a:pt x="56676" y="7867199"/>
                  </a:lnTo>
                  <a:lnTo>
                    <a:pt x="88410" y="7928274"/>
                  </a:lnTo>
                  <a:lnTo>
                    <a:pt x="104279" y="7958807"/>
                  </a:lnTo>
                  <a:lnTo>
                    <a:pt x="118564" y="7989250"/>
                  </a:lnTo>
                  <a:lnTo>
                    <a:pt x="129214" y="8020768"/>
                  </a:lnTo>
                  <a:lnTo>
                    <a:pt x="139865" y="8052278"/>
                  </a:lnTo>
                  <a:lnTo>
                    <a:pt x="146903" y="8084290"/>
                  </a:lnTo>
                  <a:lnTo>
                    <a:pt x="146903" y="8117336"/>
                  </a:lnTo>
                  <a:lnTo>
                    <a:pt x="139338" y="8152223"/>
                  </a:lnTo>
                  <a:lnTo>
                    <a:pt x="116375" y="8183107"/>
                  </a:lnTo>
                  <a:lnTo>
                    <a:pt x="100862" y="8197320"/>
                  </a:lnTo>
                  <a:lnTo>
                    <a:pt x="85694" y="8212553"/>
                  </a:lnTo>
                  <a:lnTo>
                    <a:pt x="70520" y="8227788"/>
                  </a:lnTo>
                  <a:lnTo>
                    <a:pt x="55950" y="8243787"/>
                  </a:lnTo>
                  <a:lnTo>
                    <a:pt x="33818" y="8279248"/>
                  </a:lnTo>
                  <a:lnTo>
                    <a:pt x="27205" y="8321370"/>
                  </a:lnTo>
                  <a:lnTo>
                    <a:pt x="42407" y="8348046"/>
                  </a:lnTo>
                  <a:lnTo>
                    <a:pt x="71853" y="8365417"/>
                  </a:lnTo>
                  <a:lnTo>
                    <a:pt x="102016" y="8373053"/>
                  </a:lnTo>
                  <a:lnTo>
                    <a:pt x="148010" y="8378837"/>
                  </a:lnTo>
                  <a:lnTo>
                    <a:pt x="195520" y="8383474"/>
                  </a:lnTo>
                  <a:lnTo>
                    <a:pt x="242119" y="8389376"/>
                  </a:lnTo>
                  <a:lnTo>
                    <a:pt x="288711" y="8395278"/>
                  </a:lnTo>
                  <a:lnTo>
                    <a:pt x="334402" y="8402810"/>
                  </a:lnTo>
                  <a:lnTo>
                    <a:pt x="379497" y="8413863"/>
                  </a:lnTo>
                  <a:lnTo>
                    <a:pt x="425274" y="8422918"/>
                  </a:lnTo>
                  <a:lnTo>
                    <a:pt x="470924" y="8432862"/>
                  </a:lnTo>
                  <a:lnTo>
                    <a:pt x="515516" y="8445150"/>
                  </a:lnTo>
                  <a:lnTo>
                    <a:pt x="560106" y="8457430"/>
                  </a:lnTo>
                  <a:lnTo>
                    <a:pt x="604013" y="8471971"/>
                  </a:lnTo>
                  <a:lnTo>
                    <a:pt x="647455" y="8488676"/>
                  </a:lnTo>
                  <a:lnTo>
                    <a:pt x="672483" y="8503698"/>
                  </a:lnTo>
                  <a:lnTo>
                    <a:pt x="693158" y="8525337"/>
                  </a:lnTo>
                  <a:lnTo>
                    <a:pt x="712744" y="8547159"/>
                  </a:lnTo>
                  <a:lnTo>
                    <a:pt x="728960" y="8561774"/>
                  </a:lnTo>
                  <a:lnTo>
                    <a:pt x="750038" y="8571078"/>
                  </a:lnTo>
                  <a:lnTo>
                    <a:pt x="772592" y="8577087"/>
                  </a:lnTo>
                  <a:lnTo>
                    <a:pt x="795142" y="8583089"/>
                  </a:lnTo>
                  <a:lnTo>
                    <a:pt x="819550" y="8584684"/>
                  </a:lnTo>
                  <a:lnTo>
                    <a:pt x="844684" y="8585245"/>
                  </a:lnTo>
                  <a:lnTo>
                    <a:pt x="894957" y="8586372"/>
                  </a:lnTo>
                  <a:lnTo>
                    <a:pt x="946718" y="8580081"/>
                  </a:lnTo>
                  <a:lnTo>
                    <a:pt x="984784" y="8578445"/>
                  </a:lnTo>
                  <a:lnTo>
                    <a:pt x="1012990" y="8577238"/>
                  </a:lnTo>
                  <a:lnTo>
                    <a:pt x="1033726" y="8584440"/>
                  </a:lnTo>
                  <a:lnTo>
                    <a:pt x="1066428" y="8610536"/>
                  </a:lnTo>
                  <a:lnTo>
                    <a:pt x="1079060" y="8629608"/>
                  </a:lnTo>
                  <a:lnTo>
                    <a:pt x="1088160" y="8650534"/>
                  </a:lnTo>
                  <a:lnTo>
                    <a:pt x="1106361" y="8692392"/>
                  </a:lnTo>
                  <a:lnTo>
                    <a:pt x="1113557" y="8743338"/>
                  </a:lnTo>
                  <a:lnTo>
                    <a:pt x="1130328" y="8778396"/>
                  </a:lnTo>
                  <a:lnTo>
                    <a:pt x="1139692" y="8797982"/>
                  </a:lnTo>
                  <a:lnTo>
                    <a:pt x="1186350" y="8839307"/>
                  </a:lnTo>
                  <a:lnTo>
                    <a:pt x="1203775" y="8851844"/>
                  </a:lnTo>
                  <a:lnTo>
                    <a:pt x="1231488" y="8871398"/>
                  </a:lnTo>
                  <a:lnTo>
                    <a:pt x="1263117" y="8883980"/>
                  </a:lnTo>
                  <a:lnTo>
                    <a:pt x="1296268" y="8884489"/>
                  </a:lnTo>
                  <a:lnTo>
                    <a:pt x="1310072" y="8848784"/>
                  </a:lnTo>
                  <a:lnTo>
                    <a:pt x="1317008" y="8800457"/>
                  </a:lnTo>
                  <a:lnTo>
                    <a:pt x="1332995" y="8779754"/>
                  </a:lnTo>
                  <a:lnTo>
                    <a:pt x="1527504" y="8738952"/>
                  </a:lnTo>
                  <a:lnTo>
                    <a:pt x="1548734" y="8735160"/>
                  </a:lnTo>
                  <a:lnTo>
                    <a:pt x="1615133" y="8727860"/>
                  </a:lnTo>
                  <a:lnTo>
                    <a:pt x="1677123" y="8711747"/>
                  </a:lnTo>
                  <a:lnTo>
                    <a:pt x="1708119" y="8703689"/>
                  </a:lnTo>
                  <a:lnTo>
                    <a:pt x="1737612" y="8693197"/>
                  </a:lnTo>
                  <a:lnTo>
                    <a:pt x="1760094" y="8680462"/>
                  </a:lnTo>
                  <a:lnTo>
                    <a:pt x="1782583" y="8667727"/>
                  </a:lnTo>
                  <a:lnTo>
                    <a:pt x="1798049" y="8652691"/>
                  </a:lnTo>
                  <a:lnTo>
                    <a:pt x="1801115" y="8614829"/>
                  </a:lnTo>
                  <a:lnTo>
                    <a:pt x="1792741" y="8577087"/>
                  </a:lnTo>
                  <a:lnTo>
                    <a:pt x="1784819" y="8538829"/>
                  </a:lnTo>
                  <a:lnTo>
                    <a:pt x="1792297" y="8505889"/>
                  </a:lnTo>
                  <a:lnTo>
                    <a:pt x="1868516" y="8480934"/>
                  </a:lnTo>
                  <a:lnTo>
                    <a:pt x="1945088" y="8465547"/>
                  </a:lnTo>
                  <a:lnTo>
                    <a:pt x="1983371" y="8457857"/>
                  </a:lnTo>
                  <a:lnTo>
                    <a:pt x="2021055" y="8452258"/>
                  </a:lnTo>
                  <a:lnTo>
                    <a:pt x="2051181" y="8451948"/>
                  </a:lnTo>
                  <a:lnTo>
                    <a:pt x="2081300" y="8451619"/>
                  </a:lnTo>
                  <a:lnTo>
                    <a:pt x="2103518" y="8457416"/>
                  </a:lnTo>
                  <a:lnTo>
                    <a:pt x="2113350" y="8482496"/>
                  </a:lnTo>
                  <a:lnTo>
                    <a:pt x="2140357" y="8539040"/>
                  </a:lnTo>
                  <a:lnTo>
                    <a:pt x="2125440" y="8563099"/>
                  </a:lnTo>
                  <a:lnTo>
                    <a:pt x="2110014" y="8584895"/>
                  </a:lnTo>
                  <a:lnTo>
                    <a:pt x="2097429" y="8608372"/>
                  </a:lnTo>
                  <a:lnTo>
                    <a:pt x="2084841" y="8631844"/>
                  </a:lnTo>
                  <a:lnTo>
                    <a:pt x="2074618" y="8656872"/>
                  </a:lnTo>
                  <a:lnTo>
                    <a:pt x="2083231" y="8682625"/>
                  </a:lnTo>
                  <a:lnTo>
                    <a:pt x="2096065" y="8700866"/>
                  </a:lnTo>
                  <a:lnTo>
                    <a:pt x="2105503" y="8729469"/>
                  </a:lnTo>
                  <a:lnTo>
                    <a:pt x="2111543" y="8761434"/>
                  </a:lnTo>
                  <a:lnTo>
                    <a:pt x="2119186" y="8790636"/>
                  </a:lnTo>
                  <a:lnTo>
                    <a:pt x="2144868" y="8807467"/>
                  </a:lnTo>
                  <a:lnTo>
                    <a:pt x="2231532" y="8781199"/>
                  </a:lnTo>
                  <a:lnTo>
                    <a:pt x="2252489" y="8775672"/>
                  </a:lnTo>
                  <a:lnTo>
                    <a:pt x="2278289" y="8797522"/>
                  </a:lnTo>
                  <a:lnTo>
                    <a:pt x="2288127" y="8835983"/>
                  </a:lnTo>
                  <a:lnTo>
                    <a:pt x="2300099" y="8869532"/>
                  </a:lnTo>
                  <a:lnTo>
                    <a:pt x="2313090" y="8901530"/>
                  </a:lnTo>
                  <a:lnTo>
                    <a:pt x="2327908" y="8924579"/>
                  </a:lnTo>
                  <a:lnTo>
                    <a:pt x="2392208" y="8931701"/>
                  </a:lnTo>
                  <a:lnTo>
                    <a:pt x="2447553" y="8934393"/>
                  </a:lnTo>
                  <a:lnTo>
                    <a:pt x="2501407" y="8933456"/>
                  </a:lnTo>
                  <a:lnTo>
                    <a:pt x="2555255" y="8932518"/>
                  </a:lnTo>
                  <a:lnTo>
                    <a:pt x="2607816" y="8927916"/>
                  </a:lnTo>
                  <a:lnTo>
                    <a:pt x="2653748" y="8913051"/>
                  </a:lnTo>
                  <a:lnTo>
                    <a:pt x="2699082" y="8898384"/>
                  </a:lnTo>
                  <a:lnTo>
                    <a:pt x="2798673" y="8866281"/>
                  </a:lnTo>
                  <a:lnTo>
                    <a:pt x="2898586" y="8836879"/>
                  </a:lnTo>
                  <a:lnTo>
                    <a:pt x="2998484" y="8807486"/>
                  </a:lnTo>
                  <a:lnTo>
                    <a:pt x="3099340" y="8780692"/>
                  </a:lnTo>
                  <a:lnTo>
                    <a:pt x="3148862" y="8775672"/>
                  </a:lnTo>
                  <a:lnTo>
                    <a:pt x="3186863" y="8771827"/>
                  </a:lnTo>
                  <a:lnTo>
                    <a:pt x="3227540" y="8773035"/>
                  </a:lnTo>
                  <a:lnTo>
                    <a:pt x="3265835" y="8771596"/>
                  </a:lnTo>
                  <a:lnTo>
                    <a:pt x="3291424" y="8770640"/>
                  </a:lnTo>
                  <a:lnTo>
                    <a:pt x="3327050" y="8790643"/>
                  </a:lnTo>
                  <a:lnTo>
                    <a:pt x="3360012" y="8815868"/>
                  </a:lnTo>
                  <a:lnTo>
                    <a:pt x="3380092" y="8826006"/>
                  </a:lnTo>
                  <a:lnTo>
                    <a:pt x="3533199" y="8885729"/>
                  </a:lnTo>
                  <a:lnTo>
                    <a:pt x="3672623" y="8931722"/>
                  </a:lnTo>
                  <a:lnTo>
                    <a:pt x="3792532" y="8958669"/>
                  </a:lnTo>
                  <a:lnTo>
                    <a:pt x="3920096" y="8974265"/>
                  </a:lnTo>
                  <a:lnTo>
                    <a:pt x="3940495" y="8981064"/>
                  </a:lnTo>
                  <a:lnTo>
                    <a:pt x="3994600" y="8984388"/>
                  </a:lnTo>
                  <a:lnTo>
                    <a:pt x="4052503" y="8992797"/>
                  </a:lnTo>
                  <a:lnTo>
                    <a:pt x="4106441" y="8991954"/>
                  </a:lnTo>
                  <a:lnTo>
                    <a:pt x="4141199" y="8991423"/>
                  </a:lnTo>
                  <a:lnTo>
                    <a:pt x="4268729" y="8959348"/>
                  </a:lnTo>
                  <a:lnTo>
                    <a:pt x="4293131" y="8957646"/>
                  </a:lnTo>
                  <a:lnTo>
                    <a:pt x="4413508" y="8912847"/>
                  </a:lnTo>
                  <a:lnTo>
                    <a:pt x="4534651" y="8857120"/>
                  </a:lnTo>
                  <a:lnTo>
                    <a:pt x="4635559" y="8831445"/>
                  </a:lnTo>
                  <a:lnTo>
                    <a:pt x="4659366" y="8825365"/>
                  </a:lnTo>
                  <a:lnTo>
                    <a:pt x="4686483" y="8825919"/>
                  </a:lnTo>
                  <a:lnTo>
                    <a:pt x="4709006" y="8820564"/>
                  </a:lnTo>
                  <a:lnTo>
                    <a:pt x="4743140" y="8812406"/>
                  </a:lnTo>
                  <a:lnTo>
                    <a:pt x="4779234" y="8802072"/>
                  </a:lnTo>
                  <a:lnTo>
                    <a:pt x="4813747" y="8796083"/>
                  </a:lnTo>
                  <a:lnTo>
                    <a:pt x="4861769" y="8787727"/>
                  </a:lnTo>
                  <a:lnTo>
                    <a:pt x="4908851" y="8782524"/>
                  </a:lnTo>
                  <a:lnTo>
                    <a:pt x="4956566" y="8775678"/>
                  </a:lnTo>
                  <a:lnTo>
                    <a:pt x="5004287" y="8768828"/>
                  </a:lnTo>
                  <a:lnTo>
                    <a:pt x="5051757" y="8761137"/>
                  </a:lnTo>
                  <a:lnTo>
                    <a:pt x="5098024" y="8744393"/>
                  </a:lnTo>
                  <a:lnTo>
                    <a:pt x="5161871" y="8721271"/>
                  </a:lnTo>
                  <a:lnTo>
                    <a:pt x="5216364" y="8677745"/>
                  </a:lnTo>
                  <a:lnTo>
                    <a:pt x="5280156" y="8640127"/>
                  </a:lnTo>
                  <a:lnTo>
                    <a:pt x="5352821" y="8620713"/>
                  </a:lnTo>
                  <a:lnTo>
                    <a:pt x="5417673" y="8586609"/>
                  </a:lnTo>
                  <a:lnTo>
                    <a:pt x="5439950" y="8574891"/>
                  </a:lnTo>
                  <a:lnTo>
                    <a:pt x="5474813" y="8550021"/>
                  </a:lnTo>
                  <a:lnTo>
                    <a:pt x="5511527" y="8528120"/>
                  </a:lnTo>
                  <a:lnTo>
                    <a:pt x="5548238" y="8506217"/>
                  </a:lnTo>
                  <a:lnTo>
                    <a:pt x="5587064" y="8487318"/>
                  </a:lnTo>
                  <a:lnTo>
                    <a:pt x="5613543" y="8487318"/>
                  </a:lnTo>
                  <a:lnTo>
                    <a:pt x="5665899" y="8487318"/>
                  </a:lnTo>
                  <a:lnTo>
                    <a:pt x="5721344" y="8491511"/>
                  </a:lnTo>
                  <a:lnTo>
                    <a:pt x="5775409" y="8502281"/>
                  </a:lnTo>
                  <a:lnTo>
                    <a:pt x="5829468" y="8513043"/>
                  </a:lnTo>
                  <a:lnTo>
                    <a:pt x="5881362" y="8530033"/>
                  </a:lnTo>
                  <a:lnTo>
                    <a:pt x="5929108" y="8551249"/>
                  </a:lnTo>
                  <a:lnTo>
                    <a:pt x="5994438" y="8580272"/>
                  </a:lnTo>
                  <a:lnTo>
                    <a:pt x="6058164" y="8625506"/>
                  </a:lnTo>
                  <a:lnTo>
                    <a:pt x="6127695" y="8645100"/>
                  </a:lnTo>
                  <a:lnTo>
                    <a:pt x="6203398" y="8666395"/>
                  </a:lnTo>
                  <a:lnTo>
                    <a:pt x="6306279" y="8688225"/>
                  </a:lnTo>
                  <a:lnTo>
                    <a:pt x="6410617" y="8704949"/>
                  </a:lnTo>
                  <a:lnTo>
                    <a:pt x="6514961" y="8721674"/>
                  </a:lnTo>
                  <a:lnTo>
                    <a:pt x="6619668" y="8732661"/>
                  </a:lnTo>
                  <a:lnTo>
                    <a:pt x="6698977" y="8733512"/>
                  </a:lnTo>
                  <a:lnTo>
                    <a:pt x="6747570" y="8727728"/>
                  </a:lnTo>
                  <a:lnTo>
                    <a:pt x="6786433" y="8684927"/>
                  </a:lnTo>
                  <a:lnTo>
                    <a:pt x="6797123" y="8665544"/>
                  </a:lnTo>
                  <a:lnTo>
                    <a:pt x="6811349" y="8618153"/>
                  </a:lnTo>
                  <a:lnTo>
                    <a:pt x="6820040" y="8570288"/>
                  </a:lnTo>
                  <a:lnTo>
                    <a:pt x="6828734" y="8522421"/>
                  </a:lnTo>
                  <a:lnTo>
                    <a:pt x="6832994" y="8474497"/>
                  </a:lnTo>
                  <a:lnTo>
                    <a:pt x="6817048" y="8441086"/>
                  </a:lnTo>
                  <a:lnTo>
                    <a:pt x="6795514" y="8421539"/>
                  </a:lnTo>
                  <a:lnTo>
                    <a:pt x="6772440" y="8402982"/>
                  </a:lnTo>
                  <a:lnTo>
                    <a:pt x="6749337" y="8384429"/>
                  </a:lnTo>
                  <a:lnTo>
                    <a:pt x="6723531" y="8367046"/>
                  </a:lnTo>
                  <a:lnTo>
                    <a:pt x="6703061" y="8340415"/>
                  </a:lnTo>
                  <a:lnTo>
                    <a:pt x="6713606" y="8280310"/>
                  </a:lnTo>
                  <a:lnTo>
                    <a:pt x="6747353" y="8221904"/>
                  </a:lnTo>
                  <a:lnTo>
                    <a:pt x="6768350" y="8164945"/>
                  </a:lnTo>
                  <a:lnTo>
                    <a:pt x="6797263" y="8086525"/>
                  </a:lnTo>
                  <a:lnTo>
                    <a:pt x="6796702" y="7999090"/>
                  </a:lnTo>
                  <a:lnTo>
                    <a:pt x="6814598" y="7918751"/>
                  </a:lnTo>
                  <a:lnTo>
                    <a:pt x="6820086" y="7893842"/>
                  </a:lnTo>
                  <a:lnTo>
                    <a:pt x="6837127" y="7865450"/>
                  </a:lnTo>
                  <a:lnTo>
                    <a:pt x="6844522" y="7839863"/>
                  </a:lnTo>
                  <a:lnTo>
                    <a:pt x="6868158" y="7757610"/>
                  </a:lnTo>
                  <a:lnTo>
                    <a:pt x="6887288" y="7637280"/>
                  </a:lnTo>
                  <a:lnTo>
                    <a:pt x="6886690" y="7551500"/>
                  </a:lnTo>
                  <a:lnTo>
                    <a:pt x="6870750" y="7536582"/>
                  </a:lnTo>
                  <a:lnTo>
                    <a:pt x="6849626" y="7531596"/>
                  </a:lnTo>
                  <a:lnTo>
                    <a:pt x="6828197" y="7529737"/>
                  </a:lnTo>
                  <a:lnTo>
                    <a:pt x="6806772" y="7527877"/>
                  </a:lnTo>
                  <a:lnTo>
                    <a:pt x="6784653" y="7528207"/>
                  </a:lnTo>
                  <a:lnTo>
                    <a:pt x="6737025" y="7518388"/>
                  </a:lnTo>
                  <a:lnTo>
                    <a:pt x="6706754" y="7507888"/>
                  </a:lnTo>
                  <a:lnTo>
                    <a:pt x="6678579" y="7499809"/>
                  </a:lnTo>
                  <a:lnTo>
                    <a:pt x="6675763" y="7471755"/>
                  </a:lnTo>
                  <a:lnTo>
                    <a:pt x="6682656" y="7441326"/>
                  </a:lnTo>
                  <a:lnTo>
                    <a:pt x="6696993" y="7383897"/>
                  </a:lnTo>
                  <a:lnTo>
                    <a:pt x="6686783" y="7332339"/>
                  </a:lnTo>
                  <a:lnTo>
                    <a:pt x="6670040" y="7308920"/>
                  </a:lnTo>
                  <a:lnTo>
                    <a:pt x="6677214" y="7263138"/>
                  </a:lnTo>
                  <a:lnTo>
                    <a:pt x="6690392" y="7245074"/>
                  </a:lnTo>
                  <a:lnTo>
                    <a:pt x="6707557" y="7222342"/>
                  </a:lnTo>
                  <a:lnTo>
                    <a:pt x="6720740" y="7197849"/>
                  </a:lnTo>
                  <a:lnTo>
                    <a:pt x="6733930" y="7173354"/>
                  </a:lnTo>
                  <a:lnTo>
                    <a:pt x="6742457" y="7147220"/>
                  </a:lnTo>
                  <a:lnTo>
                    <a:pt x="6739794" y="7123037"/>
                  </a:lnTo>
                  <a:lnTo>
                    <a:pt x="6725807" y="7103146"/>
                  </a:lnTo>
                  <a:lnTo>
                    <a:pt x="6703107" y="7078619"/>
                  </a:lnTo>
                  <a:lnTo>
                    <a:pt x="6681298" y="7067269"/>
                  </a:lnTo>
                  <a:lnTo>
                    <a:pt x="6622635" y="7036662"/>
                  </a:lnTo>
                  <a:lnTo>
                    <a:pt x="6563038" y="7009557"/>
                  </a:lnTo>
                  <a:lnTo>
                    <a:pt x="6508549" y="6972052"/>
                  </a:lnTo>
                  <a:lnTo>
                    <a:pt x="6467252" y="6943627"/>
                  </a:lnTo>
                  <a:lnTo>
                    <a:pt x="6437886" y="6928315"/>
                  </a:lnTo>
                  <a:lnTo>
                    <a:pt x="6420139" y="6906763"/>
                  </a:lnTo>
                  <a:lnTo>
                    <a:pt x="6405352" y="6883423"/>
                  </a:lnTo>
                  <a:lnTo>
                    <a:pt x="6399541" y="6851214"/>
                  </a:lnTo>
                  <a:lnTo>
                    <a:pt x="6402459" y="6804746"/>
                  </a:lnTo>
                  <a:lnTo>
                    <a:pt x="6405550" y="6778735"/>
                  </a:lnTo>
                  <a:lnTo>
                    <a:pt x="6411981" y="6744905"/>
                  </a:lnTo>
                  <a:lnTo>
                    <a:pt x="6428423" y="6717271"/>
                  </a:lnTo>
                  <a:lnTo>
                    <a:pt x="6451433" y="6702737"/>
                  </a:lnTo>
                  <a:lnTo>
                    <a:pt x="6489511" y="6698653"/>
                  </a:lnTo>
                  <a:lnTo>
                    <a:pt x="6504323" y="6673362"/>
                  </a:lnTo>
                  <a:lnTo>
                    <a:pt x="6520942" y="6642334"/>
                  </a:lnTo>
                  <a:lnTo>
                    <a:pt x="6541195" y="6623841"/>
                  </a:lnTo>
                  <a:lnTo>
                    <a:pt x="6576377" y="6612201"/>
                  </a:lnTo>
                  <a:lnTo>
                    <a:pt x="6611622" y="6603087"/>
                  </a:lnTo>
                  <a:lnTo>
                    <a:pt x="6647294" y="6596638"/>
                  </a:lnTo>
                  <a:lnTo>
                    <a:pt x="6682966" y="6590187"/>
                  </a:lnTo>
                  <a:lnTo>
                    <a:pt x="6720213" y="6586350"/>
                  </a:lnTo>
                  <a:lnTo>
                    <a:pt x="6757467" y="6584397"/>
                  </a:lnTo>
                  <a:lnTo>
                    <a:pt x="6769252" y="6561632"/>
                  </a:lnTo>
                  <a:lnTo>
                    <a:pt x="6778328" y="6525544"/>
                  </a:lnTo>
                  <a:lnTo>
                    <a:pt x="6783313" y="6498703"/>
                  </a:lnTo>
                  <a:lnTo>
                    <a:pt x="6786848" y="6476354"/>
                  </a:lnTo>
                  <a:lnTo>
                    <a:pt x="6783313" y="6442937"/>
                  </a:lnTo>
                  <a:lnTo>
                    <a:pt x="6774774" y="6416525"/>
                  </a:lnTo>
                  <a:lnTo>
                    <a:pt x="6751421" y="6389657"/>
                  </a:lnTo>
                  <a:lnTo>
                    <a:pt x="6727394" y="6382073"/>
                  </a:lnTo>
                  <a:lnTo>
                    <a:pt x="6700336" y="6376288"/>
                  </a:lnTo>
                  <a:lnTo>
                    <a:pt x="6673292" y="6370498"/>
                  </a:lnTo>
                  <a:lnTo>
                    <a:pt x="6643409" y="6366943"/>
                  </a:lnTo>
                  <a:lnTo>
                    <a:pt x="6616009" y="6358601"/>
                  </a:lnTo>
                  <a:lnTo>
                    <a:pt x="6588606" y="6350259"/>
                  </a:lnTo>
                  <a:lnTo>
                    <a:pt x="6564620" y="6336561"/>
                  </a:lnTo>
                  <a:lnTo>
                    <a:pt x="6548001" y="6310999"/>
                  </a:lnTo>
                  <a:lnTo>
                    <a:pt x="6529298" y="6282252"/>
                  </a:lnTo>
                  <a:lnTo>
                    <a:pt x="6532014" y="6219224"/>
                  </a:lnTo>
                  <a:lnTo>
                    <a:pt x="6527596" y="6183137"/>
                  </a:lnTo>
                  <a:lnTo>
                    <a:pt x="6432380" y="6172256"/>
                  </a:lnTo>
                  <a:lnTo>
                    <a:pt x="6416744" y="6155082"/>
                  </a:lnTo>
                  <a:lnTo>
                    <a:pt x="6413761" y="6106201"/>
                  </a:lnTo>
                  <a:lnTo>
                    <a:pt x="6416055" y="6085202"/>
                  </a:lnTo>
                  <a:lnTo>
                    <a:pt x="6496311" y="6053916"/>
                  </a:lnTo>
                  <a:lnTo>
                    <a:pt x="6518033" y="5999601"/>
                  </a:lnTo>
                  <a:lnTo>
                    <a:pt x="6520796" y="5957340"/>
                  </a:lnTo>
                  <a:lnTo>
                    <a:pt x="6523534" y="5915087"/>
                  </a:lnTo>
                  <a:lnTo>
                    <a:pt x="6523711" y="5870994"/>
                  </a:lnTo>
                  <a:lnTo>
                    <a:pt x="6525413" y="5842747"/>
                  </a:lnTo>
                  <a:lnTo>
                    <a:pt x="6537270" y="5823959"/>
                  </a:lnTo>
                  <a:lnTo>
                    <a:pt x="6529245" y="5774906"/>
                  </a:lnTo>
                  <a:lnTo>
                    <a:pt x="6511894" y="5739247"/>
                  </a:lnTo>
                  <a:lnTo>
                    <a:pt x="6499039" y="5702988"/>
                  </a:lnTo>
                  <a:lnTo>
                    <a:pt x="6486194" y="5666722"/>
                  </a:lnTo>
                  <a:lnTo>
                    <a:pt x="6476579" y="5629858"/>
                  </a:lnTo>
                  <a:lnTo>
                    <a:pt x="6482718" y="5591449"/>
                  </a:lnTo>
                  <a:lnTo>
                    <a:pt x="6520613" y="5576742"/>
                  </a:lnTo>
                  <a:lnTo>
                    <a:pt x="6546643" y="5575126"/>
                  </a:lnTo>
                  <a:lnTo>
                    <a:pt x="6572684" y="5573511"/>
                  </a:lnTo>
                  <a:lnTo>
                    <a:pt x="6599784" y="5574401"/>
                  </a:lnTo>
                  <a:lnTo>
                    <a:pt x="6624173" y="5590090"/>
                  </a:lnTo>
                  <a:lnTo>
                    <a:pt x="6618145" y="5620908"/>
                  </a:lnTo>
                  <a:lnTo>
                    <a:pt x="6617041" y="5653672"/>
                  </a:lnTo>
                  <a:lnTo>
                    <a:pt x="6620089" y="5686659"/>
                  </a:lnTo>
                  <a:lnTo>
                    <a:pt x="6623137" y="5719654"/>
                  </a:lnTo>
                  <a:lnTo>
                    <a:pt x="6630337" y="5753294"/>
                  </a:lnTo>
                  <a:lnTo>
                    <a:pt x="6637772" y="5783235"/>
                  </a:lnTo>
                  <a:lnTo>
                    <a:pt x="6666031" y="5798285"/>
                  </a:lnTo>
                  <a:lnTo>
                    <a:pt x="6779924" y="5797361"/>
                  </a:lnTo>
                  <a:lnTo>
                    <a:pt x="6846513" y="5798397"/>
                  </a:lnTo>
                  <a:lnTo>
                    <a:pt x="6890764" y="5795476"/>
                  </a:lnTo>
                  <a:lnTo>
                    <a:pt x="6935016" y="5792574"/>
                  </a:lnTo>
                  <a:lnTo>
                    <a:pt x="6957030" y="5786585"/>
                  </a:lnTo>
                  <a:lnTo>
                    <a:pt x="6973742" y="5773713"/>
                  </a:lnTo>
                  <a:lnTo>
                    <a:pt x="6990439" y="5760839"/>
                  </a:lnTo>
                  <a:lnTo>
                    <a:pt x="7001282" y="5740533"/>
                  </a:lnTo>
                  <a:lnTo>
                    <a:pt x="7022710" y="5709782"/>
                  </a:lnTo>
                  <a:lnTo>
                    <a:pt x="7044122" y="5679036"/>
                  </a:lnTo>
                  <a:lnTo>
                    <a:pt x="7075844" y="5637085"/>
                  </a:lnTo>
                  <a:lnTo>
                    <a:pt x="7134235" y="5580566"/>
                  </a:lnTo>
                  <a:lnTo>
                    <a:pt x="7182821" y="5600201"/>
                  </a:lnTo>
                  <a:lnTo>
                    <a:pt x="7220567" y="5602706"/>
                  </a:lnTo>
                  <a:lnTo>
                    <a:pt x="7258022" y="5598247"/>
                  </a:lnTo>
                  <a:lnTo>
                    <a:pt x="7295474" y="5593790"/>
                  </a:lnTo>
                  <a:lnTo>
                    <a:pt x="7333757" y="5582836"/>
                  </a:lnTo>
                  <a:lnTo>
                    <a:pt x="7384517" y="5575126"/>
                  </a:lnTo>
                  <a:lnTo>
                    <a:pt x="7424939" y="5569006"/>
                  </a:lnTo>
                  <a:lnTo>
                    <a:pt x="7469578" y="5578517"/>
                  </a:lnTo>
                  <a:lnTo>
                    <a:pt x="7509650" y="5583284"/>
                  </a:lnTo>
                  <a:lnTo>
                    <a:pt x="7541965" y="5588554"/>
                  </a:lnTo>
                  <a:lnTo>
                    <a:pt x="7606398" y="5589490"/>
                  </a:lnTo>
                  <a:lnTo>
                    <a:pt x="7656981" y="5590256"/>
                  </a:lnTo>
                  <a:lnTo>
                    <a:pt x="7709607" y="5581926"/>
                  </a:lnTo>
                  <a:lnTo>
                    <a:pt x="7731581" y="5571426"/>
                  </a:lnTo>
                  <a:lnTo>
                    <a:pt x="7938120" y="5532958"/>
                  </a:lnTo>
                  <a:lnTo>
                    <a:pt x="7962668" y="5537806"/>
                  </a:lnTo>
                  <a:lnTo>
                    <a:pt x="7987299" y="5540015"/>
                  </a:lnTo>
                  <a:lnTo>
                    <a:pt x="8018671" y="5548305"/>
                  </a:lnTo>
                  <a:lnTo>
                    <a:pt x="8038778" y="5558803"/>
                  </a:lnTo>
                  <a:lnTo>
                    <a:pt x="8113024" y="5597609"/>
                  </a:lnTo>
                  <a:lnTo>
                    <a:pt x="8188397" y="5642625"/>
                  </a:lnTo>
                  <a:lnTo>
                    <a:pt x="8264569" y="5677136"/>
                  </a:lnTo>
                  <a:lnTo>
                    <a:pt x="8305667" y="5695753"/>
                  </a:lnTo>
                  <a:lnTo>
                    <a:pt x="8534912" y="5713823"/>
                  </a:lnTo>
                  <a:lnTo>
                    <a:pt x="8595097" y="5724745"/>
                  </a:lnTo>
                  <a:lnTo>
                    <a:pt x="8663996" y="5737289"/>
                  </a:lnTo>
                  <a:lnTo>
                    <a:pt x="8732655" y="5754415"/>
                  </a:lnTo>
                  <a:lnTo>
                    <a:pt x="8801848" y="5766913"/>
                  </a:lnTo>
                  <a:lnTo>
                    <a:pt x="8824739" y="5778626"/>
                  </a:lnTo>
                  <a:lnTo>
                    <a:pt x="8870501" y="5805506"/>
                  </a:lnTo>
                  <a:lnTo>
                    <a:pt x="8893774" y="5810630"/>
                  </a:lnTo>
                  <a:lnTo>
                    <a:pt x="8917465" y="5807715"/>
                  </a:lnTo>
                  <a:lnTo>
                    <a:pt x="8941154" y="5804801"/>
                  </a:lnTo>
                  <a:lnTo>
                    <a:pt x="8964994" y="5794209"/>
                  </a:lnTo>
                  <a:lnTo>
                    <a:pt x="9000434" y="5781877"/>
                  </a:lnTo>
                  <a:lnTo>
                    <a:pt x="9030875" y="5755912"/>
                  </a:lnTo>
                  <a:lnTo>
                    <a:pt x="9041244" y="5735627"/>
                  </a:lnTo>
                  <a:lnTo>
                    <a:pt x="9051603" y="5715341"/>
                  </a:lnTo>
                  <a:lnTo>
                    <a:pt x="9061590" y="5694276"/>
                  </a:lnTo>
                  <a:lnTo>
                    <a:pt x="9122718" y="5645547"/>
                  </a:lnTo>
                  <a:lnTo>
                    <a:pt x="9161060" y="5623085"/>
                  </a:lnTo>
                  <a:lnTo>
                    <a:pt x="9203110" y="5606407"/>
                  </a:lnTo>
                  <a:lnTo>
                    <a:pt x="9245145" y="5589727"/>
                  </a:lnTo>
                  <a:lnTo>
                    <a:pt x="9289812" y="5578649"/>
                  </a:lnTo>
                  <a:lnTo>
                    <a:pt x="9344571" y="5565603"/>
                  </a:lnTo>
                  <a:lnTo>
                    <a:pt x="9396407" y="5553252"/>
                  </a:lnTo>
                  <a:lnTo>
                    <a:pt x="9432519" y="5549063"/>
                  </a:lnTo>
                  <a:lnTo>
                    <a:pt x="9458828" y="5551998"/>
                  </a:lnTo>
                  <a:lnTo>
                    <a:pt x="9485127" y="5554940"/>
                  </a:lnTo>
                  <a:lnTo>
                    <a:pt x="9515950" y="5579202"/>
                  </a:lnTo>
                  <a:lnTo>
                    <a:pt x="9541446" y="5612586"/>
                  </a:lnTo>
                  <a:lnTo>
                    <a:pt x="9556753" y="5634975"/>
                  </a:lnTo>
                  <a:lnTo>
                    <a:pt x="9572061" y="5657359"/>
                  </a:lnTo>
                  <a:lnTo>
                    <a:pt x="9592209" y="5683230"/>
                  </a:lnTo>
                  <a:lnTo>
                    <a:pt x="9622042" y="5709782"/>
                  </a:lnTo>
                  <a:lnTo>
                    <a:pt x="9673326" y="5727133"/>
                  </a:lnTo>
                  <a:lnTo>
                    <a:pt x="9715910" y="5734269"/>
                  </a:lnTo>
                  <a:lnTo>
                    <a:pt x="9758471" y="5741403"/>
                  </a:lnTo>
                  <a:lnTo>
                    <a:pt x="9801511" y="5747339"/>
                  </a:lnTo>
                  <a:lnTo>
                    <a:pt x="9829624" y="5751658"/>
                  </a:lnTo>
                  <a:lnTo>
                    <a:pt x="9853281" y="5776435"/>
                  </a:lnTo>
                  <a:lnTo>
                    <a:pt x="9872709" y="5808797"/>
                  </a:lnTo>
                  <a:lnTo>
                    <a:pt x="9890984" y="5844725"/>
                  </a:lnTo>
                  <a:lnTo>
                    <a:pt x="9911771" y="5875728"/>
                  </a:lnTo>
                  <a:lnTo>
                    <a:pt x="9937121" y="5899931"/>
                  </a:lnTo>
                  <a:lnTo>
                    <a:pt x="9980910" y="5896344"/>
                  </a:lnTo>
                  <a:lnTo>
                    <a:pt x="10015147" y="5868929"/>
                  </a:lnTo>
                  <a:lnTo>
                    <a:pt x="10044962" y="5851861"/>
                  </a:lnTo>
                  <a:lnTo>
                    <a:pt x="10075264" y="5834616"/>
                  </a:lnTo>
                  <a:lnTo>
                    <a:pt x="10107641" y="5818597"/>
                  </a:lnTo>
                  <a:lnTo>
                    <a:pt x="10140002" y="5802584"/>
                  </a:lnTo>
                  <a:lnTo>
                    <a:pt x="10174201" y="5787476"/>
                  </a:lnTo>
                  <a:lnTo>
                    <a:pt x="10208286" y="5775071"/>
                  </a:lnTo>
                  <a:lnTo>
                    <a:pt x="10242386" y="5762665"/>
                  </a:lnTo>
                  <a:lnTo>
                    <a:pt x="10276660" y="5752753"/>
                  </a:lnTo>
                  <a:lnTo>
                    <a:pt x="10311659" y="5746508"/>
                  </a:lnTo>
                  <a:lnTo>
                    <a:pt x="10346671" y="5740236"/>
                  </a:lnTo>
                  <a:lnTo>
                    <a:pt x="10382660" y="5738600"/>
                  </a:lnTo>
                  <a:lnTo>
                    <a:pt x="10417764" y="5741067"/>
                  </a:lnTo>
                  <a:lnTo>
                    <a:pt x="10446532" y="5747728"/>
                  </a:lnTo>
                  <a:lnTo>
                    <a:pt x="10473327" y="5767051"/>
                  </a:lnTo>
                  <a:lnTo>
                    <a:pt x="10480325" y="5795476"/>
                  </a:lnTo>
                  <a:lnTo>
                    <a:pt x="10471842" y="5835625"/>
                  </a:lnTo>
                  <a:lnTo>
                    <a:pt x="10461086" y="5867076"/>
                  </a:lnTo>
                  <a:lnTo>
                    <a:pt x="10458568" y="5897491"/>
                  </a:lnTo>
                  <a:lnTo>
                    <a:pt x="10456035" y="5927900"/>
                  </a:lnTo>
                  <a:lnTo>
                    <a:pt x="10461008" y="5957407"/>
                  </a:lnTo>
                  <a:lnTo>
                    <a:pt x="10484412" y="5992702"/>
                  </a:lnTo>
                  <a:lnTo>
                    <a:pt x="10480799" y="6024015"/>
                  </a:lnTo>
                  <a:lnTo>
                    <a:pt x="10479857" y="6059331"/>
                  </a:lnTo>
                  <a:lnTo>
                    <a:pt x="10485763" y="6090636"/>
                  </a:lnTo>
                  <a:lnTo>
                    <a:pt x="10519470" y="6099000"/>
                  </a:lnTo>
                  <a:lnTo>
                    <a:pt x="10558156" y="6087715"/>
                  </a:lnTo>
                  <a:lnTo>
                    <a:pt x="10579082" y="6076807"/>
                  </a:lnTo>
                  <a:lnTo>
                    <a:pt x="10598662" y="6063433"/>
                  </a:lnTo>
                  <a:lnTo>
                    <a:pt x="10637816" y="6036677"/>
                  </a:lnTo>
                  <a:lnTo>
                    <a:pt x="10673107" y="6001573"/>
                  </a:lnTo>
                  <a:lnTo>
                    <a:pt x="10692507" y="5983179"/>
                  </a:lnTo>
                  <a:lnTo>
                    <a:pt x="10719461" y="5975483"/>
                  </a:lnTo>
                  <a:lnTo>
                    <a:pt x="10747912" y="6012210"/>
                  </a:lnTo>
                  <a:lnTo>
                    <a:pt x="10749217" y="6042659"/>
                  </a:lnTo>
                  <a:lnTo>
                    <a:pt x="10730595" y="6072956"/>
                  </a:lnTo>
                  <a:lnTo>
                    <a:pt x="10706680" y="6100642"/>
                  </a:lnTo>
                  <a:lnTo>
                    <a:pt x="10681072" y="6126876"/>
                  </a:lnTo>
                  <a:lnTo>
                    <a:pt x="10659864" y="6154567"/>
                  </a:lnTo>
                  <a:lnTo>
                    <a:pt x="10645354" y="6184852"/>
                  </a:lnTo>
                  <a:lnTo>
                    <a:pt x="10656013" y="6217707"/>
                  </a:lnTo>
                  <a:lnTo>
                    <a:pt x="10680539" y="6219930"/>
                  </a:lnTo>
                  <a:lnTo>
                    <a:pt x="10704755" y="6222574"/>
                  </a:lnTo>
                  <a:lnTo>
                    <a:pt x="10728970" y="6225219"/>
                  </a:lnTo>
                  <a:lnTo>
                    <a:pt x="10753189" y="6228398"/>
                  </a:lnTo>
                  <a:lnTo>
                    <a:pt x="10770633" y="6259843"/>
                  </a:lnTo>
                  <a:lnTo>
                    <a:pt x="10777826" y="6298916"/>
                  </a:lnTo>
                  <a:lnTo>
                    <a:pt x="10782291" y="6339554"/>
                  </a:lnTo>
                  <a:lnTo>
                    <a:pt x="10786750" y="6380186"/>
                  </a:lnTo>
                  <a:lnTo>
                    <a:pt x="10787646" y="6422163"/>
                  </a:lnTo>
                  <a:lnTo>
                    <a:pt x="10784989" y="6444289"/>
                  </a:lnTo>
                  <a:lnTo>
                    <a:pt x="10774403" y="6465201"/>
                  </a:lnTo>
                  <a:lnTo>
                    <a:pt x="10804978" y="6482975"/>
                  </a:lnTo>
                  <a:lnTo>
                    <a:pt x="10833950" y="6494614"/>
                  </a:lnTo>
                  <a:lnTo>
                    <a:pt x="10852935" y="6512703"/>
                  </a:lnTo>
                  <a:lnTo>
                    <a:pt x="10865368" y="6548211"/>
                  </a:lnTo>
                  <a:lnTo>
                    <a:pt x="10864162" y="6575672"/>
                  </a:lnTo>
                  <a:lnTo>
                    <a:pt x="10904113" y="6575230"/>
                  </a:lnTo>
                  <a:lnTo>
                    <a:pt x="10916928" y="6551746"/>
                  </a:lnTo>
                  <a:lnTo>
                    <a:pt x="10942092" y="6533828"/>
                  </a:lnTo>
                  <a:lnTo>
                    <a:pt x="10991739" y="6536782"/>
                  </a:lnTo>
                  <a:lnTo>
                    <a:pt x="10982071" y="6577096"/>
                  </a:lnTo>
                  <a:lnTo>
                    <a:pt x="10975436" y="6611595"/>
                  </a:lnTo>
                  <a:lnTo>
                    <a:pt x="10976915" y="6639734"/>
                  </a:lnTo>
                  <a:lnTo>
                    <a:pt x="10988778" y="6669557"/>
                  </a:lnTo>
                  <a:lnTo>
                    <a:pt x="10994483" y="6697283"/>
                  </a:lnTo>
                  <a:lnTo>
                    <a:pt x="10962556" y="6770354"/>
                  </a:lnTo>
                  <a:lnTo>
                    <a:pt x="10944402" y="6827056"/>
                  </a:lnTo>
                  <a:lnTo>
                    <a:pt x="10927826" y="6905397"/>
                  </a:lnTo>
                  <a:lnTo>
                    <a:pt x="10904184" y="6933479"/>
                  </a:lnTo>
                  <a:lnTo>
                    <a:pt x="10882936" y="6928520"/>
                  </a:lnTo>
                  <a:lnTo>
                    <a:pt x="10864643" y="6911333"/>
                  </a:lnTo>
                  <a:lnTo>
                    <a:pt x="10846836" y="6888561"/>
                  </a:lnTo>
                  <a:lnTo>
                    <a:pt x="10827175" y="6870029"/>
                  </a:lnTo>
                  <a:lnTo>
                    <a:pt x="10804550" y="6858594"/>
                  </a:lnTo>
                  <a:lnTo>
                    <a:pt x="10789084" y="6880910"/>
                  </a:lnTo>
                  <a:lnTo>
                    <a:pt x="10783057" y="6945350"/>
                  </a:lnTo>
                  <a:lnTo>
                    <a:pt x="10836706" y="6969322"/>
                  </a:lnTo>
                  <a:lnTo>
                    <a:pt x="10844309" y="6994910"/>
                  </a:lnTo>
                  <a:lnTo>
                    <a:pt x="10840142" y="7029256"/>
                  </a:lnTo>
                  <a:lnTo>
                    <a:pt x="10862916" y="7040480"/>
                  </a:lnTo>
                  <a:lnTo>
                    <a:pt x="10895862" y="7046601"/>
                  </a:lnTo>
                  <a:lnTo>
                    <a:pt x="10908783" y="7076779"/>
                  </a:lnTo>
                  <a:lnTo>
                    <a:pt x="10940548" y="7092508"/>
                  </a:lnTo>
                  <a:lnTo>
                    <a:pt x="10985969" y="7092745"/>
                  </a:lnTo>
                  <a:lnTo>
                    <a:pt x="11031197" y="7089026"/>
                  </a:lnTo>
                  <a:lnTo>
                    <a:pt x="11076431" y="7085299"/>
                  </a:lnTo>
                  <a:lnTo>
                    <a:pt x="11120723" y="7077782"/>
                  </a:lnTo>
                  <a:lnTo>
                    <a:pt x="11141376" y="7067263"/>
                  </a:lnTo>
                  <a:lnTo>
                    <a:pt x="11160714" y="7035310"/>
                  </a:lnTo>
                  <a:lnTo>
                    <a:pt x="11168581" y="7011490"/>
                  </a:lnTo>
                  <a:lnTo>
                    <a:pt x="11176434" y="6987676"/>
                  </a:lnTo>
                  <a:lnTo>
                    <a:pt x="11182682" y="6962654"/>
                  </a:lnTo>
                  <a:lnTo>
                    <a:pt x="11211803" y="6936842"/>
                  </a:lnTo>
                  <a:lnTo>
                    <a:pt x="11266172" y="6936856"/>
                  </a:lnTo>
                  <a:lnTo>
                    <a:pt x="11295078" y="6938042"/>
                  </a:lnTo>
                  <a:lnTo>
                    <a:pt x="11312501" y="6986581"/>
                  </a:lnTo>
                  <a:lnTo>
                    <a:pt x="11318451" y="7024033"/>
                  </a:lnTo>
                  <a:lnTo>
                    <a:pt x="11322283" y="7060457"/>
                  </a:lnTo>
                  <a:lnTo>
                    <a:pt x="11320978" y="7098886"/>
                  </a:lnTo>
                  <a:lnTo>
                    <a:pt x="11363000" y="7135777"/>
                  </a:lnTo>
                  <a:lnTo>
                    <a:pt x="11406960" y="7127230"/>
                  </a:lnTo>
                  <a:lnTo>
                    <a:pt x="11446068" y="7131186"/>
                  </a:lnTo>
                  <a:lnTo>
                    <a:pt x="11469310" y="7133541"/>
                  </a:lnTo>
                  <a:lnTo>
                    <a:pt x="11481879" y="7156419"/>
                  </a:lnTo>
                  <a:lnTo>
                    <a:pt x="11503193" y="7177438"/>
                  </a:lnTo>
                  <a:lnTo>
                    <a:pt x="11527325" y="7198323"/>
                  </a:lnTo>
                  <a:lnTo>
                    <a:pt x="11560675" y="7213676"/>
                  </a:lnTo>
                  <a:lnTo>
                    <a:pt x="11607934" y="7218240"/>
                  </a:lnTo>
                  <a:lnTo>
                    <a:pt x="11640639" y="7212693"/>
                  </a:lnTo>
                  <a:lnTo>
                    <a:pt x="11675867" y="7204746"/>
                  </a:lnTo>
                  <a:lnTo>
                    <a:pt x="11709943" y="7196477"/>
                  </a:lnTo>
                  <a:lnTo>
                    <a:pt x="11726590" y="7167545"/>
                  </a:lnTo>
                  <a:lnTo>
                    <a:pt x="11739541" y="7130205"/>
                  </a:lnTo>
                  <a:lnTo>
                    <a:pt x="11746669" y="7097184"/>
                  </a:lnTo>
                  <a:lnTo>
                    <a:pt x="11769998" y="7078151"/>
                  </a:lnTo>
                  <a:lnTo>
                    <a:pt x="11796784" y="7067255"/>
                  </a:lnTo>
                  <a:lnTo>
                    <a:pt x="11825567" y="7063181"/>
                  </a:lnTo>
                  <a:lnTo>
                    <a:pt x="11852973" y="7061783"/>
                  </a:lnTo>
                  <a:lnTo>
                    <a:pt x="11882692" y="7068621"/>
                  </a:lnTo>
                  <a:lnTo>
                    <a:pt x="11901280" y="7078566"/>
                  </a:lnTo>
                  <a:lnTo>
                    <a:pt x="11914873" y="7101781"/>
                  </a:lnTo>
                  <a:lnTo>
                    <a:pt x="11917288" y="7122733"/>
                  </a:lnTo>
                  <a:lnTo>
                    <a:pt x="11945262" y="7143434"/>
                  </a:lnTo>
                  <a:lnTo>
                    <a:pt x="11973483" y="7135546"/>
                  </a:lnTo>
                  <a:lnTo>
                    <a:pt x="12000831" y="7134504"/>
                  </a:lnTo>
                  <a:lnTo>
                    <a:pt x="12028234" y="7133910"/>
                  </a:lnTo>
                  <a:lnTo>
                    <a:pt x="12055621" y="7133318"/>
                  </a:lnTo>
                  <a:lnTo>
                    <a:pt x="12082199" y="7132777"/>
                  </a:lnTo>
                  <a:lnTo>
                    <a:pt x="12109844" y="7128470"/>
                  </a:lnTo>
                  <a:lnTo>
                    <a:pt x="12141126" y="7123584"/>
                  </a:lnTo>
                  <a:lnTo>
                    <a:pt x="12172622" y="7116170"/>
                  </a:lnTo>
                  <a:lnTo>
                    <a:pt x="12203699" y="7108065"/>
                  </a:lnTo>
                  <a:lnTo>
                    <a:pt x="12234773" y="7099967"/>
                  </a:lnTo>
                  <a:lnTo>
                    <a:pt x="12266244" y="7091314"/>
                  </a:lnTo>
                  <a:lnTo>
                    <a:pt x="12297550" y="7086302"/>
                  </a:lnTo>
                  <a:lnTo>
                    <a:pt x="12348785" y="7078104"/>
                  </a:lnTo>
                  <a:lnTo>
                    <a:pt x="12398657" y="7075447"/>
                  </a:lnTo>
                  <a:lnTo>
                    <a:pt x="12448534" y="7069979"/>
                  </a:lnTo>
                  <a:lnTo>
                    <a:pt x="12473475" y="7067249"/>
                  </a:lnTo>
                  <a:lnTo>
                    <a:pt x="12498410" y="7063814"/>
                  </a:lnTo>
                  <a:lnTo>
                    <a:pt x="12523344" y="7059098"/>
                  </a:lnTo>
                  <a:lnTo>
                    <a:pt x="12573025" y="7047286"/>
                  </a:lnTo>
                  <a:lnTo>
                    <a:pt x="12598152" y="7040059"/>
                  </a:lnTo>
                  <a:lnTo>
                    <a:pt x="12605677" y="7019846"/>
                  </a:lnTo>
                  <a:lnTo>
                    <a:pt x="12602874" y="6993347"/>
                  </a:lnTo>
                  <a:lnTo>
                    <a:pt x="12596800" y="6967964"/>
                  </a:lnTo>
                  <a:lnTo>
                    <a:pt x="12590745" y="6942586"/>
                  </a:lnTo>
                  <a:lnTo>
                    <a:pt x="12581375" y="6918145"/>
                  </a:lnTo>
                  <a:lnTo>
                    <a:pt x="12565522" y="6886352"/>
                  </a:lnTo>
                  <a:lnTo>
                    <a:pt x="12453981" y="6865953"/>
                  </a:lnTo>
                  <a:lnTo>
                    <a:pt x="12437387" y="6821187"/>
                  </a:lnTo>
                  <a:lnTo>
                    <a:pt x="12437660" y="6789783"/>
                  </a:lnTo>
                  <a:lnTo>
                    <a:pt x="12438119" y="6758370"/>
                  </a:lnTo>
                  <a:lnTo>
                    <a:pt x="12443297" y="6725977"/>
                  </a:lnTo>
                  <a:lnTo>
                    <a:pt x="12475744" y="6687765"/>
                  </a:lnTo>
                  <a:lnTo>
                    <a:pt x="12504226" y="6693503"/>
                  </a:lnTo>
                  <a:lnTo>
                    <a:pt x="12543328" y="6697672"/>
                  </a:lnTo>
                  <a:lnTo>
                    <a:pt x="12572327" y="6691841"/>
                  </a:lnTo>
                  <a:lnTo>
                    <a:pt x="12588649" y="6653755"/>
                  </a:lnTo>
                  <a:lnTo>
                    <a:pt x="12615187" y="6653822"/>
                  </a:lnTo>
                  <a:lnTo>
                    <a:pt x="12636249" y="6653755"/>
                  </a:lnTo>
                  <a:lnTo>
                    <a:pt x="12657315" y="6653690"/>
                  </a:lnTo>
                  <a:lnTo>
                    <a:pt x="12682501" y="6653360"/>
                  </a:lnTo>
                  <a:lnTo>
                    <a:pt x="12706980" y="6652397"/>
                  </a:lnTo>
                  <a:lnTo>
                    <a:pt x="12731462" y="6651428"/>
                  </a:lnTo>
                  <a:lnTo>
                    <a:pt x="12755823" y="6649904"/>
                  </a:lnTo>
                  <a:lnTo>
                    <a:pt x="12794159" y="6644002"/>
                  </a:lnTo>
                  <a:lnTo>
                    <a:pt x="12813072" y="6633352"/>
                  </a:lnTo>
                  <a:lnTo>
                    <a:pt x="12782783" y="6586520"/>
                  </a:lnTo>
                  <a:lnTo>
                    <a:pt x="12768629" y="6551989"/>
                  </a:lnTo>
                  <a:lnTo>
                    <a:pt x="12760025" y="6524535"/>
                  </a:lnTo>
                  <a:lnTo>
                    <a:pt x="12751451" y="6497087"/>
                  </a:lnTo>
                  <a:lnTo>
                    <a:pt x="12742342" y="6463328"/>
                  </a:lnTo>
                  <a:lnTo>
                    <a:pt x="12727695" y="6440207"/>
                  </a:lnTo>
                  <a:lnTo>
                    <a:pt x="12705615" y="6433400"/>
                  </a:lnTo>
                  <a:lnTo>
                    <a:pt x="12683561" y="6426602"/>
                  </a:lnTo>
                  <a:lnTo>
                    <a:pt x="12648617" y="6422611"/>
                  </a:lnTo>
                  <a:lnTo>
                    <a:pt x="12591365" y="6417078"/>
                  </a:lnTo>
                  <a:lnTo>
                    <a:pt x="12591241" y="6380311"/>
                  </a:lnTo>
                  <a:lnTo>
                    <a:pt x="12613847" y="6310728"/>
                  </a:lnTo>
                  <a:lnTo>
                    <a:pt x="12599656" y="6282165"/>
                  </a:lnTo>
                  <a:lnTo>
                    <a:pt x="12575254" y="6250076"/>
                  </a:lnTo>
                  <a:lnTo>
                    <a:pt x="12593669" y="6198741"/>
                  </a:lnTo>
                  <a:lnTo>
                    <a:pt x="12602577" y="6161717"/>
                  </a:lnTo>
                  <a:lnTo>
                    <a:pt x="12604970" y="6124640"/>
                  </a:lnTo>
                  <a:lnTo>
                    <a:pt x="12607364" y="6087557"/>
                  </a:lnTo>
                  <a:lnTo>
                    <a:pt x="12603578" y="6051648"/>
                  </a:lnTo>
                  <a:lnTo>
                    <a:pt x="12599529" y="6015824"/>
                  </a:lnTo>
                  <a:lnTo>
                    <a:pt x="12595442" y="5980001"/>
                  </a:lnTo>
                  <a:lnTo>
                    <a:pt x="12590819" y="5944758"/>
                  </a:lnTo>
                  <a:lnTo>
                    <a:pt x="12591365" y="5912448"/>
                  </a:lnTo>
                  <a:lnTo>
                    <a:pt x="12591960" y="5880140"/>
                  </a:lnTo>
                  <a:lnTo>
                    <a:pt x="12596866" y="5850569"/>
                  </a:lnTo>
                  <a:lnTo>
                    <a:pt x="12613128" y="5824038"/>
                  </a:lnTo>
                  <a:lnTo>
                    <a:pt x="12633211" y="5810538"/>
                  </a:lnTo>
                  <a:lnTo>
                    <a:pt x="12666179" y="5794110"/>
                  </a:lnTo>
                  <a:lnTo>
                    <a:pt x="12701442" y="5786757"/>
                  </a:lnTo>
                  <a:lnTo>
                    <a:pt x="12726027" y="5790034"/>
                  </a:lnTo>
                  <a:lnTo>
                    <a:pt x="12754589" y="5794110"/>
                  </a:lnTo>
                  <a:lnTo>
                    <a:pt x="12792590" y="5787944"/>
                  </a:lnTo>
                  <a:lnTo>
                    <a:pt x="12831617" y="5764485"/>
                  </a:lnTo>
                  <a:lnTo>
                    <a:pt x="12871571" y="5757384"/>
                  </a:lnTo>
                  <a:lnTo>
                    <a:pt x="12897653" y="5752773"/>
                  </a:lnTo>
                  <a:lnTo>
                    <a:pt x="12919423" y="5758504"/>
                  </a:lnTo>
                  <a:lnTo>
                    <a:pt x="12940934" y="5766905"/>
                  </a:lnTo>
                  <a:lnTo>
                    <a:pt x="12962462" y="5775308"/>
                  </a:lnTo>
                  <a:lnTo>
                    <a:pt x="12983487" y="5786631"/>
                  </a:lnTo>
                  <a:lnTo>
                    <a:pt x="13007591" y="5794110"/>
                  </a:lnTo>
                  <a:lnTo>
                    <a:pt x="13035738" y="5802868"/>
                  </a:lnTo>
                  <a:lnTo>
                    <a:pt x="13062915" y="5805058"/>
                  </a:lnTo>
                  <a:lnTo>
                    <a:pt x="13087837" y="5811791"/>
                  </a:lnTo>
                  <a:lnTo>
                    <a:pt x="13112760" y="5818532"/>
                  </a:lnTo>
                  <a:lnTo>
                    <a:pt x="13135341" y="5829472"/>
                  </a:lnTo>
                  <a:lnTo>
                    <a:pt x="13154490" y="5858041"/>
                  </a:lnTo>
                  <a:lnTo>
                    <a:pt x="13164009" y="5912448"/>
                  </a:lnTo>
                  <a:lnTo>
                    <a:pt x="13176973" y="5934318"/>
                  </a:lnTo>
                  <a:lnTo>
                    <a:pt x="13210574" y="5948656"/>
                  </a:lnTo>
                  <a:lnTo>
                    <a:pt x="13246984" y="5958692"/>
                  </a:lnTo>
                  <a:lnTo>
                    <a:pt x="13283382" y="5968736"/>
                  </a:lnTo>
                  <a:lnTo>
                    <a:pt x="13322096" y="5975167"/>
                  </a:lnTo>
                  <a:lnTo>
                    <a:pt x="13343555" y="5983179"/>
                  </a:lnTo>
                  <a:lnTo>
                    <a:pt x="13365746" y="5991468"/>
                  </a:lnTo>
                  <a:lnTo>
                    <a:pt x="13388743" y="6011571"/>
                  </a:lnTo>
                  <a:lnTo>
                    <a:pt x="13410208" y="6022623"/>
                  </a:lnTo>
                  <a:lnTo>
                    <a:pt x="13434207" y="6034988"/>
                  </a:lnTo>
                  <a:lnTo>
                    <a:pt x="13460323" y="6044216"/>
                  </a:lnTo>
                  <a:lnTo>
                    <a:pt x="13485016" y="6055268"/>
                  </a:lnTo>
                  <a:lnTo>
                    <a:pt x="13511461" y="6055730"/>
                  </a:lnTo>
                  <a:lnTo>
                    <a:pt x="13529906" y="6045746"/>
                  </a:lnTo>
                  <a:lnTo>
                    <a:pt x="13548333" y="6035740"/>
                  </a:lnTo>
                  <a:lnTo>
                    <a:pt x="13569336" y="6020177"/>
                  </a:lnTo>
                  <a:lnTo>
                    <a:pt x="13589754" y="6003584"/>
                  </a:lnTo>
                  <a:lnTo>
                    <a:pt x="13630585" y="5970392"/>
                  </a:lnTo>
                  <a:lnTo>
                    <a:pt x="13669811" y="5932894"/>
                  </a:lnTo>
                  <a:lnTo>
                    <a:pt x="13693729" y="5911856"/>
                  </a:lnTo>
                  <a:lnTo>
                    <a:pt x="13705372" y="5875722"/>
                  </a:lnTo>
                  <a:lnTo>
                    <a:pt x="13711136" y="5833197"/>
                  </a:lnTo>
                  <a:lnTo>
                    <a:pt x="13710810" y="5810433"/>
                  </a:lnTo>
                  <a:lnTo>
                    <a:pt x="13710153" y="5764901"/>
                  </a:lnTo>
                  <a:lnTo>
                    <a:pt x="13702962" y="5718789"/>
                  </a:lnTo>
                  <a:lnTo>
                    <a:pt x="13697205" y="5694817"/>
                  </a:lnTo>
                  <a:lnTo>
                    <a:pt x="13691850" y="5672626"/>
                  </a:lnTo>
                  <a:lnTo>
                    <a:pt x="13676207" y="5652649"/>
                  </a:lnTo>
                  <a:lnTo>
                    <a:pt x="13670003" y="5632245"/>
                  </a:lnTo>
                  <a:lnTo>
                    <a:pt x="13643397" y="5544724"/>
                  </a:lnTo>
                  <a:lnTo>
                    <a:pt x="13633829" y="5457420"/>
                  </a:lnTo>
                  <a:lnTo>
                    <a:pt x="13619668" y="5367010"/>
                  </a:lnTo>
                  <a:lnTo>
                    <a:pt x="13624834" y="5335256"/>
                  </a:lnTo>
                  <a:lnTo>
                    <a:pt x="13644492" y="5313856"/>
                  </a:lnTo>
                  <a:lnTo>
                    <a:pt x="13682247" y="5303079"/>
                  </a:lnTo>
                  <a:lnTo>
                    <a:pt x="13723426" y="5298278"/>
                  </a:lnTo>
                  <a:lnTo>
                    <a:pt x="13763476" y="5291551"/>
                  </a:lnTo>
                  <a:lnTo>
                    <a:pt x="13797859" y="5273153"/>
                  </a:lnTo>
                  <a:lnTo>
                    <a:pt x="13823538" y="5241200"/>
                  </a:lnTo>
                  <a:lnTo>
                    <a:pt x="13827786" y="5209222"/>
                  </a:lnTo>
                  <a:lnTo>
                    <a:pt x="13834843" y="5156476"/>
                  </a:lnTo>
                  <a:lnTo>
                    <a:pt x="13819966" y="5086635"/>
                  </a:lnTo>
                  <a:lnTo>
                    <a:pt x="13811464" y="5033758"/>
                  </a:lnTo>
                  <a:lnTo>
                    <a:pt x="13804835" y="4992697"/>
                  </a:lnTo>
                  <a:lnTo>
                    <a:pt x="13793772" y="4950701"/>
                  </a:lnTo>
                  <a:lnTo>
                    <a:pt x="13788334" y="4909984"/>
                  </a:lnTo>
                  <a:lnTo>
                    <a:pt x="13785122" y="4885286"/>
                  </a:lnTo>
                  <a:lnTo>
                    <a:pt x="13787422" y="4858169"/>
                  </a:lnTo>
                  <a:lnTo>
                    <a:pt x="13782902" y="4833814"/>
                  </a:lnTo>
                  <a:lnTo>
                    <a:pt x="13777724" y="4805290"/>
                  </a:lnTo>
                  <a:lnTo>
                    <a:pt x="13762475" y="4778804"/>
                  </a:lnTo>
                  <a:lnTo>
                    <a:pt x="13759777" y="4749478"/>
                  </a:lnTo>
                  <a:lnTo>
                    <a:pt x="13750256" y="4654266"/>
                  </a:lnTo>
                  <a:lnTo>
                    <a:pt x="13709328" y="4623957"/>
                  </a:lnTo>
                  <a:lnTo>
                    <a:pt x="13654913" y="4620560"/>
                  </a:lnTo>
                  <a:lnTo>
                    <a:pt x="13619668" y="4621622"/>
                  </a:lnTo>
                  <a:lnTo>
                    <a:pt x="13620803" y="4599812"/>
                  </a:lnTo>
                  <a:lnTo>
                    <a:pt x="13616366" y="4571633"/>
                  </a:lnTo>
                  <a:lnTo>
                    <a:pt x="13606072" y="4552251"/>
                  </a:lnTo>
                  <a:lnTo>
                    <a:pt x="13564047" y="4539898"/>
                  </a:lnTo>
                  <a:lnTo>
                    <a:pt x="13536706" y="4546809"/>
                  </a:lnTo>
                  <a:lnTo>
                    <a:pt x="13509356" y="4553721"/>
                  </a:lnTo>
                  <a:lnTo>
                    <a:pt x="13482008" y="4566661"/>
                  </a:lnTo>
                  <a:lnTo>
                    <a:pt x="13448296" y="4574014"/>
                  </a:lnTo>
                  <a:lnTo>
                    <a:pt x="13433329" y="4549533"/>
                  </a:lnTo>
                  <a:lnTo>
                    <a:pt x="13417898" y="4507108"/>
                  </a:lnTo>
                  <a:lnTo>
                    <a:pt x="13421268" y="4476152"/>
                  </a:lnTo>
                  <a:lnTo>
                    <a:pt x="13429236" y="4444800"/>
                  </a:lnTo>
                  <a:lnTo>
                    <a:pt x="13437227" y="4413441"/>
                  </a:lnTo>
                  <a:lnTo>
                    <a:pt x="13449638" y="4381911"/>
                  </a:lnTo>
                  <a:lnTo>
                    <a:pt x="13449638" y="4341425"/>
                  </a:lnTo>
                  <a:lnTo>
                    <a:pt x="13449638" y="4303933"/>
                  </a:lnTo>
                  <a:lnTo>
                    <a:pt x="13437856" y="4210292"/>
                  </a:lnTo>
                  <a:lnTo>
                    <a:pt x="13431965" y="4174119"/>
                  </a:lnTo>
                  <a:lnTo>
                    <a:pt x="13424737" y="4129781"/>
                  </a:lnTo>
                  <a:lnTo>
                    <a:pt x="13401536" y="4091570"/>
                  </a:lnTo>
                  <a:lnTo>
                    <a:pt x="13404760" y="4046257"/>
                  </a:lnTo>
                  <a:lnTo>
                    <a:pt x="13412760" y="4019118"/>
                  </a:lnTo>
                  <a:lnTo>
                    <a:pt x="13443347" y="4011436"/>
                  </a:lnTo>
                  <a:lnTo>
                    <a:pt x="13476843" y="3998647"/>
                  </a:lnTo>
                  <a:lnTo>
                    <a:pt x="13510280" y="3984600"/>
                  </a:lnTo>
                  <a:lnTo>
                    <a:pt x="13541341" y="3963735"/>
                  </a:lnTo>
                  <a:lnTo>
                    <a:pt x="13563895" y="3933365"/>
                  </a:lnTo>
                  <a:lnTo>
                    <a:pt x="13539527" y="3916271"/>
                  </a:lnTo>
                  <a:lnTo>
                    <a:pt x="13509362" y="3904208"/>
                  </a:lnTo>
                  <a:lnTo>
                    <a:pt x="13489084" y="3878957"/>
                  </a:lnTo>
                  <a:lnTo>
                    <a:pt x="13507399" y="3836491"/>
                  </a:lnTo>
                  <a:lnTo>
                    <a:pt x="13506435" y="3797609"/>
                  </a:lnTo>
                  <a:lnTo>
                    <a:pt x="13502689" y="3766059"/>
                  </a:lnTo>
                  <a:lnTo>
                    <a:pt x="13498903" y="3734502"/>
                  </a:lnTo>
                  <a:lnTo>
                    <a:pt x="13491143" y="3710332"/>
                  </a:lnTo>
                  <a:lnTo>
                    <a:pt x="13588371" y="3649078"/>
                  </a:lnTo>
                  <a:lnTo>
                    <a:pt x="13587056" y="3613288"/>
                  </a:lnTo>
                  <a:lnTo>
                    <a:pt x="13558971" y="3529743"/>
                  </a:lnTo>
                  <a:lnTo>
                    <a:pt x="13563420" y="3495673"/>
                  </a:lnTo>
                  <a:lnTo>
                    <a:pt x="13677460" y="3456401"/>
                  </a:lnTo>
                  <a:lnTo>
                    <a:pt x="13707836" y="3443033"/>
                  </a:lnTo>
                  <a:lnTo>
                    <a:pt x="13708438" y="3386443"/>
                  </a:lnTo>
                  <a:lnTo>
                    <a:pt x="13703992" y="3325354"/>
                  </a:lnTo>
                  <a:lnTo>
                    <a:pt x="13699533" y="3264266"/>
                  </a:lnTo>
                  <a:lnTo>
                    <a:pt x="13689053" y="3198620"/>
                  </a:lnTo>
                  <a:lnTo>
                    <a:pt x="13676787" y="3173013"/>
                  </a:lnTo>
                  <a:lnTo>
                    <a:pt x="13637977" y="3158700"/>
                  </a:lnTo>
                  <a:lnTo>
                    <a:pt x="13584322" y="3159176"/>
                  </a:lnTo>
                  <a:lnTo>
                    <a:pt x="13532604" y="3163489"/>
                  </a:lnTo>
                  <a:lnTo>
                    <a:pt x="13480898" y="3167802"/>
                  </a:lnTo>
                  <a:lnTo>
                    <a:pt x="13430777" y="3175696"/>
                  </a:lnTo>
                  <a:lnTo>
                    <a:pt x="13407867" y="3192453"/>
                  </a:lnTo>
                  <a:lnTo>
                    <a:pt x="13406906" y="3252547"/>
                  </a:lnTo>
                  <a:lnTo>
                    <a:pt x="13397942" y="3311748"/>
                  </a:lnTo>
                  <a:lnTo>
                    <a:pt x="13393465" y="3341346"/>
                  </a:lnTo>
                  <a:lnTo>
                    <a:pt x="13386988" y="3371366"/>
                  </a:lnTo>
                  <a:lnTo>
                    <a:pt x="13377543" y="3393360"/>
                  </a:lnTo>
                  <a:lnTo>
                    <a:pt x="13368080" y="3415354"/>
                  </a:lnTo>
                  <a:lnTo>
                    <a:pt x="13338095" y="3430088"/>
                  </a:lnTo>
                  <a:lnTo>
                    <a:pt x="13294693" y="3431704"/>
                  </a:lnTo>
                  <a:lnTo>
                    <a:pt x="13249260" y="3430893"/>
                  </a:lnTo>
                  <a:lnTo>
                    <a:pt x="13207514" y="3445052"/>
                  </a:lnTo>
                  <a:lnTo>
                    <a:pt x="13196085" y="3421126"/>
                  </a:lnTo>
                  <a:lnTo>
                    <a:pt x="13191905" y="3376076"/>
                  </a:lnTo>
                  <a:lnTo>
                    <a:pt x="13191192" y="3333513"/>
                  </a:lnTo>
                  <a:lnTo>
                    <a:pt x="13190494" y="3290948"/>
                  </a:lnTo>
                  <a:lnTo>
                    <a:pt x="13193105" y="3250389"/>
                  </a:lnTo>
                  <a:lnTo>
                    <a:pt x="13267364" y="3223338"/>
                  </a:lnTo>
                  <a:lnTo>
                    <a:pt x="13267364" y="3191511"/>
                  </a:lnTo>
                  <a:lnTo>
                    <a:pt x="13271714" y="3169233"/>
                  </a:lnTo>
                  <a:lnTo>
                    <a:pt x="13284786" y="3138698"/>
                  </a:lnTo>
                  <a:lnTo>
                    <a:pt x="13304084" y="3124045"/>
                  </a:lnTo>
                  <a:lnTo>
                    <a:pt x="13323466" y="3112227"/>
                  </a:lnTo>
                  <a:lnTo>
                    <a:pt x="13345803" y="3113032"/>
                  </a:lnTo>
                  <a:lnTo>
                    <a:pt x="13358497" y="3095476"/>
                  </a:lnTo>
                  <a:lnTo>
                    <a:pt x="13353942" y="3071247"/>
                  </a:lnTo>
                  <a:lnTo>
                    <a:pt x="13344017" y="3048981"/>
                  </a:lnTo>
                  <a:lnTo>
                    <a:pt x="13324496" y="3035627"/>
                  </a:lnTo>
                  <a:lnTo>
                    <a:pt x="13298181" y="3036953"/>
                  </a:lnTo>
                  <a:lnTo>
                    <a:pt x="13271683" y="3045479"/>
                  </a:lnTo>
                  <a:lnTo>
                    <a:pt x="13244240" y="3053314"/>
                  </a:lnTo>
                  <a:lnTo>
                    <a:pt x="13216812" y="3061150"/>
                  </a:lnTo>
                  <a:lnTo>
                    <a:pt x="13189490" y="3067678"/>
                  </a:lnTo>
                  <a:lnTo>
                    <a:pt x="13163988" y="3064196"/>
                  </a:lnTo>
                  <a:lnTo>
                    <a:pt x="13131732" y="3020986"/>
                  </a:lnTo>
                  <a:lnTo>
                    <a:pt x="13135617" y="2943944"/>
                  </a:lnTo>
                  <a:lnTo>
                    <a:pt x="13119999" y="2929277"/>
                  </a:lnTo>
                  <a:lnTo>
                    <a:pt x="13095381" y="2934903"/>
                  </a:lnTo>
                  <a:lnTo>
                    <a:pt x="13053399" y="2946609"/>
                  </a:lnTo>
                  <a:lnTo>
                    <a:pt x="13008949" y="2948574"/>
                  </a:lnTo>
                  <a:lnTo>
                    <a:pt x="12954481" y="2950987"/>
                  </a:lnTo>
                  <a:lnTo>
                    <a:pt x="12897666" y="2950501"/>
                  </a:lnTo>
                  <a:lnTo>
                    <a:pt x="12847083" y="3031545"/>
                  </a:lnTo>
                  <a:lnTo>
                    <a:pt x="12819878" y="3051942"/>
                  </a:lnTo>
                  <a:lnTo>
                    <a:pt x="12626733" y="3065548"/>
                  </a:lnTo>
                  <a:lnTo>
                    <a:pt x="12596773" y="3047254"/>
                  </a:lnTo>
                  <a:lnTo>
                    <a:pt x="12583214" y="3026104"/>
                  </a:lnTo>
                  <a:lnTo>
                    <a:pt x="12569636" y="3004947"/>
                  </a:lnTo>
                  <a:lnTo>
                    <a:pt x="12558279" y="2981417"/>
                  </a:lnTo>
                  <a:lnTo>
                    <a:pt x="12515209" y="2946873"/>
                  </a:lnTo>
                  <a:lnTo>
                    <a:pt x="12481871" y="2916371"/>
                  </a:lnTo>
                  <a:lnTo>
                    <a:pt x="12444466" y="2896884"/>
                  </a:lnTo>
                  <a:lnTo>
                    <a:pt x="12417946" y="2887215"/>
                  </a:lnTo>
                  <a:lnTo>
                    <a:pt x="12362185" y="2855309"/>
                  </a:lnTo>
                  <a:lnTo>
                    <a:pt x="12321794" y="2821048"/>
                  </a:lnTo>
                  <a:lnTo>
                    <a:pt x="12274442" y="2801672"/>
                  </a:lnTo>
                  <a:lnTo>
                    <a:pt x="12221056" y="2843788"/>
                  </a:lnTo>
                  <a:lnTo>
                    <a:pt x="12170256" y="2861601"/>
                  </a:lnTo>
                  <a:lnTo>
                    <a:pt x="12135703" y="2903683"/>
                  </a:lnTo>
                  <a:lnTo>
                    <a:pt x="12093411" y="2955241"/>
                  </a:lnTo>
                  <a:lnTo>
                    <a:pt x="12054626" y="3010309"/>
                  </a:lnTo>
                  <a:lnTo>
                    <a:pt x="12011924" y="3061466"/>
                  </a:lnTo>
                  <a:lnTo>
                    <a:pt x="11997138" y="3079167"/>
                  </a:lnTo>
                  <a:lnTo>
                    <a:pt x="11978078" y="3092963"/>
                  </a:lnTo>
                  <a:lnTo>
                    <a:pt x="11962957" y="3110433"/>
                  </a:lnTo>
                  <a:lnTo>
                    <a:pt x="11921983" y="3157804"/>
                  </a:lnTo>
                  <a:lnTo>
                    <a:pt x="11891535" y="3214737"/>
                  </a:lnTo>
                  <a:lnTo>
                    <a:pt x="11859583" y="3268216"/>
                  </a:lnTo>
                  <a:lnTo>
                    <a:pt x="11852756" y="3304943"/>
                  </a:lnTo>
                  <a:lnTo>
                    <a:pt x="11882425" y="3321622"/>
                  </a:lnTo>
                  <a:lnTo>
                    <a:pt x="11917794" y="3340840"/>
                  </a:lnTo>
                  <a:lnTo>
                    <a:pt x="11942533" y="3364792"/>
                  </a:lnTo>
                  <a:lnTo>
                    <a:pt x="11877244" y="3389272"/>
                  </a:lnTo>
                  <a:lnTo>
                    <a:pt x="11851094" y="3408127"/>
                  </a:lnTo>
                  <a:lnTo>
                    <a:pt x="11821775" y="3432983"/>
                  </a:lnTo>
                  <a:lnTo>
                    <a:pt x="11791541" y="3440964"/>
                  </a:lnTo>
                  <a:lnTo>
                    <a:pt x="11760051" y="3413238"/>
                  </a:lnTo>
                  <a:lnTo>
                    <a:pt x="11743941" y="3397436"/>
                  </a:lnTo>
                  <a:lnTo>
                    <a:pt x="11727836" y="3381629"/>
                  </a:lnTo>
                  <a:lnTo>
                    <a:pt x="11711592" y="3367878"/>
                  </a:lnTo>
                  <a:lnTo>
                    <a:pt x="11679430" y="3376840"/>
                  </a:lnTo>
                  <a:lnTo>
                    <a:pt x="11664544" y="3400450"/>
                  </a:lnTo>
                  <a:lnTo>
                    <a:pt x="11648731" y="3421917"/>
                  </a:lnTo>
                  <a:lnTo>
                    <a:pt x="11632915" y="3443384"/>
                  </a:lnTo>
                  <a:lnTo>
                    <a:pt x="11616144" y="3462403"/>
                  </a:lnTo>
                  <a:lnTo>
                    <a:pt x="11591649" y="3457832"/>
                  </a:lnTo>
                  <a:lnTo>
                    <a:pt x="11531362" y="3406398"/>
                  </a:lnTo>
                  <a:lnTo>
                    <a:pt x="11541563" y="3361725"/>
                  </a:lnTo>
                  <a:lnTo>
                    <a:pt x="11565800" y="3334263"/>
                  </a:lnTo>
                  <a:lnTo>
                    <a:pt x="11591597" y="3307660"/>
                  </a:lnTo>
                  <a:lnTo>
                    <a:pt x="11617403" y="3281056"/>
                  </a:lnTo>
                  <a:lnTo>
                    <a:pt x="11644524" y="3254625"/>
                  </a:lnTo>
                  <a:lnTo>
                    <a:pt x="11663695" y="3224690"/>
                  </a:lnTo>
                  <a:lnTo>
                    <a:pt x="11643116" y="3188833"/>
                  </a:lnTo>
                  <a:lnTo>
                    <a:pt x="11541814" y="3102572"/>
                  </a:lnTo>
                  <a:lnTo>
                    <a:pt x="11511350" y="3081863"/>
                  </a:lnTo>
                  <a:lnTo>
                    <a:pt x="11528286" y="3005844"/>
                  </a:lnTo>
                  <a:lnTo>
                    <a:pt x="11570506" y="2959258"/>
                  </a:lnTo>
                  <a:lnTo>
                    <a:pt x="11590220" y="2902317"/>
                  </a:lnTo>
                  <a:lnTo>
                    <a:pt x="11571564" y="2867602"/>
                  </a:lnTo>
                  <a:lnTo>
                    <a:pt x="11547708" y="2837160"/>
                  </a:lnTo>
                  <a:lnTo>
                    <a:pt x="11520847" y="2809824"/>
                  </a:lnTo>
                  <a:lnTo>
                    <a:pt x="11493987" y="2782495"/>
                  </a:lnTo>
                  <a:lnTo>
                    <a:pt x="11464559" y="2758687"/>
                  </a:lnTo>
                  <a:lnTo>
                    <a:pt x="11433795" y="2735018"/>
                  </a:lnTo>
                  <a:lnTo>
                    <a:pt x="11372277" y="2687673"/>
                  </a:lnTo>
                  <a:lnTo>
                    <a:pt x="11306988" y="2643223"/>
                  </a:lnTo>
                  <a:lnTo>
                    <a:pt x="11255614" y="2588116"/>
                  </a:lnTo>
                  <a:lnTo>
                    <a:pt x="11214984" y="2544570"/>
                  </a:lnTo>
                  <a:lnTo>
                    <a:pt x="11173700" y="2501064"/>
                  </a:lnTo>
                  <a:lnTo>
                    <a:pt x="11122311" y="2469778"/>
                  </a:lnTo>
                  <a:lnTo>
                    <a:pt x="11094567" y="2452901"/>
                  </a:lnTo>
                  <a:lnTo>
                    <a:pt x="11063734" y="2443358"/>
                  </a:lnTo>
                  <a:lnTo>
                    <a:pt x="11039342" y="2420810"/>
                  </a:lnTo>
                  <a:lnTo>
                    <a:pt x="11031302" y="2400598"/>
                  </a:lnTo>
                  <a:lnTo>
                    <a:pt x="11053704" y="2335757"/>
                  </a:lnTo>
                  <a:lnTo>
                    <a:pt x="11092536" y="2313815"/>
                  </a:lnTo>
                  <a:lnTo>
                    <a:pt x="11127495" y="2295111"/>
                  </a:lnTo>
                  <a:lnTo>
                    <a:pt x="11153599" y="2271185"/>
                  </a:lnTo>
                  <a:lnTo>
                    <a:pt x="11177228" y="2246316"/>
                  </a:lnTo>
                  <a:lnTo>
                    <a:pt x="11189810" y="2217173"/>
                  </a:lnTo>
                  <a:lnTo>
                    <a:pt x="11186217" y="2184140"/>
                  </a:lnTo>
                  <a:lnTo>
                    <a:pt x="11172295" y="2165733"/>
                  </a:lnTo>
                  <a:lnTo>
                    <a:pt x="11142697" y="2147412"/>
                  </a:lnTo>
                  <a:lnTo>
                    <a:pt x="11111924" y="2136208"/>
                  </a:lnTo>
                  <a:lnTo>
                    <a:pt x="11083677" y="2131413"/>
                  </a:lnTo>
                  <a:lnTo>
                    <a:pt x="11059719" y="2125649"/>
                  </a:lnTo>
                  <a:lnTo>
                    <a:pt x="11036598" y="2103886"/>
                  </a:lnTo>
                  <a:lnTo>
                    <a:pt x="11029054" y="2083462"/>
                  </a:lnTo>
                  <a:lnTo>
                    <a:pt x="11022155" y="2058428"/>
                  </a:lnTo>
                  <a:lnTo>
                    <a:pt x="11010758" y="2037238"/>
                  </a:lnTo>
                  <a:lnTo>
                    <a:pt x="10999341" y="2016041"/>
                  </a:lnTo>
                  <a:lnTo>
                    <a:pt x="10983699" y="1998149"/>
                  </a:lnTo>
                  <a:lnTo>
                    <a:pt x="10959062" y="1990987"/>
                  </a:lnTo>
                  <a:lnTo>
                    <a:pt x="10944204" y="1962339"/>
                  </a:lnTo>
                  <a:lnTo>
                    <a:pt x="10921083" y="1960770"/>
                  </a:lnTo>
                  <a:lnTo>
                    <a:pt x="10897847" y="1958343"/>
                  </a:lnTo>
                  <a:lnTo>
                    <a:pt x="10874614" y="1955916"/>
                  </a:lnTo>
                  <a:lnTo>
                    <a:pt x="10850699" y="1952744"/>
                  </a:lnTo>
                  <a:lnTo>
                    <a:pt x="10836641" y="1936580"/>
                  </a:lnTo>
                  <a:lnTo>
                    <a:pt x="10835466" y="1910945"/>
                  </a:lnTo>
                  <a:lnTo>
                    <a:pt x="10860739" y="1874093"/>
                  </a:lnTo>
                  <a:lnTo>
                    <a:pt x="10850237" y="1853609"/>
                  </a:lnTo>
                  <a:lnTo>
                    <a:pt x="10801363" y="1842418"/>
                  </a:lnTo>
                  <a:lnTo>
                    <a:pt x="10769985" y="1838646"/>
                  </a:lnTo>
                  <a:lnTo>
                    <a:pt x="10738613" y="1834873"/>
                  </a:lnTo>
                  <a:lnTo>
                    <a:pt x="10708692" y="1829933"/>
                  </a:lnTo>
                  <a:lnTo>
                    <a:pt x="10690148" y="1809846"/>
                  </a:lnTo>
                  <a:lnTo>
                    <a:pt x="10670369" y="1786255"/>
                  </a:lnTo>
                  <a:lnTo>
                    <a:pt x="10648922" y="1765198"/>
                  </a:lnTo>
                  <a:lnTo>
                    <a:pt x="10627497" y="1744134"/>
                  </a:lnTo>
                  <a:lnTo>
                    <a:pt x="10604962" y="1726341"/>
                  </a:lnTo>
                  <a:lnTo>
                    <a:pt x="10569994" y="1731465"/>
                  </a:lnTo>
                  <a:lnTo>
                    <a:pt x="10459055" y="1752510"/>
                  </a:lnTo>
                  <a:lnTo>
                    <a:pt x="10434021" y="1731187"/>
                  </a:lnTo>
                  <a:lnTo>
                    <a:pt x="10442985" y="1700040"/>
                  </a:lnTo>
                  <a:lnTo>
                    <a:pt x="10468580" y="1675290"/>
                  </a:lnTo>
                  <a:lnTo>
                    <a:pt x="10503393" y="1655017"/>
                  </a:lnTo>
                  <a:lnTo>
                    <a:pt x="10539658" y="1635793"/>
                  </a:lnTo>
                  <a:lnTo>
                    <a:pt x="10579776" y="1621588"/>
                  </a:lnTo>
                  <a:lnTo>
                    <a:pt x="10593161" y="1604691"/>
                  </a:lnTo>
                  <a:lnTo>
                    <a:pt x="10618921" y="1572132"/>
                  </a:lnTo>
                  <a:lnTo>
                    <a:pt x="10645112" y="1527498"/>
                  </a:lnTo>
                  <a:lnTo>
                    <a:pt x="10662540" y="1489077"/>
                  </a:lnTo>
                  <a:lnTo>
                    <a:pt x="10646653" y="1465974"/>
                  </a:lnTo>
                  <a:lnTo>
                    <a:pt x="10544392" y="1360878"/>
                  </a:lnTo>
                  <a:lnTo>
                    <a:pt x="10553719" y="1295924"/>
                  </a:lnTo>
                  <a:lnTo>
                    <a:pt x="10558717" y="1264262"/>
                  </a:lnTo>
                  <a:lnTo>
                    <a:pt x="10584998" y="1229277"/>
                  </a:lnTo>
                  <a:lnTo>
                    <a:pt x="10564000" y="1207777"/>
                  </a:lnTo>
                  <a:lnTo>
                    <a:pt x="10516034" y="1171023"/>
                  </a:lnTo>
                  <a:lnTo>
                    <a:pt x="10468025" y="1139507"/>
                  </a:lnTo>
                  <a:lnTo>
                    <a:pt x="10420022" y="1107984"/>
                  </a:lnTo>
                  <a:lnTo>
                    <a:pt x="10371857" y="1081162"/>
                  </a:lnTo>
                  <a:lnTo>
                    <a:pt x="10348327" y="1076934"/>
                  </a:lnTo>
                  <a:lnTo>
                    <a:pt x="10310407" y="1110983"/>
                  </a:lnTo>
                  <a:lnTo>
                    <a:pt x="10261188" y="1135207"/>
                  </a:lnTo>
                  <a:lnTo>
                    <a:pt x="10224595" y="1138569"/>
                  </a:lnTo>
                  <a:lnTo>
                    <a:pt x="10190544" y="1149023"/>
                  </a:lnTo>
                  <a:lnTo>
                    <a:pt x="10139329" y="1164752"/>
                  </a:lnTo>
                  <a:lnTo>
                    <a:pt x="10097496" y="1189957"/>
                  </a:lnTo>
                  <a:lnTo>
                    <a:pt x="10051799" y="1217036"/>
                  </a:lnTo>
                  <a:lnTo>
                    <a:pt x="10020263" y="1243594"/>
                  </a:lnTo>
                  <a:lnTo>
                    <a:pt x="10001474" y="1256480"/>
                  </a:lnTo>
                  <a:lnTo>
                    <a:pt x="9982700" y="1269368"/>
                  </a:lnTo>
                  <a:lnTo>
                    <a:pt x="9961985" y="1277736"/>
                  </a:lnTo>
                  <a:lnTo>
                    <a:pt x="9941626" y="1268721"/>
                  </a:lnTo>
                  <a:lnTo>
                    <a:pt x="9858471" y="1321809"/>
                  </a:lnTo>
                  <a:lnTo>
                    <a:pt x="9840975" y="1334010"/>
                  </a:lnTo>
                  <a:lnTo>
                    <a:pt x="9809687" y="1297290"/>
                  </a:lnTo>
                  <a:lnTo>
                    <a:pt x="9790649" y="1282333"/>
                  </a:lnTo>
                  <a:lnTo>
                    <a:pt x="9757873" y="1267475"/>
                  </a:lnTo>
                  <a:lnTo>
                    <a:pt x="9720585" y="1252807"/>
                  </a:lnTo>
                  <a:lnTo>
                    <a:pt x="9699619" y="1254581"/>
                  </a:lnTo>
                  <a:lnTo>
                    <a:pt x="9658598" y="1255655"/>
                  </a:lnTo>
                  <a:lnTo>
                    <a:pt x="9620619" y="1241523"/>
                  </a:lnTo>
                  <a:lnTo>
                    <a:pt x="9591291" y="1218659"/>
                  </a:lnTo>
                  <a:lnTo>
                    <a:pt x="9566257" y="1202950"/>
                  </a:lnTo>
                  <a:lnTo>
                    <a:pt x="9536290" y="1203438"/>
                  </a:lnTo>
                  <a:lnTo>
                    <a:pt x="9483583" y="1258926"/>
                  </a:lnTo>
                  <a:lnTo>
                    <a:pt x="9445591" y="1254832"/>
                  </a:lnTo>
                  <a:lnTo>
                    <a:pt x="9427481" y="1221118"/>
                  </a:lnTo>
                  <a:lnTo>
                    <a:pt x="9412089" y="1186937"/>
                  </a:lnTo>
                  <a:lnTo>
                    <a:pt x="9357252" y="1175462"/>
                  </a:lnTo>
                  <a:lnTo>
                    <a:pt x="9330563" y="1179063"/>
                  </a:lnTo>
                  <a:lnTo>
                    <a:pt x="9306412" y="1183033"/>
                  </a:lnTo>
                  <a:lnTo>
                    <a:pt x="9282268" y="1187010"/>
                  </a:lnTo>
                  <a:lnTo>
                    <a:pt x="9260734" y="1192490"/>
                  </a:lnTo>
                  <a:lnTo>
                    <a:pt x="9232965" y="1187109"/>
                  </a:lnTo>
                  <a:lnTo>
                    <a:pt x="9202542" y="1162918"/>
                  </a:lnTo>
                  <a:lnTo>
                    <a:pt x="9182646" y="1139507"/>
                  </a:lnTo>
                  <a:lnTo>
                    <a:pt x="9162728" y="1116089"/>
                  </a:lnTo>
                  <a:lnTo>
                    <a:pt x="9139811" y="1090144"/>
                  </a:lnTo>
                  <a:lnTo>
                    <a:pt x="9114625" y="1078292"/>
                  </a:lnTo>
                  <a:lnTo>
                    <a:pt x="9092710" y="1085501"/>
                  </a:lnTo>
                  <a:lnTo>
                    <a:pt x="9055370" y="1121080"/>
                  </a:lnTo>
                  <a:lnTo>
                    <a:pt x="8875229" y="1086458"/>
                  </a:lnTo>
                  <a:lnTo>
                    <a:pt x="8847572" y="1080996"/>
                  </a:lnTo>
                  <a:lnTo>
                    <a:pt x="8817326" y="1091529"/>
                  </a:lnTo>
                  <a:lnTo>
                    <a:pt x="8788177" y="1101415"/>
                  </a:lnTo>
                  <a:lnTo>
                    <a:pt x="8759047" y="1111307"/>
                  </a:lnTo>
                  <a:lnTo>
                    <a:pt x="8730776" y="1120302"/>
                  </a:lnTo>
                  <a:lnTo>
                    <a:pt x="8706567" y="1109579"/>
                  </a:lnTo>
                  <a:lnTo>
                    <a:pt x="8681312" y="1098401"/>
                  </a:lnTo>
                  <a:lnTo>
                    <a:pt x="8662110" y="1079506"/>
                  </a:lnTo>
                  <a:lnTo>
                    <a:pt x="8644006" y="1059253"/>
                  </a:lnTo>
                  <a:lnTo>
                    <a:pt x="8625877" y="1038994"/>
                  </a:lnTo>
                  <a:lnTo>
                    <a:pt x="8608731" y="1016828"/>
                  </a:lnTo>
                  <a:lnTo>
                    <a:pt x="8589597" y="998040"/>
                  </a:lnTo>
                  <a:lnTo>
                    <a:pt x="8566172" y="975049"/>
                  </a:lnTo>
                  <a:lnTo>
                    <a:pt x="8485954" y="913968"/>
                  </a:lnTo>
                  <a:lnTo>
                    <a:pt x="8459019" y="900111"/>
                  </a:lnTo>
                  <a:lnTo>
                    <a:pt x="8421824" y="880960"/>
                  </a:lnTo>
                  <a:lnTo>
                    <a:pt x="8375269" y="879621"/>
                  </a:lnTo>
                  <a:lnTo>
                    <a:pt x="8342031" y="851137"/>
                  </a:lnTo>
                  <a:lnTo>
                    <a:pt x="8317229" y="829869"/>
                  </a:lnTo>
                  <a:lnTo>
                    <a:pt x="8293004" y="792952"/>
                  </a:lnTo>
                  <a:lnTo>
                    <a:pt x="8268590" y="758644"/>
                  </a:lnTo>
                  <a:lnTo>
                    <a:pt x="8244158" y="724343"/>
                  </a:lnTo>
                  <a:lnTo>
                    <a:pt x="8218785" y="692102"/>
                  </a:lnTo>
                  <a:lnTo>
                    <a:pt x="8195131" y="679755"/>
                  </a:lnTo>
                  <a:lnTo>
                    <a:pt x="8101391" y="636738"/>
                  </a:lnTo>
                  <a:lnTo>
                    <a:pt x="8107009" y="599225"/>
                  </a:lnTo>
                  <a:lnTo>
                    <a:pt x="8108091" y="574870"/>
                  </a:lnTo>
                  <a:lnTo>
                    <a:pt x="8109437" y="553259"/>
                  </a:lnTo>
                  <a:lnTo>
                    <a:pt x="8062851" y="526180"/>
                  </a:lnTo>
                  <a:lnTo>
                    <a:pt x="8011211" y="513491"/>
                  </a:lnTo>
                  <a:lnTo>
                    <a:pt x="7978856" y="494768"/>
                  </a:lnTo>
                  <a:lnTo>
                    <a:pt x="7957093" y="474365"/>
                  </a:lnTo>
                  <a:lnTo>
                    <a:pt x="7924878" y="443612"/>
                  </a:lnTo>
                  <a:lnTo>
                    <a:pt x="7842145" y="387226"/>
                  </a:lnTo>
                  <a:lnTo>
                    <a:pt x="7827885" y="365548"/>
                  </a:lnTo>
                  <a:lnTo>
                    <a:pt x="7815836" y="292886"/>
                  </a:lnTo>
                  <a:lnTo>
                    <a:pt x="7769523" y="257220"/>
                  </a:lnTo>
                  <a:lnTo>
                    <a:pt x="7736278" y="230043"/>
                  </a:lnTo>
                  <a:lnTo>
                    <a:pt x="7700017" y="206408"/>
                  </a:lnTo>
                  <a:lnTo>
                    <a:pt x="7663781" y="182770"/>
                  </a:lnTo>
                  <a:lnTo>
                    <a:pt x="7624400" y="163144"/>
                  </a:lnTo>
                  <a:lnTo>
                    <a:pt x="7584402" y="156080"/>
                  </a:lnTo>
                  <a:lnTo>
                    <a:pt x="7559750" y="151723"/>
                  </a:lnTo>
                  <a:lnTo>
                    <a:pt x="7529442" y="160156"/>
                  </a:lnTo>
                  <a:lnTo>
                    <a:pt x="7504156" y="157440"/>
                  </a:lnTo>
                  <a:lnTo>
                    <a:pt x="7481339" y="154994"/>
                  </a:lnTo>
                  <a:lnTo>
                    <a:pt x="7457610" y="142838"/>
                  </a:lnTo>
                  <a:lnTo>
                    <a:pt x="7434784" y="139753"/>
                  </a:lnTo>
                  <a:lnTo>
                    <a:pt x="7400311" y="135077"/>
                  </a:lnTo>
                  <a:lnTo>
                    <a:pt x="7343552" y="158330"/>
                  </a:lnTo>
                  <a:lnTo>
                    <a:pt x="7311011" y="168322"/>
                  </a:lnTo>
                  <a:lnTo>
                    <a:pt x="7281835" y="154921"/>
                  </a:lnTo>
                  <a:lnTo>
                    <a:pt x="7266199" y="126166"/>
                  </a:lnTo>
                  <a:lnTo>
                    <a:pt x="7248972" y="100447"/>
                  </a:lnTo>
                  <a:lnTo>
                    <a:pt x="7201418" y="98679"/>
                  </a:lnTo>
                  <a:lnTo>
                    <a:pt x="7184554" y="111249"/>
                  </a:lnTo>
                  <a:lnTo>
                    <a:pt x="7169622" y="126166"/>
                  </a:lnTo>
                  <a:lnTo>
                    <a:pt x="7154674" y="141084"/>
                  </a:lnTo>
                  <a:lnTo>
                    <a:pt x="7117932" y="166970"/>
                  </a:lnTo>
                  <a:lnTo>
                    <a:pt x="7078204" y="159576"/>
                  </a:lnTo>
                  <a:lnTo>
                    <a:pt x="7043391" y="136283"/>
                  </a:lnTo>
                  <a:lnTo>
                    <a:pt x="7028657" y="121154"/>
                  </a:lnTo>
                  <a:lnTo>
                    <a:pt x="6987183" y="82575"/>
                  </a:lnTo>
                  <a:lnTo>
                    <a:pt x="6940101" y="45735"/>
                  </a:lnTo>
                  <a:lnTo>
                    <a:pt x="6890777" y="22791"/>
                  </a:lnTo>
                  <a:lnTo>
                    <a:pt x="6866118" y="11323"/>
                  </a:lnTo>
                  <a:lnTo>
                    <a:pt x="6841719" y="2057"/>
                  </a:lnTo>
                  <a:lnTo>
                    <a:pt x="6817330" y="1028"/>
                  </a:lnTo>
                  <a:lnTo>
                    <a:pt x="6792941" y="0"/>
                  </a:lnTo>
                  <a:lnTo>
                    <a:pt x="6768911" y="6463"/>
                  </a:lnTo>
                  <a:lnTo>
                    <a:pt x="6747951" y="22791"/>
                  </a:lnTo>
                  <a:lnTo>
                    <a:pt x="6735474" y="47120"/>
                  </a:lnTo>
                  <a:lnTo>
                    <a:pt x="6724501" y="96438"/>
                  </a:lnTo>
                  <a:lnTo>
                    <a:pt x="6720753" y="136289"/>
                  </a:lnTo>
                  <a:lnTo>
                    <a:pt x="6707157" y="166970"/>
                  </a:lnTo>
                  <a:lnTo>
                    <a:pt x="6690358" y="196073"/>
                  </a:lnTo>
                  <a:lnTo>
                    <a:pt x="6664105" y="214044"/>
                  </a:lnTo>
                  <a:lnTo>
                    <a:pt x="6624179" y="217302"/>
                  </a:lnTo>
                  <a:lnTo>
                    <a:pt x="6601210" y="214010"/>
                  </a:lnTo>
                  <a:lnTo>
                    <a:pt x="6577757" y="192168"/>
                  </a:lnTo>
                  <a:lnTo>
                    <a:pt x="6568827" y="158330"/>
                  </a:lnTo>
                  <a:lnTo>
                    <a:pt x="6583375" y="130242"/>
                  </a:lnTo>
                  <a:lnTo>
                    <a:pt x="6608905" y="108736"/>
                  </a:lnTo>
                  <a:lnTo>
                    <a:pt x="6626901" y="97597"/>
                  </a:lnTo>
                  <a:lnTo>
                    <a:pt x="6630991" y="75840"/>
                  </a:lnTo>
                  <a:lnTo>
                    <a:pt x="6581642" y="43163"/>
                  </a:lnTo>
                  <a:lnTo>
                    <a:pt x="6545291" y="28232"/>
                  </a:lnTo>
                  <a:lnTo>
                    <a:pt x="6508946" y="13302"/>
                  </a:lnTo>
                  <a:lnTo>
                    <a:pt x="6472008" y="2525"/>
                  </a:lnTo>
                  <a:lnTo>
                    <a:pt x="6456161" y="18565"/>
                  </a:lnTo>
                  <a:lnTo>
                    <a:pt x="6432268" y="60772"/>
                  </a:lnTo>
                  <a:lnTo>
                    <a:pt x="6400751" y="68177"/>
                  </a:lnTo>
                  <a:lnTo>
                    <a:pt x="6368467" y="54071"/>
                  </a:lnTo>
                  <a:lnTo>
                    <a:pt x="6336714" y="38916"/>
                  </a:lnTo>
                  <a:lnTo>
                    <a:pt x="6274417" y="59320"/>
                  </a:lnTo>
                  <a:lnTo>
                    <a:pt x="6244642" y="74462"/>
                  </a:lnTo>
                  <a:lnTo>
                    <a:pt x="6225648" y="88081"/>
                  </a:lnTo>
                  <a:lnTo>
                    <a:pt x="6206660" y="101699"/>
                  </a:lnTo>
                  <a:lnTo>
                    <a:pt x="6191638" y="126166"/>
                  </a:lnTo>
                  <a:lnTo>
                    <a:pt x="6184234" y="150752"/>
                  </a:lnTo>
                  <a:lnTo>
                    <a:pt x="6174557" y="172310"/>
                  </a:lnTo>
                  <a:lnTo>
                    <a:pt x="6150837" y="191457"/>
                  </a:lnTo>
                  <a:lnTo>
                    <a:pt x="6118641" y="208919"/>
                  </a:lnTo>
                  <a:lnTo>
                    <a:pt x="6083338" y="216945"/>
                  </a:lnTo>
                  <a:lnTo>
                    <a:pt x="6047461" y="224101"/>
                  </a:lnTo>
                  <a:lnTo>
                    <a:pt x="6011584" y="231249"/>
                  </a:lnTo>
                  <a:lnTo>
                    <a:pt x="5974581" y="236427"/>
                  </a:lnTo>
                  <a:lnTo>
                    <a:pt x="5940010" y="245864"/>
                  </a:lnTo>
                  <a:lnTo>
                    <a:pt x="5887687" y="260122"/>
                  </a:lnTo>
                  <a:lnTo>
                    <a:pt x="5840540" y="289899"/>
                  </a:lnTo>
                  <a:lnTo>
                    <a:pt x="5786301" y="294832"/>
                  </a:lnTo>
                  <a:lnTo>
                    <a:pt x="5747240" y="298360"/>
                  </a:lnTo>
                  <a:lnTo>
                    <a:pt x="5710092" y="293109"/>
                  </a:lnTo>
                  <a:lnTo>
                    <a:pt x="5670681" y="305713"/>
                  </a:lnTo>
                  <a:lnTo>
                    <a:pt x="5642645" y="314682"/>
                  </a:lnTo>
                  <a:lnTo>
                    <a:pt x="5622866" y="340415"/>
                  </a:lnTo>
                  <a:lnTo>
                    <a:pt x="5598598" y="353321"/>
                  </a:lnTo>
                  <a:lnTo>
                    <a:pt x="5547804" y="380335"/>
                  </a:lnTo>
                  <a:lnTo>
                    <a:pt x="5490450" y="396294"/>
                  </a:lnTo>
                  <a:lnTo>
                    <a:pt x="5439457" y="425410"/>
                  </a:lnTo>
                  <a:lnTo>
                    <a:pt x="5395206" y="450683"/>
                  </a:lnTo>
                  <a:lnTo>
                    <a:pt x="5351891" y="482285"/>
                  </a:lnTo>
                  <a:lnTo>
                    <a:pt x="5308876" y="509739"/>
                  </a:lnTo>
                  <a:lnTo>
                    <a:pt x="5274664" y="531575"/>
                  </a:lnTo>
                  <a:lnTo>
                    <a:pt x="5243733" y="557902"/>
                  </a:lnTo>
                  <a:lnTo>
                    <a:pt x="5210938" y="575029"/>
                  </a:lnTo>
                  <a:lnTo>
                    <a:pt x="5178010" y="589552"/>
                  </a:lnTo>
                  <a:lnTo>
                    <a:pt x="5140511" y="593158"/>
                  </a:lnTo>
                  <a:lnTo>
                    <a:pt x="5119570" y="590514"/>
                  </a:lnTo>
                  <a:lnTo>
                    <a:pt x="5096688" y="581828"/>
                  </a:lnTo>
                  <a:lnTo>
                    <a:pt x="5062293" y="568796"/>
                  </a:lnTo>
                  <a:lnTo>
                    <a:pt x="5036409" y="547568"/>
                  </a:lnTo>
                  <a:lnTo>
                    <a:pt x="4997388" y="547826"/>
                  </a:lnTo>
                  <a:lnTo>
                    <a:pt x="4976614" y="566356"/>
                  </a:lnTo>
                  <a:lnTo>
                    <a:pt x="4998753" y="640319"/>
                  </a:lnTo>
                  <a:lnTo>
                    <a:pt x="4996663" y="678272"/>
                  </a:lnTo>
                  <a:lnTo>
                    <a:pt x="4982338" y="710369"/>
                  </a:lnTo>
                  <a:lnTo>
                    <a:pt x="4962026" y="738253"/>
                  </a:lnTo>
                  <a:lnTo>
                    <a:pt x="4941708" y="766142"/>
                  </a:lnTo>
                  <a:lnTo>
                    <a:pt x="4915564" y="789687"/>
                  </a:lnTo>
                  <a:lnTo>
                    <a:pt x="4888570" y="811707"/>
                  </a:lnTo>
                  <a:lnTo>
                    <a:pt x="4861586" y="833727"/>
                  </a:lnTo>
                  <a:lnTo>
                    <a:pt x="4834539" y="853922"/>
                  </a:lnTo>
                  <a:lnTo>
                    <a:pt x="4812401" y="874272"/>
                  </a:lnTo>
                  <a:lnTo>
                    <a:pt x="4790269" y="894631"/>
                  </a:lnTo>
                  <a:lnTo>
                    <a:pt x="4773259" y="915313"/>
                  </a:lnTo>
                  <a:lnTo>
                    <a:pt x="4767508" y="938203"/>
                  </a:lnTo>
                  <a:lnTo>
                    <a:pt x="4789066" y="970894"/>
                  </a:lnTo>
                  <a:lnTo>
                    <a:pt x="4843686" y="965408"/>
                  </a:lnTo>
                  <a:lnTo>
                    <a:pt x="4864085" y="973572"/>
                  </a:lnTo>
                  <a:lnTo>
                    <a:pt x="4867309" y="997993"/>
                  </a:lnTo>
                  <a:lnTo>
                    <a:pt x="4858135" y="1025322"/>
                  </a:lnTo>
                  <a:lnTo>
                    <a:pt x="4839612" y="1041578"/>
                  </a:lnTo>
                  <a:lnTo>
                    <a:pt x="4788012" y="1039561"/>
                  </a:lnTo>
                  <a:lnTo>
                    <a:pt x="4749062" y="1044659"/>
                  </a:lnTo>
                  <a:lnTo>
                    <a:pt x="4719914" y="1055184"/>
                  </a:lnTo>
                  <a:lnTo>
                    <a:pt x="4690765" y="1065702"/>
                  </a:lnTo>
                  <a:lnTo>
                    <a:pt x="4671690" y="1082005"/>
                  </a:lnTo>
                  <a:lnTo>
                    <a:pt x="4655989" y="1104151"/>
                  </a:lnTo>
                  <a:lnTo>
                    <a:pt x="4640266" y="1126291"/>
                  </a:lnTo>
                  <a:lnTo>
                    <a:pt x="4627848" y="1154266"/>
                  </a:lnTo>
                  <a:lnTo>
                    <a:pt x="4616537" y="1187121"/>
                  </a:lnTo>
                  <a:lnTo>
                    <a:pt x="4605229" y="1219971"/>
                  </a:lnTo>
                  <a:lnTo>
                    <a:pt x="4594380" y="1257378"/>
                  </a:lnTo>
                  <a:lnTo>
                    <a:pt x="4578453" y="1300020"/>
                  </a:lnTo>
                  <a:lnTo>
                    <a:pt x="4569331" y="1324422"/>
                  </a:lnTo>
                  <a:lnTo>
                    <a:pt x="4553108" y="1347919"/>
                  </a:lnTo>
                  <a:lnTo>
                    <a:pt x="4543090" y="1372109"/>
                  </a:lnTo>
                  <a:lnTo>
                    <a:pt x="4528313" y="1425837"/>
                  </a:lnTo>
                  <a:lnTo>
                    <a:pt x="4525405" y="1463244"/>
                  </a:lnTo>
                  <a:lnTo>
                    <a:pt x="4522496" y="1500643"/>
                  </a:lnTo>
                  <a:lnTo>
                    <a:pt x="4525436" y="1537832"/>
                  </a:lnTo>
                  <a:lnTo>
                    <a:pt x="4555152" y="1571064"/>
                  </a:lnTo>
                  <a:lnTo>
                    <a:pt x="4573988" y="1583297"/>
                  </a:lnTo>
                  <a:lnTo>
                    <a:pt x="4590694" y="1599264"/>
                  </a:lnTo>
                  <a:lnTo>
                    <a:pt x="4606091" y="1613970"/>
                  </a:lnTo>
                  <a:lnTo>
                    <a:pt x="4626192" y="1630155"/>
                  </a:lnTo>
                  <a:lnTo>
                    <a:pt x="4642377" y="1648231"/>
                  </a:lnTo>
                  <a:lnTo>
                    <a:pt x="4658581" y="1666294"/>
                  </a:lnTo>
                  <a:lnTo>
                    <a:pt x="4671743" y="1686824"/>
                  </a:lnTo>
                  <a:lnTo>
                    <a:pt x="4672310" y="1710796"/>
                  </a:lnTo>
                  <a:lnTo>
                    <a:pt x="4669566" y="1732559"/>
                  </a:lnTo>
                  <a:lnTo>
                    <a:pt x="4681808" y="1826413"/>
                  </a:lnTo>
                  <a:lnTo>
                    <a:pt x="4675008" y="1846816"/>
                  </a:lnTo>
                  <a:lnTo>
                    <a:pt x="4631305" y="1853577"/>
                  </a:lnTo>
                  <a:lnTo>
                    <a:pt x="4600197" y="1845458"/>
                  </a:lnTo>
                  <a:lnTo>
                    <a:pt x="4599735" y="1869272"/>
                  </a:lnTo>
                  <a:lnTo>
                    <a:pt x="4589314" y="1894425"/>
                  </a:lnTo>
                  <a:lnTo>
                    <a:pt x="4575519" y="1913082"/>
                  </a:lnTo>
                  <a:lnTo>
                    <a:pt x="4559592" y="1927459"/>
                  </a:lnTo>
                  <a:lnTo>
                    <a:pt x="4544424" y="1947475"/>
                  </a:lnTo>
                  <a:lnTo>
                    <a:pt x="4533435" y="1976486"/>
                  </a:lnTo>
                  <a:lnTo>
                    <a:pt x="4532189" y="2003241"/>
                  </a:lnTo>
                  <a:lnTo>
                    <a:pt x="4531094" y="2031890"/>
                  </a:lnTo>
                  <a:lnTo>
                    <a:pt x="4549633" y="2053230"/>
                  </a:lnTo>
                  <a:lnTo>
                    <a:pt x="4603105" y="2081944"/>
                  </a:lnTo>
                  <a:lnTo>
                    <a:pt x="4611058" y="2114781"/>
                  </a:lnTo>
                  <a:lnTo>
                    <a:pt x="4596095" y="2141542"/>
                  </a:lnTo>
                  <a:lnTo>
                    <a:pt x="4570769" y="2169446"/>
                  </a:lnTo>
                  <a:lnTo>
                    <a:pt x="4543044" y="2195027"/>
                  </a:lnTo>
                  <a:lnTo>
                    <a:pt x="4515319" y="2220609"/>
                  </a:lnTo>
                  <a:lnTo>
                    <a:pt x="4485094" y="2244759"/>
                  </a:lnTo>
                  <a:lnTo>
                    <a:pt x="4460075" y="2261676"/>
                  </a:lnTo>
                  <a:lnTo>
                    <a:pt x="4441503" y="2274240"/>
                  </a:lnTo>
                  <a:lnTo>
                    <a:pt x="4420038" y="2281593"/>
                  </a:lnTo>
                  <a:lnTo>
                    <a:pt x="4401583" y="2294320"/>
                  </a:lnTo>
                  <a:lnTo>
                    <a:pt x="4383137" y="2307016"/>
                  </a:lnTo>
                  <a:lnTo>
                    <a:pt x="4366816" y="2323503"/>
                  </a:lnTo>
                  <a:lnTo>
                    <a:pt x="4347177" y="2336488"/>
                  </a:lnTo>
                  <a:lnTo>
                    <a:pt x="4322400" y="2333065"/>
                  </a:lnTo>
                  <a:lnTo>
                    <a:pt x="4294086" y="2306270"/>
                  </a:lnTo>
                  <a:lnTo>
                    <a:pt x="4273894" y="2283208"/>
                  </a:lnTo>
                  <a:lnTo>
                    <a:pt x="4251958" y="2265758"/>
                  </a:lnTo>
                  <a:lnTo>
                    <a:pt x="4218813" y="2239366"/>
                  </a:lnTo>
                  <a:lnTo>
                    <a:pt x="4178728" y="2221275"/>
                  </a:lnTo>
                  <a:lnTo>
                    <a:pt x="4145865" y="2192310"/>
                  </a:lnTo>
                  <a:lnTo>
                    <a:pt x="4120583" y="2170040"/>
                  </a:lnTo>
                  <a:lnTo>
                    <a:pt x="4101272" y="2144108"/>
                  </a:lnTo>
                  <a:lnTo>
                    <a:pt x="4072418" y="2125656"/>
                  </a:lnTo>
                  <a:lnTo>
                    <a:pt x="4006912" y="2083811"/>
                  </a:lnTo>
                  <a:lnTo>
                    <a:pt x="3938188" y="2049914"/>
                  </a:lnTo>
                  <a:lnTo>
                    <a:pt x="3871110" y="2011406"/>
                  </a:lnTo>
                  <a:lnTo>
                    <a:pt x="3760124" y="1947771"/>
                  </a:lnTo>
                  <a:lnTo>
                    <a:pt x="3652416" y="1879296"/>
                  </a:lnTo>
                  <a:lnTo>
                    <a:pt x="3539214" y="1819613"/>
                  </a:lnTo>
                  <a:lnTo>
                    <a:pt x="3458248" y="1775915"/>
                  </a:lnTo>
                  <a:lnTo>
                    <a:pt x="3399120" y="1739365"/>
                  </a:lnTo>
                  <a:lnTo>
                    <a:pt x="3339976" y="1702811"/>
                  </a:lnTo>
                  <a:lnTo>
                    <a:pt x="3283881" y="1664157"/>
                  </a:lnTo>
                </a:path>
              </a:pathLst>
            </a:custGeom>
            <a:solidFill>
              <a:schemeClr val="accent2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49" name="Kirovohrad¬0" descr="Kirovohrad¬0">
              <a:extLst>
                <a:ext uri="{FF2B5EF4-FFF2-40B4-BE49-F238E27FC236}">
                  <a16:creationId xmlns:a16="http://schemas.microsoft.com/office/drawing/2014/main" id="{ED1CF7A1-75CA-4A82-AD95-630995DBEBC3}"/>
                </a:ext>
              </a:extLst>
            </p:cNvPr>
            <p:cNvSpPr/>
            <p:nvPr/>
          </p:nvSpPr>
          <p:spPr>
            <a:xfrm>
              <a:off x="3482791" y="2597133"/>
              <a:ext cx="1435183" cy="686458"/>
            </a:xfrm>
            <a:custGeom>
              <a:avLst/>
              <a:gdLst/>
              <a:ahLst/>
              <a:cxnLst/>
              <a:rect l="0" t="0" r="0" b="0"/>
              <a:pathLst>
                <a:path w="14645250" h="7951741">
                  <a:moveTo>
                    <a:pt x="10691704" y="10942"/>
                  </a:moveTo>
                  <a:lnTo>
                    <a:pt x="10686898" y="36986"/>
                  </a:lnTo>
                  <a:lnTo>
                    <a:pt x="10680257" y="63931"/>
                  </a:lnTo>
                  <a:lnTo>
                    <a:pt x="10673615" y="90879"/>
                  </a:lnTo>
                  <a:lnTo>
                    <a:pt x="10665687" y="118406"/>
                  </a:lnTo>
                  <a:lnTo>
                    <a:pt x="10657133" y="140103"/>
                  </a:lnTo>
                  <a:lnTo>
                    <a:pt x="10644888" y="157785"/>
                  </a:lnTo>
                  <a:lnTo>
                    <a:pt x="10618580" y="220455"/>
                  </a:lnTo>
                  <a:lnTo>
                    <a:pt x="10605489" y="298776"/>
                  </a:lnTo>
                  <a:lnTo>
                    <a:pt x="10579606" y="360451"/>
                  </a:lnTo>
                  <a:lnTo>
                    <a:pt x="10566000" y="378132"/>
                  </a:lnTo>
                  <a:lnTo>
                    <a:pt x="10563362" y="406062"/>
                  </a:lnTo>
                  <a:lnTo>
                    <a:pt x="10575522" y="426770"/>
                  </a:lnTo>
                  <a:lnTo>
                    <a:pt x="10605449" y="448863"/>
                  </a:lnTo>
                  <a:lnTo>
                    <a:pt x="10633016" y="472908"/>
                  </a:lnTo>
                  <a:lnTo>
                    <a:pt x="10666893" y="513750"/>
                  </a:lnTo>
                  <a:lnTo>
                    <a:pt x="10689937" y="567070"/>
                  </a:lnTo>
                  <a:lnTo>
                    <a:pt x="10706100" y="622969"/>
                  </a:lnTo>
                  <a:lnTo>
                    <a:pt x="10722273" y="678874"/>
                  </a:lnTo>
                  <a:lnTo>
                    <a:pt x="10732771" y="737872"/>
                  </a:lnTo>
                  <a:lnTo>
                    <a:pt x="10733305" y="776675"/>
                  </a:lnTo>
                  <a:lnTo>
                    <a:pt x="10732778" y="810745"/>
                  </a:lnTo>
                  <a:lnTo>
                    <a:pt x="10731088" y="845975"/>
                  </a:lnTo>
                  <a:lnTo>
                    <a:pt x="10729231" y="881410"/>
                  </a:lnTo>
                  <a:lnTo>
                    <a:pt x="10727101" y="911673"/>
                  </a:lnTo>
                  <a:lnTo>
                    <a:pt x="10730635" y="935092"/>
                  </a:lnTo>
                  <a:lnTo>
                    <a:pt x="10731181" y="957561"/>
                  </a:lnTo>
                  <a:lnTo>
                    <a:pt x="10738238" y="983288"/>
                  </a:lnTo>
                  <a:lnTo>
                    <a:pt x="10760438" y="1045478"/>
                  </a:lnTo>
                  <a:lnTo>
                    <a:pt x="10783643" y="1107199"/>
                  </a:lnTo>
                  <a:lnTo>
                    <a:pt x="10806844" y="1168921"/>
                  </a:lnTo>
                  <a:lnTo>
                    <a:pt x="10831820" y="1230088"/>
                  </a:lnTo>
                  <a:lnTo>
                    <a:pt x="10931904" y="1247301"/>
                  </a:lnTo>
                  <a:lnTo>
                    <a:pt x="10925957" y="1340198"/>
                  </a:lnTo>
                  <a:lnTo>
                    <a:pt x="10894241" y="1346766"/>
                  </a:lnTo>
                  <a:lnTo>
                    <a:pt x="10850761" y="1354119"/>
                  </a:lnTo>
                  <a:lnTo>
                    <a:pt x="10826787" y="1378732"/>
                  </a:lnTo>
                  <a:lnTo>
                    <a:pt x="10823299" y="1412886"/>
                  </a:lnTo>
                  <a:lnTo>
                    <a:pt x="10812205" y="1441812"/>
                  </a:lnTo>
                  <a:lnTo>
                    <a:pt x="10721923" y="1464314"/>
                  </a:lnTo>
                  <a:lnTo>
                    <a:pt x="10674828" y="1577831"/>
                  </a:lnTo>
                  <a:lnTo>
                    <a:pt x="10647834" y="1589584"/>
                  </a:lnTo>
                  <a:lnTo>
                    <a:pt x="10594786" y="1576941"/>
                  </a:lnTo>
                  <a:lnTo>
                    <a:pt x="10568729" y="1568308"/>
                  </a:lnTo>
                  <a:lnTo>
                    <a:pt x="10549301" y="1552732"/>
                  </a:lnTo>
                  <a:lnTo>
                    <a:pt x="10532173" y="1539153"/>
                  </a:lnTo>
                  <a:lnTo>
                    <a:pt x="10507523" y="1524782"/>
                  </a:lnTo>
                  <a:lnTo>
                    <a:pt x="10463870" y="1488483"/>
                  </a:lnTo>
                  <a:lnTo>
                    <a:pt x="10433816" y="1463522"/>
                  </a:lnTo>
                  <a:lnTo>
                    <a:pt x="10397341" y="1447253"/>
                  </a:lnTo>
                  <a:lnTo>
                    <a:pt x="10370434" y="1435249"/>
                  </a:lnTo>
                  <a:lnTo>
                    <a:pt x="10337499" y="1426848"/>
                  </a:lnTo>
                  <a:lnTo>
                    <a:pt x="10314158" y="1429011"/>
                  </a:lnTo>
                  <a:lnTo>
                    <a:pt x="10294401" y="1451090"/>
                  </a:lnTo>
                  <a:lnTo>
                    <a:pt x="10290597" y="1481791"/>
                  </a:lnTo>
                  <a:lnTo>
                    <a:pt x="10272210" y="1524782"/>
                  </a:lnTo>
                  <a:lnTo>
                    <a:pt x="10256928" y="1560501"/>
                  </a:lnTo>
                  <a:lnTo>
                    <a:pt x="10220223" y="1591793"/>
                  </a:lnTo>
                  <a:lnTo>
                    <a:pt x="10191955" y="1615917"/>
                  </a:lnTo>
                  <a:lnTo>
                    <a:pt x="10171761" y="1633110"/>
                  </a:lnTo>
                  <a:lnTo>
                    <a:pt x="10151576" y="1661916"/>
                  </a:lnTo>
                  <a:lnTo>
                    <a:pt x="10123944" y="1668967"/>
                  </a:lnTo>
                  <a:lnTo>
                    <a:pt x="10093983" y="1676610"/>
                  </a:lnTo>
                  <a:lnTo>
                    <a:pt x="10069680" y="1671835"/>
                  </a:lnTo>
                  <a:lnTo>
                    <a:pt x="10047771" y="1662161"/>
                  </a:lnTo>
                  <a:lnTo>
                    <a:pt x="10025869" y="1652486"/>
                  </a:lnTo>
                  <a:lnTo>
                    <a:pt x="10006791" y="1637535"/>
                  </a:lnTo>
                  <a:lnTo>
                    <a:pt x="9989282" y="1622717"/>
                  </a:lnTo>
                  <a:lnTo>
                    <a:pt x="9971779" y="1607904"/>
                  </a:lnTo>
                  <a:lnTo>
                    <a:pt x="9955734" y="1593765"/>
                  </a:lnTo>
                  <a:lnTo>
                    <a:pt x="9922185" y="1578220"/>
                  </a:lnTo>
                  <a:lnTo>
                    <a:pt x="9884547" y="1588707"/>
                  </a:lnTo>
                  <a:lnTo>
                    <a:pt x="9868998" y="1606850"/>
                  </a:lnTo>
                  <a:lnTo>
                    <a:pt x="9864738" y="1635860"/>
                  </a:lnTo>
                  <a:lnTo>
                    <a:pt x="9866868" y="1670319"/>
                  </a:lnTo>
                  <a:lnTo>
                    <a:pt x="9867875" y="1704513"/>
                  </a:lnTo>
                  <a:lnTo>
                    <a:pt x="9863135" y="1734059"/>
                  </a:lnTo>
                  <a:lnTo>
                    <a:pt x="9846469" y="1753295"/>
                  </a:lnTo>
                  <a:lnTo>
                    <a:pt x="9820716" y="1755822"/>
                  </a:lnTo>
                  <a:lnTo>
                    <a:pt x="9785170" y="1753479"/>
                  </a:lnTo>
                  <a:lnTo>
                    <a:pt x="9758050" y="1750579"/>
                  </a:lnTo>
                  <a:lnTo>
                    <a:pt x="9733564" y="1731532"/>
                  </a:lnTo>
                  <a:lnTo>
                    <a:pt x="9729165" y="1701723"/>
                  </a:lnTo>
                  <a:lnTo>
                    <a:pt x="9728017" y="1658006"/>
                  </a:lnTo>
                  <a:lnTo>
                    <a:pt x="9724042" y="1615917"/>
                  </a:lnTo>
                  <a:lnTo>
                    <a:pt x="9720064" y="1573822"/>
                  </a:lnTo>
                  <a:lnTo>
                    <a:pt x="9713463" y="1532353"/>
                  </a:lnTo>
                  <a:lnTo>
                    <a:pt x="9696838" y="1505736"/>
                  </a:lnTo>
                  <a:lnTo>
                    <a:pt x="9682268" y="1482423"/>
                  </a:lnTo>
                  <a:lnTo>
                    <a:pt x="9638538" y="1430033"/>
                  </a:lnTo>
                  <a:lnTo>
                    <a:pt x="9598897" y="1377881"/>
                  </a:lnTo>
                  <a:lnTo>
                    <a:pt x="9559268" y="1325729"/>
                  </a:lnTo>
                  <a:lnTo>
                    <a:pt x="9523509" y="1274684"/>
                  </a:lnTo>
                  <a:lnTo>
                    <a:pt x="9518570" y="1230406"/>
                  </a:lnTo>
                  <a:lnTo>
                    <a:pt x="9519466" y="1200445"/>
                  </a:lnTo>
                  <a:lnTo>
                    <a:pt x="9521373" y="1171130"/>
                  </a:lnTo>
                  <a:lnTo>
                    <a:pt x="9523292" y="1141816"/>
                  </a:lnTo>
                  <a:lnTo>
                    <a:pt x="9525918" y="1112410"/>
                  </a:lnTo>
                  <a:lnTo>
                    <a:pt x="9526814" y="1086795"/>
                  </a:lnTo>
                  <a:lnTo>
                    <a:pt x="9519317" y="1063548"/>
                  </a:lnTo>
                  <a:lnTo>
                    <a:pt x="9495337" y="1049870"/>
                  </a:lnTo>
                  <a:lnTo>
                    <a:pt x="9463714" y="1064425"/>
                  </a:lnTo>
                  <a:lnTo>
                    <a:pt x="9448143" y="1087309"/>
                  </a:lnTo>
                  <a:lnTo>
                    <a:pt x="9430243" y="1108558"/>
                  </a:lnTo>
                  <a:lnTo>
                    <a:pt x="9412340" y="1129814"/>
                  </a:lnTo>
                  <a:lnTo>
                    <a:pt x="9392580" y="1150026"/>
                  </a:lnTo>
                  <a:lnTo>
                    <a:pt x="9358148" y="1160249"/>
                  </a:lnTo>
                  <a:lnTo>
                    <a:pt x="9306148" y="1150930"/>
                  </a:lnTo>
                  <a:lnTo>
                    <a:pt x="9271096" y="1141202"/>
                  </a:lnTo>
                  <a:lnTo>
                    <a:pt x="9236044" y="1131482"/>
                  </a:lnTo>
                  <a:lnTo>
                    <a:pt x="9203110" y="1118979"/>
                  </a:lnTo>
                  <a:lnTo>
                    <a:pt x="9191607" y="1094024"/>
                  </a:lnTo>
                  <a:lnTo>
                    <a:pt x="9194772" y="1064411"/>
                  </a:lnTo>
                  <a:lnTo>
                    <a:pt x="9193566" y="1043269"/>
                  </a:lnTo>
                  <a:lnTo>
                    <a:pt x="9173394" y="1029367"/>
                  </a:lnTo>
                  <a:lnTo>
                    <a:pt x="9151175" y="1016374"/>
                  </a:lnTo>
                  <a:lnTo>
                    <a:pt x="9128277" y="1005182"/>
                  </a:lnTo>
                  <a:lnTo>
                    <a:pt x="9131865" y="972412"/>
                  </a:lnTo>
                  <a:lnTo>
                    <a:pt x="9138289" y="934584"/>
                  </a:lnTo>
                  <a:lnTo>
                    <a:pt x="9131009" y="904531"/>
                  </a:lnTo>
                  <a:lnTo>
                    <a:pt x="9111962" y="895008"/>
                  </a:lnTo>
                  <a:lnTo>
                    <a:pt x="9087473" y="886850"/>
                  </a:lnTo>
                  <a:lnTo>
                    <a:pt x="9058911" y="919488"/>
                  </a:lnTo>
                  <a:lnTo>
                    <a:pt x="9037148" y="949417"/>
                  </a:lnTo>
                  <a:lnTo>
                    <a:pt x="9000428" y="949409"/>
                  </a:lnTo>
                  <a:lnTo>
                    <a:pt x="8978665" y="943969"/>
                  </a:lnTo>
                  <a:lnTo>
                    <a:pt x="8966030" y="971859"/>
                  </a:lnTo>
                  <a:lnTo>
                    <a:pt x="8951454" y="987495"/>
                  </a:lnTo>
                  <a:lnTo>
                    <a:pt x="8936887" y="1003139"/>
                  </a:lnTo>
                  <a:lnTo>
                    <a:pt x="8922938" y="1019282"/>
                  </a:lnTo>
                  <a:lnTo>
                    <a:pt x="8928677" y="1039945"/>
                  </a:lnTo>
                  <a:lnTo>
                    <a:pt x="8939216" y="1069107"/>
                  </a:lnTo>
                  <a:lnTo>
                    <a:pt x="8947591" y="1097538"/>
                  </a:lnTo>
                  <a:lnTo>
                    <a:pt x="8933781" y="1118081"/>
                  </a:lnTo>
                  <a:lnTo>
                    <a:pt x="8894462" y="1125091"/>
                  </a:lnTo>
                  <a:lnTo>
                    <a:pt x="8869223" y="1113432"/>
                  </a:lnTo>
                  <a:lnTo>
                    <a:pt x="8845361" y="1101752"/>
                  </a:lnTo>
                  <a:lnTo>
                    <a:pt x="8821508" y="1090080"/>
                  </a:lnTo>
                  <a:lnTo>
                    <a:pt x="8798527" y="1078941"/>
                  </a:lnTo>
                  <a:lnTo>
                    <a:pt x="8771914" y="1084071"/>
                  </a:lnTo>
                  <a:lnTo>
                    <a:pt x="8758309" y="1104469"/>
                  </a:lnTo>
                  <a:lnTo>
                    <a:pt x="8734118" y="1134878"/>
                  </a:lnTo>
                  <a:lnTo>
                    <a:pt x="8724491" y="1155428"/>
                  </a:lnTo>
                  <a:lnTo>
                    <a:pt x="8714783" y="1176558"/>
                  </a:lnTo>
                  <a:lnTo>
                    <a:pt x="8705075" y="1197695"/>
                  </a:lnTo>
                  <a:lnTo>
                    <a:pt x="8695553" y="1219662"/>
                  </a:lnTo>
                  <a:lnTo>
                    <a:pt x="8683498" y="1239131"/>
                  </a:lnTo>
                  <a:lnTo>
                    <a:pt x="8665815" y="1262252"/>
                  </a:lnTo>
                  <a:lnTo>
                    <a:pt x="8648136" y="1284015"/>
                  </a:lnTo>
                  <a:lnTo>
                    <a:pt x="8634062" y="1315506"/>
                  </a:lnTo>
                  <a:lnTo>
                    <a:pt x="8623648" y="1337065"/>
                  </a:lnTo>
                  <a:lnTo>
                    <a:pt x="8613236" y="1358623"/>
                  </a:lnTo>
                  <a:lnTo>
                    <a:pt x="8601444" y="1378592"/>
                  </a:lnTo>
                  <a:lnTo>
                    <a:pt x="8565902" y="1400330"/>
                  </a:lnTo>
                  <a:lnTo>
                    <a:pt x="8546244" y="1415043"/>
                  </a:lnTo>
                  <a:lnTo>
                    <a:pt x="8524354" y="1425476"/>
                  </a:lnTo>
                  <a:lnTo>
                    <a:pt x="8502467" y="1435916"/>
                  </a:lnTo>
                  <a:lnTo>
                    <a:pt x="8479383" y="1441984"/>
                  </a:lnTo>
                  <a:lnTo>
                    <a:pt x="8446827" y="1444522"/>
                  </a:lnTo>
                  <a:lnTo>
                    <a:pt x="8418265" y="1509812"/>
                  </a:lnTo>
                  <a:lnTo>
                    <a:pt x="8391054" y="1573735"/>
                  </a:lnTo>
                  <a:lnTo>
                    <a:pt x="8402858" y="1592241"/>
                  </a:lnTo>
                  <a:lnTo>
                    <a:pt x="8428221" y="1615086"/>
                  </a:lnTo>
                  <a:lnTo>
                    <a:pt x="8448185" y="1636308"/>
                  </a:lnTo>
                  <a:lnTo>
                    <a:pt x="8435991" y="1699309"/>
                  </a:lnTo>
                  <a:lnTo>
                    <a:pt x="8423697" y="1743765"/>
                  </a:lnTo>
                  <a:lnTo>
                    <a:pt x="8411412" y="1788221"/>
                  </a:lnTo>
                  <a:lnTo>
                    <a:pt x="8396988" y="1830627"/>
                  </a:lnTo>
                  <a:lnTo>
                    <a:pt x="8368655" y="1851877"/>
                  </a:lnTo>
                  <a:lnTo>
                    <a:pt x="8337172" y="1859420"/>
                  </a:lnTo>
                  <a:lnTo>
                    <a:pt x="8308082" y="1858022"/>
                  </a:lnTo>
                  <a:lnTo>
                    <a:pt x="8279935" y="1853735"/>
                  </a:lnTo>
                  <a:lnTo>
                    <a:pt x="8257347" y="1843263"/>
                  </a:lnTo>
                  <a:lnTo>
                    <a:pt x="8245516" y="1824013"/>
                  </a:lnTo>
                  <a:lnTo>
                    <a:pt x="8244533" y="1797666"/>
                  </a:lnTo>
                  <a:lnTo>
                    <a:pt x="8227228" y="1777717"/>
                  </a:lnTo>
                  <a:lnTo>
                    <a:pt x="8201990" y="1787285"/>
                  </a:lnTo>
                  <a:lnTo>
                    <a:pt x="8173960" y="1804630"/>
                  </a:lnTo>
                  <a:lnTo>
                    <a:pt x="8145683" y="1824350"/>
                  </a:lnTo>
                  <a:lnTo>
                    <a:pt x="8117660" y="1836253"/>
                  </a:lnTo>
                  <a:lnTo>
                    <a:pt x="8090080" y="1836846"/>
                  </a:lnTo>
                  <a:lnTo>
                    <a:pt x="8074134" y="1815848"/>
                  </a:lnTo>
                  <a:lnTo>
                    <a:pt x="8083659" y="1792727"/>
                  </a:lnTo>
                  <a:lnTo>
                    <a:pt x="8079423" y="1766201"/>
                  </a:lnTo>
                  <a:lnTo>
                    <a:pt x="8051013" y="1750559"/>
                  </a:lnTo>
                  <a:lnTo>
                    <a:pt x="8023808" y="1736960"/>
                  </a:lnTo>
                  <a:lnTo>
                    <a:pt x="7987252" y="1781450"/>
                  </a:lnTo>
                  <a:lnTo>
                    <a:pt x="7959034" y="1808898"/>
                  </a:lnTo>
                  <a:lnTo>
                    <a:pt x="7928592" y="1826729"/>
                  </a:lnTo>
                  <a:lnTo>
                    <a:pt x="7898157" y="1844562"/>
                  </a:lnTo>
                  <a:lnTo>
                    <a:pt x="7864323" y="1853717"/>
                  </a:lnTo>
                  <a:lnTo>
                    <a:pt x="7833383" y="1859375"/>
                  </a:lnTo>
                  <a:lnTo>
                    <a:pt x="7802439" y="1865032"/>
                  </a:lnTo>
                  <a:lnTo>
                    <a:pt x="7773526" y="1866366"/>
                  </a:lnTo>
                  <a:lnTo>
                    <a:pt x="7750405" y="1871615"/>
                  </a:lnTo>
                  <a:lnTo>
                    <a:pt x="7727296" y="1876864"/>
                  </a:lnTo>
                  <a:lnTo>
                    <a:pt x="7704159" y="1901536"/>
                  </a:lnTo>
                  <a:lnTo>
                    <a:pt x="7694210" y="1925337"/>
                  </a:lnTo>
                  <a:lnTo>
                    <a:pt x="7686545" y="1944924"/>
                  </a:lnTo>
                  <a:lnTo>
                    <a:pt x="7667368" y="1980569"/>
                  </a:lnTo>
                  <a:lnTo>
                    <a:pt x="7636154" y="2014434"/>
                  </a:lnTo>
                  <a:lnTo>
                    <a:pt x="7615644" y="2027308"/>
                  </a:lnTo>
                  <a:lnTo>
                    <a:pt x="7591249" y="2053317"/>
                  </a:lnTo>
                  <a:lnTo>
                    <a:pt x="7584899" y="2073874"/>
                  </a:lnTo>
                  <a:lnTo>
                    <a:pt x="7564990" y="2107343"/>
                  </a:lnTo>
                  <a:lnTo>
                    <a:pt x="7519172" y="2127333"/>
                  </a:lnTo>
                  <a:lnTo>
                    <a:pt x="7494916" y="2117546"/>
                  </a:lnTo>
                  <a:lnTo>
                    <a:pt x="7472707" y="2099034"/>
                  </a:lnTo>
                  <a:lnTo>
                    <a:pt x="7460683" y="2075647"/>
                  </a:lnTo>
                  <a:lnTo>
                    <a:pt x="7453976" y="2039778"/>
                  </a:lnTo>
                  <a:lnTo>
                    <a:pt x="7448780" y="1994135"/>
                  </a:lnTo>
                  <a:lnTo>
                    <a:pt x="7437562" y="1950509"/>
                  </a:lnTo>
                  <a:lnTo>
                    <a:pt x="7431956" y="1928694"/>
                  </a:lnTo>
                  <a:lnTo>
                    <a:pt x="7425249" y="1906951"/>
                  </a:lnTo>
                  <a:lnTo>
                    <a:pt x="7415799" y="1887936"/>
                  </a:lnTo>
                  <a:lnTo>
                    <a:pt x="7406348" y="1868924"/>
                  </a:lnTo>
                  <a:lnTo>
                    <a:pt x="7379072" y="1838970"/>
                  </a:lnTo>
                  <a:lnTo>
                    <a:pt x="7323305" y="1802242"/>
                  </a:lnTo>
                  <a:lnTo>
                    <a:pt x="7267538" y="1764158"/>
                  </a:lnTo>
                  <a:lnTo>
                    <a:pt x="7237729" y="1750480"/>
                  </a:lnTo>
                  <a:lnTo>
                    <a:pt x="7205526" y="1740330"/>
                  </a:lnTo>
                  <a:lnTo>
                    <a:pt x="7172322" y="1730154"/>
                  </a:lnTo>
                  <a:lnTo>
                    <a:pt x="7139115" y="1719985"/>
                  </a:lnTo>
                  <a:lnTo>
                    <a:pt x="7105461" y="1710146"/>
                  </a:lnTo>
                  <a:lnTo>
                    <a:pt x="7074387" y="1698867"/>
                  </a:lnTo>
                  <a:lnTo>
                    <a:pt x="7046938" y="1687479"/>
                  </a:lnTo>
                  <a:lnTo>
                    <a:pt x="7020229" y="1674901"/>
                  </a:lnTo>
                  <a:lnTo>
                    <a:pt x="6994141" y="1664865"/>
                  </a:lnTo>
                  <a:lnTo>
                    <a:pt x="6969370" y="1661020"/>
                  </a:lnTo>
                  <a:lnTo>
                    <a:pt x="6929128" y="1655110"/>
                  </a:lnTo>
                  <a:lnTo>
                    <a:pt x="6903005" y="1652624"/>
                  </a:lnTo>
                  <a:lnTo>
                    <a:pt x="6874443" y="1656699"/>
                  </a:lnTo>
                  <a:lnTo>
                    <a:pt x="6845880" y="1660775"/>
                  </a:lnTo>
                  <a:lnTo>
                    <a:pt x="6822350" y="1659938"/>
                  </a:lnTo>
                  <a:lnTo>
                    <a:pt x="6795951" y="1661626"/>
                  </a:lnTo>
                  <a:lnTo>
                    <a:pt x="6773785" y="1671657"/>
                  </a:lnTo>
                  <a:lnTo>
                    <a:pt x="6767196" y="1713271"/>
                  </a:lnTo>
                  <a:lnTo>
                    <a:pt x="6766986" y="1735587"/>
                  </a:lnTo>
                  <a:lnTo>
                    <a:pt x="6766787" y="1757899"/>
                  </a:lnTo>
                  <a:lnTo>
                    <a:pt x="6765646" y="1779227"/>
                  </a:lnTo>
                  <a:lnTo>
                    <a:pt x="6730687" y="1812617"/>
                  </a:lnTo>
                  <a:lnTo>
                    <a:pt x="6705467" y="1815558"/>
                  </a:lnTo>
                  <a:lnTo>
                    <a:pt x="6679934" y="1813118"/>
                  </a:lnTo>
                  <a:lnTo>
                    <a:pt x="6654397" y="1810677"/>
                  </a:lnTo>
                  <a:lnTo>
                    <a:pt x="6627444" y="1802356"/>
                  </a:lnTo>
                  <a:lnTo>
                    <a:pt x="6602403" y="1800878"/>
                  </a:lnTo>
                  <a:lnTo>
                    <a:pt x="6568313" y="1801537"/>
                  </a:lnTo>
                  <a:lnTo>
                    <a:pt x="6533112" y="1802955"/>
                  </a:lnTo>
                  <a:lnTo>
                    <a:pt x="6499027" y="1798160"/>
                  </a:lnTo>
                  <a:lnTo>
                    <a:pt x="6477375" y="1791724"/>
                  </a:lnTo>
                  <a:lnTo>
                    <a:pt x="6454744" y="1784298"/>
                  </a:lnTo>
                  <a:lnTo>
                    <a:pt x="6432374" y="1775032"/>
                  </a:lnTo>
                  <a:lnTo>
                    <a:pt x="6410009" y="1765773"/>
                  </a:lnTo>
                  <a:lnTo>
                    <a:pt x="6389111" y="1754410"/>
                  </a:lnTo>
                  <a:lnTo>
                    <a:pt x="6369807" y="1742387"/>
                  </a:lnTo>
                  <a:lnTo>
                    <a:pt x="6335796" y="1745105"/>
                  </a:lnTo>
                  <a:lnTo>
                    <a:pt x="6310263" y="1757022"/>
                  </a:lnTo>
                  <a:lnTo>
                    <a:pt x="6296022" y="1782650"/>
                  </a:lnTo>
                  <a:lnTo>
                    <a:pt x="6288196" y="1814476"/>
                  </a:lnTo>
                  <a:lnTo>
                    <a:pt x="6280361" y="1846303"/>
                  </a:lnTo>
                  <a:lnTo>
                    <a:pt x="6279484" y="1885536"/>
                  </a:lnTo>
                  <a:lnTo>
                    <a:pt x="6281397" y="1926016"/>
                  </a:lnTo>
                  <a:lnTo>
                    <a:pt x="6285207" y="2006968"/>
                  </a:lnTo>
                  <a:lnTo>
                    <a:pt x="6300034" y="2092901"/>
                  </a:lnTo>
                  <a:lnTo>
                    <a:pt x="6294996" y="2140924"/>
                  </a:lnTo>
                  <a:lnTo>
                    <a:pt x="6292698" y="2162774"/>
                  </a:lnTo>
                  <a:lnTo>
                    <a:pt x="6289554" y="2190512"/>
                  </a:lnTo>
                  <a:lnTo>
                    <a:pt x="6282755" y="2215736"/>
                  </a:lnTo>
                  <a:lnTo>
                    <a:pt x="6275955" y="2240963"/>
                  </a:lnTo>
                  <a:lnTo>
                    <a:pt x="6265984" y="2263715"/>
                  </a:lnTo>
                  <a:lnTo>
                    <a:pt x="6248751" y="2279667"/>
                  </a:lnTo>
                  <a:lnTo>
                    <a:pt x="6224265" y="2294625"/>
                  </a:lnTo>
                  <a:lnTo>
                    <a:pt x="6199777" y="2308230"/>
                  </a:lnTo>
                  <a:lnTo>
                    <a:pt x="6171537" y="2331219"/>
                  </a:lnTo>
                  <a:lnTo>
                    <a:pt x="6153535" y="2349032"/>
                  </a:lnTo>
                  <a:lnTo>
                    <a:pt x="6135530" y="2366853"/>
                  </a:lnTo>
                  <a:lnTo>
                    <a:pt x="6117692" y="2385866"/>
                  </a:lnTo>
                  <a:lnTo>
                    <a:pt x="6105826" y="2407226"/>
                  </a:lnTo>
                  <a:lnTo>
                    <a:pt x="6097318" y="2428593"/>
                  </a:lnTo>
                  <a:lnTo>
                    <a:pt x="6091390" y="2450786"/>
                  </a:lnTo>
                  <a:lnTo>
                    <a:pt x="6086885" y="2487777"/>
                  </a:lnTo>
                  <a:lnTo>
                    <a:pt x="6080972" y="2525572"/>
                  </a:lnTo>
                  <a:lnTo>
                    <a:pt x="6067887" y="2565551"/>
                  </a:lnTo>
                  <a:lnTo>
                    <a:pt x="6060393" y="2585559"/>
                  </a:lnTo>
                  <a:lnTo>
                    <a:pt x="6052877" y="2606116"/>
                  </a:lnTo>
                  <a:lnTo>
                    <a:pt x="6045365" y="2626665"/>
                  </a:lnTo>
                  <a:lnTo>
                    <a:pt x="6038478" y="2647459"/>
                  </a:lnTo>
                  <a:lnTo>
                    <a:pt x="6032479" y="2668681"/>
                  </a:lnTo>
                  <a:lnTo>
                    <a:pt x="5987830" y="2689027"/>
                  </a:lnTo>
                  <a:lnTo>
                    <a:pt x="5961748" y="2701325"/>
                  </a:lnTo>
                  <a:lnTo>
                    <a:pt x="5935666" y="2713632"/>
                  </a:lnTo>
                  <a:lnTo>
                    <a:pt x="5910111" y="2724850"/>
                  </a:lnTo>
                  <a:lnTo>
                    <a:pt x="5877242" y="2710216"/>
                  </a:lnTo>
                  <a:lnTo>
                    <a:pt x="5847491" y="2704049"/>
                  </a:lnTo>
                  <a:lnTo>
                    <a:pt x="5818929" y="2708046"/>
                  </a:lnTo>
                  <a:lnTo>
                    <a:pt x="5778106" y="2728702"/>
                  </a:lnTo>
                  <a:lnTo>
                    <a:pt x="5752945" y="2752800"/>
                  </a:lnTo>
                  <a:lnTo>
                    <a:pt x="5730509" y="2774780"/>
                  </a:lnTo>
                  <a:lnTo>
                    <a:pt x="5703234" y="2779409"/>
                  </a:lnTo>
                  <a:lnTo>
                    <a:pt x="5676181" y="2775584"/>
                  </a:lnTo>
                  <a:lnTo>
                    <a:pt x="5654347" y="2758451"/>
                  </a:lnTo>
                  <a:lnTo>
                    <a:pt x="5632577" y="2758451"/>
                  </a:lnTo>
                  <a:lnTo>
                    <a:pt x="5620811" y="2779225"/>
                  </a:lnTo>
                  <a:lnTo>
                    <a:pt x="5614427" y="2805690"/>
                  </a:lnTo>
                  <a:lnTo>
                    <a:pt x="5598573" y="2830539"/>
                  </a:lnTo>
                  <a:lnTo>
                    <a:pt x="5576810" y="2823741"/>
                  </a:lnTo>
                  <a:lnTo>
                    <a:pt x="5565171" y="2803290"/>
                  </a:lnTo>
                  <a:lnTo>
                    <a:pt x="5550976" y="2767974"/>
                  </a:lnTo>
                  <a:lnTo>
                    <a:pt x="5535123" y="2733575"/>
                  </a:lnTo>
                  <a:lnTo>
                    <a:pt x="5511726" y="2717338"/>
                  </a:lnTo>
                  <a:lnTo>
                    <a:pt x="5486729" y="2705541"/>
                  </a:lnTo>
                  <a:lnTo>
                    <a:pt x="5461202" y="2697244"/>
                  </a:lnTo>
                  <a:lnTo>
                    <a:pt x="5435672" y="2688954"/>
                  </a:lnTo>
                  <a:lnTo>
                    <a:pt x="5409069" y="2684226"/>
                  </a:lnTo>
                  <a:lnTo>
                    <a:pt x="5379709" y="2689376"/>
                  </a:lnTo>
                  <a:lnTo>
                    <a:pt x="5350762" y="2698431"/>
                  </a:lnTo>
                  <a:lnTo>
                    <a:pt x="5308873" y="2689100"/>
                  </a:lnTo>
                  <a:lnTo>
                    <a:pt x="5287510" y="2679384"/>
                  </a:lnTo>
                  <a:lnTo>
                    <a:pt x="5265332" y="2671399"/>
                  </a:lnTo>
                  <a:lnTo>
                    <a:pt x="5243153" y="2663411"/>
                  </a:lnTo>
                  <a:lnTo>
                    <a:pt x="5220851" y="2657430"/>
                  </a:lnTo>
                  <a:lnTo>
                    <a:pt x="5197326" y="2659157"/>
                  </a:lnTo>
                  <a:lnTo>
                    <a:pt x="5172838" y="2664599"/>
                  </a:lnTo>
                  <a:lnTo>
                    <a:pt x="5151075" y="2668675"/>
                  </a:lnTo>
                  <a:lnTo>
                    <a:pt x="5117421" y="2666828"/>
                  </a:lnTo>
                  <a:lnTo>
                    <a:pt x="5084078" y="2665081"/>
                  </a:lnTo>
                  <a:lnTo>
                    <a:pt x="5049066" y="2671399"/>
                  </a:lnTo>
                  <a:lnTo>
                    <a:pt x="5010432" y="2684054"/>
                  </a:lnTo>
                  <a:lnTo>
                    <a:pt x="4979495" y="2708646"/>
                  </a:lnTo>
                  <a:lnTo>
                    <a:pt x="4948408" y="2733972"/>
                  </a:lnTo>
                  <a:lnTo>
                    <a:pt x="4917319" y="2759296"/>
                  </a:lnTo>
                  <a:lnTo>
                    <a:pt x="4887017" y="2785965"/>
                  </a:lnTo>
                  <a:lnTo>
                    <a:pt x="4850473" y="2801978"/>
                  </a:lnTo>
                  <a:lnTo>
                    <a:pt x="4810978" y="2804206"/>
                  </a:lnTo>
                  <a:lnTo>
                    <a:pt x="4782459" y="2800619"/>
                  </a:lnTo>
                  <a:lnTo>
                    <a:pt x="4753949" y="2797025"/>
                  </a:lnTo>
                  <a:lnTo>
                    <a:pt x="4723805" y="2791630"/>
                  </a:lnTo>
                  <a:lnTo>
                    <a:pt x="4690970" y="2790568"/>
                  </a:lnTo>
                  <a:lnTo>
                    <a:pt x="4664128" y="2799261"/>
                  </a:lnTo>
                  <a:lnTo>
                    <a:pt x="4635531" y="2803646"/>
                  </a:lnTo>
                  <a:lnTo>
                    <a:pt x="4610103" y="2793140"/>
                  </a:lnTo>
                  <a:lnTo>
                    <a:pt x="4589314" y="2773416"/>
                  </a:lnTo>
                  <a:lnTo>
                    <a:pt x="4571132" y="2752885"/>
                  </a:lnTo>
                  <a:lnTo>
                    <a:pt x="4538483" y="2735784"/>
                  </a:lnTo>
                  <a:lnTo>
                    <a:pt x="4511009" y="2721400"/>
                  </a:lnTo>
                  <a:lnTo>
                    <a:pt x="4483224" y="2709491"/>
                  </a:lnTo>
                  <a:lnTo>
                    <a:pt x="4455424" y="2697574"/>
                  </a:lnTo>
                  <a:lnTo>
                    <a:pt x="4426251" y="2688650"/>
                  </a:lnTo>
                  <a:lnTo>
                    <a:pt x="4394805" y="2683644"/>
                  </a:lnTo>
                  <a:lnTo>
                    <a:pt x="4366103" y="2680928"/>
                  </a:lnTo>
                  <a:lnTo>
                    <a:pt x="4336461" y="2680928"/>
                  </a:lnTo>
                  <a:lnTo>
                    <a:pt x="4307753" y="2678204"/>
                  </a:lnTo>
                  <a:lnTo>
                    <a:pt x="4276322" y="2667191"/>
                  </a:lnTo>
                  <a:lnTo>
                    <a:pt x="4246696" y="2651132"/>
                  </a:lnTo>
                  <a:lnTo>
                    <a:pt x="4209818" y="2645560"/>
                  </a:lnTo>
                  <a:lnTo>
                    <a:pt x="4188312" y="2646819"/>
                  </a:lnTo>
                  <a:lnTo>
                    <a:pt x="4147251" y="2655083"/>
                  </a:lnTo>
                  <a:lnTo>
                    <a:pt x="4126071" y="2659113"/>
                  </a:lnTo>
                  <a:lnTo>
                    <a:pt x="4102472" y="2663221"/>
                  </a:lnTo>
                  <a:lnTo>
                    <a:pt x="4072440" y="2661881"/>
                  </a:lnTo>
                  <a:lnTo>
                    <a:pt x="4050677" y="2672763"/>
                  </a:lnTo>
                  <a:lnTo>
                    <a:pt x="4019398" y="2653513"/>
                  </a:lnTo>
                  <a:lnTo>
                    <a:pt x="3989462" y="2640323"/>
                  </a:lnTo>
                  <a:lnTo>
                    <a:pt x="3956825" y="2642842"/>
                  </a:lnTo>
                  <a:lnTo>
                    <a:pt x="3940296" y="2658849"/>
                  </a:lnTo>
                  <a:lnTo>
                    <a:pt x="3903734" y="2674729"/>
                  </a:lnTo>
                  <a:lnTo>
                    <a:pt x="3867048" y="2685010"/>
                  </a:lnTo>
                  <a:lnTo>
                    <a:pt x="3830362" y="2695292"/>
                  </a:lnTo>
                  <a:lnTo>
                    <a:pt x="3794259" y="2699380"/>
                  </a:lnTo>
                  <a:lnTo>
                    <a:pt x="3771296" y="2684140"/>
                  </a:lnTo>
                  <a:lnTo>
                    <a:pt x="3752791" y="2657806"/>
                  </a:lnTo>
                  <a:lnTo>
                    <a:pt x="3736904" y="2629277"/>
                  </a:lnTo>
                  <a:lnTo>
                    <a:pt x="3711988" y="2618362"/>
                  </a:lnTo>
                  <a:lnTo>
                    <a:pt x="3694649" y="2635212"/>
                  </a:lnTo>
                  <a:lnTo>
                    <a:pt x="3669472" y="2645031"/>
                  </a:lnTo>
                  <a:lnTo>
                    <a:pt x="3645334" y="2646924"/>
                  </a:lnTo>
                  <a:lnTo>
                    <a:pt x="3624269" y="2637368"/>
                  </a:lnTo>
                  <a:lnTo>
                    <a:pt x="3603833" y="2621119"/>
                  </a:lnTo>
                  <a:lnTo>
                    <a:pt x="3584126" y="2606122"/>
                  </a:lnTo>
                  <a:lnTo>
                    <a:pt x="3563730" y="2592727"/>
                  </a:lnTo>
                  <a:lnTo>
                    <a:pt x="3529720" y="2597958"/>
                  </a:lnTo>
                  <a:lnTo>
                    <a:pt x="3497734" y="2609796"/>
                  </a:lnTo>
                  <a:lnTo>
                    <a:pt x="3473404" y="2602865"/>
                  </a:lnTo>
                  <a:lnTo>
                    <a:pt x="3452190" y="2592517"/>
                  </a:lnTo>
                  <a:lnTo>
                    <a:pt x="3431614" y="2583982"/>
                  </a:lnTo>
                  <a:lnTo>
                    <a:pt x="3399780" y="2595372"/>
                  </a:lnTo>
                  <a:lnTo>
                    <a:pt x="3380095" y="2606868"/>
                  </a:lnTo>
                  <a:lnTo>
                    <a:pt x="3361054" y="2616997"/>
                  </a:lnTo>
                  <a:lnTo>
                    <a:pt x="3342013" y="2627133"/>
                  </a:lnTo>
                  <a:lnTo>
                    <a:pt x="3302571" y="2640126"/>
                  </a:lnTo>
                  <a:lnTo>
                    <a:pt x="3265844" y="2649642"/>
                  </a:lnTo>
                  <a:lnTo>
                    <a:pt x="3238559" y="2663136"/>
                  </a:lnTo>
                  <a:lnTo>
                    <a:pt x="3228628" y="2682201"/>
                  </a:lnTo>
                  <a:lnTo>
                    <a:pt x="3213283" y="2720451"/>
                  </a:lnTo>
                  <a:lnTo>
                    <a:pt x="3192388" y="2754375"/>
                  </a:lnTo>
                  <a:lnTo>
                    <a:pt x="3140243" y="2777556"/>
                  </a:lnTo>
                  <a:lnTo>
                    <a:pt x="3105336" y="2796543"/>
                  </a:lnTo>
                  <a:lnTo>
                    <a:pt x="3070430" y="2815523"/>
                  </a:lnTo>
                  <a:lnTo>
                    <a:pt x="3037052" y="2836297"/>
                  </a:lnTo>
                  <a:lnTo>
                    <a:pt x="3029173" y="2865909"/>
                  </a:lnTo>
                  <a:lnTo>
                    <a:pt x="3030873" y="2890350"/>
                  </a:lnTo>
                  <a:lnTo>
                    <a:pt x="3050440" y="2907186"/>
                  </a:lnTo>
                  <a:lnTo>
                    <a:pt x="3060933" y="2929925"/>
                  </a:lnTo>
                  <a:lnTo>
                    <a:pt x="3066064" y="2960941"/>
                  </a:lnTo>
                  <a:lnTo>
                    <a:pt x="3063922" y="2992379"/>
                  </a:lnTo>
                  <a:lnTo>
                    <a:pt x="3054549" y="3032845"/>
                  </a:lnTo>
                  <a:lnTo>
                    <a:pt x="3045489" y="3072659"/>
                  </a:lnTo>
                  <a:lnTo>
                    <a:pt x="3036420" y="3112479"/>
                  </a:lnTo>
                  <a:lnTo>
                    <a:pt x="3027722" y="3150419"/>
                  </a:lnTo>
                  <a:lnTo>
                    <a:pt x="3014201" y="3170593"/>
                  </a:lnTo>
                  <a:lnTo>
                    <a:pt x="2992121" y="3197718"/>
                  </a:lnTo>
                  <a:lnTo>
                    <a:pt x="2969317" y="3200521"/>
                  </a:lnTo>
                  <a:lnTo>
                    <a:pt x="2946723" y="3202017"/>
                  </a:lnTo>
                  <a:lnTo>
                    <a:pt x="2898521" y="3237142"/>
                  </a:lnTo>
                  <a:lnTo>
                    <a:pt x="2871382" y="3267168"/>
                  </a:lnTo>
                  <a:lnTo>
                    <a:pt x="2844245" y="3297196"/>
                  </a:lnTo>
                  <a:lnTo>
                    <a:pt x="2818374" y="3327624"/>
                  </a:lnTo>
                  <a:lnTo>
                    <a:pt x="2809885" y="3346875"/>
                  </a:lnTo>
                  <a:lnTo>
                    <a:pt x="2817754" y="3376170"/>
                  </a:lnTo>
                  <a:lnTo>
                    <a:pt x="2840695" y="3392122"/>
                  </a:lnTo>
                  <a:lnTo>
                    <a:pt x="2871388" y="3404548"/>
                  </a:lnTo>
                  <a:lnTo>
                    <a:pt x="2902142" y="3415997"/>
                  </a:lnTo>
                  <a:lnTo>
                    <a:pt x="2934556" y="3425190"/>
                  </a:lnTo>
                  <a:lnTo>
                    <a:pt x="2946202" y="3443998"/>
                  </a:lnTo>
                  <a:lnTo>
                    <a:pt x="2950112" y="3473925"/>
                  </a:lnTo>
                  <a:lnTo>
                    <a:pt x="2947724" y="3514722"/>
                  </a:lnTo>
                  <a:lnTo>
                    <a:pt x="2944844" y="3535523"/>
                  </a:lnTo>
                  <a:lnTo>
                    <a:pt x="2944844" y="3580836"/>
                  </a:lnTo>
                  <a:lnTo>
                    <a:pt x="2944512" y="3607196"/>
                  </a:lnTo>
                  <a:lnTo>
                    <a:pt x="2939731" y="3648051"/>
                  </a:lnTo>
                  <a:lnTo>
                    <a:pt x="2925803" y="3673869"/>
                  </a:lnTo>
                  <a:lnTo>
                    <a:pt x="2903665" y="3690152"/>
                  </a:lnTo>
                  <a:lnTo>
                    <a:pt x="2863615" y="3698390"/>
                  </a:lnTo>
                  <a:lnTo>
                    <a:pt x="2837288" y="3700223"/>
                  </a:lnTo>
                  <a:lnTo>
                    <a:pt x="2802025" y="3701074"/>
                  </a:lnTo>
                  <a:lnTo>
                    <a:pt x="2768107" y="3701892"/>
                  </a:lnTo>
                  <a:lnTo>
                    <a:pt x="2734196" y="3704061"/>
                  </a:lnTo>
                  <a:lnTo>
                    <a:pt x="2700006" y="3706515"/>
                  </a:lnTo>
                  <a:lnTo>
                    <a:pt x="2665825" y="3708968"/>
                  </a:lnTo>
                  <a:lnTo>
                    <a:pt x="2631756" y="3712543"/>
                  </a:lnTo>
                  <a:lnTo>
                    <a:pt x="2597997" y="3716037"/>
                  </a:lnTo>
                  <a:lnTo>
                    <a:pt x="2575778" y="3681923"/>
                  </a:lnTo>
                  <a:lnTo>
                    <a:pt x="2565354" y="3661630"/>
                  </a:lnTo>
                  <a:lnTo>
                    <a:pt x="2554926" y="3641330"/>
                  </a:lnTo>
                  <a:lnTo>
                    <a:pt x="2543749" y="3623458"/>
                  </a:lnTo>
                  <a:lnTo>
                    <a:pt x="2503227" y="3617470"/>
                  </a:lnTo>
                  <a:lnTo>
                    <a:pt x="2456926" y="3611971"/>
                  </a:lnTo>
                  <a:lnTo>
                    <a:pt x="2413010" y="3612662"/>
                  </a:lnTo>
                  <a:lnTo>
                    <a:pt x="2391048" y="3612992"/>
                  </a:lnTo>
                  <a:lnTo>
                    <a:pt x="2369992" y="3615050"/>
                  </a:lnTo>
                  <a:lnTo>
                    <a:pt x="2333607" y="3623874"/>
                  </a:lnTo>
                  <a:lnTo>
                    <a:pt x="2310994" y="3641225"/>
                  </a:lnTo>
                  <a:lnTo>
                    <a:pt x="2301116" y="3665653"/>
                  </a:lnTo>
                  <a:lnTo>
                    <a:pt x="2297851" y="3691155"/>
                  </a:lnTo>
                  <a:lnTo>
                    <a:pt x="2296031" y="3717397"/>
                  </a:lnTo>
                  <a:lnTo>
                    <a:pt x="2294211" y="3743637"/>
                  </a:lnTo>
                  <a:lnTo>
                    <a:pt x="2293116" y="3770941"/>
                  </a:lnTo>
                  <a:lnTo>
                    <a:pt x="2287873" y="3796285"/>
                  </a:lnTo>
                  <a:lnTo>
                    <a:pt x="2281027" y="3819623"/>
                  </a:lnTo>
                  <a:lnTo>
                    <a:pt x="2267515" y="3846400"/>
                  </a:lnTo>
                  <a:lnTo>
                    <a:pt x="2251143" y="3864298"/>
                  </a:lnTo>
                  <a:lnTo>
                    <a:pt x="2231135" y="3878675"/>
                  </a:lnTo>
                  <a:lnTo>
                    <a:pt x="2191969" y="3890236"/>
                  </a:lnTo>
                  <a:lnTo>
                    <a:pt x="2151853" y="3899660"/>
                  </a:lnTo>
                  <a:lnTo>
                    <a:pt x="2111735" y="3909090"/>
                  </a:lnTo>
                  <a:lnTo>
                    <a:pt x="2070082" y="3916385"/>
                  </a:lnTo>
                  <a:lnTo>
                    <a:pt x="2047113" y="3924147"/>
                  </a:lnTo>
                  <a:lnTo>
                    <a:pt x="2021154" y="3933545"/>
                  </a:lnTo>
                  <a:lnTo>
                    <a:pt x="1994189" y="3944670"/>
                  </a:lnTo>
                  <a:lnTo>
                    <a:pt x="1966866" y="3956791"/>
                  </a:lnTo>
                  <a:lnTo>
                    <a:pt x="1929836" y="3974783"/>
                  </a:lnTo>
                  <a:lnTo>
                    <a:pt x="1904293" y="3989436"/>
                  </a:lnTo>
                  <a:lnTo>
                    <a:pt x="1878757" y="4004089"/>
                  </a:lnTo>
                  <a:lnTo>
                    <a:pt x="1854495" y="4018836"/>
                  </a:lnTo>
                  <a:lnTo>
                    <a:pt x="1832816" y="4036478"/>
                  </a:lnTo>
                  <a:lnTo>
                    <a:pt x="1817359" y="4074668"/>
                  </a:lnTo>
                  <a:lnTo>
                    <a:pt x="1794117" y="4103693"/>
                  </a:lnTo>
                  <a:lnTo>
                    <a:pt x="1768305" y="4130705"/>
                  </a:lnTo>
                  <a:lnTo>
                    <a:pt x="1735594" y="4141969"/>
                  </a:lnTo>
                  <a:lnTo>
                    <a:pt x="1694824" y="4128173"/>
                  </a:lnTo>
                  <a:lnTo>
                    <a:pt x="1669619" y="4102460"/>
                  </a:lnTo>
                  <a:lnTo>
                    <a:pt x="1659456" y="4083288"/>
                  </a:lnTo>
                  <a:lnTo>
                    <a:pt x="1649301" y="4064117"/>
                  </a:lnTo>
                  <a:lnTo>
                    <a:pt x="1639289" y="4043533"/>
                  </a:lnTo>
                  <a:lnTo>
                    <a:pt x="1592808" y="4027528"/>
                  </a:lnTo>
                  <a:lnTo>
                    <a:pt x="1560165" y="4023452"/>
                  </a:lnTo>
                  <a:lnTo>
                    <a:pt x="1531621" y="4030753"/>
                  </a:lnTo>
                  <a:lnTo>
                    <a:pt x="1500011" y="4059605"/>
                  </a:lnTo>
                  <a:lnTo>
                    <a:pt x="1473110" y="4087383"/>
                  </a:lnTo>
                  <a:lnTo>
                    <a:pt x="1446210" y="4115154"/>
                  </a:lnTo>
                  <a:lnTo>
                    <a:pt x="1423116" y="4141811"/>
                  </a:lnTo>
                  <a:lnTo>
                    <a:pt x="1391624" y="4173315"/>
                  </a:lnTo>
                  <a:lnTo>
                    <a:pt x="1371095" y="4196192"/>
                  </a:lnTo>
                  <a:lnTo>
                    <a:pt x="1350566" y="4219084"/>
                  </a:lnTo>
                  <a:lnTo>
                    <a:pt x="1328874" y="4241421"/>
                  </a:lnTo>
                  <a:lnTo>
                    <a:pt x="1254122" y="4243802"/>
                  </a:lnTo>
                  <a:lnTo>
                    <a:pt x="1187466" y="4239726"/>
                  </a:lnTo>
                  <a:lnTo>
                    <a:pt x="1180958" y="4261165"/>
                  </a:lnTo>
                  <a:lnTo>
                    <a:pt x="1172251" y="4280693"/>
                  </a:lnTo>
                  <a:lnTo>
                    <a:pt x="1158903" y="4298216"/>
                  </a:lnTo>
                  <a:lnTo>
                    <a:pt x="1143676" y="4318205"/>
                  </a:lnTo>
                  <a:lnTo>
                    <a:pt x="1124939" y="4337343"/>
                  </a:lnTo>
                  <a:lnTo>
                    <a:pt x="1108578" y="4355341"/>
                  </a:lnTo>
                  <a:lnTo>
                    <a:pt x="1092876" y="4372620"/>
                  </a:lnTo>
                  <a:lnTo>
                    <a:pt x="1059374" y="4377315"/>
                  </a:lnTo>
                  <a:lnTo>
                    <a:pt x="1022884" y="4379821"/>
                  </a:lnTo>
                  <a:lnTo>
                    <a:pt x="986402" y="4382327"/>
                  </a:lnTo>
                  <a:lnTo>
                    <a:pt x="947834" y="4382183"/>
                  </a:lnTo>
                  <a:lnTo>
                    <a:pt x="923590" y="4389345"/>
                  </a:lnTo>
                  <a:lnTo>
                    <a:pt x="899083" y="4417920"/>
                  </a:lnTo>
                  <a:lnTo>
                    <a:pt x="896578" y="4449154"/>
                  </a:lnTo>
                  <a:lnTo>
                    <a:pt x="893431" y="4481904"/>
                  </a:lnTo>
                  <a:lnTo>
                    <a:pt x="886852" y="4513137"/>
                  </a:lnTo>
                  <a:lnTo>
                    <a:pt x="858131" y="4555674"/>
                  </a:lnTo>
                  <a:lnTo>
                    <a:pt x="829726" y="4585226"/>
                  </a:lnTo>
                  <a:lnTo>
                    <a:pt x="801316" y="4614778"/>
                  </a:lnTo>
                  <a:lnTo>
                    <a:pt x="770741" y="4643756"/>
                  </a:lnTo>
                  <a:lnTo>
                    <a:pt x="748410" y="4659860"/>
                  </a:lnTo>
                  <a:lnTo>
                    <a:pt x="726582" y="4663151"/>
                  </a:lnTo>
                  <a:lnTo>
                    <a:pt x="701542" y="4642391"/>
                  </a:lnTo>
                  <a:lnTo>
                    <a:pt x="688588" y="4606950"/>
                  </a:lnTo>
                  <a:lnTo>
                    <a:pt x="684929" y="4585443"/>
                  </a:lnTo>
                  <a:lnTo>
                    <a:pt x="680101" y="4563463"/>
                  </a:lnTo>
                  <a:lnTo>
                    <a:pt x="675274" y="4541475"/>
                  </a:lnTo>
                  <a:lnTo>
                    <a:pt x="669913" y="4519897"/>
                  </a:lnTo>
                  <a:lnTo>
                    <a:pt x="654922" y="4481883"/>
                  </a:lnTo>
                  <a:lnTo>
                    <a:pt x="629776" y="4457364"/>
                  </a:lnTo>
                  <a:lnTo>
                    <a:pt x="624716" y="4435475"/>
                  </a:lnTo>
                  <a:lnTo>
                    <a:pt x="631720" y="4413619"/>
                  </a:lnTo>
                  <a:lnTo>
                    <a:pt x="637933" y="4392075"/>
                  </a:lnTo>
                  <a:lnTo>
                    <a:pt x="644153" y="4370529"/>
                  </a:lnTo>
                  <a:lnTo>
                    <a:pt x="649942" y="4348568"/>
                  </a:lnTo>
                  <a:lnTo>
                    <a:pt x="644733" y="4328144"/>
                  </a:lnTo>
                  <a:lnTo>
                    <a:pt x="616294" y="4306744"/>
                  </a:lnTo>
                  <a:lnTo>
                    <a:pt x="575243" y="4314182"/>
                  </a:lnTo>
                  <a:lnTo>
                    <a:pt x="552140" y="4326811"/>
                  </a:lnTo>
                  <a:lnTo>
                    <a:pt x="529115" y="4341749"/>
                  </a:lnTo>
                  <a:lnTo>
                    <a:pt x="483078" y="4371611"/>
                  </a:lnTo>
                  <a:lnTo>
                    <a:pt x="439446" y="4412922"/>
                  </a:lnTo>
                  <a:lnTo>
                    <a:pt x="417175" y="4441570"/>
                  </a:lnTo>
                  <a:lnTo>
                    <a:pt x="405250" y="4463049"/>
                  </a:lnTo>
                  <a:lnTo>
                    <a:pt x="394457" y="4481845"/>
                  </a:lnTo>
                  <a:lnTo>
                    <a:pt x="383667" y="4500647"/>
                  </a:lnTo>
                  <a:lnTo>
                    <a:pt x="369975" y="4522653"/>
                  </a:lnTo>
                  <a:lnTo>
                    <a:pt x="351768" y="4546396"/>
                  </a:lnTo>
                  <a:lnTo>
                    <a:pt x="333775" y="4569642"/>
                  </a:lnTo>
                  <a:lnTo>
                    <a:pt x="315569" y="4592026"/>
                  </a:lnTo>
                  <a:lnTo>
                    <a:pt x="289958" y="4621010"/>
                  </a:lnTo>
                  <a:lnTo>
                    <a:pt x="255653" y="4647238"/>
                  </a:lnTo>
                  <a:lnTo>
                    <a:pt x="224433" y="4674996"/>
                  </a:lnTo>
                  <a:lnTo>
                    <a:pt x="193219" y="4702760"/>
                  </a:lnTo>
                  <a:lnTo>
                    <a:pt x="163826" y="4730954"/>
                  </a:lnTo>
                  <a:lnTo>
                    <a:pt x="146903" y="4766131"/>
                  </a:lnTo>
                  <a:lnTo>
                    <a:pt x="142736" y="4815804"/>
                  </a:lnTo>
                  <a:lnTo>
                    <a:pt x="144187" y="4853183"/>
                  </a:lnTo>
                  <a:lnTo>
                    <a:pt x="145638" y="4890564"/>
                  </a:lnTo>
                  <a:lnTo>
                    <a:pt x="145768" y="4930924"/>
                  </a:lnTo>
                  <a:lnTo>
                    <a:pt x="137387" y="4959276"/>
                  </a:lnTo>
                  <a:lnTo>
                    <a:pt x="120405" y="5016724"/>
                  </a:lnTo>
                  <a:lnTo>
                    <a:pt x="97783" y="5054769"/>
                  </a:lnTo>
                  <a:lnTo>
                    <a:pt x="73456" y="5089856"/>
                  </a:lnTo>
                  <a:lnTo>
                    <a:pt x="49126" y="5124940"/>
                  </a:lnTo>
                  <a:lnTo>
                    <a:pt x="23946" y="5156675"/>
                  </a:lnTo>
                  <a:lnTo>
                    <a:pt x="0" y="5202753"/>
                  </a:lnTo>
                  <a:lnTo>
                    <a:pt x="10381" y="5232055"/>
                  </a:lnTo>
                  <a:lnTo>
                    <a:pt x="35871" y="5249616"/>
                  </a:lnTo>
                  <a:lnTo>
                    <a:pt x="70731" y="5259884"/>
                  </a:lnTo>
                  <a:lnTo>
                    <a:pt x="106726" y="5269025"/>
                  </a:lnTo>
                  <a:lnTo>
                    <a:pt x="146599" y="5273781"/>
                  </a:lnTo>
                  <a:lnTo>
                    <a:pt x="168666" y="5288447"/>
                  </a:lnTo>
                  <a:lnTo>
                    <a:pt x="175506" y="5311186"/>
                  </a:lnTo>
                  <a:lnTo>
                    <a:pt x="166759" y="5339789"/>
                  </a:lnTo>
                  <a:lnTo>
                    <a:pt x="160474" y="5360087"/>
                  </a:lnTo>
                  <a:lnTo>
                    <a:pt x="172997" y="5380176"/>
                  </a:lnTo>
                  <a:lnTo>
                    <a:pt x="179546" y="5402703"/>
                  </a:lnTo>
                  <a:lnTo>
                    <a:pt x="175137" y="5436154"/>
                  </a:lnTo>
                  <a:lnTo>
                    <a:pt x="149619" y="5467994"/>
                  </a:lnTo>
                  <a:lnTo>
                    <a:pt x="126200" y="5499597"/>
                  </a:lnTo>
                  <a:lnTo>
                    <a:pt x="129254" y="5524572"/>
                  </a:lnTo>
                  <a:lnTo>
                    <a:pt x="135499" y="5551049"/>
                  </a:lnTo>
                  <a:lnTo>
                    <a:pt x="161221" y="5554531"/>
                  </a:lnTo>
                  <a:lnTo>
                    <a:pt x="186339" y="5561845"/>
                  </a:lnTo>
                  <a:lnTo>
                    <a:pt x="209885" y="5554657"/>
                  </a:lnTo>
                  <a:lnTo>
                    <a:pt x="231912" y="5540650"/>
                  </a:lnTo>
                  <a:lnTo>
                    <a:pt x="255771" y="5525573"/>
                  </a:lnTo>
                  <a:lnTo>
                    <a:pt x="280107" y="5513504"/>
                  </a:lnTo>
                  <a:lnTo>
                    <a:pt x="317274" y="5510656"/>
                  </a:lnTo>
                  <a:lnTo>
                    <a:pt x="337806" y="5520192"/>
                  </a:lnTo>
                  <a:lnTo>
                    <a:pt x="356369" y="5536007"/>
                  </a:lnTo>
                  <a:lnTo>
                    <a:pt x="374929" y="5551815"/>
                  </a:lnTo>
                  <a:lnTo>
                    <a:pt x="391344" y="5574099"/>
                  </a:lnTo>
                  <a:lnTo>
                    <a:pt x="408053" y="5595856"/>
                  </a:lnTo>
                  <a:lnTo>
                    <a:pt x="424765" y="5617605"/>
                  </a:lnTo>
                  <a:lnTo>
                    <a:pt x="441828" y="5638735"/>
                  </a:lnTo>
                  <a:lnTo>
                    <a:pt x="458378" y="5655705"/>
                  </a:lnTo>
                  <a:lnTo>
                    <a:pt x="474939" y="5672673"/>
                  </a:lnTo>
                  <a:lnTo>
                    <a:pt x="491967" y="5685532"/>
                  </a:lnTo>
                  <a:lnTo>
                    <a:pt x="528154" y="5673570"/>
                  </a:lnTo>
                  <a:lnTo>
                    <a:pt x="542637" y="5653514"/>
                  </a:lnTo>
                  <a:lnTo>
                    <a:pt x="556314" y="5631218"/>
                  </a:lnTo>
                  <a:lnTo>
                    <a:pt x="569993" y="5608926"/>
                  </a:lnTo>
                  <a:lnTo>
                    <a:pt x="582715" y="5583570"/>
                  </a:lnTo>
                  <a:lnTo>
                    <a:pt x="594401" y="5559128"/>
                  </a:lnTo>
                  <a:lnTo>
                    <a:pt x="606093" y="5534687"/>
                  </a:lnTo>
                  <a:lnTo>
                    <a:pt x="617646" y="5510973"/>
                  </a:lnTo>
                  <a:lnTo>
                    <a:pt x="629770" y="5491115"/>
                  </a:lnTo>
                  <a:lnTo>
                    <a:pt x="641890" y="5471265"/>
                  </a:lnTo>
                  <a:lnTo>
                    <a:pt x="669212" y="5447589"/>
                  </a:lnTo>
                  <a:lnTo>
                    <a:pt x="691933" y="5442076"/>
                  </a:lnTo>
                  <a:lnTo>
                    <a:pt x="715938" y="5458859"/>
                  </a:lnTo>
                  <a:lnTo>
                    <a:pt x="728585" y="5477134"/>
                  </a:lnTo>
                  <a:lnTo>
                    <a:pt x="738585" y="5497921"/>
                  </a:lnTo>
                  <a:lnTo>
                    <a:pt x="749406" y="5515952"/>
                  </a:lnTo>
                  <a:lnTo>
                    <a:pt x="767417" y="5530097"/>
                  </a:lnTo>
                  <a:lnTo>
                    <a:pt x="791633" y="5527849"/>
                  </a:lnTo>
                  <a:lnTo>
                    <a:pt x="815064" y="5517448"/>
                  </a:lnTo>
                  <a:lnTo>
                    <a:pt x="838926" y="5500156"/>
                  </a:lnTo>
                  <a:lnTo>
                    <a:pt x="863721" y="5481599"/>
                  </a:lnTo>
                  <a:lnTo>
                    <a:pt x="889428" y="5466806"/>
                  </a:lnTo>
                  <a:lnTo>
                    <a:pt x="905508" y="5482325"/>
                  </a:lnTo>
                  <a:lnTo>
                    <a:pt x="917814" y="5507319"/>
                  </a:lnTo>
                  <a:lnTo>
                    <a:pt x="948302" y="5529122"/>
                  </a:lnTo>
                  <a:lnTo>
                    <a:pt x="958940" y="5570011"/>
                  </a:lnTo>
                  <a:lnTo>
                    <a:pt x="961352" y="5591740"/>
                  </a:lnTo>
                  <a:lnTo>
                    <a:pt x="957929" y="5616366"/>
                  </a:lnTo>
                  <a:lnTo>
                    <a:pt x="957582" y="5646181"/>
                  </a:lnTo>
                  <a:lnTo>
                    <a:pt x="977801" y="5676347"/>
                  </a:lnTo>
                  <a:lnTo>
                    <a:pt x="1002649" y="5697628"/>
                  </a:lnTo>
                  <a:lnTo>
                    <a:pt x="1026952" y="5720994"/>
                  </a:lnTo>
                  <a:lnTo>
                    <a:pt x="1044358" y="5756429"/>
                  </a:lnTo>
                  <a:lnTo>
                    <a:pt x="1050076" y="5776761"/>
                  </a:lnTo>
                  <a:lnTo>
                    <a:pt x="1055793" y="5797099"/>
                  </a:lnTo>
                  <a:lnTo>
                    <a:pt x="1062004" y="5818078"/>
                  </a:lnTo>
                  <a:lnTo>
                    <a:pt x="1095592" y="5852826"/>
                  </a:lnTo>
                  <a:lnTo>
                    <a:pt x="1131897" y="5868199"/>
                  </a:lnTo>
                  <a:lnTo>
                    <a:pt x="1169771" y="5881494"/>
                  </a:lnTo>
                  <a:lnTo>
                    <a:pt x="1207641" y="5894796"/>
                  </a:lnTo>
                  <a:lnTo>
                    <a:pt x="1246333" y="5905855"/>
                  </a:lnTo>
                  <a:lnTo>
                    <a:pt x="1274505" y="5916863"/>
                  </a:lnTo>
                  <a:lnTo>
                    <a:pt x="1314252" y="5916401"/>
                  </a:lnTo>
                  <a:lnTo>
                    <a:pt x="1337072" y="5907339"/>
                  </a:lnTo>
                  <a:lnTo>
                    <a:pt x="1359896" y="5898304"/>
                  </a:lnTo>
                  <a:lnTo>
                    <a:pt x="1383987" y="5887957"/>
                  </a:lnTo>
                  <a:lnTo>
                    <a:pt x="1436840" y="5896121"/>
                  </a:lnTo>
                  <a:lnTo>
                    <a:pt x="1473033" y="5908448"/>
                  </a:lnTo>
                  <a:lnTo>
                    <a:pt x="1505735" y="5916863"/>
                  </a:lnTo>
                  <a:lnTo>
                    <a:pt x="1587032" y="5881454"/>
                  </a:lnTo>
                  <a:lnTo>
                    <a:pt x="1673597" y="5881415"/>
                  </a:lnTo>
                  <a:lnTo>
                    <a:pt x="1742672" y="5918393"/>
                  </a:lnTo>
                  <a:lnTo>
                    <a:pt x="1814503" y="5929102"/>
                  </a:lnTo>
                  <a:lnTo>
                    <a:pt x="1842418" y="5933271"/>
                  </a:lnTo>
                  <a:lnTo>
                    <a:pt x="1871635" y="5914139"/>
                  </a:lnTo>
                  <a:lnTo>
                    <a:pt x="1904281" y="5910063"/>
                  </a:lnTo>
                  <a:lnTo>
                    <a:pt x="1935805" y="5916737"/>
                  </a:lnTo>
                  <a:lnTo>
                    <a:pt x="1960045" y="5927750"/>
                  </a:lnTo>
                  <a:lnTo>
                    <a:pt x="1987770" y="5931331"/>
                  </a:lnTo>
                  <a:lnTo>
                    <a:pt x="2022612" y="5930468"/>
                  </a:lnTo>
                  <a:lnTo>
                    <a:pt x="2048365" y="5925113"/>
                  </a:lnTo>
                  <a:lnTo>
                    <a:pt x="2073123" y="5904451"/>
                  </a:lnTo>
                  <a:lnTo>
                    <a:pt x="2080890" y="5878843"/>
                  </a:lnTo>
                  <a:lnTo>
                    <a:pt x="2101506" y="5839332"/>
                  </a:lnTo>
                  <a:lnTo>
                    <a:pt x="2115639" y="5812235"/>
                  </a:lnTo>
                  <a:lnTo>
                    <a:pt x="2141386" y="5780677"/>
                  </a:lnTo>
                  <a:lnTo>
                    <a:pt x="2172237" y="5757720"/>
                  </a:lnTo>
                  <a:lnTo>
                    <a:pt x="2205363" y="5736762"/>
                  </a:lnTo>
                  <a:lnTo>
                    <a:pt x="2239761" y="5726995"/>
                  </a:lnTo>
                  <a:lnTo>
                    <a:pt x="2274252" y="5731875"/>
                  </a:lnTo>
                  <a:lnTo>
                    <a:pt x="2291085" y="5745013"/>
                  </a:lnTo>
                  <a:lnTo>
                    <a:pt x="2306852" y="5769704"/>
                  </a:lnTo>
                  <a:lnTo>
                    <a:pt x="2361748" y="5782162"/>
                  </a:lnTo>
                  <a:lnTo>
                    <a:pt x="2382218" y="5755551"/>
                  </a:lnTo>
                  <a:lnTo>
                    <a:pt x="2417071" y="5757720"/>
                  </a:lnTo>
                  <a:lnTo>
                    <a:pt x="2466997" y="5760827"/>
                  </a:lnTo>
                  <a:lnTo>
                    <a:pt x="2516795" y="5772513"/>
                  </a:lnTo>
                  <a:lnTo>
                    <a:pt x="2566690" y="5775401"/>
                  </a:lnTo>
                  <a:lnTo>
                    <a:pt x="2601209" y="5777353"/>
                  </a:lnTo>
                  <a:lnTo>
                    <a:pt x="2624693" y="5769954"/>
                  </a:lnTo>
                  <a:lnTo>
                    <a:pt x="2663267" y="5775401"/>
                  </a:lnTo>
                  <a:lnTo>
                    <a:pt x="2691830" y="5784925"/>
                  </a:lnTo>
                  <a:lnTo>
                    <a:pt x="2736193" y="5761863"/>
                  </a:lnTo>
                  <a:lnTo>
                    <a:pt x="2781632" y="5781634"/>
                  </a:lnTo>
                  <a:lnTo>
                    <a:pt x="2865072" y="5816666"/>
                  </a:lnTo>
                  <a:lnTo>
                    <a:pt x="2944831" y="5842056"/>
                  </a:lnTo>
                  <a:lnTo>
                    <a:pt x="2984708" y="5854745"/>
                  </a:lnTo>
                  <a:lnTo>
                    <a:pt x="3023416" y="5864525"/>
                  </a:lnTo>
                  <a:lnTo>
                    <a:pt x="3055004" y="5867895"/>
                  </a:lnTo>
                  <a:lnTo>
                    <a:pt x="3086599" y="5871271"/>
                  </a:lnTo>
                  <a:lnTo>
                    <a:pt x="3110818" y="5868489"/>
                  </a:lnTo>
                  <a:lnTo>
                    <a:pt x="3135679" y="5831215"/>
                  </a:lnTo>
                  <a:lnTo>
                    <a:pt x="3132770" y="5805032"/>
                  </a:lnTo>
                  <a:lnTo>
                    <a:pt x="3143421" y="5782207"/>
                  </a:lnTo>
                  <a:lnTo>
                    <a:pt x="3153491" y="5760610"/>
                  </a:lnTo>
                  <a:lnTo>
                    <a:pt x="3179912" y="5743272"/>
                  </a:lnTo>
                  <a:lnTo>
                    <a:pt x="3180144" y="5716912"/>
                  </a:lnTo>
                  <a:lnTo>
                    <a:pt x="3191756" y="5698023"/>
                  </a:lnTo>
                  <a:lnTo>
                    <a:pt x="3218306" y="5690076"/>
                  </a:lnTo>
                  <a:lnTo>
                    <a:pt x="3246791" y="5686990"/>
                  </a:lnTo>
                  <a:lnTo>
                    <a:pt x="3275279" y="5683897"/>
                  </a:lnTo>
                  <a:lnTo>
                    <a:pt x="3305836" y="5686529"/>
                  </a:lnTo>
                  <a:lnTo>
                    <a:pt x="3344612" y="5684663"/>
                  </a:lnTo>
                  <a:lnTo>
                    <a:pt x="3362412" y="5667951"/>
                  </a:lnTo>
                  <a:lnTo>
                    <a:pt x="3392091" y="5655559"/>
                  </a:lnTo>
                  <a:lnTo>
                    <a:pt x="3433143" y="5661151"/>
                  </a:lnTo>
                  <a:lnTo>
                    <a:pt x="3460387" y="5673220"/>
                  </a:lnTo>
                  <a:lnTo>
                    <a:pt x="3484789" y="5689879"/>
                  </a:lnTo>
                  <a:lnTo>
                    <a:pt x="3521553" y="5697873"/>
                  </a:lnTo>
                  <a:lnTo>
                    <a:pt x="3550394" y="5697885"/>
                  </a:lnTo>
                  <a:lnTo>
                    <a:pt x="3573240" y="5696513"/>
                  </a:lnTo>
                  <a:lnTo>
                    <a:pt x="3596091" y="5695141"/>
                  </a:lnTo>
                  <a:lnTo>
                    <a:pt x="3617959" y="5693025"/>
                  </a:lnTo>
                  <a:lnTo>
                    <a:pt x="3645880" y="5685824"/>
                  </a:lnTo>
                  <a:lnTo>
                    <a:pt x="3669268" y="5677290"/>
                  </a:lnTo>
                  <a:lnTo>
                    <a:pt x="3692935" y="5674756"/>
                  </a:lnTo>
                  <a:lnTo>
                    <a:pt x="3720139" y="5696519"/>
                  </a:lnTo>
                  <a:lnTo>
                    <a:pt x="3724526" y="5728103"/>
                  </a:lnTo>
                  <a:lnTo>
                    <a:pt x="3726635" y="5760148"/>
                  </a:lnTo>
                  <a:lnTo>
                    <a:pt x="3740544" y="5787655"/>
                  </a:lnTo>
                  <a:lnTo>
                    <a:pt x="3763811" y="5796769"/>
                  </a:lnTo>
                  <a:lnTo>
                    <a:pt x="3790733" y="5800310"/>
                  </a:lnTo>
                  <a:lnTo>
                    <a:pt x="3815358" y="5791731"/>
                  </a:lnTo>
                  <a:lnTo>
                    <a:pt x="3822148" y="5764850"/>
                  </a:lnTo>
                  <a:lnTo>
                    <a:pt x="3829503" y="5729652"/>
                  </a:lnTo>
                  <a:lnTo>
                    <a:pt x="3843921" y="5699237"/>
                  </a:lnTo>
                  <a:lnTo>
                    <a:pt x="3860162" y="5669600"/>
                  </a:lnTo>
                  <a:lnTo>
                    <a:pt x="3882086" y="5647270"/>
                  </a:lnTo>
                  <a:lnTo>
                    <a:pt x="3911932" y="5635312"/>
                  </a:lnTo>
                  <a:lnTo>
                    <a:pt x="3945812" y="5642890"/>
                  </a:lnTo>
                  <a:lnTo>
                    <a:pt x="3963616" y="5654353"/>
                  </a:lnTo>
                  <a:lnTo>
                    <a:pt x="3981422" y="5665820"/>
                  </a:lnTo>
                  <a:lnTo>
                    <a:pt x="3996262" y="5695161"/>
                  </a:lnTo>
                  <a:lnTo>
                    <a:pt x="3997620" y="5735963"/>
                  </a:lnTo>
                  <a:lnTo>
                    <a:pt x="4000339" y="5776773"/>
                  </a:lnTo>
                  <a:lnTo>
                    <a:pt x="4016199" y="5796743"/>
                  </a:lnTo>
                  <a:lnTo>
                    <a:pt x="4041608" y="5805765"/>
                  </a:lnTo>
                  <a:lnTo>
                    <a:pt x="4072428" y="5805330"/>
                  </a:lnTo>
                  <a:lnTo>
                    <a:pt x="4103080" y="5802910"/>
                  </a:lnTo>
                  <a:lnTo>
                    <a:pt x="4134340" y="5791196"/>
                  </a:lnTo>
                  <a:lnTo>
                    <a:pt x="4149964" y="5776767"/>
                  </a:lnTo>
                  <a:lnTo>
                    <a:pt x="4163039" y="5754147"/>
                  </a:lnTo>
                  <a:lnTo>
                    <a:pt x="4172248" y="5720493"/>
                  </a:lnTo>
                  <a:lnTo>
                    <a:pt x="4175807" y="5695155"/>
                  </a:lnTo>
                  <a:lnTo>
                    <a:pt x="4188681" y="5676710"/>
                  </a:lnTo>
                  <a:lnTo>
                    <a:pt x="4214283" y="5673174"/>
                  </a:lnTo>
                  <a:lnTo>
                    <a:pt x="4241090" y="5674750"/>
                  </a:lnTo>
                  <a:lnTo>
                    <a:pt x="4267907" y="5676327"/>
                  </a:lnTo>
                  <a:lnTo>
                    <a:pt x="4296079" y="5683700"/>
                  </a:lnTo>
                  <a:lnTo>
                    <a:pt x="4327643" y="5687267"/>
                  </a:lnTo>
                  <a:lnTo>
                    <a:pt x="4348547" y="5666593"/>
                  </a:lnTo>
                  <a:lnTo>
                    <a:pt x="4363920" y="5636289"/>
                  </a:lnTo>
                  <a:lnTo>
                    <a:pt x="4379010" y="5580299"/>
                  </a:lnTo>
                  <a:lnTo>
                    <a:pt x="4381996" y="5539600"/>
                  </a:lnTo>
                  <a:lnTo>
                    <a:pt x="4386424" y="5509317"/>
                  </a:lnTo>
                  <a:lnTo>
                    <a:pt x="4398960" y="5487428"/>
                  </a:lnTo>
                  <a:lnTo>
                    <a:pt x="4452029" y="5478671"/>
                  </a:lnTo>
                  <a:lnTo>
                    <a:pt x="4539912" y="5454909"/>
                  </a:lnTo>
                  <a:lnTo>
                    <a:pt x="4577891" y="5450570"/>
                  </a:lnTo>
                  <a:lnTo>
                    <a:pt x="4636278" y="5438758"/>
                  </a:lnTo>
                  <a:lnTo>
                    <a:pt x="4654591" y="5450313"/>
                  </a:lnTo>
                  <a:lnTo>
                    <a:pt x="4655304" y="5483314"/>
                  </a:lnTo>
                  <a:lnTo>
                    <a:pt x="4677721" y="5508802"/>
                  </a:lnTo>
                  <a:lnTo>
                    <a:pt x="4711142" y="5514586"/>
                  </a:lnTo>
                  <a:lnTo>
                    <a:pt x="4733485" y="5508802"/>
                  </a:lnTo>
                  <a:lnTo>
                    <a:pt x="4755831" y="5503020"/>
                  </a:lnTo>
                  <a:lnTo>
                    <a:pt x="4780983" y="5493456"/>
                  </a:lnTo>
                  <a:lnTo>
                    <a:pt x="4806935" y="5485681"/>
                  </a:lnTo>
                  <a:lnTo>
                    <a:pt x="4832893" y="5477906"/>
                  </a:lnTo>
                  <a:lnTo>
                    <a:pt x="4859713" y="5471601"/>
                  </a:lnTo>
                  <a:lnTo>
                    <a:pt x="4884471" y="5473442"/>
                  </a:lnTo>
                  <a:lnTo>
                    <a:pt x="4907645" y="5475162"/>
                  </a:lnTo>
                  <a:lnTo>
                    <a:pt x="4918472" y="5499286"/>
                  </a:lnTo>
                  <a:lnTo>
                    <a:pt x="4953841" y="5511526"/>
                  </a:lnTo>
                  <a:lnTo>
                    <a:pt x="5002557" y="5514296"/>
                  </a:lnTo>
                  <a:lnTo>
                    <a:pt x="5044970" y="5510168"/>
                  </a:lnTo>
                  <a:lnTo>
                    <a:pt x="5066733" y="5521049"/>
                  </a:lnTo>
                  <a:lnTo>
                    <a:pt x="5078974" y="5542812"/>
                  </a:lnTo>
                  <a:lnTo>
                    <a:pt x="5082344" y="5607793"/>
                  </a:lnTo>
                  <a:lnTo>
                    <a:pt x="5085780" y="5654345"/>
                  </a:lnTo>
                  <a:lnTo>
                    <a:pt x="5089209" y="5700899"/>
                  </a:lnTo>
                  <a:lnTo>
                    <a:pt x="5094675" y="5745764"/>
                  </a:lnTo>
                  <a:lnTo>
                    <a:pt x="5122196" y="5767132"/>
                  </a:lnTo>
                  <a:lnTo>
                    <a:pt x="5155276" y="5764738"/>
                  </a:lnTo>
                  <a:lnTo>
                    <a:pt x="5183715" y="5767244"/>
                  </a:lnTo>
                  <a:lnTo>
                    <a:pt x="5211167" y="5770950"/>
                  </a:lnTo>
                  <a:lnTo>
                    <a:pt x="5229700" y="5782578"/>
                  </a:lnTo>
                  <a:lnTo>
                    <a:pt x="5234040" y="5808046"/>
                  </a:lnTo>
                  <a:lnTo>
                    <a:pt x="5228599" y="5915504"/>
                  </a:lnTo>
                  <a:lnTo>
                    <a:pt x="5240291" y="5938626"/>
                  </a:lnTo>
                  <a:lnTo>
                    <a:pt x="5256727" y="5962038"/>
                  </a:lnTo>
                  <a:lnTo>
                    <a:pt x="5289804" y="5984875"/>
                  </a:lnTo>
                  <a:lnTo>
                    <a:pt x="5327185" y="5998910"/>
                  </a:lnTo>
                  <a:lnTo>
                    <a:pt x="5386434" y="6005775"/>
                  </a:lnTo>
                  <a:lnTo>
                    <a:pt x="5428674" y="6001132"/>
                  </a:lnTo>
                  <a:lnTo>
                    <a:pt x="5470711" y="6006638"/>
                  </a:lnTo>
                  <a:lnTo>
                    <a:pt x="5521939" y="6018748"/>
                  </a:lnTo>
                  <a:lnTo>
                    <a:pt x="5559128" y="6028401"/>
                  </a:lnTo>
                  <a:lnTo>
                    <a:pt x="5596316" y="6038057"/>
                  </a:lnTo>
                  <a:lnTo>
                    <a:pt x="5632642" y="6045977"/>
                  </a:lnTo>
                  <a:lnTo>
                    <a:pt x="5666302" y="6031231"/>
                  </a:lnTo>
                  <a:lnTo>
                    <a:pt x="5692812" y="6008327"/>
                  </a:lnTo>
                  <a:lnTo>
                    <a:pt x="5718271" y="5987593"/>
                  </a:lnTo>
                  <a:lnTo>
                    <a:pt x="5743721" y="5966866"/>
                  </a:lnTo>
                  <a:lnTo>
                    <a:pt x="5768247" y="5949065"/>
                  </a:lnTo>
                  <a:lnTo>
                    <a:pt x="5799869" y="5970123"/>
                  </a:lnTo>
                  <a:lnTo>
                    <a:pt x="5805553" y="6002767"/>
                  </a:lnTo>
                  <a:lnTo>
                    <a:pt x="5817565" y="6028401"/>
                  </a:lnTo>
                  <a:lnTo>
                    <a:pt x="5831381" y="6051676"/>
                  </a:lnTo>
                  <a:lnTo>
                    <a:pt x="5852713" y="6064977"/>
                  </a:lnTo>
                  <a:lnTo>
                    <a:pt x="5884212" y="6063764"/>
                  </a:lnTo>
                  <a:lnTo>
                    <a:pt x="5910322" y="6040029"/>
                  </a:lnTo>
                  <a:lnTo>
                    <a:pt x="5934280" y="6014052"/>
                  </a:lnTo>
                  <a:lnTo>
                    <a:pt x="5965822" y="6001198"/>
                  </a:lnTo>
                  <a:lnTo>
                    <a:pt x="6034819" y="5996087"/>
                  </a:lnTo>
                  <a:lnTo>
                    <a:pt x="6085654" y="5991253"/>
                  </a:lnTo>
                  <a:lnTo>
                    <a:pt x="6123614" y="5990317"/>
                  </a:lnTo>
                  <a:lnTo>
                    <a:pt x="6161565" y="5989381"/>
                  </a:lnTo>
                  <a:lnTo>
                    <a:pt x="6186106" y="5993331"/>
                  </a:lnTo>
                  <a:lnTo>
                    <a:pt x="6216173" y="6017224"/>
                  </a:lnTo>
                  <a:lnTo>
                    <a:pt x="6221540" y="6070569"/>
                  </a:lnTo>
                  <a:lnTo>
                    <a:pt x="6221738" y="6104124"/>
                  </a:lnTo>
                  <a:lnTo>
                    <a:pt x="6217143" y="6150850"/>
                  </a:lnTo>
                  <a:lnTo>
                    <a:pt x="6210666" y="6214748"/>
                  </a:lnTo>
                  <a:lnTo>
                    <a:pt x="6199923" y="6241503"/>
                  </a:lnTo>
                  <a:lnTo>
                    <a:pt x="6180600" y="6275045"/>
                  </a:lnTo>
                  <a:lnTo>
                    <a:pt x="6170337" y="6296129"/>
                  </a:lnTo>
                  <a:lnTo>
                    <a:pt x="6168498" y="6326287"/>
                  </a:lnTo>
                  <a:lnTo>
                    <a:pt x="6259634" y="6333087"/>
                  </a:lnTo>
                  <a:lnTo>
                    <a:pt x="6283328" y="6262231"/>
                  </a:lnTo>
                  <a:lnTo>
                    <a:pt x="6271345" y="6202594"/>
                  </a:lnTo>
                  <a:lnTo>
                    <a:pt x="6285471" y="6145382"/>
                  </a:lnTo>
                  <a:lnTo>
                    <a:pt x="6322898" y="6126851"/>
                  </a:lnTo>
                  <a:lnTo>
                    <a:pt x="6352121" y="6138582"/>
                  </a:lnTo>
                  <a:lnTo>
                    <a:pt x="6369801" y="6192991"/>
                  </a:lnTo>
                  <a:lnTo>
                    <a:pt x="6408763" y="6191421"/>
                  </a:lnTo>
                  <a:lnTo>
                    <a:pt x="6458812" y="6183383"/>
                  </a:lnTo>
                  <a:lnTo>
                    <a:pt x="6493579" y="6164423"/>
                  </a:lnTo>
                  <a:lnTo>
                    <a:pt x="6492280" y="6123639"/>
                  </a:lnTo>
                  <a:lnTo>
                    <a:pt x="6486736" y="6082790"/>
                  </a:lnTo>
                  <a:lnTo>
                    <a:pt x="6496311" y="6043366"/>
                  </a:lnTo>
                  <a:lnTo>
                    <a:pt x="6528448" y="6019328"/>
                  </a:lnTo>
                  <a:lnTo>
                    <a:pt x="6546636" y="6006638"/>
                  </a:lnTo>
                  <a:lnTo>
                    <a:pt x="6564824" y="5993951"/>
                  </a:lnTo>
                  <a:lnTo>
                    <a:pt x="6599684" y="5986241"/>
                  </a:lnTo>
                  <a:lnTo>
                    <a:pt x="6697384" y="6089912"/>
                  </a:lnTo>
                  <a:lnTo>
                    <a:pt x="6719382" y="6108655"/>
                  </a:lnTo>
                  <a:lnTo>
                    <a:pt x="6742398" y="6089669"/>
                  </a:lnTo>
                  <a:lnTo>
                    <a:pt x="6769813" y="6075958"/>
                  </a:lnTo>
                  <a:lnTo>
                    <a:pt x="6798271" y="6078735"/>
                  </a:lnTo>
                  <a:lnTo>
                    <a:pt x="6818676" y="6126343"/>
                  </a:lnTo>
                  <a:lnTo>
                    <a:pt x="6845899" y="6137982"/>
                  </a:lnTo>
                  <a:lnTo>
                    <a:pt x="6867643" y="6135866"/>
                  </a:lnTo>
                  <a:lnTo>
                    <a:pt x="6889387" y="6133748"/>
                  </a:lnTo>
                  <a:lnTo>
                    <a:pt x="6915206" y="6126746"/>
                  </a:lnTo>
                  <a:lnTo>
                    <a:pt x="6941090" y="6119543"/>
                  </a:lnTo>
                  <a:lnTo>
                    <a:pt x="6992866" y="6105141"/>
                  </a:lnTo>
                  <a:lnTo>
                    <a:pt x="7044361" y="6088007"/>
                  </a:lnTo>
                  <a:lnTo>
                    <a:pt x="7075838" y="6099996"/>
                  </a:lnTo>
                  <a:lnTo>
                    <a:pt x="7085056" y="6118963"/>
                  </a:lnTo>
                  <a:lnTo>
                    <a:pt x="7092076" y="6139948"/>
                  </a:lnTo>
                  <a:lnTo>
                    <a:pt x="7099099" y="6160927"/>
                  </a:lnTo>
                  <a:lnTo>
                    <a:pt x="7103067" y="6184345"/>
                  </a:lnTo>
                  <a:lnTo>
                    <a:pt x="7110118" y="6215032"/>
                  </a:lnTo>
                  <a:lnTo>
                    <a:pt x="7126077" y="6251481"/>
                  </a:lnTo>
                  <a:lnTo>
                    <a:pt x="7140606" y="6289376"/>
                  </a:lnTo>
                  <a:lnTo>
                    <a:pt x="7139289" y="6318300"/>
                  </a:lnTo>
                  <a:lnTo>
                    <a:pt x="7131525" y="6354856"/>
                  </a:lnTo>
                  <a:lnTo>
                    <a:pt x="7120914" y="6388207"/>
                  </a:lnTo>
                  <a:lnTo>
                    <a:pt x="7092932" y="6411395"/>
                  </a:lnTo>
                  <a:lnTo>
                    <a:pt x="7052922" y="6434938"/>
                  </a:lnTo>
                  <a:lnTo>
                    <a:pt x="7011827" y="6455515"/>
                  </a:lnTo>
                  <a:lnTo>
                    <a:pt x="6970728" y="6476084"/>
                  </a:lnTo>
                  <a:lnTo>
                    <a:pt x="6927788" y="6494404"/>
                  </a:lnTo>
                  <a:lnTo>
                    <a:pt x="6900289" y="6501757"/>
                  </a:lnTo>
                  <a:lnTo>
                    <a:pt x="6904732" y="6522802"/>
                  </a:lnTo>
                  <a:lnTo>
                    <a:pt x="6914756" y="6542581"/>
                  </a:lnTo>
                  <a:lnTo>
                    <a:pt x="6926133" y="6562966"/>
                  </a:lnTo>
                  <a:lnTo>
                    <a:pt x="6937509" y="6583357"/>
                  </a:lnTo>
                  <a:lnTo>
                    <a:pt x="6951226" y="6604283"/>
                  </a:lnTo>
                  <a:lnTo>
                    <a:pt x="6961495" y="6622813"/>
                  </a:lnTo>
                  <a:lnTo>
                    <a:pt x="6976511" y="6649912"/>
                  </a:lnTo>
                  <a:lnTo>
                    <a:pt x="6991068" y="6677717"/>
                  </a:lnTo>
                  <a:lnTo>
                    <a:pt x="7006379" y="6705785"/>
                  </a:lnTo>
                  <a:lnTo>
                    <a:pt x="7021699" y="6733859"/>
                  </a:lnTo>
                  <a:lnTo>
                    <a:pt x="7036678" y="6761690"/>
                  </a:lnTo>
                  <a:lnTo>
                    <a:pt x="7053988" y="6787403"/>
                  </a:lnTo>
                  <a:lnTo>
                    <a:pt x="7085248" y="6833824"/>
                  </a:lnTo>
                  <a:lnTo>
                    <a:pt x="7126461" y="6875010"/>
                  </a:lnTo>
                  <a:lnTo>
                    <a:pt x="7150565" y="6926140"/>
                  </a:lnTo>
                  <a:lnTo>
                    <a:pt x="7184489" y="6913129"/>
                  </a:lnTo>
                  <a:lnTo>
                    <a:pt x="7258320" y="6885503"/>
                  </a:lnTo>
                  <a:lnTo>
                    <a:pt x="7281143" y="6888048"/>
                  </a:lnTo>
                  <a:lnTo>
                    <a:pt x="7331686" y="6952407"/>
                  </a:lnTo>
                  <a:lnTo>
                    <a:pt x="7339338" y="6992023"/>
                  </a:lnTo>
                  <a:lnTo>
                    <a:pt x="7340926" y="7037264"/>
                  </a:lnTo>
                  <a:lnTo>
                    <a:pt x="7358674" y="7058078"/>
                  </a:lnTo>
                  <a:lnTo>
                    <a:pt x="7373197" y="7075072"/>
                  </a:lnTo>
                  <a:lnTo>
                    <a:pt x="7388396" y="7091197"/>
                  </a:lnTo>
                  <a:lnTo>
                    <a:pt x="7403564" y="7108404"/>
                  </a:lnTo>
                  <a:lnTo>
                    <a:pt x="7418726" y="7125609"/>
                  </a:lnTo>
                  <a:lnTo>
                    <a:pt x="7433671" y="7143633"/>
                  </a:lnTo>
                  <a:lnTo>
                    <a:pt x="7447084" y="7161453"/>
                  </a:lnTo>
                  <a:lnTo>
                    <a:pt x="7466738" y="7187549"/>
                  </a:lnTo>
                  <a:lnTo>
                    <a:pt x="7470834" y="7213698"/>
                  </a:lnTo>
                  <a:lnTo>
                    <a:pt x="7466131" y="7238982"/>
                  </a:lnTo>
                  <a:lnTo>
                    <a:pt x="7461427" y="7264267"/>
                  </a:lnTo>
                  <a:lnTo>
                    <a:pt x="7447877" y="7288997"/>
                  </a:lnTo>
                  <a:lnTo>
                    <a:pt x="7432126" y="7312430"/>
                  </a:lnTo>
                  <a:lnTo>
                    <a:pt x="7416372" y="7335875"/>
                  </a:lnTo>
                  <a:lnTo>
                    <a:pt x="7398045" y="7357150"/>
                  </a:lnTo>
                  <a:lnTo>
                    <a:pt x="7384520" y="7377725"/>
                  </a:lnTo>
                  <a:lnTo>
                    <a:pt x="7370992" y="7398295"/>
                  </a:lnTo>
                  <a:lnTo>
                    <a:pt x="7362128" y="7418158"/>
                  </a:lnTo>
                  <a:lnTo>
                    <a:pt x="7367076" y="7459779"/>
                  </a:lnTo>
                  <a:lnTo>
                    <a:pt x="7381181" y="7476992"/>
                  </a:lnTo>
                  <a:lnTo>
                    <a:pt x="7394036" y="7494700"/>
                  </a:lnTo>
                  <a:lnTo>
                    <a:pt x="7406903" y="7512407"/>
                  </a:lnTo>
                  <a:lnTo>
                    <a:pt x="7418989" y="7529600"/>
                  </a:lnTo>
                  <a:lnTo>
                    <a:pt x="7417163" y="7555907"/>
                  </a:lnTo>
                  <a:lnTo>
                    <a:pt x="7410807" y="7598991"/>
                  </a:lnTo>
                  <a:lnTo>
                    <a:pt x="7407641" y="7626637"/>
                  </a:lnTo>
                  <a:lnTo>
                    <a:pt x="7404475" y="7654290"/>
                  </a:lnTo>
                  <a:lnTo>
                    <a:pt x="7402562" y="7680307"/>
                  </a:lnTo>
                  <a:lnTo>
                    <a:pt x="7420264" y="7698389"/>
                  </a:lnTo>
                  <a:lnTo>
                    <a:pt x="7449803" y="7701450"/>
                  </a:lnTo>
                  <a:lnTo>
                    <a:pt x="7564996" y="7692863"/>
                  </a:lnTo>
                  <a:lnTo>
                    <a:pt x="7678189" y="7700856"/>
                  </a:lnTo>
                  <a:lnTo>
                    <a:pt x="7793937" y="7696010"/>
                  </a:lnTo>
                  <a:lnTo>
                    <a:pt x="7811024" y="7643686"/>
                  </a:lnTo>
                  <a:lnTo>
                    <a:pt x="7817080" y="7614878"/>
                  </a:lnTo>
                  <a:lnTo>
                    <a:pt x="7834741" y="7599433"/>
                  </a:lnTo>
                  <a:lnTo>
                    <a:pt x="7852402" y="7583995"/>
                  </a:lnTo>
                  <a:lnTo>
                    <a:pt x="7881457" y="7582886"/>
                  </a:lnTo>
                  <a:lnTo>
                    <a:pt x="7925873" y="7593999"/>
                  </a:lnTo>
                  <a:lnTo>
                    <a:pt x="7958414" y="7601741"/>
                  </a:lnTo>
                  <a:lnTo>
                    <a:pt x="7991264" y="7610737"/>
                  </a:lnTo>
                  <a:lnTo>
                    <a:pt x="8022450" y="7622561"/>
                  </a:lnTo>
                  <a:lnTo>
                    <a:pt x="8043658" y="7632421"/>
                  </a:lnTo>
                  <a:lnTo>
                    <a:pt x="8054541" y="7656862"/>
                  </a:lnTo>
                  <a:lnTo>
                    <a:pt x="8071418" y="7671529"/>
                  </a:lnTo>
                  <a:lnTo>
                    <a:pt x="8088886" y="7686723"/>
                  </a:lnTo>
                  <a:lnTo>
                    <a:pt x="8127185" y="7700092"/>
                  </a:lnTo>
                  <a:lnTo>
                    <a:pt x="8164286" y="7716968"/>
                  </a:lnTo>
                  <a:lnTo>
                    <a:pt x="8182952" y="7739536"/>
                  </a:lnTo>
                  <a:lnTo>
                    <a:pt x="8202650" y="7763350"/>
                  </a:lnTo>
                  <a:lnTo>
                    <a:pt x="8214414" y="7795125"/>
                  </a:lnTo>
                  <a:lnTo>
                    <a:pt x="8225117" y="7826588"/>
                  </a:lnTo>
                  <a:lnTo>
                    <a:pt x="8235823" y="7858053"/>
                  </a:lnTo>
                  <a:lnTo>
                    <a:pt x="8245984" y="7888435"/>
                  </a:lnTo>
                  <a:lnTo>
                    <a:pt x="8263204" y="7909558"/>
                  </a:lnTo>
                  <a:lnTo>
                    <a:pt x="8304021" y="7935147"/>
                  </a:lnTo>
                  <a:lnTo>
                    <a:pt x="8335293" y="7942210"/>
                  </a:lnTo>
                  <a:lnTo>
                    <a:pt x="8366572" y="7949267"/>
                  </a:lnTo>
                  <a:lnTo>
                    <a:pt x="8399990" y="7951740"/>
                  </a:lnTo>
                  <a:lnTo>
                    <a:pt x="8448626" y="7948086"/>
                  </a:lnTo>
                  <a:lnTo>
                    <a:pt x="8472612" y="7938965"/>
                  </a:lnTo>
                  <a:lnTo>
                    <a:pt x="8493076" y="7924523"/>
                  </a:lnTo>
                  <a:lnTo>
                    <a:pt x="8513540" y="7910087"/>
                  </a:lnTo>
                  <a:lnTo>
                    <a:pt x="8530614" y="7890638"/>
                  </a:lnTo>
                  <a:lnTo>
                    <a:pt x="8544766" y="7868756"/>
                  </a:lnTo>
                  <a:lnTo>
                    <a:pt x="8573065" y="7824985"/>
                  </a:lnTo>
                  <a:lnTo>
                    <a:pt x="8592263" y="7771106"/>
                  </a:lnTo>
                  <a:lnTo>
                    <a:pt x="8616854" y="7725937"/>
                  </a:lnTo>
                  <a:lnTo>
                    <a:pt x="8630863" y="7700209"/>
                  </a:lnTo>
                  <a:lnTo>
                    <a:pt x="8649711" y="7674417"/>
                  </a:lnTo>
                  <a:lnTo>
                    <a:pt x="8665822" y="7649766"/>
                  </a:lnTo>
                  <a:lnTo>
                    <a:pt x="8678320" y="7630634"/>
                  </a:lnTo>
                  <a:lnTo>
                    <a:pt x="8688772" y="7603944"/>
                  </a:lnTo>
                  <a:lnTo>
                    <a:pt x="8706625" y="7588551"/>
                  </a:lnTo>
                  <a:lnTo>
                    <a:pt x="8723291" y="7574188"/>
                  </a:lnTo>
                  <a:lnTo>
                    <a:pt x="8767877" y="7562112"/>
                  </a:lnTo>
                  <a:lnTo>
                    <a:pt x="8856250" y="7539585"/>
                  </a:lnTo>
                  <a:lnTo>
                    <a:pt x="8877855" y="7536142"/>
                  </a:lnTo>
                  <a:lnTo>
                    <a:pt x="8903748" y="7539782"/>
                  </a:lnTo>
                  <a:lnTo>
                    <a:pt x="8931064" y="7549107"/>
                  </a:lnTo>
                  <a:lnTo>
                    <a:pt x="8958371" y="7558440"/>
                  </a:lnTo>
                  <a:lnTo>
                    <a:pt x="8986863" y="7572605"/>
                  </a:lnTo>
                  <a:lnTo>
                    <a:pt x="9014033" y="7589917"/>
                  </a:lnTo>
                  <a:lnTo>
                    <a:pt x="9068377" y="7624540"/>
                  </a:lnTo>
                  <a:lnTo>
                    <a:pt x="9116368" y="7670400"/>
                  </a:lnTo>
                  <a:lnTo>
                    <a:pt x="9135089" y="7708249"/>
                  </a:lnTo>
                  <a:lnTo>
                    <a:pt x="9222867" y="7661412"/>
                  </a:lnTo>
                  <a:lnTo>
                    <a:pt x="9256145" y="7653842"/>
                  </a:lnTo>
                  <a:lnTo>
                    <a:pt x="9326026" y="7697862"/>
                  </a:lnTo>
                  <a:lnTo>
                    <a:pt x="9385365" y="7723213"/>
                  </a:lnTo>
                  <a:lnTo>
                    <a:pt x="9444707" y="7748557"/>
                  </a:lnTo>
                  <a:lnTo>
                    <a:pt x="9506170" y="7770901"/>
                  </a:lnTo>
                  <a:lnTo>
                    <a:pt x="9526826" y="7774898"/>
                  </a:lnTo>
                  <a:lnTo>
                    <a:pt x="9559386" y="7781143"/>
                  </a:lnTo>
                  <a:lnTo>
                    <a:pt x="9589393" y="7766060"/>
                  </a:lnTo>
                  <a:lnTo>
                    <a:pt x="9619320" y="7759933"/>
                  </a:lnTo>
                  <a:lnTo>
                    <a:pt x="9762139" y="7730012"/>
                  </a:lnTo>
                  <a:lnTo>
                    <a:pt x="9809622" y="7720318"/>
                  </a:lnTo>
                  <a:lnTo>
                    <a:pt x="9859057" y="7714330"/>
                  </a:lnTo>
                  <a:lnTo>
                    <a:pt x="9907684" y="7705525"/>
                  </a:lnTo>
                  <a:lnTo>
                    <a:pt x="9944237" y="7693075"/>
                  </a:lnTo>
                  <a:lnTo>
                    <a:pt x="10077714" y="7685127"/>
                  </a:lnTo>
                  <a:lnTo>
                    <a:pt x="10194687" y="7676963"/>
                  </a:lnTo>
                  <a:lnTo>
                    <a:pt x="10207554" y="7621203"/>
                  </a:lnTo>
                  <a:lnTo>
                    <a:pt x="10206928" y="7579029"/>
                  </a:lnTo>
                  <a:lnTo>
                    <a:pt x="10206332" y="7536861"/>
                  </a:lnTo>
                  <a:lnTo>
                    <a:pt x="10204010" y="7492213"/>
                  </a:lnTo>
                  <a:lnTo>
                    <a:pt x="10211002" y="7471571"/>
                  </a:lnTo>
                  <a:lnTo>
                    <a:pt x="10237394" y="7461838"/>
                  </a:lnTo>
                  <a:lnTo>
                    <a:pt x="10259969" y="7459331"/>
                  </a:lnTo>
                  <a:lnTo>
                    <a:pt x="10282545" y="7456824"/>
                  </a:lnTo>
                  <a:lnTo>
                    <a:pt x="10306087" y="7454846"/>
                  </a:lnTo>
                  <a:lnTo>
                    <a:pt x="10325897" y="7442797"/>
                  </a:lnTo>
                  <a:lnTo>
                    <a:pt x="10326623" y="7414446"/>
                  </a:lnTo>
                  <a:lnTo>
                    <a:pt x="10284455" y="7381801"/>
                  </a:lnTo>
                  <a:lnTo>
                    <a:pt x="10281522" y="7346354"/>
                  </a:lnTo>
                  <a:lnTo>
                    <a:pt x="10294315" y="7280292"/>
                  </a:lnTo>
                  <a:lnTo>
                    <a:pt x="10283090" y="7259381"/>
                  </a:lnTo>
                  <a:lnTo>
                    <a:pt x="10272387" y="7239424"/>
                  </a:lnTo>
                  <a:lnTo>
                    <a:pt x="10255920" y="7218327"/>
                  </a:lnTo>
                  <a:lnTo>
                    <a:pt x="10247728" y="7196814"/>
                  </a:lnTo>
                  <a:lnTo>
                    <a:pt x="10241905" y="7175203"/>
                  </a:lnTo>
                  <a:lnTo>
                    <a:pt x="10245393" y="7153130"/>
                  </a:lnTo>
                  <a:lnTo>
                    <a:pt x="10261334" y="7130167"/>
                  </a:lnTo>
                  <a:lnTo>
                    <a:pt x="10277187" y="7114016"/>
                  </a:lnTo>
                  <a:lnTo>
                    <a:pt x="10317181" y="7111859"/>
                  </a:lnTo>
                  <a:lnTo>
                    <a:pt x="10355185" y="7109762"/>
                  </a:lnTo>
                  <a:lnTo>
                    <a:pt x="10393192" y="7107664"/>
                  </a:lnTo>
                  <a:lnTo>
                    <a:pt x="10428871" y="7105574"/>
                  </a:lnTo>
                  <a:lnTo>
                    <a:pt x="10442240" y="6985982"/>
                  </a:lnTo>
                  <a:lnTo>
                    <a:pt x="10360627" y="6975100"/>
                  </a:lnTo>
                  <a:lnTo>
                    <a:pt x="10330185" y="6961937"/>
                  </a:lnTo>
                  <a:lnTo>
                    <a:pt x="10317615" y="6928415"/>
                  </a:lnTo>
                  <a:lnTo>
                    <a:pt x="10317002" y="6906368"/>
                  </a:lnTo>
                  <a:lnTo>
                    <a:pt x="10319823" y="6883965"/>
                  </a:lnTo>
                  <a:lnTo>
                    <a:pt x="10322641" y="6861569"/>
                  </a:lnTo>
                  <a:lnTo>
                    <a:pt x="10330074" y="6837940"/>
                  </a:lnTo>
                  <a:lnTo>
                    <a:pt x="10338864" y="6818676"/>
                  </a:lnTo>
                  <a:lnTo>
                    <a:pt x="10347660" y="6799419"/>
                  </a:lnTo>
                  <a:lnTo>
                    <a:pt x="10370158" y="6777874"/>
                  </a:lnTo>
                  <a:lnTo>
                    <a:pt x="10393040" y="6761834"/>
                  </a:lnTo>
                  <a:lnTo>
                    <a:pt x="10417997" y="6744945"/>
                  </a:lnTo>
                  <a:lnTo>
                    <a:pt x="10442240" y="6731624"/>
                  </a:lnTo>
                  <a:lnTo>
                    <a:pt x="10485667" y="6713440"/>
                  </a:lnTo>
                  <a:lnTo>
                    <a:pt x="10517163" y="6715353"/>
                  </a:lnTo>
                  <a:lnTo>
                    <a:pt x="10549697" y="6712583"/>
                  </a:lnTo>
                  <a:lnTo>
                    <a:pt x="10581655" y="6708152"/>
                  </a:lnTo>
                  <a:lnTo>
                    <a:pt x="10618388" y="6695252"/>
                  </a:lnTo>
                  <a:lnTo>
                    <a:pt x="10638920" y="6685155"/>
                  </a:lnTo>
                  <a:lnTo>
                    <a:pt x="10662596" y="6667699"/>
                  </a:lnTo>
                  <a:lnTo>
                    <a:pt x="10701149" y="6709010"/>
                  </a:lnTo>
                  <a:lnTo>
                    <a:pt x="10719396" y="6747939"/>
                  </a:lnTo>
                  <a:lnTo>
                    <a:pt x="10741490" y="6779232"/>
                  </a:lnTo>
                  <a:lnTo>
                    <a:pt x="10768543" y="6803132"/>
                  </a:lnTo>
                  <a:lnTo>
                    <a:pt x="10806919" y="6815188"/>
                  </a:lnTo>
                  <a:lnTo>
                    <a:pt x="10839422" y="6802354"/>
                  </a:lnTo>
                  <a:lnTo>
                    <a:pt x="10856379" y="6773066"/>
                  </a:lnTo>
                  <a:lnTo>
                    <a:pt x="10866534" y="6734433"/>
                  </a:lnTo>
                  <a:lnTo>
                    <a:pt x="10873426" y="6701701"/>
                  </a:lnTo>
                  <a:lnTo>
                    <a:pt x="10898120" y="6692397"/>
                  </a:lnTo>
                  <a:lnTo>
                    <a:pt x="10929029" y="6689105"/>
                  </a:lnTo>
                  <a:lnTo>
                    <a:pt x="10959120" y="6682656"/>
                  </a:lnTo>
                  <a:lnTo>
                    <a:pt x="10989209" y="6676219"/>
                  </a:lnTo>
                  <a:lnTo>
                    <a:pt x="11018397" y="6666189"/>
                  </a:lnTo>
                  <a:lnTo>
                    <a:pt x="11036511" y="6644148"/>
                  </a:lnTo>
                  <a:lnTo>
                    <a:pt x="11033928" y="6613291"/>
                  </a:lnTo>
                  <a:lnTo>
                    <a:pt x="11023203" y="6577883"/>
                  </a:lnTo>
                  <a:lnTo>
                    <a:pt x="11014729" y="6537160"/>
                  </a:lnTo>
                  <a:lnTo>
                    <a:pt x="11013272" y="6514446"/>
                  </a:lnTo>
                  <a:lnTo>
                    <a:pt x="11020329" y="6490869"/>
                  </a:lnTo>
                  <a:lnTo>
                    <a:pt x="11027386" y="6467292"/>
                  </a:lnTo>
                  <a:lnTo>
                    <a:pt x="11042948" y="6442423"/>
                  </a:lnTo>
                  <a:lnTo>
                    <a:pt x="11073371" y="6416057"/>
                  </a:lnTo>
                  <a:lnTo>
                    <a:pt x="11108851" y="6412615"/>
                  </a:lnTo>
                  <a:lnTo>
                    <a:pt x="11138548" y="6419500"/>
                  </a:lnTo>
                  <a:lnTo>
                    <a:pt x="11164506" y="6432386"/>
                  </a:lnTo>
                  <a:lnTo>
                    <a:pt x="11189764" y="6444857"/>
                  </a:lnTo>
                  <a:lnTo>
                    <a:pt x="11213644" y="6457321"/>
                  </a:lnTo>
                  <a:lnTo>
                    <a:pt x="11243401" y="6450067"/>
                  </a:lnTo>
                  <a:lnTo>
                    <a:pt x="11271904" y="6433738"/>
                  </a:lnTo>
                  <a:lnTo>
                    <a:pt x="11288285" y="6418781"/>
                  </a:lnTo>
                  <a:lnTo>
                    <a:pt x="11304668" y="6403823"/>
                  </a:lnTo>
                  <a:lnTo>
                    <a:pt x="11321418" y="6386538"/>
                  </a:lnTo>
                  <a:lnTo>
                    <a:pt x="11346777" y="6379330"/>
                  </a:lnTo>
                  <a:lnTo>
                    <a:pt x="11368624" y="6394630"/>
                  </a:lnTo>
                  <a:lnTo>
                    <a:pt x="11372615" y="6424214"/>
                  </a:lnTo>
                  <a:lnTo>
                    <a:pt x="11373703" y="6455033"/>
                  </a:lnTo>
                  <a:lnTo>
                    <a:pt x="11388719" y="6503571"/>
                  </a:lnTo>
                  <a:lnTo>
                    <a:pt x="11414724" y="6534930"/>
                  </a:lnTo>
                  <a:lnTo>
                    <a:pt x="11439262" y="6562958"/>
                  </a:lnTo>
                  <a:lnTo>
                    <a:pt x="11463809" y="6590980"/>
                  </a:lnTo>
                  <a:lnTo>
                    <a:pt x="11487122" y="6614986"/>
                  </a:lnTo>
                  <a:lnTo>
                    <a:pt x="11492313" y="6637764"/>
                  </a:lnTo>
                  <a:lnTo>
                    <a:pt x="11493079" y="6674116"/>
                  </a:lnTo>
                  <a:lnTo>
                    <a:pt x="11486105" y="6710236"/>
                  </a:lnTo>
                  <a:lnTo>
                    <a:pt x="11485519" y="6745221"/>
                  </a:lnTo>
                  <a:lnTo>
                    <a:pt x="11537125" y="6776680"/>
                  </a:lnTo>
                  <a:lnTo>
                    <a:pt x="11558975" y="6796913"/>
                  </a:lnTo>
                  <a:lnTo>
                    <a:pt x="11568680" y="6773164"/>
                  </a:lnTo>
                  <a:lnTo>
                    <a:pt x="11574565" y="6749350"/>
                  </a:lnTo>
                  <a:lnTo>
                    <a:pt x="11579371" y="6718018"/>
                  </a:lnTo>
                  <a:lnTo>
                    <a:pt x="11585036" y="6685281"/>
                  </a:lnTo>
                  <a:lnTo>
                    <a:pt x="11590028" y="6650103"/>
                  </a:lnTo>
                  <a:lnTo>
                    <a:pt x="11594334" y="6614643"/>
                  </a:lnTo>
                  <a:lnTo>
                    <a:pt x="11600576" y="6578286"/>
                  </a:lnTo>
                  <a:lnTo>
                    <a:pt x="11607143" y="6544908"/>
                  </a:lnTo>
                  <a:lnTo>
                    <a:pt x="11614739" y="6515350"/>
                  </a:lnTo>
                  <a:lnTo>
                    <a:pt x="11623992" y="6488107"/>
                  </a:lnTo>
                  <a:lnTo>
                    <a:pt x="11635414" y="6466423"/>
                  </a:lnTo>
                  <a:lnTo>
                    <a:pt x="11650108" y="6451419"/>
                  </a:lnTo>
                  <a:lnTo>
                    <a:pt x="11715391" y="6456859"/>
                  </a:lnTo>
                  <a:lnTo>
                    <a:pt x="11743953" y="6441889"/>
                  </a:lnTo>
                  <a:lnTo>
                    <a:pt x="11761602" y="6420686"/>
                  </a:lnTo>
                  <a:lnTo>
                    <a:pt x="11769917" y="6399055"/>
                  </a:lnTo>
                  <a:lnTo>
                    <a:pt x="11780556" y="6359584"/>
                  </a:lnTo>
                  <a:lnTo>
                    <a:pt x="11787479" y="6324909"/>
                  </a:lnTo>
                  <a:lnTo>
                    <a:pt x="11799060" y="6295449"/>
                  </a:lnTo>
                  <a:lnTo>
                    <a:pt x="11830308" y="6275487"/>
                  </a:lnTo>
                  <a:lnTo>
                    <a:pt x="11855323" y="6269472"/>
                  </a:lnTo>
                  <a:lnTo>
                    <a:pt x="11893572" y="6267784"/>
                  </a:lnTo>
                  <a:lnTo>
                    <a:pt x="11911028" y="6245974"/>
                  </a:lnTo>
                  <a:lnTo>
                    <a:pt x="11916926" y="6221580"/>
                  </a:lnTo>
                  <a:lnTo>
                    <a:pt x="11926218" y="6199777"/>
                  </a:lnTo>
                  <a:lnTo>
                    <a:pt x="11948245" y="6191666"/>
                  </a:lnTo>
                  <a:lnTo>
                    <a:pt x="11988527" y="6194284"/>
                  </a:lnTo>
                  <a:lnTo>
                    <a:pt x="12014067" y="6198972"/>
                  </a:lnTo>
                  <a:lnTo>
                    <a:pt x="12040481" y="6202495"/>
                  </a:lnTo>
                  <a:lnTo>
                    <a:pt x="12066885" y="6206015"/>
                  </a:lnTo>
                  <a:lnTo>
                    <a:pt x="12094815" y="6208581"/>
                  </a:lnTo>
                  <a:lnTo>
                    <a:pt x="12120727" y="6207935"/>
                  </a:lnTo>
                  <a:lnTo>
                    <a:pt x="12146645" y="6207276"/>
                  </a:lnTo>
                  <a:lnTo>
                    <a:pt x="12170076" y="6202797"/>
                  </a:lnTo>
                  <a:lnTo>
                    <a:pt x="12188742" y="6191613"/>
                  </a:lnTo>
                  <a:lnTo>
                    <a:pt x="12203699" y="6173932"/>
                  </a:lnTo>
                  <a:lnTo>
                    <a:pt x="12213221" y="6153527"/>
                  </a:lnTo>
                  <a:lnTo>
                    <a:pt x="12222929" y="6125564"/>
                  </a:lnTo>
                  <a:lnTo>
                    <a:pt x="12228014" y="6103056"/>
                  </a:lnTo>
                  <a:lnTo>
                    <a:pt x="12233790" y="6065255"/>
                  </a:lnTo>
                  <a:lnTo>
                    <a:pt x="12232261" y="6033829"/>
                  </a:lnTo>
                  <a:lnTo>
                    <a:pt x="12230156" y="6004739"/>
                  </a:lnTo>
                  <a:lnTo>
                    <a:pt x="12226218" y="5970427"/>
                  </a:lnTo>
                  <a:lnTo>
                    <a:pt x="12224110" y="5926372"/>
                  </a:lnTo>
                  <a:lnTo>
                    <a:pt x="12229886" y="5890232"/>
                  </a:lnTo>
                  <a:lnTo>
                    <a:pt x="12242819" y="5853704"/>
                  </a:lnTo>
                  <a:lnTo>
                    <a:pt x="12252679" y="5817557"/>
                  </a:lnTo>
                  <a:lnTo>
                    <a:pt x="12258846" y="5782754"/>
                  </a:lnTo>
                  <a:lnTo>
                    <a:pt x="12262827" y="5746265"/>
                  </a:lnTo>
                  <a:lnTo>
                    <a:pt x="12266278" y="5710106"/>
                  </a:lnTo>
                  <a:lnTo>
                    <a:pt x="12303683" y="5697095"/>
                  </a:lnTo>
                  <a:lnTo>
                    <a:pt x="12321537" y="5712190"/>
                  </a:lnTo>
                  <a:lnTo>
                    <a:pt x="12358607" y="5871332"/>
                  </a:lnTo>
                  <a:lnTo>
                    <a:pt x="12349293" y="5902485"/>
                  </a:lnTo>
                  <a:lnTo>
                    <a:pt x="12327490" y="5930454"/>
                  </a:lnTo>
                  <a:lnTo>
                    <a:pt x="12322209" y="5984156"/>
                  </a:lnTo>
                  <a:lnTo>
                    <a:pt x="12330209" y="6022948"/>
                  </a:lnTo>
                  <a:lnTo>
                    <a:pt x="12338215" y="6061739"/>
                  </a:lnTo>
                  <a:lnTo>
                    <a:pt x="12352499" y="6098909"/>
                  </a:lnTo>
                  <a:lnTo>
                    <a:pt x="12377809" y="6099126"/>
                  </a:lnTo>
                  <a:lnTo>
                    <a:pt x="12400146" y="6073794"/>
                  </a:lnTo>
                  <a:lnTo>
                    <a:pt x="12411432" y="6036178"/>
                  </a:lnTo>
                  <a:lnTo>
                    <a:pt x="12424054" y="5995757"/>
                  </a:lnTo>
                  <a:lnTo>
                    <a:pt x="12436683" y="5955330"/>
                  </a:lnTo>
                  <a:lnTo>
                    <a:pt x="12450474" y="5911719"/>
                  </a:lnTo>
                  <a:lnTo>
                    <a:pt x="12467587" y="5881500"/>
                  </a:lnTo>
                  <a:lnTo>
                    <a:pt x="12489666" y="5842498"/>
                  </a:lnTo>
                  <a:lnTo>
                    <a:pt x="12526433" y="5805561"/>
                  </a:lnTo>
                  <a:lnTo>
                    <a:pt x="12558722" y="5776761"/>
                  </a:lnTo>
                  <a:lnTo>
                    <a:pt x="12591002" y="5747967"/>
                  </a:lnTo>
                  <a:lnTo>
                    <a:pt x="12619125" y="5727398"/>
                  </a:lnTo>
                  <a:lnTo>
                    <a:pt x="12635914" y="5696896"/>
                  </a:lnTo>
                  <a:lnTo>
                    <a:pt x="12619329" y="5662168"/>
                  </a:lnTo>
                  <a:lnTo>
                    <a:pt x="12637610" y="5640740"/>
                  </a:lnTo>
                  <a:lnTo>
                    <a:pt x="12663457" y="5636184"/>
                  </a:lnTo>
                  <a:lnTo>
                    <a:pt x="12689294" y="5652981"/>
                  </a:lnTo>
                  <a:lnTo>
                    <a:pt x="12704437" y="5683066"/>
                  </a:lnTo>
                  <a:lnTo>
                    <a:pt x="12746987" y="5721343"/>
                  </a:lnTo>
                  <a:lnTo>
                    <a:pt x="12776275" y="5732495"/>
                  </a:lnTo>
                  <a:lnTo>
                    <a:pt x="12803551" y="5729151"/>
                  </a:lnTo>
                  <a:lnTo>
                    <a:pt x="12830833" y="5725808"/>
                  </a:lnTo>
                  <a:lnTo>
                    <a:pt x="12855240" y="5707962"/>
                  </a:lnTo>
                  <a:lnTo>
                    <a:pt x="12875639" y="5674744"/>
                  </a:lnTo>
                  <a:lnTo>
                    <a:pt x="12887952" y="5651826"/>
                  </a:lnTo>
                  <a:lnTo>
                    <a:pt x="12898695" y="5626924"/>
                  </a:lnTo>
                  <a:lnTo>
                    <a:pt x="12909643" y="5602648"/>
                  </a:lnTo>
                  <a:lnTo>
                    <a:pt x="12939037" y="5577238"/>
                  </a:lnTo>
                  <a:lnTo>
                    <a:pt x="12964059" y="5564563"/>
                  </a:lnTo>
                  <a:lnTo>
                    <a:pt x="12989077" y="5551894"/>
                  </a:lnTo>
                  <a:lnTo>
                    <a:pt x="13016316" y="5537405"/>
                  </a:lnTo>
                  <a:lnTo>
                    <a:pt x="13034789" y="5515596"/>
                  </a:lnTo>
                  <a:lnTo>
                    <a:pt x="13063820" y="5481342"/>
                  </a:lnTo>
                  <a:lnTo>
                    <a:pt x="13059777" y="5433562"/>
                  </a:lnTo>
                  <a:lnTo>
                    <a:pt x="13083754" y="5408145"/>
                  </a:lnTo>
                  <a:lnTo>
                    <a:pt x="13121906" y="5404399"/>
                  </a:lnTo>
                  <a:lnTo>
                    <a:pt x="13151762" y="5405427"/>
                  </a:lnTo>
                  <a:lnTo>
                    <a:pt x="13181617" y="5406456"/>
                  </a:lnTo>
                  <a:lnTo>
                    <a:pt x="13211935" y="5408956"/>
                  </a:lnTo>
                  <a:lnTo>
                    <a:pt x="13233735" y="5403641"/>
                  </a:lnTo>
                  <a:lnTo>
                    <a:pt x="13249564" y="5324956"/>
                  </a:lnTo>
                  <a:lnTo>
                    <a:pt x="13261944" y="5243556"/>
                  </a:lnTo>
                  <a:lnTo>
                    <a:pt x="13274316" y="5162161"/>
                  </a:lnTo>
                  <a:lnTo>
                    <a:pt x="13283872" y="5077529"/>
                  </a:lnTo>
                  <a:lnTo>
                    <a:pt x="13277770" y="5042886"/>
                  </a:lnTo>
                  <a:lnTo>
                    <a:pt x="13242897" y="5027289"/>
                  </a:lnTo>
                  <a:lnTo>
                    <a:pt x="13204428" y="5017364"/>
                  </a:lnTo>
                  <a:lnTo>
                    <a:pt x="13187236" y="4992792"/>
                  </a:lnTo>
                  <a:lnTo>
                    <a:pt x="13185239" y="4971134"/>
                  </a:lnTo>
                  <a:lnTo>
                    <a:pt x="13184408" y="4949753"/>
                  </a:lnTo>
                  <a:lnTo>
                    <a:pt x="13183583" y="4928379"/>
                  </a:lnTo>
                  <a:lnTo>
                    <a:pt x="13184141" y="4906675"/>
                  </a:lnTo>
                  <a:lnTo>
                    <a:pt x="13183047" y="4884464"/>
                  </a:lnTo>
                  <a:lnTo>
                    <a:pt x="13181286" y="4848633"/>
                  </a:lnTo>
                  <a:lnTo>
                    <a:pt x="13180290" y="4812164"/>
                  </a:lnTo>
                  <a:lnTo>
                    <a:pt x="13178973" y="4775655"/>
                  </a:lnTo>
                  <a:lnTo>
                    <a:pt x="13177646" y="4739137"/>
                  </a:lnTo>
                  <a:lnTo>
                    <a:pt x="13175788" y="4702458"/>
                  </a:lnTo>
                  <a:lnTo>
                    <a:pt x="13172173" y="4666832"/>
                  </a:lnTo>
                  <a:lnTo>
                    <a:pt x="13168889" y="4634530"/>
                  </a:lnTo>
                  <a:lnTo>
                    <a:pt x="13161705" y="4604964"/>
                  </a:lnTo>
                  <a:lnTo>
                    <a:pt x="13155851" y="4574338"/>
                  </a:lnTo>
                  <a:lnTo>
                    <a:pt x="13149994" y="4543718"/>
                  </a:lnTo>
                  <a:lnTo>
                    <a:pt x="13145716" y="4512689"/>
                  </a:lnTo>
                  <a:lnTo>
                    <a:pt x="13149052" y="4479127"/>
                  </a:lnTo>
                  <a:lnTo>
                    <a:pt x="13119125" y="4472327"/>
                  </a:lnTo>
                  <a:lnTo>
                    <a:pt x="13093279" y="4462806"/>
                  </a:lnTo>
                  <a:lnTo>
                    <a:pt x="13093409" y="4433860"/>
                  </a:lnTo>
                  <a:lnTo>
                    <a:pt x="13084994" y="4401980"/>
                  </a:lnTo>
                  <a:lnTo>
                    <a:pt x="13071516" y="4375752"/>
                  </a:lnTo>
                  <a:lnTo>
                    <a:pt x="13130005" y="4340384"/>
                  </a:lnTo>
                  <a:lnTo>
                    <a:pt x="13145043" y="4311867"/>
                  </a:lnTo>
                  <a:lnTo>
                    <a:pt x="13127289" y="4268295"/>
                  </a:lnTo>
                  <a:lnTo>
                    <a:pt x="13116043" y="4244236"/>
                  </a:lnTo>
                  <a:lnTo>
                    <a:pt x="13099715" y="4215503"/>
                  </a:lnTo>
                  <a:lnTo>
                    <a:pt x="13085121" y="4185325"/>
                  </a:lnTo>
                  <a:lnTo>
                    <a:pt x="13070526" y="4155147"/>
                  </a:lnTo>
                  <a:lnTo>
                    <a:pt x="13057020" y="4123384"/>
                  </a:lnTo>
                  <a:lnTo>
                    <a:pt x="13051111" y="4091472"/>
                  </a:lnTo>
                  <a:lnTo>
                    <a:pt x="13045201" y="4059559"/>
                  </a:lnTo>
                  <a:lnTo>
                    <a:pt x="13047185" y="4028240"/>
                  </a:lnTo>
                  <a:lnTo>
                    <a:pt x="13062000" y="3998978"/>
                  </a:lnTo>
                  <a:lnTo>
                    <a:pt x="13032070" y="4000338"/>
                  </a:lnTo>
                  <a:lnTo>
                    <a:pt x="13002143" y="4001696"/>
                  </a:lnTo>
                  <a:lnTo>
                    <a:pt x="12984622" y="3965450"/>
                  </a:lnTo>
                  <a:lnTo>
                    <a:pt x="12979022" y="3943206"/>
                  </a:lnTo>
                  <a:lnTo>
                    <a:pt x="12973429" y="3920961"/>
                  </a:lnTo>
                  <a:lnTo>
                    <a:pt x="12970204" y="3898795"/>
                  </a:lnTo>
                  <a:lnTo>
                    <a:pt x="12978343" y="3866777"/>
                  </a:lnTo>
                  <a:lnTo>
                    <a:pt x="13007591" y="3845271"/>
                  </a:lnTo>
                  <a:lnTo>
                    <a:pt x="13039939" y="3817381"/>
                  </a:lnTo>
                  <a:lnTo>
                    <a:pt x="13078076" y="3794358"/>
                  </a:lnTo>
                  <a:lnTo>
                    <a:pt x="13116400" y="3775900"/>
                  </a:lnTo>
                  <a:lnTo>
                    <a:pt x="13154729" y="3757441"/>
                  </a:lnTo>
                  <a:lnTo>
                    <a:pt x="13194041" y="3742879"/>
                  </a:lnTo>
                  <a:lnTo>
                    <a:pt x="13232020" y="3729656"/>
                  </a:lnTo>
                  <a:lnTo>
                    <a:pt x="13270003" y="3716426"/>
                  </a:lnTo>
                  <a:lnTo>
                    <a:pt x="13305436" y="3705109"/>
                  </a:lnTo>
                  <a:lnTo>
                    <a:pt x="13336755" y="3692928"/>
                  </a:lnTo>
                  <a:lnTo>
                    <a:pt x="13368074" y="3680748"/>
                  </a:lnTo>
                  <a:lnTo>
                    <a:pt x="13394572" y="3667446"/>
                  </a:lnTo>
                  <a:lnTo>
                    <a:pt x="13412927" y="3652120"/>
                  </a:lnTo>
                  <a:lnTo>
                    <a:pt x="13423941" y="3699392"/>
                  </a:lnTo>
                  <a:lnTo>
                    <a:pt x="13443645" y="3714257"/>
                  </a:lnTo>
                  <a:lnTo>
                    <a:pt x="13465612" y="3719466"/>
                  </a:lnTo>
                  <a:lnTo>
                    <a:pt x="13487890" y="3712754"/>
                  </a:lnTo>
                  <a:lnTo>
                    <a:pt x="13496879" y="3689381"/>
                  </a:lnTo>
                  <a:lnTo>
                    <a:pt x="13510859" y="3660284"/>
                  </a:lnTo>
                  <a:lnTo>
                    <a:pt x="13524843" y="3631180"/>
                  </a:lnTo>
                  <a:lnTo>
                    <a:pt x="13544014" y="3595865"/>
                  </a:lnTo>
                  <a:lnTo>
                    <a:pt x="13581590" y="3566426"/>
                  </a:lnTo>
                  <a:lnTo>
                    <a:pt x="13612152" y="3543073"/>
                  </a:lnTo>
                  <a:lnTo>
                    <a:pt x="13706426" y="3511478"/>
                  </a:lnTo>
                  <a:lnTo>
                    <a:pt x="13736650" y="3498419"/>
                  </a:lnTo>
                  <a:lnTo>
                    <a:pt x="13778303" y="3480428"/>
                  </a:lnTo>
                  <a:lnTo>
                    <a:pt x="13820288" y="3461375"/>
                  </a:lnTo>
                  <a:lnTo>
                    <a:pt x="13861796" y="3441294"/>
                  </a:lnTo>
                  <a:lnTo>
                    <a:pt x="13903297" y="3421206"/>
                  </a:lnTo>
                  <a:lnTo>
                    <a:pt x="13943875" y="3399053"/>
                  </a:lnTo>
                  <a:lnTo>
                    <a:pt x="13981485" y="3373281"/>
                  </a:lnTo>
                  <a:lnTo>
                    <a:pt x="14005834" y="3354834"/>
                  </a:lnTo>
                  <a:lnTo>
                    <a:pt x="14023653" y="3340635"/>
                  </a:lnTo>
                  <a:lnTo>
                    <a:pt x="14041475" y="3326438"/>
                  </a:lnTo>
                  <a:lnTo>
                    <a:pt x="14059523" y="3312745"/>
                  </a:lnTo>
                  <a:lnTo>
                    <a:pt x="14075048" y="3298027"/>
                  </a:lnTo>
                  <a:lnTo>
                    <a:pt x="14085475" y="3277865"/>
                  </a:lnTo>
                  <a:lnTo>
                    <a:pt x="14095751" y="3259025"/>
                  </a:lnTo>
                  <a:lnTo>
                    <a:pt x="14106017" y="3240189"/>
                  </a:lnTo>
                  <a:lnTo>
                    <a:pt x="14125671" y="3215497"/>
                  </a:lnTo>
                  <a:lnTo>
                    <a:pt x="14155077" y="3207802"/>
                  </a:lnTo>
                  <a:lnTo>
                    <a:pt x="14180598" y="3204155"/>
                  </a:lnTo>
                  <a:lnTo>
                    <a:pt x="14203202" y="3203264"/>
                  </a:lnTo>
                  <a:lnTo>
                    <a:pt x="14230403" y="3204623"/>
                  </a:lnTo>
                  <a:lnTo>
                    <a:pt x="14253527" y="3205981"/>
                  </a:lnTo>
                  <a:lnTo>
                    <a:pt x="14278381" y="3197408"/>
                  </a:lnTo>
                  <a:lnTo>
                    <a:pt x="14294092" y="3178349"/>
                  </a:lnTo>
                  <a:lnTo>
                    <a:pt x="14303859" y="3155650"/>
                  </a:lnTo>
                  <a:lnTo>
                    <a:pt x="14314866" y="3126619"/>
                  </a:lnTo>
                  <a:lnTo>
                    <a:pt x="14314739" y="3099883"/>
                  </a:lnTo>
                  <a:lnTo>
                    <a:pt x="14281138" y="3080381"/>
                  </a:lnTo>
                  <a:lnTo>
                    <a:pt x="14251053" y="3072283"/>
                  </a:lnTo>
                  <a:lnTo>
                    <a:pt x="14219523" y="3065878"/>
                  </a:lnTo>
                  <a:lnTo>
                    <a:pt x="14187999" y="3059469"/>
                  </a:lnTo>
                  <a:lnTo>
                    <a:pt x="14155359" y="3054926"/>
                  </a:lnTo>
                  <a:lnTo>
                    <a:pt x="14125671" y="3049557"/>
                  </a:lnTo>
                  <a:lnTo>
                    <a:pt x="14110668" y="3027853"/>
                  </a:lnTo>
                  <a:lnTo>
                    <a:pt x="14115554" y="2989049"/>
                  </a:lnTo>
                  <a:lnTo>
                    <a:pt x="14103908" y="2962503"/>
                  </a:lnTo>
                  <a:lnTo>
                    <a:pt x="14054603" y="2948041"/>
                  </a:lnTo>
                  <a:lnTo>
                    <a:pt x="14019988" y="2946960"/>
                  </a:lnTo>
                  <a:lnTo>
                    <a:pt x="13985568" y="2946182"/>
                  </a:lnTo>
                  <a:lnTo>
                    <a:pt x="13951155" y="2945404"/>
                  </a:lnTo>
                  <a:lnTo>
                    <a:pt x="13916769" y="2945304"/>
                  </a:lnTo>
                  <a:lnTo>
                    <a:pt x="13880834" y="2946182"/>
                  </a:lnTo>
                  <a:lnTo>
                    <a:pt x="13853018" y="2946855"/>
                  </a:lnTo>
                  <a:lnTo>
                    <a:pt x="13827997" y="2928184"/>
                  </a:lnTo>
                  <a:lnTo>
                    <a:pt x="13803307" y="2908096"/>
                  </a:lnTo>
                  <a:lnTo>
                    <a:pt x="13778613" y="2888009"/>
                  </a:lnTo>
                  <a:lnTo>
                    <a:pt x="13754339" y="2866779"/>
                  </a:lnTo>
                  <a:lnTo>
                    <a:pt x="13727134" y="2863204"/>
                  </a:lnTo>
                  <a:lnTo>
                    <a:pt x="13637351" y="2850978"/>
                  </a:lnTo>
                  <a:lnTo>
                    <a:pt x="13548941" y="2838737"/>
                  </a:lnTo>
                  <a:lnTo>
                    <a:pt x="13525817" y="2825132"/>
                  </a:lnTo>
                  <a:lnTo>
                    <a:pt x="13508980" y="2810827"/>
                  </a:lnTo>
                  <a:lnTo>
                    <a:pt x="13501291" y="2778065"/>
                  </a:lnTo>
                  <a:lnTo>
                    <a:pt x="13498178" y="2753459"/>
                  </a:lnTo>
                  <a:lnTo>
                    <a:pt x="13487732" y="2733998"/>
                  </a:lnTo>
                  <a:lnTo>
                    <a:pt x="13477286" y="2714535"/>
                  </a:lnTo>
                  <a:lnTo>
                    <a:pt x="13460614" y="2699783"/>
                  </a:lnTo>
                  <a:lnTo>
                    <a:pt x="13430601" y="2693194"/>
                  </a:lnTo>
                  <a:lnTo>
                    <a:pt x="13403139" y="2658294"/>
                  </a:lnTo>
                  <a:lnTo>
                    <a:pt x="13393874" y="2633345"/>
                  </a:lnTo>
                  <a:lnTo>
                    <a:pt x="13384616" y="2608390"/>
                  </a:lnTo>
                  <a:lnTo>
                    <a:pt x="13378027" y="2582506"/>
                  </a:lnTo>
                  <a:lnTo>
                    <a:pt x="13391158" y="2555809"/>
                  </a:lnTo>
                  <a:lnTo>
                    <a:pt x="13412921" y="2557168"/>
                  </a:lnTo>
                  <a:lnTo>
                    <a:pt x="13444330" y="2519946"/>
                  </a:lnTo>
                  <a:lnTo>
                    <a:pt x="13445790" y="2489393"/>
                  </a:lnTo>
                  <a:lnTo>
                    <a:pt x="13453722" y="2468757"/>
                  </a:lnTo>
                  <a:lnTo>
                    <a:pt x="13474127" y="2446994"/>
                  </a:lnTo>
                  <a:lnTo>
                    <a:pt x="13499716" y="2441651"/>
                  </a:lnTo>
                  <a:lnTo>
                    <a:pt x="13523094" y="2445636"/>
                  </a:lnTo>
                  <a:lnTo>
                    <a:pt x="13534107" y="2467056"/>
                  </a:lnTo>
                  <a:lnTo>
                    <a:pt x="13543499" y="2493244"/>
                  </a:lnTo>
                  <a:lnTo>
                    <a:pt x="13566747" y="2500795"/>
                  </a:lnTo>
                  <a:lnTo>
                    <a:pt x="13590982" y="2512890"/>
                  </a:lnTo>
                  <a:lnTo>
                    <a:pt x="13611514" y="2528606"/>
                  </a:lnTo>
                  <a:lnTo>
                    <a:pt x="13638374" y="2507548"/>
                  </a:lnTo>
                  <a:lnTo>
                    <a:pt x="13640839" y="2469924"/>
                  </a:lnTo>
                  <a:lnTo>
                    <a:pt x="13657756" y="2455158"/>
                  </a:lnTo>
                  <a:lnTo>
                    <a:pt x="13693124" y="2456523"/>
                  </a:lnTo>
                  <a:lnTo>
                    <a:pt x="13711697" y="2434734"/>
                  </a:lnTo>
                  <a:lnTo>
                    <a:pt x="13729001" y="2381968"/>
                  </a:lnTo>
                  <a:lnTo>
                    <a:pt x="13752057" y="2373961"/>
                  </a:lnTo>
                  <a:lnTo>
                    <a:pt x="13788334" y="2378987"/>
                  </a:lnTo>
                  <a:lnTo>
                    <a:pt x="13824508" y="2385232"/>
                  </a:lnTo>
                  <a:lnTo>
                    <a:pt x="13849583" y="2400440"/>
                  </a:lnTo>
                  <a:lnTo>
                    <a:pt x="13853914" y="2424769"/>
                  </a:lnTo>
                  <a:lnTo>
                    <a:pt x="13857706" y="2448359"/>
                  </a:lnTo>
                  <a:lnTo>
                    <a:pt x="13861498" y="2471949"/>
                  </a:lnTo>
                  <a:lnTo>
                    <a:pt x="13864084" y="2495084"/>
                  </a:lnTo>
                  <a:lnTo>
                    <a:pt x="13909213" y="2512988"/>
                  </a:lnTo>
                  <a:lnTo>
                    <a:pt x="13932257" y="2513430"/>
                  </a:lnTo>
                  <a:lnTo>
                    <a:pt x="13965421" y="2502984"/>
                  </a:lnTo>
                  <a:lnTo>
                    <a:pt x="13984204" y="2476921"/>
                  </a:lnTo>
                  <a:lnTo>
                    <a:pt x="14001112" y="2444336"/>
                  </a:lnTo>
                  <a:lnTo>
                    <a:pt x="14021703" y="2408849"/>
                  </a:lnTo>
                  <a:lnTo>
                    <a:pt x="14035044" y="2391082"/>
                  </a:lnTo>
                  <a:lnTo>
                    <a:pt x="14056293" y="2376263"/>
                  </a:lnTo>
                  <a:lnTo>
                    <a:pt x="14081829" y="2376666"/>
                  </a:lnTo>
                  <a:lnTo>
                    <a:pt x="14117808" y="2384046"/>
                  </a:lnTo>
                  <a:lnTo>
                    <a:pt x="14144703" y="2391220"/>
                  </a:lnTo>
                  <a:lnTo>
                    <a:pt x="14149921" y="2432543"/>
                  </a:lnTo>
                  <a:lnTo>
                    <a:pt x="14143351" y="2460593"/>
                  </a:lnTo>
                  <a:lnTo>
                    <a:pt x="14136768" y="2488647"/>
                  </a:lnTo>
                  <a:lnTo>
                    <a:pt x="14128769" y="2517084"/>
                  </a:lnTo>
                  <a:lnTo>
                    <a:pt x="14137903" y="2536763"/>
                  </a:lnTo>
                  <a:lnTo>
                    <a:pt x="14173272" y="2551727"/>
                  </a:lnTo>
                  <a:lnTo>
                    <a:pt x="14193382" y="2534212"/>
                  </a:lnTo>
                  <a:lnTo>
                    <a:pt x="14202265" y="2462419"/>
                  </a:lnTo>
                  <a:lnTo>
                    <a:pt x="14216798" y="2433388"/>
                  </a:lnTo>
                  <a:lnTo>
                    <a:pt x="14249444" y="2433388"/>
                  </a:lnTo>
                  <a:lnTo>
                    <a:pt x="14256172" y="2460632"/>
                  </a:lnTo>
                  <a:lnTo>
                    <a:pt x="14250876" y="2498639"/>
                  </a:lnTo>
                  <a:lnTo>
                    <a:pt x="14254879" y="2531322"/>
                  </a:lnTo>
                  <a:lnTo>
                    <a:pt x="14278298" y="2565689"/>
                  </a:lnTo>
                  <a:lnTo>
                    <a:pt x="14277445" y="2599691"/>
                  </a:lnTo>
                  <a:lnTo>
                    <a:pt x="14269836" y="2623815"/>
                  </a:lnTo>
                  <a:lnTo>
                    <a:pt x="14308904" y="2644920"/>
                  </a:lnTo>
                  <a:lnTo>
                    <a:pt x="14336911" y="2640574"/>
                  </a:lnTo>
                  <a:lnTo>
                    <a:pt x="14357012" y="2595682"/>
                  </a:lnTo>
                  <a:lnTo>
                    <a:pt x="14373210" y="2549003"/>
                  </a:lnTo>
                  <a:lnTo>
                    <a:pt x="14389413" y="2502325"/>
                  </a:lnTo>
                  <a:lnTo>
                    <a:pt x="14401800" y="2453291"/>
                  </a:lnTo>
                  <a:lnTo>
                    <a:pt x="14422177" y="2437470"/>
                  </a:lnTo>
                  <a:lnTo>
                    <a:pt x="14453462" y="2442918"/>
                  </a:lnTo>
                  <a:lnTo>
                    <a:pt x="14457967" y="2408849"/>
                  </a:lnTo>
                  <a:lnTo>
                    <a:pt x="14462566" y="2370888"/>
                  </a:lnTo>
                  <a:lnTo>
                    <a:pt x="14480667" y="2347701"/>
                  </a:lnTo>
                  <a:lnTo>
                    <a:pt x="14526450" y="2347504"/>
                  </a:lnTo>
                  <a:lnTo>
                    <a:pt x="14541624" y="2324705"/>
                  </a:lnTo>
                  <a:lnTo>
                    <a:pt x="14544598" y="2294657"/>
                  </a:lnTo>
                  <a:lnTo>
                    <a:pt x="14549484" y="2239538"/>
                  </a:lnTo>
                  <a:lnTo>
                    <a:pt x="14554907" y="2207407"/>
                  </a:lnTo>
                  <a:lnTo>
                    <a:pt x="14569086" y="2179036"/>
                  </a:lnTo>
                  <a:lnTo>
                    <a:pt x="14583259" y="2150671"/>
                  </a:lnTo>
                  <a:lnTo>
                    <a:pt x="14606275" y="2126818"/>
                  </a:lnTo>
                  <a:lnTo>
                    <a:pt x="14643891" y="2085185"/>
                  </a:lnTo>
                  <a:lnTo>
                    <a:pt x="14645249" y="2048457"/>
                  </a:lnTo>
                  <a:lnTo>
                    <a:pt x="14566572" y="1999872"/>
                  </a:lnTo>
                  <a:lnTo>
                    <a:pt x="14548681" y="1984532"/>
                  </a:lnTo>
                  <a:lnTo>
                    <a:pt x="14531634" y="1969885"/>
                  </a:lnTo>
                  <a:lnTo>
                    <a:pt x="14512206" y="1959901"/>
                  </a:lnTo>
                  <a:lnTo>
                    <a:pt x="14494272" y="1946447"/>
                  </a:lnTo>
                  <a:lnTo>
                    <a:pt x="14423752" y="1893524"/>
                  </a:lnTo>
                  <a:lnTo>
                    <a:pt x="14385181" y="1864829"/>
                  </a:lnTo>
                  <a:lnTo>
                    <a:pt x="14343289" y="1843065"/>
                  </a:lnTo>
                  <a:lnTo>
                    <a:pt x="14301391" y="1821316"/>
                  </a:lnTo>
                  <a:lnTo>
                    <a:pt x="14255108" y="1805343"/>
                  </a:lnTo>
                  <a:lnTo>
                    <a:pt x="14167824" y="1776418"/>
                  </a:lnTo>
                  <a:lnTo>
                    <a:pt x="14142046" y="1768286"/>
                  </a:lnTo>
                  <a:lnTo>
                    <a:pt x="14103828" y="1760068"/>
                  </a:lnTo>
                  <a:lnTo>
                    <a:pt x="14076691" y="1764176"/>
                  </a:lnTo>
                  <a:lnTo>
                    <a:pt x="14047019" y="1791810"/>
                  </a:lnTo>
                  <a:lnTo>
                    <a:pt x="14017951" y="1855379"/>
                  </a:lnTo>
                  <a:lnTo>
                    <a:pt x="14004603" y="1893398"/>
                  </a:lnTo>
                  <a:lnTo>
                    <a:pt x="13976586" y="1872657"/>
                  </a:lnTo>
                  <a:lnTo>
                    <a:pt x="13931575" y="1843322"/>
                  </a:lnTo>
                  <a:lnTo>
                    <a:pt x="13895785" y="1838989"/>
                  </a:lnTo>
                  <a:lnTo>
                    <a:pt x="13865278" y="1862896"/>
                  </a:lnTo>
                  <a:lnTo>
                    <a:pt x="13856630" y="1886473"/>
                  </a:lnTo>
                  <a:lnTo>
                    <a:pt x="13850894" y="1911079"/>
                  </a:lnTo>
                  <a:lnTo>
                    <a:pt x="13845155" y="1935684"/>
                  </a:lnTo>
                  <a:lnTo>
                    <a:pt x="13842445" y="1962274"/>
                  </a:lnTo>
                  <a:lnTo>
                    <a:pt x="13838653" y="1985892"/>
                  </a:lnTo>
                  <a:lnTo>
                    <a:pt x="13834867" y="2009501"/>
                  </a:lnTo>
                  <a:lnTo>
                    <a:pt x="13830675" y="2030255"/>
                  </a:lnTo>
                  <a:lnTo>
                    <a:pt x="13816713" y="2061225"/>
                  </a:lnTo>
                  <a:lnTo>
                    <a:pt x="13791044" y="2071579"/>
                  </a:lnTo>
                  <a:lnTo>
                    <a:pt x="13770654" y="2062056"/>
                  </a:lnTo>
                  <a:lnTo>
                    <a:pt x="13772750" y="2026153"/>
                  </a:lnTo>
                  <a:lnTo>
                    <a:pt x="13764252" y="1987033"/>
                  </a:lnTo>
                  <a:lnTo>
                    <a:pt x="13748885" y="1950523"/>
                  </a:lnTo>
                  <a:lnTo>
                    <a:pt x="13733519" y="1914014"/>
                  </a:lnTo>
                  <a:lnTo>
                    <a:pt x="13710819" y="1880557"/>
                  </a:lnTo>
                  <a:lnTo>
                    <a:pt x="13683593" y="1856670"/>
                  </a:lnTo>
                  <a:lnTo>
                    <a:pt x="13643133" y="1832355"/>
                  </a:lnTo>
                  <a:lnTo>
                    <a:pt x="13620053" y="1807512"/>
                  </a:lnTo>
                  <a:lnTo>
                    <a:pt x="13591102" y="1795463"/>
                  </a:lnTo>
                  <a:lnTo>
                    <a:pt x="13556075" y="1780901"/>
                  </a:lnTo>
                  <a:lnTo>
                    <a:pt x="13528278" y="1778349"/>
                  </a:lnTo>
                  <a:lnTo>
                    <a:pt x="13497248" y="1753295"/>
                  </a:lnTo>
                  <a:lnTo>
                    <a:pt x="13475823" y="1768720"/>
                  </a:lnTo>
                  <a:lnTo>
                    <a:pt x="13460865" y="1799308"/>
                  </a:lnTo>
                  <a:lnTo>
                    <a:pt x="13450913" y="1830634"/>
                  </a:lnTo>
                  <a:lnTo>
                    <a:pt x="13437400" y="1849864"/>
                  </a:lnTo>
                  <a:lnTo>
                    <a:pt x="13406351" y="1882134"/>
                  </a:lnTo>
                  <a:lnTo>
                    <a:pt x="13385710" y="1890674"/>
                  </a:lnTo>
                  <a:lnTo>
                    <a:pt x="13365067" y="1899215"/>
                  </a:lnTo>
                  <a:lnTo>
                    <a:pt x="13343226" y="1898793"/>
                  </a:lnTo>
                  <a:lnTo>
                    <a:pt x="13325866" y="1882517"/>
                  </a:lnTo>
                  <a:lnTo>
                    <a:pt x="13331816" y="1832546"/>
                  </a:lnTo>
                  <a:lnTo>
                    <a:pt x="13329949" y="1802262"/>
                  </a:lnTo>
                  <a:lnTo>
                    <a:pt x="13297613" y="1783777"/>
                  </a:lnTo>
                  <a:lnTo>
                    <a:pt x="13275534" y="1779141"/>
                  </a:lnTo>
                  <a:lnTo>
                    <a:pt x="13253455" y="1774498"/>
                  </a:lnTo>
                  <a:lnTo>
                    <a:pt x="13228749" y="1772901"/>
                  </a:lnTo>
                  <a:lnTo>
                    <a:pt x="13204804" y="1770976"/>
                  </a:lnTo>
                  <a:lnTo>
                    <a:pt x="13156918" y="1767119"/>
                  </a:lnTo>
                  <a:lnTo>
                    <a:pt x="13110974" y="1765086"/>
                  </a:lnTo>
                  <a:lnTo>
                    <a:pt x="13097347" y="1747855"/>
                  </a:lnTo>
                  <a:lnTo>
                    <a:pt x="13094209" y="1687260"/>
                  </a:lnTo>
                  <a:lnTo>
                    <a:pt x="13082687" y="1661831"/>
                  </a:lnTo>
                  <a:lnTo>
                    <a:pt x="13047021" y="1652638"/>
                  </a:lnTo>
                  <a:lnTo>
                    <a:pt x="13009978" y="1645680"/>
                  </a:lnTo>
                  <a:lnTo>
                    <a:pt x="12952239" y="1628092"/>
                  </a:lnTo>
                  <a:lnTo>
                    <a:pt x="12911345" y="1611301"/>
                  </a:lnTo>
                  <a:lnTo>
                    <a:pt x="12871559" y="1596870"/>
                  </a:lnTo>
                  <a:lnTo>
                    <a:pt x="12848990" y="1595579"/>
                  </a:lnTo>
                  <a:lnTo>
                    <a:pt x="12834277" y="1611762"/>
                  </a:lnTo>
                  <a:lnTo>
                    <a:pt x="12825307" y="1639038"/>
                  </a:lnTo>
                  <a:lnTo>
                    <a:pt x="12817804" y="1667139"/>
                  </a:lnTo>
                  <a:lnTo>
                    <a:pt x="12815810" y="1699982"/>
                  </a:lnTo>
                  <a:lnTo>
                    <a:pt x="12789892" y="1711925"/>
                  </a:lnTo>
                  <a:lnTo>
                    <a:pt x="12766824" y="1698887"/>
                  </a:lnTo>
                  <a:lnTo>
                    <a:pt x="12752044" y="1678087"/>
                  </a:lnTo>
                  <a:lnTo>
                    <a:pt x="12740788" y="1651675"/>
                  </a:lnTo>
                  <a:lnTo>
                    <a:pt x="12728740" y="1625433"/>
                  </a:lnTo>
                  <a:lnTo>
                    <a:pt x="12714731" y="1603050"/>
                  </a:lnTo>
                  <a:lnTo>
                    <a:pt x="12663447" y="1599588"/>
                  </a:lnTo>
                  <a:lnTo>
                    <a:pt x="12630634" y="1547402"/>
                  </a:lnTo>
                  <a:lnTo>
                    <a:pt x="12604682" y="1511685"/>
                  </a:lnTo>
                  <a:lnTo>
                    <a:pt x="12575037" y="1479890"/>
                  </a:lnTo>
                  <a:lnTo>
                    <a:pt x="12545386" y="1448097"/>
                  </a:lnTo>
                  <a:lnTo>
                    <a:pt x="12511739" y="1420476"/>
                  </a:lnTo>
                  <a:lnTo>
                    <a:pt x="12474380" y="1390120"/>
                  </a:lnTo>
                  <a:lnTo>
                    <a:pt x="12502053" y="1375783"/>
                  </a:lnTo>
                  <a:lnTo>
                    <a:pt x="12524073" y="1365516"/>
                  </a:lnTo>
                  <a:lnTo>
                    <a:pt x="12552549" y="1335832"/>
                  </a:lnTo>
                  <a:lnTo>
                    <a:pt x="12558880" y="1315591"/>
                  </a:lnTo>
                  <a:lnTo>
                    <a:pt x="12555990" y="1282663"/>
                  </a:lnTo>
                  <a:lnTo>
                    <a:pt x="12545452" y="1246213"/>
                  </a:lnTo>
                  <a:lnTo>
                    <a:pt x="12557628" y="1217492"/>
                  </a:lnTo>
                  <a:lnTo>
                    <a:pt x="12596800" y="1217374"/>
                  </a:lnTo>
                  <a:lnTo>
                    <a:pt x="12636798" y="1212909"/>
                  </a:lnTo>
                  <a:lnTo>
                    <a:pt x="12652567" y="1198327"/>
                  </a:lnTo>
                  <a:lnTo>
                    <a:pt x="12648999" y="1138697"/>
                  </a:lnTo>
                  <a:lnTo>
                    <a:pt x="12627059" y="1127801"/>
                  </a:lnTo>
                  <a:lnTo>
                    <a:pt x="12599011" y="1128263"/>
                  </a:lnTo>
                  <a:lnTo>
                    <a:pt x="12572315" y="1124881"/>
                  </a:lnTo>
                  <a:lnTo>
                    <a:pt x="12545610" y="1121498"/>
                  </a:lnTo>
                  <a:lnTo>
                    <a:pt x="12520095" y="1114487"/>
                  </a:lnTo>
                  <a:lnTo>
                    <a:pt x="12499969" y="1078341"/>
                  </a:lnTo>
                  <a:lnTo>
                    <a:pt x="12494106" y="1014659"/>
                  </a:lnTo>
                  <a:lnTo>
                    <a:pt x="12494785" y="990219"/>
                  </a:lnTo>
                  <a:lnTo>
                    <a:pt x="12436255" y="986202"/>
                  </a:lnTo>
                  <a:lnTo>
                    <a:pt x="12381207" y="986922"/>
                  </a:lnTo>
                  <a:lnTo>
                    <a:pt x="12327477" y="984778"/>
                  </a:lnTo>
                  <a:lnTo>
                    <a:pt x="12299786" y="983671"/>
                  </a:lnTo>
                  <a:lnTo>
                    <a:pt x="12261463" y="976680"/>
                  </a:lnTo>
                  <a:lnTo>
                    <a:pt x="12224104" y="971180"/>
                  </a:lnTo>
                  <a:lnTo>
                    <a:pt x="12186748" y="965673"/>
                  </a:lnTo>
                  <a:lnTo>
                    <a:pt x="12150273" y="961847"/>
                  </a:lnTo>
                  <a:lnTo>
                    <a:pt x="12126169" y="967104"/>
                  </a:lnTo>
                  <a:lnTo>
                    <a:pt x="12100198" y="950228"/>
                  </a:lnTo>
                  <a:lnTo>
                    <a:pt x="12070401" y="899091"/>
                  </a:lnTo>
                  <a:lnTo>
                    <a:pt x="12060027" y="878857"/>
                  </a:lnTo>
                  <a:lnTo>
                    <a:pt x="12056288" y="854034"/>
                  </a:lnTo>
                  <a:lnTo>
                    <a:pt x="12045916" y="833801"/>
                  </a:lnTo>
                  <a:lnTo>
                    <a:pt x="12022324" y="787980"/>
                  </a:lnTo>
                  <a:lnTo>
                    <a:pt x="11999541" y="753443"/>
                  </a:lnTo>
                  <a:lnTo>
                    <a:pt x="11972466" y="723626"/>
                  </a:lnTo>
                  <a:lnTo>
                    <a:pt x="11945395" y="693811"/>
                  </a:lnTo>
                  <a:lnTo>
                    <a:pt x="11914597" y="668250"/>
                  </a:lnTo>
                  <a:lnTo>
                    <a:pt x="11873167" y="640656"/>
                  </a:lnTo>
                  <a:lnTo>
                    <a:pt x="11839975" y="616254"/>
                  </a:lnTo>
                  <a:lnTo>
                    <a:pt x="11787225" y="567143"/>
                  </a:lnTo>
                  <a:lnTo>
                    <a:pt x="11745953" y="524336"/>
                  </a:lnTo>
                  <a:lnTo>
                    <a:pt x="11701785" y="486949"/>
                  </a:lnTo>
                  <a:lnTo>
                    <a:pt x="11652464" y="445203"/>
                  </a:lnTo>
                  <a:lnTo>
                    <a:pt x="11591683" y="416166"/>
                  </a:lnTo>
                  <a:lnTo>
                    <a:pt x="11529045" y="390380"/>
                  </a:lnTo>
                  <a:lnTo>
                    <a:pt x="11466401" y="364587"/>
                  </a:lnTo>
                  <a:lnTo>
                    <a:pt x="11401376" y="341696"/>
                  </a:lnTo>
                  <a:lnTo>
                    <a:pt x="11344052" y="312850"/>
                  </a:lnTo>
                  <a:lnTo>
                    <a:pt x="11285950" y="283622"/>
                  </a:lnTo>
                  <a:lnTo>
                    <a:pt x="11234980" y="243689"/>
                  </a:lnTo>
                  <a:lnTo>
                    <a:pt x="11174028" y="220356"/>
                  </a:lnTo>
                  <a:lnTo>
                    <a:pt x="11139854" y="207259"/>
                  </a:lnTo>
                  <a:lnTo>
                    <a:pt x="11100963" y="200565"/>
                  </a:lnTo>
                  <a:lnTo>
                    <a:pt x="11067939" y="187705"/>
                  </a:lnTo>
                  <a:lnTo>
                    <a:pt x="11036480" y="175446"/>
                  </a:lnTo>
                  <a:lnTo>
                    <a:pt x="11001493" y="164438"/>
                  </a:lnTo>
                  <a:lnTo>
                    <a:pt x="10971362" y="149619"/>
                  </a:lnTo>
                  <a:lnTo>
                    <a:pt x="10950020" y="130580"/>
                  </a:lnTo>
                  <a:lnTo>
                    <a:pt x="10917585" y="107992"/>
                  </a:lnTo>
                  <a:lnTo>
                    <a:pt x="10873864" y="79099"/>
                  </a:lnTo>
                  <a:lnTo>
                    <a:pt x="10828542" y="53050"/>
                  </a:lnTo>
                  <a:lnTo>
                    <a:pt x="10783215" y="27000"/>
                  </a:lnTo>
                  <a:lnTo>
                    <a:pt x="10735962" y="4347"/>
                  </a:lnTo>
                  <a:lnTo>
                    <a:pt x="10703403" y="0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50" name="Poltava¬0" descr="Poltava¬0">
              <a:extLst>
                <a:ext uri="{FF2B5EF4-FFF2-40B4-BE49-F238E27FC236}">
                  <a16:creationId xmlns:a16="http://schemas.microsoft.com/office/drawing/2014/main" id="{8FB24A3F-5672-4644-9B4E-7E7D26E2D1AD}"/>
                </a:ext>
              </a:extLst>
            </p:cNvPr>
            <p:cNvSpPr/>
            <p:nvPr/>
          </p:nvSpPr>
          <p:spPr>
            <a:xfrm>
              <a:off x="4284158" y="2012131"/>
              <a:ext cx="1170461" cy="821543"/>
            </a:xfrm>
            <a:custGeom>
              <a:avLst/>
              <a:gdLst/>
              <a:ahLst/>
              <a:cxnLst/>
              <a:rect l="0" t="0" r="0" b="0"/>
              <a:pathLst>
                <a:path w="11943911" h="9516532">
                  <a:moveTo>
                    <a:pt x="10216369" y="7272543"/>
                  </a:moveTo>
                  <a:lnTo>
                    <a:pt x="10227317" y="7249856"/>
                  </a:lnTo>
                  <a:lnTo>
                    <a:pt x="10231233" y="7214349"/>
                  </a:lnTo>
                  <a:lnTo>
                    <a:pt x="10227751" y="7153558"/>
                  </a:lnTo>
                  <a:lnTo>
                    <a:pt x="10219107" y="7111923"/>
                  </a:lnTo>
                  <a:lnTo>
                    <a:pt x="10205250" y="7066841"/>
                  </a:lnTo>
                  <a:lnTo>
                    <a:pt x="10189381" y="7033629"/>
                  </a:lnTo>
                  <a:lnTo>
                    <a:pt x="10177010" y="7002297"/>
                  </a:lnTo>
                  <a:lnTo>
                    <a:pt x="10165922" y="6978324"/>
                  </a:lnTo>
                  <a:lnTo>
                    <a:pt x="10144702" y="6945890"/>
                  </a:lnTo>
                  <a:lnTo>
                    <a:pt x="10119587" y="6913543"/>
                  </a:lnTo>
                  <a:lnTo>
                    <a:pt x="10106279" y="6885323"/>
                  </a:lnTo>
                  <a:lnTo>
                    <a:pt x="10094745" y="6851927"/>
                  </a:lnTo>
                  <a:lnTo>
                    <a:pt x="10096057" y="6815338"/>
                  </a:lnTo>
                  <a:lnTo>
                    <a:pt x="10107638" y="6776506"/>
                  </a:lnTo>
                  <a:lnTo>
                    <a:pt x="10122133" y="6737334"/>
                  </a:lnTo>
                  <a:lnTo>
                    <a:pt x="10147703" y="6696260"/>
                  </a:lnTo>
                  <a:lnTo>
                    <a:pt x="10178368" y="6656810"/>
                  </a:lnTo>
                  <a:lnTo>
                    <a:pt x="10239701" y="6577908"/>
                  </a:lnTo>
                  <a:lnTo>
                    <a:pt x="10320251" y="6504599"/>
                  </a:lnTo>
                  <a:lnTo>
                    <a:pt x="10364719" y="6463657"/>
                  </a:lnTo>
                  <a:lnTo>
                    <a:pt x="10385171" y="6457222"/>
                  </a:lnTo>
                  <a:lnTo>
                    <a:pt x="10427333" y="6456859"/>
                  </a:lnTo>
                  <a:lnTo>
                    <a:pt x="10449049" y="6477263"/>
                  </a:lnTo>
                  <a:lnTo>
                    <a:pt x="10464019" y="6506755"/>
                  </a:lnTo>
                  <a:lnTo>
                    <a:pt x="10481695" y="6524872"/>
                  </a:lnTo>
                  <a:lnTo>
                    <a:pt x="10502785" y="6546477"/>
                  </a:lnTo>
                  <a:lnTo>
                    <a:pt x="10529044" y="6566485"/>
                  </a:lnTo>
                  <a:lnTo>
                    <a:pt x="10557864" y="6576556"/>
                  </a:lnTo>
                  <a:lnTo>
                    <a:pt x="10592507" y="6588637"/>
                  </a:lnTo>
                  <a:lnTo>
                    <a:pt x="10663049" y="6596908"/>
                  </a:lnTo>
                  <a:lnTo>
                    <a:pt x="10733330" y="6602401"/>
                  </a:lnTo>
                  <a:lnTo>
                    <a:pt x="10803617" y="6607895"/>
                  </a:lnTo>
                  <a:lnTo>
                    <a:pt x="10872797" y="6610903"/>
                  </a:lnTo>
                  <a:lnTo>
                    <a:pt x="10907434" y="6610560"/>
                  </a:lnTo>
                  <a:lnTo>
                    <a:pt x="10965074" y="6610031"/>
                  </a:lnTo>
                  <a:lnTo>
                    <a:pt x="10999295" y="6592660"/>
                  </a:lnTo>
                  <a:lnTo>
                    <a:pt x="11048895" y="6575198"/>
                  </a:lnTo>
                  <a:lnTo>
                    <a:pt x="11108361" y="6554266"/>
                  </a:lnTo>
                  <a:lnTo>
                    <a:pt x="11167136" y="6522629"/>
                  </a:lnTo>
                  <a:lnTo>
                    <a:pt x="11218925" y="6482704"/>
                  </a:lnTo>
                  <a:lnTo>
                    <a:pt x="11270714" y="6442778"/>
                  </a:lnTo>
                  <a:lnTo>
                    <a:pt x="11315613" y="6395434"/>
                  </a:lnTo>
                  <a:lnTo>
                    <a:pt x="11350864" y="6342601"/>
                  </a:lnTo>
                  <a:lnTo>
                    <a:pt x="11375092" y="6306284"/>
                  </a:lnTo>
                  <a:lnTo>
                    <a:pt x="11390862" y="6263990"/>
                  </a:lnTo>
                  <a:lnTo>
                    <a:pt x="11417511" y="6228345"/>
                  </a:lnTo>
                  <a:lnTo>
                    <a:pt x="11454067" y="6179510"/>
                  </a:lnTo>
                  <a:lnTo>
                    <a:pt x="11492837" y="6132264"/>
                  </a:lnTo>
                  <a:lnTo>
                    <a:pt x="11530410" y="6084167"/>
                  </a:lnTo>
                  <a:lnTo>
                    <a:pt x="11541721" y="6056132"/>
                  </a:lnTo>
                  <a:lnTo>
                    <a:pt x="11540288" y="6034000"/>
                  </a:lnTo>
                  <a:lnTo>
                    <a:pt x="11514088" y="6010713"/>
                  </a:lnTo>
                  <a:lnTo>
                    <a:pt x="11483501" y="5990302"/>
                  </a:lnTo>
                  <a:lnTo>
                    <a:pt x="11475988" y="5968545"/>
                  </a:lnTo>
                  <a:lnTo>
                    <a:pt x="11497243" y="5949822"/>
                  </a:lnTo>
                  <a:lnTo>
                    <a:pt x="11509812" y="5928633"/>
                  </a:lnTo>
                  <a:lnTo>
                    <a:pt x="11514073" y="5900538"/>
                  </a:lnTo>
                  <a:lnTo>
                    <a:pt x="11490952" y="5875840"/>
                  </a:lnTo>
                  <a:lnTo>
                    <a:pt x="11435739" y="5867557"/>
                  </a:lnTo>
                  <a:lnTo>
                    <a:pt x="11407974" y="5850213"/>
                  </a:lnTo>
                  <a:lnTo>
                    <a:pt x="11413415" y="5806687"/>
                  </a:lnTo>
                  <a:lnTo>
                    <a:pt x="11402501" y="5770256"/>
                  </a:lnTo>
                  <a:lnTo>
                    <a:pt x="11369046" y="5751955"/>
                  </a:lnTo>
                  <a:lnTo>
                    <a:pt x="11353574" y="5720993"/>
                  </a:lnTo>
                  <a:lnTo>
                    <a:pt x="11383665" y="5609967"/>
                  </a:lnTo>
                  <a:lnTo>
                    <a:pt x="11405720" y="5584057"/>
                  </a:lnTo>
                  <a:lnTo>
                    <a:pt x="11449801" y="5583844"/>
                  </a:lnTo>
                  <a:lnTo>
                    <a:pt x="11485426" y="5577527"/>
                  </a:lnTo>
                  <a:lnTo>
                    <a:pt x="11514073" y="5559128"/>
                  </a:lnTo>
                  <a:lnTo>
                    <a:pt x="11557034" y="5560136"/>
                  </a:lnTo>
                  <a:lnTo>
                    <a:pt x="11597460" y="5573530"/>
                  </a:lnTo>
                  <a:lnTo>
                    <a:pt x="11637854" y="5587691"/>
                  </a:lnTo>
                  <a:lnTo>
                    <a:pt x="11678249" y="5601856"/>
                  </a:lnTo>
                  <a:lnTo>
                    <a:pt x="11718488" y="5617790"/>
                  </a:lnTo>
                  <a:lnTo>
                    <a:pt x="11760268" y="5623059"/>
                  </a:lnTo>
                  <a:lnTo>
                    <a:pt x="11773266" y="5598736"/>
                  </a:lnTo>
                  <a:lnTo>
                    <a:pt x="11782645" y="5571209"/>
                  </a:lnTo>
                  <a:lnTo>
                    <a:pt x="11798359" y="5555052"/>
                  </a:lnTo>
                  <a:lnTo>
                    <a:pt x="11822841" y="5549775"/>
                  </a:lnTo>
                  <a:lnTo>
                    <a:pt x="11881923" y="5558731"/>
                  </a:lnTo>
                  <a:lnTo>
                    <a:pt x="11908957" y="5539025"/>
                  </a:lnTo>
                  <a:lnTo>
                    <a:pt x="11914774" y="5502299"/>
                  </a:lnTo>
                  <a:lnTo>
                    <a:pt x="11906939" y="5461852"/>
                  </a:lnTo>
                  <a:lnTo>
                    <a:pt x="11886236" y="5444606"/>
                  </a:lnTo>
                  <a:lnTo>
                    <a:pt x="11860926" y="5432630"/>
                  </a:lnTo>
                  <a:lnTo>
                    <a:pt x="11835616" y="5420654"/>
                  </a:lnTo>
                  <a:lnTo>
                    <a:pt x="11805819" y="5414027"/>
                  </a:lnTo>
                  <a:lnTo>
                    <a:pt x="11782038" y="5408143"/>
                  </a:lnTo>
                  <a:lnTo>
                    <a:pt x="11763329" y="5390020"/>
                  </a:lnTo>
                  <a:lnTo>
                    <a:pt x="11773961" y="5352510"/>
                  </a:lnTo>
                  <a:lnTo>
                    <a:pt x="11754833" y="5326531"/>
                  </a:lnTo>
                  <a:lnTo>
                    <a:pt x="11723437" y="5315842"/>
                  </a:lnTo>
                  <a:lnTo>
                    <a:pt x="11700427" y="5314292"/>
                  </a:lnTo>
                  <a:lnTo>
                    <a:pt x="11677408" y="5312741"/>
                  </a:lnTo>
                  <a:lnTo>
                    <a:pt x="11652331" y="5310242"/>
                  </a:lnTo>
                  <a:lnTo>
                    <a:pt x="11633771" y="5297969"/>
                  </a:lnTo>
                  <a:lnTo>
                    <a:pt x="11623173" y="5277387"/>
                  </a:lnTo>
                  <a:lnTo>
                    <a:pt x="11617173" y="5253263"/>
                  </a:lnTo>
                  <a:lnTo>
                    <a:pt x="11624261" y="5232680"/>
                  </a:lnTo>
                  <a:lnTo>
                    <a:pt x="11706349" y="5230471"/>
                  </a:lnTo>
                  <a:lnTo>
                    <a:pt x="11782044" y="5228604"/>
                  </a:lnTo>
                  <a:lnTo>
                    <a:pt x="11819886" y="5227668"/>
                  </a:lnTo>
                  <a:lnTo>
                    <a:pt x="11858393" y="5225438"/>
                  </a:lnTo>
                  <a:lnTo>
                    <a:pt x="11888137" y="5219087"/>
                  </a:lnTo>
                  <a:lnTo>
                    <a:pt x="11917880" y="5212737"/>
                  </a:lnTo>
                  <a:lnTo>
                    <a:pt x="11938995" y="5202633"/>
                  </a:lnTo>
                  <a:lnTo>
                    <a:pt x="11943910" y="5166039"/>
                  </a:lnTo>
                  <a:lnTo>
                    <a:pt x="11910876" y="5115336"/>
                  </a:lnTo>
                  <a:lnTo>
                    <a:pt x="11852734" y="5023410"/>
                  </a:lnTo>
                  <a:lnTo>
                    <a:pt x="11802449" y="4930718"/>
                  </a:lnTo>
                  <a:lnTo>
                    <a:pt x="11777303" y="4884377"/>
                  </a:lnTo>
                  <a:lnTo>
                    <a:pt x="11754042" y="4838443"/>
                  </a:lnTo>
                  <a:lnTo>
                    <a:pt x="11737160" y="4796065"/>
                  </a:lnTo>
                  <a:lnTo>
                    <a:pt x="11720271" y="4753686"/>
                  </a:lnTo>
                  <a:lnTo>
                    <a:pt x="11710200" y="4714657"/>
                  </a:lnTo>
                  <a:lnTo>
                    <a:pt x="11709949" y="4685884"/>
                  </a:lnTo>
                  <a:lnTo>
                    <a:pt x="11722531" y="4665631"/>
                  </a:lnTo>
                  <a:lnTo>
                    <a:pt x="11755224" y="4673241"/>
                  </a:lnTo>
                  <a:lnTo>
                    <a:pt x="11772522" y="4657321"/>
                  </a:lnTo>
                  <a:lnTo>
                    <a:pt x="11759899" y="4542154"/>
                  </a:lnTo>
                  <a:lnTo>
                    <a:pt x="11729845" y="4518689"/>
                  </a:lnTo>
                  <a:lnTo>
                    <a:pt x="11608144" y="4526207"/>
                  </a:lnTo>
                  <a:lnTo>
                    <a:pt x="11582093" y="4526741"/>
                  </a:lnTo>
                  <a:lnTo>
                    <a:pt x="11558240" y="4560448"/>
                  </a:lnTo>
                  <a:lnTo>
                    <a:pt x="11553531" y="4582509"/>
                  </a:lnTo>
                  <a:lnTo>
                    <a:pt x="11548815" y="4604574"/>
                  </a:lnTo>
                  <a:lnTo>
                    <a:pt x="11545664" y="4626687"/>
                  </a:lnTo>
                  <a:lnTo>
                    <a:pt x="11437308" y="4625526"/>
                  </a:lnTo>
                  <a:lnTo>
                    <a:pt x="11354172" y="4579388"/>
                  </a:lnTo>
                  <a:lnTo>
                    <a:pt x="11262445" y="4568909"/>
                  </a:lnTo>
                  <a:lnTo>
                    <a:pt x="11257043" y="4539258"/>
                  </a:lnTo>
                  <a:lnTo>
                    <a:pt x="11258311" y="4493074"/>
                  </a:lnTo>
                  <a:lnTo>
                    <a:pt x="11209344" y="4478196"/>
                  </a:lnTo>
                  <a:lnTo>
                    <a:pt x="11131253" y="4473481"/>
                  </a:lnTo>
                  <a:lnTo>
                    <a:pt x="11096492" y="4454647"/>
                  </a:lnTo>
                  <a:lnTo>
                    <a:pt x="11087271" y="4403985"/>
                  </a:lnTo>
                  <a:lnTo>
                    <a:pt x="11101719" y="4348343"/>
                  </a:lnTo>
                  <a:lnTo>
                    <a:pt x="11085603" y="4299586"/>
                  </a:lnTo>
                  <a:lnTo>
                    <a:pt x="11070769" y="4276068"/>
                  </a:lnTo>
                  <a:lnTo>
                    <a:pt x="11043528" y="4273002"/>
                  </a:lnTo>
                  <a:lnTo>
                    <a:pt x="11016236" y="4260142"/>
                  </a:lnTo>
                  <a:lnTo>
                    <a:pt x="10989593" y="4243900"/>
                  </a:lnTo>
                  <a:lnTo>
                    <a:pt x="10966711" y="4213807"/>
                  </a:lnTo>
                  <a:lnTo>
                    <a:pt x="10956640" y="4193388"/>
                  </a:lnTo>
                  <a:lnTo>
                    <a:pt x="10950947" y="4162209"/>
                  </a:lnTo>
                  <a:lnTo>
                    <a:pt x="10938740" y="4095323"/>
                  </a:lnTo>
                  <a:lnTo>
                    <a:pt x="10931131" y="4038191"/>
                  </a:lnTo>
                  <a:lnTo>
                    <a:pt x="10933262" y="3970416"/>
                  </a:lnTo>
                  <a:lnTo>
                    <a:pt x="10935482" y="3900687"/>
                  </a:lnTo>
                  <a:lnTo>
                    <a:pt x="10948256" y="3849656"/>
                  </a:lnTo>
                  <a:lnTo>
                    <a:pt x="10944148" y="3804474"/>
                  </a:lnTo>
                  <a:lnTo>
                    <a:pt x="10942104" y="3781880"/>
                  </a:lnTo>
                  <a:lnTo>
                    <a:pt x="10935516" y="3761469"/>
                  </a:lnTo>
                  <a:lnTo>
                    <a:pt x="10922385" y="3740543"/>
                  </a:lnTo>
                  <a:lnTo>
                    <a:pt x="10909247" y="3719625"/>
                  </a:lnTo>
                  <a:lnTo>
                    <a:pt x="10888982" y="3697485"/>
                  </a:lnTo>
                  <a:lnTo>
                    <a:pt x="10858447" y="3675254"/>
                  </a:lnTo>
                  <a:lnTo>
                    <a:pt x="10809123" y="3642016"/>
                  </a:lnTo>
                  <a:lnTo>
                    <a:pt x="10788284" y="3639259"/>
                  </a:lnTo>
                  <a:lnTo>
                    <a:pt x="10754519" y="3651406"/>
                  </a:lnTo>
                  <a:lnTo>
                    <a:pt x="10725160" y="3676612"/>
                  </a:lnTo>
                  <a:lnTo>
                    <a:pt x="10686821" y="3696014"/>
                  </a:lnTo>
                  <a:lnTo>
                    <a:pt x="10650345" y="3690217"/>
                  </a:lnTo>
                  <a:lnTo>
                    <a:pt x="10613864" y="3684421"/>
                  </a:lnTo>
                  <a:lnTo>
                    <a:pt x="10563393" y="3665592"/>
                  </a:lnTo>
                  <a:lnTo>
                    <a:pt x="10487115" y="3620846"/>
                  </a:lnTo>
                  <a:lnTo>
                    <a:pt x="10450435" y="3604015"/>
                  </a:lnTo>
                  <a:lnTo>
                    <a:pt x="10429990" y="3593642"/>
                  </a:lnTo>
                  <a:lnTo>
                    <a:pt x="10409545" y="3583275"/>
                  </a:lnTo>
                  <a:lnTo>
                    <a:pt x="10389906" y="3570032"/>
                  </a:lnTo>
                  <a:lnTo>
                    <a:pt x="10384616" y="3542729"/>
                  </a:lnTo>
                  <a:lnTo>
                    <a:pt x="10383742" y="3517471"/>
                  </a:lnTo>
                  <a:lnTo>
                    <a:pt x="10375370" y="3493511"/>
                  </a:lnTo>
                  <a:lnTo>
                    <a:pt x="10320350" y="3471234"/>
                  </a:lnTo>
                  <a:lnTo>
                    <a:pt x="10278142" y="3471412"/>
                  </a:lnTo>
                  <a:lnTo>
                    <a:pt x="10235487" y="3472586"/>
                  </a:lnTo>
                  <a:lnTo>
                    <a:pt x="10192823" y="3473759"/>
                  </a:lnTo>
                  <a:lnTo>
                    <a:pt x="10149238" y="3475283"/>
                  </a:lnTo>
                  <a:lnTo>
                    <a:pt x="10104900" y="3465786"/>
                  </a:lnTo>
                  <a:lnTo>
                    <a:pt x="10071327" y="3458591"/>
                  </a:lnTo>
                  <a:lnTo>
                    <a:pt x="10049061" y="3435687"/>
                  </a:lnTo>
                  <a:lnTo>
                    <a:pt x="10030089" y="3412737"/>
                  </a:lnTo>
                  <a:lnTo>
                    <a:pt x="10011122" y="3389780"/>
                  </a:lnTo>
                  <a:lnTo>
                    <a:pt x="9995492" y="3367014"/>
                  </a:lnTo>
                  <a:lnTo>
                    <a:pt x="9961166" y="3357762"/>
                  </a:lnTo>
                  <a:lnTo>
                    <a:pt x="9923996" y="3352887"/>
                  </a:lnTo>
                  <a:lnTo>
                    <a:pt x="9887508" y="3341868"/>
                  </a:lnTo>
                  <a:lnTo>
                    <a:pt x="9871184" y="3317077"/>
                  </a:lnTo>
                  <a:lnTo>
                    <a:pt x="9849718" y="3276143"/>
                  </a:lnTo>
                  <a:lnTo>
                    <a:pt x="9836944" y="3249512"/>
                  </a:lnTo>
                  <a:lnTo>
                    <a:pt x="9812924" y="3232551"/>
                  </a:lnTo>
                  <a:lnTo>
                    <a:pt x="9782535" y="3227749"/>
                  </a:lnTo>
                  <a:lnTo>
                    <a:pt x="9794683" y="3190745"/>
                  </a:lnTo>
                  <a:lnTo>
                    <a:pt x="9801557" y="3159763"/>
                  </a:lnTo>
                  <a:lnTo>
                    <a:pt x="9769655" y="3040718"/>
                  </a:lnTo>
                  <a:lnTo>
                    <a:pt x="9745222" y="2981443"/>
                  </a:lnTo>
                  <a:lnTo>
                    <a:pt x="9730851" y="2929951"/>
                  </a:lnTo>
                  <a:lnTo>
                    <a:pt x="9709082" y="2883622"/>
                  </a:lnTo>
                  <a:lnTo>
                    <a:pt x="9711125" y="2857433"/>
                  </a:lnTo>
                  <a:lnTo>
                    <a:pt x="9728833" y="2830202"/>
                  </a:lnTo>
                  <a:lnTo>
                    <a:pt x="9753966" y="2802009"/>
                  </a:lnTo>
                  <a:lnTo>
                    <a:pt x="9779112" y="2773810"/>
                  </a:lnTo>
                  <a:lnTo>
                    <a:pt x="9811944" y="2744046"/>
                  </a:lnTo>
                  <a:lnTo>
                    <a:pt x="9845102" y="2714957"/>
                  </a:lnTo>
                  <a:lnTo>
                    <a:pt x="9878269" y="2685860"/>
                  </a:lnTo>
                  <a:lnTo>
                    <a:pt x="9911479" y="2656770"/>
                  </a:lnTo>
                  <a:lnTo>
                    <a:pt x="9937601" y="2627904"/>
                  </a:lnTo>
                  <a:lnTo>
                    <a:pt x="9963718" y="2599031"/>
                  </a:lnTo>
                  <a:lnTo>
                    <a:pt x="9982554" y="2571102"/>
                  </a:lnTo>
                  <a:lnTo>
                    <a:pt x="9986569" y="2543568"/>
                  </a:lnTo>
                  <a:lnTo>
                    <a:pt x="9974672" y="2524087"/>
                  </a:lnTo>
                  <a:lnTo>
                    <a:pt x="9972443" y="2496243"/>
                  </a:lnTo>
                  <a:lnTo>
                    <a:pt x="9972964" y="2468755"/>
                  </a:lnTo>
                  <a:lnTo>
                    <a:pt x="9973491" y="2441275"/>
                  </a:lnTo>
                  <a:lnTo>
                    <a:pt x="9977515" y="2413556"/>
                  </a:lnTo>
                  <a:lnTo>
                    <a:pt x="9975661" y="2392585"/>
                  </a:lnTo>
                  <a:lnTo>
                    <a:pt x="9973748" y="2370465"/>
                  </a:lnTo>
                  <a:lnTo>
                    <a:pt x="9963420" y="2338177"/>
                  </a:lnTo>
                  <a:lnTo>
                    <a:pt x="9957743" y="2305664"/>
                  </a:lnTo>
                  <a:lnTo>
                    <a:pt x="9963420" y="2281051"/>
                  </a:lnTo>
                  <a:lnTo>
                    <a:pt x="9969410" y="2254949"/>
                  </a:lnTo>
                  <a:lnTo>
                    <a:pt x="9987908" y="2223537"/>
                  </a:lnTo>
                  <a:lnTo>
                    <a:pt x="9982461" y="2195357"/>
                  </a:lnTo>
                  <a:lnTo>
                    <a:pt x="9971215" y="2171438"/>
                  </a:lnTo>
                  <a:lnTo>
                    <a:pt x="9952897" y="2145823"/>
                  </a:lnTo>
                  <a:lnTo>
                    <a:pt x="9944376" y="2123269"/>
                  </a:lnTo>
                  <a:lnTo>
                    <a:pt x="9915364" y="2100041"/>
                  </a:lnTo>
                  <a:lnTo>
                    <a:pt x="9888609" y="2087900"/>
                  </a:lnTo>
                  <a:lnTo>
                    <a:pt x="9861854" y="2075758"/>
                  </a:lnTo>
                  <a:lnTo>
                    <a:pt x="9828839" y="2063585"/>
                  </a:lnTo>
                  <a:lnTo>
                    <a:pt x="9794757" y="2052538"/>
                  </a:lnTo>
                  <a:lnTo>
                    <a:pt x="9760673" y="2041492"/>
                  </a:lnTo>
                  <a:lnTo>
                    <a:pt x="9726098" y="2030821"/>
                  </a:lnTo>
                  <a:lnTo>
                    <a:pt x="9695458" y="2022611"/>
                  </a:lnTo>
                  <a:lnTo>
                    <a:pt x="9664830" y="2014406"/>
                  </a:lnTo>
                  <a:lnTo>
                    <a:pt x="9638404" y="2008556"/>
                  </a:lnTo>
                  <a:lnTo>
                    <a:pt x="9601585" y="2000412"/>
                  </a:lnTo>
                  <a:lnTo>
                    <a:pt x="9580408" y="2010080"/>
                  </a:lnTo>
                  <a:lnTo>
                    <a:pt x="9562161" y="2023976"/>
                  </a:lnTo>
                  <a:lnTo>
                    <a:pt x="9543914" y="2037865"/>
                  </a:lnTo>
                  <a:lnTo>
                    <a:pt x="9528836" y="2055881"/>
                  </a:lnTo>
                  <a:lnTo>
                    <a:pt x="9506018" y="2070879"/>
                  </a:lnTo>
                  <a:lnTo>
                    <a:pt x="9480978" y="2092635"/>
                  </a:lnTo>
                  <a:lnTo>
                    <a:pt x="9459305" y="2112090"/>
                  </a:lnTo>
                  <a:lnTo>
                    <a:pt x="9435663" y="2128703"/>
                  </a:lnTo>
                  <a:lnTo>
                    <a:pt x="9412015" y="2145315"/>
                  </a:lnTo>
                  <a:lnTo>
                    <a:pt x="9386525" y="2159435"/>
                  </a:lnTo>
                  <a:lnTo>
                    <a:pt x="9356769" y="2168147"/>
                  </a:lnTo>
                  <a:lnTo>
                    <a:pt x="9310908" y="2132825"/>
                  </a:lnTo>
                  <a:lnTo>
                    <a:pt x="9271924" y="2106088"/>
                  </a:lnTo>
                  <a:lnTo>
                    <a:pt x="9239796" y="2082453"/>
                  </a:lnTo>
                  <a:lnTo>
                    <a:pt x="9218033" y="2079729"/>
                  </a:lnTo>
                  <a:lnTo>
                    <a:pt x="9192779" y="2102382"/>
                  </a:lnTo>
                  <a:lnTo>
                    <a:pt x="9180717" y="2138694"/>
                  </a:lnTo>
                  <a:lnTo>
                    <a:pt x="9178330" y="2160200"/>
                  </a:lnTo>
                  <a:lnTo>
                    <a:pt x="9174507" y="2181746"/>
                  </a:lnTo>
                  <a:lnTo>
                    <a:pt x="9170675" y="2203291"/>
                  </a:lnTo>
                  <a:lnTo>
                    <a:pt x="9164852" y="2224790"/>
                  </a:lnTo>
                  <a:lnTo>
                    <a:pt x="9146074" y="2261122"/>
                  </a:lnTo>
                  <a:lnTo>
                    <a:pt x="9109215" y="2283762"/>
                  </a:lnTo>
                  <a:lnTo>
                    <a:pt x="9071527" y="2278671"/>
                  </a:lnTo>
                  <a:lnTo>
                    <a:pt x="9032649" y="2277992"/>
                  </a:lnTo>
                  <a:lnTo>
                    <a:pt x="8993600" y="2279680"/>
                  </a:lnTo>
                  <a:lnTo>
                    <a:pt x="8953575" y="2281869"/>
                  </a:lnTo>
                  <a:lnTo>
                    <a:pt x="8913921" y="2282924"/>
                  </a:lnTo>
                  <a:lnTo>
                    <a:pt x="8875263" y="2281038"/>
                  </a:lnTo>
                  <a:lnTo>
                    <a:pt x="8850220" y="2273586"/>
                  </a:lnTo>
                  <a:lnTo>
                    <a:pt x="8829567" y="2258563"/>
                  </a:lnTo>
                  <a:lnTo>
                    <a:pt x="8809971" y="2240229"/>
                  </a:lnTo>
                  <a:lnTo>
                    <a:pt x="8789560" y="2223518"/>
                  </a:lnTo>
                  <a:lnTo>
                    <a:pt x="8765093" y="2213428"/>
                  </a:lnTo>
                  <a:lnTo>
                    <a:pt x="8733802" y="2214390"/>
                  </a:lnTo>
                  <a:lnTo>
                    <a:pt x="8701757" y="2220253"/>
                  </a:lnTo>
                  <a:lnTo>
                    <a:pt x="8680751" y="2223907"/>
                  </a:lnTo>
                  <a:lnTo>
                    <a:pt x="8659748" y="2227560"/>
                  </a:lnTo>
                  <a:lnTo>
                    <a:pt x="8637259" y="2232711"/>
                  </a:lnTo>
                  <a:lnTo>
                    <a:pt x="8614104" y="2237512"/>
                  </a:lnTo>
                  <a:lnTo>
                    <a:pt x="8590949" y="2242306"/>
                  </a:lnTo>
                  <a:lnTo>
                    <a:pt x="8567096" y="2247787"/>
                  </a:lnTo>
                  <a:lnTo>
                    <a:pt x="8527808" y="2259875"/>
                  </a:lnTo>
                  <a:lnTo>
                    <a:pt x="8501205" y="2272874"/>
                  </a:lnTo>
                  <a:lnTo>
                    <a:pt x="8473322" y="2292520"/>
                  </a:lnTo>
                  <a:lnTo>
                    <a:pt x="8455807" y="2326286"/>
                  </a:lnTo>
                  <a:lnTo>
                    <a:pt x="8420953" y="2336805"/>
                  </a:lnTo>
                  <a:lnTo>
                    <a:pt x="8397832" y="2309601"/>
                  </a:lnTo>
                  <a:lnTo>
                    <a:pt x="8405989" y="2285121"/>
                  </a:lnTo>
                  <a:lnTo>
                    <a:pt x="8415511" y="2260634"/>
                  </a:lnTo>
                  <a:lnTo>
                    <a:pt x="8419601" y="2234788"/>
                  </a:lnTo>
                  <a:lnTo>
                    <a:pt x="8412801" y="2211666"/>
                  </a:lnTo>
                  <a:lnTo>
                    <a:pt x="8387556" y="2204122"/>
                  </a:lnTo>
                  <a:lnTo>
                    <a:pt x="8363834" y="2203509"/>
                  </a:lnTo>
                  <a:lnTo>
                    <a:pt x="8368844" y="2045811"/>
                  </a:lnTo>
                  <a:lnTo>
                    <a:pt x="8376075" y="2023962"/>
                  </a:lnTo>
                  <a:lnTo>
                    <a:pt x="8433799" y="2024457"/>
                  </a:lnTo>
                  <a:lnTo>
                    <a:pt x="8466119" y="2019755"/>
                  </a:lnTo>
                  <a:lnTo>
                    <a:pt x="8490332" y="2004916"/>
                  </a:lnTo>
                  <a:lnTo>
                    <a:pt x="8514541" y="1990078"/>
                  </a:lnTo>
                  <a:lnTo>
                    <a:pt x="8530183" y="1965466"/>
                  </a:lnTo>
                  <a:lnTo>
                    <a:pt x="8537938" y="1938268"/>
                  </a:lnTo>
                  <a:lnTo>
                    <a:pt x="8545668" y="1911078"/>
                  </a:lnTo>
                  <a:lnTo>
                    <a:pt x="8545872" y="1880985"/>
                  </a:lnTo>
                  <a:lnTo>
                    <a:pt x="8539290" y="1853939"/>
                  </a:lnTo>
                  <a:lnTo>
                    <a:pt x="8532717" y="1826894"/>
                  </a:lnTo>
                  <a:lnTo>
                    <a:pt x="8518643" y="1803046"/>
                  </a:lnTo>
                  <a:lnTo>
                    <a:pt x="8499847" y="1788650"/>
                  </a:lnTo>
                  <a:lnTo>
                    <a:pt x="8477278" y="1773297"/>
                  </a:lnTo>
                  <a:lnTo>
                    <a:pt x="8451670" y="1760476"/>
                  </a:lnTo>
                  <a:lnTo>
                    <a:pt x="8425033" y="1749199"/>
                  </a:lnTo>
                  <a:lnTo>
                    <a:pt x="8396716" y="1739755"/>
                  </a:lnTo>
                  <a:lnTo>
                    <a:pt x="8369030" y="1731445"/>
                  </a:lnTo>
                  <a:lnTo>
                    <a:pt x="8342065" y="1724719"/>
                  </a:lnTo>
                  <a:lnTo>
                    <a:pt x="8335693" y="1690926"/>
                  </a:lnTo>
                  <a:lnTo>
                    <a:pt x="8337975" y="1666228"/>
                  </a:lnTo>
                  <a:lnTo>
                    <a:pt x="8340282" y="1641537"/>
                  </a:lnTo>
                  <a:lnTo>
                    <a:pt x="8341938" y="1617393"/>
                  </a:lnTo>
                  <a:lnTo>
                    <a:pt x="8319911" y="1606340"/>
                  </a:lnTo>
                  <a:lnTo>
                    <a:pt x="8287181" y="1595076"/>
                  </a:lnTo>
                  <a:lnTo>
                    <a:pt x="8278152" y="1503004"/>
                  </a:lnTo>
                  <a:lnTo>
                    <a:pt x="8263908" y="1464365"/>
                  </a:lnTo>
                  <a:lnTo>
                    <a:pt x="8249075" y="1442906"/>
                  </a:lnTo>
                  <a:lnTo>
                    <a:pt x="8227907" y="1434220"/>
                  </a:lnTo>
                  <a:lnTo>
                    <a:pt x="8197109" y="1423721"/>
                  </a:lnTo>
                  <a:lnTo>
                    <a:pt x="8176131" y="1429557"/>
                  </a:lnTo>
                  <a:lnTo>
                    <a:pt x="8159629" y="1444455"/>
                  </a:lnTo>
                  <a:lnTo>
                    <a:pt x="8143860" y="1477284"/>
                  </a:lnTo>
                  <a:lnTo>
                    <a:pt x="8138617" y="1504423"/>
                  </a:lnTo>
                  <a:lnTo>
                    <a:pt x="8112206" y="1516610"/>
                  </a:lnTo>
                  <a:lnTo>
                    <a:pt x="8085054" y="1505709"/>
                  </a:lnTo>
                  <a:lnTo>
                    <a:pt x="8063238" y="1477159"/>
                  </a:lnTo>
                  <a:lnTo>
                    <a:pt x="8047773" y="1445939"/>
                  </a:lnTo>
                  <a:lnTo>
                    <a:pt x="8037035" y="1392712"/>
                  </a:lnTo>
                  <a:lnTo>
                    <a:pt x="8038691" y="1352937"/>
                  </a:lnTo>
                  <a:lnTo>
                    <a:pt x="8037398" y="1316659"/>
                  </a:lnTo>
                  <a:lnTo>
                    <a:pt x="8034049" y="1292661"/>
                  </a:lnTo>
                  <a:lnTo>
                    <a:pt x="8029867" y="1267210"/>
                  </a:lnTo>
                  <a:lnTo>
                    <a:pt x="8027870" y="1240488"/>
                  </a:lnTo>
                  <a:lnTo>
                    <a:pt x="8027870" y="1210837"/>
                  </a:lnTo>
                  <a:lnTo>
                    <a:pt x="8043894" y="1187372"/>
                  </a:lnTo>
                  <a:lnTo>
                    <a:pt x="8059155" y="1162958"/>
                  </a:lnTo>
                  <a:lnTo>
                    <a:pt x="8074416" y="1138544"/>
                  </a:lnTo>
                  <a:lnTo>
                    <a:pt x="8089770" y="1114327"/>
                  </a:lnTo>
                  <a:lnTo>
                    <a:pt x="8089075" y="1085422"/>
                  </a:lnTo>
                  <a:lnTo>
                    <a:pt x="8077758" y="1042786"/>
                  </a:lnTo>
                  <a:lnTo>
                    <a:pt x="8064590" y="1020139"/>
                  </a:lnTo>
                  <a:lnTo>
                    <a:pt x="8051419" y="997486"/>
                  </a:lnTo>
                  <a:lnTo>
                    <a:pt x="8035857" y="976725"/>
                  </a:lnTo>
                  <a:lnTo>
                    <a:pt x="7978388" y="917885"/>
                  </a:lnTo>
                  <a:lnTo>
                    <a:pt x="7916159" y="881758"/>
                  </a:lnTo>
                  <a:lnTo>
                    <a:pt x="7867362" y="837869"/>
                  </a:lnTo>
                  <a:lnTo>
                    <a:pt x="7846709" y="819291"/>
                  </a:lnTo>
                  <a:lnTo>
                    <a:pt x="7831448" y="790115"/>
                  </a:lnTo>
                  <a:lnTo>
                    <a:pt x="7812956" y="769862"/>
                  </a:lnTo>
                  <a:lnTo>
                    <a:pt x="7781293" y="735219"/>
                  </a:lnTo>
                  <a:lnTo>
                    <a:pt x="7745496" y="705529"/>
                  </a:lnTo>
                  <a:lnTo>
                    <a:pt x="7717737" y="667846"/>
                  </a:lnTo>
                  <a:lnTo>
                    <a:pt x="7697701" y="640629"/>
                  </a:lnTo>
                  <a:lnTo>
                    <a:pt x="7679268" y="614183"/>
                  </a:lnTo>
                  <a:lnTo>
                    <a:pt x="7664695" y="586234"/>
                  </a:lnTo>
                  <a:lnTo>
                    <a:pt x="7650113" y="558284"/>
                  </a:lnTo>
                  <a:lnTo>
                    <a:pt x="7638923" y="528423"/>
                  </a:lnTo>
                  <a:lnTo>
                    <a:pt x="7637484" y="493740"/>
                  </a:lnTo>
                  <a:lnTo>
                    <a:pt x="7634880" y="429737"/>
                  </a:lnTo>
                  <a:lnTo>
                    <a:pt x="7632564" y="362937"/>
                  </a:lnTo>
                  <a:lnTo>
                    <a:pt x="7633401" y="296514"/>
                  </a:lnTo>
                  <a:lnTo>
                    <a:pt x="7634219" y="230083"/>
                  </a:lnTo>
                  <a:lnTo>
                    <a:pt x="7639180" y="163698"/>
                  </a:lnTo>
                  <a:lnTo>
                    <a:pt x="7651084" y="100638"/>
                  </a:lnTo>
                  <a:lnTo>
                    <a:pt x="7617244" y="66787"/>
                  </a:lnTo>
                  <a:lnTo>
                    <a:pt x="7531683" y="49594"/>
                  </a:lnTo>
                  <a:lnTo>
                    <a:pt x="7482418" y="21750"/>
                  </a:lnTo>
                  <a:lnTo>
                    <a:pt x="7464481" y="45722"/>
                  </a:lnTo>
                  <a:lnTo>
                    <a:pt x="7467665" y="88061"/>
                  </a:lnTo>
                  <a:lnTo>
                    <a:pt x="7451133" y="116960"/>
                  </a:lnTo>
                  <a:lnTo>
                    <a:pt x="7420623" y="111638"/>
                  </a:lnTo>
                  <a:lnTo>
                    <a:pt x="7380982" y="100533"/>
                  </a:lnTo>
                  <a:lnTo>
                    <a:pt x="7354702" y="97519"/>
                  </a:lnTo>
                  <a:lnTo>
                    <a:pt x="7313752" y="108803"/>
                  </a:lnTo>
                  <a:lnTo>
                    <a:pt x="7290631" y="168651"/>
                  </a:lnTo>
                  <a:lnTo>
                    <a:pt x="7269463" y="175431"/>
                  </a:lnTo>
                  <a:lnTo>
                    <a:pt x="7243279" y="169614"/>
                  </a:lnTo>
                  <a:lnTo>
                    <a:pt x="7219901" y="164576"/>
                  </a:lnTo>
                  <a:lnTo>
                    <a:pt x="7196516" y="159537"/>
                  </a:lnTo>
                  <a:lnTo>
                    <a:pt x="7175544" y="154387"/>
                  </a:lnTo>
                  <a:lnTo>
                    <a:pt x="7155963" y="181577"/>
                  </a:lnTo>
                  <a:lnTo>
                    <a:pt x="7165336" y="210027"/>
                  </a:lnTo>
                  <a:lnTo>
                    <a:pt x="7170933" y="238037"/>
                  </a:lnTo>
                  <a:lnTo>
                    <a:pt x="7175150" y="265596"/>
                  </a:lnTo>
                  <a:lnTo>
                    <a:pt x="7172155" y="292081"/>
                  </a:lnTo>
                  <a:lnTo>
                    <a:pt x="7157309" y="315566"/>
                  </a:lnTo>
                  <a:lnTo>
                    <a:pt x="7118242" y="303365"/>
                  </a:lnTo>
                  <a:lnTo>
                    <a:pt x="7084238" y="269850"/>
                  </a:lnTo>
                  <a:lnTo>
                    <a:pt x="7045769" y="262516"/>
                  </a:lnTo>
                  <a:lnTo>
                    <a:pt x="6983369" y="301730"/>
                  </a:lnTo>
                  <a:lnTo>
                    <a:pt x="6963305" y="328017"/>
                  </a:lnTo>
                  <a:lnTo>
                    <a:pt x="6975019" y="363175"/>
                  </a:lnTo>
                  <a:lnTo>
                    <a:pt x="6986423" y="397593"/>
                  </a:lnTo>
                  <a:lnTo>
                    <a:pt x="6966592" y="421124"/>
                  </a:lnTo>
                  <a:lnTo>
                    <a:pt x="6942361" y="421665"/>
                  </a:lnTo>
                  <a:lnTo>
                    <a:pt x="6917162" y="416185"/>
                  </a:lnTo>
                  <a:lnTo>
                    <a:pt x="6878495" y="395892"/>
                  </a:lnTo>
                  <a:lnTo>
                    <a:pt x="6854121" y="376259"/>
                  </a:lnTo>
                  <a:lnTo>
                    <a:pt x="6788026" y="345625"/>
                  </a:lnTo>
                  <a:lnTo>
                    <a:pt x="6742181" y="329237"/>
                  </a:lnTo>
                  <a:lnTo>
                    <a:pt x="6698891" y="310125"/>
                  </a:lnTo>
                  <a:lnTo>
                    <a:pt x="6655588" y="291013"/>
                  </a:lnTo>
                  <a:lnTo>
                    <a:pt x="6613600" y="268980"/>
                  </a:lnTo>
                  <a:lnTo>
                    <a:pt x="6569664" y="232596"/>
                  </a:lnTo>
                  <a:lnTo>
                    <a:pt x="6547201" y="213985"/>
                  </a:lnTo>
                  <a:lnTo>
                    <a:pt x="6524272" y="189023"/>
                  </a:lnTo>
                  <a:lnTo>
                    <a:pt x="6503023" y="163223"/>
                  </a:lnTo>
                  <a:lnTo>
                    <a:pt x="6481766" y="137424"/>
                  </a:lnTo>
                  <a:lnTo>
                    <a:pt x="6462787" y="109996"/>
                  </a:lnTo>
                  <a:lnTo>
                    <a:pt x="6448614" y="84329"/>
                  </a:lnTo>
                  <a:lnTo>
                    <a:pt x="6407826" y="75393"/>
                  </a:lnTo>
                  <a:lnTo>
                    <a:pt x="6338426" y="98673"/>
                  </a:lnTo>
                  <a:lnTo>
                    <a:pt x="6269063" y="125138"/>
                  </a:lnTo>
                  <a:lnTo>
                    <a:pt x="6199696" y="151603"/>
                  </a:lnTo>
                  <a:lnTo>
                    <a:pt x="6129387" y="181287"/>
                  </a:lnTo>
                  <a:lnTo>
                    <a:pt x="6104480" y="194510"/>
                  </a:lnTo>
                  <a:lnTo>
                    <a:pt x="6073660" y="224431"/>
                  </a:lnTo>
                  <a:lnTo>
                    <a:pt x="6077276" y="252994"/>
                  </a:lnTo>
                  <a:lnTo>
                    <a:pt x="6103628" y="272270"/>
                  </a:lnTo>
                  <a:lnTo>
                    <a:pt x="6200586" y="317861"/>
                  </a:lnTo>
                  <a:lnTo>
                    <a:pt x="6213547" y="347426"/>
                  </a:lnTo>
                  <a:lnTo>
                    <a:pt x="6202623" y="381832"/>
                  </a:lnTo>
                  <a:lnTo>
                    <a:pt x="6153829" y="382300"/>
                  </a:lnTo>
                  <a:lnTo>
                    <a:pt x="6105628" y="375158"/>
                  </a:lnTo>
                  <a:lnTo>
                    <a:pt x="6060951" y="371332"/>
                  </a:lnTo>
                  <a:lnTo>
                    <a:pt x="5971177" y="363175"/>
                  </a:lnTo>
                  <a:lnTo>
                    <a:pt x="5949749" y="362647"/>
                  </a:lnTo>
                  <a:lnTo>
                    <a:pt x="5916774" y="378138"/>
                  </a:lnTo>
                  <a:lnTo>
                    <a:pt x="5890903" y="401564"/>
                  </a:lnTo>
                  <a:lnTo>
                    <a:pt x="5858331" y="441450"/>
                  </a:lnTo>
                  <a:lnTo>
                    <a:pt x="5841197" y="469161"/>
                  </a:lnTo>
                  <a:lnTo>
                    <a:pt x="5816117" y="473349"/>
                  </a:lnTo>
                  <a:lnTo>
                    <a:pt x="5779303" y="469195"/>
                  </a:lnTo>
                  <a:lnTo>
                    <a:pt x="5747919" y="455892"/>
                  </a:lnTo>
                  <a:lnTo>
                    <a:pt x="5718181" y="439346"/>
                  </a:lnTo>
                  <a:lnTo>
                    <a:pt x="5688453" y="422799"/>
                  </a:lnTo>
                  <a:lnTo>
                    <a:pt x="5659528" y="403430"/>
                  </a:lnTo>
                  <a:lnTo>
                    <a:pt x="5628413" y="387655"/>
                  </a:lnTo>
                  <a:lnTo>
                    <a:pt x="5607289" y="376951"/>
                  </a:lnTo>
                  <a:lnTo>
                    <a:pt x="5586199" y="372374"/>
                  </a:lnTo>
                  <a:lnTo>
                    <a:pt x="5564482" y="360451"/>
                  </a:lnTo>
                  <a:lnTo>
                    <a:pt x="5541361" y="347742"/>
                  </a:lnTo>
                  <a:lnTo>
                    <a:pt x="5505351" y="323513"/>
                  </a:lnTo>
                  <a:lnTo>
                    <a:pt x="5478788" y="318290"/>
                  </a:lnTo>
                  <a:lnTo>
                    <a:pt x="5393389" y="301453"/>
                  </a:lnTo>
                  <a:lnTo>
                    <a:pt x="5306681" y="299560"/>
                  </a:lnTo>
                  <a:lnTo>
                    <a:pt x="5221706" y="285644"/>
                  </a:lnTo>
                  <a:lnTo>
                    <a:pt x="5147711" y="273550"/>
                  </a:lnTo>
                  <a:lnTo>
                    <a:pt x="5072298" y="256673"/>
                  </a:lnTo>
                  <a:lnTo>
                    <a:pt x="4998632" y="242118"/>
                  </a:lnTo>
                  <a:lnTo>
                    <a:pt x="4932797" y="229107"/>
                  </a:lnTo>
                  <a:lnTo>
                    <a:pt x="4865185" y="228810"/>
                  </a:lnTo>
                  <a:lnTo>
                    <a:pt x="4797329" y="228513"/>
                  </a:lnTo>
                  <a:lnTo>
                    <a:pt x="4729476" y="228184"/>
                  </a:lnTo>
                  <a:lnTo>
                    <a:pt x="4661328" y="228250"/>
                  </a:lnTo>
                  <a:lnTo>
                    <a:pt x="4594656" y="217632"/>
                  </a:lnTo>
                  <a:lnTo>
                    <a:pt x="4552361" y="210885"/>
                  </a:lnTo>
                  <a:lnTo>
                    <a:pt x="4529048" y="197563"/>
                  </a:lnTo>
                  <a:lnTo>
                    <a:pt x="4507601" y="179546"/>
                  </a:lnTo>
                  <a:lnTo>
                    <a:pt x="4486170" y="161529"/>
                  </a:lnTo>
                  <a:lnTo>
                    <a:pt x="4467883" y="139067"/>
                  </a:lnTo>
                  <a:lnTo>
                    <a:pt x="4438232" y="114256"/>
                  </a:lnTo>
                  <a:lnTo>
                    <a:pt x="4403747" y="107734"/>
                  </a:lnTo>
                  <a:lnTo>
                    <a:pt x="4381106" y="112898"/>
                  </a:lnTo>
                  <a:lnTo>
                    <a:pt x="4358466" y="118055"/>
                  </a:lnTo>
                  <a:lnTo>
                    <a:pt x="4335540" y="124320"/>
                  </a:lnTo>
                  <a:lnTo>
                    <a:pt x="4306655" y="95850"/>
                  </a:lnTo>
                  <a:lnTo>
                    <a:pt x="4297521" y="67057"/>
                  </a:lnTo>
                  <a:lnTo>
                    <a:pt x="4283171" y="43526"/>
                  </a:lnTo>
                  <a:lnTo>
                    <a:pt x="4267144" y="20992"/>
                  </a:lnTo>
                  <a:lnTo>
                    <a:pt x="4244795" y="6212"/>
                  </a:lnTo>
                  <a:lnTo>
                    <a:pt x="4213805" y="1358"/>
                  </a:lnTo>
                  <a:lnTo>
                    <a:pt x="4043775" y="0"/>
                  </a:lnTo>
                  <a:lnTo>
                    <a:pt x="4030005" y="31246"/>
                  </a:lnTo>
                  <a:lnTo>
                    <a:pt x="4024105" y="62889"/>
                  </a:lnTo>
                  <a:lnTo>
                    <a:pt x="4015212" y="93858"/>
                  </a:lnTo>
                  <a:lnTo>
                    <a:pt x="4006323" y="124822"/>
                  </a:lnTo>
                  <a:lnTo>
                    <a:pt x="3995133" y="154043"/>
                  </a:lnTo>
                  <a:lnTo>
                    <a:pt x="3956599" y="179335"/>
                  </a:lnTo>
                  <a:lnTo>
                    <a:pt x="3934538" y="173749"/>
                  </a:lnTo>
                  <a:lnTo>
                    <a:pt x="3907755" y="172747"/>
                  </a:lnTo>
                  <a:lnTo>
                    <a:pt x="3861386" y="179032"/>
                  </a:lnTo>
                  <a:lnTo>
                    <a:pt x="3835351" y="162373"/>
                  </a:lnTo>
                  <a:lnTo>
                    <a:pt x="3816620" y="145549"/>
                  </a:lnTo>
                  <a:lnTo>
                    <a:pt x="3798175" y="128007"/>
                  </a:lnTo>
                  <a:lnTo>
                    <a:pt x="3764000" y="109145"/>
                  </a:lnTo>
                  <a:lnTo>
                    <a:pt x="3736659" y="109244"/>
                  </a:lnTo>
                  <a:lnTo>
                    <a:pt x="3710530" y="115628"/>
                  </a:lnTo>
                  <a:lnTo>
                    <a:pt x="3684399" y="122012"/>
                  </a:lnTo>
                  <a:lnTo>
                    <a:pt x="3658754" y="135604"/>
                  </a:lnTo>
                  <a:lnTo>
                    <a:pt x="3638432" y="149632"/>
                  </a:lnTo>
                  <a:lnTo>
                    <a:pt x="3603988" y="135664"/>
                  </a:lnTo>
                  <a:lnTo>
                    <a:pt x="3584033" y="119704"/>
                  </a:lnTo>
                  <a:lnTo>
                    <a:pt x="3564077" y="103744"/>
                  </a:lnTo>
                  <a:lnTo>
                    <a:pt x="3544686" y="86215"/>
                  </a:lnTo>
                  <a:lnTo>
                    <a:pt x="3520740" y="74588"/>
                  </a:lnTo>
                  <a:lnTo>
                    <a:pt x="3501061" y="66655"/>
                  </a:lnTo>
                  <a:lnTo>
                    <a:pt x="3472492" y="55779"/>
                  </a:lnTo>
                  <a:lnTo>
                    <a:pt x="3472492" y="81618"/>
                  </a:lnTo>
                  <a:lnTo>
                    <a:pt x="3466458" y="108334"/>
                  </a:lnTo>
                  <a:lnTo>
                    <a:pt x="3449827" y="130625"/>
                  </a:lnTo>
                  <a:lnTo>
                    <a:pt x="3431692" y="152349"/>
                  </a:lnTo>
                  <a:lnTo>
                    <a:pt x="3413547" y="174072"/>
                  </a:lnTo>
                  <a:lnTo>
                    <a:pt x="3393902" y="195400"/>
                  </a:lnTo>
                  <a:lnTo>
                    <a:pt x="3379999" y="219004"/>
                  </a:lnTo>
                  <a:lnTo>
                    <a:pt x="3367416" y="240404"/>
                  </a:lnTo>
                  <a:lnTo>
                    <a:pt x="3361038" y="263169"/>
                  </a:lnTo>
                  <a:lnTo>
                    <a:pt x="3354155" y="285651"/>
                  </a:lnTo>
                  <a:lnTo>
                    <a:pt x="3347275" y="308127"/>
                  </a:lnTo>
                  <a:lnTo>
                    <a:pt x="3339809" y="330813"/>
                  </a:lnTo>
                  <a:lnTo>
                    <a:pt x="3321509" y="350941"/>
                  </a:lnTo>
                  <a:lnTo>
                    <a:pt x="3294819" y="369328"/>
                  </a:lnTo>
                  <a:lnTo>
                    <a:pt x="3269487" y="377908"/>
                  </a:lnTo>
                  <a:lnTo>
                    <a:pt x="3246704" y="383586"/>
                  </a:lnTo>
                  <a:lnTo>
                    <a:pt x="3223918" y="389264"/>
                  </a:lnTo>
                  <a:lnTo>
                    <a:pt x="3202682" y="391288"/>
                  </a:lnTo>
                  <a:lnTo>
                    <a:pt x="3165587" y="405811"/>
                  </a:lnTo>
                  <a:lnTo>
                    <a:pt x="3136522" y="440711"/>
                  </a:lnTo>
                  <a:lnTo>
                    <a:pt x="3122541" y="463859"/>
                  </a:lnTo>
                  <a:lnTo>
                    <a:pt x="3110254" y="498917"/>
                  </a:lnTo>
                  <a:lnTo>
                    <a:pt x="3101160" y="552251"/>
                  </a:lnTo>
                  <a:lnTo>
                    <a:pt x="3046282" y="579006"/>
                  </a:lnTo>
                  <a:lnTo>
                    <a:pt x="2983164" y="579982"/>
                  </a:lnTo>
                  <a:lnTo>
                    <a:pt x="2928414" y="610734"/>
                  </a:lnTo>
                  <a:lnTo>
                    <a:pt x="2905891" y="630532"/>
                  </a:lnTo>
                  <a:lnTo>
                    <a:pt x="2891086" y="661673"/>
                  </a:lnTo>
                  <a:lnTo>
                    <a:pt x="2880804" y="699152"/>
                  </a:lnTo>
                  <a:lnTo>
                    <a:pt x="2871571" y="736782"/>
                  </a:lnTo>
                  <a:lnTo>
                    <a:pt x="2865332" y="775904"/>
                  </a:lnTo>
                  <a:lnTo>
                    <a:pt x="2846800" y="798445"/>
                  </a:lnTo>
                  <a:lnTo>
                    <a:pt x="2818113" y="818038"/>
                  </a:lnTo>
                  <a:lnTo>
                    <a:pt x="2785554" y="823809"/>
                  </a:lnTo>
                  <a:lnTo>
                    <a:pt x="2752948" y="825649"/>
                  </a:lnTo>
                  <a:lnTo>
                    <a:pt x="2720343" y="827489"/>
                  </a:lnTo>
                  <a:lnTo>
                    <a:pt x="2686704" y="825912"/>
                  </a:lnTo>
                  <a:lnTo>
                    <a:pt x="2655013" y="831089"/>
                  </a:lnTo>
                  <a:lnTo>
                    <a:pt x="2621183" y="836616"/>
                  </a:lnTo>
                  <a:lnTo>
                    <a:pt x="2582162" y="852404"/>
                  </a:lnTo>
                  <a:lnTo>
                    <a:pt x="2548924" y="862376"/>
                  </a:lnTo>
                  <a:lnTo>
                    <a:pt x="2516699" y="885009"/>
                  </a:lnTo>
                  <a:lnTo>
                    <a:pt x="2479381" y="900777"/>
                  </a:lnTo>
                  <a:lnTo>
                    <a:pt x="2454325" y="907669"/>
                  </a:lnTo>
                  <a:lnTo>
                    <a:pt x="2431942" y="918142"/>
                  </a:lnTo>
                  <a:lnTo>
                    <a:pt x="2409559" y="928615"/>
                  </a:lnTo>
                  <a:lnTo>
                    <a:pt x="2389498" y="943005"/>
                  </a:lnTo>
                  <a:lnTo>
                    <a:pt x="2374816" y="965751"/>
                  </a:lnTo>
                  <a:lnTo>
                    <a:pt x="2366098" y="1001627"/>
                  </a:lnTo>
                  <a:lnTo>
                    <a:pt x="2317335" y="1006797"/>
                  </a:lnTo>
                  <a:lnTo>
                    <a:pt x="2267359" y="1007919"/>
                  </a:lnTo>
                  <a:lnTo>
                    <a:pt x="2217384" y="1009033"/>
                  </a:lnTo>
                  <a:lnTo>
                    <a:pt x="2165852" y="1004904"/>
                  </a:lnTo>
                  <a:lnTo>
                    <a:pt x="2150129" y="985602"/>
                  </a:lnTo>
                  <a:lnTo>
                    <a:pt x="2148514" y="960521"/>
                  </a:lnTo>
                  <a:lnTo>
                    <a:pt x="2113614" y="931365"/>
                  </a:lnTo>
                  <a:lnTo>
                    <a:pt x="2055255" y="932618"/>
                  </a:lnTo>
                  <a:lnTo>
                    <a:pt x="2027966" y="933106"/>
                  </a:lnTo>
                  <a:lnTo>
                    <a:pt x="2011642" y="972550"/>
                  </a:lnTo>
                  <a:lnTo>
                    <a:pt x="1978252" y="988088"/>
                  </a:lnTo>
                  <a:lnTo>
                    <a:pt x="1871905" y="988108"/>
                  </a:lnTo>
                  <a:lnTo>
                    <a:pt x="1764082" y="980708"/>
                  </a:lnTo>
                  <a:lnTo>
                    <a:pt x="1656262" y="973315"/>
                  </a:lnTo>
                  <a:lnTo>
                    <a:pt x="1546727" y="957863"/>
                  </a:lnTo>
                  <a:lnTo>
                    <a:pt x="1511089" y="941264"/>
                  </a:lnTo>
                  <a:lnTo>
                    <a:pt x="1488898" y="912022"/>
                  </a:lnTo>
                  <a:lnTo>
                    <a:pt x="1476592" y="884350"/>
                  </a:lnTo>
                  <a:lnTo>
                    <a:pt x="1471011" y="850307"/>
                  </a:lnTo>
                  <a:lnTo>
                    <a:pt x="1462116" y="817491"/>
                  </a:lnTo>
                  <a:lnTo>
                    <a:pt x="1453226" y="784668"/>
                  </a:lnTo>
                  <a:lnTo>
                    <a:pt x="1440505" y="753837"/>
                  </a:lnTo>
                  <a:lnTo>
                    <a:pt x="1376428" y="737237"/>
                  </a:lnTo>
                  <a:lnTo>
                    <a:pt x="1330093" y="729205"/>
                  </a:lnTo>
                  <a:lnTo>
                    <a:pt x="1309775" y="734514"/>
                  </a:lnTo>
                  <a:lnTo>
                    <a:pt x="1294520" y="751028"/>
                  </a:lnTo>
                  <a:lnTo>
                    <a:pt x="1275901" y="776319"/>
                  </a:lnTo>
                  <a:lnTo>
                    <a:pt x="1254944" y="779715"/>
                  </a:lnTo>
                  <a:lnTo>
                    <a:pt x="1224211" y="804373"/>
                  </a:lnTo>
                  <a:lnTo>
                    <a:pt x="1211799" y="828683"/>
                  </a:lnTo>
                  <a:lnTo>
                    <a:pt x="1190076" y="837889"/>
                  </a:lnTo>
                  <a:lnTo>
                    <a:pt x="1166788" y="818084"/>
                  </a:lnTo>
                  <a:lnTo>
                    <a:pt x="1138476" y="794343"/>
                  </a:lnTo>
                  <a:lnTo>
                    <a:pt x="1118502" y="769816"/>
                  </a:lnTo>
                  <a:lnTo>
                    <a:pt x="1093592" y="742658"/>
                  </a:lnTo>
                  <a:lnTo>
                    <a:pt x="1057827" y="730141"/>
                  </a:lnTo>
                  <a:lnTo>
                    <a:pt x="1017420" y="733135"/>
                  </a:lnTo>
                  <a:lnTo>
                    <a:pt x="952131" y="737211"/>
                  </a:lnTo>
                  <a:lnTo>
                    <a:pt x="938064" y="753237"/>
                  </a:lnTo>
                  <a:lnTo>
                    <a:pt x="922679" y="793743"/>
                  </a:lnTo>
                  <a:lnTo>
                    <a:pt x="913451" y="814167"/>
                  </a:lnTo>
                  <a:lnTo>
                    <a:pt x="879488" y="818493"/>
                  </a:lnTo>
                  <a:lnTo>
                    <a:pt x="858245" y="816930"/>
                  </a:lnTo>
                  <a:lnTo>
                    <a:pt x="817504" y="817992"/>
                  </a:lnTo>
                  <a:lnTo>
                    <a:pt x="779385" y="831069"/>
                  </a:lnTo>
                  <a:lnTo>
                    <a:pt x="754013" y="844141"/>
                  </a:lnTo>
                  <a:lnTo>
                    <a:pt x="731289" y="869742"/>
                  </a:lnTo>
                  <a:lnTo>
                    <a:pt x="710013" y="900435"/>
                  </a:lnTo>
                  <a:lnTo>
                    <a:pt x="688746" y="931128"/>
                  </a:lnTo>
                  <a:lnTo>
                    <a:pt x="668676" y="966635"/>
                  </a:lnTo>
                  <a:lnTo>
                    <a:pt x="647446" y="998369"/>
                  </a:lnTo>
                  <a:lnTo>
                    <a:pt x="626226" y="1030111"/>
                  </a:lnTo>
                  <a:lnTo>
                    <a:pt x="603315" y="1058337"/>
                  </a:lnTo>
                  <a:lnTo>
                    <a:pt x="578077" y="1074540"/>
                  </a:lnTo>
                  <a:lnTo>
                    <a:pt x="553015" y="1088396"/>
                  </a:lnTo>
                  <a:lnTo>
                    <a:pt x="524253" y="1090612"/>
                  </a:lnTo>
                  <a:lnTo>
                    <a:pt x="492389" y="1078622"/>
                  </a:lnTo>
                  <a:lnTo>
                    <a:pt x="459743" y="1037820"/>
                  </a:lnTo>
                  <a:lnTo>
                    <a:pt x="436615" y="1033745"/>
                  </a:lnTo>
                  <a:lnTo>
                    <a:pt x="385998" y="1049025"/>
                  </a:lnTo>
                  <a:lnTo>
                    <a:pt x="345486" y="1048702"/>
                  </a:lnTo>
                  <a:lnTo>
                    <a:pt x="304974" y="1048372"/>
                  </a:lnTo>
                  <a:lnTo>
                    <a:pt x="264105" y="1043683"/>
                  </a:lnTo>
                  <a:lnTo>
                    <a:pt x="240745" y="1047343"/>
                  </a:lnTo>
                  <a:lnTo>
                    <a:pt x="240686" y="1075675"/>
                  </a:lnTo>
                  <a:lnTo>
                    <a:pt x="229428" y="1099086"/>
                  </a:lnTo>
                  <a:lnTo>
                    <a:pt x="216266" y="1122155"/>
                  </a:lnTo>
                  <a:lnTo>
                    <a:pt x="203101" y="1145225"/>
                  </a:lnTo>
                  <a:lnTo>
                    <a:pt x="189127" y="1167786"/>
                  </a:lnTo>
                  <a:lnTo>
                    <a:pt x="183620" y="1194244"/>
                  </a:lnTo>
                  <a:lnTo>
                    <a:pt x="171763" y="1222345"/>
                  </a:lnTo>
                  <a:lnTo>
                    <a:pt x="161218" y="1300040"/>
                  </a:lnTo>
                  <a:lnTo>
                    <a:pt x="140649" y="1329051"/>
                  </a:lnTo>
                  <a:lnTo>
                    <a:pt x="119962" y="1340816"/>
                  </a:lnTo>
                  <a:lnTo>
                    <a:pt x="102009" y="1353386"/>
                  </a:lnTo>
                  <a:lnTo>
                    <a:pt x="84057" y="1365962"/>
                  </a:lnTo>
                  <a:lnTo>
                    <a:pt x="68238" y="1380069"/>
                  </a:lnTo>
                  <a:lnTo>
                    <a:pt x="68005" y="1402353"/>
                  </a:lnTo>
                  <a:lnTo>
                    <a:pt x="89914" y="1411982"/>
                  </a:lnTo>
                  <a:lnTo>
                    <a:pt x="107451" y="1434998"/>
                  </a:lnTo>
                  <a:lnTo>
                    <a:pt x="111209" y="1460659"/>
                  </a:lnTo>
                  <a:lnTo>
                    <a:pt x="95842" y="1502022"/>
                  </a:lnTo>
                  <a:lnTo>
                    <a:pt x="70895" y="1530934"/>
                  </a:lnTo>
                  <a:lnTo>
                    <a:pt x="54400" y="1554696"/>
                  </a:lnTo>
                  <a:lnTo>
                    <a:pt x="39582" y="1580238"/>
                  </a:lnTo>
                  <a:lnTo>
                    <a:pt x="22982" y="1605331"/>
                  </a:lnTo>
                  <a:lnTo>
                    <a:pt x="0" y="1622709"/>
                  </a:lnTo>
                  <a:lnTo>
                    <a:pt x="12238" y="1648554"/>
                  </a:lnTo>
                  <a:lnTo>
                    <a:pt x="41040" y="1636763"/>
                  </a:lnTo>
                  <a:lnTo>
                    <a:pt x="73208" y="1633142"/>
                  </a:lnTo>
                  <a:lnTo>
                    <a:pt x="102009" y="1647189"/>
                  </a:lnTo>
                  <a:lnTo>
                    <a:pt x="113984" y="1667191"/>
                  </a:lnTo>
                  <a:lnTo>
                    <a:pt x="126557" y="1688783"/>
                  </a:lnTo>
                  <a:lnTo>
                    <a:pt x="133294" y="1719284"/>
                  </a:lnTo>
                  <a:lnTo>
                    <a:pt x="137787" y="1750538"/>
                  </a:lnTo>
                  <a:lnTo>
                    <a:pt x="150363" y="1782827"/>
                  </a:lnTo>
                  <a:lnTo>
                    <a:pt x="169199" y="1795218"/>
                  </a:lnTo>
                  <a:lnTo>
                    <a:pt x="186345" y="1807696"/>
                  </a:lnTo>
                  <a:lnTo>
                    <a:pt x="203492" y="1820173"/>
                  </a:lnTo>
                  <a:lnTo>
                    <a:pt x="228513" y="1851222"/>
                  </a:lnTo>
                  <a:lnTo>
                    <a:pt x="232780" y="1883616"/>
                  </a:lnTo>
                  <a:lnTo>
                    <a:pt x="232389" y="1916762"/>
                  </a:lnTo>
                  <a:lnTo>
                    <a:pt x="246193" y="1943715"/>
                  </a:lnTo>
                  <a:lnTo>
                    <a:pt x="267100" y="1963329"/>
                  </a:lnTo>
                  <a:lnTo>
                    <a:pt x="288379" y="1970755"/>
                  </a:lnTo>
                  <a:lnTo>
                    <a:pt x="310118" y="1975002"/>
                  </a:lnTo>
                  <a:lnTo>
                    <a:pt x="331862" y="1979243"/>
                  </a:lnTo>
                  <a:lnTo>
                    <a:pt x="354072" y="1979512"/>
                  </a:lnTo>
                  <a:lnTo>
                    <a:pt x="394026" y="1986813"/>
                  </a:lnTo>
                  <a:lnTo>
                    <a:pt x="427100" y="2011722"/>
                  </a:lnTo>
                  <a:lnTo>
                    <a:pt x="442714" y="2029561"/>
                  </a:lnTo>
                  <a:lnTo>
                    <a:pt x="456499" y="2058777"/>
                  </a:lnTo>
                  <a:lnTo>
                    <a:pt x="465184" y="2105581"/>
                  </a:lnTo>
                  <a:lnTo>
                    <a:pt x="484647" y="2124179"/>
                  </a:lnTo>
                  <a:lnTo>
                    <a:pt x="520145" y="2128802"/>
                  </a:lnTo>
                  <a:lnTo>
                    <a:pt x="552928" y="2102442"/>
                  </a:lnTo>
                  <a:lnTo>
                    <a:pt x="583524" y="2077012"/>
                  </a:lnTo>
                  <a:lnTo>
                    <a:pt x="614108" y="2051582"/>
                  </a:lnTo>
                  <a:lnTo>
                    <a:pt x="643518" y="2026772"/>
                  </a:lnTo>
                  <a:lnTo>
                    <a:pt x="714096" y="2075653"/>
                  </a:lnTo>
                  <a:lnTo>
                    <a:pt x="729019" y="2107216"/>
                  </a:lnTo>
                  <a:lnTo>
                    <a:pt x="732969" y="2151679"/>
                  </a:lnTo>
                  <a:lnTo>
                    <a:pt x="735865" y="2185828"/>
                  </a:lnTo>
                  <a:lnTo>
                    <a:pt x="701347" y="2210189"/>
                  </a:lnTo>
                  <a:lnTo>
                    <a:pt x="571150" y="2258813"/>
                  </a:lnTo>
                  <a:lnTo>
                    <a:pt x="546776" y="2278876"/>
                  </a:lnTo>
                  <a:lnTo>
                    <a:pt x="569925" y="2323292"/>
                  </a:lnTo>
                  <a:lnTo>
                    <a:pt x="593040" y="2377621"/>
                  </a:lnTo>
                  <a:lnTo>
                    <a:pt x="604599" y="2404785"/>
                  </a:lnTo>
                  <a:lnTo>
                    <a:pt x="616524" y="2434231"/>
                  </a:lnTo>
                  <a:lnTo>
                    <a:pt x="624325" y="2464673"/>
                  </a:lnTo>
                  <a:lnTo>
                    <a:pt x="632126" y="2495109"/>
                  </a:lnTo>
                  <a:lnTo>
                    <a:pt x="636163" y="2526599"/>
                  </a:lnTo>
                  <a:lnTo>
                    <a:pt x="632483" y="2557167"/>
                  </a:lnTo>
                  <a:lnTo>
                    <a:pt x="658838" y="2578119"/>
                  </a:lnTo>
                  <a:lnTo>
                    <a:pt x="799790" y="2629256"/>
                  </a:lnTo>
                  <a:lnTo>
                    <a:pt x="822068" y="2637440"/>
                  </a:lnTo>
                  <a:lnTo>
                    <a:pt x="877795" y="2595338"/>
                  </a:lnTo>
                  <a:lnTo>
                    <a:pt x="908605" y="2600693"/>
                  </a:lnTo>
                  <a:lnTo>
                    <a:pt x="946699" y="2678223"/>
                  </a:lnTo>
                  <a:lnTo>
                    <a:pt x="969563" y="2724849"/>
                  </a:lnTo>
                  <a:lnTo>
                    <a:pt x="979764" y="2781578"/>
                  </a:lnTo>
                  <a:lnTo>
                    <a:pt x="995657" y="2830565"/>
                  </a:lnTo>
                  <a:lnTo>
                    <a:pt x="1003421" y="2854525"/>
                  </a:lnTo>
                  <a:lnTo>
                    <a:pt x="1014955" y="2876736"/>
                  </a:lnTo>
                  <a:lnTo>
                    <a:pt x="1029668" y="2895855"/>
                  </a:lnTo>
                  <a:lnTo>
                    <a:pt x="1044367" y="2914973"/>
                  </a:lnTo>
                  <a:lnTo>
                    <a:pt x="1062227" y="2932120"/>
                  </a:lnTo>
                  <a:lnTo>
                    <a:pt x="1081351" y="2947539"/>
                  </a:lnTo>
                  <a:lnTo>
                    <a:pt x="1119597" y="2978383"/>
                  </a:lnTo>
                  <a:lnTo>
                    <a:pt x="1163049" y="3002152"/>
                  </a:lnTo>
                  <a:lnTo>
                    <a:pt x="1203765" y="3025075"/>
                  </a:lnTo>
                  <a:lnTo>
                    <a:pt x="1216779" y="3044860"/>
                  </a:lnTo>
                  <a:lnTo>
                    <a:pt x="1225129" y="3064658"/>
                  </a:lnTo>
                  <a:lnTo>
                    <a:pt x="1220090" y="3109405"/>
                  </a:lnTo>
                  <a:lnTo>
                    <a:pt x="1216100" y="3133885"/>
                  </a:lnTo>
                  <a:lnTo>
                    <a:pt x="1208919" y="3161682"/>
                  </a:lnTo>
                  <a:lnTo>
                    <a:pt x="1201049" y="3189657"/>
                  </a:lnTo>
                  <a:lnTo>
                    <a:pt x="1185301" y="3245603"/>
                  </a:lnTo>
                  <a:lnTo>
                    <a:pt x="1168865" y="3303269"/>
                  </a:lnTo>
                  <a:lnTo>
                    <a:pt x="1176564" y="3337918"/>
                  </a:lnTo>
                  <a:lnTo>
                    <a:pt x="1182427" y="3364231"/>
                  </a:lnTo>
                  <a:lnTo>
                    <a:pt x="1209036" y="3385698"/>
                  </a:lnTo>
                  <a:lnTo>
                    <a:pt x="1217371" y="3414088"/>
                  </a:lnTo>
                  <a:lnTo>
                    <a:pt x="1203173" y="3444848"/>
                  </a:lnTo>
                  <a:lnTo>
                    <a:pt x="1171721" y="3470383"/>
                  </a:lnTo>
                  <a:lnTo>
                    <a:pt x="1142560" y="3487543"/>
                  </a:lnTo>
                  <a:lnTo>
                    <a:pt x="1106730" y="3469051"/>
                  </a:lnTo>
                  <a:lnTo>
                    <a:pt x="1085481" y="3456864"/>
                  </a:lnTo>
                  <a:lnTo>
                    <a:pt x="1063666" y="3463056"/>
                  </a:lnTo>
                  <a:lnTo>
                    <a:pt x="1044637" y="3475058"/>
                  </a:lnTo>
                  <a:lnTo>
                    <a:pt x="1024195" y="3504334"/>
                  </a:lnTo>
                  <a:lnTo>
                    <a:pt x="1017758" y="3531914"/>
                  </a:lnTo>
                  <a:lnTo>
                    <a:pt x="1025587" y="3552826"/>
                  </a:lnTo>
                  <a:lnTo>
                    <a:pt x="1036117" y="3580987"/>
                  </a:lnTo>
                  <a:lnTo>
                    <a:pt x="1052448" y="3605855"/>
                  </a:lnTo>
                  <a:lnTo>
                    <a:pt x="1066388" y="3631720"/>
                  </a:lnTo>
                  <a:lnTo>
                    <a:pt x="1084176" y="3664768"/>
                  </a:lnTo>
                  <a:lnTo>
                    <a:pt x="1126000" y="3737754"/>
                  </a:lnTo>
                  <a:lnTo>
                    <a:pt x="1171123" y="3803102"/>
                  </a:lnTo>
                  <a:lnTo>
                    <a:pt x="1193682" y="3835780"/>
                  </a:lnTo>
                  <a:lnTo>
                    <a:pt x="1217259" y="3865985"/>
                  </a:lnTo>
                  <a:lnTo>
                    <a:pt x="1239134" y="3888796"/>
                  </a:lnTo>
                  <a:lnTo>
                    <a:pt x="1261005" y="3911608"/>
                  </a:lnTo>
                  <a:lnTo>
                    <a:pt x="1281448" y="3927251"/>
                  </a:lnTo>
                  <a:lnTo>
                    <a:pt x="1307037" y="3921843"/>
                  </a:lnTo>
                  <a:lnTo>
                    <a:pt x="1326623" y="3907849"/>
                  </a:lnTo>
                  <a:lnTo>
                    <a:pt x="1346594" y="3899679"/>
                  </a:lnTo>
                  <a:lnTo>
                    <a:pt x="1366549" y="3891507"/>
                  </a:lnTo>
                  <a:lnTo>
                    <a:pt x="1398278" y="3901037"/>
                  </a:lnTo>
                  <a:lnTo>
                    <a:pt x="1425526" y="3930027"/>
                  </a:lnTo>
                  <a:lnTo>
                    <a:pt x="1457790" y="3959968"/>
                  </a:lnTo>
                  <a:lnTo>
                    <a:pt x="1482614" y="3990807"/>
                  </a:lnTo>
                  <a:lnTo>
                    <a:pt x="1498678" y="4030745"/>
                  </a:lnTo>
                  <a:lnTo>
                    <a:pt x="1513892" y="4047938"/>
                  </a:lnTo>
                  <a:lnTo>
                    <a:pt x="1545838" y="4042042"/>
                  </a:lnTo>
                  <a:lnTo>
                    <a:pt x="1569005" y="4023907"/>
                  </a:lnTo>
                  <a:lnTo>
                    <a:pt x="1594145" y="4015294"/>
                  </a:lnTo>
                  <a:lnTo>
                    <a:pt x="1719753" y="4111078"/>
                  </a:lnTo>
                  <a:lnTo>
                    <a:pt x="1738331" y="4124109"/>
                  </a:lnTo>
                  <a:lnTo>
                    <a:pt x="1753828" y="4153662"/>
                  </a:lnTo>
                  <a:lnTo>
                    <a:pt x="1754653" y="4182600"/>
                  </a:lnTo>
                  <a:lnTo>
                    <a:pt x="1755471" y="4211531"/>
                  </a:lnTo>
                  <a:lnTo>
                    <a:pt x="1752278" y="4248318"/>
                  </a:lnTo>
                  <a:lnTo>
                    <a:pt x="1749211" y="4284609"/>
                  </a:lnTo>
                  <a:lnTo>
                    <a:pt x="1743072" y="4357206"/>
                  </a:lnTo>
                  <a:lnTo>
                    <a:pt x="1735262" y="4430462"/>
                  </a:lnTo>
                  <a:lnTo>
                    <a:pt x="1749211" y="4447833"/>
                  </a:lnTo>
                  <a:lnTo>
                    <a:pt x="1802895" y="4478487"/>
                  </a:lnTo>
                  <a:lnTo>
                    <a:pt x="1868482" y="4503349"/>
                  </a:lnTo>
                  <a:lnTo>
                    <a:pt x="1934192" y="4526727"/>
                  </a:lnTo>
                  <a:lnTo>
                    <a:pt x="1999909" y="4550101"/>
                  </a:lnTo>
                  <a:lnTo>
                    <a:pt x="2065666" y="4571646"/>
                  </a:lnTo>
                  <a:lnTo>
                    <a:pt x="2121902" y="4592018"/>
                  </a:lnTo>
                  <a:lnTo>
                    <a:pt x="2155782" y="4604304"/>
                  </a:lnTo>
                  <a:lnTo>
                    <a:pt x="2184134" y="4609995"/>
                  </a:lnTo>
                  <a:lnTo>
                    <a:pt x="2214395" y="4632820"/>
                  </a:lnTo>
                  <a:lnTo>
                    <a:pt x="2225871" y="4658527"/>
                  </a:lnTo>
                  <a:lnTo>
                    <a:pt x="2222243" y="4698024"/>
                  </a:lnTo>
                  <a:lnTo>
                    <a:pt x="2218473" y="4738919"/>
                  </a:lnTo>
                  <a:lnTo>
                    <a:pt x="2214705" y="4779814"/>
                  </a:lnTo>
                  <a:lnTo>
                    <a:pt x="2210808" y="4821897"/>
                  </a:lnTo>
                  <a:lnTo>
                    <a:pt x="2221189" y="4854534"/>
                  </a:lnTo>
                  <a:lnTo>
                    <a:pt x="2227625" y="4874774"/>
                  </a:lnTo>
                  <a:lnTo>
                    <a:pt x="2252477" y="4904859"/>
                  </a:lnTo>
                  <a:lnTo>
                    <a:pt x="2282081" y="4928430"/>
                  </a:lnTo>
                  <a:lnTo>
                    <a:pt x="2332004" y="4959743"/>
                  </a:lnTo>
                  <a:lnTo>
                    <a:pt x="2367496" y="4978697"/>
                  </a:lnTo>
                  <a:lnTo>
                    <a:pt x="2389854" y="5010958"/>
                  </a:lnTo>
                  <a:lnTo>
                    <a:pt x="2392108" y="5059490"/>
                  </a:lnTo>
                  <a:lnTo>
                    <a:pt x="2412203" y="5111293"/>
                  </a:lnTo>
                  <a:lnTo>
                    <a:pt x="2419775" y="5161943"/>
                  </a:lnTo>
                  <a:lnTo>
                    <a:pt x="2423567" y="5187267"/>
                  </a:lnTo>
                  <a:lnTo>
                    <a:pt x="2424742" y="5212855"/>
                  </a:lnTo>
                  <a:lnTo>
                    <a:pt x="2418423" y="5236749"/>
                  </a:lnTo>
                  <a:lnTo>
                    <a:pt x="2412098" y="5260649"/>
                  </a:lnTo>
                  <a:lnTo>
                    <a:pt x="2398942" y="5283593"/>
                  </a:lnTo>
                  <a:lnTo>
                    <a:pt x="2374897" y="5304762"/>
                  </a:lnTo>
                  <a:lnTo>
                    <a:pt x="2335520" y="5320346"/>
                  </a:lnTo>
                  <a:lnTo>
                    <a:pt x="2312324" y="5336049"/>
                  </a:lnTo>
                  <a:lnTo>
                    <a:pt x="2289129" y="5351744"/>
                  </a:lnTo>
                  <a:lnTo>
                    <a:pt x="2267282" y="5370250"/>
                  </a:lnTo>
                  <a:lnTo>
                    <a:pt x="2255066" y="5396939"/>
                  </a:lnTo>
                  <a:lnTo>
                    <a:pt x="2207800" y="5476381"/>
                  </a:lnTo>
                  <a:lnTo>
                    <a:pt x="2146719" y="5547428"/>
                  </a:lnTo>
                  <a:lnTo>
                    <a:pt x="2112374" y="5627127"/>
                  </a:lnTo>
                  <a:lnTo>
                    <a:pt x="2111654" y="5655142"/>
                  </a:lnTo>
                  <a:lnTo>
                    <a:pt x="2133458" y="5704511"/>
                  </a:lnTo>
                  <a:lnTo>
                    <a:pt x="2151822" y="5725062"/>
                  </a:lnTo>
                  <a:lnTo>
                    <a:pt x="2225653" y="5807649"/>
                  </a:lnTo>
                  <a:lnTo>
                    <a:pt x="2291498" y="5888945"/>
                  </a:lnTo>
                  <a:lnTo>
                    <a:pt x="2357208" y="5978062"/>
                  </a:lnTo>
                  <a:lnTo>
                    <a:pt x="2390704" y="6023475"/>
                  </a:lnTo>
                  <a:lnTo>
                    <a:pt x="2404337" y="6088052"/>
                  </a:lnTo>
                  <a:lnTo>
                    <a:pt x="2425217" y="6139920"/>
                  </a:lnTo>
                  <a:lnTo>
                    <a:pt x="2466414" y="6242234"/>
                  </a:lnTo>
                  <a:lnTo>
                    <a:pt x="2501392" y="6323523"/>
                  </a:lnTo>
                  <a:lnTo>
                    <a:pt x="2521797" y="6409244"/>
                  </a:lnTo>
                  <a:lnTo>
                    <a:pt x="2531994" y="6452103"/>
                  </a:lnTo>
                  <a:lnTo>
                    <a:pt x="2538831" y="6496137"/>
                  </a:lnTo>
                  <a:lnTo>
                    <a:pt x="2540837" y="6543905"/>
                  </a:lnTo>
                  <a:lnTo>
                    <a:pt x="2542843" y="6591665"/>
                  </a:lnTo>
                  <a:lnTo>
                    <a:pt x="2540878" y="6642986"/>
                  </a:lnTo>
                  <a:lnTo>
                    <a:pt x="2532674" y="6701688"/>
                  </a:lnTo>
                  <a:lnTo>
                    <a:pt x="2526857" y="6756182"/>
                  </a:lnTo>
                  <a:lnTo>
                    <a:pt x="2558433" y="6780839"/>
                  </a:lnTo>
                  <a:lnTo>
                    <a:pt x="2605692" y="6803494"/>
                  </a:lnTo>
                  <a:lnTo>
                    <a:pt x="2651004" y="6829543"/>
                  </a:lnTo>
                  <a:lnTo>
                    <a:pt x="2696332" y="6855593"/>
                  </a:lnTo>
                  <a:lnTo>
                    <a:pt x="2740056" y="6884486"/>
                  </a:lnTo>
                  <a:lnTo>
                    <a:pt x="2766628" y="6902998"/>
                  </a:lnTo>
                  <a:lnTo>
                    <a:pt x="2789117" y="6923804"/>
                  </a:lnTo>
                  <a:lnTo>
                    <a:pt x="2823970" y="6940930"/>
                  </a:lnTo>
                  <a:lnTo>
                    <a:pt x="2858948" y="6951938"/>
                  </a:lnTo>
                  <a:lnTo>
                    <a:pt x="2890407" y="6964205"/>
                  </a:lnTo>
                  <a:lnTo>
                    <a:pt x="2923428" y="6977065"/>
                  </a:lnTo>
                  <a:lnTo>
                    <a:pt x="2962325" y="6983759"/>
                  </a:lnTo>
                  <a:lnTo>
                    <a:pt x="2996499" y="6996850"/>
                  </a:lnTo>
                  <a:lnTo>
                    <a:pt x="3057457" y="7020181"/>
                  </a:lnTo>
                  <a:lnTo>
                    <a:pt x="3108421" y="7060120"/>
                  </a:lnTo>
                  <a:lnTo>
                    <a:pt x="3166523" y="7089343"/>
                  </a:lnTo>
                  <a:lnTo>
                    <a:pt x="3223844" y="7118196"/>
                  </a:lnTo>
                  <a:lnTo>
                    <a:pt x="3288863" y="7141080"/>
                  </a:lnTo>
                  <a:lnTo>
                    <a:pt x="3351510" y="7166872"/>
                  </a:lnTo>
                  <a:lnTo>
                    <a:pt x="3414155" y="7192666"/>
                  </a:lnTo>
                  <a:lnTo>
                    <a:pt x="3474926" y="7221696"/>
                  </a:lnTo>
                  <a:lnTo>
                    <a:pt x="3524256" y="7263449"/>
                  </a:lnTo>
                  <a:lnTo>
                    <a:pt x="3568421" y="7300828"/>
                  </a:lnTo>
                  <a:lnTo>
                    <a:pt x="3609693" y="7343636"/>
                  </a:lnTo>
                  <a:lnTo>
                    <a:pt x="3652118" y="7383145"/>
                  </a:lnTo>
                  <a:lnTo>
                    <a:pt x="3683530" y="7409071"/>
                  </a:lnTo>
                  <a:lnTo>
                    <a:pt x="3737068" y="7444749"/>
                  </a:lnTo>
                  <a:lnTo>
                    <a:pt x="3767866" y="7470304"/>
                  </a:lnTo>
                  <a:lnTo>
                    <a:pt x="3794938" y="7500120"/>
                  </a:lnTo>
                  <a:lnTo>
                    <a:pt x="3822009" y="7529935"/>
                  </a:lnTo>
                  <a:lnTo>
                    <a:pt x="3844795" y="7564478"/>
                  </a:lnTo>
                  <a:lnTo>
                    <a:pt x="3868390" y="7610300"/>
                  </a:lnTo>
                  <a:lnTo>
                    <a:pt x="3878759" y="7630527"/>
                  </a:lnTo>
                  <a:lnTo>
                    <a:pt x="3882498" y="7655357"/>
                  </a:lnTo>
                  <a:lnTo>
                    <a:pt x="3892873" y="7675590"/>
                  </a:lnTo>
                  <a:lnTo>
                    <a:pt x="3911402" y="7711657"/>
                  </a:lnTo>
                  <a:lnTo>
                    <a:pt x="3948637" y="7743596"/>
                  </a:lnTo>
                  <a:lnTo>
                    <a:pt x="3972734" y="7738347"/>
                  </a:lnTo>
                  <a:lnTo>
                    <a:pt x="4009213" y="7742171"/>
                  </a:lnTo>
                  <a:lnTo>
                    <a:pt x="4046572" y="7747672"/>
                  </a:lnTo>
                  <a:lnTo>
                    <a:pt x="4083934" y="7753179"/>
                  </a:lnTo>
                  <a:lnTo>
                    <a:pt x="4122254" y="7760170"/>
                  </a:lnTo>
                  <a:lnTo>
                    <a:pt x="4149948" y="7761277"/>
                  </a:lnTo>
                  <a:lnTo>
                    <a:pt x="4203675" y="7763421"/>
                  </a:lnTo>
                  <a:lnTo>
                    <a:pt x="4258723" y="7762702"/>
                  </a:lnTo>
                  <a:lnTo>
                    <a:pt x="4317253" y="7766719"/>
                  </a:lnTo>
                  <a:lnTo>
                    <a:pt x="4316574" y="7791159"/>
                  </a:lnTo>
                  <a:lnTo>
                    <a:pt x="4322437" y="7854833"/>
                  </a:lnTo>
                  <a:lnTo>
                    <a:pt x="4329494" y="7878252"/>
                  </a:lnTo>
                  <a:lnTo>
                    <a:pt x="4368087" y="7897996"/>
                  </a:lnTo>
                  <a:lnTo>
                    <a:pt x="4394783" y="7901380"/>
                  </a:lnTo>
                  <a:lnTo>
                    <a:pt x="4421485" y="7904763"/>
                  </a:lnTo>
                  <a:lnTo>
                    <a:pt x="4449533" y="7904295"/>
                  </a:lnTo>
                  <a:lnTo>
                    <a:pt x="4471464" y="7915189"/>
                  </a:lnTo>
                  <a:lnTo>
                    <a:pt x="4482905" y="7960780"/>
                  </a:lnTo>
                  <a:lnTo>
                    <a:pt x="4459269" y="7989409"/>
                  </a:lnTo>
                  <a:lnTo>
                    <a:pt x="4419262" y="7993866"/>
                  </a:lnTo>
                  <a:lnTo>
                    <a:pt x="4380096" y="7993998"/>
                  </a:lnTo>
                  <a:lnTo>
                    <a:pt x="4367923" y="8022713"/>
                  </a:lnTo>
                  <a:lnTo>
                    <a:pt x="4378462" y="8059157"/>
                  </a:lnTo>
                  <a:lnTo>
                    <a:pt x="4381348" y="8092091"/>
                  </a:lnTo>
                  <a:lnTo>
                    <a:pt x="4375017" y="8112330"/>
                  </a:lnTo>
                  <a:lnTo>
                    <a:pt x="4346541" y="8142008"/>
                  </a:lnTo>
                  <a:lnTo>
                    <a:pt x="4324521" y="8152283"/>
                  </a:lnTo>
                  <a:lnTo>
                    <a:pt x="4296848" y="8166614"/>
                  </a:lnTo>
                  <a:lnTo>
                    <a:pt x="4334216" y="8196976"/>
                  </a:lnTo>
                  <a:lnTo>
                    <a:pt x="4367858" y="8224596"/>
                  </a:lnTo>
                  <a:lnTo>
                    <a:pt x="4397509" y="8256390"/>
                  </a:lnTo>
                  <a:lnTo>
                    <a:pt x="4427150" y="8288185"/>
                  </a:lnTo>
                  <a:lnTo>
                    <a:pt x="4453102" y="8323902"/>
                  </a:lnTo>
                  <a:lnTo>
                    <a:pt x="4472313" y="8369288"/>
                  </a:lnTo>
                  <a:lnTo>
                    <a:pt x="4525361" y="8374728"/>
                  </a:lnTo>
                  <a:lnTo>
                    <a:pt x="4544765" y="8389951"/>
                  </a:lnTo>
                  <a:lnTo>
                    <a:pt x="4557651" y="8413909"/>
                  </a:lnTo>
                  <a:lnTo>
                    <a:pt x="4568887" y="8441377"/>
                  </a:lnTo>
                  <a:lnTo>
                    <a:pt x="4579904" y="8466885"/>
                  </a:lnTo>
                  <a:lnTo>
                    <a:pt x="4598684" y="8483875"/>
                  </a:lnTo>
                  <a:lnTo>
                    <a:pt x="4630096" y="8486263"/>
                  </a:lnTo>
                  <a:lnTo>
                    <a:pt x="4640272" y="8443633"/>
                  </a:lnTo>
                  <a:lnTo>
                    <a:pt x="4647785" y="8415532"/>
                  </a:lnTo>
                  <a:lnTo>
                    <a:pt x="4656745" y="8388262"/>
                  </a:lnTo>
                  <a:lnTo>
                    <a:pt x="4671461" y="8372071"/>
                  </a:lnTo>
                  <a:lnTo>
                    <a:pt x="4694027" y="8373364"/>
                  </a:lnTo>
                  <a:lnTo>
                    <a:pt x="4733814" y="8387800"/>
                  </a:lnTo>
                  <a:lnTo>
                    <a:pt x="4774701" y="8404590"/>
                  </a:lnTo>
                  <a:lnTo>
                    <a:pt x="4815083" y="8416890"/>
                  </a:lnTo>
                  <a:lnTo>
                    <a:pt x="4851223" y="8425200"/>
                  </a:lnTo>
                  <a:lnTo>
                    <a:pt x="4887767" y="8433067"/>
                  </a:lnTo>
                  <a:lnTo>
                    <a:pt x="4919824" y="8450900"/>
                  </a:lnTo>
                  <a:lnTo>
                    <a:pt x="4908730" y="8513638"/>
                  </a:lnTo>
                  <a:lnTo>
                    <a:pt x="4933442" y="8541586"/>
                  </a:lnTo>
                  <a:lnTo>
                    <a:pt x="4979389" y="8543617"/>
                  </a:lnTo>
                  <a:lnTo>
                    <a:pt x="5027281" y="8547470"/>
                  </a:lnTo>
                  <a:lnTo>
                    <a:pt x="5051221" y="8549395"/>
                  </a:lnTo>
                  <a:lnTo>
                    <a:pt x="5075926" y="8550990"/>
                  </a:lnTo>
                  <a:lnTo>
                    <a:pt x="5098005" y="8555633"/>
                  </a:lnTo>
                  <a:lnTo>
                    <a:pt x="5120091" y="8560277"/>
                  </a:lnTo>
                  <a:lnTo>
                    <a:pt x="5152411" y="8578756"/>
                  </a:lnTo>
                  <a:lnTo>
                    <a:pt x="5154278" y="8609046"/>
                  </a:lnTo>
                  <a:lnTo>
                    <a:pt x="5144170" y="8643873"/>
                  </a:lnTo>
                  <a:lnTo>
                    <a:pt x="5165694" y="8675285"/>
                  </a:lnTo>
                  <a:lnTo>
                    <a:pt x="5187544" y="8675707"/>
                  </a:lnTo>
                  <a:lnTo>
                    <a:pt x="5208185" y="8667166"/>
                  </a:lnTo>
                  <a:lnTo>
                    <a:pt x="5228828" y="8658633"/>
                  </a:lnTo>
                  <a:lnTo>
                    <a:pt x="5248864" y="8642067"/>
                  </a:lnTo>
                  <a:lnTo>
                    <a:pt x="5273390" y="8607126"/>
                  </a:lnTo>
                  <a:lnTo>
                    <a:pt x="5283334" y="8575801"/>
                  </a:lnTo>
                  <a:lnTo>
                    <a:pt x="5293872" y="8554269"/>
                  </a:lnTo>
                  <a:lnTo>
                    <a:pt x="5310625" y="8534128"/>
                  </a:lnTo>
                  <a:lnTo>
                    <a:pt x="5350746" y="8554849"/>
                  </a:lnTo>
                  <a:lnTo>
                    <a:pt x="5378546" y="8557395"/>
                  </a:lnTo>
                  <a:lnTo>
                    <a:pt x="5413577" y="8571957"/>
                  </a:lnTo>
                  <a:lnTo>
                    <a:pt x="5442521" y="8584005"/>
                  </a:lnTo>
                  <a:lnTo>
                    <a:pt x="5465598" y="8608855"/>
                  </a:lnTo>
                  <a:lnTo>
                    <a:pt x="5489743" y="8626364"/>
                  </a:lnTo>
                  <a:lnTo>
                    <a:pt x="5533293" y="8657051"/>
                  </a:lnTo>
                  <a:lnTo>
                    <a:pt x="5555987" y="8690506"/>
                  </a:lnTo>
                  <a:lnTo>
                    <a:pt x="5571359" y="8727015"/>
                  </a:lnTo>
                  <a:lnTo>
                    <a:pt x="5586720" y="8763525"/>
                  </a:lnTo>
                  <a:lnTo>
                    <a:pt x="5595221" y="8802646"/>
                  </a:lnTo>
                  <a:lnTo>
                    <a:pt x="5593116" y="8838556"/>
                  </a:lnTo>
                  <a:lnTo>
                    <a:pt x="5613521" y="8848078"/>
                  </a:lnTo>
                  <a:lnTo>
                    <a:pt x="5639188" y="8837717"/>
                  </a:lnTo>
                  <a:lnTo>
                    <a:pt x="5653144" y="8806748"/>
                  </a:lnTo>
                  <a:lnTo>
                    <a:pt x="5657339" y="8785993"/>
                  </a:lnTo>
                  <a:lnTo>
                    <a:pt x="5661131" y="8762384"/>
                  </a:lnTo>
                  <a:lnTo>
                    <a:pt x="5664916" y="8738774"/>
                  </a:lnTo>
                  <a:lnTo>
                    <a:pt x="5667633" y="8712184"/>
                  </a:lnTo>
                  <a:lnTo>
                    <a:pt x="5673372" y="8687571"/>
                  </a:lnTo>
                  <a:lnTo>
                    <a:pt x="5679108" y="8662966"/>
                  </a:lnTo>
                  <a:lnTo>
                    <a:pt x="5687752" y="8639396"/>
                  </a:lnTo>
                  <a:lnTo>
                    <a:pt x="5700573" y="8620924"/>
                  </a:lnTo>
                  <a:lnTo>
                    <a:pt x="5754052" y="8619816"/>
                  </a:lnTo>
                  <a:lnTo>
                    <a:pt x="5799063" y="8649150"/>
                  </a:lnTo>
                  <a:lnTo>
                    <a:pt x="5827077" y="8669890"/>
                  </a:lnTo>
                  <a:lnTo>
                    <a:pt x="5840419" y="8631871"/>
                  </a:lnTo>
                  <a:lnTo>
                    <a:pt x="5869496" y="8568302"/>
                  </a:lnTo>
                  <a:lnTo>
                    <a:pt x="5899160" y="8540670"/>
                  </a:lnTo>
                  <a:lnTo>
                    <a:pt x="5926299" y="8536562"/>
                  </a:lnTo>
                  <a:lnTo>
                    <a:pt x="5964523" y="8544778"/>
                  </a:lnTo>
                  <a:lnTo>
                    <a:pt x="5990295" y="8552910"/>
                  </a:lnTo>
                  <a:lnTo>
                    <a:pt x="6077586" y="8581835"/>
                  </a:lnTo>
                  <a:lnTo>
                    <a:pt x="6123868" y="8597801"/>
                  </a:lnTo>
                  <a:lnTo>
                    <a:pt x="6165766" y="8619564"/>
                  </a:lnTo>
                  <a:lnTo>
                    <a:pt x="6207655" y="8641321"/>
                  </a:lnTo>
                  <a:lnTo>
                    <a:pt x="6246230" y="8670016"/>
                  </a:lnTo>
                  <a:lnTo>
                    <a:pt x="6316750" y="8722940"/>
                  </a:lnTo>
                  <a:lnTo>
                    <a:pt x="6334680" y="8736387"/>
                  </a:lnTo>
                  <a:lnTo>
                    <a:pt x="6354108" y="8746378"/>
                  </a:lnTo>
                  <a:lnTo>
                    <a:pt x="6371159" y="8761026"/>
                  </a:lnTo>
                  <a:lnTo>
                    <a:pt x="6389049" y="8776372"/>
                  </a:lnTo>
                  <a:lnTo>
                    <a:pt x="6447387" y="8822529"/>
                  </a:lnTo>
                  <a:lnTo>
                    <a:pt x="6474907" y="8842242"/>
                  </a:lnTo>
                  <a:lnTo>
                    <a:pt x="6531003" y="8880894"/>
                  </a:lnTo>
                  <a:lnTo>
                    <a:pt x="6590147" y="8917444"/>
                  </a:lnTo>
                  <a:lnTo>
                    <a:pt x="6649284" y="8953998"/>
                  </a:lnTo>
                  <a:lnTo>
                    <a:pt x="6711823" y="8987976"/>
                  </a:lnTo>
                  <a:lnTo>
                    <a:pt x="6843437" y="9057373"/>
                  </a:lnTo>
                  <a:lnTo>
                    <a:pt x="6951151" y="9125856"/>
                  </a:lnTo>
                  <a:lnTo>
                    <a:pt x="7062130" y="9189483"/>
                  </a:lnTo>
                  <a:lnTo>
                    <a:pt x="7129215" y="9227997"/>
                  </a:lnTo>
                  <a:lnTo>
                    <a:pt x="7197939" y="9261896"/>
                  </a:lnTo>
                  <a:lnTo>
                    <a:pt x="7263448" y="9303746"/>
                  </a:lnTo>
                  <a:lnTo>
                    <a:pt x="7292305" y="9322193"/>
                  </a:lnTo>
                  <a:lnTo>
                    <a:pt x="7311610" y="9348117"/>
                  </a:lnTo>
                  <a:lnTo>
                    <a:pt x="7336895" y="9370388"/>
                  </a:lnTo>
                  <a:lnTo>
                    <a:pt x="7369752" y="9399359"/>
                  </a:lnTo>
                  <a:lnTo>
                    <a:pt x="7409833" y="9417443"/>
                  </a:lnTo>
                  <a:lnTo>
                    <a:pt x="7442994" y="9443841"/>
                  </a:lnTo>
                  <a:lnTo>
                    <a:pt x="7464927" y="9461291"/>
                  </a:lnTo>
                  <a:lnTo>
                    <a:pt x="7485115" y="9484347"/>
                  </a:lnTo>
                  <a:lnTo>
                    <a:pt x="7505561" y="9503690"/>
                  </a:lnTo>
                  <a:lnTo>
                    <a:pt x="7527159" y="9516531"/>
                  </a:lnTo>
                  <a:lnTo>
                    <a:pt x="7557837" y="9501587"/>
                  </a:lnTo>
                  <a:lnTo>
                    <a:pt x="7574167" y="9485093"/>
                  </a:lnTo>
                  <a:lnTo>
                    <a:pt x="7592613" y="9472412"/>
                  </a:lnTo>
                  <a:lnTo>
                    <a:pt x="7611064" y="9459676"/>
                  </a:lnTo>
                  <a:lnTo>
                    <a:pt x="7632533" y="9452323"/>
                  </a:lnTo>
                  <a:lnTo>
                    <a:pt x="7651102" y="9439766"/>
                  </a:lnTo>
                  <a:lnTo>
                    <a:pt x="7676130" y="9422844"/>
                  </a:lnTo>
                  <a:lnTo>
                    <a:pt x="7706348" y="9398694"/>
                  </a:lnTo>
                  <a:lnTo>
                    <a:pt x="7734074" y="9373112"/>
                  </a:lnTo>
                  <a:lnTo>
                    <a:pt x="7761799" y="9347529"/>
                  </a:lnTo>
                  <a:lnTo>
                    <a:pt x="7787122" y="9319627"/>
                  </a:lnTo>
                  <a:lnTo>
                    <a:pt x="7802085" y="9292858"/>
                  </a:lnTo>
                  <a:lnTo>
                    <a:pt x="7794132" y="9260029"/>
                  </a:lnTo>
                  <a:lnTo>
                    <a:pt x="7740663" y="9231315"/>
                  </a:lnTo>
                  <a:lnTo>
                    <a:pt x="7722078" y="9209973"/>
                  </a:lnTo>
                  <a:lnTo>
                    <a:pt x="7723219" y="9181326"/>
                  </a:lnTo>
                  <a:lnTo>
                    <a:pt x="7724478" y="9154569"/>
                  </a:lnTo>
                  <a:lnTo>
                    <a:pt x="7735457" y="9125558"/>
                  </a:lnTo>
                  <a:lnTo>
                    <a:pt x="7750612" y="9105543"/>
                  </a:lnTo>
                  <a:lnTo>
                    <a:pt x="7766546" y="9091167"/>
                  </a:lnTo>
                  <a:lnTo>
                    <a:pt x="7780344" y="9072509"/>
                  </a:lnTo>
                  <a:lnTo>
                    <a:pt x="7790743" y="9047357"/>
                  </a:lnTo>
                  <a:lnTo>
                    <a:pt x="7791224" y="9023543"/>
                  </a:lnTo>
                  <a:lnTo>
                    <a:pt x="7822332" y="9031660"/>
                  </a:lnTo>
                  <a:lnTo>
                    <a:pt x="7851205" y="9034299"/>
                  </a:lnTo>
                  <a:lnTo>
                    <a:pt x="7872837" y="9005710"/>
                  </a:lnTo>
                  <a:lnTo>
                    <a:pt x="7860596" y="8910644"/>
                  </a:lnTo>
                  <a:lnTo>
                    <a:pt x="7863340" y="8888881"/>
                  </a:lnTo>
                  <a:lnTo>
                    <a:pt x="7862745" y="8864908"/>
                  </a:lnTo>
                  <a:lnTo>
                    <a:pt x="7849608" y="8844385"/>
                  </a:lnTo>
                  <a:lnTo>
                    <a:pt x="7833414" y="8826308"/>
                  </a:lnTo>
                  <a:lnTo>
                    <a:pt x="7817216" y="8808238"/>
                  </a:lnTo>
                  <a:lnTo>
                    <a:pt x="7797127" y="8792049"/>
                  </a:lnTo>
                  <a:lnTo>
                    <a:pt x="7781727" y="8777347"/>
                  </a:lnTo>
                  <a:lnTo>
                    <a:pt x="7765024" y="8761382"/>
                  </a:lnTo>
                  <a:lnTo>
                    <a:pt x="7746182" y="8749141"/>
                  </a:lnTo>
                  <a:lnTo>
                    <a:pt x="7730037" y="8731097"/>
                  </a:lnTo>
                  <a:lnTo>
                    <a:pt x="7713511" y="8678728"/>
                  </a:lnTo>
                  <a:lnTo>
                    <a:pt x="7716438" y="8641327"/>
                  </a:lnTo>
                  <a:lnTo>
                    <a:pt x="7719352" y="8603922"/>
                  </a:lnTo>
                  <a:lnTo>
                    <a:pt x="7727386" y="8566442"/>
                  </a:lnTo>
                  <a:lnTo>
                    <a:pt x="7744138" y="8525997"/>
                  </a:lnTo>
                  <a:lnTo>
                    <a:pt x="7760361" y="8502505"/>
                  </a:lnTo>
                  <a:lnTo>
                    <a:pt x="7769483" y="8478097"/>
                  </a:lnTo>
                  <a:lnTo>
                    <a:pt x="7785413" y="8435461"/>
                  </a:lnTo>
                  <a:lnTo>
                    <a:pt x="7796262" y="8398055"/>
                  </a:lnTo>
                  <a:lnTo>
                    <a:pt x="7807567" y="8365206"/>
                  </a:lnTo>
                  <a:lnTo>
                    <a:pt x="7818878" y="8332349"/>
                  </a:lnTo>
                  <a:lnTo>
                    <a:pt x="7831296" y="8304374"/>
                  </a:lnTo>
                  <a:lnTo>
                    <a:pt x="7847016" y="8282228"/>
                  </a:lnTo>
                  <a:lnTo>
                    <a:pt x="7862726" y="8260090"/>
                  </a:lnTo>
                  <a:lnTo>
                    <a:pt x="7881786" y="8243787"/>
                  </a:lnTo>
                  <a:lnTo>
                    <a:pt x="7910941" y="8233269"/>
                  </a:lnTo>
                  <a:lnTo>
                    <a:pt x="7940092" y="8222742"/>
                  </a:lnTo>
                  <a:lnTo>
                    <a:pt x="7979042" y="8217645"/>
                  </a:lnTo>
                  <a:lnTo>
                    <a:pt x="8030639" y="8219663"/>
                  </a:lnTo>
                  <a:lnTo>
                    <a:pt x="8049159" y="8203407"/>
                  </a:lnTo>
                  <a:lnTo>
                    <a:pt x="8058364" y="8176071"/>
                  </a:lnTo>
                  <a:lnTo>
                    <a:pt x="8055121" y="8151650"/>
                  </a:lnTo>
                  <a:lnTo>
                    <a:pt x="8034716" y="8143491"/>
                  </a:lnTo>
                  <a:lnTo>
                    <a:pt x="7997986" y="8151650"/>
                  </a:lnTo>
                  <a:lnTo>
                    <a:pt x="7960720" y="8135690"/>
                  </a:lnTo>
                  <a:lnTo>
                    <a:pt x="7964295" y="8093397"/>
                  </a:lnTo>
                  <a:lnTo>
                    <a:pt x="7981290" y="8072709"/>
                  </a:lnTo>
                  <a:lnTo>
                    <a:pt x="8003428" y="8052357"/>
                  </a:lnTo>
                  <a:lnTo>
                    <a:pt x="8025569" y="8032005"/>
                  </a:lnTo>
                  <a:lnTo>
                    <a:pt x="8052606" y="8011811"/>
                  </a:lnTo>
                  <a:lnTo>
                    <a:pt x="8079600" y="7989790"/>
                  </a:lnTo>
                  <a:lnTo>
                    <a:pt x="8106594" y="7967770"/>
                  </a:lnTo>
                  <a:lnTo>
                    <a:pt x="8132735" y="7944220"/>
                  </a:lnTo>
                  <a:lnTo>
                    <a:pt x="8153053" y="7916338"/>
                  </a:lnTo>
                  <a:lnTo>
                    <a:pt x="8173365" y="7888454"/>
                  </a:lnTo>
                  <a:lnTo>
                    <a:pt x="8187671" y="7856357"/>
                  </a:lnTo>
                  <a:lnTo>
                    <a:pt x="8189773" y="7818403"/>
                  </a:lnTo>
                  <a:lnTo>
                    <a:pt x="8165294" y="7754472"/>
                  </a:lnTo>
                  <a:lnTo>
                    <a:pt x="8178555" y="7729523"/>
                  </a:lnTo>
                  <a:lnTo>
                    <a:pt x="8227439" y="7725645"/>
                  </a:lnTo>
                  <a:lnTo>
                    <a:pt x="8253323" y="7746875"/>
                  </a:lnTo>
                  <a:lnTo>
                    <a:pt x="8287714" y="7759913"/>
                  </a:lnTo>
                  <a:lnTo>
                    <a:pt x="8310606" y="7768598"/>
                  </a:lnTo>
                  <a:lnTo>
                    <a:pt x="8331532" y="7771243"/>
                  </a:lnTo>
                  <a:lnTo>
                    <a:pt x="8369030" y="7767629"/>
                  </a:lnTo>
                  <a:lnTo>
                    <a:pt x="8401971" y="7753113"/>
                  </a:lnTo>
                  <a:lnTo>
                    <a:pt x="8434769" y="7735986"/>
                  </a:lnTo>
                  <a:lnTo>
                    <a:pt x="8465691" y="7709659"/>
                  </a:lnTo>
                  <a:lnTo>
                    <a:pt x="8499906" y="7687823"/>
                  </a:lnTo>
                  <a:lnTo>
                    <a:pt x="8542918" y="7660369"/>
                  </a:lnTo>
                  <a:lnTo>
                    <a:pt x="8586233" y="7628766"/>
                  </a:lnTo>
                  <a:lnTo>
                    <a:pt x="8630484" y="7603495"/>
                  </a:lnTo>
                  <a:lnTo>
                    <a:pt x="8681483" y="7574379"/>
                  </a:lnTo>
                  <a:lnTo>
                    <a:pt x="8738825" y="7558412"/>
                  </a:lnTo>
                  <a:lnTo>
                    <a:pt x="8789628" y="7531400"/>
                  </a:lnTo>
                  <a:lnTo>
                    <a:pt x="8813896" y="7518500"/>
                  </a:lnTo>
                  <a:lnTo>
                    <a:pt x="8833669" y="7492767"/>
                  </a:lnTo>
                  <a:lnTo>
                    <a:pt x="8861717" y="7483797"/>
                  </a:lnTo>
                  <a:lnTo>
                    <a:pt x="8901113" y="7471188"/>
                  </a:lnTo>
                  <a:lnTo>
                    <a:pt x="8938270" y="7476444"/>
                  </a:lnTo>
                  <a:lnTo>
                    <a:pt x="8977331" y="7472915"/>
                  </a:lnTo>
                  <a:lnTo>
                    <a:pt x="9031567" y="7467982"/>
                  </a:lnTo>
                  <a:lnTo>
                    <a:pt x="9078714" y="7438207"/>
                  </a:lnTo>
                  <a:lnTo>
                    <a:pt x="9131040" y="7423949"/>
                  </a:lnTo>
                  <a:lnTo>
                    <a:pt x="9165608" y="7414511"/>
                  </a:lnTo>
                  <a:lnTo>
                    <a:pt x="9202620" y="7409334"/>
                  </a:lnTo>
                  <a:lnTo>
                    <a:pt x="9238491" y="7402185"/>
                  </a:lnTo>
                  <a:lnTo>
                    <a:pt x="9274364" y="7395030"/>
                  </a:lnTo>
                  <a:lnTo>
                    <a:pt x="9309668" y="7387004"/>
                  </a:lnTo>
                  <a:lnTo>
                    <a:pt x="9341864" y="7369540"/>
                  </a:lnTo>
                  <a:lnTo>
                    <a:pt x="9365587" y="7350389"/>
                  </a:lnTo>
                  <a:lnTo>
                    <a:pt x="9375267" y="7328837"/>
                  </a:lnTo>
                  <a:lnTo>
                    <a:pt x="9382674" y="7304251"/>
                  </a:lnTo>
                  <a:lnTo>
                    <a:pt x="9397690" y="7279776"/>
                  </a:lnTo>
                  <a:lnTo>
                    <a:pt x="9416669" y="7266165"/>
                  </a:lnTo>
                  <a:lnTo>
                    <a:pt x="9435669" y="7252547"/>
                  </a:lnTo>
                  <a:lnTo>
                    <a:pt x="9465453" y="7237405"/>
                  </a:lnTo>
                  <a:lnTo>
                    <a:pt x="9510530" y="7222639"/>
                  </a:lnTo>
                  <a:lnTo>
                    <a:pt x="9543405" y="7224848"/>
                  </a:lnTo>
                  <a:lnTo>
                    <a:pt x="9575596" y="7239469"/>
                  </a:lnTo>
                  <a:lnTo>
                    <a:pt x="9608462" y="7241678"/>
                  </a:lnTo>
                  <a:lnTo>
                    <a:pt x="9647188" y="7196642"/>
                  </a:lnTo>
                  <a:lnTo>
                    <a:pt x="9663035" y="7180609"/>
                  </a:lnTo>
                  <a:lnTo>
                    <a:pt x="9699976" y="7191379"/>
                  </a:lnTo>
                  <a:lnTo>
                    <a:pt x="9736324" y="7206316"/>
                  </a:lnTo>
                  <a:lnTo>
                    <a:pt x="9772669" y="7221247"/>
                  </a:lnTo>
                  <a:lnTo>
                    <a:pt x="9809715" y="7241084"/>
                  </a:lnTo>
                  <a:lnTo>
                    <a:pt x="9817931" y="7275682"/>
                  </a:lnTo>
                  <a:lnTo>
                    <a:pt x="9799926" y="7286821"/>
                  </a:lnTo>
                  <a:lnTo>
                    <a:pt x="9774405" y="7308327"/>
                  </a:lnTo>
                  <a:lnTo>
                    <a:pt x="9759870" y="7336415"/>
                  </a:lnTo>
                  <a:lnTo>
                    <a:pt x="9762164" y="7358658"/>
                  </a:lnTo>
                  <a:lnTo>
                    <a:pt x="9775605" y="7379631"/>
                  </a:lnTo>
                  <a:lnTo>
                    <a:pt x="9801312" y="7394892"/>
                  </a:lnTo>
                  <a:lnTo>
                    <a:pt x="9837800" y="7396183"/>
                  </a:lnTo>
                  <a:lnTo>
                    <a:pt x="9868257" y="7383139"/>
                  </a:lnTo>
                  <a:lnTo>
                    <a:pt x="9891378" y="7360393"/>
                  </a:lnTo>
                  <a:lnTo>
                    <a:pt x="9911783" y="7314374"/>
                  </a:lnTo>
                  <a:lnTo>
                    <a:pt x="9915528" y="7274521"/>
                  </a:lnTo>
                  <a:lnTo>
                    <a:pt x="9922663" y="7238962"/>
                  </a:lnTo>
                  <a:lnTo>
                    <a:pt x="9929462" y="7218557"/>
                  </a:lnTo>
                  <a:lnTo>
                    <a:pt x="9959944" y="7184547"/>
                  </a:lnTo>
                  <a:lnTo>
                    <a:pt x="9983971" y="7178083"/>
                  </a:lnTo>
                  <a:lnTo>
                    <a:pt x="10008351" y="7179113"/>
                  </a:lnTo>
                  <a:lnTo>
                    <a:pt x="10032746" y="7180141"/>
                  </a:lnTo>
                  <a:lnTo>
                    <a:pt x="10057141" y="7189401"/>
                  </a:lnTo>
                  <a:lnTo>
                    <a:pt x="10081807" y="7200876"/>
                  </a:lnTo>
                  <a:lnTo>
                    <a:pt x="10130523" y="7223536"/>
                  </a:lnTo>
                  <a:lnTo>
                    <a:pt x="10176864" y="7259254"/>
                  </a:lnTo>
                  <a:lnTo>
                    <a:pt x="10208310" y="7282488"/>
                  </a:lnTo>
                </a:path>
              </a:pathLst>
            </a:custGeom>
            <a:solidFill>
              <a:schemeClr val="accent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51" name="Kharkiv¬0" descr="Kharkiv¬0">
              <a:extLst>
                <a:ext uri="{FF2B5EF4-FFF2-40B4-BE49-F238E27FC236}">
                  <a16:creationId xmlns:a16="http://schemas.microsoft.com/office/drawing/2014/main" id="{62BA66C4-11CE-4F7E-A344-586A7957A19C}"/>
                </a:ext>
              </a:extLst>
            </p:cNvPr>
            <p:cNvSpPr/>
            <p:nvPr/>
          </p:nvSpPr>
          <p:spPr>
            <a:xfrm>
              <a:off x="5235621" y="2061745"/>
              <a:ext cx="1113157" cy="868958"/>
            </a:xfrm>
            <a:custGeom>
              <a:avLst/>
              <a:gdLst/>
              <a:ahLst/>
              <a:cxnLst/>
              <a:rect l="0" t="0" r="0" b="0"/>
              <a:pathLst>
                <a:path w="11359155" h="10065770">
                  <a:moveTo>
                    <a:pt x="2980546" y="499801"/>
                  </a:moveTo>
                  <a:lnTo>
                    <a:pt x="2980066" y="526108"/>
                  </a:lnTo>
                  <a:lnTo>
                    <a:pt x="2971446" y="560151"/>
                  </a:lnTo>
                  <a:lnTo>
                    <a:pt x="2958383" y="588246"/>
                  </a:lnTo>
                  <a:lnTo>
                    <a:pt x="2934692" y="619585"/>
                  </a:lnTo>
                  <a:lnTo>
                    <a:pt x="2908610" y="638518"/>
                  </a:lnTo>
                  <a:lnTo>
                    <a:pt x="2880847" y="646736"/>
                  </a:lnTo>
                  <a:lnTo>
                    <a:pt x="2850430" y="649822"/>
                  </a:lnTo>
                  <a:lnTo>
                    <a:pt x="2818773" y="646373"/>
                  </a:lnTo>
                  <a:lnTo>
                    <a:pt x="2785634" y="638571"/>
                  </a:lnTo>
                  <a:lnTo>
                    <a:pt x="2753075" y="627881"/>
                  </a:lnTo>
                  <a:lnTo>
                    <a:pt x="2720261" y="616617"/>
                  </a:lnTo>
                  <a:lnTo>
                    <a:pt x="2687702" y="607285"/>
                  </a:lnTo>
                  <a:lnTo>
                    <a:pt x="2656250" y="597314"/>
                  </a:lnTo>
                  <a:lnTo>
                    <a:pt x="2626664" y="592776"/>
                  </a:lnTo>
                  <a:lnTo>
                    <a:pt x="2600647" y="595045"/>
                  </a:lnTo>
                  <a:lnTo>
                    <a:pt x="2580065" y="610662"/>
                  </a:lnTo>
                  <a:lnTo>
                    <a:pt x="2564100" y="628396"/>
                  </a:lnTo>
                  <a:lnTo>
                    <a:pt x="2547599" y="642654"/>
                  </a:lnTo>
                  <a:lnTo>
                    <a:pt x="2515232" y="657835"/>
                  </a:lnTo>
                  <a:lnTo>
                    <a:pt x="2476593" y="660117"/>
                  </a:lnTo>
                  <a:lnTo>
                    <a:pt x="2455561" y="657644"/>
                  </a:lnTo>
                  <a:lnTo>
                    <a:pt x="2434701" y="653535"/>
                  </a:lnTo>
                  <a:lnTo>
                    <a:pt x="2392982" y="645318"/>
                  </a:lnTo>
                  <a:lnTo>
                    <a:pt x="2350727" y="629840"/>
                  </a:lnTo>
                  <a:lnTo>
                    <a:pt x="2320444" y="622249"/>
                  </a:lnTo>
                  <a:lnTo>
                    <a:pt x="2295965" y="623608"/>
                  </a:lnTo>
                  <a:lnTo>
                    <a:pt x="2274202" y="634489"/>
                  </a:lnTo>
                  <a:lnTo>
                    <a:pt x="2290576" y="661832"/>
                  </a:lnTo>
                  <a:lnTo>
                    <a:pt x="2308203" y="678015"/>
                  </a:lnTo>
                  <a:lnTo>
                    <a:pt x="2325833" y="694206"/>
                  </a:lnTo>
                  <a:lnTo>
                    <a:pt x="2343388" y="712593"/>
                  </a:lnTo>
                  <a:lnTo>
                    <a:pt x="2342207" y="733782"/>
                  </a:lnTo>
                  <a:lnTo>
                    <a:pt x="2314733" y="748099"/>
                  </a:lnTo>
                  <a:lnTo>
                    <a:pt x="2289072" y="735661"/>
                  </a:lnTo>
                  <a:lnTo>
                    <a:pt x="2257877" y="714742"/>
                  </a:lnTo>
                  <a:lnTo>
                    <a:pt x="2226685" y="693824"/>
                  </a:lnTo>
                  <a:lnTo>
                    <a:pt x="2189286" y="664304"/>
                  </a:lnTo>
                  <a:lnTo>
                    <a:pt x="2150420" y="637213"/>
                  </a:lnTo>
                  <a:lnTo>
                    <a:pt x="2111551" y="610115"/>
                  </a:lnTo>
                  <a:lnTo>
                    <a:pt x="2070344" y="585647"/>
                  </a:lnTo>
                  <a:lnTo>
                    <a:pt x="2032083" y="570558"/>
                  </a:lnTo>
                  <a:lnTo>
                    <a:pt x="1995096" y="558094"/>
                  </a:lnTo>
                  <a:lnTo>
                    <a:pt x="1960258" y="555825"/>
                  </a:lnTo>
                  <a:lnTo>
                    <a:pt x="1928707" y="565118"/>
                  </a:lnTo>
                  <a:lnTo>
                    <a:pt x="1917365" y="594999"/>
                  </a:lnTo>
                  <a:lnTo>
                    <a:pt x="1920543" y="631772"/>
                  </a:lnTo>
                  <a:lnTo>
                    <a:pt x="1927004" y="669726"/>
                  </a:lnTo>
                  <a:lnTo>
                    <a:pt x="1930403" y="708068"/>
                  </a:lnTo>
                  <a:lnTo>
                    <a:pt x="1926009" y="743305"/>
                  </a:lnTo>
                  <a:lnTo>
                    <a:pt x="1913129" y="773543"/>
                  </a:lnTo>
                  <a:lnTo>
                    <a:pt x="1880663" y="783521"/>
                  </a:lnTo>
                  <a:lnTo>
                    <a:pt x="1845750" y="769151"/>
                  </a:lnTo>
                  <a:lnTo>
                    <a:pt x="1811356" y="747572"/>
                  </a:lnTo>
                  <a:lnTo>
                    <a:pt x="1776775" y="725433"/>
                  </a:lnTo>
                  <a:lnTo>
                    <a:pt x="1742374" y="707943"/>
                  </a:lnTo>
                  <a:lnTo>
                    <a:pt x="1710962" y="697926"/>
                  </a:lnTo>
                  <a:lnTo>
                    <a:pt x="1686101" y="712362"/>
                  </a:lnTo>
                  <a:lnTo>
                    <a:pt x="1664831" y="726184"/>
                  </a:lnTo>
                  <a:lnTo>
                    <a:pt x="1645806" y="740588"/>
                  </a:lnTo>
                  <a:lnTo>
                    <a:pt x="1626778" y="754985"/>
                  </a:lnTo>
                  <a:lnTo>
                    <a:pt x="1608801" y="769903"/>
                  </a:lnTo>
                  <a:lnTo>
                    <a:pt x="1653970" y="835799"/>
                  </a:lnTo>
                  <a:lnTo>
                    <a:pt x="1613160" y="883407"/>
                  </a:lnTo>
                  <a:lnTo>
                    <a:pt x="1579413" y="872803"/>
                  </a:lnTo>
                  <a:lnTo>
                    <a:pt x="1545149" y="858921"/>
                  </a:lnTo>
                  <a:lnTo>
                    <a:pt x="1521193" y="851600"/>
                  </a:lnTo>
                  <a:lnTo>
                    <a:pt x="1489388" y="846680"/>
                  </a:lnTo>
                  <a:lnTo>
                    <a:pt x="1460258" y="857727"/>
                  </a:lnTo>
                  <a:lnTo>
                    <a:pt x="1444494" y="879325"/>
                  </a:lnTo>
                  <a:lnTo>
                    <a:pt x="1424527" y="910631"/>
                  </a:lnTo>
                  <a:lnTo>
                    <a:pt x="1423637" y="941172"/>
                  </a:lnTo>
                  <a:lnTo>
                    <a:pt x="1434479" y="963937"/>
                  </a:lnTo>
                  <a:lnTo>
                    <a:pt x="1443130" y="986782"/>
                  </a:lnTo>
                  <a:lnTo>
                    <a:pt x="1451771" y="1009627"/>
                  </a:lnTo>
                  <a:lnTo>
                    <a:pt x="1457653" y="1032307"/>
                  </a:lnTo>
                  <a:lnTo>
                    <a:pt x="1433549" y="1059735"/>
                  </a:lnTo>
                  <a:lnTo>
                    <a:pt x="1405064" y="1076552"/>
                  </a:lnTo>
                  <a:lnTo>
                    <a:pt x="1374272" y="1090830"/>
                  </a:lnTo>
                  <a:lnTo>
                    <a:pt x="1341924" y="1103658"/>
                  </a:lnTo>
                  <a:lnTo>
                    <a:pt x="1316654" y="1117361"/>
                  </a:lnTo>
                  <a:lnTo>
                    <a:pt x="1289918" y="1126937"/>
                  </a:lnTo>
                  <a:lnTo>
                    <a:pt x="1256803" y="1124530"/>
                  </a:lnTo>
                  <a:lnTo>
                    <a:pt x="1239124" y="1107839"/>
                  </a:lnTo>
                  <a:lnTo>
                    <a:pt x="1223271" y="1088575"/>
                  </a:lnTo>
                  <a:lnTo>
                    <a:pt x="1168393" y="1058871"/>
                  </a:lnTo>
                  <a:lnTo>
                    <a:pt x="1123503" y="1035749"/>
                  </a:lnTo>
                  <a:lnTo>
                    <a:pt x="1060936" y="1026227"/>
                  </a:lnTo>
                  <a:lnTo>
                    <a:pt x="1037347" y="1022863"/>
                  </a:lnTo>
                  <a:lnTo>
                    <a:pt x="1013671" y="1020469"/>
                  </a:lnTo>
                  <a:lnTo>
                    <a:pt x="990206" y="1027585"/>
                  </a:lnTo>
                  <a:lnTo>
                    <a:pt x="967156" y="1034576"/>
                  </a:lnTo>
                  <a:lnTo>
                    <a:pt x="941238" y="1064312"/>
                  </a:lnTo>
                  <a:lnTo>
                    <a:pt x="924600" y="1100834"/>
                  </a:lnTo>
                  <a:lnTo>
                    <a:pt x="919475" y="1121437"/>
                  </a:lnTo>
                  <a:lnTo>
                    <a:pt x="914350" y="1142040"/>
                  </a:lnTo>
                  <a:lnTo>
                    <a:pt x="910691" y="1162728"/>
                  </a:lnTo>
                  <a:lnTo>
                    <a:pt x="898338" y="1202568"/>
                  </a:lnTo>
                  <a:lnTo>
                    <a:pt x="875949" y="1235694"/>
                  </a:lnTo>
                  <a:lnTo>
                    <a:pt x="836795" y="1212625"/>
                  </a:lnTo>
                  <a:lnTo>
                    <a:pt x="819537" y="1195465"/>
                  </a:lnTo>
                  <a:lnTo>
                    <a:pt x="793625" y="1175265"/>
                  </a:lnTo>
                  <a:lnTo>
                    <a:pt x="767813" y="1176234"/>
                  </a:lnTo>
                  <a:lnTo>
                    <a:pt x="746729" y="1190803"/>
                  </a:lnTo>
                  <a:lnTo>
                    <a:pt x="719801" y="1209460"/>
                  </a:lnTo>
                  <a:lnTo>
                    <a:pt x="697762" y="1219371"/>
                  </a:lnTo>
                  <a:lnTo>
                    <a:pt x="676895" y="1227905"/>
                  </a:lnTo>
                  <a:lnTo>
                    <a:pt x="656068" y="1240752"/>
                  </a:lnTo>
                  <a:lnTo>
                    <a:pt x="646078" y="1261532"/>
                  </a:lnTo>
                  <a:lnTo>
                    <a:pt x="659010" y="1293010"/>
                  </a:lnTo>
                  <a:lnTo>
                    <a:pt x="676678" y="1322555"/>
                  </a:lnTo>
                  <a:lnTo>
                    <a:pt x="690962" y="1355391"/>
                  </a:lnTo>
                  <a:lnTo>
                    <a:pt x="683648" y="1377973"/>
                  </a:lnTo>
                  <a:lnTo>
                    <a:pt x="671072" y="1408982"/>
                  </a:lnTo>
                  <a:lnTo>
                    <a:pt x="656958" y="1426122"/>
                  </a:lnTo>
                  <a:lnTo>
                    <a:pt x="605209" y="1409799"/>
                  </a:lnTo>
                  <a:lnTo>
                    <a:pt x="572622" y="1386671"/>
                  </a:lnTo>
                  <a:lnTo>
                    <a:pt x="540038" y="1363549"/>
                  </a:lnTo>
                  <a:lnTo>
                    <a:pt x="509984" y="1337915"/>
                  </a:lnTo>
                  <a:lnTo>
                    <a:pt x="495185" y="1316508"/>
                  </a:lnTo>
                  <a:lnTo>
                    <a:pt x="488887" y="1295602"/>
                  </a:lnTo>
                  <a:lnTo>
                    <a:pt x="454291" y="1295536"/>
                  </a:lnTo>
                  <a:lnTo>
                    <a:pt x="435319" y="1335805"/>
                  </a:lnTo>
                  <a:lnTo>
                    <a:pt x="427087" y="1364907"/>
                  </a:lnTo>
                  <a:lnTo>
                    <a:pt x="419379" y="1394268"/>
                  </a:lnTo>
                  <a:lnTo>
                    <a:pt x="413025" y="1419870"/>
                  </a:lnTo>
                  <a:lnTo>
                    <a:pt x="403860" y="1453135"/>
                  </a:lnTo>
                  <a:lnTo>
                    <a:pt x="380835" y="1477799"/>
                  </a:lnTo>
                  <a:lnTo>
                    <a:pt x="350772" y="1496021"/>
                  </a:lnTo>
                  <a:lnTo>
                    <a:pt x="315686" y="1511268"/>
                  </a:lnTo>
                  <a:lnTo>
                    <a:pt x="280184" y="1525408"/>
                  </a:lnTo>
                  <a:lnTo>
                    <a:pt x="251404" y="1538308"/>
                  </a:lnTo>
                  <a:lnTo>
                    <a:pt x="234503" y="1557703"/>
                  </a:lnTo>
                  <a:lnTo>
                    <a:pt x="252973" y="1583898"/>
                  </a:lnTo>
                  <a:lnTo>
                    <a:pt x="271012" y="1608358"/>
                  </a:lnTo>
                  <a:lnTo>
                    <a:pt x="278820" y="1648799"/>
                  </a:lnTo>
                  <a:lnTo>
                    <a:pt x="260322" y="1680217"/>
                  </a:lnTo>
                  <a:lnTo>
                    <a:pt x="254341" y="1706313"/>
                  </a:lnTo>
                  <a:lnTo>
                    <a:pt x="248654" y="1730925"/>
                  </a:lnTo>
                  <a:lnTo>
                    <a:pt x="254341" y="1763444"/>
                  </a:lnTo>
                  <a:lnTo>
                    <a:pt x="264662" y="1795726"/>
                  </a:lnTo>
                  <a:lnTo>
                    <a:pt x="266572" y="1817853"/>
                  </a:lnTo>
                  <a:lnTo>
                    <a:pt x="268402" y="1838817"/>
                  </a:lnTo>
                  <a:lnTo>
                    <a:pt x="264352" y="1866536"/>
                  </a:lnTo>
                  <a:lnTo>
                    <a:pt x="263875" y="1894023"/>
                  </a:lnTo>
                  <a:lnTo>
                    <a:pt x="263348" y="1921504"/>
                  </a:lnTo>
                  <a:lnTo>
                    <a:pt x="265571" y="1949355"/>
                  </a:lnTo>
                  <a:lnTo>
                    <a:pt x="277480" y="1968830"/>
                  </a:lnTo>
                  <a:lnTo>
                    <a:pt x="273477" y="1996363"/>
                  </a:lnTo>
                  <a:lnTo>
                    <a:pt x="254629" y="2024293"/>
                  </a:lnTo>
                  <a:lnTo>
                    <a:pt x="228513" y="2053165"/>
                  </a:lnTo>
                  <a:lnTo>
                    <a:pt x="202393" y="2082037"/>
                  </a:lnTo>
                  <a:lnTo>
                    <a:pt x="169180" y="2111121"/>
                  </a:lnTo>
                  <a:lnTo>
                    <a:pt x="136022" y="2140217"/>
                  </a:lnTo>
                  <a:lnTo>
                    <a:pt x="102855" y="2169308"/>
                  </a:lnTo>
                  <a:lnTo>
                    <a:pt x="70026" y="2199070"/>
                  </a:lnTo>
                  <a:lnTo>
                    <a:pt x="44880" y="2227270"/>
                  </a:lnTo>
                  <a:lnTo>
                    <a:pt x="19753" y="2255470"/>
                  </a:lnTo>
                  <a:lnTo>
                    <a:pt x="2052" y="2282701"/>
                  </a:lnTo>
                  <a:lnTo>
                    <a:pt x="0" y="2308882"/>
                  </a:lnTo>
                  <a:lnTo>
                    <a:pt x="21763" y="2355211"/>
                  </a:lnTo>
                  <a:lnTo>
                    <a:pt x="36140" y="2406711"/>
                  </a:lnTo>
                  <a:lnTo>
                    <a:pt x="55767" y="2454425"/>
                  </a:lnTo>
                  <a:lnTo>
                    <a:pt x="92493" y="2585024"/>
                  </a:lnTo>
                  <a:lnTo>
                    <a:pt x="85597" y="2616008"/>
                  </a:lnTo>
                  <a:lnTo>
                    <a:pt x="72683" y="2633055"/>
                  </a:lnTo>
                  <a:lnTo>
                    <a:pt x="103838" y="2657811"/>
                  </a:lnTo>
                  <a:lnTo>
                    <a:pt x="127855" y="2674775"/>
                  </a:lnTo>
                  <a:lnTo>
                    <a:pt x="140630" y="2701404"/>
                  </a:lnTo>
                  <a:lnTo>
                    <a:pt x="150986" y="2727824"/>
                  </a:lnTo>
                  <a:lnTo>
                    <a:pt x="164576" y="2753669"/>
                  </a:lnTo>
                  <a:lnTo>
                    <a:pt x="196397" y="2774279"/>
                  </a:lnTo>
                  <a:lnTo>
                    <a:pt x="233421" y="2782021"/>
                  </a:lnTo>
                  <a:lnTo>
                    <a:pt x="269316" y="2787672"/>
                  </a:lnTo>
                  <a:lnTo>
                    <a:pt x="302034" y="2815048"/>
                  </a:lnTo>
                  <a:lnTo>
                    <a:pt x="321006" y="2837997"/>
                  </a:lnTo>
                  <a:lnTo>
                    <a:pt x="339976" y="2860956"/>
                  </a:lnTo>
                  <a:lnTo>
                    <a:pt x="362238" y="2883852"/>
                  </a:lnTo>
                  <a:lnTo>
                    <a:pt x="395820" y="2891047"/>
                  </a:lnTo>
                  <a:lnTo>
                    <a:pt x="440143" y="2900544"/>
                  </a:lnTo>
                  <a:lnTo>
                    <a:pt x="483737" y="2899020"/>
                  </a:lnTo>
                  <a:lnTo>
                    <a:pt x="526398" y="2897846"/>
                  </a:lnTo>
                  <a:lnTo>
                    <a:pt x="569050" y="2896673"/>
                  </a:lnTo>
                  <a:lnTo>
                    <a:pt x="611261" y="2896495"/>
                  </a:lnTo>
                  <a:lnTo>
                    <a:pt x="655612" y="2911452"/>
                  </a:lnTo>
                  <a:lnTo>
                    <a:pt x="672247" y="2930268"/>
                  </a:lnTo>
                  <a:lnTo>
                    <a:pt x="677053" y="2955203"/>
                  </a:lnTo>
                  <a:lnTo>
                    <a:pt x="674659" y="2979459"/>
                  </a:lnTo>
                  <a:lnTo>
                    <a:pt x="700459" y="3008536"/>
                  </a:lnTo>
                  <a:lnTo>
                    <a:pt x="720904" y="3018903"/>
                  </a:lnTo>
                  <a:lnTo>
                    <a:pt x="741347" y="3029277"/>
                  </a:lnTo>
                  <a:lnTo>
                    <a:pt x="763795" y="3037757"/>
                  </a:lnTo>
                  <a:lnTo>
                    <a:pt x="854304" y="3090859"/>
                  </a:lnTo>
                  <a:lnTo>
                    <a:pt x="904781" y="3109682"/>
                  </a:lnTo>
                  <a:lnTo>
                    <a:pt x="941260" y="3115478"/>
                  </a:lnTo>
                  <a:lnTo>
                    <a:pt x="977735" y="3121276"/>
                  </a:lnTo>
                  <a:lnTo>
                    <a:pt x="999387" y="3113019"/>
                  </a:lnTo>
                  <a:lnTo>
                    <a:pt x="1032743" y="3090734"/>
                  </a:lnTo>
                  <a:lnTo>
                    <a:pt x="1062313" y="3070594"/>
                  </a:lnTo>
                  <a:lnTo>
                    <a:pt x="1100038" y="3067283"/>
                  </a:lnTo>
                  <a:lnTo>
                    <a:pt x="1137127" y="3088275"/>
                  </a:lnTo>
                  <a:lnTo>
                    <a:pt x="1179896" y="3122746"/>
                  </a:lnTo>
                  <a:lnTo>
                    <a:pt x="1200168" y="3144886"/>
                  </a:lnTo>
                  <a:lnTo>
                    <a:pt x="1213299" y="3165804"/>
                  </a:lnTo>
                  <a:lnTo>
                    <a:pt x="1226430" y="3186730"/>
                  </a:lnTo>
                  <a:lnTo>
                    <a:pt x="1233003" y="3207141"/>
                  </a:lnTo>
                  <a:lnTo>
                    <a:pt x="1235062" y="3229735"/>
                  </a:lnTo>
                  <a:lnTo>
                    <a:pt x="1239149" y="3274924"/>
                  </a:lnTo>
                  <a:lnTo>
                    <a:pt x="1226408" y="3325949"/>
                  </a:lnTo>
                  <a:lnTo>
                    <a:pt x="1224179" y="3395683"/>
                  </a:lnTo>
                  <a:lnTo>
                    <a:pt x="1222049" y="3463458"/>
                  </a:lnTo>
                  <a:lnTo>
                    <a:pt x="1229661" y="3520584"/>
                  </a:lnTo>
                  <a:lnTo>
                    <a:pt x="1241862" y="3587469"/>
                  </a:lnTo>
                  <a:lnTo>
                    <a:pt x="1247551" y="3618651"/>
                  </a:lnTo>
                  <a:lnTo>
                    <a:pt x="1257628" y="3639074"/>
                  </a:lnTo>
                  <a:lnTo>
                    <a:pt x="1280507" y="3669167"/>
                  </a:lnTo>
                  <a:lnTo>
                    <a:pt x="1307151" y="3685403"/>
                  </a:lnTo>
                  <a:lnTo>
                    <a:pt x="1334439" y="3698264"/>
                  </a:lnTo>
                  <a:lnTo>
                    <a:pt x="1361684" y="3701331"/>
                  </a:lnTo>
                  <a:lnTo>
                    <a:pt x="1376523" y="3724847"/>
                  </a:lnTo>
                  <a:lnTo>
                    <a:pt x="1392634" y="3773604"/>
                  </a:lnTo>
                  <a:lnTo>
                    <a:pt x="1378176" y="3829245"/>
                  </a:lnTo>
                  <a:lnTo>
                    <a:pt x="1387403" y="3879914"/>
                  </a:lnTo>
                  <a:lnTo>
                    <a:pt x="1422173" y="3898742"/>
                  </a:lnTo>
                  <a:lnTo>
                    <a:pt x="1500255" y="3903458"/>
                  </a:lnTo>
                  <a:lnTo>
                    <a:pt x="1538386" y="3904394"/>
                  </a:lnTo>
                  <a:lnTo>
                    <a:pt x="1547942" y="3964519"/>
                  </a:lnTo>
                  <a:lnTo>
                    <a:pt x="1553343" y="3994170"/>
                  </a:lnTo>
                  <a:lnTo>
                    <a:pt x="1645080" y="4004642"/>
                  </a:lnTo>
                  <a:lnTo>
                    <a:pt x="1728216" y="4050787"/>
                  </a:lnTo>
                  <a:lnTo>
                    <a:pt x="1822660" y="4060819"/>
                  </a:lnTo>
                  <a:lnTo>
                    <a:pt x="1839714" y="4029829"/>
                  </a:lnTo>
                  <a:lnTo>
                    <a:pt x="1844430" y="4007769"/>
                  </a:lnTo>
                  <a:lnTo>
                    <a:pt x="1849146" y="3985709"/>
                  </a:lnTo>
                  <a:lnTo>
                    <a:pt x="1855167" y="3962871"/>
                  </a:lnTo>
                  <a:lnTo>
                    <a:pt x="1899049" y="3951475"/>
                  </a:lnTo>
                  <a:lnTo>
                    <a:pt x="2020744" y="3943944"/>
                  </a:lnTo>
                  <a:lnTo>
                    <a:pt x="2037574" y="3957444"/>
                  </a:lnTo>
                  <a:lnTo>
                    <a:pt x="2060320" y="4062923"/>
                  </a:lnTo>
                  <a:lnTo>
                    <a:pt x="2046129" y="4098502"/>
                  </a:lnTo>
                  <a:lnTo>
                    <a:pt x="2013430" y="4090891"/>
                  </a:lnTo>
                  <a:lnTo>
                    <a:pt x="2000854" y="4111144"/>
                  </a:lnTo>
                  <a:lnTo>
                    <a:pt x="2001316" y="4139918"/>
                  </a:lnTo>
                  <a:lnTo>
                    <a:pt x="2011170" y="4178940"/>
                  </a:lnTo>
                  <a:lnTo>
                    <a:pt x="2028059" y="4221319"/>
                  </a:lnTo>
                  <a:lnTo>
                    <a:pt x="2044935" y="4263698"/>
                  </a:lnTo>
                  <a:lnTo>
                    <a:pt x="2068202" y="4309638"/>
                  </a:lnTo>
                  <a:lnTo>
                    <a:pt x="2093348" y="4355981"/>
                  </a:lnTo>
                  <a:lnTo>
                    <a:pt x="2143627" y="4448671"/>
                  </a:lnTo>
                  <a:lnTo>
                    <a:pt x="2201781" y="4540597"/>
                  </a:lnTo>
                  <a:lnTo>
                    <a:pt x="2234809" y="4591293"/>
                  </a:lnTo>
                  <a:lnTo>
                    <a:pt x="2229904" y="4627894"/>
                  </a:lnTo>
                  <a:lnTo>
                    <a:pt x="2208779" y="4637991"/>
                  </a:lnTo>
                  <a:lnTo>
                    <a:pt x="2179042" y="4644341"/>
                  </a:lnTo>
                  <a:lnTo>
                    <a:pt x="2149301" y="4650693"/>
                  </a:lnTo>
                  <a:lnTo>
                    <a:pt x="2110785" y="4652928"/>
                  </a:lnTo>
                  <a:lnTo>
                    <a:pt x="2072943" y="4653865"/>
                  </a:lnTo>
                  <a:lnTo>
                    <a:pt x="1997248" y="4655731"/>
                  </a:lnTo>
                  <a:lnTo>
                    <a:pt x="1922896" y="4651220"/>
                  </a:lnTo>
                  <a:lnTo>
                    <a:pt x="1908829" y="4666943"/>
                  </a:lnTo>
                  <a:lnTo>
                    <a:pt x="1911070" y="4690585"/>
                  </a:lnTo>
                  <a:lnTo>
                    <a:pt x="1920614" y="4714782"/>
                  </a:lnTo>
                  <a:lnTo>
                    <a:pt x="1943224" y="4735503"/>
                  </a:lnTo>
                  <a:lnTo>
                    <a:pt x="1968310" y="4738002"/>
                  </a:lnTo>
                  <a:lnTo>
                    <a:pt x="1991326" y="4739553"/>
                  </a:lnTo>
                  <a:lnTo>
                    <a:pt x="2014335" y="4741103"/>
                  </a:lnTo>
                  <a:lnTo>
                    <a:pt x="2035618" y="4742475"/>
                  </a:lnTo>
                  <a:lnTo>
                    <a:pt x="2064860" y="4777764"/>
                  </a:lnTo>
                  <a:lnTo>
                    <a:pt x="2054234" y="4815275"/>
                  </a:lnTo>
                  <a:lnTo>
                    <a:pt x="2072937" y="4833404"/>
                  </a:lnTo>
                  <a:lnTo>
                    <a:pt x="2096718" y="4839281"/>
                  </a:lnTo>
                  <a:lnTo>
                    <a:pt x="2126521" y="4845915"/>
                  </a:lnTo>
                  <a:lnTo>
                    <a:pt x="2151831" y="4857891"/>
                  </a:lnTo>
                  <a:lnTo>
                    <a:pt x="2177144" y="4869861"/>
                  </a:lnTo>
                  <a:lnTo>
                    <a:pt x="2197844" y="4887114"/>
                  </a:lnTo>
                  <a:lnTo>
                    <a:pt x="2206234" y="4913658"/>
                  </a:lnTo>
                  <a:lnTo>
                    <a:pt x="2199856" y="4964280"/>
                  </a:lnTo>
                  <a:lnTo>
                    <a:pt x="2172825" y="4983986"/>
                  </a:lnTo>
                  <a:lnTo>
                    <a:pt x="2113740" y="4975037"/>
                  </a:lnTo>
                  <a:lnTo>
                    <a:pt x="2089261" y="4980307"/>
                  </a:lnTo>
                  <a:lnTo>
                    <a:pt x="2073544" y="4996464"/>
                  </a:lnTo>
                  <a:lnTo>
                    <a:pt x="2064171" y="5023997"/>
                  </a:lnTo>
                  <a:lnTo>
                    <a:pt x="2051174" y="5048320"/>
                  </a:lnTo>
                  <a:lnTo>
                    <a:pt x="2009396" y="5043050"/>
                  </a:lnTo>
                  <a:lnTo>
                    <a:pt x="1969154" y="5027116"/>
                  </a:lnTo>
                  <a:lnTo>
                    <a:pt x="1928759" y="5012951"/>
                  </a:lnTo>
                  <a:lnTo>
                    <a:pt x="1888359" y="4998791"/>
                  </a:lnTo>
                  <a:lnTo>
                    <a:pt x="1847927" y="4985398"/>
                  </a:lnTo>
                  <a:lnTo>
                    <a:pt x="1804981" y="4984389"/>
                  </a:lnTo>
                  <a:lnTo>
                    <a:pt x="1776325" y="5002795"/>
                  </a:lnTo>
                  <a:lnTo>
                    <a:pt x="1740706" y="5009107"/>
                  </a:lnTo>
                  <a:lnTo>
                    <a:pt x="1696625" y="5009318"/>
                  </a:lnTo>
                  <a:lnTo>
                    <a:pt x="1674564" y="5035229"/>
                  </a:lnTo>
                  <a:lnTo>
                    <a:pt x="1643629" y="5128718"/>
                  </a:lnTo>
                  <a:lnTo>
                    <a:pt x="1659945" y="5177217"/>
                  </a:lnTo>
                  <a:lnTo>
                    <a:pt x="1693400" y="5195517"/>
                  </a:lnTo>
                  <a:lnTo>
                    <a:pt x="1704320" y="5231941"/>
                  </a:lnTo>
                  <a:lnTo>
                    <a:pt x="1698882" y="5275467"/>
                  </a:lnTo>
                  <a:lnTo>
                    <a:pt x="1726644" y="5292812"/>
                  </a:lnTo>
                  <a:lnTo>
                    <a:pt x="1781857" y="5301103"/>
                  </a:lnTo>
                  <a:lnTo>
                    <a:pt x="1804981" y="5325801"/>
                  </a:lnTo>
                  <a:lnTo>
                    <a:pt x="1800711" y="5353895"/>
                  </a:lnTo>
                  <a:lnTo>
                    <a:pt x="1788142" y="5375084"/>
                  </a:lnTo>
                  <a:lnTo>
                    <a:pt x="1766893" y="5393807"/>
                  </a:lnTo>
                  <a:lnTo>
                    <a:pt x="1774406" y="5415556"/>
                  </a:lnTo>
                  <a:lnTo>
                    <a:pt x="1804987" y="5435975"/>
                  </a:lnTo>
                  <a:lnTo>
                    <a:pt x="1831215" y="5459254"/>
                  </a:lnTo>
                  <a:lnTo>
                    <a:pt x="1832650" y="5481394"/>
                  </a:lnTo>
                  <a:lnTo>
                    <a:pt x="1821308" y="5509422"/>
                  </a:lnTo>
                  <a:lnTo>
                    <a:pt x="1783739" y="5557518"/>
                  </a:lnTo>
                  <a:lnTo>
                    <a:pt x="1744972" y="5604765"/>
                  </a:lnTo>
                  <a:lnTo>
                    <a:pt x="1708410" y="5653607"/>
                  </a:lnTo>
                  <a:lnTo>
                    <a:pt x="1681760" y="5689245"/>
                  </a:lnTo>
                  <a:lnTo>
                    <a:pt x="1665991" y="5731545"/>
                  </a:lnTo>
                  <a:lnTo>
                    <a:pt x="1641769" y="5767864"/>
                  </a:lnTo>
                  <a:lnTo>
                    <a:pt x="1606512" y="5820694"/>
                  </a:lnTo>
                  <a:lnTo>
                    <a:pt x="1561616" y="5868040"/>
                  </a:lnTo>
                  <a:lnTo>
                    <a:pt x="1509824" y="5907965"/>
                  </a:lnTo>
                  <a:lnTo>
                    <a:pt x="1458035" y="5947884"/>
                  </a:lnTo>
                  <a:lnTo>
                    <a:pt x="1399260" y="5979527"/>
                  </a:lnTo>
                  <a:lnTo>
                    <a:pt x="1339794" y="6000459"/>
                  </a:lnTo>
                  <a:lnTo>
                    <a:pt x="1290200" y="6017915"/>
                  </a:lnTo>
                  <a:lnTo>
                    <a:pt x="1255972" y="6035267"/>
                  </a:lnTo>
                  <a:lnTo>
                    <a:pt x="1198342" y="6035821"/>
                  </a:lnTo>
                  <a:lnTo>
                    <a:pt x="1163705" y="6036151"/>
                  </a:lnTo>
                  <a:lnTo>
                    <a:pt x="1094519" y="6033150"/>
                  </a:lnTo>
                  <a:lnTo>
                    <a:pt x="1024228" y="6027663"/>
                  </a:lnTo>
                  <a:lnTo>
                    <a:pt x="953954" y="6022169"/>
                  </a:lnTo>
                  <a:lnTo>
                    <a:pt x="883409" y="6013900"/>
                  </a:lnTo>
                  <a:lnTo>
                    <a:pt x="848773" y="6001817"/>
                  </a:lnTo>
                  <a:lnTo>
                    <a:pt x="819946" y="5991740"/>
                  </a:lnTo>
                  <a:lnTo>
                    <a:pt x="793684" y="5971738"/>
                  </a:lnTo>
                  <a:lnTo>
                    <a:pt x="772594" y="5950127"/>
                  </a:lnTo>
                  <a:lnTo>
                    <a:pt x="754921" y="5932016"/>
                  </a:lnTo>
                  <a:lnTo>
                    <a:pt x="739948" y="5902525"/>
                  </a:lnTo>
                  <a:lnTo>
                    <a:pt x="718232" y="5882120"/>
                  </a:lnTo>
                  <a:lnTo>
                    <a:pt x="685548" y="5882120"/>
                  </a:lnTo>
                  <a:lnTo>
                    <a:pt x="659268" y="5885556"/>
                  </a:lnTo>
                  <a:lnTo>
                    <a:pt x="611150" y="5929854"/>
                  </a:lnTo>
                  <a:lnTo>
                    <a:pt x="530606" y="6003162"/>
                  </a:lnTo>
                  <a:lnTo>
                    <a:pt x="469273" y="6082064"/>
                  </a:lnTo>
                  <a:lnTo>
                    <a:pt x="438615" y="6121515"/>
                  </a:lnTo>
                  <a:lnTo>
                    <a:pt x="413032" y="6162594"/>
                  </a:lnTo>
                  <a:lnTo>
                    <a:pt x="398543" y="6201761"/>
                  </a:lnTo>
                  <a:lnTo>
                    <a:pt x="386956" y="6240599"/>
                  </a:lnTo>
                  <a:lnTo>
                    <a:pt x="385638" y="6277187"/>
                  </a:lnTo>
                  <a:lnTo>
                    <a:pt x="397178" y="6310578"/>
                  </a:lnTo>
                  <a:lnTo>
                    <a:pt x="410495" y="6338804"/>
                  </a:lnTo>
                  <a:lnTo>
                    <a:pt x="435613" y="6371152"/>
                  </a:lnTo>
                  <a:lnTo>
                    <a:pt x="452952" y="6397630"/>
                  </a:lnTo>
                  <a:lnTo>
                    <a:pt x="465277" y="6420884"/>
                  </a:lnTo>
                  <a:lnTo>
                    <a:pt x="480280" y="6458883"/>
                  </a:lnTo>
                  <a:lnTo>
                    <a:pt x="496155" y="6492095"/>
                  </a:lnTo>
                  <a:lnTo>
                    <a:pt x="505993" y="6524134"/>
                  </a:lnTo>
                  <a:lnTo>
                    <a:pt x="518644" y="6578812"/>
                  </a:lnTo>
                  <a:lnTo>
                    <a:pt x="520966" y="6619345"/>
                  </a:lnTo>
                  <a:lnTo>
                    <a:pt x="521419" y="6658980"/>
                  </a:lnTo>
                  <a:lnTo>
                    <a:pt x="516132" y="6686474"/>
                  </a:lnTo>
                  <a:lnTo>
                    <a:pt x="499181" y="6707755"/>
                  </a:lnTo>
                  <a:lnTo>
                    <a:pt x="525285" y="6739635"/>
                  </a:lnTo>
                  <a:lnTo>
                    <a:pt x="560105" y="6762928"/>
                  </a:lnTo>
                  <a:lnTo>
                    <a:pt x="580497" y="6770150"/>
                  </a:lnTo>
                  <a:lnTo>
                    <a:pt x="623952" y="6760977"/>
                  </a:lnTo>
                  <a:lnTo>
                    <a:pt x="651519" y="6729518"/>
                  </a:lnTo>
                  <a:lnTo>
                    <a:pt x="666449" y="6714601"/>
                  </a:lnTo>
                  <a:lnTo>
                    <a:pt x="683307" y="6702037"/>
                  </a:lnTo>
                  <a:lnTo>
                    <a:pt x="718160" y="6700955"/>
                  </a:lnTo>
                  <a:lnTo>
                    <a:pt x="739855" y="6715768"/>
                  </a:lnTo>
                  <a:lnTo>
                    <a:pt x="756325" y="6743269"/>
                  </a:lnTo>
                  <a:lnTo>
                    <a:pt x="772573" y="6767604"/>
                  </a:lnTo>
                  <a:lnTo>
                    <a:pt x="825524" y="6761688"/>
                  </a:lnTo>
                  <a:lnTo>
                    <a:pt x="882281" y="6738441"/>
                  </a:lnTo>
                  <a:lnTo>
                    <a:pt x="916753" y="6743117"/>
                  </a:lnTo>
                  <a:lnTo>
                    <a:pt x="939576" y="6746198"/>
                  </a:lnTo>
                  <a:lnTo>
                    <a:pt x="963311" y="6758352"/>
                  </a:lnTo>
                  <a:lnTo>
                    <a:pt x="986122" y="6760798"/>
                  </a:lnTo>
                  <a:lnTo>
                    <a:pt x="1011414" y="6763516"/>
                  </a:lnTo>
                  <a:lnTo>
                    <a:pt x="1041719" y="6755081"/>
                  </a:lnTo>
                  <a:lnTo>
                    <a:pt x="1066378" y="6759440"/>
                  </a:lnTo>
                  <a:lnTo>
                    <a:pt x="1106369" y="6766510"/>
                  </a:lnTo>
                  <a:lnTo>
                    <a:pt x="1145747" y="6786130"/>
                  </a:lnTo>
                  <a:lnTo>
                    <a:pt x="1181992" y="6809766"/>
                  </a:lnTo>
                  <a:lnTo>
                    <a:pt x="1218245" y="6833402"/>
                  </a:lnTo>
                  <a:lnTo>
                    <a:pt x="1251489" y="6860586"/>
                  </a:lnTo>
                  <a:lnTo>
                    <a:pt x="1282650" y="6884578"/>
                  </a:lnTo>
                  <a:lnTo>
                    <a:pt x="1307374" y="6953799"/>
                  </a:lnTo>
                  <a:lnTo>
                    <a:pt x="1324120" y="6990590"/>
                  </a:lnTo>
                  <a:lnTo>
                    <a:pt x="1406853" y="7046971"/>
                  </a:lnTo>
                  <a:lnTo>
                    <a:pt x="1439068" y="7077729"/>
                  </a:lnTo>
                  <a:lnTo>
                    <a:pt x="1460831" y="7098128"/>
                  </a:lnTo>
                  <a:lnTo>
                    <a:pt x="1493180" y="7116851"/>
                  </a:lnTo>
                  <a:lnTo>
                    <a:pt x="1544823" y="7129546"/>
                  </a:lnTo>
                  <a:lnTo>
                    <a:pt x="1580529" y="7143018"/>
                  </a:lnTo>
                  <a:lnTo>
                    <a:pt x="1590057" y="7178236"/>
                  </a:lnTo>
                  <a:lnTo>
                    <a:pt x="1588969" y="7202591"/>
                  </a:lnTo>
                  <a:lnTo>
                    <a:pt x="1581894" y="7223266"/>
                  </a:lnTo>
                  <a:lnTo>
                    <a:pt x="1661473" y="7274930"/>
                  </a:lnTo>
                  <a:lnTo>
                    <a:pt x="1700761" y="7295466"/>
                  </a:lnTo>
                  <a:lnTo>
                    <a:pt x="1726130" y="7327709"/>
                  </a:lnTo>
                  <a:lnTo>
                    <a:pt x="1750559" y="7362010"/>
                  </a:lnTo>
                  <a:lnTo>
                    <a:pt x="1774967" y="7396310"/>
                  </a:lnTo>
                  <a:lnTo>
                    <a:pt x="1799195" y="7433229"/>
                  </a:lnTo>
                  <a:lnTo>
                    <a:pt x="1824006" y="7454503"/>
                  </a:lnTo>
                  <a:lnTo>
                    <a:pt x="1857244" y="7482981"/>
                  </a:lnTo>
                  <a:lnTo>
                    <a:pt x="1903790" y="7484318"/>
                  </a:lnTo>
                  <a:lnTo>
                    <a:pt x="1940985" y="7503471"/>
                  </a:lnTo>
                  <a:lnTo>
                    <a:pt x="1967920" y="7517326"/>
                  </a:lnTo>
                  <a:lnTo>
                    <a:pt x="2048147" y="7578407"/>
                  </a:lnTo>
                  <a:lnTo>
                    <a:pt x="2071566" y="7601404"/>
                  </a:lnTo>
                  <a:lnTo>
                    <a:pt x="2090703" y="7620194"/>
                  </a:lnTo>
                  <a:lnTo>
                    <a:pt x="2107849" y="7642358"/>
                  </a:lnTo>
                  <a:lnTo>
                    <a:pt x="2125972" y="7662611"/>
                  </a:lnTo>
                  <a:lnTo>
                    <a:pt x="2144083" y="7682864"/>
                  </a:lnTo>
                  <a:lnTo>
                    <a:pt x="2163275" y="7701759"/>
                  </a:lnTo>
                  <a:lnTo>
                    <a:pt x="2188533" y="7712945"/>
                  </a:lnTo>
                  <a:lnTo>
                    <a:pt x="2212748" y="7723660"/>
                  </a:lnTo>
                  <a:lnTo>
                    <a:pt x="2241016" y="7714666"/>
                  </a:lnTo>
                  <a:lnTo>
                    <a:pt x="2270152" y="7704779"/>
                  </a:lnTo>
                  <a:lnTo>
                    <a:pt x="2299295" y="7694887"/>
                  </a:lnTo>
                  <a:lnTo>
                    <a:pt x="2329538" y="7684356"/>
                  </a:lnTo>
                  <a:lnTo>
                    <a:pt x="2357198" y="7689816"/>
                  </a:lnTo>
                  <a:lnTo>
                    <a:pt x="2520429" y="7721102"/>
                  </a:lnTo>
                  <a:lnTo>
                    <a:pt x="2574676" y="7688859"/>
                  </a:lnTo>
                  <a:lnTo>
                    <a:pt x="2596591" y="7681658"/>
                  </a:lnTo>
                  <a:lnTo>
                    <a:pt x="2621777" y="7693503"/>
                  </a:lnTo>
                  <a:lnTo>
                    <a:pt x="2644688" y="7719447"/>
                  </a:lnTo>
                  <a:lnTo>
                    <a:pt x="2664612" y="7742865"/>
                  </a:lnTo>
                  <a:lnTo>
                    <a:pt x="2684515" y="7766276"/>
                  </a:lnTo>
                  <a:lnTo>
                    <a:pt x="2701906" y="7787954"/>
                  </a:lnTo>
                  <a:lnTo>
                    <a:pt x="2742710" y="7795848"/>
                  </a:lnTo>
                  <a:lnTo>
                    <a:pt x="2764234" y="7790408"/>
                  </a:lnTo>
                  <a:lnTo>
                    <a:pt x="2788384" y="7786398"/>
                  </a:lnTo>
                  <a:lnTo>
                    <a:pt x="2812535" y="7782415"/>
                  </a:lnTo>
                  <a:lnTo>
                    <a:pt x="2839225" y="7778820"/>
                  </a:lnTo>
                  <a:lnTo>
                    <a:pt x="2875439" y="7786398"/>
                  </a:lnTo>
                  <a:lnTo>
                    <a:pt x="2901038" y="7807581"/>
                  </a:lnTo>
                  <a:lnTo>
                    <a:pt x="2917843" y="7841380"/>
                  </a:lnTo>
                  <a:lnTo>
                    <a:pt x="2950250" y="7861210"/>
                  </a:lnTo>
                  <a:lnTo>
                    <a:pt x="3007041" y="7817275"/>
                  </a:lnTo>
                  <a:lnTo>
                    <a:pt x="3028788" y="7802015"/>
                  </a:lnTo>
                  <a:lnTo>
                    <a:pt x="3057707" y="7812236"/>
                  </a:lnTo>
                  <a:lnTo>
                    <a:pt x="3087386" y="7834494"/>
                  </a:lnTo>
                  <a:lnTo>
                    <a:pt x="3120866" y="7857327"/>
                  </a:lnTo>
                  <a:lnTo>
                    <a:pt x="3161084" y="7858486"/>
                  </a:lnTo>
                  <a:lnTo>
                    <a:pt x="3202558" y="7856172"/>
                  </a:lnTo>
                  <a:lnTo>
                    <a:pt x="3222290" y="7863928"/>
                  </a:lnTo>
                  <a:lnTo>
                    <a:pt x="3257317" y="7874532"/>
                  </a:lnTo>
                  <a:lnTo>
                    <a:pt x="3282140" y="7893848"/>
                  </a:lnTo>
                  <a:lnTo>
                    <a:pt x="3303903" y="7933299"/>
                  </a:lnTo>
                  <a:lnTo>
                    <a:pt x="3340444" y="7925175"/>
                  </a:lnTo>
                  <a:lnTo>
                    <a:pt x="3406347" y="7875957"/>
                  </a:lnTo>
                  <a:lnTo>
                    <a:pt x="3443957" y="7881094"/>
                  </a:lnTo>
                  <a:lnTo>
                    <a:pt x="3464666" y="7872738"/>
                  </a:lnTo>
                  <a:lnTo>
                    <a:pt x="3483449" y="7859838"/>
                  </a:lnTo>
                  <a:lnTo>
                    <a:pt x="3502238" y="7846958"/>
                  </a:lnTo>
                  <a:lnTo>
                    <a:pt x="3519372" y="7828942"/>
                  </a:lnTo>
                  <a:lnTo>
                    <a:pt x="3579471" y="7793323"/>
                  </a:lnTo>
                  <a:lnTo>
                    <a:pt x="3621295" y="7768110"/>
                  </a:lnTo>
                  <a:lnTo>
                    <a:pt x="3672516" y="7752389"/>
                  </a:lnTo>
                  <a:lnTo>
                    <a:pt x="3706561" y="7741929"/>
                  </a:lnTo>
                  <a:lnTo>
                    <a:pt x="3743163" y="7738571"/>
                  </a:lnTo>
                  <a:lnTo>
                    <a:pt x="3775893" y="7722460"/>
                  </a:lnTo>
                  <a:lnTo>
                    <a:pt x="3812995" y="7691115"/>
                  </a:lnTo>
                  <a:lnTo>
                    <a:pt x="3853826" y="7684520"/>
                  </a:lnTo>
                  <a:lnTo>
                    <a:pt x="3901988" y="7711342"/>
                  </a:lnTo>
                  <a:lnTo>
                    <a:pt x="3949997" y="7742865"/>
                  </a:lnTo>
                  <a:lnTo>
                    <a:pt x="3998004" y="7774389"/>
                  </a:lnTo>
                  <a:lnTo>
                    <a:pt x="4045973" y="7811142"/>
                  </a:lnTo>
                  <a:lnTo>
                    <a:pt x="4066973" y="7832641"/>
                  </a:lnTo>
                  <a:lnTo>
                    <a:pt x="4045684" y="7857505"/>
                  </a:lnTo>
                  <a:lnTo>
                    <a:pt x="4035691" y="7899290"/>
                  </a:lnTo>
                  <a:lnTo>
                    <a:pt x="4027527" y="7944174"/>
                  </a:lnTo>
                  <a:lnTo>
                    <a:pt x="4128622" y="8069332"/>
                  </a:lnTo>
                  <a:lnTo>
                    <a:pt x="4142327" y="8088847"/>
                  </a:lnTo>
                  <a:lnTo>
                    <a:pt x="4127078" y="8130863"/>
                  </a:lnTo>
                  <a:lnTo>
                    <a:pt x="4100890" y="8175490"/>
                  </a:lnTo>
                  <a:lnTo>
                    <a:pt x="4075137" y="8208049"/>
                  </a:lnTo>
                  <a:lnTo>
                    <a:pt x="4061748" y="8224952"/>
                  </a:lnTo>
                  <a:lnTo>
                    <a:pt x="4021627" y="8239151"/>
                  </a:lnTo>
                  <a:lnTo>
                    <a:pt x="3985359" y="8258383"/>
                  </a:lnTo>
                  <a:lnTo>
                    <a:pt x="3950552" y="8278648"/>
                  </a:lnTo>
                  <a:lnTo>
                    <a:pt x="3924951" y="8303399"/>
                  </a:lnTo>
                  <a:lnTo>
                    <a:pt x="3915996" y="8334547"/>
                  </a:lnTo>
                  <a:lnTo>
                    <a:pt x="3941030" y="8355868"/>
                  </a:lnTo>
                  <a:lnTo>
                    <a:pt x="4051969" y="8334823"/>
                  </a:lnTo>
                  <a:lnTo>
                    <a:pt x="4086928" y="8329699"/>
                  </a:lnTo>
                  <a:lnTo>
                    <a:pt x="4109470" y="8347492"/>
                  </a:lnTo>
                  <a:lnTo>
                    <a:pt x="4130904" y="8368556"/>
                  </a:lnTo>
                  <a:lnTo>
                    <a:pt x="4152351" y="8389621"/>
                  </a:lnTo>
                  <a:lnTo>
                    <a:pt x="4172120" y="8413211"/>
                  </a:lnTo>
                  <a:lnTo>
                    <a:pt x="4190665" y="8433292"/>
                  </a:lnTo>
                  <a:lnTo>
                    <a:pt x="4220582" y="8438238"/>
                  </a:lnTo>
                  <a:lnTo>
                    <a:pt x="4251960" y="8442004"/>
                  </a:lnTo>
                  <a:lnTo>
                    <a:pt x="4283338" y="8445776"/>
                  </a:lnTo>
                  <a:lnTo>
                    <a:pt x="4316716" y="8448691"/>
                  </a:lnTo>
                  <a:lnTo>
                    <a:pt x="4342711" y="8477458"/>
                  </a:lnTo>
                  <a:lnTo>
                    <a:pt x="4317432" y="8514310"/>
                  </a:lnTo>
                  <a:lnTo>
                    <a:pt x="4318613" y="8539938"/>
                  </a:lnTo>
                  <a:lnTo>
                    <a:pt x="4332675" y="8556103"/>
                  </a:lnTo>
                  <a:lnTo>
                    <a:pt x="4356586" y="8559281"/>
                  </a:lnTo>
                  <a:lnTo>
                    <a:pt x="4379822" y="8561701"/>
                  </a:lnTo>
                  <a:lnTo>
                    <a:pt x="4403055" y="8564135"/>
                  </a:lnTo>
                  <a:lnTo>
                    <a:pt x="4426176" y="8565705"/>
                  </a:lnTo>
                  <a:lnTo>
                    <a:pt x="4441034" y="8594347"/>
                  </a:lnTo>
                  <a:lnTo>
                    <a:pt x="4465674" y="8601515"/>
                  </a:lnTo>
                  <a:lnTo>
                    <a:pt x="4481317" y="8619400"/>
                  </a:lnTo>
                  <a:lnTo>
                    <a:pt x="4492733" y="8640597"/>
                  </a:lnTo>
                  <a:lnTo>
                    <a:pt x="4504128" y="8661792"/>
                  </a:lnTo>
                  <a:lnTo>
                    <a:pt x="4511026" y="8686820"/>
                  </a:lnTo>
                  <a:lnTo>
                    <a:pt x="4518570" y="8707244"/>
                  </a:lnTo>
                  <a:lnTo>
                    <a:pt x="4531140" y="8724945"/>
                  </a:lnTo>
                  <a:lnTo>
                    <a:pt x="4552233" y="8733070"/>
                  </a:lnTo>
                  <a:lnTo>
                    <a:pt x="4579779" y="8737172"/>
                  </a:lnTo>
                  <a:lnTo>
                    <a:pt x="4609408" y="8743603"/>
                  </a:lnTo>
                  <a:lnTo>
                    <a:pt x="4639918" y="8757946"/>
                  </a:lnTo>
                  <a:lnTo>
                    <a:pt x="4668189" y="8787498"/>
                  </a:lnTo>
                  <a:lnTo>
                    <a:pt x="4671758" y="8820531"/>
                  </a:lnTo>
                  <a:lnTo>
                    <a:pt x="4659207" y="8849674"/>
                  </a:lnTo>
                  <a:lnTo>
                    <a:pt x="4635571" y="8874550"/>
                  </a:lnTo>
                  <a:lnTo>
                    <a:pt x="4609470" y="8898471"/>
                  </a:lnTo>
                  <a:lnTo>
                    <a:pt x="4574508" y="8917174"/>
                  </a:lnTo>
                  <a:lnTo>
                    <a:pt x="4551235" y="8930317"/>
                  </a:lnTo>
                  <a:lnTo>
                    <a:pt x="4513284" y="9003962"/>
                  </a:lnTo>
                  <a:lnTo>
                    <a:pt x="4521314" y="9024169"/>
                  </a:lnTo>
                  <a:lnTo>
                    <a:pt x="4545710" y="9046718"/>
                  </a:lnTo>
                  <a:lnTo>
                    <a:pt x="4576542" y="9056266"/>
                  </a:lnTo>
                  <a:lnTo>
                    <a:pt x="4604286" y="9073142"/>
                  </a:lnTo>
                  <a:lnTo>
                    <a:pt x="4655672" y="9104423"/>
                  </a:lnTo>
                  <a:lnTo>
                    <a:pt x="4696956" y="9147929"/>
                  </a:lnTo>
                  <a:lnTo>
                    <a:pt x="4737589" y="9191475"/>
                  </a:lnTo>
                  <a:lnTo>
                    <a:pt x="4788963" y="9246589"/>
                  </a:lnTo>
                  <a:lnTo>
                    <a:pt x="4854252" y="9291031"/>
                  </a:lnTo>
                  <a:lnTo>
                    <a:pt x="4915768" y="9338377"/>
                  </a:lnTo>
                  <a:lnTo>
                    <a:pt x="4946535" y="9362046"/>
                  </a:lnTo>
                  <a:lnTo>
                    <a:pt x="4975969" y="9385860"/>
                  </a:lnTo>
                  <a:lnTo>
                    <a:pt x="5002823" y="9413190"/>
                  </a:lnTo>
                  <a:lnTo>
                    <a:pt x="5029683" y="9440518"/>
                  </a:lnTo>
                  <a:lnTo>
                    <a:pt x="5053530" y="9470960"/>
                  </a:lnTo>
                  <a:lnTo>
                    <a:pt x="5072192" y="9505683"/>
                  </a:lnTo>
                  <a:lnTo>
                    <a:pt x="5052482" y="9562616"/>
                  </a:lnTo>
                  <a:lnTo>
                    <a:pt x="5010261" y="9609209"/>
                  </a:lnTo>
                  <a:lnTo>
                    <a:pt x="4990582" y="9666184"/>
                  </a:lnTo>
                  <a:lnTo>
                    <a:pt x="5023786" y="9705930"/>
                  </a:lnTo>
                  <a:lnTo>
                    <a:pt x="5125091" y="9792192"/>
                  </a:lnTo>
                  <a:lnTo>
                    <a:pt x="5145661" y="9828048"/>
                  </a:lnTo>
                  <a:lnTo>
                    <a:pt x="5126490" y="9857983"/>
                  </a:lnTo>
                  <a:lnTo>
                    <a:pt x="5099372" y="9884415"/>
                  </a:lnTo>
                  <a:lnTo>
                    <a:pt x="5073572" y="9911018"/>
                  </a:lnTo>
                  <a:lnTo>
                    <a:pt x="5047772" y="9937629"/>
                  </a:lnTo>
                  <a:lnTo>
                    <a:pt x="5023538" y="9965091"/>
                  </a:lnTo>
                  <a:lnTo>
                    <a:pt x="5009641" y="9998072"/>
                  </a:lnTo>
                  <a:lnTo>
                    <a:pt x="5073625" y="10061198"/>
                  </a:lnTo>
                  <a:lnTo>
                    <a:pt x="5098119" y="10065769"/>
                  </a:lnTo>
                  <a:lnTo>
                    <a:pt x="5114881" y="10046742"/>
                  </a:lnTo>
                  <a:lnTo>
                    <a:pt x="5130703" y="10025283"/>
                  </a:lnTo>
                  <a:lnTo>
                    <a:pt x="5146519" y="10003816"/>
                  </a:lnTo>
                  <a:lnTo>
                    <a:pt x="5161402" y="9980199"/>
                  </a:lnTo>
                  <a:lnTo>
                    <a:pt x="5193568" y="9971243"/>
                  </a:lnTo>
                  <a:lnTo>
                    <a:pt x="5209802" y="9984987"/>
                  </a:lnTo>
                  <a:lnTo>
                    <a:pt x="5225913" y="10000796"/>
                  </a:lnTo>
                  <a:lnTo>
                    <a:pt x="5242027" y="10016603"/>
                  </a:lnTo>
                  <a:lnTo>
                    <a:pt x="5257675" y="10034679"/>
                  </a:lnTo>
                  <a:lnTo>
                    <a:pt x="5287714" y="10047362"/>
                  </a:lnTo>
                  <a:lnTo>
                    <a:pt x="5318407" y="10023917"/>
                  </a:lnTo>
                  <a:lnTo>
                    <a:pt x="5347379" y="9997089"/>
                  </a:lnTo>
                  <a:lnTo>
                    <a:pt x="5424506" y="9968150"/>
                  </a:lnTo>
                  <a:lnTo>
                    <a:pt x="5399769" y="9944198"/>
                  </a:lnTo>
                  <a:lnTo>
                    <a:pt x="5364401" y="9924987"/>
                  </a:lnTo>
                  <a:lnTo>
                    <a:pt x="5334731" y="9908302"/>
                  </a:lnTo>
                  <a:lnTo>
                    <a:pt x="5334908" y="9883471"/>
                  </a:lnTo>
                  <a:lnTo>
                    <a:pt x="5373507" y="9818103"/>
                  </a:lnTo>
                  <a:lnTo>
                    <a:pt x="5403958" y="9761162"/>
                  </a:lnTo>
                  <a:lnTo>
                    <a:pt x="5444932" y="9713792"/>
                  </a:lnTo>
                  <a:lnTo>
                    <a:pt x="5460048" y="9696321"/>
                  </a:lnTo>
                  <a:lnTo>
                    <a:pt x="5479107" y="9682525"/>
                  </a:lnTo>
                  <a:lnTo>
                    <a:pt x="5493897" y="9664824"/>
                  </a:lnTo>
                  <a:lnTo>
                    <a:pt x="5536607" y="9613668"/>
                  </a:lnTo>
                  <a:lnTo>
                    <a:pt x="5575386" y="9558600"/>
                  </a:lnTo>
                  <a:lnTo>
                    <a:pt x="5617678" y="9507041"/>
                  </a:lnTo>
                  <a:lnTo>
                    <a:pt x="5652234" y="9464959"/>
                  </a:lnTo>
                  <a:lnTo>
                    <a:pt x="5703028" y="9447154"/>
                  </a:lnTo>
                  <a:lnTo>
                    <a:pt x="5737376" y="9407748"/>
                  </a:lnTo>
                  <a:lnTo>
                    <a:pt x="5803766" y="9424414"/>
                  </a:lnTo>
                  <a:lnTo>
                    <a:pt x="5844161" y="9458674"/>
                  </a:lnTo>
                  <a:lnTo>
                    <a:pt x="5888353" y="9483919"/>
                  </a:lnTo>
                  <a:lnTo>
                    <a:pt x="5914553" y="9494016"/>
                  </a:lnTo>
                  <a:lnTo>
                    <a:pt x="5963843" y="9519731"/>
                  </a:lnTo>
                  <a:lnTo>
                    <a:pt x="5997181" y="9550231"/>
                  </a:lnTo>
                  <a:lnTo>
                    <a:pt x="6029814" y="9576412"/>
                  </a:lnTo>
                  <a:lnTo>
                    <a:pt x="6051602" y="9608313"/>
                  </a:lnTo>
                  <a:lnTo>
                    <a:pt x="6065183" y="9629462"/>
                  </a:lnTo>
                  <a:lnTo>
                    <a:pt x="6078748" y="9650619"/>
                  </a:lnTo>
                  <a:lnTo>
                    <a:pt x="6093618" y="9669942"/>
                  </a:lnTo>
                  <a:lnTo>
                    <a:pt x="6301854" y="9655308"/>
                  </a:lnTo>
                  <a:lnTo>
                    <a:pt x="6329058" y="9634903"/>
                  </a:lnTo>
                  <a:lnTo>
                    <a:pt x="6361701" y="9556015"/>
                  </a:lnTo>
                  <a:lnTo>
                    <a:pt x="6436456" y="9554347"/>
                  </a:lnTo>
                  <a:lnTo>
                    <a:pt x="6490921" y="9551940"/>
                  </a:lnTo>
                  <a:lnTo>
                    <a:pt x="6535365" y="9549961"/>
                  </a:lnTo>
                  <a:lnTo>
                    <a:pt x="6577356" y="9538261"/>
                  </a:lnTo>
                  <a:lnTo>
                    <a:pt x="6599739" y="9528811"/>
                  </a:lnTo>
                  <a:lnTo>
                    <a:pt x="6582026" y="9485311"/>
                  </a:lnTo>
                  <a:lnTo>
                    <a:pt x="6568451" y="9462164"/>
                  </a:lnTo>
                  <a:lnTo>
                    <a:pt x="6553773" y="9437109"/>
                  </a:lnTo>
                  <a:lnTo>
                    <a:pt x="6539963" y="9412635"/>
                  </a:lnTo>
                  <a:lnTo>
                    <a:pt x="6546688" y="9311179"/>
                  </a:lnTo>
                  <a:lnTo>
                    <a:pt x="6551556" y="9241610"/>
                  </a:lnTo>
                  <a:lnTo>
                    <a:pt x="6560914" y="9200246"/>
                  </a:lnTo>
                  <a:lnTo>
                    <a:pt x="6561652" y="9158844"/>
                  </a:lnTo>
                  <a:lnTo>
                    <a:pt x="6562393" y="9117434"/>
                  </a:lnTo>
                  <a:lnTo>
                    <a:pt x="6554399" y="9076507"/>
                  </a:lnTo>
                  <a:lnTo>
                    <a:pt x="6529009" y="9005136"/>
                  </a:lnTo>
                  <a:lnTo>
                    <a:pt x="6508511" y="8947524"/>
                  </a:lnTo>
                  <a:lnTo>
                    <a:pt x="6497832" y="8892944"/>
                  </a:lnTo>
                  <a:lnTo>
                    <a:pt x="6485483" y="8832390"/>
                  </a:lnTo>
                  <a:lnTo>
                    <a:pt x="6477567" y="8796276"/>
                  </a:lnTo>
                  <a:lnTo>
                    <a:pt x="6474349" y="8759693"/>
                  </a:lnTo>
                  <a:lnTo>
                    <a:pt x="6478702" y="8726297"/>
                  </a:lnTo>
                  <a:lnTo>
                    <a:pt x="6489200" y="8697292"/>
                  </a:lnTo>
                  <a:lnTo>
                    <a:pt x="6514461" y="8679123"/>
                  </a:lnTo>
                  <a:lnTo>
                    <a:pt x="6557590" y="8675971"/>
                  </a:lnTo>
                  <a:lnTo>
                    <a:pt x="6607547" y="8674599"/>
                  </a:lnTo>
                  <a:lnTo>
                    <a:pt x="6665338" y="8705464"/>
                  </a:lnTo>
                  <a:lnTo>
                    <a:pt x="6699181" y="8732886"/>
                  </a:lnTo>
                  <a:lnTo>
                    <a:pt x="6746661" y="8749420"/>
                  </a:lnTo>
                  <a:lnTo>
                    <a:pt x="6802849" y="8768973"/>
                  </a:lnTo>
                  <a:lnTo>
                    <a:pt x="6878299" y="8763552"/>
                  </a:lnTo>
                  <a:lnTo>
                    <a:pt x="6937086" y="8767099"/>
                  </a:lnTo>
                  <a:lnTo>
                    <a:pt x="6983893" y="8742237"/>
                  </a:lnTo>
                  <a:lnTo>
                    <a:pt x="6998903" y="8708010"/>
                  </a:lnTo>
                  <a:lnTo>
                    <a:pt x="7022780" y="8682771"/>
                  </a:lnTo>
                  <a:lnTo>
                    <a:pt x="7053578" y="8650212"/>
                  </a:lnTo>
                  <a:lnTo>
                    <a:pt x="7083970" y="8632334"/>
                  </a:lnTo>
                  <a:lnTo>
                    <a:pt x="7113916" y="8622922"/>
                  </a:lnTo>
                  <a:lnTo>
                    <a:pt x="7143858" y="8613518"/>
                  </a:lnTo>
                  <a:lnTo>
                    <a:pt x="7173751" y="8613603"/>
                  </a:lnTo>
                  <a:lnTo>
                    <a:pt x="7203687" y="8620198"/>
                  </a:lnTo>
                  <a:lnTo>
                    <a:pt x="7233620" y="8626799"/>
                  </a:lnTo>
                  <a:lnTo>
                    <a:pt x="7264049" y="8638763"/>
                  </a:lnTo>
                  <a:lnTo>
                    <a:pt x="7294819" y="8654208"/>
                  </a:lnTo>
                  <a:lnTo>
                    <a:pt x="7325571" y="8669654"/>
                  </a:lnTo>
                  <a:lnTo>
                    <a:pt x="7356211" y="8688772"/>
                  </a:lnTo>
                  <a:lnTo>
                    <a:pt x="7388674" y="8705892"/>
                  </a:lnTo>
                  <a:lnTo>
                    <a:pt x="7423984" y="8724523"/>
                  </a:lnTo>
                  <a:lnTo>
                    <a:pt x="7491173" y="8762812"/>
                  </a:lnTo>
                  <a:lnTo>
                    <a:pt x="7526049" y="8775264"/>
                  </a:lnTo>
                  <a:lnTo>
                    <a:pt x="7553253" y="8786146"/>
                  </a:lnTo>
                  <a:lnTo>
                    <a:pt x="7579354" y="8806036"/>
                  </a:lnTo>
                  <a:lnTo>
                    <a:pt x="7605728" y="8836346"/>
                  </a:lnTo>
                  <a:lnTo>
                    <a:pt x="7629428" y="8859593"/>
                  </a:lnTo>
                  <a:lnTo>
                    <a:pt x="7663671" y="8844576"/>
                  </a:lnTo>
                  <a:lnTo>
                    <a:pt x="7678393" y="8816073"/>
                  </a:lnTo>
                  <a:lnTo>
                    <a:pt x="7686746" y="8784338"/>
                  </a:lnTo>
                  <a:lnTo>
                    <a:pt x="7677345" y="8745291"/>
                  </a:lnTo>
                  <a:lnTo>
                    <a:pt x="7648832" y="8736585"/>
                  </a:lnTo>
                  <a:lnTo>
                    <a:pt x="7621268" y="8727663"/>
                  </a:lnTo>
                  <a:lnTo>
                    <a:pt x="7593319" y="8719300"/>
                  </a:lnTo>
                  <a:lnTo>
                    <a:pt x="7570325" y="8706097"/>
                  </a:lnTo>
                  <a:lnTo>
                    <a:pt x="7555982" y="8685495"/>
                  </a:lnTo>
                  <a:lnTo>
                    <a:pt x="7555982" y="8646044"/>
                  </a:lnTo>
                  <a:lnTo>
                    <a:pt x="7578895" y="8601653"/>
                  </a:lnTo>
                  <a:lnTo>
                    <a:pt x="7594063" y="8578038"/>
                  </a:lnTo>
                  <a:lnTo>
                    <a:pt x="7609213" y="8554427"/>
                  </a:lnTo>
                  <a:lnTo>
                    <a:pt x="7627134" y="8534313"/>
                  </a:lnTo>
                  <a:lnTo>
                    <a:pt x="7649830" y="8534510"/>
                  </a:lnTo>
                  <a:lnTo>
                    <a:pt x="7689195" y="8556565"/>
                  </a:lnTo>
                  <a:lnTo>
                    <a:pt x="7713764" y="8568514"/>
                  </a:lnTo>
                  <a:lnTo>
                    <a:pt x="7738315" y="8580470"/>
                  </a:lnTo>
                  <a:lnTo>
                    <a:pt x="7762884" y="8587732"/>
                  </a:lnTo>
                  <a:lnTo>
                    <a:pt x="7799713" y="8557540"/>
                  </a:lnTo>
                  <a:lnTo>
                    <a:pt x="7803843" y="8529869"/>
                  </a:lnTo>
                  <a:lnTo>
                    <a:pt x="7806255" y="8500508"/>
                  </a:lnTo>
                  <a:lnTo>
                    <a:pt x="7808648" y="8471140"/>
                  </a:lnTo>
                  <a:lnTo>
                    <a:pt x="7810261" y="8440190"/>
                  </a:lnTo>
                  <a:lnTo>
                    <a:pt x="7826663" y="8416178"/>
                  </a:lnTo>
                  <a:lnTo>
                    <a:pt x="7842556" y="8402066"/>
                  </a:lnTo>
                  <a:lnTo>
                    <a:pt x="7882430" y="8394409"/>
                  </a:lnTo>
                  <a:lnTo>
                    <a:pt x="7903297" y="8391263"/>
                  </a:lnTo>
                  <a:lnTo>
                    <a:pt x="7930036" y="8401214"/>
                  </a:lnTo>
                  <a:lnTo>
                    <a:pt x="7949601" y="8418051"/>
                  </a:lnTo>
                  <a:lnTo>
                    <a:pt x="7964868" y="8441503"/>
                  </a:lnTo>
                  <a:lnTo>
                    <a:pt x="7980359" y="8466503"/>
                  </a:lnTo>
                  <a:lnTo>
                    <a:pt x="7999917" y="8489962"/>
                  </a:lnTo>
                  <a:lnTo>
                    <a:pt x="8025789" y="8503969"/>
                  </a:lnTo>
                  <a:lnTo>
                    <a:pt x="8053812" y="8507307"/>
                  </a:lnTo>
                  <a:lnTo>
                    <a:pt x="8083205" y="8507175"/>
                  </a:lnTo>
                  <a:lnTo>
                    <a:pt x="8114193" y="8501979"/>
                  </a:lnTo>
                  <a:lnTo>
                    <a:pt x="8144944" y="8493702"/>
                  </a:lnTo>
                  <a:lnTo>
                    <a:pt x="8171746" y="8485873"/>
                  </a:lnTo>
                  <a:lnTo>
                    <a:pt x="8196898" y="8479061"/>
                  </a:lnTo>
                  <a:lnTo>
                    <a:pt x="8200711" y="8442017"/>
                  </a:lnTo>
                  <a:lnTo>
                    <a:pt x="8200711" y="8420037"/>
                  </a:lnTo>
                  <a:lnTo>
                    <a:pt x="8197183" y="8391105"/>
                  </a:lnTo>
                  <a:lnTo>
                    <a:pt x="8193909" y="8363122"/>
                  </a:lnTo>
                  <a:lnTo>
                    <a:pt x="8190647" y="8335147"/>
                  </a:lnTo>
                  <a:lnTo>
                    <a:pt x="8187925" y="8307349"/>
                  </a:lnTo>
                  <a:lnTo>
                    <a:pt x="8192557" y="8285592"/>
                  </a:lnTo>
                  <a:lnTo>
                    <a:pt x="8198448" y="8265420"/>
                  </a:lnTo>
                  <a:lnTo>
                    <a:pt x="8220245" y="8246439"/>
                  </a:lnTo>
                  <a:lnTo>
                    <a:pt x="8275528" y="8255665"/>
                  </a:lnTo>
                  <a:lnTo>
                    <a:pt x="8298479" y="8212462"/>
                  </a:lnTo>
                  <a:lnTo>
                    <a:pt x="8311278" y="8159564"/>
                  </a:lnTo>
                  <a:lnTo>
                    <a:pt x="8324499" y="8112846"/>
                  </a:lnTo>
                  <a:lnTo>
                    <a:pt x="8403434" y="8076738"/>
                  </a:lnTo>
                  <a:lnTo>
                    <a:pt x="8454966" y="8014529"/>
                  </a:lnTo>
                  <a:lnTo>
                    <a:pt x="8494523" y="7997231"/>
                  </a:lnTo>
                  <a:lnTo>
                    <a:pt x="8537578" y="8004854"/>
                  </a:lnTo>
                  <a:lnTo>
                    <a:pt x="8566618" y="8006753"/>
                  </a:lnTo>
                  <a:lnTo>
                    <a:pt x="8595639" y="8008640"/>
                  </a:lnTo>
                  <a:lnTo>
                    <a:pt x="8624233" y="8007347"/>
                  </a:lnTo>
                  <a:lnTo>
                    <a:pt x="8655524" y="7986514"/>
                  </a:lnTo>
                  <a:lnTo>
                    <a:pt x="8668627" y="7960503"/>
                  </a:lnTo>
                  <a:lnTo>
                    <a:pt x="8671021" y="7935113"/>
                  </a:lnTo>
                  <a:lnTo>
                    <a:pt x="8660820" y="7909723"/>
                  </a:lnTo>
                  <a:lnTo>
                    <a:pt x="8644163" y="7884333"/>
                  </a:lnTo>
                  <a:lnTo>
                    <a:pt x="8628791" y="7857400"/>
                  </a:lnTo>
                  <a:lnTo>
                    <a:pt x="8624344" y="7813391"/>
                  </a:lnTo>
                  <a:lnTo>
                    <a:pt x="8641422" y="7786503"/>
                  </a:lnTo>
                  <a:lnTo>
                    <a:pt x="8644163" y="7756471"/>
                  </a:lnTo>
                  <a:lnTo>
                    <a:pt x="8621473" y="7736370"/>
                  </a:lnTo>
                  <a:lnTo>
                    <a:pt x="8593394" y="7722171"/>
                  </a:lnTo>
                  <a:lnTo>
                    <a:pt x="8578877" y="7695264"/>
                  </a:lnTo>
                  <a:lnTo>
                    <a:pt x="8635327" y="7587707"/>
                  </a:lnTo>
                  <a:lnTo>
                    <a:pt x="8652640" y="7555900"/>
                  </a:lnTo>
                  <a:lnTo>
                    <a:pt x="8675442" y="7540203"/>
                  </a:lnTo>
                  <a:lnTo>
                    <a:pt x="8702591" y="7531221"/>
                  </a:lnTo>
                  <a:lnTo>
                    <a:pt x="8729913" y="7527423"/>
                  </a:lnTo>
                  <a:lnTo>
                    <a:pt x="8755698" y="7522522"/>
                  </a:lnTo>
                  <a:lnTo>
                    <a:pt x="8776837" y="7514517"/>
                  </a:lnTo>
                  <a:lnTo>
                    <a:pt x="8800923" y="7483145"/>
                  </a:lnTo>
                  <a:lnTo>
                    <a:pt x="8804662" y="7447710"/>
                  </a:lnTo>
                  <a:lnTo>
                    <a:pt x="8799658" y="7413549"/>
                  </a:lnTo>
                  <a:lnTo>
                    <a:pt x="8798759" y="7378497"/>
                  </a:lnTo>
                  <a:lnTo>
                    <a:pt x="8819619" y="7337535"/>
                  </a:lnTo>
                  <a:lnTo>
                    <a:pt x="8836741" y="7315812"/>
                  </a:lnTo>
                  <a:lnTo>
                    <a:pt x="8867083" y="7291470"/>
                  </a:lnTo>
                  <a:lnTo>
                    <a:pt x="8918919" y="7261365"/>
                  </a:lnTo>
                  <a:lnTo>
                    <a:pt x="8954960" y="7240433"/>
                  </a:lnTo>
                  <a:lnTo>
                    <a:pt x="8991584" y="7225739"/>
                  </a:lnTo>
                  <a:lnTo>
                    <a:pt x="9027737" y="7206957"/>
                  </a:lnTo>
                  <a:lnTo>
                    <a:pt x="9057323" y="7191611"/>
                  </a:lnTo>
                  <a:lnTo>
                    <a:pt x="9079430" y="7161788"/>
                  </a:lnTo>
                  <a:lnTo>
                    <a:pt x="9105270" y="7141666"/>
                  </a:lnTo>
                  <a:lnTo>
                    <a:pt x="9132003" y="7120900"/>
                  </a:lnTo>
                  <a:lnTo>
                    <a:pt x="9172019" y="7118987"/>
                  </a:lnTo>
                  <a:lnTo>
                    <a:pt x="9201835" y="7102222"/>
                  </a:lnTo>
                  <a:lnTo>
                    <a:pt x="9261651" y="7068576"/>
                  </a:lnTo>
                  <a:lnTo>
                    <a:pt x="9319837" y="7031532"/>
                  </a:lnTo>
                  <a:lnTo>
                    <a:pt x="9378674" y="6996125"/>
                  </a:lnTo>
                  <a:lnTo>
                    <a:pt x="9420166" y="6975106"/>
                  </a:lnTo>
                  <a:lnTo>
                    <a:pt x="9501041" y="6927247"/>
                  </a:lnTo>
                  <a:lnTo>
                    <a:pt x="9575902" y="6879145"/>
                  </a:lnTo>
                  <a:lnTo>
                    <a:pt x="9650750" y="6831040"/>
                  </a:lnTo>
                  <a:lnTo>
                    <a:pt x="9719936" y="6782687"/>
                  </a:lnTo>
                  <a:lnTo>
                    <a:pt x="9697346" y="6726083"/>
                  </a:lnTo>
                  <a:lnTo>
                    <a:pt x="9669112" y="6681448"/>
                  </a:lnTo>
                  <a:lnTo>
                    <a:pt x="9637107" y="6642472"/>
                  </a:lnTo>
                  <a:lnTo>
                    <a:pt x="9614126" y="6634142"/>
                  </a:lnTo>
                  <a:lnTo>
                    <a:pt x="9582785" y="6645401"/>
                  </a:lnTo>
                  <a:lnTo>
                    <a:pt x="9559574" y="6647914"/>
                  </a:lnTo>
                  <a:lnTo>
                    <a:pt x="9525579" y="6648684"/>
                  </a:lnTo>
                  <a:lnTo>
                    <a:pt x="9502443" y="6646554"/>
                  </a:lnTo>
                  <a:lnTo>
                    <a:pt x="9479325" y="6644424"/>
                  </a:lnTo>
                  <a:lnTo>
                    <a:pt x="9454266" y="6640771"/>
                  </a:lnTo>
                  <a:lnTo>
                    <a:pt x="9428996" y="6635673"/>
                  </a:lnTo>
                  <a:lnTo>
                    <a:pt x="9403726" y="6630575"/>
                  </a:lnTo>
                  <a:lnTo>
                    <a:pt x="9378264" y="6624066"/>
                  </a:lnTo>
                  <a:lnTo>
                    <a:pt x="9358265" y="6616633"/>
                  </a:lnTo>
                  <a:lnTo>
                    <a:pt x="9338261" y="6609195"/>
                  </a:lnTo>
                  <a:lnTo>
                    <a:pt x="9316098" y="6592147"/>
                  </a:lnTo>
                  <a:lnTo>
                    <a:pt x="9347810" y="6567258"/>
                  </a:lnTo>
                  <a:lnTo>
                    <a:pt x="9439755" y="6413681"/>
                  </a:lnTo>
                  <a:lnTo>
                    <a:pt x="9449404" y="6381314"/>
                  </a:lnTo>
                  <a:lnTo>
                    <a:pt x="9492955" y="6366272"/>
                  </a:lnTo>
                  <a:lnTo>
                    <a:pt x="9535470" y="6374172"/>
                  </a:lnTo>
                  <a:lnTo>
                    <a:pt x="9579982" y="6371791"/>
                  </a:lnTo>
                  <a:lnTo>
                    <a:pt x="9617599" y="6364075"/>
                  </a:lnTo>
                  <a:lnTo>
                    <a:pt x="9688075" y="6362334"/>
                  </a:lnTo>
                  <a:lnTo>
                    <a:pt x="9767220" y="6357843"/>
                  </a:lnTo>
                  <a:lnTo>
                    <a:pt x="9818014" y="6366351"/>
                  </a:lnTo>
                  <a:lnTo>
                    <a:pt x="9855618" y="6372655"/>
                  </a:lnTo>
                  <a:lnTo>
                    <a:pt x="9897216" y="6384493"/>
                  </a:lnTo>
                  <a:lnTo>
                    <a:pt x="9940425" y="6398996"/>
                  </a:lnTo>
                  <a:lnTo>
                    <a:pt x="9983641" y="6413497"/>
                  </a:lnTo>
                  <a:lnTo>
                    <a:pt x="10028606" y="6430947"/>
                  </a:lnTo>
                  <a:lnTo>
                    <a:pt x="10073726" y="6446603"/>
                  </a:lnTo>
                  <a:lnTo>
                    <a:pt x="10118858" y="6462254"/>
                  </a:lnTo>
                  <a:lnTo>
                    <a:pt x="10163674" y="6476301"/>
                  </a:lnTo>
                  <a:lnTo>
                    <a:pt x="10207032" y="6486048"/>
                  </a:lnTo>
                  <a:lnTo>
                    <a:pt x="10250385" y="6495788"/>
                  </a:lnTo>
                  <a:lnTo>
                    <a:pt x="10291536" y="6501513"/>
                  </a:lnTo>
                  <a:lnTo>
                    <a:pt x="10329443" y="6498289"/>
                  </a:lnTo>
                  <a:lnTo>
                    <a:pt x="10500838" y="6483331"/>
                  </a:lnTo>
                  <a:lnTo>
                    <a:pt x="10517587" y="6442660"/>
                  </a:lnTo>
                  <a:lnTo>
                    <a:pt x="10521239" y="6418035"/>
                  </a:lnTo>
                  <a:lnTo>
                    <a:pt x="10524855" y="6393416"/>
                  </a:lnTo>
                  <a:lnTo>
                    <a:pt x="10528389" y="6369049"/>
                  </a:lnTo>
                  <a:lnTo>
                    <a:pt x="10540444" y="6335810"/>
                  </a:lnTo>
                  <a:lnTo>
                    <a:pt x="10561789" y="6300850"/>
                  </a:lnTo>
                  <a:lnTo>
                    <a:pt x="10601991" y="6286032"/>
                  </a:lnTo>
                  <a:lnTo>
                    <a:pt x="10655582" y="6263463"/>
                  </a:lnTo>
                  <a:lnTo>
                    <a:pt x="10701080" y="6233753"/>
                  </a:lnTo>
                  <a:lnTo>
                    <a:pt x="10745672" y="6208567"/>
                  </a:lnTo>
                  <a:lnTo>
                    <a:pt x="10738870" y="6150077"/>
                  </a:lnTo>
                  <a:lnTo>
                    <a:pt x="10752332" y="6131723"/>
                  </a:lnTo>
                  <a:lnTo>
                    <a:pt x="10774706" y="6116971"/>
                  </a:lnTo>
                  <a:lnTo>
                    <a:pt x="10794637" y="6101110"/>
                  </a:lnTo>
                  <a:lnTo>
                    <a:pt x="10814561" y="6085257"/>
                  </a:lnTo>
                  <a:lnTo>
                    <a:pt x="10831459" y="6068703"/>
                  </a:lnTo>
                  <a:lnTo>
                    <a:pt x="10832724" y="6045344"/>
                  </a:lnTo>
                  <a:lnTo>
                    <a:pt x="10825922" y="6019498"/>
                  </a:lnTo>
                  <a:lnTo>
                    <a:pt x="10819119" y="5993653"/>
                  </a:lnTo>
                  <a:lnTo>
                    <a:pt x="10802797" y="5973254"/>
                  </a:lnTo>
                  <a:lnTo>
                    <a:pt x="10786476" y="5952851"/>
                  </a:lnTo>
                  <a:lnTo>
                    <a:pt x="10765733" y="5940036"/>
                  </a:lnTo>
                  <a:lnTo>
                    <a:pt x="10743359" y="5939041"/>
                  </a:lnTo>
                  <a:lnTo>
                    <a:pt x="10721184" y="5937886"/>
                  </a:lnTo>
                  <a:lnTo>
                    <a:pt x="10699002" y="5936732"/>
                  </a:lnTo>
                  <a:lnTo>
                    <a:pt x="10677813" y="5935974"/>
                  </a:lnTo>
                  <a:lnTo>
                    <a:pt x="10645412" y="5913841"/>
                  </a:lnTo>
                  <a:lnTo>
                    <a:pt x="10631416" y="5880760"/>
                  </a:lnTo>
                  <a:lnTo>
                    <a:pt x="10628017" y="5844370"/>
                  </a:lnTo>
                  <a:lnTo>
                    <a:pt x="10638206" y="5786230"/>
                  </a:lnTo>
                  <a:lnTo>
                    <a:pt x="10655321" y="5746206"/>
                  </a:lnTo>
                  <a:lnTo>
                    <a:pt x="10662701" y="5717538"/>
                  </a:lnTo>
                  <a:lnTo>
                    <a:pt x="10671376" y="5683831"/>
                  </a:lnTo>
                  <a:lnTo>
                    <a:pt x="10676938" y="5629449"/>
                  </a:lnTo>
                  <a:lnTo>
                    <a:pt x="10674942" y="5574711"/>
                  </a:lnTo>
                  <a:lnTo>
                    <a:pt x="10673937" y="5547350"/>
                  </a:lnTo>
                  <a:lnTo>
                    <a:pt x="10671023" y="5519981"/>
                  </a:lnTo>
                  <a:lnTo>
                    <a:pt x="10665411" y="5495823"/>
                  </a:lnTo>
                  <a:lnTo>
                    <a:pt x="10659811" y="5471666"/>
                  </a:lnTo>
                  <a:lnTo>
                    <a:pt x="10651092" y="5449903"/>
                  </a:lnTo>
                  <a:lnTo>
                    <a:pt x="10619906" y="5408499"/>
                  </a:lnTo>
                  <a:lnTo>
                    <a:pt x="10590345" y="5382265"/>
                  </a:lnTo>
                  <a:lnTo>
                    <a:pt x="10567482" y="5358445"/>
                  </a:lnTo>
                  <a:lnTo>
                    <a:pt x="10621562" y="5261764"/>
                  </a:lnTo>
                  <a:lnTo>
                    <a:pt x="10632768" y="5238747"/>
                  </a:lnTo>
                  <a:lnTo>
                    <a:pt x="10649089" y="5225123"/>
                  </a:lnTo>
                  <a:lnTo>
                    <a:pt x="10673193" y="5219009"/>
                  </a:lnTo>
                  <a:lnTo>
                    <a:pt x="10698053" y="5214260"/>
                  </a:lnTo>
                  <a:lnTo>
                    <a:pt x="10722945" y="5209512"/>
                  </a:lnTo>
                  <a:lnTo>
                    <a:pt x="10748407" y="5206208"/>
                  </a:lnTo>
                  <a:lnTo>
                    <a:pt x="10768784" y="5197939"/>
                  </a:lnTo>
                  <a:lnTo>
                    <a:pt x="10783382" y="5165412"/>
                  </a:lnTo>
                  <a:lnTo>
                    <a:pt x="10785106" y="5143530"/>
                  </a:lnTo>
                  <a:lnTo>
                    <a:pt x="10786854" y="5121649"/>
                  </a:lnTo>
                  <a:lnTo>
                    <a:pt x="10786203" y="5096700"/>
                  </a:lnTo>
                  <a:lnTo>
                    <a:pt x="10786464" y="5071441"/>
                  </a:lnTo>
                  <a:lnTo>
                    <a:pt x="10786929" y="5046184"/>
                  </a:lnTo>
                  <a:lnTo>
                    <a:pt x="10788591" y="5019784"/>
                  </a:lnTo>
                  <a:lnTo>
                    <a:pt x="10794624" y="4995270"/>
                  </a:lnTo>
                  <a:lnTo>
                    <a:pt x="10800670" y="4970757"/>
                  </a:lnTo>
                  <a:lnTo>
                    <a:pt x="10810909" y="4948262"/>
                  </a:lnTo>
                  <a:lnTo>
                    <a:pt x="10829996" y="4928622"/>
                  </a:lnTo>
                  <a:lnTo>
                    <a:pt x="10855706" y="4902157"/>
                  </a:lnTo>
                  <a:lnTo>
                    <a:pt x="10902977" y="4883776"/>
                  </a:lnTo>
                  <a:lnTo>
                    <a:pt x="10934727" y="4866050"/>
                  </a:lnTo>
                  <a:lnTo>
                    <a:pt x="10951533" y="4841174"/>
                  </a:lnTo>
                  <a:lnTo>
                    <a:pt x="10947861" y="4801155"/>
                  </a:lnTo>
                  <a:lnTo>
                    <a:pt x="10941170" y="4777645"/>
                  </a:lnTo>
                  <a:lnTo>
                    <a:pt x="10932005" y="4753152"/>
                  </a:lnTo>
                  <a:lnTo>
                    <a:pt x="10913693" y="4704172"/>
                  </a:lnTo>
                  <a:lnTo>
                    <a:pt x="10889118" y="4654049"/>
                  </a:lnTo>
                  <a:lnTo>
                    <a:pt x="10906462" y="4631648"/>
                  </a:lnTo>
                  <a:lnTo>
                    <a:pt x="10937444" y="4638895"/>
                  </a:lnTo>
                  <a:lnTo>
                    <a:pt x="10952109" y="4603012"/>
                  </a:lnTo>
                  <a:lnTo>
                    <a:pt x="10930647" y="4576328"/>
                  </a:lnTo>
                  <a:lnTo>
                    <a:pt x="10904317" y="4552594"/>
                  </a:lnTo>
                  <a:lnTo>
                    <a:pt x="10890352" y="4504431"/>
                  </a:lnTo>
                  <a:lnTo>
                    <a:pt x="10886309" y="4464492"/>
                  </a:lnTo>
                  <a:lnTo>
                    <a:pt x="10865355" y="4437585"/>
                  </a:lnTo>
                  <a:lnTo>
                    <a:pt x="10891784" y="4388579"/>
                  </a:lnTo>
                  <a:lnTo>
                    <a:pt x="10938163" y="4381311"/>
                  </a:lnTo>
                  <a:lnTo>
                    <a:pt x="10968722" y="4354615"/>
                  </a:lnTo>
                  <a:lnTo>
                    <a:pt x="10982334" y="4335207"/>
                  </a:lnTo>
                  <a:lnTo>
                    <a:pt x="10982315" y="4311458"/>
                  </a:lnTo>
                  <a:lnTo>
                    <a:pt x="10979630" y="4282526"/>
                  </a:lnTo>
                  <a:lnTo>
                    <a:pt x="10984765" y="4248548"/>
                  </a:lnTo>
                  <a:lnTo>
                    <a:pt x="10997303" y="4228119"/>
                  </a:lnTo>
                  <a:lnTo>
                    <a:pt x="11009879" y="4207687"/>
                  </a:lnTo>
                  <a:lnTo>
                    <a:pt x="11031273" y="4184810"/>
                  </a:lnTo>
                  <a:lnTo>
                    <a:pt x="11066682" y="4158746"/>
                  </a:lnTo>
                  <a:lnTo>
                    <a:pt x="11081360" y="4130171"/>
                  </a:lnTo>
                  <a:lnTo>
                    <a:pt x="11075624" y="4092870"/>
                  </a:lnTo>
                  <a:lnTo>
                    <a:pt x="11068034" y="4055371"/>
                  </a:lnTo>
                  <a:lnTo>
                    <a:pt x="11060462" y="4017873"/>
                  </a:lnTo>
                  <a:lnTo>
                    <a:pt x="11050478" y="3979563"/>
                  </a:lnTo>
                  <a:lnTo>
                    <a:pt x="11054435" y="3947914"/>
                  </a:lnTo>
                  <a:lnTo>
                    <a:pt x="11057870" y="3920572"/>
                  </a:lnTo>
                  <a:lnTo>
                    <a:pt x="11070663" y="3895755"/>
                  </a:lnTo>
                  <a:lnTo>
                    <a:pt x="11074837" y="3869026"/>
                  </a:lnTo>
                  <a:lnTo>
                    <a:pt x="11077181" y="3842843"/>
                  </a:lnTo>
                  <a:lnTo>
                    <a:pt x="11069783" y="3813595"/>
                  </a:lnTo>
                  <a:lnTo>
                    <a:pt x="11047645" y="3780614"/>
                  </a:lnTo>
                  <a:lnTo>
                    <a:pt x="11024372" y="3769021"/>
                  </a:lnTo>
                  <a:lnTo>
                    <a:pt x="10994749" y="3770444"/>
                  </a:lnTo>
                  <a:lnTo>
                    <a:pt x="10961957" y="3780614"/>
                  </a:lnTo>
                  <a:lnTo>
                    <a:pt x="10929562" y="3792596"/>
                  </a:lnTo>
                  <a:lnTo>
                    <a:pt x="10897471" y="3811611"/>
                  </a:lnTo>
                  <a:lnTo>
                    <a:pt x="10858186" y="3809836"/>
                  </a:lnTo>
                  <a:lnTo>
                    <a:pt x="10851551" y="3784907"/>
                  </a:lnTo>
                  <a:lnTo>
                    <a:pt x="10847694" y="3762927"/>
                  </a:lnTo>
                  <a:lnTo>
                    <a:pt x="10852605" y="3739020"/>
                  </a:lnTo>
                  <a:lnTo>
                    <a:pt x="10938361" y="3617964"/>
                  </a:lnTo>
                  <a:lnTo>
                    <a:pt x="10968251" y="3600250"/>
                  </a:lnTo>
                  <a:lnTo>
                    <a:pt x="10992969" y="3608460"/>
                  </a:lnTo>
                  <a:lnTo>
                    <a:pt x="11019076" y="3617390"/>
                  </a:lnTo>
                  <a:lnTo>
                    <a:pt x="11045214" y="3626287"/>
                  </a:lnTo>
                  <a:lnTo>
                    <a:pt x="11072300" y="3636944"/>
                  </a:lnTo>
                  <a:lnTo>
                    <a:pt x="11093291" y="3609411"/>
                  </a:lnTo>
                  <a:lnTo>
                    <a:pt x="11100658" y="3582846"/>
                  </a:lnTo>
                  <a:lnTo>
                    <a:pt x="11110208" y="3558901"/>
                  </a:lnTo>
                  <a:lnTo>
                    <a:pt x="11119758" y="3534947"/>
                  </a:lnTo>
                  <a:lnTo>
                    <a:pt x="11132396" y="3513376"/>
                  </a:lnTo>
                  <a:lnTo>
                    <a:pt x="11149660" y="3496328"/>
                  </a:lnTo>
                  <a:lnTo>
                    <a:pt x="11233438" y="3457648"/>
                  </a:lnTo>
                  <a:lnTo>
                    <a:pt x="11237828" y="3423058"/>
                  </a:lnTo>
                  <a:lnTo>
                    <a:pt x="11200032" y="3389971"/>
                  </a:lnTo>
                  <a:lnTo>
                    <a:pt x="11159185" y="3358950"/>
                  </a:lnTo>
                  <a:lnTo>
                    <a:pt x="11118326" y="3327927"/>
                  </a:lnTo>
                  <a:lnTo>
                    <a:pt x="11073807" y="3298659"/>
                  </a:lnTo>
                  <a:lnTo>
                    <a:pt x="11055811" y="3286860"/>
                  </a:lnTo>
                  <a:lnTo>
                    <a:pt x="11060239" y="3252197"/>
                  </a:lnTo>
                  <a:lnTo>
                    <a:pt x="11087115" y="3225653"/>
                  </a:lnTo>
                  <a:lnTo>
                    <a:pt x="11120843" y="3203884"/>
                  </a:lnTo>
                  <a:lnTo>
                    <a:pt x="11140160" y="3195726"/>
                  </a:lnTo>
                  <a:lnTo>
                    <a:pt x="11178793" y="3179417"/>
                  </a:lnTo>
                  <a:lnTo>
                    <a:pt x="11222065" y="3170131"/>
                  </a:lnTo>
                  <a:lnTo>
                    <a:pt x="11255781" y="3167163"/>
                  </a:lnTo>
                  <a:lnTo>
                    <a:pt x="11296876" y="3169056"/>
                  </a:lnTo>
                  <a:lnTo>
                    <a:pt x="11326536" y="3163892"/>
                  </a:lnTo>
                  <a:lnTo>
                    <a:pt x="11354516" y="3149205"/>
                  </a:lnTo>
                  <a:lnTo>
                    <a:pt x="11359154" y="3118196"/>
                  </a:lnTo>
                  <a:lnTo>
                    <a:pt x="11276176" y="3066512"/>
                  </a:lnTo>
                  <a:lnTo>
                    <a:pt x="11222586" y="2999343"/>
                  </a:lnTo>
                  <a:lnTo>
                    <a:pt x="11190489" y="2938650"/>
                  </a:lnTo>
                  <a:lnTo>
                    <a:pt x="11164053" y="2888687"/>
                  </a:lnTo>
                  <a:lnTo>
                    <a:pt x="11147477" y="2850180"/>
                  </a:lnTo>
                  <a:lnTo>
                    <a:pt x="11137438" y="2825752"/>
                  </a:lnTo>
                  <a:lnTo>
                    <a:pt x="11115678" y="2829827"/>
                  </a:lnTo>
                  <a:lnTo>
                    <a:pt x="11097229" y="2768257"/>
                  </a:lnTo>
                  <a:lnTo>
                    <a:pt x="11134083" y="2705500"/>
                  </a:lnTo>
                  <a:lnTo>
                    <a:pt x="11117036" y="2657087"/>
                  </a:lnTo>
                  <a:lnTo>
                    <a:pt x="11085118" y="2614879"/>
                  </a:lnTo>
                  <a:lnTo>
                    <a:pt x="11056890" y="2577492"/>
                  </a:lnTo>
                  <a:lnTo>
                    <a:pt x="11041084" y="2536348"/>
                  </a:lnTo>
                  <a:lnTo>
                    <a:pt x="11028626" y="2508820"/>
                  </a:lnTo>
                  <a:lnTo>
                    <a:pt x="11008900" y="2465149"/>
                  </a:lnTo>
                  <a:lnTo>
                    <a:pt x="10958403" y="2412060"/>
                  </a:lnTo>
                  <a:lnTo>
                    <a:pt x="10932049" y="2368724"/>
                  </a:lnTo>
                  <a:lnTo>
                    <a:pt x="10919987" y="2348788"/>
                  </a:lnTo>
                  <a:lnTo>
                    <a:pt x="10898420" y="2331826"/>
                  </a:lnTo>
                  <a:lnTo>
                    <a:pt x="10885806" y="2311593"/>
                  </a:lnTo>
                  <a:lnTo>
                    <a:pt x="10863278" y="2275526"/>
                  </a:lnTo>
                  <a:lnTo>
                    <a:pt x="10835137" y="2238080"/>
                  </a:lnTo>
                  <a:lnTo>
                    <a:pt x="10819150" y="2194619"/>
                  </a:lnTo>
                  <a:lnTo>
                    <a:pt x="10792752" y="2167626"/>
                  </a:lnTo>
                  <a:lnTo>
                    <a:pt x="10735719" y="2132429"/>
                  </a:lnTo>
                  <a:lnTo>
                    <a:pt x="10686067" y="2116661"/>
                  </a:lnTo>
                  <a:lnTo>
                    <a:pt x="10642330" y="2096684"/>
                  </a:lnTo>
                  <a:lnTo>
                    <a:pt x="10561187" y="2059615"/>
                  </a:lnTo>
                  <a:lnTo>
                    <a:pt x="10493173" y="2004508"/>
                  </a:lnTo>
                  <a:lnTo>
                    <a:pt x="10408372" y="1971546"/>
                  </a:lnTo>
                  <a:lnTo>
                    <a:pt x="10346825" y="1947594"/>
                  </a:lnTo>
                  <a:lnTo>
                    <a:pt x="10259934" y="1933606"/>
                  </a:lnTo>
                  <a:lnTo>
                    <a:pt x="10205705" y="1908974"/>
                  </a:lnTo>
                  <a:lnTo>
                    <a:pt x="10161665" y="1878453"/>
                  </a:lnTo>
                  <a:lnTo>
                    <a:pt x="10145858" y="1864089"/>
                  </a:lnTo>
                  <a:lnTo>
                    <a:pt x="10108874" y="1830613"/>
                  </a:lnTo>
                  <a:lnTo>
                    <a:pt x="10091269" y="1751745"/>
                  </a:lnTo>
                  <a:lnTo>
                    <a:pt x="10079208" y="1704948"/>
                  </a:lnTo>
                  <a:lnTo>
                    <a:pt x="10055662" y="1613536"/>
                  </a:lnTo>
                  <a:lnTo>
                    <a:pt x="9963878" y="1519024"/>
                  </a:lnTo>
                  <a:lnTo>
                    <a:pt x="9906461" y="1445148"/>
                  </a:lnTo>
                  <a:lnTo>
                    <a:pt x="9882271" y="1414080"/>
                  </a:lnTo>
                  <a:lnTo>
                    <a:pt x="9864535" y="1376119"/>
                  </a:lnTo>
                  <a:lnTo>
                    <a:pt x="9841176" y="1344490"/>
                  </a:lnTo>
                  <a:lnTo>
                    <a:pt x="9818634" y="1318968"/>
                  </a:lnTo>
                  <a:lnTo>
                    <a:pt x="9782891" y="1265285"/>
                  </a:lnTo>
                  <a:lnTo>
                    <a:pt x="9677775" y="1198763"/>
                  </a:lnTo>
                  <a:lnTo>
                    <a:pt x="9683387" y="1155427"/>
                  </a:lnTo>
                  <a:lnTo>
                    <a:pt x="9686171" y="1133532"/>
                  </a:lnTo>
                  <a:lnTo>
                    <a:pt x="9709953" y="1100274"/>
                  </a:lnTo>
                  <a:lnTo>
                    <a:pt x="9717394" y="1076533"/>
                  </a:lnTo>
                  <a:lnTo>
                    <a:pt x="9745839" y="985444"/>
                  </a:lnTo>
                  <a:lnTo>
                    <a:pt x="9735167" y="950292"/>
                  </a:lnTo>
                  <a:lnTo>
                    <a:pt x="9743240" y="864341"/>
                  </a:lnTo>
                  <a:lnTo>
                    <a:pt x="9746068" y="834203"/>
                  </a:lnTo>
                  <a:lnTo>
                    <a:pt x="9761038" y="806854"/>
                  </a:lnTo>
                  <a:lnTo>
                    <a:pt x="9765000" y="777289"/>
                  </a:lnTo>
                  <a:lnTo>
                    <a:pt x="9767828" y="755420"/>
                  </a:lnTo>
                  <a:lnTo>
                    <a:pt x="9759388" y="726304"/>
                  </a:lnTo>
                  <a:lnTo>
                    <a:pt x="9750037" y="706558"/>
                  </a:lnTo>
                  <a:lnTo>
                    <a:pt x="9716414" y="635848"/>
                  </a:lnTo>
                  <a:lnTo>
                    <a:pt x="9627620" y="643036"/>
                  </a:lnTo>
                  <a:lnTo>
                    <a:pt x="9562327" y="629028"/>
                  </a:lnTo>
                  <a:lnTo>
                    <a:pt x="9524631" y="620950"/>
                  </a:lnTo>
                  <a:lnTo>
                    <a:pt x="9485427" y="604904"/>
                  </a:lnTo>
                  <a:lnTo>
                    <a:pt x="9449435" y="592302"/>
                  </a:lnTo>
                  <a:lnTo>
                    <a:pt x="9405184" y="576830"/>
                  </a:lnTo>
                  <a:lnTo>
                    <a:pt x="9398127" y="541383"/>
                  </a:lnTo>
                  <a:lnTo>
                    <a:pt x="9369180" y="520213"/>
                  </a:lnTo>
                  <a:lnTo>
                    <a:pt x="9327185" y="499894"/>
                  </a:lnTo>
                  <a:lnTo>
                    <a:pt x="9311242" y="480426"/>
                  </a:lnTo>
                  <a:lnTo>
                    <a:pt x="9287950" y="447082"/>
                  </a:lnTo>
                  <a:lnTo>
                    <a:pt x="9194263" y="231765"/>
                  </a:lnTo>
                  <a:lnTo>
                    <a:pt x="9188279" y="210087"/>
                  </a:lnTo>
                  <a:lnTo>
                    <a:pt x="9175021" y="162393"/>
                  </a:lnTo>
                  <a:lnTo>
                    <a:pt x="9216792" y="34069"/>
                  </a:lnTo>
                  <a:lnTo>
                    <a:pt x="9171957" y="613"/>
                  </a:lnTo>
                  <a:lnTo>
                    <a:pt x="9113896" y="613"/>
                  </a:lnTo>
                  <a:lnTo>
                    <a:pt x="9053013" y="5414"/>
                  </a:lnTo>
                  <a:lnTo>
                    <a:pt x="8996489" y="16936"/>
                  </a:lnTo>
                  <a:lnTo>
                    <a:pt x="8973365" y="21631"/>
                  </a:lnTo>
                  <a:lnTo>
                    <a:pt x="8949261" y="33772"/>
                  </a:lnTo>
                  <a:lnTo>
                    <a:pt x="8925759" y="37340"/>
                  </a:lnTo>
                  <a:lnTo>
                    <a:pt x="8864417" y="46672"/>
                  </a:lnTo>
                  <a:lnTo>
                    <a:pt x="8719985" y="40935"/>
                  </a:lnTo>
                  <a:lnTo>
                    <a:pt x="8672763" y="61827"/>
                  </a:lnTo>
                  <a:lnTo>
                    <a:pt x="8632592" y="79574"/>
                  </a:lnTo>
                  <a:lnTo>
                    <a:pt x="8551828" y="203050"/>
                  </a:lnTo>
                  <a:lnTo>
                    <a:pt x="8514974" y="241374"/>
                  </a:lnTo>
                  <a:lnTo>
                    <a:pt x="8403180" y="357688"/>
                  </a:lnTo>
                  <a:lnTo>
                    <a:pt x="8250166" y="392845"/>
                  </a:lnTo>
                  <a:lnTo>
                    <a:pt x="8102838" y="442683"/>
                  </a:lnTo>
                  <a:lnTo>
                    <a:pt x="8062128" y="456473"/>
                  </a:lnTo>
                  <a:lnTo>
                    <a:pt x="8032573" y="479258"/>
                  </a:lnTo>
                  <a:lnTo>
                    <a:pt x="7984495" y="486209"/>
                  </a:lnTo>
                  <a:lnTo>
                    <a:pt x="7954450" y="491221"/>
                  </a:lnTo>
                  <a:lnTo>
                    <a:pt x="7919550" y="492883"/>
                  </a:lnTo>
                  <a:lnTo>
                    <a:pt x="7890647" y="501166"/>
                  </a:lnTo>
                  <a:lnTo>
                    <a:pt x="7844113" y="514514"/>
                  </a:lnTo>
                  <a:lnTo>
                    <a:pt x="7777785" y="552178"/>
                  </a:lnTo>
                  <a:lnTo>
                    <a:pt x="7727419" y="537894"/>
                  </a:lnTo>
                  <a:lnTo>
                    <a:pt x="7705945" y="524401"/>
                  </a:lnTo>
                  <a:lnTo>
                    <a:pt x="7657334" y="494387"/>
                  </a:lnTo>
                  <a:lnTo>
                    <a:pt x="7611885" y="481296"/>
                  </a:lnTo>
                  <a:lnTo>
                    <a:pt x="7565563" y="475328"/>
                  </a:lnTo>
                  <a:lnTo>
                    <a:pt x="7541198" y="475328"/>
                  </a:lnTo>
                  <a:lnTo>
                    <a:pt x="7514794" y="473139"/>
                  </a:lnTo>
                  <a:lnTo>
                    <a:pt x="7490752" y="475328"/>
                  </a:lnTo>
                  <a:lnTo>
                    <a:pt x="7445396" y="479450"/>
                  </a:lnTo>
                  <a:lnTo>
                    <a:pt x="7392519" y="502974"/>
                  </a:lnTo>
                  <a:lnTo>
                    <a:pt x="7346562" y="513414"/>
                  </a:lnTo>
                  <a:lnTo>
                    <a:pt x="7298881" y="524229"/>
                  </a:lnTo>
                  <a:lnTo>
                    <a:pt x="7249359" y="522079"/>
                  </a:lnTo>
                  <a:lnTo>
                    <a:pt x="7201020" y="533812"/>
                  </a:lnTo>
                  <a:lnTo>
                    <a:pt x="7172036" y="542016"/>
                  </a:lnTo>
                  <a:lnTo>
                    <a:pt x="7128808" y="561741"/>
                  </a:lnTo>
                  <a:lnTo>
                    <a:pt x="7099396" y="582337"/>
                  </a:lnTo>
                  <a:lnTo>
                    <a:pt x="7067726" y="596384"/>
                  </a:lnTo>
                  <a:lnTo>
                    <a:pt x="7013661" y="620403"/>
                  </a:lnTo>
                  <a:lnTo>
                    <a:pt x="6957379" y="641440"/>
                  </a:lnTo>
                  <a:lnTo>
                    <a:pt x="6899061" y="661674"/>
                  </a:lnTo>
                  <a:lnTo>
                    <a:pt x="6870882" y="687855"/>
                  </a:lnTo>
                  <a:lnTo>
                    <a:pt x="6781235" y="761560"/>
                  </a:lnTo>
                  <a:lnTo>
                    <a:pt x="6746719" y="777289"/>
                  </a:lnTo>
                  <a:lnTo>
                    <a:pt x="6662126" y="815862"/>
                  </a:lnTo>
                  <a:lnTo>
                    <a:pt x="6526534" y="887404"/>
                  </a:lnTo>
                  <a:lnTo>
                    <a:pt x="6463797" y="955477"/>
                  </a:lnTo>
                  <a:lnTo>
                    <a:pt x="6402973" y="1021465"/>
                  </a:lnTo>
                  <a:lnTo>
                    <a:pt x="6353156" y="1169349"/>
                  </a:lnTo>
                  <a:lnTo>
                    <a:pt x="6269288" y="1207178"/>
                  </a:lnTo>
                  <a:lnTo>
                    <a:pt x="6190214" y="1194087"/>
                  </a:lnTo>
                  <a:lnTo>
                    <a:pt x="6119669" y="1177190"/>
                  </a:lnTo>
                  <a:lnTo>
                    <a:pt x="6097649" y="1171894"/>
                  </a:lnTo>
                  <a:lnTo>
                    <a:pt x="6066665" y="1165841"/>
                  </a:lnTo>
                  <a:lnTo>
                    <a:pt x="6047575" y="1154062"/>
                  </a:lnTo>
                  <a:lnTo>
                    <a:pt x="6005881" y="1128388"/>
                  </a:lnTo>
                  <a:lnTo>
                    <a:pt x="5967493" y="1064885"/>
                  </a:lnTo>
                  <a:lnTo>
                    <a:pt x="5976844" y="1015325"/>
                  </a:lnTo>
                  <a:lnTo>
                    <a:pt x="5986031" y="966589"/>
                  </a:lnTo>
                  <a:lnTo>
                    <a:pt x="6053311" y="925549"/>
                  </a:lnTo>
                  <a:lnTo>
                    <a:pt x="6044855" y="873865"/>
                  </a:lnTo>
                  <a:lnTo>
                    <a:pt x="6025684" y="829277"/>
                  </a:lnTo>
                  <a:lnTo>
                    <a:pt x="5915558" y="822220"/>
                  </a:lnTo>
                  <a:lnTo>
                    <a:pt x="5878909" y="841220"/>
                  </a:lnTo>
                  <a:lnTo>
                    <a:pt x="5826373" y="810468"/>
                  </a:lnTo>
                  <a:lnTo>
                    <a:pt x="5699838" y="670537"/>
                  </a:lnTo>
                  <a:lnTo>
                    <a:pt x="5678028" y="757121"/>
                  </a:lnTo>
                  <a:lnTo>
                    <a:pt x="5560624" y="684795"/>
                  </a:lnTo>
                  <a:lnTo>
                    <a:pt x="5534186" y="668472"/>
                  </a:lnTo>
                  <a:lnTo>
                    <a:pt x="5517647" y="625435"/>
                  </a:lnTo>
                  <a:lnTo>
                    <a:pt x="5439748" y="635465"/>
                  </a:lnTo>
                  <a:lnTo>
                    <a:pt x="5434499" y="700267"/>
                  </a:lnTo>
                  <a:lnTo>
                    <a:pt x="5396042" y="740562"/>
                  </a:lnTo>
                  <a:lnTo>
                    <a:pt x="5363015" y="775040"/>
                  </a:lnTo>
                  <a:lnTo>
                    <a:pt x="5235627" y="839901"/>
                  </a:lnTo>
                  <a:lnTo>
                    <a:pt x="5187934" y="838496"/>
                  </a:lnTo>
                  <a:lnTo>
                    <a:pt x="5161706" y="837711"/>
                  </a:lnTo>
                  <a:lnTo>
                    <a:pt x="5127392" y="828129"/>
                  </a:lnTo>
                  <a:lnTo>
                    <a:pt x="5102240" y="815374"/>
                  </a:lnTo>
                  <a:lnTo>
                    <a:pt x="5046169" y="774103"/>
                  </a:lnTo>
                  <a:lnTo>
                    <a:pt x="5001455" y="739012"/>
                  </a:lnTo>
                  <a:lnTo>
                    <a:pt x="4983900" y="668472"/>
                  </a:lnTo>
                  <a:lnTo>
                    <a:pt x="4978117" y="645371"/>
                  </a:lnTo>
                  <a:lnTo>
                    <a:pt x="4984942" y="616129"/>
                  </a:lnTo>
                  <a:lnTo>
                    <a:pt x="4971662" y="595025"/>
                  </a:lnTo>
                  <a:lnTo>
                    <a:pt x="4957719" y="572959"/>
                  </a:lnTo>
                  <a:lnTo>
                    <a:pt x="4911641" y="562974"/>
                  </a:lnTo>
                  <a:lnTo>
                    <a:pt x="4891406" y="541976"/>
                  </a:lnTo>
                  <a:lnTo>
                    <a:pt x="4848482" y="497513"/>
                  </a:lnTo>
                  <a:lnTo>
                    <a:pt x="4760869" y="368023"/>
                  </a:lnTo>
                  <a:lnTo>
                    <a:pt x="4740423" y="312104"/>
                  </a:lnTo>
                  <a:lnTo>
                    <a:pt x="4727981" y="277863"/>
                  </a:lnTo>
                  <a:lnTo>
                    <a:pt x="4735028" y="208241"/>
                  </a:lnTo>
                  <a:lnTo>
                    <a:pt x="4709145" y="189683"/>
                  </a:lnTo>
                  <a:lnTo>
                    <a:pt x="4685041" y="186431"/>
                  </a:lnTo>
                  <a:lnTo>
                    <a:pt x="4646941" y="200373"/>
                  </a:lnTo>
                  <a:lnTo>
                    <a:pt x="4623451" y="207363"/>
                  </a:lnTo>
                  <a:lnTo>
                    <a:pt x="4647152" y="160672"/>
                  </a:lnTo>
                  <a:lnTo>
                    <a:pt x="4632889" y="121267"/>
                  </a:lnTo>
                  <a:lnTo>
                    <a:pt x="4589447" y="94472"/>
                  </a:lnTo>
                  <a:lnTo>
                    <a:pt x="4549526" y="69860"/>
                  </a:lnTo>
                  <a:lnTo>
                    <a:pt x="4127310" y="0"/>
                  </a:lnTo>
                  <a:lnTo>
                    <a:pt x="4068489" y="3337"/>
                  </a:lnTo>
                  <a:lnTo>
                    <a:pt x="4015354" y="6351"/>
                  </a:lnTo>
                  <a:lnTo>
                    <a:pt x="3963544" y="11113"/>
                  </a:lnTo>
                  <a:lnTo>
                    <a:pt x="3912065" y="21018"/>
                  </a:lnTo>
                  <a:lnTo>
                    <a:pt x="3877381" y="27712"/>
                  </a:lnTo>
                  <a:lnTo>
                    <a:pt x="3841030" y="17365"/>
                  </a:lnTo>
                  <a:lnTo>
                    <a:pt x="3807330" y="21018"/>
                  </a:lnTo>
                  <a:lnTo>
                    <a:pt x="3717134" y="30818"/>
                  </a:lnTo>
                  <a:lnTo>
                    <a:pt x="3628293" y="45294"/>
                  </a:lnTo>
                  <a:lnTo>
                    <a:pt x="3536649" y="59103"/>
                  </a:lnTo>
                  <a:lnTo>
                    <a:pt x="3327517" y="126075"/>
                  </a:lnTo>
                  <a:lnTo>
                    <a:pt x="3398158" y="197122"/>
                  </a:lnTo>
                  <a:lnTo>
                    <a:pt x="3339424" y="240009"/>
                  </a:lnTo>
                  <a:lnTo>
                    <a:pt x="3288332" y="277270"/>
                  </a:lnTo>
                  <a:lnTo>
                    <a:pt x="3199655" y="245469"/>
                  </a:lnTo>
                  <a:lnTo>
                    <a:pt x="3147637" y="297140"/>
                  </a:lnTo>
                  <a:lnTo>
                    <a:pt x="3103212" y="389442"/>
                  </a:lnTo>
                  <a:lnTo>
                    <a:pt x="3192732" y="456368"/>
                  </a:lnTo>
                  <a:lnTo>
                    <a:pt x="3036096" y="478045"/>
                  </a:lnTo>
                  <a:lnTo>
                    <a:pt x="2998412" y="482187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52" name="Sumy¬0" descr="Sumy¬0">
              <a:extLst>
                <a:ext uri="{FF2B5EF4-FFF2-40B4-BE49-F238E27FC236}">
                  <a16:creationId xmlns:a16="http://schemas.microsoft.com/office/drawing/2014/main" id="{E6015444-D1CF-49DB-B531-6B4057264FFC}"/>
                </a:ext>
              </a:extLst>
            </p:cNvPr>
            <p:cNvSpPr/>
            <p:nvPr/>
          </p:nvSpPr>
          <p:spPr>
            <a:xfrm>
              <a:off x="4581269" y="1186126"/>
              <a:ext cx="946434" cy="1026829"/>
            </a:xfrm>
            <a:custGeom>
              <a:avLst/>
              <a:gdLst/>
              <a:ahLst/>
              <a:cxnLst/>
              <a:rect l="0" t="0" r="0" b="0"/>
              <a:pathLst>
                <a:path w="9657839" h="11894505">
                  <a:moveTo>
                    <a:pt x="2838530" y="7354"/>
                  </a:moveTo>
                  <a:lnTo>
                    <a:pt x="2811999" y="18257"/>
                  </a:lnTo>
                  <a:lnTo>
                    <a:pt x="2785693" y="20978"/>
                  </a:lnTo>
                  <a:lnTo>
                    <a:pt x="2667781" y="33220"/>
                  </a:lnTo>
                  <a:lnTo>
                    <a:pt x="2602235" y="69137"/>
                  </a:lnTo>
                  <a:lnTo>
                    <a:pt x="2498697" y="118912"/>
                  </a:lnTo>
                  <a:lnTo>
                    <a:pt x="2445515" y="144479"/>
                  </a:lnTo>
                  <a:lnTo>
                    <a:pt x="2381457" y="160653"/>
                  </a:lnTo>
                  <a:lnTo>
                    <a:pt x="2334105" y="197804"/>
                  </a:lnTo>
                  <a:lnTo>
                    <a:pt x="2261759" y="254549"/>
                  </a:lnTo>
                  <a:lnTo>
                    <a:pt x="2218233" y="345236"/>
                  </a:lnTo>
                  <a:lnTo>
                    <a:pt x="2140960" y="396392"/>
                  </a:lnTo>
                  <a:lnTo>
                    <a:pt x="2096585" y="403236"/>
                  </a:lnTo>
                  <a:lnTo>
                    <a:pt x="2056625" y="366469"/>
                  </a:lnTo>
                  <a:lnTo>
                    <a:pt x="2002476" y="305748"/>
                  </a:lnTo>
                  <a:lnTo>
                    <a:pt x="2020453" y="257057"/>
                  </a:lnTo>
                  <a:lnTo>
                    <a:pt x="2036223" y="180121"/>
                  </a:lnTo>
                  <a:lnTo>
                    <a:pt x="2074484" y="136361"/>
                  </a:lnTo>
                  <a:lnTo>
                    <a:pt x="2068906" y="104949"/>
                  </a:lnTo>
                  <a:lnTo>
                    <a:pt x="1988238" y="32008"/>
                  </a:lnTo>
                  <a:lnTo>
                    <a:pt x="1970940" y="15537"/>
                  </a:lnTo>
                  <a:lnTo>
                    <a:pt x="1901270" y="16281"/>
                  </a:lnTo>
                  <a:lnTo>
                    <a:pt x="1867603" y="249109"/>
                  </a:lnTo>
                  <a:lnTo>
                    <a:pt x="1692092" y="72665"/>
                  </a:lnTo>
                  <a:lnTo>
                    <a:pt x="1667005" y="88070"/>
                  </a:lnTo>
                  <a:lnTo>
                    <a:pt x="1647973" y="109570"/>
                  </a:lnTo>
                  <a:lnTo>
                    <a:pt x="1632684" y="147606"/>
                  </a:lnTo>
                  <a:lnTo>
                    <a:pt x="1624859" y="177640"/>
                  </a:lnTo>
                  <a:lnTo>
                    <a:pt x="1617281" y="208685"/>
                  </a:lnTo>
                  <a:lnTo>
                    <a:pt x="1609703" y="239731"/>
                  </a:lnTo>
                  <a:lnTo>
                    <a:pt x="1602448" y="272362"/>
                  </a:lnTo>
                  <a:lnTo>
                    <a:pt x="1595518" y="301179"/>
                  </a:lnTo>
                  <a:lnTo>
                    <a:pt x="1588585" y="329995"/>
                  </a:lnTo>
                  <a:lnTo>
                    <a:pt x="1582253" y="355342"/>
                  </a:lnTo>
                  <a:lnTo>
                    <a:pt x="1573755" y="374629"/>
                  </a:lnTo>
                  <a:lnTo>
                    <a:pt x="1561771" y="401832"/>
                  </a:lnTo>
                  <a:lnTo>
                    <a:pt x="1535583" y="428528"/>
                  </a:lnTo>
                  <a:lnTo>
                    <a:pt x="1520704" y="454881"/>
                  </a:lnTo>
                  <a:lnTo>
                    <a:pt x="1504218" y="484040"/>
                  </a:lnTo>
                  <a:lnTo>
                    <a:pt x="1490532" y="517195"/>
                  </a:lnTo>
                  <a:lnTo>
                    <a:pt x="1475820" y="547375"/>
                  </a:lnTo>
                  <a:lnTo>
                    <a:pt x="1465836" y="567884"/>
                  </a:lnTo>
                  <a:lnTo>
                    <a:pt x="1471073" y="590383"/>
                  </a:lnTo>
                  <a:lnTo>
                    <a:pt x="1477178" y="614024"/>
                  </a:lnTo>
                  <a:lnTo>
                    <a:pt x="1483292" y="637666"/>
                  </a:lnTo>
                  <a:lnTo>
                    <a:pt x="1490439" y="661195"/>
                  </a:lnTo>
                  <a:lnTo>
                    <a:pt x="1486700" y="683395"/>
                  </a:lnTo>
                  <a:lnTo>
                    <a:pt x="1465321" y="722670"/>
                  </a:lnTo>
                  <a:lnTo>
                    <a:pt x="1402860" y="757228"/>
                  </a:lnTo>
                  <a:lnTo>
                    <a:pt x="1371060" y="774932"/>
                  </a:lnTo>
                  <a:lnTo>
                    <a:pt x="1352047" y="800372"/>
                  </a:lnTo>
                  <a:lnTo>
                    <a:pt x="1333025" y="825811"/>
                  </a:lnTo>
                  <a:lnTo>
                    <a:pt x="1326756" y="858477"/>
                  </a:lnTo>
                  <a:lnTo>
                    <a:pt x="1330275" y="915988"/>
                  </a:lnTo>
                  <a:lnTo>
                    <a:pt x="1331683" y="938453"/>
                  </a:lnTo>
                  <a:lnTo>
                    <a:pt x="1326201" y="963489"/>
                  </a:lnTo>
                  <a:lnTo>
                    <a:pt x="1330275" y="985359"/>
                  </a:lnTo>
                  <a:lnTo>
                    <a:pt x="1336079" y="1016473"/>
                  </a:lnTo>
                  <a:lnTo>
                    <a:pt x="1346488" y="1040601"/>
                  </a:lnTo>
                  <a:lnTo>
                    <a:pt x="1352047" y="1065611"/>
                  </a:lnTo>
                  <a:lnTo>
                    <a:pt x="1357601" y="1090620"/>
                  </a:lnTo>
                  <a:lnTo>
                    <a:pt x="1359163" y="1116384"/>
                  </a:lnTo>
                  <a:lnTo>
                    <a:pt x="1350680" y="1149943"/>
                  </a:lnTo>
                  <a:lnTo>
                    <a:pt x="1389552" y="1155118"/>
                  </a:lnTo>
                  <a:lnTo>
                    <a:pt x="1421575" y="1162583"/>
                  </a:lnTo>
                  <a:lnTo>
                    <a:pt x="1452699" y="1168985"/>
                  </a:lnTo>
                  <a:lnTo>
                    <a:pt x="1483819" y="1175388"/>
                  </a:lnTo>
                  <a:lnTo>
                    <a:pt x="1513693" y="1181047"/>
                  </a:lnTo>
                  <a:lnTo>
                    <a:pt x="1539751" y="1194829"/>
                  </a:lnTo>
                  <a:lnTo>
                    <a:pt x="1558875" y="1212384"/>
                  </a:lnTo>
                  <a:lnTo>
                    <a:pt x="1633602" y="1279162"/>
                  </a:lnTo>
                  <a:lnTo>
                    <a:pt x="1656686" y="1304622"/>
                  </a:lnTo>
                  <a:lnTo>
                    <a:pt x="1672329" y="1340052"/>
                  </a:lnTo>
                  <a:lnTo>
                    <a:pt x="1694817" y="1366214"/>
                  </a:lnTo>
                  <a:lnTo>
                    <a:pt x="1708757" y="1382431"/>
                  </a:lnTo>
                  <a:lnTo>
                    <a:pt x="1738852" y="1393567"/>
                  </a:lnTo>
                  <a:lnTo>
                    <a:pt x="1747859" y="1413821"/>
                  </a:lnTo>
                  <a:lnTo>
                    <a:pt x="1757852" y="1436350"/>
                  </a:lnTo>
                  <a:lnTo>
                    <a:pt x="1776421" y="1477751"/>
                  </a:lnTo>
                  <a:lnTo>
                    <a:pt x="1794445" y="1490014"/>
                  </a:lnTo>
                  <a:lnTo>
                    <a:pt x="1905558" y="1489121"/>
                  </a:lnTo>
                  <a:lnTo>
                    <a:pt x="1931488" y="1489993"/>
                  </a:lnTo>
                  <a:lnTo>
                    <a:pt x="1935398" y="1521776"/>
                  </a:lnTo>
                  <a:lnTo>
                    <a:pt x="1931950" y="1550219"/>
                  </a:lnTo>
                  <a:lnTo>
                    <a:pt x="1926046" y="1578405"/>
                  </a:lnTo>
                  <a:lnTo>
                    <a:pt x="1920146" y="1606592"/>
                  </a:lnTo>
                  <a:lnTo>
                    <a:pt x="1911235" y="1634800"/>
                  </a:lnTo>
                  <a:lnTo>
                    <a:pt x="1905641" y="1665458"/>
                  </a:lnTo>
                  <a:lnTo>
                    <a:pt x="1878694" y="1685255"/>
                  </a:lnTo>
                  <a:lnTo>
                    <a:pt x="1827643" y="1698807"/>
                  </a:lnTo>
                  <a:lnTo>
                    <a:pt x="1773705" y="1706264"/>
                  </a:lnTo>
                  <a:lnTo>
                    <a:pt x="1719771" y="1713722"/>
                  </a:lnTo>
                  <a:lnTo>
                    <a:pt x="1662872" y="1714829"/>
                  </a:lnTo>
                  <a:lnTo>
                    <a:pt x="1628161" y="1708984"/>
                  </a:lnTo>
                  <a:lnTo>
                    <a:pt x="1613073" y="1674108"/>
                  </a:lnTo>
                  <a:lnTo>
                    <a:pt x="1603337" y="1646820"/>
                  </a:lnTo>
                  <a:lnTo>
                    <a:pt x="1590076" y="1630093"/>
                  </a:lnTo>
                  <a:lnTo>
                    <a:pt x="1550336" y="1642632"/>
                  </a:lnTo>
                  <a:lnTo>
                    <a:pt x="1521963" y="1670750"/>
                  </a:lnTo>
                  <a:lnTo>
                    <a:pt x="1524871" y="1721492"/>
                  </a:lnTo>
                  <a:lnTo>
                    <a:pt x="1528868" y="1776994"/>
                  </a:lnTo>
                  <a:lnTo>
                    <a:pt x="1532864" y="1832497"/>
                  </a:lnTo>
                  <a:lnTo>
                    <a:pt x="1537608" y="1892463"/>
                  </a:lnTo>
                  <a:lnTo>
                    <a:pt x="1528868" y="1933418"/>
                  </a:lnTo>
                  <a:lnTo>
                    <a:pt x="1512633" y="1955967"/>
                  </a:lnTo>
                  <a:lnTo>
                    <a:pt x="1482415" y="1976773"/>
                  </a:lnTo>
                  <a:lnTo>
                    <a:pt x="1458137" y="1989185"/>
                  </a:lnTo>
                  <a:lnTo>
                    <a:pt x="1470635" y="2015837"/>
                  </a:lnTo>
                  <a:lnTo>
                    <a:pt x="1503787" y="2071945"/>
                  </a:lnTo>
                  <a:lnTo>
                    <a:pt x="1526520" y="2100039"/>
                  </a:lnTo>
                  <a:lnTo>
                    <a:pt x="1541109" y="2129286"/>
                  </a:lnTo>
                  <a:lnTo>
                    <a:pt x="1555703" y="2158533"/>
                  </a:lnTo>
                  <a:lnTo>
                    <a:pt x="1561638" y="2188869"/>
                  </a:lnTo>
                  <a:lnTo>
                    <a:pt x="1551992" y="2234021"/>
                  </a:lnTo>
                  <a:lnTo>
                    <a:pt x="1527215" y="2253278"/>
                  </a:lnTo>
                  <a:lnTo>
                    <a:pt x="1440346" y="2250471"/>
                  </a:lnTo>
                  <a:lnTo>
                    <a:pt x="1419057" y="2252296"/>
                  </a:lnTo>
                  <a:lnTo>
                    <a:pt x="1385686" y="2267434"/>
                  </a:lnTo>
                  <a:lnTo>
                    <a:pt x="1313954" y="2303392"/>
                  </a:lnTo>
                  <a:lnTo>
                    <a:pt x="1272855" y="2318353"/>
                  </a:lnTo>
                  <a:lnTo>
                    <a:pt x="1229118" y="2330659"/>
                  </a:lnTo>
                  <a:lnTo>
                    <a:pt x="1187456" y="2344197"/>
                  </a:lnTo>
                  <a:lnTo>
                    <a:pt x="1165693" y="2372762"/>
                  </a:lnTo>
                  <a:lnTo>
                    <a:pt x="1141301" y="2385088"/>
                  </a:lnTo>
                  <a:lnTo>
                    <a:pt x="1092584" y="2370253"/>
                  </a:lnTo>
                  <a:lnTo>
                    <a:pt x="1059603" y="2379563"/>
                  </a:lnTo>
                  <a:lnTo>
                    <a:pt x="1040767" y="2424917"/>
                  </a:lnTo>
                  <a:lnTo>
                    <a:pt x="1031289" y="2449167"/>
                  </a:lnTo>
                  <a:lnTo>
                    <a:pt x="992339" y="2443986"/>
                  </a:lnTo>
                  <a:lnTo>
                    <a:pt x="946705" y="2439412"/>
                  </a:lnTo>
                  <a:lnTo>
                    <a:pt x="901067" y="2434837"/>
                  </a:lnTo>
                  <a:lnTo>
                    <a:pt x="849390" y="2430783"/>
                  </a:lnTo>
                  <a:lnTo>
                    <a:pt x="817485" y="2442132"/>
                  </a:lnTo>
                  <a:lnTo>
                    <a:pt x="793511" y="2486423"/>
                  </a:lnTo>
                  <a:lnTo>
                    <a:pt x="793167" y="2513861"/>
                  </a:lnTo>
                  <a:lnTo>
                    <a:pt x="805368" y="2535199"/>
                  </a:lnTo>
                  <a:lnTo>
                    <a:pt x="809324" y="2565910"/>
                  </a:lnTo>
                  <a:lnTo>
                    <a:pt x="774511" y="2585229"/>
                  </a:lnTo>
                  <a:lnTo>
                    <a:pt x="736432" y="2577876"/>
                  </a:lnTo>
                  <a:lnTo>
                    <a:pt x="701873" y="2599915"/>
                  </a:lnTo>
                  <a:lnTo>
                    <a:pt x="683422" y="2611690"/>
                  </a:lnTo>
                  <a:lnTo>
                    <a:pt x="678371" y="2635347"/>
                  </a:lnTo>
                  <a:lnTo>
                    <a:pt x="674672" y="2661124"/>
                  </a:lnTo>
                  <a:lnTo>
                    <a:pt x="670963" y="2686901"/>
                  </a:lnTo>
                  <a:lnTo>
                    <a:pt x="668486" y="2715117"/>
                  </a:lnTo>
                  <a:lnTo>
                    <a:pt x="656983" y="2734574"/>
                  </a:lnTo>
                  <a:lnTo>
                    <a:pt x="639303" y="2764521"/>
                  </a:lnTo>
                  <a:lnTo>
                    <a:pt x="615922" y="2768431"/>
                  </a:lnTo>
                  <a:lnTo>
                    <a:pt x="590336" y="2787622"/>
                  </a:lnTo>
                  <a:lnTo>
                    <a:pt x="555950" y="2813402"/>
                  </a:lnTo>
                  <a:lnTo>
                    <a:pt x="530829" y="2849405"/>
                  </a:lnTo>
                  <a:lnTo>
                    <a:pt x="504642" y="2882836"/>
                  </a:lnTo>
                  <a:lnTo>
                    <a:pt x="481446" y="2912436"/>
                  </a:lnTo>
                  <a:lnTo>
                    <a:pt x="467063" y="2941317"/>
                  </a:lnTo>
                  <a:lnTo>
                    <a:pt x="458396" y="2969889"/>
                  </a:lnTo>
                  <a:lnTo>
                    <a:pt x="449730" y="2998461"/>
                  </a:lnTo>
                  <a:lnTo>
                    <a:pt x="446189" y="3026752"/>
                  </a:lnTo>
                  <a:lnTo>
                    <a:pt x="447517" y="3055582"/>
                  </a:lnTo>
                  <a:lnTo>
                    <a:pt x="450168" y="3113241"/>
                  </a:lnTo>
                  <a:lnTo>
                    <a:pt x="468895" y="3172803"/>
                  </a:lnTo>
                  <a:lnTo>
                    <a:pt x="484243" y="3239208"/>
                  </a:lnTo>
                  <a:lnTo>
                    <a:pt x="493331" y="3278489"/>
                  </a:lnTo>
                  <a:lnTo>
                    <a:pt x="502753" y="3308756"/>
                  </a:lnTo>
                  <a:lnTo>
                    <a:pt x="514170" y="3333062"/>
                  </a:lnTo>
                  <a:lnTo>
                    <a:pt x="525574" y="3357369"/>
                  </a:lnTo>
                  <a:lnTo>
                    <a:pt x="539192" y="3375092"/>
                  </a:lnTo>
                  <a:lnTo>
                    <a:pt x="554974" y="3391551"/>
                  </a:lnTo>
                  <a:lnTo>
                    <a:pt x="586528" y="3424469"/>
                  </a:lnTo>
                  <a:lnTo>
                    <a:pt x="628343" y="3449274"/>
                  </a:lnTo>
                  <a:lnTo>
                    <a:pt x="689629" y="3493566"/>
                  </a:lnTo>
                  <a:lnTo>
                    <a:pt x="721084" y="3516285"/>
                  </a:lnTo>
                  <a:lnTo>
                    <a:pt x="752707" y="3538835"/>
                  </a:lnTo>
                  <a:lnTo>
                    <a:pt x="776681" y="3569736"/>
                  </a:lnTo>
                  <a:lnTo>
                    <a:pt x="781177" y="3594589"/>
                  </a:lnTo>
                  <a:lnTo>
                    <a:pt x="774907" y="3618336"/>
                  </a:lnTo>
                  <a:lnTo>
                    <a:pt x="760366" y="3640467"/>
                  </a:lnTo>
                  <a:lnTo>
                    <a:pt x="744708" y="3661938"/>
                  </a:lnTo>
                  <a:lnTo>
                    <a:pt x="723335" y="3680540"/>
                  </a:lnTo>
                  <a:lnTo>
                    <a:pt x="708673" y="3697596"/>
                  </a:lnTo>
                  <a:lnTo>
                    <a:pt x="691502" y="3710369"/>
                  </a:lnTo>
                  <a:lnTo>
                    <a:pt x="688051" y="3732046"/>
                  </a:lnTo>
                  <a:lnTo>
                    <a:pt x="688271" y="3769686"/>
                  </a:lnTo>
                  <a:lnTo>
                    <a:pt x="694686" y="3807070"/>
                  </a:lnTo>
                  <a:lnTo>
                    <a:pt x="719900" y="3819232"/>
                  </a:lnTo>
                  <a:lnTo>
                    <a:pt x="753854" y="3819102"/>
                  </a:lnTo>
                  <a:lnTo>
                    <a:pt x="783657" y="3848833"/>
                  </a:lnTo>
                  <a:lnTo>
                    <a:pt x="786435" y="3901304"/>
                  </a:lnTo>
                  <a:lnTo>
                    <a:pt x="786209" y="3954673"/>
                  </a:lnTo>
                  <a:lnTo>
                    <a:pt x="786004" y="4008042"/>
                  </a:lnTo>
                  <a:lnTo>
                    <a:pt x="783288" y="4062246"/>
                  </a:lnTo>
                  <a:lnTo>
                    <a:pt x="788928" y="4097494"/>
                  </a:lnTo>
                  <a:lnTo>
                    <a:pt x="812424" y="4106081"/>
                  </a:lnTo>
                  <a:lnTo>
                    <a:pt x="837207" y="4120256"/>
                  </a:lnTo>
                  <a:lnTo>
                    <a:pt x="856933" y="4135579"/>
                  </a:lnTo>
                  <a:lnTo>
                    <a:pt x="869432" y="4170052"/>
                  </a:lnTo>
                  <a:lnTo>
                    <a:pt x="832361" y="4199870"/>
                  </a:lnTo>
                  <a:lnTo>
                    <a:pt x="777062" y="4200933"/>
                  </a:lnTo>
                  <a:lnTo>
                    <a:pt x="745393" y="4226713"/>
                  </a:lnTo>
                  <a:lnTo>
                    <a:pt x="737573" y="4265075"/>
                  </a:lnTo>
                  <a:lnTo>
                    <a:pt x="752623" y="4320523"/>
                  </a:lnTo>
                  <a:lnTo>
                    <a:pt x="758998" y="4358652"/>
                  </a:lnTo>
                  <a:lnTo>
                    <a:pt x="840308" y="4426917"/>
                  </a:lnTo>
                  <a:lnTo>
                    <a:pt x="855575" y="4441624"/>
                  </a:lnTo>
                  <a:lnTo>
                    <a:pt x="874061" y="4475077"/>
                  </a:lnTo>
                  <a:lnTo>
                    <a:pt x="888510" y="4494906"/>
                  </a:lnTo>
                  <a:lnTo>
                    <a:pt x="821143" y="4571629"/>
                  </a:lnTo>
                  <a:lnTo>
                    <a:pt x="753513" y="4564063"/>
                  </a:lnTo>
                  <a:lnTo>
                    <a:pt x="704676" y="4527062"/>
                  </a:lnTo>
                  <a:lnTo>
                    <a:pt x="647461" y="4506914"/>
                  </a:lnTo>
                  <a:lnTo>
                    <a:pt x="650354" y="4531311"/>
                  </a:lnTo>
                  <a:lnTo>
                    <a:pt x="664403" y="4566271"/>
                  </a:lnTo>
                  <a:lnTo>
                    <a:pt x="676030" y="4602128"/>
                  </a:lnTo>
                  <a:lnTo>
                    <a:pt x="687663" y="4637984"/>
                  </a:lnTo>
                  <a:lnTo>
                    <a:pt x="696580" y="4675079"/>
                  </a:lnTo>
                  <a:lnTo>
                    <a:pt x="680836" y="4714238"/>
                  </a:lnTo>
                  <a:lnTo>
                    <a:pt x="625577" y="4739380"/>
                  </a:lnTo>
                  <a:lnTo>
                    <a:pt x="602583" y="4747669"/>
                  </a:lnTo>
                  <a:lnTo>
                    <a:pt x="590336" y="4765351"/>
                  </a:lnTo>
                  <a:lnTo>
                    <a:pt x="593601" y="4792784"/>
                  </a:lnTo>
                  <a:lnTo>
                    <a:pt x="597141" y="4817039"/>
                  </a:lnTo>
                  <a:lnTo>
                    <a:pt x="600676" y="4841294"/>
                  </a:lnTo>
                  <a:lnTo>
                    <a:pt x="602158" y="4872043"/>
                  </a:lnTo>
                  <a:lnTo>
                    <a:pt x="595783" y="4905452"/>
                  </a:lnTo>
                  <a:lnTo>
                    <a:pt x="631356" y="4926705"/>
                  </a:lnTo>
                  <a:lnTo>
                    <a:pt x="664040" y="4949489"/>
                  </a:lnTo>
                  <a:lnTo>
                    <a:pt x="685552" y="4969381"/>
                  </a:lnTo>
                  <a:lnTo>
                    <a:pt x="685750" y="5003790"/>
                  </a:lnTo>
                  <a:lnTo>
                    <a:pt x="661060" y="5026510"/>
                  </a:lnTo>
                  <a:lnTo>
                    <a:pt x="638531" y="5049612"/>
                  </a:lnTo>
                  <a:lnTo>
                    <a:pt x="637099" y="5095125"/>
                  </a:lnTo>
                  <a:lnTo>
                    <a:pt x="647169" y="5116070"/>
                  </a:lnTo>
                  <a:lnTo>
                    <a:pt x="655619" y="5138046"/>
                  </a:lnTo>
                  <a:lnTo>
                    <a:pt x="664065" y="5160021"/>
                  </a:lnTo>
                  <a:lnTo>
                    <a:pt x="669686" y="5182369"/>
                  </a:lnTo>
                  <a:lnTo>
                    <a:pt x="659693" y="5214217"/>
                  </a:lnTo>
                  <a:lnTo>
                    <a:pt x="638209" y="5233738"/>
                  </a:lnTo>
                  <a:lnTo>
                    <a:pt x="615237" y="5246549"/>
                  </a:lnTo>
                  <a:lnTo>
                    <a:pt x="590323" y="5255023"/>
                  </a:lnTo>
                  <a:lnTo>
                    <a:pt x="565407" y="5263498"/>
                  </a:lnTo>
                  <a:lnTo>
                    <a:pt x="539192" y="5267382"/>
                  </a:lnTo>
                  <a:lnTo>
                    <a:pt x="511435" y="5271345"/>
                  </a:lnTo>
                  <a:lnTo>
                    <a:pt x="472774" y="5276866"/>
                  </a:lnTo>
                  <a:lnTo>
                    <a:pt x="446791" y="5275333"/>
                  </a:lnTo>
                  <a:lnTo>
                    <a:pt x="410130" y="5259200"/>
                  </a:lnTo>
                  <a:lnTo>
                    <a:pt x="391737" y="5229182"/>
                  </a:lnTo>
                  <a:lnTo>
                    <a:pt x="376600" y="5196917"/>
                  </a:lnTo>
                  <a:lnTo>
                    <a:pt x="373645" y="5154477"/>
                  </a:lnTo>
                  <a:lnTo>
                    <a:pt x="344127" y="5123086"/>
                  </a:lnTo>
                  <a:lnTo>
                    <a:pt x="294013" y="5110655"/>
                  </a:lnTo>
                  <a:lnTo>
                    <a:pt x="262858" y="5128473"/>
                  </a:lnTo>
                  <a:lnTo>
                    <a:pt x="249339" y="5149729"/>
                  </a:lnTo>
                  <a:lnTo>
                    <a:pt x="239393" y="5172053"/>
                  </a:lnTo>
                  <a:lnTo>
                    <a:pt x="229443" y="5194377"/>
                  </a:lnTo>
                  <a:lnTo>
                    <a:pt x="222984" y="5218300"/>
                  </a:lnTo>
                  <a:lnTo>
                    <a:pt x="223071" y="5241424"/>
                  </a:lnTo>
                  <a:lnTo>
                    <a:pt x="234401" y="5268138"/>
                  </a:lnTo>
                  <a:lnTo>
                    <a:pt x="253131" y="5287242"/>
                  </a:lnTo>
                  <a:lnTo>
                    <a:pt x="267955" y="5308073"/>
                  </a:lnTo>
                  <a:lnTo>
                    <a:pt x="282789" y="5328904"/>
                  </a:lnTo>
                  <a:lnTo>
                    <a:pt x="293631" y="5351185"/>
                  </a:lnTo>
                  <a:lnTo>
                    <a:pt x="291080" y="5384244"/>
                  </a:lnTo>
                  <a:lnTo>
                    <a:pt x="310672" y="5405157"/>
                  </a:lnTo>
                  <a:lnTo>
                    <a:pt x="336134" y="5403903"/>
                  </a:lnTo>
                  <a:lnTo>
                    <a:pt x="386888" y="5395083"/>
                  </a:lnTo>
                  <a:lnTo>
                    <a:pt x="416895" y="5418996"/>
                  </a:lnTo>
                  <a:lnTo>
                    <a:pt x="428457" y="5448176"/>
                  </a:lnTo>
                  <a:lnTo>
                    <a:pt x="430026" y="5477490"/>
                  </a:lnTo>
                  <a:lnTo>
                    <a:pt x="417180" y="5520126"/>
                  </a:lnTo>
                  <a:lnTo>
                    <a:pt x="397941" y="5547311"/>
                  </a:lnTo>
                  <a:lnTo>
                    <a:pt x="386302" y="5577394"/>
                  </a:lnTo>
                  <a:lnTo>
                    <a:pt x="389018" y="5600518"/>
                  </a:lnTo>
                  <a:lnTo>
                    <a:pt x="400878" y="5619412"/>
                  </a:lnTo>
                  <a:lnTo>
                    <a:pt x="424690" y="5631511"/>
                  </a:lnTo>
                  <a:lnTo>
                    <a:pt x="446143" y="5645404"/>
                  </a:lnTo>
                  <a:lnTo>
                    <a:pt x="467590" y="5659299"/>
                  </a:lnTo>
                  <a:lnTo>
                    <a:pt x="487269" y="5675095"/>
                  </a:lnTo>
                  <a:lnTo>
                    <a:pt x="493746" y="5698453"/>
                  </a:lnTo>
                  <a:lnTo>
                    <a:pt x="446143" y="5754518"/>
                  </a:lnTo>
                  <a:lnTo>
                    <a:pt x="439191" y="5790277"/>
                  </a:lnTo>
                  <a:lnTo>
                    <a:pt x="450022" y="5810390"/>
                  </a:lnTo>
                  <a:lnTo>
                    <a:pt x="461100" y="5830391"/>
                  </a:lnTo>
                  <a:lnTo>
                    <a:pt x="472188" y="5850394"/>
                  </a:lnTo>
                  <a:lnTo>
                    <a:pt x="483483" y="5870475"/>
                  </a:lnTo>
                  <a:lnTo>
                    <a:pt x="475980" y="5903433"/>
                  </a:lnTo>
                  <a:lnTo>
                    <a:pt x="447504" y="5922886"/>
                  </a:lnTo>
                  <a:lnTo>
                    <a:pt x="413903" y="5937889"/>
                  </a:lnTo>
                  <a:lnTo>
                    <a:pt x="377722" y="5951408"/>
                  </a:lnTo>
                  <a:lnTo>
                    <a:pt x="346844" y="5967772"/>
                  </a:lnTo>
                  <a:lnTo>
                    <a:pt x="322535" y="5987154"/>
                  </a:lnTo>
                  <a:lnTo>
                    <a:pt x="334863" y="6028407"/>
                  </a:lnTo>
                  <a:lnTo>
                    <a:pt x="346251" y="6127171"/>
                  </a:lnTo>
                  <a:lnTo>
                    <a:pt x="335970" y="6158200"/>
                  </a:lnTo>
                  <a:lnTo>
                    <a:pt x="306716" y="6185827"/>
                  </a:lnTo>
                  <a:lnTo>
                    <a:pt x="282919" y="6194925"/>
                  </a:lnTo>
                  <a:lnTo>
                    <a:pt x="259125" y="6204023"/>
                  </a:lnTo>
                  <a:lnTo>
                    <a:pt x="230063" y="6210758"/>
                  </a:lnTo>
                  <a:lnTo>
                    <a:pt x="202666" y="6216688"/>
                  </a:lnTo>
                  <a:lnTo>
                    <a:pt x="175273" y="6222618"/>
                  </a:lnTo>
                  <a:lnTo>
                    <a:pt x="149029" y="6227733"/>
                  </a:lnTo>
                  <a:lnTo>
                    <a:pt x="127855" y="6234371"/>
                  </a:lnTo>
                  <a:lnTo>
                    <a:pt x="106685" y="6241009"/>
                  </a:lnTo>
                  <a:lnTo>
                    <a:pt x="85687" y="6260215"/>
                  </a:lnTo>
                  <a:lnTo>
                    <a:pt x="104942" y="6277163"/>
                  </a:lnTo>
                  <a:lnTo>
                    <a:pt x="109553" y="6300311"/>
                  </a:lnTo>
                  <a:lnTo>
                    <a:pt x="106092" y="6324145"/>
                  </a:lnTo>
                  <a:lnTo>
                    <a:pt x="102629" y="6347973"/>
                  </a:lnTo>
                  <a:lnTo>
                    <a:pt x="91873" y="6371741"/>
                  </a:lnTo>
                  <a:lnTo>
                    <a:pt x="125136" y="6438402"/>
                  </a:lnTo>
                  <a:lnTo>
                    <a:pt x="133678" y="6467519"/>
                  </a:lnTo>
                  <a:lnTo>
                    <a:pt x="113999" y="6515701"/>
                  </a:lnTo>
                  <a:lnTo>
                    <a:pt x="79737" y="6549513"/>
                  </a:lnTo>
                  <a:lnTo>
                    <a:pt x="57125" y="6586662"/>
                  </a:lnTo>
                  <a:lnTo>
                    <a:pt x="36897" y="6619841"/>
                  </a:lnTo>
                  <a:lnTo>
                    <a:pt x="19037" y="6654781"/>
                  </a:lnTo>
                  <a:lnTo>
                    <a:pt x="0" y="6688679"/>
                  </a:lnTo>
                  <a:lnTo>
                    <a:pt x="59723" y="6707844"/>
                  </a:lnTo>
                  <a:lnTo>
                    <a:pt x="117363" y="6719596"/>
                  </a:lnTo>
                  <a:lnTo>
                    <a:pt x="167304" y="6738998"/>
                  </a:lnTo>
                  <a:lnTo>
                    <a:pt x="190559" y="6748033"/>
                  </a:lnTo>
                  <a:lnTo>
                    <a:pt x="222070" y="6765720"/>
                  </a:lnTo>
                  <a:lnTo>
                    <a:pt x="254356" y="6781166"/>
                  </a:lnTo>
                  <a:lnTo>
                    <a:pt x="286652" y="6796617"/>
                  </a:lnTo>
                  <a:lnTo>
                    <a:pt x="319391" y="6809016"/>
                  </a:lnTo>
                  <a:lnTo>
                    <a:pt x="344127" y="6809728"/>
                  </a:lnTo>
                  <a:lnTo>
                    <a:pt x="417152" y="6778105"/>
                  </a:lnTo>
                  <a:lnTo>
                    <a:pt x="447510" y="6796129"/>
                  </a:lnTo>
                  <a:lnTo>
                    <a:pt x="470715" y="6843395"/>
                  </a:lnTo>
                  <a:lnTo>
                    <a:pt x="459748" y="6864136"/>
                  </a:lnTo>
                  <a:lnTo>
                    <a:pt x="431834" y="6883439"/>
                  </a:lnTo>
                  <a:lnTo>
                    <a:pt x="412142" y="6891340"/>
                  </a:lnTo>
                  <a:lnTo>
                    <a:pt x="392447" y="6899247"/>
                  </a:lnTo>
                  <a:lnTo>
                    <a:pt x="369980" y="6918544"/>
                  </a:lnTo>
                  <a:lnTo>
                    <a:pt x="368613" y="6940307"/>
                  </a:lnTo>
                  <a:lnTo>
                    <a:pt x="400757" y="6972741"/>
                  </a:lnTo>
                  <a:lnTo>
                    <a:pt x="432544" y="6989275"/>
                  </a:lnTo>
                  <a:lnTo>
                    <a:pt x="464334" y="7005815"/>
                  </a:lnTo>
                  <a:lnTo>
                    <a:pt x="504034" y="7021945"/>
                  </a:lnTo>
                  <a:lnTo>
                    <a:pt x="544084" y="7035524"/>
                  </a:lnTo>
                  <a:lnTo>
                    <a:pt x="624172" y="7062682"/>
                  </a:lnTo>
                  <a:lnTo>
                    <a:pt x="706353" y="7078668"/>
                  </a:lnTo>
                  <a:lnTo>
                    <a:pt x="727707" y="7068169"/>
                  </a:lnTo>
                  <a:lnTo>
                    <a:pt x="762338" y="7020303"/>
                  </a:lnTo>
                  <a:lnTo>
                    <a:pt x="782116" y="6978393"/>
                  </a:lnTo>
                  <a:lnTo>
                    <a:pt x="801898" y="6936489"/>
                  </a:lnTo>
                  <a:lnTo>
                    <a:pt x="821224" y="6892679"/>
                  </a:lnTo>
                  <a:lnTo>
                    <a:pt x="863516" y="6881032"/>
                  </a:lnTo>
                  <a:lnTo>
                    <a:pt x="935605" y="6915609"/>
                  </a:lnTo>
                  <a:lnTo>
                    <a:pt x="967100" y="6929425"/>
                  </a:lnTo>
                  <a:lnTo>
                    <a:pt x="871680" y="7102278"/>
                  </a:lnTo>
                  <a:lnTo>
                    <a:pt x="852211" y="7123692"/>
                  </a:lnTo>
                  <a:lnTo>
                    <a:pt x="823180" y="7145606"/>
                  </a:lnTo>
                  <a:lnTo>
                    <a:pt x="799802" y="7170186"/>
                  </a:lnTo>
                  <a:lnTo>
                    <a:pt x="778330" y="7195688"/>
                  </a:lnTo>
                  <a:lnTo>
                    <a:pt x="764151" y="7223571"/>
                  </a:lnTo>
                  <a:lnTo>
                    <a:pt x="761717" y="7254515"/>
                  </a:lnTo>
                  <a:lnTo>
                    <a:pt x="789474" y="7294743"/>
                  </a:lnTo>
                  <a:lnTo>
                    <a:pt x="820207" y="7319804"/>
                  </a:lnTo>
                  <a:lnTo>
                    <a:pt x="850924" y="7344864"/>
                  </a:lnTo>
                  <a:lnTo>
                    <a:pt x="884110" y="7368548"/>
                  </a:lnTo>
                  <a:lnTo>
                    <a:pt x="883750" y="7398079"/>
                  </a:lnTo>
                  <a:lnTo>
                    <a:pt x="865172" y="7429814"/>
                  </a:lnTo>
                  <a:lnTo>
                    <a:pt x="859643" y="7453107"/>
                  </a:lnTo>
                  <a:lnTo>
                    <a:pt x="853321" y="7479671"/>
                  </a:lnTo>
                  <a:lnTo>
                    <a:pt x="863550" y="7549531"/>
                  </a:lnTo>
                  <a:lnTo>
                    <a:pt x="867810" y="7617690"/>
                  </a:lnTo>
                  <a:lnTo>
                    <a:pt x="869940" y="7651765"/>
                  </a:lnTo>
                  <a:lnTo>
                    <a:pt x="870480" y="7685689"/>
                  </a:lnTo>
                  <a:lnTo>
                    <a:pt x="866449" y="7712900"/>
                  </a:lnTo>
                  <a:lnTo>
                    <a:pt x="862415" y="7740117"/>
                  </a:lnTo>
                  <a:lnTo>
                    <a:pt x="853966" y="7761195"/>
                  </a:lnTo>
                  <a:lnTo>
                    <a:pt x="823391" y="7775901"/>
                  </a:lnTo>
                  <a:lnTo>
                    <a:pt x="787859" y="7767460"/>
                  </a:lnTo>
                  <a:lnTo>
                    <a:pt x="731242" y="7842589"/>
                  </a:lnTo>
                  <a:lnTo>
                    <a:pt x="723630" y="7876123"/>
                  </a:lnTo>
                  <a:lnTo>
                    <a:pt x="716613" y="7906922"/>
                  </a:lnTo>
                  <a:lnTo>
                    <a:pt x="722436" y="7948707"/>
                  </a:lnTo>
                  <a:lnTo>
                    <a:pt x="711392" y="7976782"/>
                  </a:lnTo>
                  <a:lnTo>
                    <a:pt x="659693" y="8108719"/>
                  </a:lnTo>
                  <a:lnTo>
                    <a:pt x="649259" y="8135284"/>
                  </a:lnTo>
                  <a:lnTo>
                    <a:pt x="647566" y="8187601"/>
                  </a:lnTo>
                  <a:lnTo>
                    <a:pt x="648813" y="8240657"/>
                  </a:lnTo>
                  <a:lnTo>
                    <a:pt x="650065" y="8293714"/>
                  </a:lnTo>
                  <a:lnTo>
                    <a:pt x="654260" y="8346895"/>
                  </a:lnTo>
                  <a:lnTo>
                    <a:pt x="659693" y="8375319"/>
                  </a:lnTo>
                  <a:lnTo>
                    <a:pt x="676148" y="8390949"/>
                  </a:lnTo>
                  <a:lnTo>
                    <a:pt x="688395" y="8408880"/>
                  </a:lnTo>
                  <a:lnTo>
                    <a:pt x="701861" y="8425644"/>
                  </a:lnTo>
                  <a:lnTo>
                    <a:pt x="715330" y="8442408"/>
                  </a:lnTo>
                  <a:lnTo>
                    <a:pt x="731003" y="8458454"/>
                  </a:lnTo>
                  <a:lnTo>
                    <a:pt x="752186" y="8469170"/>
                  </a:lnTo>
                  <a:lnTo>
                    <a:pt x="784916" y="8468089"/>
                  </a:lnTo>
                  <a:lnTo>
                    <a:pt x="807960" y="8489575"/>
                  </a:lnTo>
                  <a:lnTo>
                    <a:pt x="815649" y="8511002"/>
                  </a:lnTo>
                  <a:lnTo>
                    <a:pt x="815823" y="8535291"/>
                  </a:lnTo>
                  <a:lnTo>
                    <a:pt x="817475" y="8557588"/>
                  </a:lnTo>
                  <a:lnTo>
                    <a:pt x="819041" y="8578738"/>
                  </a:lnTo>
                  <a:lnTo>
                    <a:pt x="805237" y="8606556"/>
                  </a:lnTo>
                  <a:lnTo>
                    <a:pt x="782076" y="8629117"/>
                  </a:lnTo>
                  <a:lnTo>
                    <a:pt x="737310" y="8655285"/>
                  </a:lnTo>
                  <a:lnTo>
                    <a:pt x="701610" y="8670592"/>
                  </a:lnTo>
                  <a:lnTo>
                    <a:pt x="677375" y="8704490"/>
                  </a:lnTo>
                  <a:lnTo>
                    <a:pt x="677375" y="8734200"/>
                  </a:lnTo>
                  <a:lnTo>
                    <a:pt x="676275" y="8910640"/>
                  </a:lnTo>
                  <a:lnTo>
                    <a:pt x="652645" y="8931058"/>
                  </a:lnTo>
                  <a:lnTo>
                    <a:pt x="632141" y="8935575"/>
                  </a:lnTo>
                  <a:lnTo>
                    <a:pt x="594766" y="8949464"/>
                  </a:lnTo>
                  <a:lnTo>
                    <a:pt x="573999" y="8973806"/>
                  </a:lnTo>
                  <a:lnTo>
                    <a:pt x="577661" y="9010085"/>
                  </a:lnTo>
                  <a:lnTo>
                    <a:pt x="588714" y="9044259"/>
                  </a:lnTo>
                  <a:lnTo>
                    <a:pt x="601209" y="9078539"/>
                  </a:lnTo>
                  <a:lnTo>
                    <a:pt x="602977" y="9133739"/>
                  </a:lnTo>
                  <a:lnTo>
                    <a:pt x="592249" y="9201620"/>
                  </a:lnTo>
                  <a:lnTo>
                    <a:pt x="575366" y="9266250"/>
                  </a:lnTo>
                  <a:lnTo>
                    <a:pt x="558474" y="9330880"/>
                  </a:lnTo>
                  <a:lnTo>
                    <a:pt x="534451" y="9393426"/>
                  </a:lnTo>
                  <a:lnTo>
                    <a:pt x="508716" y="9440356"/>
                  </a:lnTo>
                  <a:lnTo>
                    <a:pt x="479468" y="9493702"/>
                  </a:lnTo>
                  <a:lnTo>
                    <a:pt x="444785" y="9564135"/>
                  </a:lnTo>
                  <a:lnTo>
                    <a:pt x="437433" y="9586063"/>
                  </a:lnTo>
                  <a:lnTo>
                    <a:pt x="440711" y="9623984"/>
                  </a:lnTo>
                  <a:lnTo>
                    <a:pt x="463364" y="9632617"/>
                  </a:lnTo>
                  <a:lnTo>
                    <a:pt x="488953" y="9642793"/>
                  </a:lnTo>
                  <a:lnTo>
                    <a:pt x="512905" y="9654420"/>
                  </a:lnTo>
                  <a:lnTo>
                    <a:pt x="532287" y="9671949"/>
                  </a:lnTo>
                  <a:lnTo>
                    <a:pt x="552242" y="9687909"/>
                  </a:lnTo>
                  <a:lnTo>
                    <a:pt x="572207" y="9703875"/>
                  </a:lnTo>
                  <a:lnTo>
                    <a:pt x="592525" y="9718898"/>
                  </a:lnTo>
                  <a:lnTo>
                    <a:pt x="626969" y="9703809"/>
                  </a:lnTo>
                  <a:lnTo>
                    <a:pt x="652617" y="9690210"/>
                  </a:lnTo>
                  <a:lnTo>
                    <a:pt x="678740" y="9683833"/>
                  </a:lnTo>
                  <a:lnTo>
                    <a:pt x="704874" y="9677455"/>
                  </a:lnTo>
                  <a:lnTo>
                    <a:pt x="732212" y="9677357"/>
                  </a:lnTo>
                  <a:lnTo>
                    <a:pt x="756276" y="9690632"/>
                  </a:lnTo>
                  <a:lnTo>
                    <a:pt x="775469" y="9705405"/>
                  </a:lnTo>
                  <a:lnTo>
                    <a:pt x="794218" y="9722110"/>
                  </a:lnTo>
                  <a:lnTo>
                    <a:pt x="813407" y="9736876"/>
                  </a:lnTo>
                  <a:lnTo>
                    <a:pt x="858208" y="9740299"/>
                  </a:lnTo>
                  <a:lnTo>
                    <a:pt x="902754" y="9741954"/>
                  </a:lnTo>
                  <a:lnTo>
                    <a:pt x="924808" y="9747539"/>
                  </a:lnTo>
                  <a:lnTo>
                    <a:pt x="950779" y="9734152"/>
                  </a:lnTo>
                  <a:lnTo>
                    <a:pt x="974542" y="9693027"/>
                  </a:lnTo>
                  <a:lnTo>
                    <a:pt x="983431" y="9662063"/>
                  </a:lnTo>
                  <a:lnTo>
                    <a:pt x="992320" y="9631094"/>
                  </a:lnTo>
                  <a:lnTo>
                    <a:pt x="998218" y="9599451"/>
                  </a:lnTo>
                  <a:lnTo>
                    <a:pt x="1011994" y="9568211"/>
                  </a:lnTo>
                  <a:lnTo>
                    <a:pt x="1182017" y="9569570"/>
                  </a:lnTo>
                  <a:lnTo>
                    <a:pt x="1213005" y="9574417"/>
                  </a:lnTo>
                  <a:lnTo>
                    <a:pt x="1235363" y="9589203"/>
                  </a:lnTo>
                  <a:lnTo>
                    <a:pt x="1251387" y="9611731"/>
                  </a:lnTo>
                  <a:lnTo>
                    <a:pt x="1265733" y="9635262"/>
                  </a:lnTo>
                  <a:lnTo>
                    <a:pt x="1274874" y="9664062"/>
                  </a:lnTo>
                  <a:lnTo>
                    <a:pt x="1286758" y="9687902"/>
                  </a:lnTo>
                  <a:lnTo>
                    <a:pt x="1326681" y="9686260"/>
                  </a:lnTo>
                  <a:lnTo>
                    <a:pt x="1349322" y="9681102"/>
                  </a:lnTo>
                  <a:lnTo>
                    <a:pt x="1371962" y="9675945"/>
                  </a:lnTo>
                  <a:lnTo>
                    <a:pt x="1394274" y="9672272"/>
                  </a:lnTo>
                  <a:lnTo>
                    <a:pt x="1436098" y="9707278"/>
                  </a:lnTo>
                  <a:lnTo>
                    <a:pt x="1454379" y="9729740"/>
                  </a:lnTo>
                  <a:lnTo>
                    <a:pt x="1475820" y="9747751"/>
                  </a:lnTo>
                  <a:lnTo>
                    <a:pt x="1497260" y="9765768"/>
                  </a:lnTo>
                  <a:lnTo>
                    <a:pt x="1520586" y="9779090"/>
                  </a:lnTo>
                  <a:lnTo>
                    <a:pt x="1562872" y="9785836"/>
                  </a:lnTo>
                  <a:lnTo>
                    <a:pt x="1629547" y="9796468"/>
                  </a:lnTo>
                  <a:lnTo>
                    <a:pt x="1697685" y="9796421"/>
                  </a:lnTo>
                  <a:lnTo>
                    <a:pt x="1765548" y="9796718"/>
                  </a:lnTo>
                  <a:lnTo>
                    <a:pt x="1833395" y="9797047"/>
                  </a:lnTo>
                  <a:lnTo>
                    <a:pt x="1901006" y="9797312"/>
                  </a:lnTo>
                  <a:lnTo>
                    <a:pt x="1966856" y="9810323"/>
                  </a:lnTo>
                  <a:lnTo>
                    <a:pt x="2040514" y="9824878"/>
                  </a:lnTo>
                  <a:lnTo>
                    <a:pt x="2115920" y="9841755"/>
                  </a:lnTo>
                  <a:lnTo>
                    <a:pt x="2189928" y="9853849"/>
                  </a:lnTo>
                  <a:lnTo>
                    <a:pt x="2274896" y="9867765"/>
                  </a:lnTo>
                  <a:lnTo>
                    <a:pt x="2361607" y="9869658"/>
                  </a:lnTo>
                  <a:lnTo>
                    <a:pt x="2446998" y="9886495"/>
                  </a:lnTo>
                  <a:lnTo>
                    <a:pt x="2473570" y="9891724"/>
                  </a:lnTo>
                  <a:lnTo>
                    <a:pt x="2509571" y="9915947"/>
                  </a:lnTo>
                  <a:lnTo>
                    <a:pt x="2532698" y="9928663"/>
                  </a:lnTo>
                  <a:lnTo>
                    <a:pt x="2554417" y="9940579"/>
                  </a:lnTo>
                  <a:lnTo>
                    <a:pt x="2575508" y="9945156"/>
                  </a:lnTo>
                  <a:lnTo>
                    <a:pt x="2596623" y="9955859"/>
                  </a:lnTo>
                  <a:lnTo>
                    <a:pt x="2627752" y="9971641"/>
                  </a:lnTo>
                  <a:lnTo>
                    <a:pt x="2656662" y="9991004"/>
                  </a:lnTo>
                  <a:lnTo>
                    <a:pt x="2686394" y="10007551"/>
                  </a:lnTo>
                  <a:lnTo>
                    <a:pt x="2716128" y="10024097"/>
                  </a:lnTo>
                  <a:lnTo>
                    <a:pt x="2747522" y="10037399"/>
                  </a:lnTo>
                  <a:lnTo>
                    <a:pt x="2784335" y="10041554"/>
                  </a:lnTo>
                  <a:lnTo>
                    <a:pt x="2809406" y="10037366"/>
                  </a:lnTo>
                  <a:lnTo>
                    <a:pt x="2826547" y="10009655"/>
                  </a:lnTo>
                  <a:lnTo>
                    <a:pt x="2848266" y="9983070"/>
                  </a:lnTo>
                  <a:lnTo>
                    <a:pt x="2870370" y="9955846"/>
                  </a:lnTo>
                  <a:lnTo>
                    <a:pt x="2899599" y="9936833"/>
                  </a:lnTo>
                  <a:lnTo>
                    <a:pt x="2939392" y="9931379"/>
                  </a:lnTo>
                  <a:lnTo>
                    <a:pt x="3029170" y="9939537"/>
                  </a:lnTo>
                  <a:lnTo>
                    <a:pt x="3073843" y="9943362"/>
                  </a:lnTo>
                  <a:lnTo>
                    <a:pt x="3122045" y="9950505"/>
                  </a:lnTo>
                  <a:lnTo>
                    <a:pt x="3165189" y="9964024"/>
                  </a:lnTo>
                  <a:lnTo>
                    <a:pt x="3181768" y="9915631"/>
                  </a:lnTo>
                  <a:lnTo>
                    <a:pt x="3168805" y="9886066"/>
                  </a:lnTo>
                  <a:lnTo>
                    <a:pt x="3071840" y="9840482"/>
                  </a:lnTo>
                  <a:lnTo>
                    <a:pt x="3045491" y="9821205"/>
                  </a:lnTo>
                  <a:lnTo>
                    <a:pt x="3041873" y="9792642"/>
                  </a:lnTo>
                  <a:lnTo>
                    <a:pt x="3062619" y="9768050"/>
                  </a:lnTo>
                  <a:lnTo>
                    <a:pt x="3097606" y="9749498"/>
                  </a:lnTo>
                  <a:lnTo>
                    <a:pt x="3167915" y="9719808"/>
                  </a:lnTo>
                  <a:lnTo>
                    <a:pt x="3237278" y="9693343"/>
                  </a:lnTo>
                  <a:lnTo>
                    <a:pt x="3306644" y="9666884"/>
                  </a:lnTo>
                  <a:lnTo>
                    <a:pt x="3376042" y="9643604"/>
                  </a:lnTo>
                  <a:lnTo>
                    <a:pt x="3397786" y="9644376"/>
                  </a:lnTo>
                  <a:lnTo>
                    <a:pt x="3430990" y="9678201"/>
                  </a:lnTo>
                  <a:lnTo>
                    <a:pt x="3449978" y="9705636"/>
                  </a:lnTo>
                  <a:lnTo>
                    <a:pt x="3471233" y="9731428"/>
                  </a:lnTo>
                  <a:lnTo>
                    <a:pt x="3492475" y="9757228"/>
                  </a:lnTo>
                  <a:lnTo>
                    <a:pt x="3515419" y="9782196"/>
                  </a:lnTo>
                  <a:lnTo>
                    <a:pt x="3537880" y="9800801"/>
                  </a:lnTo>
                  <a:lnTo>
                    <a:pt x="3581815" y="9837184"/>
                  </a:lnTo>
                  <a:lnTo>
                    <a:pt x="3623806" y="9859218"/>
                  </a:lnTo>
                  <a:lnTo>
                    <a:pt x="3667100" y="9878330"/>
                  </a:lnTo>
                  <a:lnTo>
                    <a:pt x="3710390" y="9897442"/>
                  </a:lnTo>
                  <a:lnTo>
                    <a:pt x="3756245" y="9913830"/>
                  </a:lnTo>
                  <a:lnTo>
                    <a:pt x="3805839" y="9936820"/>
                  </a:lnTo>
                  <a:lnTo>
                    <a:pt x="3846707" y="9964103"/>
                  </a:lnTo>
                  <a:lnTo>
                    <a:pt x="3872486" y="9977623"/>
                  </a:lnTo>
                  <a:lnTo>
                    <a:pt x="3898273" y="9988643"/>
                  </a:lnTo>
                  <a:lnTo>
                    <a:pt x="3922880" y="9991096"/>
                  </a:lnTo>
                  <a:lnTo>
                    <a:pt x="3944581" y="9980346"/>
                  </a:lnTo>
                  <a:lnTo>
                    <a:pt x="3948956" y="9948770"/>
                  </a:lnTo>
                  <a:lnTo>
                    <a:pt x="3937474" y="9913988"/>
                  </a:lnTo>
                  <a:lnTo>
                    <a:pt x="3940531" y="9881054"/>
                  </a:lnTo>
                  <a:lnTo>
                    <a:pt x="3996940" y="9828473"/>
                  </a:lnTo>
                  <a:lnTo>
                    <a:pt x="4052447" y="9838055"/>
                  </a:lnTo>
                  <a:lnTo>
                    <a:pt x="4086451" y="9871570"/>
                  </a:lnTo>
                  <a:lnTo>
                    <a:pt x="4125518" y="9883771"/>
                  </a:lnTo>
                  <a:lnTo>
                    <a:pt x="4140358" y="9860293"/>
                  </a:lnTo>
                  <a:lnTo>
                    <a:pt x="4143319" y="9833801"/>
                  </a:lnTo>
                  <a:lnTo>
                    <a:pt x="4139145" y="9806241"/>
                  </a:lnTo>
                  <a:lnTo>
                    <a:pt x="4133564" y="9778232"/>
                  </a:lnTo>
                  <a:lnTo>
                    <a:pt x="4124188" y="9749782"/>
                  </a:lnTo>
                  <a:lnTo>
                    <a:pt x="4130982" y="9728711"/>
                  </a:lnTo>
                  <a:lnTo>
                    <a:pt x="4164731" y="9727748"/>
                  </a:lnTo>
                  <a:lnTo>
                    <a:pt x="4188113" y="9732787"/>
                  </a:lnTo>
                  <a:lnTo>
                    <a:pt x="4211498" y="9737832"/>
                  </a:lnTo>
                  <a:lnTo>
                    <a:pt x="4237673" y="9743649"/>
                  </a:lnTo>
                  <a:lnTo>
                    <a:pt x="4258844" y="9736863"/>
                  </a:lnTo>
                  <a:lnTo>
                    <a:pt x="4269724" y="9687895"/>
                  </a:lnTo>
                  <a:lnTo>
                    <a:pt x="4322911" y="9665724"/>
                  </a:lnTo>
                  <a:lnTo>
                    <a:pt x="4349198" y="9668744"/>
                  </a:lnTo>
                  <a:lnTo>
                    <a:pt x="4388836" y="9679843"/>
                  </a:lnTo>
                  <a:lnTo>
                    <a:pt x="4419342" y="9685178"/>
                  </a:lnTo>
                  <a:lnTo>
                    <a:pt x="4435884" y="9656273"/>
                  </a:lnTo>
                  <a:lnTo>
                    <a:pt x="4432697" y="9613934"/>
                  </a:lnTo>
                  <a:lnTo>
                    <a:pt x="4450637" y="9589962"/>
                  </a:lnTo>
                  <a:lnTo>
                    <a:pt x="4499892" y="9617805"/>
                  </a:lnTo>
                  <a:lnTo>
                    <a:pt x="4585469" y="9634998"/>
                  </a:lnTo>
                  <a:lnTo>
                    <a:pt x="4612500" y="9652534"/>
                  </a:lnTo>
                  <a:lnTo>
                    <a:pt x="4607396" y="9731910"/>
                  </a:lnTo>
                  <a:lnTo>
                    <a:pt x="4602463" y="9798301"/>
                  </a:lnTo>
                  <a:lnTo>
                    <a:pt x="4601613" y="9864725"/>
                  </a:lnTo>
                  <a:lnTo>
                    <a:pt x="4600795" y="9931148"/>
                  </a:lnTo>
                  <a:lnTo>
                    <a:pt x="4603089" y="9997948"/>
                  </a:lnTo>
                  <a:lnTo>
                    <a:pt x="4605709" y="10061952"/>
                  </a:lnTo>
                  <a:lnTo>
                    <a:pt x="4607139" y="10096634"/>
                  </a:lnTo>
                  <a:lnTo>
                    <a:pt x="4618338" y="10126496"/>
                  </a:lnTo>
                  <a:lnTo>
                    <a:pt x="4632911" y="10154446"/>
                  </a:lnTo>
                  <a:lnTo>
                    <a:pt x="4647493" y="10182394"/>
                  </a:lnTo>
                  <a:lnTo>
                    <a:pt x="4665913" y="10208840"/>
                  </a:lnTo>
                  <a:lnTo>
                    <a:pt x="4685962" y="10236057"/>
                  </a:lnTo>
                  <a:lnTo>
                    <a:pt x="4713718" y="10273741"/>
                  </a:lnTo>
                  <a:lnTo>
                    <a:pt x="4749508" y="10303431"/>
                  </a:lnTo>
                  <a:lnTo>
                    <a:pt x="4781171" y="10338074"/>
                  </a:lnTo>
                  <a:lnTo>
                    <a:pt x="4799663" y="10358327"/>
                  </a:lnTo>
                  <a:lnTo>
                    <a:pt x="4814924" y="10387509"/>
                  </a:lnTo>
                  <a:lnTo>
                    <a:pt x="4835580" y="10406081"/>
                  </a:lnTo>
                  <a:lnTo>
                    <a:pt x="4884374" y="10449969"/>
                  </a:lnTo>
                  <a:lnTo>
                    <a:pt x="4946612" y="10486097"/>
                  </a:lnTo>
                  <a:lnTo>
                    <a:pt x="4991999" y="10532578"/>
                  </a:lnTo>
                  <a:lnTo>
                    <a:pt x="5019644" y="10565697"/>
                  </a:lnTo>
                  <a:lnTo>
                    <a:pt x="5032815" y="10588350"/>
                  </a:lnTo>
                  <a:lnTo>
                    <a:pt x="5045977" y="10611004"/>
                  </a:lnTo>
                  <a:lnTo>
                    <a:pt x="5056851" y="10635405"/>
                  </a:lnTo>
                  <a:lnTo>
                    <a:pt x="5057985" y="10682539"/>
                  </a:lnTo>
                  <a:lnTo>
                    <a:pt x="5042628" y="10706755"/>
                  </a:lnTo>
                  <a:lnTo>
                    <a:pt x="5027373" y="10731169"/>
                  </a:lnTo>
                  <a:lnTo>
                    <a:pt x="5012112" y="10755584"/>
                  </a:lnTo>
                  <a:lnTo>
                    <a:pt x="4996085" y="10779055"/>
                  </a:lnTo>
                  <a:lnTo>
                    <a:pt x="4996085" y="10808700"/>
                  </a:lnTo>
                  <a:lnTo>
                    <a:pt x="4998091" y="10835422"/>
                  </a:lnTo>
                  <a:lnTo>
                    <a:pt x="5002265" y="10860872"/>
                  </a:lnTo>
                  <a:lnTo>
                    <a:pt x="5005617" y="10884870"/>
                  </a:lnTo>
                  <a:lnTo>
                    <a:pt x="5006922" y="10921149"/>
                  </a:lnTo>
                  <a:lnTo>
                    <a:pt x="5005155" y="10960923"/>
                  </a:lnTo>
                  <a:lnTo>
                    <a:pt x="5012410" y="10996410"/>
                  </a:lnTo>
                  <a:lnTo>
                    <a:pt x="5022236" y="11030249"/>
                  </a:lnTo>
                  <a:lnTo>
                    <a:pt x="5040675" y="11060500"/>
                  </a:lnTo>
                  <a:lnTo>
                    <a:pt x="5070899" y="11084821"/>
                  </a:lnTo>
                  <a:lnTo>
                    <a:pt x="5106835" y="11072634"/>
                  </a:lnTo>
                  <a:lnTo>
                    <a:pt x="5112078" y="11045496"/>
                  </a:lnTo>
                  <a:lnTo>
                    <a:pt x="5122583" y="11023614"/>
                  </a:lnTo>
                  <a:lnTo>
                    <a:pt x="5134970" y="11003031"/>
                  </a:lnTo>
                  <a:lnTo>
                    <a:pt x="5153732" y="10992506"/>
                  </a:lnTo>
                  <a:lnTo>
                    <a:pt x="5182431" y="10997769"/>
                  </a:lnTo>
                  <a:lnTo>
                    <a:pt x="5217294" y="11011117"/>
                  </a:lnTo>
                  <a:lnTo>
                    <a:pt x="5232124" y="11032583"/>
                  </a:lnTo>
                  <a:lnTo>
                    <a:pt x="5245940" y="11059569"/>
                  </a:lnTo>
                  <a:lnTo>
                    <a:pt x="5249059" y="11150110"/>
                  </a:lnTo>
                  <a:lnTo>
                    <a:pt x="5288130" y="11174552"/>
                  </a:lnTo>
                  <a:lnTo>
                    <a:pt x="5310162" y="11185604"/>
                  </a:lnTo>
                  <a:lnTo>
                    <a:pt x="5308473" y="11209749"/>
                  </a:lnTo>
                  <a:lnTo>
                    <a:pt x="5306184" y="11234440"/>
                  </a:lnTo>
                  <a:lnTo>
                    <a:pt x="5303884" y="11259138"/>
                  </a:lnTo>
                  <a:lnTo>
                    <a:pt x="5300857" y="11284634"/>
                  </a:lnTo>
                  <a:lnTo>
                    <a:pt x="5322962" y="11296571"/>
                  </a:lnTo>
                  <a:lnTo>
                    <a:pt x="5351084" y="11303812"/>
                  </a:lnTo>
                  <a:lnTo>
                    <a:pt x="5379371" y="11312339"/>
                  </a:lnTo>
                  <a:lnTo>
                    <a:pt x="5407133" y="11322495"/>
                  </a:lnTo>
                  <a:lnTo>
                    <a:pt x="5432688" y="11335098"/>
                  </a:lnTo>
                  <a:lnTo>
                    <a:pt x="5457434" y="11348716"/>
                  </a:lnTo>
                  <a:lnTo>
                    <a:pt x="5486852" y="11371257"/>
                  </a:lnTo>
                  <a:lnTo>
                    <a:pt x="5500932" y="11395105"/>
                  </a:lnTo>
                  <a:lnTo>
                    <a:pt x="5507502" y="11422150"/>
                  </a:lnTo>
                  <a:lnTo>
                    <a:pt x="5514075" y="11449196"/>
                  </a:lnTo>
                  <a:lnTo>
                    <a:pt x="5513880" y="11479289"/>
                  </a:lnTo>
                  <a:lnTo>
                    <a:pt x="5506150" y="11506479"/>
                  </a:lnTo>
                  <a:lnTo>
                    <a:pt x="5498393" y="11533677"/>
                  </a:lnTo>
                  <a:lnTo>
                    <a:pt x="5482750" y="11558289"/>
                  </a:lnTo>
                  <a:lnTo>
                    <a:pt x="5458541" y="11573134"/>
                  </a:lnTo>
                  <a:lnTo>
                    <a:pt x="5434338" y="11587973"/>
                  </a:lnTo>
                  <a:lnTo>
                    <a:pt x="5402008" y="11592669"/>
                  </a:lnTo>
                  <a:lnTo>
                    <a:pt x="5359254" y="11582651"/>
                  </a:lnTo>
                  <a:lnTo>
                    <a:pt x="5337063" y="11614022"/>
                  </a:lnTo>
                  <a:lnTo>
                    <a:pt x="5315002" y="11763220"/>
                  </a:lnTo>
                  <a:lnTo>
                    <a:pt x="5337661" y="11771786"/>
                  </a:lnTo>
                  <a:lnTo>
                    <a:pt x="5361986" y="11773124"/>
                  </a:lnTo>
                  <a:lnTo>
                    <a:pt x="5386108" y="11787205"/>
                  </a:lnTo>
                  <a:lnTo>
                    <a:pt x="5387792" y="11811138"/>
                  </a:lnTo>
                  <a:lnTo>
                    <a:pt x="5380939" y="11837320"/>
                  </a:lnTo>
                  <a:lnTo>
                    <a:pt x="5371027" y="11861662"/>
                  </a:lnTo>
                  <a:lnTo>
                    <a:pt x="5372841" y="11894141"/>
                  </a:lnTo>
                  <a:lnTo>
                    <a:pt x="5424022" y="11894504"/>
                  </a:lnTo>
                  <a:lnTo>
                    <a:pt x="5441534" y="11860738"/>
                  </a:lnTo>
                  <a:lnTo>
                    <a:pt x="5469415" y="11841092"/>
                  </a:lnTo>
                  <a:lnTo>
                    <a:pt x="5496021" y="11828093"/>
                  </a:lnTo>
                  <a:lnTo>
                    <a:pt x="5535311" y="11816012"/>
                  </a:lnTo>
                  <a:lnTo>
                    <a:pt x="5559158" y="11810524"/>
                  </a:lnTo>
                  <a:lnTo>
                    <a:pt x="5582313" y="11805730"/>
                  </a:lnTo>
                  <a:lnTo>
                    <a:pt x="5605468" y="11800929"/>
                  </a:lnTo>
                  <a:lnTo>
                    <a:pt x="5627957" y="11795778"/>
                  </a:lnTo>
                  <a:lnTo>
                    <a:pt x="5648970" y="11792125"/>
                  </a:lnTo>
                  <a:lnTo>
                    <a:pt x="5669967" y="11788471"/>
                  </a:lnTo>
                  <a:lnTo>
                    <a:pt x="5702011" y="11782608"/>
                  </a:lnTo>
                  <a:lnTo>
                    <a:pt x="5733306" y="11781639"/>
                  </a:lnTo>
                  <a:lnTo>
                    <a:pt x="5757772" y="11791729"/>
                  </a:lnTo>
                  <a:lnTo>
                    <a:pt x="5778190" y="11808447"/>
                  </a:lnTo>
                  <a:lnTo>
                    <a:pt x="5797788" y="11826775"/>
                  </a:lnTo>
                  <a:lnTo>
                    <a:pt x="5818438" y="11841804"/>
                  </a:lnTo>
                  <a:lnTo>
                    <a:pt x="5843479" y="11849250"/>
                  </a:lnTo>
                  <a:lnTo>
                    <a:pt x="5882131" y="11851142"/>
                  </a:lnTo>
                  <a:lnTo>
                    <a:pt x="5921787" y="11850081"/>
                  </a:lnTo>
                  <a:lnTo>
                    <a:pt x="5961812" y="11847891"/>
                  </a:lnTo>
                  <a:lnTo>
                    <a:pt x="6000867" y="11846183"/>
                  </a:lnTo>
                  <a:lnTo>
                    <a:pt x="6039736" y="11846863"/>
                  </a:lnTo>
                  <a:lnTo>
                    <a:pt x="6077433" y="11851973"/>
                  </a:lnTo>
                  <a:lnTo>
                    <a:pt x="6100139" y="11843960"/>
                  </a:lnTo>
                  <a:lnTo>
                    <a:pt x="6123669" y="11811171"/>
                  </a:lnTo>
                  <a:lnTo>
                    <a:pt x="6138896" y="11771503"/>
                  </a:lnTo>
                  <a:lnTo>
                    <a:pt x="6142716" y="11749957"/>
                  </a:lnTo>
                  <a:lnTo>
                    <a:pt x="6146549" y="11728418"/>
                  </a:lnTo>
                  <a:lnTo>
                    <a:pt x="6148936" y="11706905"/>
                  </a:lnTo>
                  <a:lnTo>
                    <a:pt x="6160991" y="11670593"/>
                  </a:lnTo>
                  <a:lnTo>
                    <a:pt x="6186248" y="11647947"/>
                  </a:lnTo>
                  <a:lnTo>
                    <a:pt x="6208005" y="11650664"/>
                  </a:lnTo>
                  <a:lnTo>
                    <a:pt x="6240137" y="11674293"/>
                  </a:lnTo>
                  <a:lnTo>
                    <a:pt x="6279117" y="11701030"/>
                  </a:lnTo>
                  <a:lnTo>
                    <a:pt x="6304582" y="11732276"/>
                  </a:lnTo>
                  <a:lnTo>
                    <a:pt x="6354734" y="11727633"/>
                  </a:lnTo>
                  <a:lnTo>
                    <a:pt x="6380230" y="11713520"/>
                  </a:lnTo>
                  <a:lnTo>
                    <a:pt x="6403882" y="11696901"/>
                  </a:lnTo>
                  <a:lnTo>
                    <a:pt x="6427517" y="11680288"/>
                  </a:lnTo>
                  <a:lnTo>
                    <a:pt x="6449194" y="11660840"/>
                  </a:lnTo>
                  <a:lnTo>
                    <a:pt x="6471887" y="11641134"/>
                  </a:lnTo>
                  <a:lnTo>
                    <a:pt x="6497048" y="11624086"/>
                  </a:lnTo>
                  <a:lnTo>
                    <a:pt x="6512123" y="11606069"/>
                  </a:lnTo>
                  <a:lnTo>
                    <a:pt x="6530376" y="11592173"/>
                  </a:lnTo>
                  <a:lnTo>
                    <a:pt x="6548626" y="11578278"/>
                  </a:lnTo>
                  <a:lnTo>
                    <a:pt x="6569803" y="11568617"/>
                  </a:lnTo>
                  <a:lnTo>
                    <a:pt x="6606623" y="11576755"/>
                  </a:lnTo>
                  <a:lnTo>
                    <a:pt x="6633040" y="11582604"/>
                  </a:lnTo>
                  <a:lnTo>
                    <a:pt x="6663674" y="11590815"/>
                  </a:lnTo>
                  <a:lnTo>
                    <a:pt x="6694307" y="11599026"/>
                  </a:lnTo>
                  <a:lnTo>
                    <a:pt x="6728885" y="11609690"/>
                  </a:lnTo>
                  <a:lnTo>
                    <a:pt x="6762973" y="11620736"/>
                  </a:lnTo>
                  <a:lnTo>
                    <a:pt x="6797042" y="11631783"/>
                  </a:lnTo>
                  <a:lnTo>
                    <a:pt x="6830070" y="11643963"/>
                  </a:lnTo>
                  <a:lnTo>
                    <a:pt x="6856825" y="11656104"/>
                  </a:lnTo>
                  <a:lnTo>
                    <a:pt x="6882817" y="11667897"/>
                  </a:lnTo>
                  <a:lnTo>
                    <a:pt x="6902192" y="11678936"/>
                  </a:lnTo>
                  <a:lnTo>
                    <a:pt x="6928696" y="11681245"/>
                  </a:lnTo>
                  <a:lnTo>
                    <a:pt x="6957476" y="11668345"/>
                  </a:lnTo>
                  <a:lnTo>
                    <a:pt x="6992977" y="11654205"/>
                  </a:lnTo>
                  <a:lnTo>
                    <a:pt x="7028061" y="11638958"/>
                  </a:lnTo>
                  <a:lnTo>
                    <a:pt x="7058133" y="11620736"/>
                  </a:lnTo>
                  <a:lnTo>
                    <a:pt x="7081146" y="11596072"/>
                  </a:lnTo>
                  <a:lnTo>
                    <a:pt x="7087121" y="11573002"/>
                  </a:lnTo>
                  <a:lnTo>
                    <a:pt x="7093495" y="11550006"/>
                  </a:lnTo>
                  <a:lnTo>
                    <a:pt x="7100264" y="11522386"/>
                  </a:lnTo>
                  <a:lnTo>
                    <a:pt x="7112607" y="11478742"/>
                  </a:lnTo>
                  <a:lnTo>
                    <a:pt x="7122384" y="11449809"/>
                  </a:lnTo>
                  <a:lnTo>
                    <a:pt x="7150621" y="11434397"/>
                  </a:lnTo>
                  <a:lnTo>
                    <a:pt x="7172477" y="11459445"/>
                  </a:lnTo>
                  <a:lnTo>
                    <a:pt x="7187269" y="11480845"/>
                  </a:lnTo>
                  <a:lnTo>
                    <a:pt x="7217336" y="11506486"/>
                  </a:lnTo>
                  <a:lnTo>
                    <a:pt x="7249914" y="11529608"/>
                  </a:lnTo>
                  <a:lnTo>
                    <a:pt x="7282507" y="11552729"/>
                  </a:lnTo>
                  <a:lnTo>
                    <a:pt x="7318127" y="11572606"/>
                  </a:lnTo>
                  <a:lnTo>
                    <a:pt x="7341517" y="11566308"/>
                  </a:lnTo>
                  <a:lnTo>
                    <a:pt x="7354655" y="11536407"/>
                  </a:lnTo>
                  <a:lnTo>
                    <a:pt x="7366598" y="11505101"/>
                  </a:lnTo>
                  <a:lnTo>
                    <a:pt x="7363538" y="11481162"/>
                  </a:lnTo>
                  <a:lnTo>
                    <a:pt x="7345133" y="11450720"/>
                  </a:lnTo>
                  <a:lnTo>
                    <a:pt x="7328064" y="11421643"/>
                  </a:lnTo>
                  <a:lnTo>
                    <a:pt x="7324418" y="11391972"/>
                  </a:lnTo>
                  <a:lnTo>
                    <a:pt x="7343775" y="11377266"/>
                  </a:lnTo>
                  <a:lnTo>
                    <a:pt x="7365854" y="11366444"/>
                  </a:lnTo>
                  <a:lnTo>
                    <a:pt x="7397099" y="11352397"/>
                  </a:lnTo>
                  <a:lnTo>
                    <a:pt x="7424027" y="11333740"/>
                  </a:lnTo>
                  <a:lnTo>
                    <a:pt x="7445111" y="11319171"/>
                  </a:lnTo>
                  <a:lnTo>
                    <a:pt x="7470923" y="11318195"/>
                  </a:lnTo>
                  <a:lnTo>
                    <a:pt x="7496820" y="11338402"/>
                  </a:lnTo>
                  <a:lnTo>
                    <a:pt x="7514087" y="11355562"/>
                  </a:lnTo>
                  <a:lnTo>
                    <a:pt x="7538278" y="11382706"/>
                  </a:lnTo>
                  <a:lnTo>
                    <a:pt x="7567156" y="11364380"/>
                  </a:lnTo>
                  <a:lnTo>
                    <a:pt x="7581804" y="11325588"/>
                  </a:lnTo>
                  <a:lnTo>
                    <a:pt x="7591642" y="11284977"/>
                  </a:lnTo>
                  <a:lnTo>
                    <a:pt x="7596767" y="11264374"/>
                  </a:lnTo>
                  <a:lnTo>
                    <a:pt x="7601892" y="11243771"/>
                  </a:lnTo>
                  <a:lnTo>
                    <a:pt x="7607786" y="11223539"/>
                  </a:lnTo>
                  <a:lnTo>
                    <a:pt x="7629280" y="11190953"/>
                  </a:lnTo>
                  <a:lnTo>
                    <a:pt x="7667498" y="11170522"/>
                  </a:lnTo>
                  <a:lnTo>
                    <a:pt x="7690963" y="11163406"/>
                  </a:lnTo>
                  <a:lnTo>
                    <a:pt x="7714639" y="11165800"/>
                  </a:lnTo>
                  <a:lnTo>
                    <a:pt x="7738234" y="11169164"/>
                  </a:lnTo>
                  <a:lnTo>
                    <a:pt x="7800801" y="11178686"/>
                  </a:lnTo>
                  <a:lnTo>
                    <a:pt x="7845691" y="11201808"/>
                  </a:lnTo>
                  <a:lnTo>
                    <a:pt x="7890575" y="11224930"/>
                  </a:lnTo>
                  <a:lnTo>
                    <a:pt x="7907715" y="11241707"/>
                  </a:lnTo>
                  <a:lnTo>
                    <a:pt x="7925119" y="11259843"/>
                  </a:lnTo>
                  <a:lnTo>
                    <a:pt x="7947701" y="11268457"/>
                  </a:lnTo>
                  <a:lnTo>
                    <a:pt x="7980973" y="11266267"/>
                  </a:lnTo>
                  <a:lnTo>
                    <a:pt x="8006916" y="11254330"/>
                  </a:lnTo>
                  <a:lnTo>
                    <a:pt x="8036120" y="11239894"/>
                  </a:lnTo>
                  <a:lnTo>
                    <a:pt x="8067551" y="11227073"/>
                  </a:lnTo>
                  <a:lnTo>
                    <a:pt x="8097167" y="11211905"/>
                  </a:lnTo>
                  <a:lnTo>
                    <a:pt x="8123172" y="11190927"/>
                  </a:lnTo>
                  <a:lnTo>
                    <a:pt x="8129082" y="11152564"/>
                  </a:lnTo>
                  <a:lnTo>
                    <a:pt x="8120422" y="11129719"/>
                  </a:lnTo>
                  <a:lnTo>
                    <a:pt x="8111768" y="11106868"/>
                  </a:lnTo>
                  <a:lnTo>
                    <a:pt x="8100947" y="11084109"/>
                  </a:lnTo>
                  <a:lnTo>
                    <a:pt x="8101849" y="11053568"/>
                  </a:lnTo>
                  <a:lnTo>
                    <a:pt x="8113365" y="11033797"/>
                  </a:lnTo>
                  <a:lnTo>
                    <a:pt x="8137549" y="11000664"/>
                  </a:lnTo>
                  <a:lnTo>
                    <a:pt x="8166673" y="10989617"/>
                  </a:lnTo>
                  <a:lnTo>
                    <a:pt x="8198485" y="10994537"/>
                  </a:lnTo>
                  <a:lnTo>
                    <a:pt x="8222447" y="11001858"/>
                  </a:lnTo>
                  <a:lnTo>
                    <a:pt x="8256705" y="11015740"/>
                  </a:lnTo>
                  <a:lnTo>
                    <a:pt x="8290452" y="11026344"/>
                  </a:lnTo>
                  <a:lnTo>
                    <a:pt x="8331255" y="10989617"/>
                  </a:lnTo>
                  <a:lnTo>
                    <a:pt x="8283599" y="10925693"/>
                  </a:lnTo>
                  <a:lnTo>
                    <a:pt x="8304023" y="10897928"/>
                  </a:lnTo>
                  <a:lnTo>
                    <a:pt x="8323051" y="10883531"/>
                  </a:lnTo>
                  <a:lnTo>
                    <a:pt x="8342070" y="10869128"/>
                  </a:lnTo>
                  <a:lnTo>
                    <a:pt x="8363347" y="10855305"/>
                  </a:lnTo>
                  <a:lnTo>
                    <a:pt x="8388207" y="10840869"/>
                  </a:lnTo>
                  <a:lnTo>
                    <a:pt x="8419619" y="10850880"/>
                  </a:lnTo>
                  <a:lnTo>
                    <a:pt x="8454020" y="10868377"/>
                  </a:lnTo>
                  <a:lnTo>
                    <a:pt x="8488601" y="10890515"/>
                  </a:lnTo>
                  <a:lnTo>
                    <a:pt x="8505592" y="10903177"/>
                  </a:lnTo>
                  <a:lnTo>
                    <a:pt x="8540405" y="10921004"/>
                  </a:lnTo>
                  <a:lnTo>
                    <a:pt x="8574692" y="10927058"/>
                  </a:lnTo>
                  <a:lnTo>
                    <a:pt x="8598876" y="10902722"/>
                  </a:lnTo>
                  <a:lnTo>
                    <a:pt x="8607626" y="10869775"/>
                  </a:lnTo>
                  <a:lnTo>
                    <a:pt x="8605946" y="10831841"/>
                  </a:lnTo>
                  <a:lnTo>
                    <a:pt x="8600334" y="10793366"/>
                  </a:lnTo>
                  <a:lnTo>
                    <a:pt x="8595221" y="10756059"/>
                  </a:lnTo>
                  <a:lnTo>
                    <a:pt x="8596436" y="10723025"/>
                  </a:lnTo>
                  <a:lnTo>
                    <a:pt x="8620652" y="10700516"/>
                  </a:lnTo>
                  <a:lnTo>
                    <a:pt x="8654932" y="10699903"/>
                  </a:lnTo>
                  <a:lnTo>
                    <a:pt x="8690216" y="10705964"/>
                  </a:lnTo>
                  <a:lnTo>
                    <a:pt x="8747605" y="10728591"/>
                  </a:lnTo>
                  <a:lnTo>
                    <a:pt x="8788809" y="10753058"/>
                  </a:lnTo>
                  <a:lnTo>
                    <a:pt x="8827678" y="10780150"/>
                  </a:lnTo>
                  <a:lnTo>
                    <a:pt x="8866544" y="10807248"/>
                  </a:lnTo>
                  <a:lnTo>
                    <a:pt x="8903943" y="10836761"/>
                  </a:lnTo>
                  <a:lnTo>
                    <a:pt x="8935138" y="10857686"/>
                  </a:lnTo>
                  <a:lnTo>
                    <a:pt x="8966330" y="10878605"/>
                  </a:lnTo>
                  <a:lnTo>
                    <a:pt x="8991984" y="10891043"/>
                  </a:lnTo>
                  <a:lnTo>
                    <a:pt x="9019465" y="10876726"/>
                  </a:lnTo>
                  <a:lnTo>
                    <a:pt x="9020640" y="10855536"/>
                  </a:lnTo>
                  <a:lnTo>
                    <a:pt x="9003090" y="10837143"/>
                  </a:lnTo>
                  <a:lnTo>
                    <a:pt x="8985454" y="10820959"/>
                  </a:lnTo>
                  <a:lnTo>
                    <a:pt x="8967834" y="10804775"/>
                  </a:lnTo>
                  <a:lnTo>
                    <a:pt x="8950291" y="10790834"/>
                  </a:lnTo>
                  <a:lnTo>
                    <a:pt x="8964984" y="10768675"/>
                  </a:lnTo>
                  <a:lnTo>
                    <a:pt x="8990006" y="10763260"/>
                  </a:lnTo>
                  <a:lnTo>
                    <a:pt x="9027985" y="10772783"/>
                  </a:lnTo>
                  <a:lnTo>
                    <a:pt x="9070240" y="10788262"/>
                  </a:lnTo>
                  <a:lnTo>
                    <a:pt x="9111958" y="10796479"/>
                  </a:lnTo>
                  <a:lnTo>
                    <a:pt x="9132819" y="10800588"/>
                  </a:lnTo>
                  <a:lnTo>
                    <a:pt x="9153850" y="10803060"/>
                  </a:lnTo>
                  <a:lnTo>
                    <a:pt x="9192490" y="10800779"/>
                  </a:lnTo>
                  <a:lnTo>
                    <a:pt x="9224851" y="10785597"/>
                  </a:lnTo>
                  <a:lnTo>
                    <a:pt x="9241358" y="10771339"/>
                  </a:lnTo>
                  <a:lnTo>
                    <a:pt x="9257323" y="10753605"/>
                  </a:lnTo>
                  <a:lnTo>
                    <a:pt x="9277908" y="10737988"/>
                  </a:lnTo>
                  <a:lnTo>
                    <a:pt x="9303925" y="10735720"/>
                  </a:lnTo>
                  <a:lnTo>
                    <a:pt x="9333507" y="10740257"/>
                  </a:lnTo>
                  <a:lnTo>
                    <a:pt x="9364960" y="10750229"/>
                  </a:lnTo>
                  <a:lnTo>
                    <a:pt x="9397519" y="10759561"/>
                  </a:lnTo>
                  <a:lnTo>
                    <a:pt x="9430336" y="10770825"/>
                  </a:lnTo>
                  <a:lnTo>
                    <a:pt x="9462895" y="10781515"/>
                  </a:lnTo>
                  <a:lnTo>
                    <a:pt x="9496034" y="10789310"/>
                  </a:lnTo>
                  <a:lnTo>
                    <a:pt x="9527688" y="10792759"/>
                  </a:lnTo>
                  <a:lnTo>
                    <a:pt x="9558105" y="10789680"/>
                  </a:lnTo>
                  <a:lnTo>
                    <a:pt x="9585870" y="10781462"/>
                  </a:lnTo>
                  <a:lnTo>
                    <a:pt x="9611952" y="10762529"/>
                  </a:lnTo>
                  <a:lnTo>
                    <a:pt x="9635641" y="10731190"/>
                  </a:lnTo>
                  <a:lnTo>
                    <a:pt x="9648704" y="10703095"/>
                  </a:lnTo>
                  <a:lnTo>
                    <a:pt x="9657370" y="10669052"/>
                  </a:lnTo>
                  <a:lnTo>
                    <a:pt x="9657838" y="10642745"/>
                  </a:lnTo>
                  <a:lnTo>
                    <a:pt x="9628162" y="10633690"/>
                  </a:lnTo>
                  <a:lnTo>
                    <a:pt x="9535384" y="10620883"/>
                  </a:lnTo>
                  <a:lnTo>
                    <a:pt x="9458191" y="10576948"/>
                  </a:lnTo>
                  <a:lnTo>
                    <a:pt x="9393495" y="10531232"/>
                  </a:lnTo>
                  <a:lnTo>
                    <a:pt x="9363239" y="10509812"/>
                  </a:lnTo>
                  <a:lnTo>
                    <a:pt x="9308402" y="10485456"/>
                  </a:lnTo>
                  <a:lnTo>
                    <a:pt x="9286037" y="10456426"/>
                  </a:lnTo>
                  <a:lnTo>
                    <a:pt x="9238350" y="10394368"/>
                  </a:lnTo>
                  <a:lnTo>
                    <a:pt x="9288484" y="10230907"/>
                  </a:lnTo>
                  <a:lnTo>
                    <a:pt x="9231638" y="10101409"/>
                  </a:lnTo>
                  <a:lnTo>
                    <a:pt x="9223471" y="10073400"/>
                  </a:lnTo>
                  <a:lnTo>
                    <a:pt x="9105562" y="9935151"/>
                  </a:lnTo>
                  <a:lnTo>
                    <a:pt x="8957130" y="9990767"/>
                  </a:lnTo>
                  <a:lnTo>
                    <a:pt x="8871179" y="9930028"/>
                  </a:lnTo>
                  <a:lnTo>
                    <a:pt x="8850272" y="9915215"/>
                  </a:lnTo>
                  <a:lnTo>
                    <a:pt x="8822596" y="9851753"/>
                  </a:lnTo>
                  <a:lnTo>
                    <a:pt x="8811332" y="9825294"/>
                  </a:lnTo>
                  <a:lnTo>
                    <a:pt x="8762113" y="9742659"/>
                  </a:lnTo>
                  <a:lnTo>
                    <a:pt x="8754845" y="9657480"/>
                  </a:lnTo>
                  <a:lnTo>
                    <a:pt x="8744681" y="9564135"/>
                  </a:lnTo>
                  <a:lnTo>
                    <a:pt x="8738945" y="9511469"/>
                  </a:lnTo>
                  <a:lnTo>
                    <a:pt x="8717182" y="9459336"/>
                  </a:lnTo>
                  <a:lnTo>
                    <a:pt x="8702513" y="9409069"/>
                  </a:lnTo>
                  <a:lnTo>
                    <a:pt x="8681014" y="9334943"/>
                  </a:lnTo>
                  <a:lnTo>
                    <a:pt x="8683085" y="9253139"/>
                  </a:lnTo>
                  <a:lnTo>
                    <a:pt x="8645398" y="9183280"/>
                  </a:lnTo>
                  <a:lnTo>
                    <a:pt x="8631612" y="9163706"/>
                  </a:lnTo>
                  <a:lnTo>
                    <a:pt x="8620869" y="9142517"/>
                  </a:lnTo>
                  <a:lnTo>
                    <a:pt x="8610020" y="9123431"/>
                  </a:lnTo>
                  <a:lnTo>
                    <a:pt x="8613892" y="9004663"/>
                  </a:lnTo>
                  <a:lnTo>
                    <a:pt x="8912457" y="8967580"/>
                  </a:lnTo>
                  <a:lnTo>
                    <a:pt x="8945993" y="8903076"/>
                  </a:lnTo>
                  <a:lnTo>
                    <a:pt x="8929926" y="8865076"/>
                  </a:lnTo>
                  <a:lnTo>
                    <a:pt x="8856222" y="8849921"/>
                  </a:lnTo>
                  <a:lnTo>
                    <a:pt x="8839900" y="8806506"/>
                  </a:lnTo>
                  <a:lnTo>
                    <a:pt x="8826044" y="8769588"/>
                  </a:lnTo>
                  <a:lnTo>
                    <a:pt x="8877213" y="8647424"/>
                  </a:lnTo>
                  <a:lnTo>
                    <a:pt x="8865738" y="8573911"/>
                  </a:lnTo>
                  <a:lnTo>
                    <a:pt x="8862256" y="8488388"/>
                  </a:lnTo>
                  <a:lnTo>
                    <a:pt x="8855965" y="8379611"/>
                  </a:lnTo>
                  <a:lnTo>
                    <a:pt x="8778686" y="8324993"/>
                  </a:lnTo>
                  <a:lnTo>
                    <a:pt x="8748647" y="8303738"/>
                  </a:lnTo>
                  <a:lnTo>
                    <a:pt x="8710718" y="8288266"/>
                  </a:lnTo>
                  <a:lnTo>
                    <a:pt x="8678034" y="8270585"/>
                  </a:lnTo>
                  <a:lnTo>
                    <a:pt x="8639730" y="8251882"/>
                  </a:lnTo>
                  <a:lnTo>
                    <a:pt x="8627709" y="8233857"/>
                  </a:lnTo>
                  <a:lnTo>
                    <a:pt x="8598439" y="8189976"/>
                  </a:lnTo>
                  <a:lnTo>
                    <a:pt x="8638629" y="8070977"/>
                  </a:lnTo>
                  <a:lnTo>
                    <a:pt x="8627709" y="8013509"/>
                  </a:lnTo>
                  <a:lnTo>
                    <a:pt x="8617505" y="7959569"/>
                  </a:lnTo>
                  <a:lnTo>
                    <a:pt x="8509800" y="7916063"/>
                  </a:lnTo>
                  <a:lnTo>
                    <a:pt x="8497131" y="7870690"/>
                  </a:lnTo>
                  <a:lnTo>
                    <a:pt x="8476230" y="7795706"/>
                  </a:lnTo>
                  <a:lnTo>
                    <a:pt x="8554380" y="7685868"/>
                  </a:lnTo>
                  <a:lnTo>
                    <a:pt x="8501217" y="7587768"/>
                  </a:lnTo>
                  <a:lnTo>
                    <a:pt x="8447958" y="7489260"/>
                  </a:lnTo>
                  <a:lnTo>
                    <a:pt x="8389506" y="7518350"/>
                  </a:lnTo>
                  <a:lnTo>
                    <a:pt x="8305350" y="7491193"/>
                  </a:lnTo>
                  <a:lnTo>
                    <a:pt x="8286269" y="7434846"/>
                  </a:lnTo>
                  <a:lnTo>
                    <a:pt x="8335909" y="7330818"/>
                  </a:lnTo>
                  <a:lnTo>
                    <a:pt x="8320313" y="7291241"/>
                  </a:lnTo>
                  <a:lnTo>
                    <a:pt x="8311688" y="7269333"/>
                  </a:lnTo>
                  <a:lnTo>
                    <a:pt x="8286483" y="7255899"/>
                  </a:lnTo>
                  <a:lnTo>
                    <a:pt x="8271346" y="7239558"/>
                  </a:lnTo>
                  <a:lnTo>
                    <a:pt x="8280890" y="7197390"/>
                  </a:lnTo>
                  <a:lnTo>
                    <a:pt x="8342300" y="7161407"/>
                  </a:lnTo>
                  <a:lnTo>
                    <a:pt x="8403865" y="7184463"/>
                  </a:lnTo>
                  <a:lnTo>
                    <a:pt x="8460435" y="7159304"/>
                  </a:lnTo>
                  <a:lnTo>
                    <a:pt x="8494557" y="7144064"/>
                  </a:lnTo>
                  <a:lnTo>
                    <a:pt x="8525765" y="7113713"/>
                  </a:lnTo>
                  <a:lnTo>
                    <a:pt x="8543407" y="7081768"/>
                  </a:lnTo>
                  <a:lnTo>
                    <a:pt x="8609719" y="6961351"/>
                  </a:lnTo>
                  <a:lnTo>
                    <a:pt x="8437063" y="6931279"/>
                  </a:lnTo>
                  <a:lnTo>
                    <a:pt x="8361142" y="6904946"/>
                  </a:lnTo>
                  <a:lnTo>
                    <a:pt x="8339590" y="6897467"/>
                  </a:lnTo>
                  <a:lnTo>
                    <a:pt x="8316001" y="6883756"/>
                  </a:lnTo>
                  <a:lnTo>
                    <a:pt x="8293131" y="6880465"/>
                  </a:lnTo>
                  <a:lnTo>
                    <a:pt x="8224062" y="6870533"/>
                  </a:lnTo>
                  <a:lnTo>
                    <a:pt x="8014586" y="6981670"/>
                  </a:lnTo>
                  <a:lnTo>
                    <a:pt x="7883717" y="6941672"/>
                  </a:lnTo>
                  <a:lnTo>
                    <a:pt x="7828334" y="6924756"/>
                  </a:lnTo>
                  <a:lnTo>
                    <a:pt x="7776340" y="6847392"/>
                  </a:lnTo>
                  <a:lnTo>
                    <a:pt x="7755849" y="6796129"/>
                  </a:lnTo>
                  <a:lnTo>
                    <a:pt x="7759331" y="6764994"/>
                  </a:lnTo>
                  <a:lnTo>
                    <a:pt x="7777066" y="6746608"/>
                  </a:lnTo>
                  <a:lnTo>
                    <a:pt x="7773538" y="6711794"/>
                  </a:lnTo>
                  <a:lnTo>
                    <a:pt x="7769156" y="6669118"/>
                  </a:lnTo>
                  <a:lnTo>
                    <a:pt x="7749564" y="6596139"/>
                  </a:lnTo>
                  <a:lnTo>
                    <a:pt x="7730012" y="6558093"/>
                  </a:lnTo>
                  <a:lnTo>
                    <a:pt x="7704546" y="6508684"/>
                  </a:lnTo>
                  <a:lnTo>
                    <a:pt x="7655315" y="6460818"/>
                  </a:lnTo>
                  <a:lnTo>
                    <a:pt x="7653839" y="6401669"/>
                  </a:lnTo>
                  <a:lnTo>
                    <a:pt x="7652798" y="6359909"/>
                  </a:lnTo>
                  <a:lnTo>
                    <a:pt x="7668118" y="6311219"/>
                  </a:lnTo>
                  <a:lnTo>
                    <a:pt x="7672886" y="6269731"/>
                  </a:lnTo>
                  <a:lnTo>
                    <a:pt x="7676406" y="6239298"/>
                  </a:lnTo>
                  <a:lnTo>
                    <a:pt x="7659281" y="6199003"/>
                  </a:lnTo>
                  <a:lnTo>
                    <a:pt x="7652739" y="6147655"/>
                  </a:lnTo>
                  <a:lnTo>
                    <a:pt x="7672793" y="6139154"/>
                  </a:lnTo>
                  <a:lnTo>
                    <a:pt x="7623919" y="6098348"/>
                  </a:lnTo>
                  <a:lnTo>
                    <a:pt x="7597306" y="6092846"/>
                  </a:lnTo>
                  <a:lnTo>
                    <a:pt x="7559427" y="6100986"/>
                  </a:lnTo>
                  <a:lnTo>
                    <a:pt x="7538219" y="6088826"/>
                  </a:lnTo>
                  <a:lnTo>
                    <a:pt x="7523720" y="6057839"/>
                  </a:lnTo>
                  <a:lnTo>
                    <a:pt x="7457417" y="6002199"/>
                  </a:lnTo>
                  <a:lnTo>
                    <a:pt x="7371162" y="6081727"/>
                  </a:lnTo>
                  <a:lnTo>
                    <a:pt x="7328749" y="6109229"/>
                  </a:lnTo>
                  <a:lnTo>
                    <a:pt x="7264905" y="6113160"/>
                  </a:lnTo>
                  <a:lnTo>
                    <a:pt x="7231409" y="5998989"/>
                  </a:lnTo>
                  <a:lnTo>
                    <a:pt x="7087995" y="6030338"/>
                  </a:lnTo>
                  <a:lnTo>
                    <a:pt x="6990953" y="6051548"/>
                  </a:lnTo>
                  <a:lnTo>
                    <a:pt x="7023084" y="6116604"/>
                  </a:lnTo>
                  <a:lnTo>
                    <a:pt x="6964216" y="6154115"/>
                  </a:lnTo>
                  <a:lnTo>
                    <a:pt x="6928129" y="6177091"/>
                  </a:lnTo>
                  <a:lnTo>
                    <a:pt x="6853739" y="6179025"/>
                  </a:lnTo>
                  <a:lnTo>
                    <a:pt x="6811875" y="6185400"/>
                  </a:lnTo>
                  <a:lnTo>
                    <a:pt x="6776637" y="6190755"/>
                  </a:lnTo>
                  <a:lnTo>
                    <a:pt x="6744500" y="6216111"/>
                  </a:lnTo>
                  <a:lnTo>
                    <a:pt x="6713946" y="6231646"/>
                  </a:lnTo>
                  <a:lnTo>
                    <a:pt x="6693793" y="6241912"/>
                  </a:lnTo>
                  <a:lnTo>
                    <a:pt x="6667478" y="6248926"/>
                  </a:lnTo>
                  <a:lnTo>
                    <a:pt x="6645926" y="6257491"/>
                  </a:lnTo>
                  <a:lnTo>
                    <a:pt x="6519140" y="6307922"/>
                  </a:lnTo>
                  <a:lnTo>
                    <a:pt x="6319949" y="6305693"/>
                  </a:lnTo>
                  <a:lnTo>
                    <a:pt x="6187541" y="6277895"/>
                  </a:lnTo>
                  <a:lnTo>
                    <a:pt x="6164163" y="6272989"/>
                  </a:lnTo>
                  <a:lnTo>
                    <a:pt x="6090794" y="6268798"/>
                  </a:lnTo>
                  <a:lnTo>
                    <a:pt x="6034183" y="6215452"/>
                  </a:lnTo>
                  <a:lnTo>
                    <a:pt x="5989129" y="5947599"/>
                  </a:lnTo>
                  <a:lnTo>
                    <a:pt x="5972634" y="5932403"/>
                  </a:lnTo>
                  <a:lnTo>
                    <a:pt x="5950871" y="5925602"/>
                  </a:lnTo>
                  <a:lnTo>
                    <a:pt x="5834530" y="5954974"/>
                  </a:lnTo>
                  <a:lnTo>
                    <a:pt x="5710116" y="5991785"/>
                  </a:lnTo>
                  <a:lnTo>
                    <a:pt x="5589054" y="5962328"/>
                  </a:lnTo>
                  <a:lnTo>
                    <a:pt x="5540086" y="5950426"/>
                  </a:lnTo>
                  <a:lnTo>
                    <a:pt x="5465790" y="5902668"/>
                  </a:lnTo>
                  <a:lnTo>
                    <a:pt x="5419117" y="5895382"/>
                  </a:lnTo>
                  <a:lnTo>
                    <a:pt x="5382561" y="5912170"/>
                  </a:lnTo>
                  <a:lnTo>
                    <a:pt x="5345577" y="5899760"/>
                  </a:lnTo>
                  <a:lnTo>
                    <a:pt x="5321321" y="5891599"/>
                  </a:lnTo>
                  <a:lnTo>
                    <a:pt x="5300482" y="5873237"/>
                  </a:lnTo>
                  <a:lnTo>
                    <a:pt x="5278930" y="5860315"/>
                  </a:lnTo>
                  <a:lnTo>
                    <a:pt x="5235237" y="5834088"/>
                  </a:lnTo>
                  <a:lnTo>
                    <a:pt x="5162463" y="5809476"/>
                  </a:lnTo>
                  <a:lnTo>
                    <a:pt x="5111623" y="5811348"/>
                  </a:lnTo>
                  <a:lnTo>
                    <a:pt x="5061725" y="5813198"/>
                  </a:lnTo>
                  <a:lnTo>
                    <a:pt x="4951763" y="5834939"/>
                  </a:lnTo>
                  <a:lnTo>
                    <a:pt x="4917120" y="5872557"/>
                  </a:lnTo>
                  <a:lnTo>
                    <a:pt x="4884133" y="5908369"/>
                  </a:lnTo>
                  <a:lnTo>
                    <a:pt x="4863600" y="5993848"/>
                  </a:lnTo>
                  <a:lnTo>
                    <a:pt x="4800144" y="5985454"/>
                  </a:lnTo>
                  <a:lnTo>
                    <a:pt x="4771364" y="5981650"/>
                  </a:lnTo>
                  <a:lnTo>
                    <a:pt x="4659185" y="5940546"/>
                  </a:lnTo>
                  <a:lnTo>
                    <a:pt x="4630117" y="5926965"/>
                  </a:lnTo>
                  <a:lnTo>
                    <a:pt x="4588507" y="5907560"/>
                  </a:lnTo>
                  <a:lnTo>
                    <a:pt x="4503567" y="5838680"/>
                  </a:lnTo>
                  <a:lnTo>
                    <a:pt x="4461451" y="5837192"/>
                  </a:lnTo>
                  <a:lnTo>
                    <a:pt x="4490265" y="5825588"/>
                  </a:lnTo>
                  <a:lnTo>
                    <a:pt x="4540814" y="5809307"/>
                  </a:lnTo>
                  <a:lnTo>
                    <a:pt x="4564825" y="5793665"/>
                  </a:lnTo>
                  <a:lnTo>
                    <a:pt x="4584669" y="5780722"/>
                  </a:lnTo>
                  <a:lnTo>
                    <a:pt x="4606525" y="5775664"/>
                  </a:lnTo>
                  <a:lnTo>
                    <a:pt x="4626034" y="5761020"/>
                  </a:lnTo>
                  <a:lnTo>
                    <a:pt x="4694219" y="5709906"/>
                  </a:lnTo>
                  <a:lnTo>
                    <a:pt x="4727581" y="5642683"/>
                  </a:lnTo>
                  <a:lnTo>
                    <a:pt x="4745732" y="5559711"/>
                  </a:lnTo>
                  <a:lnTo>
                    <a:pt x="4752364" y="5529340"/>
                  </a:lnTo>
                  <a:lnTo>
                    <a:pt x="4754026" y="5497545"/>
                  </a:lnTo>
                  <a:lnTo>
                    <a:pt x="4766137" y="5468578"/>
                  </a:lnTo>
                  <a:lnTo>
                    <a:pt x="4797282" y="5394001"/>
                  </a:lnTo>
                  <a:lnTo>
                    <a:pt x="4894848" y="5370070"/>
                  </a:lnTo>
                  <a:lnTo>
                    <a:pt x="4783822" y="5282230"/>
                  </a:lnTo>
                  <a:lnTo>
                    <a:pt x="4781119" y="5260467"/>
                  </a:lnTo>
                  <a:lnTo>
                    <a:pt x="4750386" y="5265867"/>
                  </a:lnTo>
                  <a:lnTo>
                    <a:pt x="4706829" y="5261825"/>
                  </a:lnTo>
                  <a:lnTo>
                    <a:pt x="4674896" y="5246714"/>
                  </a:lnTo>
                  <a:lnTo>
                    <a:pt x="4647821" y="5235982"/>
                  </a:lnTo>
                  <a:lnTo>
                    <a:pt x="4534886" y="5191222"/>
                  </a:lnTo>
                  <a:lnTo>
                    <a:pt x="4514137" y="5180766"/>
                  </a:lnTo>
                  <a:lnTo>
                    <a:pt x="4453312" y="5074118"/>
                  </a:lnTo>
                  <a:lnTo>
                    <a:pt x="4440473" y="5057519"/>
                  </a:lnTo>
                  <a:lnTo>
                    <a:pt x="4442432" y="5019710"/>
                  </a:lnTo>
                  <a:lnTo>
                    <a:pt x="4466614" y="4992144"/>
                  </a:lnTo>
                  <a:lnTo>
                    <a:pt x="4520263" y="5033482"/>
                  </a:lnTo>
                  <a:lnTo>
                    <a:pt x="4559411" y="4968022"/>
                  </a:lnTo>
                  <a:lnTo>
                    <a:pt x="4596212" y="4906452"/>
                  </a:lnTo>
                  <a:lnTo>
                    <a:pt x="4543980" y="4846475"/>
                  </a:lnTo>
                  <a:lnTo>
                    <a:pt x="4540364" y="4784395"/>
                  </a:lnTo>
                  <a:lnTo>
                    <a:pt x="4537180" y="4729222"/>
                  </a:lnTo>
                  <a:lnTo>
                    <a:pt x="4594959" y="4679554"/>
                  </a:lnTo>
                  <a:lnTo>
                    <a:pt x="4590699" y="4570844"/>
                  </a:lnTo>
                  <a:lnTo>
                    <a:pt x="4589518" y="4540516"/>
                  </a:lnTo>
                  <a:lnTo>
                    <a:pt x="4555244" y="4327220"/>
                  </a:lnTo>
                  <a:lnTo>
                    <a:pt x="4544448" y="4308325"/>
                  </a:lnTo>
                  <a:lnTo>
                    <a:pt x="4500829" y="4232303"/>
                  </a:lnTo>
                  <a:lnTo>
                    <a:pt x="4387549" y="4189223"/>
                  </a:lnTo>
                  <a:lnTo>
                    <a:pt x="4341781" y="4105656"/>
                  </a:lnTo>
                  <a:lnTo>
                    <a:pt x="4307901" y="4043938"/>
                  </a:lnTo>
                  <a:lnTo>
                    <a:pt x="4303991" y="3909022"/>
                  </a:lnTo>
                  <a:lnTo>
                    <a:pt x="4242659" y="3872807"/>
                  </a:lnTo>
                  <a:lnTo>
                    <a:pt x="4088820" y="3829408"/>
                  </a:lnTo>
                  <a:lnTo>
                    <a:pt x="4077896" y="3779208"/>
                  </a:lnTo>
                  <a:lnTo>
                    <a:pt x="4070809" y="3746350"/>
                  </a:lnTo>
                  <a:lnTo>
                    <a:pt x="4075590" y="3662550"/>
                  </a:lnTo>
                  <a:lnTo>
                    <a:pt x="4105101" y="3632307"/>
                  </a:lnTo>
                  <a:lnTo>
                    <a:pt x="4132182" y="3620936"/>
                  </a:lnTo>
                  <a:lnTo>
                    <a:pt x="4196354" y="3608886"/>
                  </a:lnTo>
                  <a:lnTo>
                    <a:pt x="4240020" y="3601341"/>
                  </a:lnTo>
                  <a:lnTo>
                    <a:pt x="4284647" y="3588781"/>
                  </a:lnTo>
                  <a:lnTo>
                    <a:pt x="4332256" y="3575391"/>
                  </a:lnTo>
                  <a:lnTo>
                    <a:pt x="4373996" y="3546615"/>
                  </a:lnTo>
                  <a:lnTo>
                    <a:pt x="4423392" y="3537093"/>
                  </a:lnTo>
                  <a:lnTo>
                    <a:pt x="4488755" y="3524490"/>
                  </a:lnTo>
                  <a:lnTo>
                    <a:pt x="4560261" y="3531419"/>
                  </a:lnTo>
                  <a:lnTo>
                    <a:pt x="4624700" y="3513970"/>
                  </a:lnTo>
                  <a:lnTo>
                    <a:pt x="4677354" y="3499688"/>
                  </a:lnTo>
                  <a:lnTo>
                    <a:pt x="4725438" y="3467532"/>
                  </a:lnTo>
                  <a:lnTo>
                    <a:pt x="4778403" y="3452761"/>
                  </a:lnTo>
                  <a:lnTo>
                    <a:pt x="4832427" y="3437714"/>
                  </a:lnTo>
                  <a:lnTo>
                    <a:pt x="4902690" y="3454907"/>
                  </a:lnTo>
                  <a:lnTo>
                    <a:pt x="4957948" y="3456839"/>
                  </a:lnTo>
                  <a:lnTo>
                    <a:pt x="4998414" y="3452057"/>
                  </a:lnTo>
                  <a:lnTo>
                    <a:pt x="5045679" y="3447148"/>
                  </a:lnTo>
                  <a:lnTo>
                    <a:pt x="5071737" y="3447148"/>
                  </a:lnTo>
                  <a:lnTo>
                    <a:pt x="5099409" y="3440517"/>
                  </a:lnTo>
                  <a:lnTo>
                    <a:pt x="5177023" y="3421899"/>
                  </a:lnTo>
                  <a:lnTo>
                    <a:pt x="5259071" y="3360116"/>
                  </a:lnTo>
                  <a:lnTo>
                    <a:pt x="5274871" y="3280013"/>
                  </a:lnTo>
                  <a:lnTo>
                    <a:pt x="5293661" y="3184927"/>
                  </a:lnTo>
                  <a:lnTo>
                    <a:pt x="5238151" y="3105908"/>
                  </a:lnTo>
                  <a:lnTo>
                    <a:pt x="5229817" y="3085760"/>
                  </a:lnTo>
                  <a:lnTo>
                    <a:pt x="5214088" y="2939836"/>
                  </a:lnTo>
                  <a:lnTo>
                    <a:pt x="5122530" y="2852911"/>
                  </a:lnTo>
                  <a:lnTo>
                    <a:pt x="5106345" y="2833634"/>
                  </a:lnTo>
                  <a:lnTo>
                    <a:pt x="5057927" y="2797333"/>
                  </a:lnTo>
                  <a:lnTo>
                    <a:pt x="5076288" y="2767218"/>
                  </a:lnTo>
                  <a:lnTo>
                    <a:pt x="5055756" y="2740248"/>
                  </a:lnTo>
                  <a:lnTo>
                    <a:pt x="4954538" y="2717146"/>
                  </a:lnTo>
                  <a:lnTo>
                    <a:pt x="4921222" y="2701929"/>
                  </a:lnTo>
                  <a:lnTo>
                    <a:pt x="4859725" y="2673790"/>
                  </a:lnTo>
                  <a:lnTo>
                    <a:pt x="4853849" y="2545782"/>
                  </a:lnTo>
                  <a:lnTo>
                    <a:pt x="4768878" y="2527823"/>
                  </a:lnTo>
                  <a:lnTo>
                    <a:pt x="4731736" y="2530225"/>
                  </a:lnTo>
                  <a:lnTo>
                    <a:pt x="4699462" y="2575727"/>
                  </a:lnTo>
                  <a:lnTo>
                    <a:pt x="4653263" y="2584952"/>
                  </a:lnTo>
                  <a:lnTo>
                    <a:pt x="4606788" y="2549629"/>
                  </a:lnTo>
                  <a:lnTo>
                    <a:pt x="4636749" y="2493882"/>
                  </a:lnTo>
                  <a:lnTo>
                    <a:pt x="4609737" y="2447571"/>
                  </a:lnTo>
                  <a:lnTo>
                    <a:pt x="4589630" y="2413035"/>
                  </a:lnTo>
                  <a:lnTo>
                    <a:pt x="4543090" y="2388041"/>
                  </a:lnTo>
                  <a:lnTo>
                    <a:pt x="4511802" y="2364600"/>
                  </a:lnTo>
                  <a:lnTo>
                    <a:pt x="4446004" y="2315271"/>
                  </a:lnTo>
                  <a:lnTo>
                    <a:pt x="4422964" y="2223840"/>
                  </a:lnTo>
                  <a:lnTo>
                    <a:pt x="4356738" y="2174172"/>
                  </a:lnTo>
                  <a:lnTo>
                    <a:pt x="4267265" y="2107075"/>
                  </a:lnTo>
                  <a:lnTo>
                    <a:pt x="4168434" y="2192726"/>
                  </a:lnTo>
                  <a:lnTo>
                    <a:pt x="4113265" y="2153769"/>
                  </a:lnTo>
                  <a:lnTo>
                    <a:pt x="4064003" y="2086651"/>
                  </a:lnTo>
                  <a:lnTo>
                    <a:pt x="4247796" y="2067481"/>
                  </a:lnTo>
                  <a:lnTo>
                    <a:pt x="4152711" y="1941577"/>
                  </a:lnTo>
                  <a:lnTo>
                    <a:pt x="4103151" y="1875481"/>
                  </a:lnTo>
                  <a:lnTo>
                    <a:pt x="4035511" y="1792763"/>
                  </a:lnTo>
                  <a:lnTo>
                    <a:pt x="4009891" y="1713064"/>
                  </a:lnTo>
                  <a:lnTo>
                    <a:pt x="4003641" y="1675637"/>
                  </a:lnTo>
                  <a:lnTo>
                    <a:pt x="3990336" y="1637871"/>
                  </a:lnTo>
                  <a:lnTo>
                    <a:pt x="3986764" y="1605609"/>
                  </a:lnTo>
                  <a:lnTo>
                    <a:pt x="3989077" y="1558512"/>
                  </a:lnTo>
                  <a:lnTo>
                    <a:pt x="4011659" y="1524847"/>
                  </a:lnTo>
                  <a:lnTo>
                    <a:pt x="4013975" y="1479110"/>
                  </a:lnTo>
                  <a:lnTo>
                    <a:pt x="4017147" y="1415903"/>
                  </a:lnTo>
                  <a:lnTo>
                    <a:pt x="3979285" y="1341071"/>
                  </a:lnTo>
                  <a:lnTo>
                    <a:pt x="4008527" y="1283241"/>
                  </a:lnTo>
                  <a:lnTo>
                    <a:pt x="4022982" y="1254635"/>
                  </a:lnTo>
                  <a:lnTo>
                    <a:pt x="4061234" y="1225199"/>
                  </a:lnTo>
                  <a:lnTo>
                    <a:pt x="4081980" y="1198909"/>
                  </a:lnTo>
                  <a:lnTo>
                    <a:pt x="4083239" y="1171726"/>
                  </a:lnTo>
                  <a:lnTo>
                    <a:pt x="4067035" y="1121484"/>
                  </a:lnTo>
                  <a:lnTo>
                    <a:pt x="4029921" y="1093727"/>
                  </a:lnTo>
                  <a:lnTo>
                    <a:pt x="4009910" y="1058809"/>
                  </a:lnTo>
                  <a:lnTo>
                    <a:pt x="3982919" y="1011754"/>
                  </a:lnTo>
                  <a:lnTo>
                    <a:pt x="3998013" y="961236"/>
                  </a:lnTo>
                  <a:lnTo>
                    <a:pt x="3952779" y="910547"/>
                  </a:lnTo>
                  <a:lnTo>
                    <a:pt x="3919258" y="872929"/>
                  </a:lnTo>
                  <a:lnTo>
                    <a:pt x="3877592" y="846384"/>
                  </a:lnTo>
                  <a:lnTo>
                    <a:pt x="3831722" y="818053"/>
                  </a:lnTo>
                  <a:lnTo>
                    <a:pt x="3775363" y="782943"/>
                  </a:lnTo>
                  <a:lnTo>
                    <a:pt x="3655324" y="763815"/>
                  </a:lnTo>
                  <a:lnTo>
                    <a:pt x="3619540" y="729641"/>
                  </a:lnTo>
                  <a:lnTo>
                    <a:pt x="3558753" y="671534"/>
                  </a:lnTo>
                  <a:lnTo>
                    <a:pt x="3553736" y="498003"/>
                  </a:lnTo>
                  <a:lnTo>
                    <a:pt x="3463109" y="396392"/>
                  </a:lnTo>
                  <a:lnTo>
                    <a:pt x="3370132" y="292145"/>
                  </a:lnTo>
                  <a:lnTo>
                    <a:pt x="3290407" y="328913"/>
                  </a:lnTo>
                  <a:lnTo>
                    <a:pt x="3234593" y="253571"/>
                  </a:lnTo>
                  <a:lnTo>
                    <a:pt x="3209388" y="219523"/>
                  </a:lnTo>
                  <a:lnTo>
                    <a:pt x="3153621" y="93493"/>
                  </a:lnTo>
                  <a:lnTo>
                    <a:pt x="3169310" y="56342"/>
                  </a:lnTo>
                  <a:lnTo>
                    <a:pt x="3161106" y="9839"/>
                  </a:lnTo>
                  <a:lnTo>
                    <a:pt x="3035836" y="11859"/>
                  </a:lnTo>
                  <a:lnTo>
                    <a:pt x="3000648" y="8735"/>
                  </a:lnTo>
                  <a:lnTo>
                    <a:pt x="2956098" y="4762"/>
                  </a:lnTo>
                  <a:lnTo>
                    <a:pt x="2909379" y="0"/>
                  </a:lnTo>
                  <a:lnTo>
                    <a:pt x="2864628" y="4654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53" name="Zakarpattia¬0" descr="Zakarpattia¬0">
              <a:extLst>
                <a:ext uri="{FF2B5EF4-FFF2-40B4-BE49-F238E27FC236}">
                  <a16:creationId xmlns:a16="http://schemas.microsoft.com/office/drawing/2014/main" id="{43A07418-05AF-410A-9C42-8F5834803145}"/>
                </a:ext>
              </a:extLst>
            </p:cNvPr>
            <p:cNvSpPr/>
            <p:nvPr/>
          </p:nvSpPr>
          <p:spPr>
            <a:xfrm>
              <a:off x="877516" y="2671432"/>
              <a:ext cx="856980" cy="543075"/>
            </a:xfrm>
            <a:custGeom>
              <a:avLst/>
              <a:gdLst/>
              <a:ahLst/>
              <a:cxnLst/>
              <a:rect l="0" t="0" r="0" b="0"/>
              <a:pathLst>
                <a:path w="8745006" h="6290828">
                  <a:moveTo>
                    <a:pt x="8481235" y="6006520"/>
                  </a:moveTo>
                  <a:lnTo>
                    <a:pt x="8486544" y="5982080"/>
                  </a:lnTo>
                  <a:lnTo>
                    <a:pt x="8493172" y="5953529"/>
                  </a:lnTo>
                  <a:lnTo>
                    <a:pt x="8509382" y="5867908"/>
                  </a:lnTo>
                  <a:lnTo>
                    <a:pt x="8521523" y="5832757"/>
                  </a:lnTo>
                  <a:lnTo>
                    <a:pt x="8539614" y="5800238"/>
                  </a:lnTo>
                  <a:lnTo>
                    <a:pt x="8557703" y="5767718"/>
                  </a:lnTo>
                  <a:lnTo>
                    <a:pt x="8581729" y="5738569"/>
                  </a:lnTo>
                  <a:lnTo>
                    <a:pt x="8617143" y="5684622"/>
                  </a:lnTo>
                  <a:lnTo>
                    <a:pt x="8639348" y="5650798"/>
                  </a:lnTo>
                  <a:lnTo>
                    <a:pt x="8654464" y="5607937"/>
                  </a:lnTo>
                  <a:lnTo>
                    <a:pt x="8679716" y="5575807"/>
                  </a:lnTo>
                  <a:lnTo>
                    <a:pt x="8701393" y="5548174"/>
                  </a:lnTo>
                  <a:lnTo>
                    <a:pt x="8725853" y="5524928"/>
                  </a:lnTo>
                  <a:lnTo>
                    <a:pt x="8745005" y="5494195"/>
                  </a:lnTo>
                  <a:lnTo>
                    <a:pt x="8683527" y="5406620"/>
                  </a:lnTo>
                  <a:lnTo>
                    <a:pt x="8650909" y="5356519"/>
                  </a:lnTo>
                  <a:lnTo>
                    <a:pt x="8614426" y="5307850"/>
                  </a:lnTo>
                  <a:lnTo>
                    <a:pt x="8577943" y="5259172"/>
                  </a:lnTo>
                  <a:lnTo>
                    <a:pt x="8537490" y="5212527"/>
                  </a:lnTo>
                  <a:lnTo>
                    <a:pt x="8467524" y="5150065"/>
                  </a:lnTo>
                  <a:lnTo>
                    <a:pt x="8416296" y="5104324"/>
                  </a:lnTo>
                  <a:lnTo>
                    <a:pt x="8363899" y="5055093"/>
                  </a:lnTo>
                  <a:lnTo>
                    <a:pt x="8332864" y="4999082"/>
                  </a:lnTo>
                  <a:lnTo>
                    <a:pt x="8317346" y="4971073"/>
                  </a:lnTo>
                  <a:lnTo>
                    <a:pt x="8306952" y="4941205"/>
                  </a:lnTo>
                  <a:lnTo>
                    <a:pt x="8305659" y="4909306"/>
                  </a:lnTo>
                  <a:lnTo>
                    <a:pt x="8304373" y="4877412"/>
                  </a:lnTo>
                  <a:lnTo>
                    <a:pt x="8311080" y="4843957"/>
                  </a:lnTo>
                  <a:lnTo>
                    <a:pt x="8330146" y="4807289"/>
                  </a:lnTo>
                  <a:lnTo>
                    <a:pt x="8340599" y="4787188"/>
                  </a:lnTo>
                  <a:lnTo>
                    <a:pt x="8357396" y="4765280"/>
                  </a:lnTo>
                  <a:lnTo>
                    <a:pt x="8370949" y="4743365"/>
                  </a:lnTo>
                  <a:lnTo>
                    <a:pt x="8384501" y="4721443"/>
                  </a:lnTo>
                  <a:lnTo>
                    <a:pt x="8395284" y="4698969"/>
                  </a:lnTo>
                  <a:lnTo>
                    <a:pt x="8396795" y="4675352"/>
                  </a:lnTo>
                  <a:lnTo>
                    <a:pt x="8353987" y="4602286"/>
                  </a:lnTo>
                  <a:lnTo>
                    <a:pt x="8340751" y="4582436"/>
                  </a:lnTo>
                  <a:lnTo>
                    <a:pt x="8322470" y="4544350"/>
                  </a:lnTo>
                  <a:lnTo>
                    <a:pt x="8305046" y="4522415"/>
                  </a:lnTo>
                  <a:lnTo>
                    <a:pt x="8292061" y="4495806"/>
                  </a:lnTo>
                  <a:lnTo>
                    <a:pt x="8274162" y="4459078"/>
                  </a:lnTo>
                  <a:lnTo>
                    <a:pt x="8259713" y="4418791"/>
                  </a:lnTo>
                  <a:lnTo>
                    <a:pt x="8240370" y="4382908"/>
                  </a:lnTo>
                  <a:lnTo>
                    <a:pt x="7998785" y="4153971"/>
                  </a:lnTo>
                  <a:lnTo>
                    <a:pt x="7961953" y="4123154"/>
                  </a:lnTo>
                  <a:lnTo>
                    <a:pt x="7926122" y="4102241"/>
                  </a:lnTo>
                  <a:lnTo>
                    <a:pt x="7894876" y="4076864"/>
                  </a:lnTo>
                  <a:lnTo>
                    <a:pt x="7875098" y="4048816"/>
                  </a:lnTo>
                  <a:lnTo>
                    <a:pt x="7854812" y="4012419"/>
                  </a:lnTo>
                  <a:lnTo>
                    <a:pt x="7833668" y="3995252"/>
                  </a:lnTo>
                  <a:lnTo>
                    <a:pt x="7788296" y="3991598"/>
                  </a:lnTo>
                  <a:lnTo>
                    <a:pt x="7742923" y="3986884"/>
                  </a:lnTo>
                  <a:lnTo>
                    <a:pt x="7697649" y="3995252"/>
                  </a:lnTo>
                  <a:lnTo>
                    <a:pt x="7685686" y="3971920"/>
                  </a:lnTo>
                  <a:lnTo>
                    <a:pt x="7691074" y="3941457"/>
                  </a:lnTo>
                  <a:lnTo>
                    <a:pt x="7693573" y="3909564"/>
                  </a:lnTo>
                  <a:lnTo>
                    <a:pt x="7696264" y="3876735"/>
                  </a:lnTo>
                  <a:lnTo>
                    <a:pt x="7690883" y="3844454"/>
                  </a:lnTo>
                  <a:lnTo>
                    <a:pt x="7673169" y="3814347"/>
                  </a:lnTo>
                  <a:lnTo>
                    <a:pt x="7655020" y="3790883"/>
                  </a:lnTo>
                  <a:lnTo>
                    <a:pt x="7624756" y="3781789"/>
                  </a:lnTo>
                  <a:lnTo>
                    <a:pt x="7603803" y="3761297"/>
                  </a:lnTo>
                  <a:lnTo>
                    <a:pt x="7573513" y="3719474"/>
                  </a:lnTo>
                  <a:lnTo>
                    <a:pt x="7537149" y="3720495"/>
                  </a:lnTo>
                  <a:lnTo>
                    <a:pt x="7524453" y="3737583"/>
                  </a:lnTo>
                  <a:lnTo>
                    <a:pt x="7518234" y="3760256"/>
                  </a:lnTo>
                  <a:lnTo>
                    <a:pt x="7508586" y="3785784"/>
                  </a:lnTo>
                  <a:lnTo>
                    <a:pt x="7498945" y="3811307"/>
                  </a:lnTo>
                  <a:lnTo>
                    <a:pt x="7485623" y="3839170"/>
                  </a:lnTo>
                  <a:lnTo>
                    <a:pt x="7460977" y="3866038"/>
                  </a:lnTo>
                  <a:lnTo>
                    <a:pt x="7438291" y="3890730"/>
                  </a:lnTo>
                  <a:lnTo>
                    <a:pt x="7398972" y="3905081"/>
                  </a:lnTo>
                  <a:lnTo>
                    <a:pt x="7357609" y="3912282"/>
                  </a:lnTo>
                  <a:lnTo>
                    <a:pt x="7316240" y="3919483"/>
                  </a:lnTo>
                  <a:lnTo>
                    <a:pt x="7272924" y="3919550"/>
                  </a:lnTo>
                  <a:lnTo>
                    <a:pt x="7243346" y="3919082"/>
                  </a:lnTo>
                  <a:lnTo>
                    <a:pt x="7194471" y="3918303"/>
                  </a:lnTo>
                  <a:lnTo>
                    <a:pt x="7154664" y="3914781"/>
                  </a:lnTo>
                  <a:lnTo>
                    <a:pt x="7120931" y="3905482"/>
                  </a:lnTo>
                  <a:lnTo>
                    <a:pt x="7087205" y="3896178"/>
                  </a:lnTo>
                  <a:lnTo>
                    <a:pt x="7059671" y="3881741"/>
                  </a:lnTo>
                  <a:lnTo>
                    <a:pt x="7037960" y="3861956"/>
                  </a:lnTo>
                  <a:lnTo>
                    <a:pt x="7016250" y="3842172"/>
                  </a:lnTo>
                  <a:lnTo>
                    <a:pt x="7000449" y="3816649"/>
                  </a:lnTo>
                  <a:lnTo>
                    <a:pt x="6987635" y="3784420"/>
                  </a:lnTo>
                  <a:lnTo>
                    <a:pt x="6974821" y="3752197"/>
                  </a:lnTo>
                  <a:lnTo>
                    <a:pt x="6964751" y="3712713"/>
                  </a:lnTo>
                  <a:lnTo>
                    <a:pt x="6957707" y="3666088"/>
                  </a:lnTo>
                  <a:lnTo>
                    <a:pt x="6947076" y="3595740"/>
                  </a:lnTo>
                  <a:lnTo>
                    <a:pt x="6943020" y="3549780"/>
                  </a:lnTo>
                  <a:lnTo>
                    <a:pt x="6944109" y="3504222"/>
                  </a:lnTo>
                  <a:lnTo>
                    <a:pt x="6945190" y="3458665"/>
                  </a:lnTo>
                  <a:lnTo>
                    <a:pt x="6952366" y="3413602"/>
                  </a:lnTo>
                  <a:lnTo>
                    <a:pt x="6964507" y="3346439"/>
                  </a:lnTo>
                  <a:lnTo>
                    <a:pt x="6969400" y="3319386"/>
                  </a:lnTo>
                  <a:lnTo>
                    <a:pt x="6983230" y="3291115"/>
                  </a:lnTo>
                  <a:lnTo>
                    <a:pt x="6979470" y="3262111"/>
                  </a:lnTo>
                  <a:lnTo>
                    <a:pt x="6974966" y="3227434"/>
                  </a:lnTo>
                  <a:lnTo>
                    <a:pt x="6961790" y="3187297"/>
                  </a:lnTo>
                  <a:lnTo>
                    <a:pt x="6956171" y="3166417"/>
                  </a:lnTo>
                  <a:lnTo>
                    <a:pt x="6953137" y="3144028"/>
                  </a:lnTo>
                  <a:lnTo>
                    <a:pt x="6957714" y="3101603"/>
                  </a:lnTo>
                  <a:lnTo>
                    <a:pt x="6965838" y="3059277"/>
                  </a:lnTo>
                  <a:lnTo>
                    <a:pt x="6969954" y="3037672"/>
                  </a:lnTo>
                  <a:lnTo>
                    <a:pt x="6974069" y="3016075"/>
                  </a:lnTo>
                  <a:lnTo>
                    <a:pt x="6968596" y="2975107"/>
                  </a:lnTo>
                  <a:lnTo>
                    <a:pt x="6950559" y="2959252"/>
                  </a:lnTo>
                  <a:lnTo>
                    <a:pt x="6912829" y="2954702"/>
                  </a:lnTo>
                  <a:lnTo>
                    <a:pt x="6875469" y="2963757"/>
                  </a:lnTo>
                  <a:lnTo>
                    <a:pt x="6857062" y="2975107"/>
                  </a:lnTo>
                  <a:lnTo>
                    <a:pt x="6820243" y="2997806"/>
                  </a:lnTo>
                  <a:lnTo>
                    <a:pt x="6785646" y="3032891"/>
                  </a:lnTo>
                  <a:lnTo>
                    <a:pt x="6757763" y="3052637"/>
                  </a:lnTo>
                  <a:lnTo>
                    <a:pt x="6731812" y="3071016"/>
                  </a:lnTo>
                  <a:lnTo>
                    <a:pt x="6675538" y="3099051"/>
                  </a:lnTo>
                  <a:lnTo>
                    <a:pt x="6646230" y="3108402"/>
                  </a:lnTo>
                  <a:lnTo>
                    <a:pt x="6621407" y="3116323"/>
                  </a:lnTo>
                  <a:lnTo>
                    <a:pt x="6593550" y="3117833"/>
                  </a:lnTo>
                  <a:lnTo>
                    <a:pt x="6565977" y="3119284"/>
                  </a:lnTo>
                  <a:lnTo>
                    <a:pt x="6538403" y="3120735"/>
                  </a:lnTo>
                  <a:lnTo>
                    <a:pt x="6511965" y="3123181"/>
                  </a:lnTo>
                  <a:lnTo>
                    <a:pt x="6488447" y="3134249"/>
                  </a:lnTo>
                  <a:lnTo>
                    <a:pt x="6416061" y="3179707"/>
                  </a:lnTo>
                  <a:lnTo>
                    <a:pt x="6393381" y="3199815"/>
                  </a:lnTo>
                  <a:lnTo>
                    <a:pt x="6378497" y="3227671"/>
                  </a:lnTo>
                  <a:lnTo>
                    <a:pt x="6359227" y="3247146"/>
                  </a:lnTo>
                  <a:lnTo>
                    <a:pt x="6340273" y="3266298"/>
                  </a:lnTo>
                  <a:lnTo>
                    <a:pt x="6309916" y="3283945"/>
                  </a:lnTo>
                  <a:lnTo>
                    <a:pt x="6277615" y="3292031"/>
                  </a:lnTo>
                  <a:lnTo>
                    <a:pt x="6244099" y="3297907"/>
                  </a:lnTo>
                  <a:lnTo>
                    <a:pt x="6213196" y="3294306"/>
                  </a:lnTo>
                  <a:lnTo>
                    <a:pt x="6187841" y="3279784"/>
                  </a:lnTo>
                  <a:lnTo>
                    <a:pt x="6169692" y="3265204"/>
                  </a:lnTo>
                  <a:lnTo>
                    <a:pt x="6159278" y="3224019"/>
                  </a:lnTo>
                  <a:lnTo>
                    <a:pt x="6157173" y="3201978"/>
                  </a:lnTo>
                  <a:lnTo>
                    <a:pt x="6160160" y="3177307"/>
                  </a:lnTo>
                  <a:lnTo>
                    <a:pt x="6166078" y="3151922"/>
                  </a:lnTo>
                  <a:lnTo>
                    <a:pt x="6177911" y="3101169"/>
                  </a:lnTo>
                  <a:lnTo>
                    <a:pt x="6198860" y="3047130"/>
                  </a:lnTo>
                  <a:lnTo>
                    <a:pt x="6194641" y="3007745"/>
                  </a:lnTo>
                  <a:lnTo>
                    <a:pt x="6185515" y="2973404"/>
                  </a:lnTo>
                  <a:lnTo>
                    <a:pt x="6168404" y="2941433"/>
                  </a:lnTo>
                  <a:lnTo>
                    <a:pt x="6149756" y="2911169"/>
                  </a:lnTo>
                  <a:lnTo>
                    <a:pt x="6132282" y="2881281"/>
                  </a:lnTo>
                  <a:lnTo>
                    <a:pt x="6112096" y="2863106"/>
                  </a:lnTo>
                  <a:lnTo>
                    <a:pt x="6091267" y="2851320"/>
                  </a:lnTo>
                  <a:lnTo>
                    <a:pt x="6070439" y="2839541"/>
                  </a:lnTo>
                  <a:lnTo>
                    <a:pt x="6048447" y="2834272"/>
                  </a:lnTo>
                  <a:lnTo>
                    <a:pt x="6027338" y="2832281"/>
                  </a:lnTo>
                  <a:lnTo>
                    <a:pt x="5985118" y="2828291"/>
                  </a:lnTo>
                  <a:lnTo>
                    <a:pt x="5946161" y="2836118"/>
                  </a:lnTo>
                  <a:lnTo>
                    <a:pt x="5921243" y="2821400"/>
                  </a:lnTo>
                  <a:lnTo>
                    <a:pt x="5899989" y="2796042"/>
                  </a:lnTo>
                  <a:lnTo>
                    <a:pt x="5893571" y="2752773"/>
                  </a:lnTo>
                  <a:lnTo>
                    <a:pt x="5860087" y="2719732"/>
                  </a:lnTo>
                  <a:lnTo>
                    <a:pt x="5830635" y="2705447"/>
                  </a:lnTo>
                  <a:lnTo>
                    <a:pt x="5802905" y="2689462"/>
                  </a:lnTo>
                  <a:lnTo>
                    <a:pt x="5775175" y="2673469"/>
                  </a:lnTo>
                  <a:lnTo>
                    <a:pt x="5748274" y="2655570"/>
                  </a:lnTo>
                  <a:lnTo>
                    <a:pt x="5729454" y="2625531"/>
                  </a:lnTo>
                  <a:lnTo>
                    <a:pt x="5717107" y="2605811"/>
                  </a:lnTo>
                  <a:lnTo>
                    <a:pt x="5714048" y="2583831"/>
                  </a:lnTo>
                  <a:lnTo>
                    <a:pt x="5714492" y="2561600"/>
                  </a:lnTo>
                  <a:lnTo>
                    <a:pt x="5714954" y="2539367"/>
                  </a:lnTo>
                  <a:lnTo>
                    <a:pt x="5719353" y="2516676"/>
                  </a:lnTo>
                  <a:lnTo>
                    <a:pt x="5724013" y="2494951"/>
                  </a:lnTo>
                  <a:lnTo>
                    <a:pt x="5728676" y="2473221"/>
                  </a:lnTo>
                  <a:lnTo>
                    <a:pt x="5733535" y="2435102"/>
                  </a:lnTo>
                  <a:lnTo>
                    <a:pt x="5729835" y="2400526"/>
                  </a:lnTo>
                  <a:lnTo>
                    <a:pt x="5702973" y="2375695"/>
                  </a:lnTo>
                  <a:lnTo>
                    <a:pt x="5665525" y="2367089"/>
                  </a:lnTo>
                  <a:lnTo>
                    <a:pt x="5632157" y="2356741"/>
                  </a:lnTo>
                  <a:lnTo>
                    <a:pt x="5568526" y="2349704"/>
                  </a:lnTo>
                  <a:lnTo>
                    <a:pt x="5533586" y="2358932"/>
                  </a:lnTo>
                  <a:lnTo>
                    <a:pt x="5510261" y="2365071"/>
                  </a:lnTo>
                  <a:lnTo>
                    <a:pt x="5481502" y="2378822"/>
                  </a:lnTo>
                  <a:lnTo>
                    <a:pt x="5451973" y="2386135"/>
                  </a:lnTo>
                  <a:lnTo>
                    <a:pt x="5422203" y="2392038"/>
                  </a:lnTo>
                  <a:lnTo>
                    <a:pt x="5394691" y="2388391"/>
                  </a:lnTo>
                  <a:lnTo>
                    <a:pt x="5370361" y="2371165"/>
                  </a:lnTo>
                  <a:lnTo>
                    <a:pt x="5340565" y="2341072"/>
                  </a:lnTo>
                  <a:lnTo>
                    <a:pt x="5324817" y="2307281"/>
                  </a:lnTo>
                  <a:lnTo>
                    <a:pt x="5299631" y="2274590"/>
                  </a:lnTo>
                  <a:lnTo>
                    <a:pt x="5282778" y="2252740"/>
                  </a:lnTo>
                  <a:lnTo>
                    <a:pt x="5259781" y="2234380"/>
                  </a:lnTo>
                  <a:lnTo>
                    <a:pt x="5243863" y="2212023"/>
                  </a:lnTo>
                  <a:lnTo>
                    <a:pt x="5226202" y="2187167"/>
                  </a:lnTo>
                  <a:lnTo>
                    <a:pt x="5210903" y="2156989"/>
                  </a:lnTo>
                  <a:lnTo>
                    <a:pt x="5193536" y="2129053"/>
                  </a:lnTo>
                  <a:lnTo>
                    <a:pt x="5176169" y="2101110"/>
                  </a:lnTo>
                  <a:lnTo>
                    <a:pt x="5156545" y="2076175"/>
                  </a:lnTo>
                  <a:lnTo>
                    <a:pt x="5126886" y="2062398"/>
                  </a:lnTo>
                  <a:lnTo>
                    <a:pt x="5080778" y="2040998"/>
                  </a:lnTo>
                  <a:lnTo>
                    <a:pt x="5035301" y="2019399"/>
                  </a:lnTo>
                  <a:lnTo>
                    <a:pt x="4989506" y="2001191"/>
                  </a:lnTo>
                  <a:lnTo>
                    <a:pt x="4943711" y="1982989"/>
                  </a:lnTo>
                  <a:lnTo>
                    <a:pt x="4897023" y="1968216"/>
                  </a:lnTo>
                  <a:lnTo>
                    <a:pt x="4846685" y="1959023"/>
                  </a:lnTo>
                  <a:lnTo>
                    <a:pt x="4813682" y="1941962"/>
                  </a:lnTo>
                  <a:lnTo>
                    <a:pt x="4781755" y="1921683"/>
                  </a:lnTo>
                  <a:lnTo>
                    <a:pt x="4751471" y="1914139"/>
                  </a:lnTo>
                  <a:lnTo>
                    <a:pt x="4713110" y="1916881"/>
                  </a:lnTo>
                  <a:lnTo>
                    <a:pt x="4676811" y="1934978"/>
                  </a:lnTo>
                  <a:lnTo>
                    <a:pt x="4639935" y="1944066"/>
                  </a:lnTo>
                  <a:lnTo>
                    <a:pt x="4591192" y="1956082"/>
                  </a:lnTo>
                  <a:lnTo>
                    <a:pt x="4557962" y="1957466"/>
                  </a:lnTo>
                  <a:lnTo>
                    <a:pt x="4525678" y="1953589"/>
                  </a:lnTo>
                  <a:lnTo>
                    <a:pt x="4493395" y="1949704"/>
                  </a:lnTo>
                  <a:lnTo>
                    <a:pt x="4462460" y="1940274"/>
                  </a:lnTo>
                  <a:lnTo>
                    <a:pt x="4415502" y="1927744"/>
                  </a:lnTo>
                  <a:lnTo>
                    <a:pt x="4389063" y="1920687"/>
                  </a:lnTo>
                  <a:lnTo>
                    <a:pt x="4358269" y="1917429"/>
                  </a:lnTo>
                  <a:lnTo>
                    <a:pt x="4332530" y="1908697"/>
                  </a:lnTo>
                  <a:lnTo>
                    <a:pt x="4306740" y="1899952"/>
                  </a:lnTo>
                  <a:lnTo>
                    <a:pt x="4293589" y="1882200"/>
                  </a:lnTo>
                  <a:lnTo>
                    <a:pt x="4286283" y="1859730"/>
                  </a:lnTo>
                  <a:lnTo>
                    <a:pt x="4278975" y="1837261"/>
                  </a:lnTo>
                  <a:lnTo>
                    <a:pt x="4277937" y="1810348"/>
                  </a:lnTo>
                  <a:lnTo>
                    <a:pt x="4276762" y="1784925"/>
                  </a:lnTo>
                  <a:lnTo>
                    <a:pt x="4275588" y="1759494"/>
                  </a:lnTo>
                  <a:lnTo>
                    <a:pt x="4274638" y="1734527"/>
                  </a:lnTo>
                  <a:lnTo>
                    <a:pt x="4259844" y="1699296"/>
                  </a:lnTo>
                  <a:lnTo>
                    <a:pt x="4219633" y="1689708"/>
                  </a:lnTo>
                  <a:lnTo>
                    <a:pt x="4196398" y="1697178"/>
                  </a:lnTo>
                  <a:lnTo>
                    <a:pt x="4174858" y="1720321"/>
                  </a:lnTo>
                  <a:lnTo>
                    <a:pt x="4154344" y="1752279"/>
                  </a:lnTo>
                  <a:lnTo>
                    <a:pt x="4134894" y="1784978"/>
                  </a:lnTo>
                  <a:lnTo>
                    <a:pt x="4113945" y="1812069"/>
                  </a:lnTo>
                  <a:lnTo>
                    <a:pt x="4090415" y="1827085"/>
                  </a:lnTo>
                  <a:lnTo>
                    <a:pt x="4065931" y="1825727"/>
                  </a:lnTo>
                  <a:lnTo>
                    <a:pt x="4045060" y="1796603"/>
                  </a:lnTo>
                  <a:lnTo>
                    <a:pt x="4037835" y="1767797"/>
                  </a:lnTo>
                  <a:lnTo>
                    <a:pt x="4040090" y="1738674"/>
                  </a:lnTo>
                  <a:lnTo>
                    <a:pt x="4042327" y="1709920"/>
                  </a:lnTo>
                  <a:lnTo>
                    <a:pt x="4048803" y="1680930"/>
                  </a:lnTo>
                  <a:lnTo>
                    <a:pt x="4038732" y="1650263"/>
                  </a:lnTo>
                  <a:lnTo>
                    <a:pt x="4014122" y="1643721"/>
                  </a:lnTo>
                  <a:lnTo>
                    <a:pt x="3984132" y="1672468"/>
                  </a:lnTo>
                  <a:lnTo>
                    <a:pt x="3957184" y="1704012"/>
                  </a:lnTo>
                  <a:lnTo>
                    <a:pt x="3921755" y="1719634"/>
                  </a:lnTo>
                  <a:lnTo>
                    <a:pt x="3873808" y="1725729"/>
                  </a:lnTo>
                  <a:lnTo>
                    <a:pt x="3817152" y="1728228"/>
                  </a:lnTo>
                  <a:lnTo>
                    <a:pt x="3781382" y="1722747"/>
                  </a:lnTo>
                  <a:lnTo>
                    <a:pt x="3749009" y="1711471"/>
                  </a:lnTo>
                  <a:lnTo>
                    <a:pt x="3716638" y="1700194"/>
                  </a:lnTo>
                  <a:lnTo>
                    <a:pt x="3687435" y="1682882"/>
                  </a:lnTo>
                  <a:lnTo>
                    <a:pt x="3661956" y="1661145"/>
                  </a:lnTo>
                  <a:lnTo>
                    <a:pt x="3636480" y="1639408"/>
                  </a:lnTo>
                  <a:lnTo>
                    <a:pt x="3613934" y="1613193"/>
                  </a:lnTo>
                  <a:lnTo>
                    <a:pt x="3593947" y="1583615"/>
                  </a:lnTo>
                  <a:lnTo>
                    <a:pt x="3573961" y="1554031"/>
                  </a:lnTo>
                  <a:lnTo>
                    <a:pt x="3556804" y="1521846"/>
                  </a:lnTo>
                  <a:lnTo>
                    <a:pt x="3540899" y="1487039"/>
                  </a:lnTo>
                  <a:lnTo>
                    <a:pt x="3523175" y="1448248"/>
                  </a:lnTo>
                  <a:lnTo>
                    <a:pt x="3510620" y="1405407"/>
                  </a:lnTo>
                  <a:lnTo>
                    <a:pt x="3497373" y="1364625"/>
                  </a:lnTo>
                  <a:lnTo>
                    <a:pt x="3484125" y="1323835"/>
                  </a:lnTo>
                  <a:lnTo>
                    <a:pt x="3470643" y="1284582"/>
                  </a:lnTo>
                  <a:lnTo>
                    <a:pt x="3452487" y="1253085"/>
                  </a:lnTo>
                  <a:lnTo>
                    <a:pt x="3434329" y="1221587"/>
                  </a:lnTo>
                  <a:lnTo>
                    <a:pt x="3411489" y="1197352"/>
                  </a:lnTo>
                  <a:lnTo>
                    <a:pt x="3379035" y="1186438"/>
                  </a:lnTo>
                  <a:lnTo>
                    <a:pt x="3343467" y="1179188"/>
                  </a:lnTo>
                  <a:lnTo>
                    <a:pt x="3321907" y="1180996"/>
                  </a:lnTo>
                  <a:lnTo>
                    <a:pt x="3300347" y="1182804"/>
                  </a:lnTo>
                  <a:lnTo>
                    <a:pt x="3276523" y="1188197"/>
                  </a:lnTo>
                  <a:lnTo>
                    <a:pt x="3248457" y="1198677"/>
                  </a:lnTo>
                  <a:lnTo>
                    <a:pt x="3132457" y="1232384"/>
                  </a:lnTo>
                  <a:lnTo>
                    <a:pt x="3108356" y="1244921"/>
                  </a:lnTo>
                  <a:lnTo>
                    <a:pt x="3084488" y="1257359"/>
                  </a:lnTo>
                  <a:lnTo>
                    <a:pt x="3050677" y="1276325"/>
                  </a:lnTo>
                  <a:lnTo>
                    <a:pt x="3024024" y="1280289"/>
                  </a:lnTo>
                  <a:lnTo>
                    <a:pt x="2987480" y="1285723"/>
                  </a:lnTo>
                  <a:lnTo>
                    <a:pt x="2954055" y="1276708"/>
                  </a:lnTo>
                  <a:lnTo>
                    <a:pt x="2927450" y="1257167"/>
                  </a:lnTo>
                  <a:lnTo>
                    <a:pt x="2900843" y="1237627"/>
                  </a:lnTo>
                  <a:lnTo>
                    <a:pt x="2881347" y="1208227"/>
                  </a:lnTo>
                  <a:lnTo>
                    <a:pt x="2874402" y="1171473"/>
                  </a:lnTo>
                  <a:lnTo>
                    <a:pt x="2876630" y="1124696"/>
                  </a:lnTo>
                  <a:lnTo>
                    <a:pt x="2838101" y="1077384"/>
                  </a:lnTo>
                  <a:lnTo>
                    <a:pt x="2789240" y="1066186"/>
                  </a:lnTo>
                  <a:lnTo>
                    <a:pt x="2756064" y="1039535"/>
                  </a:lnTo>
                  <a:lnTo>
                    <a:pt x="2721038" y="1011395"/>
                  </a:lnTo>
                  <a:lnTo>
                    <a:pt x="2698940" y="982483"/>
                  </a:lnTo>
                  <a:lnTo>
                    <a:pt x="2669011" y="949759"/>
                  </a:lnTo>
                  <a:lnTo>
                    <a:pt x="2654635" y="934044"/>
                  </a:lnTo>
                  <a:lnTo>
                    <a:pt x="2632286" y="904873"/>
                  </a:lnTo>
                  <a:lnTo>
                    <a:pt x="2613028" y="874709"/>
                  </a:lnTo>
                  <a:lnTo>
                    <a:pt x="2599857" y="845269"/>
                  </a:lnTo>
                  <a:lnTo>
                    <a:pt x="2592840" y="815104"/>
                  </a:lnTo>
                  <a:lnTo>
                    <a:pt x="2587530" y="786357"/>
                  </a:lnTo>
                  <a:lnTo>
                    <a:pt x="2587314" y="756786"/>
                  </a:lnTo>
                  <a:lnTo>
                    <a:pt x="2591478" y="726686"/>
                  </a:lnTo>
                  <a:lnTo>
                    <a:pt x="2597308" y="696356"/>
                  </a:lnTo>
                  <a:lnTo>
                    <a:pt x="2612463" y="648616"/>
                  </a:lnTo>
                  <a:lnTo>
                    <a:pt x="2628102" y="614646"/>
                  </a:lnTo>
                  <a:lnTo>
                    <a:pt x="2645886" y="578427"/>
                  </a:lnTo>
                  <a:lnTo>
                    <a:pt x="2650008" y="545122"/>
                  </a:lnTo>
                  <a:lnTo>
                    <a:pt x="2627188" y="511798"/>
                  </a:lnTo>
                  <a:lnTo>
                    <a:pt x="2604556" y="491902"/>
                  </a:lnTo>
                  <a:lnTo>
                    <a:pt x="2587224" y="476120"/>
                  </a:lnTo>
                  <a:lnTo>
                    <a:pt x="2569715" y="460088"/>
                  </a:lnTo>
                  <a:lnTo>
                    <a:pt x="2547590" y="495179"/>
                  </a:lnTo>
                  <a:lnTo>
                    <a:pt x="2507146" y="492733"/>
                  </a:lnTo>
                  <a:lnTo>
                    <a:pt x="2391338" y="475988"/>
                  </a:lnTo>
                  <a:lnTo>
                    <a:pt x="2442833" y="415182"/>
                  </a:lnTo>
                  <a:lnTo>
                    <a:pt x="2395609" y="378476"/>
                  </a:lnTo>
                  <a:lnTo>
                    <a:pt x="2357226" y="348659"/>
                  </a:lnTo>
                  <a:lnTo>
                    <a:pt x="2327450" y="377769"/>
                  </a:lnTo>
                  <a:lnTo>
                    <a:pt x="2296315" y="364877"/>
                  </a:lnTo>
                  <a:lnTo>
                    <a:pt x="2275338" y="347769"/>
                  </a:lnTo>
                  <a:lnTo>
                    <a:pt x="2264733" y="315798"/>
                  </a:lnTo>
                  <a:lnTo>
                    <a:pt x="2248708" y="294146"/>
                  </a:lnTo>
                  <a:lnTo>
                    <a:pt x="2181909" y="226964"/>
                  </a:lnTo>
                  <a:lnTo>
                    <a:pt x="2153154" y="223758"/>
                  </a:lnTo>
                  <a:lnTo>
                    <a:pt x="2108459" y="251616"/>
                  </a:lnTo>
                  <a:lnTo>
                    <a:pt x="2084124" y="256060"/>
                  </a:lnTo>
                  <a:lnTo>
                    <a:pt x="2053732" y="261627"/>
                  </a:lnTo>
                  <a:lnTo>
                    <a:pt x="2027910" y="245199"/>
                  </a:lnTo>
                  <a:lnTo>
                    <a:pt x="1998431" y="249254"/>
                  </a:lnTo>
                  <a:lnTo>
                    <a:pt x="1942217" y="257017"/>
                  </a:lnTo>
                  <a:lnTo>
                    <a:pt x="1900560" y="292932"/>
                  </a:lnTo>
                  <a:lnTo>
                    <a:pt x="1837928" y="273741"/>
                  </a:lnTo>
                  <a:lnTo>
                    <a:pt x="1791511" y="259544"/>
                  </a:lnTo>
                  <a:lnTo>
                    <a:pt x="1740248" y="217315"/>
                  </a:lnTo>
                  <a:lnTo>
                    <a:pt x="1707348" y="182607"/>
                  </a:lnTo>
                  <a:lnTo>
                    <a:pt x="1653727" y="126056"/>
                  </a:lnTo>
                  <a:lnTo>
                    <a:pt x="1617299" y="0"/>
                  </a:lnTo>
                  <a:lnTo>
                    <a:pt x="1515561" y="22107"/>
                  </a:lnTo>
                  <a:lnTo>
                    <a:pt x="1490652" y="27528"/>
                  </a:lnTo>
                  <a:lnTo>
                    <a:pt x="1463916" y="37512"/>
                  </a:lnTo>
                  <a:lnTo>
                    <a:pt x="1447551" y="58833"/>
                  </a:lnTo>
                  <a:lnTo>
                    <a:pt x="1438220" y="79060"/>
                  </a:lnTo>
                  <a:lnTo>
                    <a:pt x="1386576" y="178082"/>
                  </a:lnTo>
                  <a:lnTo>
                    <a:pt x="1423386" y="298737"/>
                  </a:lnTo>
                  <a:lnTo>
                    <a:pt x="1394503" y="336314"/>
                  </a:lnTo>
                  <a:lnTo>
                    <a:pt x="1375778" y="350955"/>
                  </a:lnTo>
                  <a:lnTo>
                    <a:pt x="1346301" y="419918"/>
                  </a:lnTo>
                  <a:lnTo>
                    <a:pt x="1376608" y="468061"/>
                  </a:lnTo>
                  <a:lnTo>
                    <a:pt x="1364578" y="509054"/>
                  </a:lnTo>
                  <a:lnTo>
                    <a:pt x="1337948" y="599807"/>
                  </a:lnTo>
                  <a:lnTo>
                    <a:pt x="1187774" y="503106"/>
                  </a:lnTo>
                  <a:lnTo>
                    <a:pt x="1114302" y="617871"/>
                  </a:lnTo>
                  <a:lnTo>
                    <a:pt x="1090966" y="654360"/>
                  </a:lnTo>
                  <a:lnTo>
                    <a:pt x="1102421" y="729047"/>
                  </a:lnTo>
                  <a:lnTo>
                    <a:pt x="1092539" y="771578"/>
                  </a:lnTo>
                  <a:lnTo>
                    <a:pt x="1078278" y="832785"/>
                  </a:lnTo>
                  <a:lnTo>
                    <a:pt x="998770" y="845770"/>
                  </a:lnTo>
                  <a:lnTo>
                    <a:pt x="991884" y="889910"/>
                  </a:lnTo>
                  <a:lnTo>
                    <a:pt x="982745" y="948249"/>
                  </a:lnTo>
                  <a:lnTo>
                    <a:pt x="1011564" y="997004"/>
                  </a:lnTo>
                  <a:lnTo>
                    <a:pt x="983723" y="1057216"/>
                  </a:lnTo>
                  <a:lnTo>
                    <a:pt x="955434" y="1118449"/>
                  </a:lnTo>
                  <a:lnTo>
                    <a:pt x="834441" y="1188904"/>
                  </a:lnTo>
                  <a:lnTo>
                    <a:pt x="797375" y="1284371"/>
                  </a:lnTo>
                  <a:lnTo>
                    <a:pt x="779119" y="1331426"/>
                  </a:lnTo>
                  <a:lnTo>
                    <a:pt x="849828" y="1515410"/>
                  </a:lnTo>
                  <a:lnTo>
                    <a:pt x="839542" y="1571375"/>
                  </a:lnTo>
                  <a:lnTo>
                    <a:pt x="822114" y="1666269"/>
                  </a:lnTo>
                  <a:lnTo>
                    <a:pt x="662461" y="1686864"/>
                  </a:lnTo>
                  <a:lnTo>
                    <a:pt x="689920" y="1818928"/>
                  </a:lnTo>
                  <a:lnTo>
                    <a:pt x="707113" y="1905025"/>
                  </a:lnTo>
                  <a:lnTo>
                    <a:pt x="689900" y="1979580"/>
                  </a:lnTo>
                  <a:lnTo>
                    <a:pt x="658635" y="2058322"/>
                  </a:lnTo>
                  <a:lnTo>
                    <a:pt x="644077" y="2094963"/>
                  </a:lnTo>
                  <a:lnTo>
                    <a:pt x="640379" y="2132219"/>
                  </a:lnTo>
                  <a:lnTo>
                    <a:pt x="619189" y="2167139"/>
                  </a:lnTo>
                  <a:lnTo>
                    <a:pt x="561444" y="2262184"/>
                  </a:lnTo>
                  <a:lnTo>
                    <a:pt x="427890" y="2235422"/>
                  </a:lnTo>
                  <a:lnTo>
                    <a:pt x="368913" y="2326280"/>
                  </a:lnTo>
                  <a:lnTo>
                    <a:pt x="329573" y="2386874"/>
                  </a:lnTo>
                  <a:lnTo>
                    <a:pt x="309298" y="2481729"/>
                  </a:lnTo>
                  <a:lnTo>
                    <a:pt x="270979" y="2522148"/>
                  </a:lnTo>
                  <a:lnTo>
                    <a:pt x="247026" y="2547421"/>
                  </a:lnTo>
                  <a:lnTo>
                    <a:pt x="210173" y="2558639"/>
                  </a:lnTo>
                  <a:lnTo>
                    <a:pt x="181205" y="2575198"/>
                  </a:lnTo>
                  <a:lnTo>
                    <a:pt x="162205" y="2586079"/>
                  </a:lnTo>
                  <a:lnTo>
                    <a:pt x="146945" y="2607011"/>
                  </a:lnTo>
                  <a:lnTo>
                    <a:pt x="129518" y="2620083"/>
                  </a:lnTo>
                  <a:lnTo>
                    <a:pt x="88031" y="2651198"/>
                  </a:lnTo>
                  <a:lnTo>
                    <a:pt x="40425" y="2672136"/>
                  </a:lnTo>
                  <a:lnTo>
                    <a:pt x="27503" y="2730258"/>
                  </a:lnTo>
                  <a:lnTo>
                    <a:pt x="23422" y="2758827"/>
                  </a:lnTo>
                  <a:lnTo>
                    <a:pt x="22061" y="2791445"/>
                  </a:lnTo>
                  <a:lnTo>
                    <a:pt x="34304" y="2824644"/>
                  </a:lnTo>
                  <a:lnTo>
                    <a:pt x="34304" y="2858120"/>
                  </a:lnTo>
                  <a:lnTo>
                    <a:pt x="34304" y="2889703"/>
                  </a:lnTo>
                  <a:lnTo>
                    <a:pt x="28013" y="2923344"/>
                  </a:lnTo>
                  <a:lnTo>
                    <a:pt x="30223" y="2954695"/>
                  </a:lnTo>
                  <a:lnTo>
                    <a:pt x="35281" y="2980599"/>
                  </a:lnTo>
                  <a:lnTo>
                    <a:pt x="45780" y="3017202"/>
                  </a:lnTo>
                  <a:lnTo>
                    <a:pt x="75470" y="3050420"/>
                  </a:lnTo>
                  <a:lnTo>
                    <a:pt x="77830" y="3074392"/>
                  </a:lnTo>
                  <a:lnTo>
                    <a:pt x="79955" y="3096262"/>
                  </a:lnTo>
                  <a:lnTo>
                    <a:pt x="62910" y="3117279"/>
                  </a:lnTo>
                  <a:lnTo>
                    <a:pt x="38214" y="3140763"/>
                  </a:lnTo>
                  <a:lnTo>
                    <a:pt x="17981" y="3157364"/>
                  </a:lnTo>
                  <a:lnTo>
                    <a:pt x="15962" y="3201741"/>
                  </a:lnTo>
                  <a:lnTo>
                    <a:pt x="0" y="3239720"/>
                  </a:lnTo>
                  <a:lnTo>
                    <a:pt x="3019" y="3286584"/>
                  </a:lnTo>
                  <a:lnTo>
                    <a:pt x="5144" y="3319526"/>
                  </a:lnTo>
                  <a:lnTo>
                    <a:pt x="15813" y="3354082"/>
                  </a:lnTo>
                  <a:lnTo>
                    <a:pt x="17981" y="3387235"/>
                  </a:lnTo>
                  <a:lnTo>
                    <a:pt x="19702" y="3414103"/>
                  </a:lnTo>
                  <a:lnTo>
                    <a:pt x="16515" y="3575329"/>
                  </a:lnTo>
                  <a:lnTo>
                    <a:pt x="7099" y="3596709"/>
                  </a:lnTo>
                  <a:lnTo>
                    <a:pt x="28820" y="3602189"/>
                  </a:lnTo>
                  <a:lnTo>
                    <a:pt x="48883" y="3612945"/>
                  </a:lnTo>
                  <a:lnTo>
                    <a:pt x="69668" y="3621190"/>
                  </a:lnTo>
                  <a:lnTo>
                    <a:pt x="121568" y="3593815"/>
                  </a:lnTo>
                  <a:lnTo>
                    <a:pt x="167985" y="3577070"/>
                  </a:lnTo>
                  <a:lnTo>
                    <a:pt x="224731" y="3559983"/>
                  </a:lnTo>
                  <a:lnTo>
                    <a:pt x="262306" y="3570139"/>
                  </a:lnTo>
                  <a:lnTo>
                    <a:pt x="309063" y="3600791"/>
                  </a:lnTo>
                  <a:lnTo>
                    <a:pt x="330784" y="3616771"/>
                  </a:lnTo>
                  <a:lnTo>
                    <a:pt x="365086" y="3613875"/>
                  </a:lnTo>
                  <a:lnTo>
                    <a:pt x="389315" y="3613032"/>
                  </a:lnTo>
                  <a:lnTo>
                    <a:pt x="423320" y="3645677"/>
                  </a:lnTo>
                  <a:lnTo>
                    <a:pt x="413799" y="3685121"/>
                  </a:lnTo>
                  <a:lnTo>
                    <a:pt x="375713" y="3719123"/>
                  </a:lnTo>
                  <a:lnTo>
                    <a:pt x="365448" y="3766435"/>
                  </a:lnTo>
                  <a:lnTo>
                    <a:pt x="357563" y="3820078"/>
                  </a:lnTo>
                  <a:lnTo>
                    <a:pt x="386594" y="3863308"/>
                  </a:lnTo>
                  <a:lnTo>
                    <a:pt x="441258" y="3871729"/>
                  </a:lnTo>
                  <a:lnTo>
                    <a:pt x="555429" y="3837549"/>
                  </a:lnTo>
                  <a:lnTo>
                    <a:pt x="583824" y="3846985"/>
                  </a:lnTo>
                  <a:lnTo>
                    <a:pt x="607882" y="3947215"/>
                  </a:lnTo>
                  <a:lnTo>
                    <a:pt x="552326" y="3973185"/>
                  </a:lnTo>
                  <a:lnTo>
                    <a:pt x="593345" y="4110861"/>
                  </a:lnTo>
                  <a:lnTo>
                    <a:pt x="602357" y="4141125"/>
                  </a:lnTo>
                  <a:lnTo>
                    <a:pt x="625883" y="4156300"/>
                  </a:lnTo>
                  <a:lnTo>
                    <a:pt x="640952" y="4181591"/>
                  </a:lnTo>
                  <a:lnTo>
                    <a:pt x="665499" y="4222737"/>
                  </a:lnTo>
                  <a:lnTo>
                    <a:pt x="665691" y="4276255"/>
                  </a:lnTo>
                  <a:lnTo>
                    <a:pt x="695360" y="4316253"/>
                  </a:lnTo>
                  <a:lnTo>
                    <a:pt x="731108" y="4364541"/>
                  </a:lnTo>
                  <a:lnTo>
                    <a:pt x="779501" y="4381714"/>
                  </a:lnTo>
                  <a:lnTo>
                    <a:pt x="791934" y="4446832"/>
                  </a:lnTo>
                  <a:lnTo>
                    <a:pt x="802816" y="4471319"/>
                  </a:lnTo>
                  <a:lnTo>
                    <a:pt x="826407" y="4490654"/>
                  </a:lnTo>
                  <a:lnTo>
                    <a:pt x="875629" y="4466208"/>
                  </a:lnTo>
                  <a:lnTo>
                    <a:pt x="895309" y="4446832"/>
                  </a:lnTo>
                  <a:lnTo>
                    <a:pt x="943681" y="4445045"/>
                  </a:lnTo>
                  <a:lnTo>
                    <a:pt x="1056471" y="4480664"/>
                  </a:lnTo>
                  <a:lnTo>
                    <a:pt x="1073177" y="4505612"/>
                  </a:lnTo>
                  <a:lnTo>
                    <a:pt x="1170069" y="4448190"/>
                  </a:lnTo>
                  <a:lnTo>
                    <a:pt x="1188645" y="4437224"/>
                  </a:lnTo>
                  <a:lnTo>
                    <a:pt x="1212193" y="4437394"/>
                  </a:lnTo>
                  <a:lnTo>
                    <a:pt x="1229918" y="4450908"/>
                  </a:lnTo>
                  <a:lnTo>
                    <a:pt x="1284326" y="4492482"/>
                  </a:lnTo>
                  <a:lnTo>
                    <a:pt x="1333803" y="4656892"/>
                  </a:lnTo>
                  <a:lnTo>
                    <a:pt x="1402663" y="4706624"/>
                  </a:lnTo>
                  <a:lnTo>
                    <a:pt x="1420346" y="4719419"/>
                  </a:lnTo>
                  <a:lnTo>
                    <a:pt x="1459218" y="4718529"/>
                  </a:lnTo>
                  <a:lnTo>
                    <a:pt x="1481555" y="4727029"/>
                  </a:lnTo>
                  <a:lnTo>
                    <a:pt x="1523763" y="4757294"/>
                  </a:lnTo>
                  <a:lnTo>
                    <a:pt x="1463383" y="4795504"/>
                  </a:lnTo>
                  <a:lnTo>
                    <a:pt x="1466592" y="4827680"/>
                  </a:lnTo>
                  <a:lnTo>
                    <a:pt x="1492883" y="4846853"/>
                  </a:lnTo>
                  <a:lnTo>
                    <a:pt x="1519640" y="4869848"/>
                  </a:lnTo>
                  <a:lnTo>
                    <a:pt x="1533837" y="4893228"/>
                  </a:lnTo>
                  <a:lnTo>
                    <a:pt x="1571052" y="4980491"/>
                  </a:lnTo>
                  <a:lnTo>
                    <a:pt x="1572688" y="5005868"/>
                  </a:lnTo>
                  <a:lnTo>
                    <a:pt x="1569500" y="5038178"/>
                  </a:lnTo>
                  <a:lnTo>
                    <a:pt x="1572688" y="5064991"/>
                  </a:lnTo>
                  <a:lnTo>
                    <a:pt x="1584929" y="5086122"/>
                  </a:lnTo>
                  <a:lnTo>
                    <a:pt x="1591241" y="5107457"/>
                  </a:lnTo>
                  <a:lnTo>
                    <a:pt x="1581338" y="5131350"/>
                  </a:lnTo>
                  <a:lnTo>
                    <a:pt x="1587650" y="5152771"/>
                  </a:lnTo>
                  <a:lnTo>
                    <a:pt x="1594154" y="5174791"/>
                  </a:lnTo>
                  <a:lnTo>
                    <a:pt x="1651324" y="5226732"/>
                  </a:lnTo>
                  <a:lnTo>
                    <a:pt x="1673342" y="5233023"/>
                  </a:lnTo>
                  <a:lnTo>
                    <a:pt x="1726327" y="5262990"/>
                  </a:lnTo>
                  <a:lnTo>
                    <a:pt x="1803411" y="5296994"/>
                  </a:lnTo>
                  <a:lnTo>
                    <a:pt x="1862410" y="5267027"/>
                  </a:lnTo>
                  <a:lnTo>
                    <a:pt x="1882749" y="5256699"/>
                  </a:lnTo>
                  <a:lnTo>
                    <a:pt x="1898264" y="5238972"/>
                  </a:lnTo>
                  <a:lnTo>
                    <a:pt x="1919539" y="5228941"/>
                  </a:lnTo>
                  <a:lnTo>
                    <a:pt x="1951206" y="5214023"/>
                  </a:lnTo>
                  <a:lnTo>
                    <a:pt x="1988483" y="5207225"/>
                  </a:lnTo>
                  <a:lnTo>
                    <a:pt x="2018833" y="5189497"/>
                  </a:lnTo>
                  <a:lnTo>
                    <a:pt x="2040086" y="5177039"/>
                  </a:lnTo>
                  <a:lnTo>
                    <a:pt x="2055112" y="5153792"/>
                  </a:lnTo>
                  <a:lnTo>
                    <a:pt x="2084122" y="5158211"/>
                  </a:lnTo>
                  <a:lnTo>
                    <a:pt x="2105418" y="5161443"/>
                  </a:lnTo>
                  <a:lnTo>
                    <a:pt x="2125566" y="5185547"/>
                  </a:lnTo>
                  <a:lnTo>
                    <a:pt x="2146692" y="5192215"/>
                  </a:lnTo>
                  <a:lnTo>
                    <a:pt x="2179464" y="5178490"/>
                  </a:lnTo>
                  <a:lnTo>
                    <a:pt x="2201100" y="5152777"/>
                  </a:lnTo>
                  <a:lnTo>
                    <a:pt x="2253786" y="5115449"/>
                  </a:lnTo>
                  <a:lnTo>
                    <a:pt x="2306196" y="5196554"/>
                  </a:lnTo>
                  <a:lnTo>
                    <a:pt x="2337119" y="5231665"/>
                  </a:lnTo>
                  <a:lnTo>
                    <a:pt x="2359797" y="5257378"/>
                  </a:lnTo>
                  <a:lnTo>
                    <a:pt x="2389530" y="5279867"/>
                  </a:lnTo>
                  <a:lnTo>
                    <a:pt x="2409210" y="5307836"/>
                  </a:lnTo>
                  <a:lnTo>
                    <a:pt x="2435054" y="5315993"/>
                  </a:lnTo>
                  <a:lnTo>
                    <a:pt x="2472161" y="5358591"/>
                  </a:lnTo>
                  <a:lnTo>
                    <a:pt x="2486061" y="5403858"/>
                  </a:lnTo>
                  <a:lnTo>
                    <a:pt x="2513945" y="5450655"/>
                  </a:lnTo>
                  <a:lnTo>
                    <a:pt x="2546973" y="5506000"/>
                  </a:lnTo>
                  <a:lnTo>
                    <a:pt x="2606736" y="5521768"/>
                  </a:lnTo>
                  <a:lnTo>
                    <a:pt x="2577874" y="5611161"/>
                  </a:lnTo>
                  <a:lnTo>
                    <a:pt x="2567546" y="5649247"/>
                  </a:lnTo>
                  <a:lnTo>
                    <a:pt x="2541659" y="5671651"/>
                  </a:lnTo>
                  <a:lnTo>
                    <a:pt x="2513945" y="5687333"/>
                  </a:lnTo>
                  <a:lnTo>
                    <a:pt x="2516815" y="5721251"/>
                  </a:lnTo>
                  <a:lnTo>
                    <a:pt x="2519386" y="5755340"/>
                  </a:lnTo>
                  <a:lnTo>
                    <a:pt x="2490737" y="5812682"/>
                  </a:lnTo>
                  <a:lnTo>
                    <a:pt x="2429613" y="5808343"/>
                  </a:lnTo>
                  <a:lnTo>
                    <a:pt x="2466338" y="5899523"/>
                  </a:lnTo>
                  <a:lnTo>
                    <a:pt x="2488655" y="5924434"/>
                  </a:lnTo>
                  <a:lnTo>
                    <a:pt x="2527505" y="5937946"/>
                  </a:lnTo>
                  <a:lnTo>
                    <a:pt x="2566993" y="5953933"/>
                  </a:lnTo>
                  <a:lnTo>
                    <a:pt x="2587205" y="5969107"/>
                  </a:lnTo>
                  <a:lnTo>
                    <a:pt x="2596280" y="5989512"/>
                  </a:lnTo>
                  <a:lnTo>
                    <a:pt x="2615960" y="6004258"/>
                  </a:lnTo>
                  <a:lnTo>
                    <a:pt x="2681462" y="5965195"/>
                  </a:lnTo>
                  <a:lnTo>
                    <a:pt x="2755784" y="6004719"/>
                  </a:lnTo>
                  <a:lnTo>
                    <a:pt x="2773744" y="5902241"/>
                  </a:lnTo>
                  <a:lnTo>
                    <a:pt x="2780395" y="5848215"/>
                  </a:lnTo>
                  <a:lnTo>
                    <a:pt x="2776507" y="5815915"/>
                  </a:lnTo>
                  <a:lnTo>
                    <a:pt x="2758164" y="5784754"/>
                  </a:lnTo>
                  <a:lnTo>
                    <a:pt x="2750620" y="5762146"/>
                  </a:lnTo>
                  <a:lnTo>
                    <a:pt x="2742839" y="5729962"/>
                  </a:lnTo>
                  <a:lnTo>
                    <a:pt x="2804223" y="5644572"/>
                  </a:lnTo>
                  <a:lnTo>
                    <a:pt x="2897651" y="5734982"/>
                  </a:lnTo>
                  <a:lnTo>
                    <a:pt x="2949212" y="5760780"/>
                  </a:lnTo>
                  <a:lnTo>
                    <a:pt x="3007658" y="5793643"/>
                  </a:lnTo>
                  <a:lnTo>
                    <a:pt x="3037986" y="5809583"/>
                  </a:lnTo>
                  <a:lnTo>
                    <a:pt x="3116389" y="5825140"/>
                  </a:lnTo>
                  <a:lnTo>
                    <a:pt x="3122339" y="5804267"/>
                  </a:lnTo>
                  <a:lnTo>
                    <a:pt x="3168203" y="5762146"/>
                  </a:lnTo>
                  <a:lnTo>
                    <a:pt x="3210263" y="5727667"/>
                  </a:lnTo>
                  <a:lnTo>
                    <a:pt x="3275765" y="5715639"/>
                  </a:lnTo>
                  <a:lnTo>
                    <a:pt x="3298782" y="5679168"/>
                  </a:lnTo>
                  <a:lnTo>
                    <a:pt x="3331236" y="5627780"/>
                  </a:lnTo>
                  <a:lnTo>
                    <a:pt x="3353849" y="5534991"/>
                  </a:lnTo>
                  <a:lnTo>
                    <a:pt x="3368153" y="5475142"/>
                  </a:lnTo>
                  <a:lnTo>
                    <a:pt x="3382775" y="5414014"/>
                  </a:lnTo>
                  <a:lnTo>
                    <a:pt x="3378971" y="5353064"/>
                  </a:lnTo>
                  <a:lnTo>
                    <a:pt x="3414399" y="5296954"/>
                  </a:lnTo>
                  <a:lnTo>
                    <a:pt x="3428809" y="5274169"/>
                  </a:lnTo>
                  <a:lnTo>
                    <a:pt x="3449148" y="5257893"/>
                  </a:lnTo>
                  <a:lnTo>
                    <a:pt x="3468807" y="5239829"/>
                  </a:lnTo>
                  <a:lnTo>
                    <a:pt x="3499411" y="5211728"/>
                  </a:lnTo>
                  <a:lnTo>
                    <a:pt x="3527189" y="5195241"/>
                  </a:lnTo>
                  <a:lnTo>
                    <a:pt x="3569462" y="5190855"/>
                  </a:lnTo>
                  <a:lnTo>
                    <a:pt x="3654814" y="5181972"/>
                  </a:lnTo>
                  <a:lnTo>
                    <a:pt x="3700445" y="5280420"/>
                  </a:lnTo>
                  <a:lnTo>
                    <a:pt x="3778932" y="5294238"/>
                  </a:lnTo>
                  <a:lnTo>
                    <a:pt x="3811768" y="5300014"/>
                  </a:lnTo>
                  <a:lnTo>
                    <a:pt x="3843945" y="5277954"/>
                  </a:lnTo>
                  <a:lnTo>
                    <a:pt x="3878227" y="5277915"/>
                  </a:lnTo>
                  <a:lnTo>
                    <a:pt x="3905750" y="5290491"/>
                  </a:lnTo>
                  <a:lnTo>
                    <a:pt x="3928554" y="5325517"/>
                  </a:lnTo>
                  <a:lnTo>
                    <a:pt x="3945046" y="5341331"/>
                  </a:lnTo>
                  <a:lnTo>
                    <a:pt x="3980242" y="5399393"/>
                  </a:lnTo>
                  <a:lnTo>
                    <a:pt x="3984790" y="5472036"/>
                  </a:lnTo>
                  <a:lnTo>
                    <a:pt x="4018328" y="5517310"/>
                  </a:lnTo>
                  <a:lnTo>
                    <a:pt x="4051907" y="5562617"/>
                  </a:lnTo>
                  <a:lnTo>
                    <a:pt x="4162870" y="5602576"/>
                  </a:lnTo>
                  <a:lnTo>
                    <a:pt x="4214196" y="5641083"/>
                  </a:lnTo>
                  <a:lnTo>
                    <a:pt x="4240124" y="5660465"/>
                  </a:lnTo>
                  <a:lnTo>
                    <a:pt x="4277806" y="5727035"/>
                  </a:lnTo>
                  <a:lnTo>
                    <a:pt x="4306690" y="5760780"/>
                  </a:lnTo>
                  <a:lnTo>
                    <a:pt x="4337570" y="5796953"/>
                  </a:lnTo>
                  <a:lnTo>
                    <a:pt x="4398035" y="5753942"/>
                  </a:lnTo>
                  <a:lnTo>
                    <a:pt x="4433188" y="5760780"/>
                  </a:lnTo>
                  <a:lnTo>
                    <a:pt x="4475121" y="5769031"/>
                  </a:lnTo>
                  <a:lnTo>
                    <a:pt x="4535479" y="5803627"/>
                  </a:lnTo>
                  <a:lnTo>
                    <a:pt x="4574648" y="5823353"/>
                  </a:lnTo>
                  <a:lnTo>
                    <a:pt x="4650352" y="5875592"/>
                  </a:lnTo>
                  <a:lnTo>
                    <a:pt x="4712220" y="5891149"/>
                  </a:lnTo>
                  <a:lnTo>
                    <a:pt x="4764141" y="5860713"/>
                  </a:lnTo>
                  <a:lnTo>
                    <a:pt x="4782759" y="5817911"/>
                  </a:lnTo>
                  <a:lnTo>
                    <a:pt x="4801993" y="5768945"/>
                  </a:lnTo>
                  <a:lnTo>
                    <a:pt x="4820207" y="5740977"/>
                  </a:lnTo>
                  <a:lnTo>
                    <a:pt x="4872808" y="5735746"/>
                  </a:lnTo>
                  <a:lnTo>
                    <a:pt x="4891575" y="5706372"/>
                  </a:lnTo>
                  <a:lnTo>
                    <a:pt x="4953570" y="5754067"/>
                  </a:lnTo>
                  <a:lnTo>
                    <a:pt x="5046442" y="5824711"/>
                  </a:lnTo>
                  <a:lnTo>
                    <a:pt x="5132623" y="5764645"/>
                  </a:lnTo>
                  <a:lnTo>
                    <a:pt x="5227539" y="5800224"/>
                  </a:lnTo>
                  <a:lnTo>
                    <a:pt x="5253723" y="5810084"/>
                  </a:lnTo>
                  <a:lnTo>
                    <a:pt x="5289811" y="5853953"/>
                  </a:lnTo>
                  <a:lnTo>
                    <a:pt x="5320033" y="5843752"/>
                  </a:lnTo>
                  <a:lnTo>
                    <a:pt x="5363327" y="5867084"/>
                  </a:lnTo>
                  <a:lnTo>
                    <a:pt x="5419031" y="5843752"/>
                  </a:lnTo>
                  <a:lnTo>
                    <a:pt x="5464215" y="5843752"/>
                  </a:lnTo>
                  <a:lnTo>
                    <a:pt x="5500855" y="5843752"/>
                  </a:lnTo>
                  <a:lnTo>
                    <a:pt x="5538197" y="5854587"/>
                  </a:lnTo>
                  <a:lnTo>
                    <a:pt x="5575751" y="5853274"/>
                  </a:lnTo>
                  <a:lnTo>
                    <a:pt x="5693048" y="5827771"/>
                  </a:lnTo>
                  <a:lnTo>
                    <a:pt x="5733683" y="5866451"/>
                  </a:lnTo>
                  <a:lnTo>
                    <a:pt x="5827388" y="5917198"/>
                  </a:lnTo>
                  <a:lnTo>
                    <a:pt x="5849215" y="5929016"/>
                  </a:lnTo>
                  <a:lnTo>
                    <a:pt x="5876972" y="5936416"/>
                  </a:lnTo>
                  <a:lnTo>
                    <a:pt x="5894038" y="5955291"/>
                  </a:lnTo>
                  <a:lnTo>
                    <a:pt x="5932485" y="5997710"/>
                  </a:lnTo>
                  <a:lnTo>
                    <a:pt x="5918012" y="6063637"/>
                  </a:lnTo>
                  <a:lnTo>
                    <a:pt x="5948445" y="6106267"/>
                  </a:lnTo>
                  <a:lnTo>
                    <a:pt x="5978349" y="6148178"/>
                  </a:lnTo>
                  <a:lnTo>
                    <a:pt x="6090055" y="6146522"/>
                  </a:lnTo>
                  <a:lnTo>
                    <a:pt x="6123912" y="6110343"/>
                  </a:lnTo>
                  <a:lnTo>
                    <a:pt x="6141105" y="6091983"/>
                  </a:lnTo>
                  <a:lnTo>
                    <a:pt x="6175791" y="6061080"/>
                  </a:lnTo>
                  <a:lnTo>
                    <a:pt x="6201442" y="6061376"/>
                  </a:lnTo>
                  <a:lnTo>
                    <a:pt x="6287050" y="6056536"/>
                  </a:lnTo>
                  <a:lnTo>
                    <a:pt x="6270707" y="6025717"/>
                  </a:lnTo>
                  <a:lnTo>
                    <a:pt x="6312976" y="5997445"/>
                  </a:lnTo>
                  <a:lnTo>
                    <a:pt x="6332385" y="5984486"/>
                  </a:lnTo>
                  <a:lnTo>
                    <a:pt x="6357379" y="5975603"/>
                  </a:lnTo>
                  <a:lnTo>
                    <a:pt x="6378266" y="5964806"/>
                  </a:lnTo>
                  <a:lnTo>
                    <a:pt x="6418969" y="5978452"/>
                  </a:lnTo>
                  <a:lnTo>
                    <a:pt x="6496500" y="5983379"/>
                  </a:lnTo>
                  <a:lnTo>
                    <a:pt x="6562982" y="5978069"/>
                  </a:lnTo>
                  <a:lnTo>
                    <a:pt x="6617661" y="5997445"/>
                  </a:lnTo>
                  <a:lnTo>
                    <a:pt x="6669391" y="6015766"/>
                  </a:lnTo>
                  <a:lnTo>
                    <a:pt x="6704166" y="6064225"/>
                  </a:lnTo>
                  <a:lnTo>
                    <a:pt x="6757763" y="6077699"/>
                  </a:lnTo>
                  <a:lnTo>
                    <a:pt x="6782270" y="6083904"/>
                  </a:lnTo>
                  <a:lnTo>
                    <a:pt x="6810812" y="6098104"/>
                  </a:lnTo>
                  <a:lnTo>
                    <a:pt x="6832536" y="6129726"/>
                  </a:lnTo>
                  <a:lnTo>
                    <a:pt x="6885453" y="6218394"/>
                  </a:lnTo>
                  <a:lnTo>
                    <a:pt x="6921752" y="6228807"/>
                  </a:lnTo>
                  <a:lnTo>
                    <a:pt x="7002599" y="6234123"/>
                  </a:lnTo>
                  <a:lnTo>
                    <a:pt x="7033437" y="6236160"/>
                  </a:lnTo>
                  <a:lnTo>
                    <a:pt x="7083189" y="6200417"/>
                  </a:lnTo>
                  <a:lnTo>
                    <a:pt x="7077411" y="6166117"/>
                  </a:lnTo>
                  <a:lnTo>
                    <a:pt x="7107847" y="6178779"/>
                  </a:lnTo>
                  <a:lnTo>
                    <a:pt x="7177535" y="6226302"/>
                  </a:lnTo>
                  <a:lnTo>
                    <a:pt x="7284438" y="6290827"/>
                  </a:lnTo>
                  <a:lnTo>
                    <a:pt x="7358974" y="6265410"/>
                  </a:lnTo>
                  <a:lnTo>
                    <a:pt x="7378013" y="6253162"/>
                  </a:lnTo>
                  <a:lnTo>
                    <a:pt x="7411087" y="6224178"/>
                  </a:lnTo>
                  <a:lnTo>
                    <a:pt x="7447682" y="6205646"/>
                  </a:lnTo>
                  <a:lnTo>
                    <a:pt x="7485471" y="6183798"/>
                  </a:lnTo>
                  <a:lnTo>
                    <a:pt x="7512293" y="6168240"/>
                  </a:lnTo>
                  <a:lnTo>
                    <a:pt x="7539582" y="6151153"/>
                  </a:lnTo>
                  <a:lnTo>
                    <a:pt x="7569800" y="6142988"/>
                  </a:lnTo>
                  <a:lnTo>
                    <a:pt x="7654941" y="6119952"/>
                  </a:lnTo>
                  <a:lnTo>
                    <a:pt x="7717045" y="6179207"/>
                  </a:lnTo>
                  <a:lnTo>
                    <a:pt x="7787432" y="6138912"/>
                  </a:lnTo>
                  <a:lnTo>
                    <a:pt x="7870765" y="6091225"/>
                  </a:lnTo>
                  <a:lnTo>
                    <a:pt x="7818679" y="6023257"/>
                  </a:lnTo>
                  <a:lnTo>
                    <a:pt x="7964261" y="5981129"/>
                  </a:lnTo>
                  <a:lnTo>
                    <a:pt x="8073604" y="5949506"/>
                  </a:lnTo>
                  <a:lnTo>
                    <a:pt x="8168267" y="6023508"/>
                  </a:lnTo>
                  <a:lnTo>
                    <a:pt x="8271663" y="6027379"/>
                  </a:lnTo>
                  <a:lnTo>
                    <a:pt x="8358465" y="6030664"/>
                  </a:lnTo>
                  <a:lnTo>
                    <a:pt x="8342347" y="5987572"/>
                  </a:lnTo>
                  <a:lnTo>
                    <a:pt x="8477054" y="6026021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54" name="Ivano-Frankivsk¬0" descr="Ivano-Frankivsk¬0">
              <a:extLst>
                <a:ext uri="{FF2B5EF4-FFF2-40B4-BE49-F238E27FC236}">
                  <a16:creationId xmlns:a16="http://schemas.microsoft.com/office/drawing/2014/main" id="{B77CEEB4-2651-4839-B867-6C62DFA7CBB5}"/>
                </a:ext>
              </a:extLst>
            </p:cNvPr>
            <p:cNvSpPr/>
            <p:nvPr/>
          </p:nvSpPr>
          <p:spPr>
            <a:xfrm>
              <a:off x="1353393" y="2476792"/>
              <a:ext cx="727004" cy="823008"/>
            </a:xfrm>
            <a:custGeom>
              <a:avLst/>
              <a:gdLst/>
              <a:ahLst/>
              <a:cxnLst/>
              <a:rect l="0" t="0" r="0" b="0"/>
              <a:pathLst>
                <a:path w="7418671" h="9533502">
                  <a:moveTo>
                    <a:pt x="4885970" y="9491260"/>
                  </a:moveTo>
                  <a:lnTo>
                    <a:pt x="4885970" y="9465415"/>
                  </a:lnTo>
                  <a:lnTo>
                    <a:pt x="4883247" y="9411006"/>
                  </a:lnTo>
                  <a:lnTo>
                    <a:pt x="4889881" y="9342083"/>
                  </a:lnTo>
                  <a:lnTo>
                    <a:pt x="4894029" y="9307598"/>
                  </a:lnTo>
                  <a:lnTo>
                    <a:pt x="4903652" y="9274986"/>
                  </a:lnTo>
                  <a:lnTo>
                    <a:pt x="4913273" y="9242374"/>
                  </a:lnTo>
                  <a:lnTo>
                    <a:pt x="4928890" y="9212480"/>
                  </a:lnTo>
                  <a:lnTo>
                    <a:pt x="4959418" y="9153930"/>
                  </a:lnTo>
                  <a:lnTo>
                    <a:pt x="5017908" y="9039673"/>
                  </a:lnTo>
                  <a:lnTo>
                    <a:pt x="5039598" y="9011883"/>
                  </a:lnTo>
                  <a:lnTo>
                    <a:pt x="5062021" y="8956109"/>
                  </a:lnTo>
                  <a:lnTo>
                    <a:pt x="5073925" y="8919119"/>
                  </a:lnTo>
                  <a:lnTo>
                    <a:pt x="5077756" y="8881891"/>
                  </a:lnTo>
                  <a:lnTo>
                    <a:pt x="5081588" y="8844662"/>
                  </a:lnTo>
                  <a:lnTo>
                    <a:pt x="5077691" y="8806827"/>
                  </a:lnTo>
                  <a:lnTo>
                    <a:pt x="5060076" y="8767634"/>
                  </a:lnTo>
                  <a:lnTo>
                    <a:pt x="5043997" y="8733097"/>
                  </a:lnTo>
                  <a:lnTo>
                    <a:pt x="5029904" y="8696073"/>
                  </a:lnTo>
                  <a:lnTo>
                    <a:pt x="5023349" y="8658818"/>
                  </a:lnTo>
                  <a:lnTo>
                    <a:pt x="5018614" y="8576547"/>
                  </a:lnTo>
                  <a:lnTo>
                    <a:pt x="5026257" y="8546910"/>
                  </a:lnTo>
                  <a:lnTo>
                    <a:pt x="5021990" y="8521440"/>
                  </a:lnTo>
                  <a:lnTo>
                    <a:pt x="5017723" y="8495964"/>
                  </a:lnTo>
                  <a:lnTo>
                    <a:pt x="5001684" y="8473936"/>
                  </a:lnTo>
                  <a:lnTo>
                    <a:pt x="4948543" y="8409899"/>
                  </a:lnTo>
                  <a:lnTo>
                    <a:pt x="4933843" y="8392200"/>
                  </a:lnTo>
                  <a:lnTo>
                    <a:pt x="4922467" y="8369691"/>
                  </a:lnTo>
                  <a:lnTo>
                    <a:pt x="4914533" y="8343252"/>
                  </a:lnTo>
                  <a:lnTo>
                    <a:pt x="4906599" y="8316814"/>
                  </a:lnTo>
                  <a:lnTo>
                    <a:pt x="4902035" y="8287617"/>
                  </a:lnTo>
                  <a:lnTo>
                    <a:pt x="4898211" y="8257558"/>
                  </a:lnTo>
                  <a:lnTo>
                    <a:pt x="4890560" y="8197446"/>
                  </a:lnTo>
                  <a:lnTo>
                    <a:pt x="4887698" y="8134121"/>
                  </a:lnTo>
                  <a:lnTo>
                    <a:pt x="4880530" y="8090252"/>
                  </a:lnTo>
                  <a:lnTo>
                    <a:pt x="4874997" y="8056386"/>
                  </a:lnTo>
                  <a:lnTo>
                    <a:pt x="4878294" y="8022080"/>
                  </a:lnTo>
                  <a:lnTo>
                    <a:pt x="4887329" y="7986883"/>
                  </a:lnTo>
                  <a:lnTo>
                    <a:pt x="4896371" y="7951679"/>
                  </a:lnTo>
                  <a:lnTo>
                    <a:pt x="4911730" y="7916469"/>
                  </a:lnTo>
                  <a:lnTo>
                    <a:pt x="4929496" y="7882142"/>
                  </a:lnTo>
                  <a:lnTo>
                    <a:pt x="4965024" y="7813503"/>
                  </a:lnTo>
                  <a:lnTo>
                    <a:pt x="5012467" y="7749058"/>
                  </a:lnTo>
                  <a:lnTo>
                    <a:pt x="5047836" y="7697155"/>
                  </a:lnTo>
                  <a:lnTo>
                    <a:pt x="5063927" y="7673546"/>
                  </a:lnTo>
                  <a:lnTo>
                    <a:pt x="5072316" y="7645024"/>
                  </a:lnTo>
                  <a:lnTo>
                    <a:pt x="5077756" y="7615543"/>
                  </a:lnTo>
                  <a:lnTo>
                    <a:pt x="5083197" y="7586071"/>
                  </a:lnTo>
                  <a:lnTo>
                    <a:pt x="5085855" y="7554752"/>
                  </a:lnTo>
                  <a:lnTo>
                    <a:pt x="5090004" y="7524415"/>
                  </a:lnTo>
                  <a:lnTo>
                    <a:pt x="5094138" y="7494073"/>
                  </a:lnTo>
                  <a:lnTo>
                    <a:pt x="5099553" y="7464929"/>
                  </a:lnTo>
                  <a:lnTo>
                    <a:pt x="5111767" y="7438721"/>
                  </a:lnTo>
                  <a:lnTo>
                    <a:pt x="5123974" y="7412514"/>
                  </a:lnTo>
                  <a:lnTo>
                    <a:pt x="5141978" y="7389160"/>
                  </a:lnTo>
                  <a:lnTo>
                    <a:pt x="5171609" y="7372073"/>
                  </a:lnTo>
                  <a:lnTo>
                    <a:pt x="5221499" y="7374882"/>
                  </a:lnTo>
                  <a:lnTo>
                    <a:pt x="5251862" y="7370715"/>
                  </a:lnTo>
                  <a:lnTo>
                    <a:pt x="5282225" y="7366546"/>
                  </a:lnTo>
                  <a:lnTo>
                    <a:pt x="5311256" y="7357981"/>
                  </a:lnTo>
                  <a:lnTo>
                    <a:pt x="5351907" y="7307292"/>
                  </a:lnTo>
                  <a:lnTo>
                    <a:pt x="5386372" y="7270268"/>
                  </a:lnTo>
                  <a:lnTo>
                    <a:pt x="5411004" y="7233329"/>
                  </a:lnTo>
                  <a:lnTo>
                    <a:pt x="5422855" y="7215563"/>
                  </a:lnTo>
                  <a:lnTo>
                    <a:pt x="5437575" y="7180043"/>
                  </a:lnTo>
                  <a:lnTo>
                    <a:pt x="5457253" y="7147642"/>
                  </a:lnTo>
                  <a:lnTo>
                    <a:pt x="5477612" y="7115445"/>
                  </a:lnTo>
                  <a:lnTo>
                    <a:pt x="5502185" y="7092780"/>
                  </a:lnTo>
                  <a:lnTo>
                    <a:pt x="5530708" y="7085070"/>
                  </a:lnTo>
                  <a:lnTo>
                    <a:pt x="5561981" y="7085135"/>
                  </a:lnTo>
                  <a:lnTo>
                    <a:pt x="5583750" y="7083711"/>
                  </a:lnTo>
                  <a:lnTo>
                    <a:pt x="5605527" y="7082247"/>
                  </a:lnTo>
                  <a:lnTo>
                    <a:pt x="5630001" y="7071471"/>
                  </a:lnTo>
                  <a:lnTo>
                    <a:pt x="5638561" y="7052023"/>
                  </a:lnTo>
                  <a:lnTo>
                    <a:pt x="5625925" y="7018422"/>
                  </a:lnTo>
                  <a:lnTo>
                    <a:pt x="5605415" y="6985948"/>
                  </a:lnTo>
                  <a:lnTo>
                    <a:pt x="5594744" y="6938003"/>
                  </a:lnTo>
                  <a:lnTo>
                    <a:pt x="5595595" y="6913220"/>
                  </a:lnTo>
                  <a:lnTo>
                    <a:pt x="5597363" y="6882402"/>
                  </a:lnTo>
                  <a:lnTo>
                    <a:pt x="5599256" y="6847027"/>
                  </a:lnTo>
                  <a:lnTo>
                    <a:pt x="5618347" y="6795843"/>
                  </a:lnTo>
                  <a:lnTo>
                    <a:pt x="5635468" y="6769147"/>
                  </a:lnTo>
                  <a:lnTo>
                    <a:pt x="5654494" y="6750464"/>
                  </a:lnTo>
                  <a:lnTo>
                    <a:pt x="5673520" y="6731774"/>
                  </a:lnTo>
                  <a:lnTo>
                    <a:pt x="5694637" y="6721703"/>
                  </a:lnTo>
                  <a:lnTo>
                    <a:pt x="5734048" y="6708487"/>
                  </a:lnTo>
                  <a:lnTo>
                    <a:pt x="5770110" y="6700139"/>
                  </a:lnTo>
                  <a:lnTo>
                    <a:pt x="5803651" y="6686704"/>
                  </a:lnTo>
                  <a:lnTo>
                    <a:pt x="5839448" y="6644069"/>
                  </a:lnTo>
                  <a:lnTo>
                    <a:pt x="5859365" y="6615150"/>
                  </a:lnTo>
                  <a:lnTo>
                    <a:pt x="5878925" y="6585882"/>
                  </a:lnTo>
                  <a:lnTo>
                    <a:pt x="5898485" y="6556606"/>
                  </a:lnTo>
                  <a:lnTo>
                    <a:pt x="5918455" y="6526647"/>
                  </a:lnTo>
                  <a:lnTo>
                    <a:pt x="5938774" y="6497470"/>
                  </a:lnTo>
                  <a:lnTo>
                    <a:pt x="5951865" y="6478675"/>
                  </a:lnTo>
                  <a:lnTo>
                    <a:pt x="5968062" y="6463334"/>
                  </a:lnTo>
                  <a:lnTo>
                    <a:pt x="5980942" y="6444421"/>
                  </a:lnTo>
                  <a:lnTo>
                    <a:pt x="6014457" y="6395111"/>
                  </a:lnTo>
                  <a:lnTo>
                    <a:pt x="6040046" y="6342319"/>
                  </a:lnTo>
                  <a:lnTo>
                    <a:pt x="6080235" y="6297520"/>
                  </a:lnTo>
                  <a:lnTo>
                    <a:pt x="6111106" y="6263068"/>
                  </a:lnTo>
                  <a:lnTo>
                    <a:pt x="6153312" y="6228623"/>
                  </a:lnTo>
                  <a:lnTo>
                    <a:pt x="6197215" y="6195503"/>
                  </a:lnTo>
                  <a:lnTo>
                    <a:pt x="6241111" y="6162376"/>
                  </a:lnTo>
                  <a:lnTo>
                    <a:pt x="6286444" y="6131552"/>
                  </a:lnTo>
                  <a:lnTo>
                    <a:pt x="6322353" y="6105727"/>
                  </a:lnTo>
                  <a:lnTo>
                    <a:pt x="6356588" y="6081114"/>
                  </a:lnTo>
                  <a:lnTo>
                    <a:pt x="6388428" y="6041208"/>
                  </a:lnTo>
                  <a:lnTo>
                    <a:pt x="6427087" y="6017315"/>
                  </a:lnTo>
                  <a:lnTo>
                    <a:pt x="6478996" y="5985224"/>
                  </a:lnTo>
                  <a:lnTo>
                    <a:pt x="6537097" y="5961153"/>
                  </a:lnTo>
                  <a:lnTo>
                    <a:pt x="6597110" y="5942503"/>
                  </a:lnTo>
                  <a:lnTo>
                    <a:pt x="6657124" y="5923853"/>
                  </a:lnTo>
                  <a:lnTo>
                    <a:pt x="6718601" y="5910373"/>
                  </a:lnTo>
                  <a:lnTo>
                    <a:pt x="6778015" y="5901701"/>
                  </a:lnTo>
                  <a:lnTo>
                    <a:pt x="6825221" y="5896589"/>
                  </a:lnTo>
                  <a:lnTo>
                    <a:pt x="6929190" y="5892941"/>
                  </a:lnTo>
                  <a:lnTo>
                    <a:pt x="6952120" y="5901701"/>
                  </a:lnTo>
                  <a:lnTo>
                    <a:pt x="6982087" y="5913221"/>
                  </a:lnTo>
                  <a:lnTo>
                    <a:pt x="7015564" y="5923721"/>
                  </a:lnTo>
                  <a:lnTo>
                    <a:pt x="7044614" y="5937069"/>
                  </a:lnTo>
                  <a:lnTo>
                    <a:pt x="7065388" y="5946605"/>
                  </a:lnTo>
                  <a:lnTo>
                    <a:pt x="7087000" y="5963039"/>
                  </a:lnTo>
                  <a:lnTo>
                    <a:pt x="7109904" y="5972431"/>
                  </a:lnTo>
                  <a:lnTo>
                    <a:pt x="7133322" y="5979942"/>
                  </a:lnTo>
                  <a:lnTo>
                    <a:pt x="7157222" y="5978518"/>
                  </a:lnTo>
                  <a:lnTo>
                    <a:pt x="7180634" y="5964266"/>
                  </a:lnTo>
                  <a:lnTo>
                    <a:pt x="7198098" y="5936046"/>
                  </a:lnTo>
                  <a:lnTo>
                    <a:pt x="7206433" y="5907385"/>
                  </a:lnTo>
                  <a:lnTo>
                    <a:pt x="7211920" y="5877220"/>
                  </a:lnTo>
                  <a:lnTo>
                    <a:pt x="7217407" y="5847048"/>
                  </a:lnTo>
                  <a:lnTo>
                    <a:pt x="7220533" y="5815366"/>
                  </a:lnTo>
                  <a:lnTo>
                    <a:pt x="7226884" y="5784720"/>
                  </a:lnTo>
                  <a:lnTo>
                    <a:pt x="7232530" y="5757477"/>
                  </a:lnTo>
                  <a:lnTo>
                    <a:pt x="7241458" y="5727852"/>
                  </a:lnTo>
                  <a:lnTo>
                    <a:pt x="7244565" y="5700390"/>
                  </a:lnTo>
                  <a:lnTo>
                    <a:pt x="7246991" y="5678753"/>
                  </a:lnTo>
                  <a:lnTo>
                    <a:pt x="7276425" y="5291460"/>
                  </a:lnTo>
                  <a:lnTo>
                    <a:pt x="7270410" y="5269209"/>
                  </a:lnTo>
                  <a:lnTo>
                    <a:pt x="7263776" y="5244657"/>
                  </a:lnTo>
                  <a:lnTo>
                    <a:pt x="7250283" y="5225280"/>
                  </a:lnTo>
                  <a:lnTo>
                    <a:pt x="7241848" y="5202554"/>
                  </a:lnTo>
                  <a:lnTo>
                    <a:pt x="7227115" y="5162958"/>
                  </a:lnTo>
                  <a:lnTo>
                    <a:pt x="7214262" y="5121649"/>
                  </a:lnTo>
                  <a:lnTo>
                    <a:pt x="7201038" y="5081498"/>
                  </a:lnTo>
                  <a:lnTo>
                    <a:pt x="7188502" y="5043393"/>
                  </a:lnTo>
                  <a:lnTo>
                    <a:pt x="7165947" y="5003903"/>
                  </a:lnTo>
                  <a:lnTo>
                    <a:pt x="7156154" y="4964525"/>
                  </a:lnTo>
                  <a:lnTo>
                    <a:pt x="7150627" y="4942274"/>
                  </a:lnTo>
                  <a:lnTo>
                    <a:pt x="7132695" y="4882583"/>
                  </a:lnTo>
                  <a:lnTo>
                    <a:pt x="7120785" y="4821698"/>
                  </a:lnTo>
                  <a:lnTo>
                    <a:pt x="7114830" y="4791257"/>
                  </a:lnTo>
                  <a:lnTo>
                    <a:pt x="7110807" y="4760722"/>
                  </a:lnTo>
                  <a:lnTo>
                    <a:pt x="7109904" y="4734646"/>
                  </a:lnTo>
                  <a:lnTo>
                    <a:pt x="7109000" y="4708576"/>
                  </a:lnTo>
                  <a:lnTo>
                    <a:pt x="7110846" y="4687156"/>
                  </a:lnTo>
                  <a:lnTo>
                    <a:pt x="7179275" y="4604067"/>
                  </a:lnTo>
                  <a:lnTo>
                    <a:pt x="7201612" y="4577846"/>
                  </a:lnTo>
                  <a:lnTo>
                    <a:pt x="7221140" y="4556333"/>
                  </a:lnTo>
                  <a:lnTo>
                    <a:pt x="7248647" y="4536060"/>
                  </a:lnTo>
                  <a:lnTo>
                    <a:pt x="7283903" y="4512985"/>
                  </a:lnTo>
                  <a:lnTo>
                    <a:pt x="7319476" y="4491129"/>
                  </a:lnTo>
                  <a:lnTo>
                    <a:pt x="7350663" y="4465331"/>
                  </a:lnTo>
                  <a:lnTo>
                    <a:pt x="7374023" y="4441542"/>
                  </a:lnTo>
                  <a:lnTo>
                    <a:pt x="7400752" y="4418380"/>
                  </a:lnTo>
                  <a:lnTo>
                    <a:pt x="7418670" y="4389159"/>
                  </a:lnTo>
                  <a:lnTo>
                    <a:pt x="7414588" y="4348350"/>
                  </a:lnTo>
                  <a:lnTo>
                    <a:pt x="7393333" y="4322181"/>
                  </a:lnTo>
                  <a:lnTo>
                    <a:pt x="7370561" y="4306511"/>
                  </a:lnTo>
                  <a:lnTo>
                    <a:pt x="7347940" y="4298023"/>
                  </a:lnTo>
                  <a:lnTo>
                    <a:pt x="7328505" y="4289280"/>
                  </a:lnTo>
                  <a:lnTo>
                    <a:pt x="7307401" y="4273801"/>
                  </a:lnTo>
                  <a:lnTo>
                    <a:pt x="7305383" y="4252914"/>
                  </a:lnTo>
                  <a:lnTo>
                    <a:pt x="7311213" y="4232734"/>
                  </a:lnTo>
                  <a:lnTo>
                    <a:pt x="7327535" y="4206889"/>
                  </a:lnTo>
                  <a:lnTo>
                    <a:pt x="7342235" y="4191634"/>
                  </a:lnTo>
                  <a:lnTo>
                    <a:pt x="7359085" y="4178617"/>
                  </a:lnTo>
                  <a:lnTo>
                    <a:pt x="7377861" y="4167445"/>
                  </a:lnTo>
                  <a:lnTo>
                    <a:pt x="7384667" y="4137525"/>
                  </a:lnTo>
                  <a:lnTo>
                    <a:pt x="7380901" y="4115569"/>
                  </a:lnTo>
                  <a:lnTo>
                    <a:pt x="7372104" y="4094181"/>
                  </a:lnTo>
                  <a:lnTo>
                    <a:pt x="7360180" y="4074952"/>
                  </a:lnTo>
                  <a:lnTo>
                    <a:pt x="7345038" y="4059131"/>
                  </a:lnTo>
                  <a:lnTo>
                    <a:pt x="7324185" y="4047153"/>
                  </a:lnTo>
                  <a:lnTo>
                    <a:pt x="7304414" y="4039589"/>
                  </a:lnTo>
                  <a:lnTo>
                    <a:pt x="7281292" y="4028708"/>
                  </a:lnTo>
                  <a:lnTo>
                    <a:pt x="7260888" y="4013744"/>
                  </a:lnTo>
                  <a:lnTo>
                    <a:pt x="7245699" y="3997772"/>
                  </a:lnTo>
                  <a:lnTo>
                    <a:pt x="7232925" y="3978599"/>
                  </a:lnTo>
                  <a:lnTo>
                    <a:pt x="7222801" y="3959335"/>
                  </a:lnTo>
                  <a:lnTo>
                    <a:pt x="7209421" y="3936095"/>
                  </a:lnTo>
                  <a:lnTo>
                    <a:pt x="7195374" y="3911839"/>
                  </a:lnTo>
                  <a:lnTo>
                    <a:pt x="7181992" y="3889964"/>
                  </a:lnTo>
                  <a:lnTo>
                    <a:pt x="7167497" y="3872164"/>
                  </a:lnTo>
                  <a:lnTo>
                    <a:pt x="7143597" y="3856126"/>
                  </a:lnTo>
                  <a:lnTo>
                    <a:pt x="7104463" y="3843721"/>
                  </a:lnTo>
                  <a:lnTo>
                    <a:pt x="7065395" y="3835200"/>
                  </a:lnTo>
                  <a:lnTo>
                    <a:pt x="7026557" y="3830478"/>
                  </a:lnTo>
                  <a:lnTo>
                    <a:pt x="6990206" y="3824675"/>
                  </a:lnTo>
                  <a:lnTo>
                    <a:pt x="6956420" y="3817374"/>
                  </a:lnTo>
                  <a:lnTo>
                    <a:pt x="6932322" y="3804019"/>
                  </a:lnTo>
                  <a:lnTo>
                    <a:pt x="6912676" y="3790671"/>
                  </a:lnTo>
                  <a:lnTo>
                    <a:pt x="6891526" y="3778438"/>
                  </a:lnTo>
                  <a:lnTo>
                    <a:pt x="6871260" y="3764820"/>
                  </a:lnTo>
                  <a:lnTo>
                    <a:pt x="6851469" y="3751227"/>
                  </a:lnTo>
                  <a:lnTo>
                    <a:pt x="6830715" y="3738552"/>
                  </a:lnTo>
                  <a:lnTo>
                    <a:pt x="6806769" y="3731166"/>
                  </a:lnTo>
                  <a:lnTo>
                    <a:pt x="6756252" y="3721307"/>
                  </a:lnTo>
                  <a:lnTo>
                    <a:pt x="6735847" y="3696826"/>
                  </a:lnTo>
                  <a:lnTo>
                    <a:pt x="6726291" y="3675221"/>
                  </a:lnTo>
                  <a:lnTo>
                    <a:pt x="6720923" y="3653135"/>
                  </a:lnTo>
                  <a:lnTo>
                    <a:pt x="6720890" y="3631531"/>
                  </a:lnTo>
                  <a:lnTo>
                    <a:pt x="6727096" y="3611454"/>
                  </a:lnTo>
                  <a:lnTo>
                    <a:pt x="6749261" y="3586031"/>
                  </a:lnTo>
                  <a:lnTo>
                    <a:pt x="6767390" y="3573171"/>
                  </a:lnTo>
                  <a:lnTo>
                    <a:pt x="6780739" y="3554000"/>
                  </a:lnTo>
                  <a:lnTo>
                    <a:pt x="6782097" y="3529520"/>
                  </a:lnTo>
                  <a:lnTo>
                    <a:pt x="6756252" y="3507757"/>
                  </a:lnTo>
                  <a:lnTo>
                    <a:pt x="6731719" y="3492200"/>
                  </a:lnTo>
                  <a:lnTo>
                    <a:pt x="6704614" y="3479788"/>
                  </a:lnTo>
                  <a:lnTo>
                    <a:pt x="6678722" y="3472388"/>
                  </a:lnTo>
                  <a:lnTo>
                    <a:pt x="6654414" y="3467680"/>
                  </a:lnTo>
                  <a:lnTo>
                    <a:pt x="6633824" y="3481904"/>
                  </a:lnTo>
                  <a:lnTo>
                    <a:pt x="6629755" y="3510474"/>
                  </a:lnTo>
                  <a:lnTo>
                    <a:pt x="6633824" y="3540395"/>
                  </a:lnTo>
                  <a:lnTo>
                    <a:pt x="6635182" y="3568958"/>
                  </a:lnTo>
                  <a:lnTo>
                    <a:pt x="6620225" y="3593445"/>
                  </a:lnTo>
                  <a:lnTo>
                    <a:pt x="6586710" y="3604385"/>
                  </a:lnTo>
                  <a:lnTo>
                    <a:pt x="6564459" y="3597520"/>
                  </a:lnTo>
                  <a:lnTo>
                    <a:pt x="6542207" y="3590654"/>
                  </a:lnTo>
                  <a:lnTo>
                    <a:pt x="6517503" y="3577525"/>
                  </a:lnTo>
                  <a:lnTo>
                    <a:pt x="6492363" y="3564876"/>
                  </a:lnTo>
                  <a:lnTo>
                    <a:pt x="6467224" y="3552227"/>
                  </a:lnTo>
                  <a:lnTo>
                    <a:pt x="6441596" y="3540620"/>
                  </a:lnTo>
                  <a:lnTo>
                    <a:pt x="6418916" y="3534947"/>
                  </a:lnTo>
                  <a:lnTo>
                    <a:pt x="6396236" y="3529276"/>
                  </a:lnTo>
                  <a:lnTo>
                    <a:pt x="6361784" y="3544471"/>
                  </a:lnTo>
                  <a:lnTo>
                    <a:pt x="6347368" y="3577273"/>
                  </a:lnTo>
                  <a:lnTo>
                    <a:pt x="6354444" y="3617766"/>
                  </a:lnTo>
                  <a:lnTo>
                    <a:pt x="6362991" y="3640604"/>
                  </a:lnTo>
                  <a:lnTo>
                    <a:pt x="6371308" y="3662809"/>
                  </a:lnTo>
                  <a:lnTo>
                    <a:pt x="6379623" y="3685014"/>
                  </a:lnTo>
                  <a:lnTo>
                    <a:pt x="6387722" y="3707002"/>
                  </a:lnTo>
                  <a:lnTo>
                    <a:pt x="6388988" y="3728098"/>
                  </a:lnTo>
                  <a:lnTo>
                    <a:pt x="6390255" y="3749196"/>
                  </a:lnTo>
                  <a:lnTo>
                    <a:pt x="6384827" y="3769673"/>
                  </a:lnTo>
                  <a:lnTo>
                    <a:pt x="6367225" y="3786589"/>
                  </a:lnTo>
                  <a:lnTo>
                    <a:pt x="6350777" y="3799885"/>
                  </a:lnTo>
                  <a:lnTo>
                    <a:pt x="6324233" y="3795499"/>
                  </a:lnTo>
                  <a:lnTo>
                    <a:pt x="6297135" y="3779591"/>
                  </a:lnTo>
                  <a:lnTo>
                    <a:pt x="6271586" y="3764279"/>
                  </a:lnTo>
                  <a:lnTo>
                    <a:pt x="6243498" y="3760434"/>
                  </a:lnTo>
                  <a:lnTo>
                    <a:pt x="6213624" y="3774145"/>
                  </a:lnTo>
                  <a:lnTo>
                    <a:pt x="6191761" y="3808352"/>
                  </a:lnTo>
                  <a:lnTo>
                    <a:pt x="6175432" y="3848449"/>
                  </a:lnTo>
                  <a:lnTo>
                    <a:pt x="6168639" y="3869559"/>
                  </a:lnTo>
                  <a:lnTo>
                    <a:pt x="6161840" y="3890670"/>
                  </a:lnTo>
                  <a:lnTo>
                    <a:pt x="6154553" y="3910765"/>
                  </a:lnTo>
                  <a:lnTo>
                    <a:pt x="6131036" y="3945342"/>
                  </a:lnTo>
                  <a:lnTo>
                    <a:pt x="6114284" y="3959151"/>
                  </a:lnTo>
                  <a:lnTo>
                    <a:pt x="6089744" y="3966135"/>
                  </a:lnTo>
                  <a:lnTo>
                    <a:pt x="6052319" y="3956309"/>
                  </a:lnTo>
                  <a:lnTo>
                    <a:pt x="6021072" y="3943324"/>
                  </a:lnTo>
                  <a:lnTo>
                    <a:pt x="5995893" y="3925333"/>
                  </a:lnTo>
                  <a:lnTo>
                    <a:pt x="5976378" y="3903912"/>
                  </a:lnTo>
                  <a:lnTo>
                    <a:pt x="5963716" y="3873299"/>
                  </a:lnTo>
                  <a:lnTo>
                    <a:pt x="5957807" y="3832839"/>
                  </a:lnTo>
                  <a:lnTo>
                    <a:pt x="5957807" y="3805635"/>
                  </a:lnTo>
                  <a:lnTo>
                    <a:pt x="5960524" y="3782507"/>
                  </a:lnTo>
                  <a:lnTo>
                    <a:pt x="5968689" y="3760751"/>
                  </a:lnTo>
                  <a:lnTo>
                    <a:pt x="5985011" y="3738981"/>
                  </a:lnTo>
                  <a:lnTo>
                    <a:pt x="6017056" y="3718966"/>
                  </a:lnTo>
                  <a:lnTo>
                    <a:pt x="6043494" y="3714501"/>
                  </a:lnTo>
                  <a:lnTo>
                    <a:pt x="6069940" y="3710036"/>
                  </a:lnTo>
                  <a:lnTo>
                    <a:pt x="6101682" y="3707470"/>
                  </a:lnTo>
                  <a:lnTo>
                    <a:pt x="6133271" y="3704977"/>
                  </a:lnTo>
                  <a:lnTo>
                    <a:pt x="6164861" y="3702484"/>
                  </a:lnTo>
                  <a:lnTo>
                    <a:pt x="6195705" y="3699371"/>
                  </a:lnTo>
                  <a:lnTo>
                    <a:pt x="6221682" y="3692738"/>
                  </a:lnTo>
                  <a:lnTo>
                    <a:pt x="6247659" y="3686102"/>
                  </a:lnTo>
                  <a:lnTo>
                    <a:pt x="6267847" y="3676988"/>
                  </a:lnTo>
                  <a:lnTo>
                    <a:pt x="6279262" y="3653273"/>
                  </a:lnTo>
                  <a:lnTo>
                    <a:pt x="6277303" y="3628734"/>
                  </a:lnTo>
                  <a:lnTo>
                    <a:pt x="6265209" y="3608402"/>
                  </a:lnTo>
                  <a:lnTo>
                    <a:pt x="6233540" y="3593082"/>
                  </a:lnTo>
                  <a:lnTo>
                    <a:pt x="6177451" y="3585814"/>
                  </a:lnTo>
                  <a:lnTo>
                    <a:pt x="6142596" y="3554969"/>
                  </a:lnTo>
                  <a:lnTo>
                    <a:pt x="6128338" y="3525563"/>
                  </a:lnTo>
                  <a:lnTo>
                    <a:pt x="6108784" y="3505033"/>
                  </a:lnTo>
                  <a:lnTo>
                    <a:pt x="6088419" y="3486040"/>
                  </a:lnTo>
                  <a:lnTo>
                    <a:pt x="6061142" y="3480493"/>
                  </a:lnTo>
                  <a:lnTo>
                    <a:pt x="6024448" y="3492786"/>
                  </a:lnTo>
                  <a:lnTo>
                    <a:pt x="6004703" y="3502349"/>
                  </a:lnTo>
                  <a:lnTo>
                    <a:pt x="5988658" y="3521243"/>
                  </a:lnTo>
                  <a:lnTo>
                    <a:pt x="5974123" y="3540395"/>
                  </a:lnTo>
                  <a:lnTo>
                    <a:pt x="5959588" y="3559540"/>
                  </a:lnTo>
                  <a:lnTo>
                    <a:pt x="5946378" y="3579035"/>
                  </a:lnTo>
                  <a:lnTo>
                    <a:pt x="5927879" y="3590721"/>
                  </a:lnTo>
                  <a:lnTo>
                    <a:pt x="5893869" y="3583915"/>
                  </a:lnTo>
                  <a:lnTo>
                    <a:pt x="5885764" y="3554428"/>
                  </a:lnTo>
                  <a:lnTo>
                    <a:pt x="5891093" y="3518190"/>
                  </a:lnTo>
                  <a:lnTo>
                    <a:pt x="5904751" y="3479182"/>
                  </a:lnTo>
                  <a:lnTo>
                    <a:pt x="5919490" y="3439144"/>
                  </a:lnTo>
                  <a:lnTo>
                    <a:pt x="5939018" y="3398249"/>
                  </a:lnTo>
                  <a:lnTo>
                    <a:pt x="5944195" y="3373083"/>
                  </a:lnTo>
                  <a:lnTo>
                    <a:pt x="5949662" y="3346564"/>
                  </a:lnTo>
                  <a:lnTo>
                    <a:pt x="5925624" y="3321148"/>
                  </a:lnTo>
                  <a:lnTo>
                    <a:pt x="5931955" y="3294195"/>
                  </a:lnTo>
                  <a:lnTo>
                    <a:pt x="5937521" y="3270539"/>
                  </a:lnTo>
                  <a:lnTo>
                    <a:pt x="5985070" y="3157324"/>
                  </a:lnTo>
                  <a:lnTo>
                    <a:pt x="5971406" y="3136410"/>
                  </a:lnTo>
                  <a:lnTo>
                    <a:pt x="5949999" y="3134993"/>
                  </a:lnTo>
                  <a:lnTo>
                    <a:pt x="5920849" y="3145466"/>
                  </a:lnTo>
                  <a:lnTo>
                    <a:pt x="5893869" y="3159539"/>
                  </a:lnTo>
                  <a:lnTo>
                    <a:pt x="5866890" y="3173599"/>
                  </a:lnTo>
                  <a:lnTo>
                    <a:pt x="5841783" y="3191326"/>
                  </a:lnTo>
                  <a:lnTo>
                    <a:pt x="5827222" y="3207141"/>
                  </a:lnTo>
                  <a:lnTo>
                    <a:pt x="5792961" y="3239615"/>
                  </a:lnTo>
                  <a:lnTo>
                    <a:pt x="5791859" y="3266990"/>
                  </a:lnTo>
                  <a:lnTo>
                    <a:pt x="5779487" y="3293007"/>
                  </a:lnTo>
                  <a:lnTo>
                    <a:pt x="5760573" y="3336361"/>
                  </a:lnTo>
                  <a:lnTo>
                    <a:pt x="5757724" y="3358343"/>
                  </a:lnTo>
                  <a:lnTo>
                    <a:pt x="5759057" y="3381840"/>
                  </a:lnTo>
                  <a:lnTo>
                    <a:pt x="5756497" y="3404368"/>
                  </a:lnTo>
                  <a:lnTo>
                    <a:pt x="5753938" y="3426903"/>
                  </a:lnTo>
                  <a:lnTo>
                    <a:pt x="5747733" y="3449089"/>
                  </a:lnTo>
                  <a:lnTo>
                    <a:pt x="5730652" y="3466941"/>
                  </a:lnTo>
                  <a:lnTo>
                    <a:pt x="5699366" y="3469658"/>
                  </a:lnTo>
                  <a:lnTo>
                    <a:pt x="5678051" y="3473852"/>
                  </a:lnTo>
                  <a:lnTo>
                    <a:pt x="5649970" y="3466823"/>
                  </a:lnTo>
                  <a:lnTo>
                    <a:pt x="5631359" y="3446529"/>
                  </a:lnTo>
                  <a:lnTo>
                    <a:pt x="5620874" y="3421100"/>
                  </a:lnTo>
                  <a:lnTo>
                    <a:pt x="5615610" y="3374982"/>
                  </a:lnTo>
                  <a:lnTo>
                    <a:pt x="5618921" y="3339362"/>
                  </a:lnTo>
                  <a:lnTo>
                    <a:pt x="5610955" y="3315950"/>
                  </a:lnTo>
                  <a:lnTo>
                    <a:pt x="5559436" y="3228371"/>
                  </a:lnTo>
                  <a:lnTo>
                    <a:pt x="5547024" y="3211217"/>
                  </a:lnTo>
                  <a:lnTo>
                    <a:pt x="5548382" y="3164967"/>
                  </a:lnTo>
                  <a:lnTo>
                    <a:pt x="5570145" y="3136404"/>
                  </a:lnTo>
                  <a:lnTo>
                    <a:pt x="5602790" y="3124165"/>
                  </a:lnTo>
                  <a:lnTo>
                    <a:pt x="5616857" y="3099236"/>
                  </a:lnTo>
                  <a:lnTo>
                    <a:pt x="5609589" y="3073839"/>
                  </a:lnTo>
                  <a:lnTo>
                    <a:pt x="5596795" y="3052834"/>
                  </a:lnTo>
                  <a:lnTo>
                    <a:pt x="5562119" y="3041154"/>
                  </a:lnTo>
                  <a:lnTo>
                    <a:pt x="5536821" y="3033564"/>
                  </a:lnTo>
                  <a:lnTo>
                    <a:pt x="5513021" y="3024872"/>
                  </a:lnTo>
                  <a:lnTo>
                    <a:pt x="5489213" y="3016179"/>
                  </a:lnTo>
                  <a:lnTo>
                    <a:pt x="5466190" y="3006135"/>
                  </a:lnTo>
                  <a:lnTo>
                    <a:pt x="5443649" y="2993585"/>
                  </a:lnTo>
                  <a:lnTo>
                    <a:pt x="5426172" y="2978713"/>
                  </a:lnTo>
                  <a:lnTo>
                    <a:pt x="5406717" y="2951332"/>
                  </a:lnTo>
                  <a:lnTo>
                    <a:pt x="5385159" y="2920138"/>
                  </a:lnTo>
                  <a:lnTo>
                    <a:pt x="5359992" y="2891576"/>
                  </a:lnTo>
                  <a:lnTo>
                    <a:pt x="5331436" y="2875247"/>
                  </a:lnTo>
                  <a:lnTo>
                    <a:pt x="5298106" y="2877970"/>
                  </a:lnTo>
                  <a:lnTo>
                    <a:pt x="5262144" y="2904073"/>
                  </a:lnTo>
                  <a:lnTo>
                    <a:pt x="5240736" y="2917090"/>
                  </a:lnTo>
                  <a:lnTo>
                    <a:pt x="5220576" y="2928296"/>
                  </a:lnTo>
                  <a:lnTo>
                    <a:pt x="5200409" y="2939506"/>
                  </a:lnTo>
                  <a:lnTo>
                    <a:pt x="5163444" y="2952775"/>
                  </a:lnTo>
                  <a:lnTo>
                    <a:pt x="5126420" y="2955302"/>
                  </a:lnTo>
                  <a:lnTo>
                    <a:pt x="5088942" y="2939374"/>
                  </a:lnTo>
                  <a:lnTo>
                    <a:pt x="5070067" y="2924220"/>
                  </a:lnTo>
                  <a:lnTo>
                    <a:pt x="5049188" y="2899733"/>
                  </a:lnTo>
                  <a:lnTo>
                    <a:pt x="5035589" y="2882052"/>
                  </a:lnTo>
                  <a:lnTo>
                    <a:pt x="5023349" y="2860289"/>
                  </a:lnTo>
                  <a:lnTo>
                    <a:pt x="5013825" y="2837160"/>
                  </a:lnTo>
                  <a:lnTo>
                    <a:pt x="5011109" y="2814039"/>
                  </a:lnTo>
                  <a:lnTo>
                    <a:pt x="5009750" y="2770512"/>
                  </a:lnTo>
                  <a:lnTo>
                    <a:pt x="5008392" y="2726986"/>
                  </a:lnTo>
                  <a:lnTo>
                    <a:pt x="4999073" y="2701998"/>
                  </a:lnTo>
                  <a:lnTo>
                    <a:pt x="4968736" y="2675803"/>
                  </a:lnTo>
                  <a:lnTo>
                    <a:pt x="4948048" y="2662382"/>
                  </a:lnTo>
                  <a:lnTo>
                    <a:pt x="4926780" y="2650815"/>
                  </a:lnTo>
                  <a:lnTo>
                    <a:pt x="4884236" y="2627686"/>
                  </a:lnTo>
                  <a:lnTo>
                    <a:pt x="4837484" y="2610777"/>
                  </a:lnTo>
                  <a:lnTo>
                    <a:pt x="4812523" y="2599130"/>
                  </a:lnTo>
                  <a:lnTo>
                    <a:pt x="4787271" y="2577282"/>
                  </a:lnTo>
                  <a:lnTo>
                    <a:pt x="4768357" y="2543437"/>
                  </a:lnTo>
                  <a:lnTo>
                    <a:pt x="4758115" y="2514796"/>
                  </a:lnTo>
                  <a:lnTo>
                    <a:pt x="4757917" y="2483074"/>
                  </a:lnTo>
                  <a:lnTo>
                    <a:pt x="4763555" y="2456305"/>
                  </a:lnTo>
                  <a:lnTo>
                    <a:pt x="4801371" y="2430737"/>
                  </a:lnTo>
                  <a:lnTo>
                    <a:pt x="4826102" y="2430954"/>
                  </a:lnTo>
                  <a:lnTo>
                    <a:pt x="4850608" y="2437266"/>
                  </a:lnTo>
                  <a:lnTo>
                    <a:pt x="4875108" y="2443577"/>
                  </a:lnTo>
                  <a:lnTo>
                    <a:pt x="4899022" y="2457077"/>
                  </a:lnTo>
                  <a:lnTo>
                    <a:pt x="4922698" y="2469910"/>
                  </a:lnTo>
                  <a:lnTo>
                    <a:pt x="4946373" y="2482737"/>
                  </a:lnTo>
                  <a:lnTo>
                    <a:pt x="4970345" y="2494964"/>
                  </a:lnTo>
                  <a:lnTo>
                    <a:pt x="4994786" y="2502555"/>
                  </a:lnTo>
                  <a:lnTo>
                    <a:pt x="5019234" y="2510159"/>
                  </a:lnTo>
                  <a:lnTo>
                    <a:pt x="5044142" y="2513331"/>
                  </a:lnTo>
                  <a:lnTo>
                    <a:pt x="5070958" y="2503914"/>
                  </a:lnTo>
                  <a:lnTo>
                    <a:pt x="5087280" y="2485646"/>
                  </a:lnTo>
                  <a:lnTo>
                    <a:pt x="5102277" y="2464503"/>
                  </a:lnTo>
                  <a:lnTo>
                    <a:pt x="5110408" y="2442705"/>
                  </a:lnTo>
                  <a:lnTo>
                    <a:pt x="5109050" y="2419578"/>
                  </a:lnTo>
                  <a:lnTo>
                    <a:pt x="5096005" y="2396832"/>
                  </a:lnTo>
                  <a:lnTo>
                    <a:pt x="5084563" y="2376058"/>
                  </a:lnTo>
                  <a:lnTo>
                    <a:pt x="5078581" y="2352759"/>
                  </a:lnTo>
                  <a:lnTo>
                    <a:pt x="5076932" y="2328621"/>
                  </a:lnTo>
                  <a:lnTo>
                    <a:pt x="5077763" y="2303962"/>
                  </a:lnTo>
                  <a:lnTo>
                    <a:pt x="5078423" y="2279343"/>
                  </a:lnTo>
                  <a:lnTo>
                    <a:pt x="5077104" y="2255134"/>
                  </a:lnTo>
                  <a:lnTo>
                    <a:pt x="5072323" y="2231873"/>
                  </a:lnTo>
                  <a:lnTo>
                    <a:pt x="5063756" y="2211944"/>
                  </a:lnTo>
                  <a:lnTo>
                    <a:pt x="5052076" y="2189936"/>
                  </a:lnTo>
                  <a:lnTo>
                    <a:pt x="5033597" y="2174517"/>
                  </a:lnTo>
                  <a:lnTo>
                    <a:pt x="5009757" y="2163860"/>
                  </a:lnTo>
                  <a:lnTo>
                    <a:pt x="4986885" y="2158684"/>
                  </a:lnTo>
                  <a:lnTo>
                    <a:pt x="4964621" y="2158155"/>
                  </a:lnTo>
                  <a:lnTo>
                    <a:pt x="4943109" y="2158419"/>
                  </a:lnTo>
                  <a:lnTo>
                    <a:pt x="4919051" y="2155610"/>
                  </a:lnTo>
                  <a:lnTo>
                    <a:pt x="4894306" y="2143786"/>
                  </a:lnTo>
                  <a:lnTo>
                    <a:pt x="4872985" y="2130332"/>
                  </a:lnTo>
                  <a:lnTo>
                    <a:pt x="4849777" y="2116516"/>
                  </a:lnTo>
                  <a:lnTo>
                    <a:pt x="4828753" y="2109149"/>
                  </a:lnTo>
                  <a:lnTo>
                    <a:pt x="4798021" y="2119232"/>
                  </a:lnTo>
                  <a:lnTo>
                    <a:pt x="4772630" y="2137778"/>
                  </a:lnTo>
                  <a:lnTo>
                    <a:pt x="4747240" y="2159791"/>
                  </a:lnTo>
                  <a:lnTo>
                    <a:pt x="4725128" y="2180743"/>
                  </a:lnTo>
                  <a:lnTo>
                    <a:pt x="4706780" y="2195958"/>
                  </a:lnTo>
                  <a:lnTo>
                    <a:pt x="4685551" y="2197646"/>
                  </a:lnTo>
                  <a:lnTo>
                    <a:pt x="4669565" y="2182385"/>
                  </a:lnTo>
                  <a:lnTo>
                    <a:pt x="4657463" y="2163867"/>
                  </a:lnTo>
                  <a:lnTo>
                    <a:pt x="4641906" y="2136056"/>
                  </a:lnTo>
                  <a:lnTo>
                    <a:pt x="4635469" y="2113608"/>
                  </a:lnTo>
                  <a:lnTo>
                    <a:pt x="4630497" y="2072666"/>
                  </a:lnTo>
                  <a:lnTo>
                    <a:pt x="4635700" y="2037371"/>
                  </a:lnTo>
                  <a:lnTo>
                    <a:pt x="4641589" y="2003459"/>
                  </a:lnTo>
                  <a:lnTo>
                    <a:pt x="4643410" y="1967907"/>
                  </a:lnTo>
                  <a:lnTo>
                    <a:pt x="4632977" y="1927196"/>
                  </a:lnTo>
                  <a:lnTo>
                    <a:pt x="4624594" y="1905769"/>
                  </a:lnTo>
                  <a:lnTo>
                    <a:pt x="4613244" y="1881177"/>
                  </a:lnTo>
                  <a:lnTo>
                    <a:pt x="4607138" y="1859183"/>
                  </a:lnTo>
                  <a:lnTo>
                    <a:pt x="4606808" y="1824704"/>
                  </a:lnTo>
                  <a:lnTo>
                    <a:pt x="4629198" y="1798456"/>
                  </a:lnTo>
                  <a:lnTo>
                    <a:pt x="4662904" y="1772129"/>
                  </a:lnTo>
                  <a:lnTo>
                    <a:pt x="4679787" y="1757364"/>
                  </a:lnTo>
                  <a:lnTo>
                    <a:pt x="4696294" y="1738747"/>
                  </a:lnTo>
                  <a:lnTo>
                    <a:pt x="4707789" y="1713640"/>
                  </a:lnTo>
                  <a:lnTo>
                    <a:pt x="4719284" y="1688539"/>
                  </a:lnTo>
                  <a:lnTo>
                    <a:pt x="4725028" y="1657115"/>
                  </a:lnTo>
                  <a:lnTo>
                    <a:pt x="4720029" y="1612989"/>
                  </a:lnTo>
                  <a:lnTo>
                    <a:pt x="4714589" y="1578985"/>
                  </a:lnTo>
                  <a:lnTo>
                    <a:pt x="4708125" y="1545055"/>
                  </a:lnTo>
                  <a:lnTo>
                    <a:pt x="4699288" y="1509541"/>
                  </a:lnTo>
                  <a:lnTo>
                    <a:pt x="4688750" y="1478327"/>
                  </a:lnTo>
                  <a:lnTo>
                    <a:pt x="4677868" y="1454136"/>
                  </a:lnTo>
                  <a:lnTo>
                    <a:pt x="4655485" y="1439530"/>
                  </a:lnTo>
                  <a:lnTo>
                    <a:pt x="4624436" y="1434998"/>
                  </a:lnTo>
                  <a:lnTo>
                    <a:pt x="4603438" y="1431893"/>
                  </a:lnTo>
                  <a:lnTo>
                    <a:pt x="4577243" y="1420667"/>
                  </a:lnTo>
                  <a:lnTo>
                    <a:pt x="4564310" y="1390133"/>
                  </a:lnTo>
                  <a:lnTo>
                    <a:pt x="4559529" y="1358637"/>
                  </a:lnTo>
                  <a:lnTo>
                    <a:pt x="4554596" y="1324132"/>
                  </a:lnTo>
                  <a:lnTo>
                    <a:pt x="4550864" y="1287049"/>
                  </a:lnTo>
                  <a:lnTo>
                    <a:pt x="4547289" y="1249820"/>
                  </a:lnTo>
                  <a:lnTo>
                    <a:pt x="4543279" y="1215394"/>
                  </a:lnTo>
                  <a:lnTo>
                    <a:pt x="4537766" y="1186674"/>
                  </a:lnTo>
                  <a:lnTo>
                    <a:pt x="4524161" y="1155969"/>
                  </a:lnTo>
                  <a:lnTo>
                    <a:pt x="4511518" y="1127011"/>
                  </a:lnTo>
                  <a:lnTo>
                    <a:pt x="4508247" y="1081847"/>
                  </a:lnTo>
                  <a:lnTo>
                    <a:pt x="4519063" y="1057624"/>
                  </a:lnTo>
                  <a:lnTo>
                    <a:pt x="4530967" y="1037628"/>
                  </a:lnTo>
                  <a:lnTo>
                    <a:pt x="4542863" y="1017633"/>
                  </a:lnTo>
                  <a:lnTo>
                    <a:pt x="4555447" y="981863"/>
                  </a:lnTo>
                  <a:lnTo>
                    <a:pt x="4555974" y="959843"/>
                  </a:lnTo>
                  <a:lnTo>
                    <a:pt x="4529602" y="936971"/>
                  </a:lnTo>
                  <a:lnTo>
                    <a:pt x="4508307" y="903885"/>
                  </a:lnTo>
                  <a:lnTo>
                    <a:pt x="4495684" y="856974"/>
                  </a:lnTo>
                  <a:lnTo>
                    <a:pt x="4483358" y="819997"/>
                  </a:lnTo>
                  <a:lnTo>
                    <a:pt x="4472562" y="787589"/>
                  </a:lnTo>
                  <a:lnTo>
                    <a:pt x="4461213" y="746846"/>
                  </a:lnTo>
                  <a:lnTo>
                    <a:pt x="4446631" y="716622"/>
                  </a:lnTo>
                  <a:lnTo>
                    <a:pt x="4421445" y="664443"/>
                  </a:lnTo>
                  <a:lnTo>
                    <a:pt x="4389697" y="614744"/>
                  </a:lnTo>
                  <a:lnTo>
                    <a:pt x="4363660" y="562921"/>
                  </a:lnTo>
                  <a:lnTo>
                    <a:pt x="4344278" y="524342"/>
                  </a:lnTo>
                  <a:lnTo>
                    <a:pt x="4331590" y="495218"/>
                  </a:lnTo>
                  <a:lnTo>
                    <a:pt x="4317411" y="467704"/>
                  </a:lnTo>
                  <a:lnTo>
                    <a:pt x="4303232" y="440197"/>
                  </a:lnTo>
                  <a:lnTo>
                    <a:pt x="4286968" y="414530"/>
                  </a:lnTo>
                  <a:lnTo>
                    <a:pt x="4258927" y="380652"/>
                  </a:lnTo>
                  <a:lnTo>
                    <a:pt x="4232402" y="348613"/>
                  </a:lnTo>
                  <a:lnTo>
                    <a:pt x="4208647" y="317373"/>
                  </a:lnTo>
                  <a:lnTo>
                    <a:pt x="4185473" y="285440"/>
                  </a:lnTo>
                  <a:lnTo>
                    <a:pt x="4162305" y="253501"/>
                  </a:lnTo>
                  <a:lnTo>
                    <a:pt x="4139803" y="220619"/>
                  </a:lnTo>
                  <a:lnTo>
                    <a:pt x="4118825" y="184783"/>
                  </a:lnTo>
                  <a:lnTo>
                    <a:pt x="4090869" y="183735"/>
                  </a:lnTo>
                  <a:lnTo>
                    <a:pt x="4065776" y="186149"/>
                  </a:lnTo>
                  <a:lnTo>
                    <a:pt x="4040418" y="180464"/>
                  </a:lnTo>
                  <a:lnTo>
                    <a:pt x="4014969" y="167345"/>
                  </a:lnTo>
                  <a:lnTo>
                    <a:pt x="3989604" y="152145"/>
                  </a:lnTo>
                  <a:lnTo>
                    <a:pt x="3965058" y="137696"/>
                  </a:lnTo>
                  <a:lnTo>
                    <a:pt x="3924314" y="156226"/>
                  </a:lnTo>
                  <a:lnTo>
                    <a:pt x="3877741" y="132017"/>
                  </a:lnTo>
                  <a:lnTo>
                    <a:pt x="3846785" y="104537"/>
                  </a:lnTo>
                  <a:lnTo>
                    <a:pt x="3815829" y="77055"/>
                  </a:lnTo>
                  <a:lnTo>
                    <a:pt x="3784721" y="47661"/>
                  </a:lnTo>
                  <a:lnTo>
                    <a:pt x="3741709" y="20484"/>
                  </a:lnTo>
                  <a:lnTo>
                    <a:pt x="3708134" y="12663"/>
                  </a:lnTo>
                  <a:lnTo>
                    <a:pt x="3676762" y="6601"/>
                  </a:lnTo>
                  <a:lnTo>
                    <a:pt x="3624972" y="0"/>
                  </a:lnTo>
                  <a:lnTo>
                    <a:pt x="3571052" y="15519"/>
                  </a:lnTo>
                  <a:lnTo>
                    <a:pt x="3516328" y="35883"/>
                  </a:lnTo>
                  <a:lnTo>
                    <a:pt x="3460488" y="51493"/>
                  </a:lnTo>
                  <a:lnTo>
                    <a:pt x="3404649" y="67109"/>
                  </a:lnTo>
                  <a:lnTo>
                    <a:pt x="3347689" y="77490"/>
                  </a:lnTo>
                  <a:lnTo>
                    <a:pt x="3306788" y="70532"/>
                  </a:lnTo>
                  <a:lnTo>
                    <a:pt x="3263208" y="57659"/>
                  </a:lnTo>
                  <a:lnTo>
                    <a:pt x="3234699" y="50135"/>
                  </a:lnTo>
                  <a:lnTo>
                    <a:pt x="3206182" y="42604"/>
                  </a:lnTo>
                  <a:lnTo>
                    <a:pt x="3177416" y="38040"/>
                  </a:lnTo>
                  <a:lnTo>
                    <a:pt x="3143867" y="59268"/>
                  </a:lnTo>
                  <a:lnTo>
                    <a:pt x="3121801" y="92303"/>
                  </a:lnTo>
                  <a:lnTo>
                    <a:pt x="3103823" y="128904"/>
                  </a:lnTo>
                  <a:lnTo>
                    <a:pt x="3092414" y="156695"/>
                  </a:lnTo>
                  <a:lnTo>
                    <a:pt x="3079224" y="182705"/>
                  </a:lnTo>
                  <a:lnTo>
                    <a:pt x="3064715" y="222243"/>
                  </a:lnTo>
                  <a:lnTo>
                    <a:pt x="3087224" y="245917"/>
                  </a:lnTo>
                  <a:lnTo>
                    <a:pt x="3105478" y="280006"/>
                  </a:lnTo>
                  <a:lnTo>
                    <a:pt x="3117719" y="307211"/>
                  </a:lnTo>
                  <a:lnTo>
                    <a:pt x="3124168" y="328354"/>
                  </a:lnTo>
                  <a:lnTo>
                    <a:pt x="3127591" y="351357"/>
                  </a:lnTo>
                  <a:lnTo>
                    <a:pt x="3127241" y="376582"/>
                  </a:lnTo>
                  <a:lnTo>
                    <a:pt x="3122849" y="404729"/>
                  </a:lnTo>
                  <a:lnTo>
                    <a:pt x="3110998" y="440282"/>
                  </a:lnTo>
                  <a:lnTo>
                    <a:pt x="3095118" y="459473"/>
                  </a:lnTo>
                  <a:lnTo>
                    <a:pt x="3075551" y="478599"/>
                  </a:lnTo>
                  <a:lnTo>
                    <a:pt x="3055984" y="497723"/>
                  </a:lnTo>
                  <a:lnTo>
                    <a:pt x="3032961" y="516302"/>
                  </a:lnTo>
                  <a:lnTo>
                    <a:pt x="3011620" y="535724"/>
                  </a:lnTo>
                  <a:lnTo>
                    <a:pt x="2990285" y="555152"/>
                  </a:lnTo>
                  <a:lnTo>
                    <a:pt x="2970599" y="575880"/>
                  </a:lnTo>
                  <a:lnTo>
                    <a:pt x="2958576" y="596938"/>
                  </a:lnTo>
                  <a:lnTo>
                    <a:pt x="2946548" y="617995"/>
                  </a:lnTo>
                  <a:lnTo>
                    <a:pt x="2942050" y="639554"/>
                  </a:lnTo>
                  <a:lnTo>
                    <a:pt x="2950413" y="663586"/>
                  </a:lnTo>
                  <a:lnTo>
                    <a:pt x="2964334" y="689589"/>
                  </a:lnTo>
                  <a:lnTo>
                    <a:pt x="2990905" y="711030"/>
                  </a:lnTo>
                  <a:lnTo>
                    <a:pt x="3025225" y="730235"/>
                  </a:lnTo>
                  <a:lnTo>
                    <a:pt x="3060573" y="748905"/>
                  </a:lnTo>
                  <a:lnTo>
                    <a:pt x="3093251" y="768696"/>
                  </a:lnTo>
                  <a:lnTo>
                    <a:pt x="3117719" y="790082"/>
                  </a:lnTo>
                  <a:lnTo>
                    <a:pt x="3118114" y="817333"/>
                  </a:lnTo>
                  <a:lnTo>
                    <a:pt x="3105478" y="854013"/>
                  </a:lnTo>
                  <a:lnTo>
                    <a:pt x="3083135" y="881593"/>
                  </a:lnTo>
                  <a:lnTo>
                    <a:pt x="3054368" y="902606"/>
                  </a:lnTo>
                  <a:lnTo>
                    <a:pt x="3022507" y="923386"/>
                  </a:lnTo>
                  <a:lnTo>
                    <a:pt x="2989771" y="945347"/>
                  </a:lnTo>
                  <a:lnTo>
                    <a:pt x="2974900" y="961472"/>
                  </a:lnTo>
                  <a:lnTo>
                    <a:pt x="2961294" y="985951"/>
                  </a:lnTo>
                  <a:lnTo>
                    <a:pt x="2953136" y="1014514"/>
                  </a:lnTo>
                  <a:lnTo>
                    <a:pt x="2943613" y="1041718"/>
                  </a:lnTo>
                  <a:lnTo>
                    <a:pt x="2924573" y="1062123"/>
                  </a:lnTo>
                  <a:lnTo>
                    <a:pt x="2893267" y="1073538"/>
                  </a:lnTo>
                  <a:lnTo>
                    <a:pt x="2852498" y="1077917"/>
                  </a:lnTo>
                  <a:lnTo>
                    <a:pt x="2829640" y="1078643"/>
                  </a:lnTo>
                  <a:lnTo>
                    <a:pt x="2804876" y="1079804"/>
                  </a:lnTo>
                  <a:lnTo>
                    <a:pt x="2780105" y="1080964"/>
                  </a:lnTo>
                  <a:lnTo>
                    <a:pt x="2752895" y="1082368"/>
                  </a:lnTo>
                  <a:lnTo>
                    <a:pt x="2725981" y="1086602"/>
                  </a:lnTo>
                  <a:lnTo>
                    <a:pt x="2699067" y="1090844"/>
                  </a:lnTo>
                  <a:lnTo>
                    <a:pt x="2672569" y="1096950"/>
                  </a:lnTo>
                  <a:lnTo>
                    <a:pt x="2645728" y="1108367"/>
                  </a:lnTo>
                  <a:lnTo>
                    <a:pt x="2618662" y="1127986"/>
                  </a:lnTo>
                  <a:lnTo>
                    <a:pt x="2607510" y="1156753"/>
                  </a:lnTo>
                  <a:lnTo>
                    <a:pt x="2609007" y="1189977"/>
                  </a:lnTo>
                  <a:lnTo>
                    <a:pt x="2618550" y="1223005"/>
                  </a:lnTo>
                  <a:lnTo>
                    <a:pt x="2634833" y="1249437"/>
                  </a:lnTo>
                  <a:lnTo>
                    <a:pt x="2656616" y="1263432"/>
                  </a:lnTo>
                  <a:lnTo>
                    <a:pt x="2684486" y="1266506"/>
                  </a:lnTo>
                  <a:lnTo>
                    <a:pt x="2713075" y="1252194"/>
                  </a:lnTo>
                  <a:lnTo>
                    <a:pt x="2740945" y="1226705"/>
                  </a:lnTo>
                  <a:lnTo>
                    <a:pt x="2767707" y="1199533"/>
                  </a:lnTo>
                  <a:lnTo>
                    <a:pt x="2793084" y="1174994"/>
                  </a:lnTo>
                  <a:lnTo>
                    <a:pt x="2817116" y="1160057"/>
                  </a:lnTo>
                  <a:lnTo>
                    <a:pt x="2840819" y="1153575"/>
                  </a:lnTo>
                  <a:lnTo>
                    <a:pt x="2859303" y="1167166"/>
                  </a:lnTo>
                  <a:lnTo>
                    <a:pt x="2878330" y="1179104"/>
                  </a:lnTo>
                  <a:lnTo>
                    <a:pt x="2902791" y="1194450"/>
                  </a:lnTo>
                  <a:lnTo>
                    <a:pt x="2917774" y="1222630"/>
                  </a:lnTo>
                  <a:lnTo>
                    <a:pt x="2916053" y="1248699"/>
                  </a:lnTo>
                  <a:lnTo>
                    <a:pt x="2900449" y="1275448"/>
                  </a:lnTo>
                  <a:lnTo>
                    <a:pt x="2881047" y="1302882"/>
                  </a:lnTo>
                  <a:lnTo>
                    <a:pt x="2865509" y="1331043"/>
                  </a:lnTo>
                  <a:lnTo>
                    <a:pt x="2868194" y="1402684"/>
                  </a:lnTo>
                  <a:lnTo>
                    <a:pt x="2876457" y="1459624"/>
                  </a:lnTo>
                  <a:lnTo>
                    <a:pt x="2878330" y="1516432"/>
                  </a:lnTo>
                  <a:lnTo>
                    <a:pt x="2900383" y="1548028"/>
                  </a:lnTo>
                  <a:lnTo>
                    <a:pt x="2935455" y="1558594"/>
                  </a:lnTo>
                  <a:lnTo>
                    <a:pt x="2972110" y="1560335"/>
                  </a:lnTo>
                  <a:lnTo>
                    <a:pt x="3010340" y="1554135"/>
                  </a:lnTo>
                  <a:lnTo>
                    <a:pt x="3048353" y="1543636"/>
                  </a:lnTo>
                  <a:lnTo>
                    <a:pt x="3084671" y="1535386"/>
                  </a:lnTo>
                  <a:lnTo>
                    <a:pt x="3110022" y="1554465"/>
                  </a:lnTo>
                  <a:lnTo>
                    <a:pt x="3128606" y="1584446"/>
                  </a:lnTo>
                  <a:lnTo>
                    <a:pt x="3146043" y="1609507"/>
                  </a:lnTo>
                  <a:lnTo>
                    <a:pt x="3171263" y="1636321"/>
                  </a:lnTo>
                  <a:lnTo>
                    <a:pt x="3193896" y="1659251"/>
                  </a:lnTo>
                  <a:lnTo>
                    <a:pt x="3200214" y="1686297"/>
                  </a:lnTo>
                  <a:lnTo>
                    <a:pt x="3188455" y="1710942"/>
                  </a:lnTo>
                  <a:lnTo>
                    <a:pt x="3176696" y="1735581"/>
                  </a:lnTo>
                  <a:lnTo>
                    <a:pt x="3153542" y="1769610"/>
                  </a:lnTo>
                  <a:lnTo>
                    <a:pt x="3113643" y="1823833"/>
                  </a:lnTo>
                  <a:lnTo>
                    <a:pt x="3096727" y="1839676"/>
                  </a:lnTo>
                  <a:lnTo>
                    <a:pt x="3070710" y="1851532"/>
                  </a:lnTo>
                  <a:lnTo>
                    <a:pt x="3046994" y="1853762"/>
                  </a:lnTo>
                  <a:lnTo>
                    <a:pt x="3024810" y="1839721"/>
                  </a:lnTo>
                  <a:lnTo>
                    <a:pt x="3003884" y="1818835"/>
                  </a:lnTo>
                  <a:lnTo>
                    <a:pt x="2980340" y="1802078"/>
                  </a:lnTo>
                  <a:lnTo>
                    <a:pt x="2953288" y="1791010"/>
                  </a:lnTo>
                  <a:lnTo>
                    <a:pt x="2908983" y="1797408"/>
                  </a:lnTo>
                  <a:lnTo>
                    <a:pt x="2864725" y="1808876"/>
                  </a:lnTo>
                  <a:lnTo>
                    <a:pt x="2820473" y="1820345"/>
                  </a:lnTo>
                  <a:lnTo>
                    <a:pt x="2776122" y="1837756"/>
                  </a:lnTo>
                  <a:lnTo>
                    <a:pt x="2750468" y="1849680"/>
                  </a:lnTo>
                  <a:lnTo>
                    <a:pt x="2729094" y="1860898"/>
                  </a:lnTo>
                  <a:lnTo>
                    <a:pt x="2710364" y="1873751"/>
                  </a:lnTo>
                  <a:lnTo>
                    <a:pt x="2690619" y="1885048"/>
                  </a:lnTo>
                  <a:lnTo>
                    <a:pt x="2657394" y="1904886"/>
                  </a:lnTo>
                  <a:lnTo>
                    <a:pt x="2623193" y="1925060"/>
                  </a:lnTo>
                  <a:lnTo>
                    <a:pt x="2604852" y="1935921"/>
                  </a:lnTo>
                  <a:lnTo>
                    <a:pt x="2569636" y="1953872"/>
                  </a:lnTo>
                  <a:lnTo>
                    <a:pt x="2534195" y="1968018"/>
                  </a:lnTo>
                  <a:lnTo>
                    <a:pt x="2494771" y="1977501"/>
                  </a:lnTo>
                  <a:lnTo>
                    <a:pt x="2463887" y="1979619"/>
                  </a:lnTo>
                  <a:lnTo>
                    <a:pt x="2432026" y="1976091"/>
                  </a:lnTo>
                  <a:lnTo>
                    <a:pt x="2409057" y="1972100"/>
                  </a:lnTo>
                  <a:lnTo>
                    <a:pt x="2387122" y="1969074"/>
                  </a:lnTo>
                  <a:lnTo>
                    <a:pt x="2365708" y="1969706"/>
                  </a:lnTo>
                  <a:lnTo>
                    <a:pt x="2345132" y="1976176"/>
                  </a:lnTo>
                  <a:lnTo>
                    <a:pt x="2314664" y="1990632"/>
                  </a:lnTo>
                  <a:lnTo>
                    <a:pt x="2296165" y="2000663"/>
                  </a:lnTo>
                  <a:lnTo>
                    <a:pt x="2277660" y="2010695"/>
                  </a:lnTo>
                  <a:lnTo>
                    <a:pt x="2258304" y="2022486"/>
                  </a:lnTo>
                  <a:lnTo>
                    <a:pt x="2237675" y="2031949"/>
                  </a:lnTo>
                  <a:lnTo>
                    <a:pt x="2217040" y="2041406"/>
                  </a:lnTo>
                  <a:lnTo>
                    <a:pt x="2195270" y="2049525"/>
                  </a:lnTo>
                  <a:lnTo>
                    <a:pt x="2154942" y="2057893"/>
                  </a:lnTo>
                  <a:lnTo>
                    <a:pt x="2119335" y="2052348"/>
                  </a:lnTo>
                  <a:lnTo>
                    <a:pt x="2081270" y="2039460"/>
                  </a:lnTo>
                  <a:lnTo>
                    <a:pt x="2045592" y="2024919"/>
                  </a:lnTo>
                  <a:lnTo>
                    <a:pt x="2013243" y="2014268"/>
                  </a:lnTo>
                  <a:lnTo>
                    <a:pt x="1980896" y="2003618"/>
                  </a:lnTo>
                  <a:lnTo>
                    <a:pt x="1951687" y="1996034"/>
                  </a:lnTo>
                  <a:lnTo>
                    <a:pt x="1923468" y="1995223"/>
                  </a:lnTo>
                  <a:lnTo>
                    <a:pt x="1895248" y="1994410"/>
                  </a:lnTo>
                  <a:lnTo>
                    <a:pt x="1868901" y="2000346"/>
                  </a:lnTo>
                  <a:lnTo>
                    <a:pt x="1843214" y="2016986"/>
                  </a:lnTo>
                  <a:lnTo>
                    <a:pt x="1817533" y="2033625"/>
                  </a:lnTo>
                  <a:lnTo>
                    <a:pt x="1791786" y="2060994"/>
                  </a:lnTo>
                  <a:lnTo>
                    <a:pt x="1767043" y="2102680"/>
                  </a:lnTo>
                  <a:lnTo>
                    <a:pt x="1756346" y="2120703"/>
                  </a:lnTo>
                  <a:lnTo>
                    <a:pt x="1749362" y="2140766"/>
                  </a:lnTo>
                  <a:lnTo>
                    <a:pt x="1736884" y="2157997"/>
                  </a:lnTo>
                  <a:lnTo>
                    <a:pt x="1715359" y="2169328"/>
                  </a:lnTo>
                  <a:lnTo>
                    <a:pt x="1672960" y="2166980"/>
                  </a:lnTo>
                  <a:lnTo>
                    <a:pt x="1615644" y="2134183"/>
                  </a:lnTo>
                  <a:lnTo>
                    <a:pt x="1560293" y="2110837"/>
                  </a:lnTo>
                  <a:lnTo>
                    <a:pt x="1532620" y="2099165"/>
                  </a:lnTo>
                  <a:lnTo>
                    <a:pt x="1505350" y="2090143"/>
                  </a:lnTo>
                  <a:lnTo>
                    <a:pt x="1481404" y="2087716"/>
                  </a:lnTo>
                  <a:lnTo>
                    <a:pt x="1457458" y="2085289"/>
                  </a:lnTo>
                  <a:lnTo>
                    <a:pt x="1435768" y="2090268"/>
                  </a:lnTo>
                  <a:lnTo>
                    <a:pt x="1420195" y="2106755"/>
                  </a:lnTo>
                  <a:lnTo>
                    <a:pt x="1401705" y="2126336"/>
                  </a:lnTo>
                  <a:lnTo>
                    <a:pt x="1386020" y="2154193"/>
                  </a:lnTo>
                  <a:lnTo>
                    <a:pt x="1369868" y="2176126"/>
                  </a:lnTo>
                  <a:lnTo>
                    <a:pt x="1323556" y="2194823"/>
                  </a:lnTo>
                  <a:lnTo>
                    <a:pt x="1269403" y="2197699"/>
                  </a:lnTo>
                  <a:lnTo>
                    <a:pt x="1220597" y="2203238"/>
                  </a:lnTo>
                  <a:lnTo>
                    <a:pt x="1171277" y="2206055"/>
                  </a:lnTo>
                  <a:lnTo>
                    <a:pt x="1121961" y="2208864"/>
                  </a:lnTo>
                  <a:lnTo>
                    <a:pt x="1071708" y="2208428"/>
                  </a:lnTo>
                  <a:lnTo>
                    <a:pt x="1024377" y="2201979"/>
                  </a:lnTo>
                  <a:lnTo>
                    <a:pt x="936687" y="2190023"/>
                  </a:lnTo>
                  <a:lnTo>
                    <a:pt x="868058" y="2166122"/>
                  </a:lnTo>
                  <a:lnTo>
                    <a:pt x="801304" y="2159811"/>
                  </a:lnTo>
                  <a:lnTo>
                    <a:pt x="767927" y="2156652"/>
                  </a:lnTo>
                  <a:lnTo>
                    <a:pt x="734908" y="2157971"/>
                  </a:lnTo>
                  <a:lnTo>
                    <a:pt x="700650" y="2167969"/>
                  </a:lnTo>
                  <a:lnTo>
                    <a:pt x="666392" y="2177974"/>
                  </a:lnTo>
                  <a:lnTo>
                    <a:pt x="631051" y="2196835"/>
                  </a:lnTo>
                  <a:lnTo>
                    <a:pt x="591834" y="2227818"/>
                  </a:lnTo>
                  <a:lnTo>
                    <a:pt x="551156" y="2267929"/>
                  </a:lnTo>
                  <a:lnTo>
                    <a:pt x="515004" y="2300151"/>
                  </a:lnTo>
                  <a:lnTo>
                    <a:pt x="502901" y="2340155"/>
                  </a:lnTo>
                  <a:lnTo>
                    <a:pt x="495260" y="2381525"/>
                  </a:lnTo>
                  <a:lnTo>
                    <a:pt x="487619" y="2422896"/>
                  </a:lnTo>
                  <a:lnTo>
                    <a:pt x="484146" y="2465808"/>
                  </a:lnTo>
                  <a:lnTo>
                    <a:pt x="478938" y="2494423"/>
                  </a:lnTo>
                  <a:lnTo>
                    <a:pt x="474433" y="2519161"/>
                  </a:lnTo>
                  <a:lnTo>
                    <a:pt x="463295" y="2544518"/>
                  </a:lnTo>
                  <a:lnTo>
                    <a:pt x="455814" y="2567871"/>
                  </a:lnTo>
                  <a:lnTo>
                    <a:pt x="447865" y="2592721"/>
                  </a:lnTo>
                  <a:lnTo>
                    <a:pt x="446399" y="2622153"/>
                  </a:lnTo>
                  <a:lnTo>
                    <a:pt x="431330" y="2644042"/>
                  </a:lnTo>
                  <a:lnTo>
                    <a:pt x="407017" y="2679325"/>
                  </a:lnTo>
                  <a:lnTo>
                    <a:pt x="245691" y="2821577"/>
                  </a:lnTo>
                  <a:lnTo>
                    <a:pt x="205537" y="2852158"/>
                  </a:lnTo>
                  <a:lnTo>
                    <a:pt x="182359" y="2865374"/>
                  </a:lnTo>
                  <a:lnTo>
                    <a:pt x="160059" y="2878471"/>
                  </a:lnTo>
                  <a:lnTo>
                    <a:pt x="143166" y="2894207"/>
                  </a:lnTo>
                  <a:lnTo>
                    <a:pt x="137305" y="2930927"/>
                  </a:lnTo>
                  <a:lnTo>
                    <a:pt x="135267" y="2955375"/>
                  </a:lnTo>
                  <a:lnTo>
                    <a:pt x="133447" y="2980012"/>
                  </a:lnTo>
                  <a:lnTo>
                    <a:pt x="131620" y="3004651"/>
                  </a:lnTo>
                  <a:lnTo>
                    <a:pt x="130631" y="3028822"/>
                  </a:lnTo>
                  <a:lnTo>
                    <a:pt x="128006" y="3053467"/>
                  </a:lnTo>
                  <a:lnTo>
                    <a:pt x="125381" y="3078105"/>
                  </a:lnTo>
                  <a:lnTo>
                    <a:pt x="121116" y="3102552"/>
                  </a:lnTo>
                  <a:lnTo>
                    <a:pt x="117124" y="3126915"/>
                  </a:lnTo>
                  <a:lnTo>
                    <a:pt x="113135" y="3151276"/>
                  </a:lnTo>
                  <a:lnTo>
                    <a:pt x="109442" y="3176554"/>
                  </a:lnTo>
                  <a:lnTo>
                    <a:pt x="103522" y="3200368"/>
                  </a:lnTo>
                  <a:lnTo>
                    <a:pt x="94616" y="3225442"/>
                  </a:lnTo>
                  <a:lnTo>
                    <a:pt x="79785" y="3262341"/>
                  </a:lnTo>
                  <a:lnTo>
                    <a:pt x="70756" y="3284242"/>
                  </a:lnTo>
                  <a:lnTo>
                    <a:pt x="62716" y="3305102"/>
                  </a:lnTo>
                  <a:lnTo>
                    <a:pt x="54677" y="3325962"/>
                  </a:lnTo>
                  <a:lnTo>
                    <a:pt x="48061" y="3346241"/>
                  </a:lnTo>
                  <a:lnTo>
                    <a:pt x="39288" y="3380937"/>
                  </a:lnTo>
                  <a:lnTo>
                    <a:pt x="40956" y="3403036"/>
                  </a:lnTo>
                  <a:lnTo>
                    <a:pt x="63110" y="3421264"/>
                  </a:lnTo>
                  <a:lnTo>
                    <a:pt x="79992" y="3439783"/>
                  </a:lnTo>
                  <a:lnTo>
                    <a:pt x="94004" y="3460161"/>
                  </a:lnTo>
                  <a:lnTo>
                    <a:pt x="108016" y="3480546"/>
                  </a:lnTo>
                  <a:lnTo>
                    <a:pt x="119420" y="3502019"/>
                  </a:lnTo>
                  <a:lnTo>
                    <a:pt x="126649" y="3524092"/>
                  </a:lnTo>
                  <a:lnTo>
                    <a:pt x="141107" y="3568238"/>
                  </a:lnTo>
                  <a:lnTo>
                    <a:pt x="143410" y="3616018"/>
                  </a:lnTo>
                  <a:lnTo>
                    <a:pt x="138891" y="3664194"/>
                  </a:lnTo>
                  <a:lnTo>
                    <a:pt x="134373" y="3712371"/>
                  </a:lnTo>
                  <a:lnTo>
                    <a:pt x="122951" y="3761172"/>
                  </a:lnTo>
                  <a:lnTo>
                    <a:pt x="110326" y="3809737"/>
                  </a:lnTo>
                  <a:lnTo>
                    <a:pt x="97702" y="3858295"/>
                  </a:lnTo>
                  <a:lnTo>
                    <a:pt x="83454" y="3905891"/>
                  </a:lnTo>
                  <a:lnTo>
                    <a:pt x="73601" y="3951192"/>
                  </a:lnTo>
                  <a:lnTo>
                    <a:pt x="66203" y="3986382"/>
                  </a:lnTo>
                  <a:lnTo>
                    <a:pt x="61359" y="4009681"/>
                  </a:lnTo>
                  <a:lnTo>
                    <a:pt x="56519" y="4032982"/>
                  </a:lnTo>
                  <a:lnTo>
                    <a:pt x="50465" y="4058385"/>
                  </a:lnTo>
                  <a:lnTo>
                    <a:pt x="43677" y="4084494"/>
                  </a:lnTo>
                  <a:lnTo>
                    <a:pt x="36888" y="4110604"/>
                  </a:lnTo>
                  <a:lnTo>
                    <a:pt x="29442" y="4136852"/>
                  </a:lnTo>
                  <a:lnTo>
                    <a:pt x="20553" y="4159306"/>
                  </a:lnTo>
                  <a:lnTo>
                    <a:pt x="0" y="4199311"/>
                  </a:lnTo>
                  <a:lnTo>
                    <a:pt x="40966" y="4222908"/>
                  </a:lnTo>
                  <a:lnTo>
                    <a:pt x="87654" y="4237673"/>
                  </a:lnTo>
                  <a:lnTo>
                    <a:pt x="133449" y="4255875"/>
                  </a:lnTo>
                  <a:lnTo>
                    <a:pt x="179244" y="4274085"/>
                  </a:lnTo>
                  <a:lnTo>
                    <a:pt x="224720" y="4295690"/>
                  </a:lnTo>
                  <a:lnTo>
                    <a:pt x="270829" y="4317090"/>
                  </a:lnTo>
                  <a:lnTo>
                    <a:pt x="300488" y="4330860"/>
                  </a:lnTo>
                  <a:lnTo>
                    <a:pt x="320112" y="4355795"/>
                  </a:lnTo>
                  <a:lnTo>
                    <a:pt x="337479" y="4383737"/>
                  </a:lnTo>
                  <a:lnTo>
                    <a:pt x="354845" y="4411680"/>
                  </a:lnTo>
                  <a:lnTo>
                    <a:pt x="370145" y="4441852"/>
                  </a:lnTo>
                  <a:lnTo>
                    <a:pt x="387806" y="4466709"/>
                  </a:lnTo>
                  <a:lnTo>
                    <a:pt x="403725" y="4489072"/>
                  </a:lnTo>
                  <a:lnTo>
                    <a:pt x="426720" y="4507432"/>
                  </a:lnTo>
                  <a:lnTo>
                    <a:pt x="443574" y="4529280"/>
                  </a:lnTo>
                  <a:lnTo>
                    <a:pt x="468759" y="4561965"/>
                  </a:lnTo>
                  <a:lnTo>
                    <a:pt x="484507" y="4595757"/>
                  </a:lnTo>
                  <a:lnTo>
                    <a:pt x="514304" y="4625856"/>
                  </a:lnTo>
                  <a:lnTo>
                    <a:pt x="538634" y="4643077"/>
                  </a:lnTo>
                  <a:lnTo>
                    <a:pt x="566146" y="4646723"/>
                  </a:lnTo>
                  <a:lnTo>
                    <a:pt x="595916" y="4640821"/>
                  </a:lnTo>
                  <a:lnTo>
                    <a:pt x="625445" y="4633507"/>
                  </a:lnTo>
                  <a:lnTo>
                    <a:pt x="654203" y="4619757"/>
                  </a:lnTo>
                  <a:lnTo>
                    <a:pt x="677528" y="4613616"/>
                  </a:lnTo>
                  <a:lnTo>
                    <a:pt x="712468" y="4604391"/>
                  </a:lnTo>
                  <a:lnTo>
                    <a:pt x="776100" y="4611427"/>
                  </a:lnTo>
                  <a:lnTo>
                    <a:pt x="809467" y="4621780"/>
                  </a:lnTo>
                  <a:lnTo>
                    <a:pt x="846915" y="4630387"/>
                  </a:lnTo>
                  <a:lnTo>
                    <a:pt x="873780" y="4655211"/>
                  </a:lnTo>
                  <a:lnTo>
                    <a:pt x="877477" y="4689787"/>
                  </a:lnTo>
                  <a:lnTo>
                    <a:pt x="872617" y="4727913"/>
                  </a:lnTo>
                  <a:lnTo>
                    <a:pt x="867956" y="4749636"/>
                  </a:lnTo>
                  <a:lnTo>
                    <a:pt x="863294" y="4771360"/>
                  </a:lnTo>
                  <a:lnTo>
                    <a:pt x="858879" y="4794060"/>
                  </a:lnTo>
                  <a:lnTo>
                    <a:pt x="858435" y="4816285"/>
                  </a:lnTo>
                  <a:lnTo>
                    <a:pt x="857973" y="4838516"/>
                  </a:lnTo>
                  <a:lnTo>
                    <a:pt x="861053" y="4860497"/>
                  </a:lnTo>
                  <a:lnTo>
                    <a:pt x="873397" y="4880216"/>
                  </a:lnTo>
                  <a:lnTo>
                    <a:pt x="892216" y="4910256"/>
                  </a:lnTo>
                  <a:lnTo>
                    <a:pt x="919118" y="4928154"/>
                  </a:lnTo>
                  <a:lnTo>
                    <a:pt x="946848" y="4944147"/>
                  </a:lnTo>
                  <a:lnTo>
                    <a:pt x="974577" y="4960133"/>
                  </a:lnTo>
                  <a:lnTo>
                    <a:pt x="1004029" y="4974424"/>
                  </a:lnTo>
                  <a:lnTo>
                    <a:pt x="1027099" y="4997196"/>
                  </a:lnTo>
                  <a:lnTo>
                    <a:pt x="1043932" y="5050726"/>
                  </a:lnTo>
                  <a:lnTo>
                    <a:pt x="1065185" y="5076084"/>
                  </a:lnTo>
                  <a:lnTo>
                    <a:pt x="1090104" y="5090804"/>
                  </a:lnTo>
                  <a:lnTo>
                    <a:pt x="1129062" y="5082975"/>
                  </a:lnTo>
                  <a:lnTo>
                    <a:pt x="1171279" y="5086966"/>
                  </a:lnTo>
                  <a:lnTo>
                    <a:pt x="1192390" y="5088958"/>
                  </a:lnTo>
                  <a:lnTo>
                    <a:pt x="1214381" y="5094227"/>
                  </a:lnTo>
                  <a:lnTo>
                    <a:pt x="1235210" y="5106011"/>
                  </a:lnTo>
                  <a:lnTo>
                    <a:pt x="1256038" y="5117790"/>
                  </a:lnTo>
                  <a:lnTo>
                    <a:pt x="1276224" y="5135972"/>
                  </a:lnTo>
                  <a:lnTo>
                    <a:pt x="1293699" y="5165860"/>
                  </a:lnTo>
                  <a:lnTo>
                    <a:pt x="1312347" y="5196117"/>
                  </a:lnTo>
                  <a:lnTo>
                    <a:pt x="1329456" y="5228091"/>
                  </a:lnTo>
                  <a:lnTo>
                    <a:pt x="1338585" y="5262430"/>
                  </a:lnTo>
                  <a:lnTo>
                    <a:pt x="1342806" y="5301815"/>
                  </a:lnTo>
                  <a:lnTo>
                    <a:pt x="1321853" y="5355853"/>
                  </a:lnTo>
                  <a:lnTo>
                    <a:pt x="1310021" y="5406615"/>
                  </a:lnTo>
                  <a:lnTo>
                    <a:pt x="1304105" y="5431991"/>
                  </a:lnTo>
                  <a:lnTo>
                    <a:pt x="1301113" y="5456663"/>
                  </a:lnTo>
                  <a:lnTo>
                    <a:pt x="1303221" y="5478703"/>
                  </a:lnTo>
                  <a:lnTo>
                    <a:pt x="1305324" y="5500744"/>
                  </a:lnTo>
                  <a:lnTo>
                    <a:pt x="1331784" y="5534469"/>
                  </a:lnTo>
                  <a:lnTo>
                    <a:pt x="1357139" y="5548998"/>
                  </a:lnTo>
                  <a:lnTo>
                    <a:pt x="1388041" y="5552592"/>
                  </a:lnTo>
                  <a:lnTo>
                    <a:pt x="1421556" y="5546716"/>
                  </a:lnTo>
                  <a:lnTo>
                    <a:pt x="1453864" y="5538631"/>
                  </a:lnTo>
                  <a:lnTo>
                    <a:pt x="1484214" y="5520983"/>
                  </a:lnTo>
                  <a:lnTo>
                    <a:pt x="1503168" y="5501832"/>
                  </a:lnTo>
                  <a:lnTo>
                    <a:pt x="1522438" y="5482357"/>
                  </a:lnTo>
                  <a:lnTo>
                    <a:pt x="1537322" y="5454500"/>
                  </a:lnTo>
                  <a:lnTo>
                    <a:pt x="1557575" y="5436541"/>
                  </a:lnTo>
                  <a:lnTo>
                    <a:pt x="1629262" y="5390377"/>
                  </a:lnTo>
                  <a:lnTo>
                    <a:pt x="1655906" y="5377874"/>
                  </a:lnTo>
                  <a:lnTo>
                    <a:pt x="1682344" y="5375420"/>
                  </a:lnTo>
                  <a:lnTo>
                    <a:pt x="1709918" y="5373976"/>
                  </a:lnTo>
                  <a:lnTo>
                    <a:pt x="1737491" y="5372525"/>
                  </a:lnTo>
                  <a:lnTo>
                    <a:pt x="1765348" y="5371001"/>
                  </a:lnTo>
                  <a:lnTo>
                    <a:pt x="1790171" y="5363087"/>
                  </a:lnTo>
                  <a:lnTo>
                    <a:pt x="1819479" y="5353743"/>
                  </a:lnTo>
                  <a:lnTo>
                    <a:pt x="1875753" y="5325708"/>
                  </a:lnTo>
                  <a:lnTo>
                    <a:pt x="1901711" y="5307321"/>
                  </a:lnTo>
                  <a:lnTo>
                    <a:pt x="1929587" y="5287577"/>
                  </a:lnTo>
                  <a:lnTo>
                    <a:pt x="1964191" y="5252491"/>
                  </a:lnTo>
                  <a:lnTo>
                    <a:pt x="2001003" y="5229791"/>
                  </a:lnTo>
                  <a:lnTo>
                    <a:pt x="2019410" y="5218441"/>
                  </a:lnTo>
                  <a:lnTo>
                    <a:pt x="2056770" y="5209386"/>
                  </a:lnTo>
                  <a:lnTo>
                    <a:pt x="2094500" y="5213938"/>
                  </a:lnTo>
                  <a:lnTo>
                    <a:pt x="2112537" y="5229791"/>
                  </a:lnTo>
                  <a:lnTo>
                    <a:pt x="2119501" y="5250202"/>
                  </a:lnTo>
                  <a:lnTo>
                    <a:pt x="2113895" y="5292358"/>
                  </a:lnTo>
                  <a:lnTo>
                    <a:pt x="2109779" y="5313963"/>
                  </a:lnTo>
                  <a:lnTo>
                    <a:pt x="2103831" y="5336075"/>
                  </a:lnTo>
                  <a:lnTo>
                    <a:pt x="2097085" y="5398713"/>
                  </a:lnTo>
                  <a:lnTo>
                    <a:pt x="2100118" y="5421104"/>
                  </a:lnTo>
                  <a:lnTo>
                    <a:pt x="2105731" y="5441983"/>
                  </a:lnTo>
                  <a:lnTo>
                    <a:pt x="2111349" y="5462862"/>
                  </a:lnTo>
                  <a:lnTo>
                    <a:pt x="2123411" y="5516795"/>
                  </a:lnTo>
                  <a:lnTo>
                    <a:pt x="2127171" y="5545806"/>
                  </a:lnTo>
                  <a:lnTo>
                    <a:pt x="2113341" y="5574072"/>
                  </a:lnTo>
                  <a:lnTo>
                    <a:pt x="2108454" y="5601124"/>
                  </a:lnTo>
                  <a:lnTo>
                    <a:pt x="2096307" y="5668287"/>
                  </a:lnTo>
                  <a:lnTo>
                    <a:pt x="2089131" y="5713349"/>
                  </a:lnTo>
                  <a:lnTo>
                    <a:pt x="2088050" y="5758908"/>
                  </a:lnTo>
                  <a:lnTo>
                    <a:pt x="2086968" y="5804465"/>
                  </a:lnTo>
                  <a:lnTo>
                    <a:pt x="2091024" y="5850425"/>
                  </a:lnTo>
                  <a:lnTo>
                    <a:pt x="2101648" y="5920772"/>
                  </a:lnTo>
                  <a:lnTo>
                    <a:pt x="2108692" y="5967399"/>
                  </a:lnTo>
                  <a:lnTo>
                    <a:pt x="2118762" y="6006882"/>
                  </a:lnTo>
                  <a:lnTo>
                    <a:pt x="2131576" y="6039111"/>
                  </a:lnTo>
                  <a:lnTo>
                    <a:pt x="2144390" y="6071334"/>
                  </a:lnTo>
                  <a:lnTo>
                    <a:pt x="2160191" y="6096856"/>
                  </a:lnTo>
                  <a:lnTo>
                    <a:pt x="2181901" y="6116641"/>
                  </a:lnTo>
                  <a:lnTo>
                    <a:pt x="2203612" y="6136426"/>
                  </a:lnTo>
                  <a:lnTo>
                    <a:pt x="2231146" y="6150868"/>
                  </a:lnTo>
                  <a:lnTo>
                    <a:pt x="2264872" y="6160167"/>
                  </a:lnTo>
                  <a:lnTo>
                    <a:pt x="2298605" y="6169466"/>
                  </a:lnTo>
                  <a:lnTo>
                    <a:pt x="2338418" y="6172994"/>
                  </a:lnTo>
                  <a:lnTo>
                    <a:pt x="2387294" y="6173772"/>
                  </a:lnTo>
                  <a:lnTo>
                    <a:pt x="2416865" y="6174228"/>
                  </a:lnTo>
                  <a:lnTo>
                    <a:pt x="2460187" y="6174161"/>
                  </a:lnTo>
                  <a:lnTo>
                    <a:pt x="2501550" y="6166967"/>
                  </a:lnTo>
                  <a:lnTo>
                    <a:pt x="2542913" y="6159765"/>
                  </a:lnTo>
                  <a:lnTo>
                    <a:pt x="2582239" y="6145421"/>
                  </a:lnTo>
                  <a:lnTo>
                    <a:pt x="2604925" y="6120723"/>
                  </a:lnTo>
                  <a:lnTo>
                    <a:pt x="2629564" y="6093856"/>
                  </a:lnTo>
                  <a:lnTo>
                    <a:pt x="2642886" y="6065993"/>
                  </a:lnTo>
                  <a:lnTo>
                    <a:pt x="2652534" y="6040470"/>
                  </a:lnTo>
                  <a:lnTo>
                    <a:pt x="2662175" y="6014948"/>
                  </a:lnTo>
                  <a:lnTo>
                    <a:pt x="2668394" y="5992267"/>
                  </a:lnTo>
                  <a:lnTo>
                    <a:pt x="2681097" y="5975180"/>
                  </a:lnTo>
                  <a:lnTo>
                    <a:pt x="2717460" y="5974158"/>
                  </a:lnTo>
                  <a:lnTo>
                    <a:pt x="2733994" y="6002556"/>
                  </a:lnTo>
                  <a:lnTo>
                    <a:pt x="2768697" y="6036474"/>
                  </a:lnTo>
                  <a:lnTo>
                    <a:pt x="2798967" y="6045568"/>
                  </a:lnTo>
                  <a:lnTo>
                    <a:pt x="2817116" y="6069033"/>
                  </a:lnTo>
                  <a:lnTo>
                    <a:pt x="2834830" y="6099138"/>
                  </a:lnTo>
                  <a:lnTo>
                    <a:pt x="2840212" y="6131420"/>
                  </a:lnTo>
                  <a:lnTo>
                    <a:pt x="2837514" y="6164250"/>
                  </a:lnTo>
                  <a:lnTo>
                    <a:pt x="2835028" y="6196143"/>
                  </a:lnTo>
                  <a:lnTo>
                    <a:pt x="2829633" y="6226605"/>
                  </a:lnTo>
                  <a:lnTo>
                    <a:pt x="2841590" y="6249944"/>
                  </a:lnTo>
                  <a:lnTo>
                    <a:pt x="2886864" y="6241568"/>
                  </a:lnTo>
                  <a:lnTo>
                    <a:pt x="2932237" y="6246290"/>
                  </a:lnTo>
                  <a:lnTo>
                    <a:pt x="2977609" y="6249944"/>
                  </a:lnTo>
                  <a:lnTo>
                    <a:pt x="2998753" y="6267105"/>
                  </a:lnTo>
                  <a:lnTo>
                    <a:pt x="3019046" y="6303501"/>
                  </a:lnTo>
                  <a:lnTo>
                    <a:pt x="3028780" y="6323438"/>
                  </a:lnTo>
                  <a:lnTo>
                    <a:pt x="3070063" y="6356927"/>
                  </a:lnTo>
                  <a:lnTo>
                    <a:pt x="3105900" y="6377839"/>
                  </a:lnTo>
                  <a:lnTo>
                    <a:pt x="3136758" y="6403645"/>
                  </a:lnTo>
                  <a:lnTo>
                    <a:pt x="3382358" y="6633985"/>
                  </a:lnTo>
                  <a:lnTo>
                    <a:pt x="3403654" y="6673475"/>
                  </a:lnTo>
                  <a:lnTo>
                    <a:pt x="3418103" y="6713770"/>
                  </a:lnTo>
                  <a:lnTo>
                    <a:pt x="3436002" y="6750497"/>
                  </a:lnTo>
                  <a:lnTo>
                    <a:pt x="3448987" y="6777101"/>
                  </a:lnTo>
                  <a:lnTo>
                    <a:pt x="3466411" y="6799035"/>
                  </a:lnTo>
                  <a:lnTo>
                    <a:pt x="3480886" y="6823945"/>
                  </a:lnTo>
                  <a:lnTo>
                    <a:pt x="3497934" y="6856972"/>
                  </a:lnTo>
                  <a:lnTo>
                    <a:pt x="3539819" y="6913760"/>
                  </a:lnTo>
                  <a:lnTo>
                    <a:pt x="3539232" y="6953653"/>
                  </a:lnTo>
                  <a:lnTo>
                    <a:pt x="3528449" y="6976136"/>
                  </a:lnTo>
                  <a:lnTo>
                    <a:pt x="3514890" y="6998051"/>
                  </a:lnTo>
                  <a:lnTo>
                    <a:pt x="3501337" y="7019964"/>
                  </a:lnTo>
                  <a:lnTo>
                    <a:pt x="3484540" y="7041873"/>
                  </a:lnTo>
                  <a:lnTo>
                    <a:pt x="3474087" y="7061982"/>
                  </a:lnTo>
                  <a:lnTo>
                    <a:pt x="3455028" y="7098641"/>
                  </a:lnTo>
                  <a:lnTo>
                    <a:pt x="3448314" y="7132098"/>
                  </a:lnTo>
                  <a:lnTo>
                    <a:pt x="3449600" y="7163991"/>
                  </a:lnTo>
                  <a:lnTo>
                    <a:pt x="3450887" y="7195890"/>
                  </a:lnTo>
                  <a:lnTo>
                    <a:pt x="3461287" y="7225765"/>
                  </a:lnTo>
                  <a:lnTo>
                    <a:pt x="3476805" y="7253767"/>
                  </a:lnTo>
                  <a:lnTo>
                    <a:pt x="3507840" y="7309777"/>
                  </a:lnTo>
                  <a:lnTo>
                    <a:pt x="3560237" y="7359015"/>
                  </a:lnTo>
                  <a:lnTo>
                    <a:pt x="3611465" y="7404751"/>
                  </a:lnTo>
                  <a:lnTo>
                    <a:pt x="3681431" y="7467211"/>
                  </a:lnTo>
                  <a:lnTo>
                    <a:pt x="3721884" y="7513856"/>
                  </a:lnTo>
                  <a:lnTo>
                    <a:pt x="3758367" y="7562534"/>
                  </a:lnTo>
                  <a:lnTo>
                    <a:pt x="3794850" y="7611204"/>
                  </a:lnTo>
                  <a:lnTo>
                    <a:pt x="3827468" y="7661306"/>
                  </a:lnTo>
                  <a:lnTo>
                    <a:pt x="3882147" y="7731198"/>
                  </a:lnTo>
                  <a:lnTo>
                    <a:pt x="3869794" y="7779612"/>
                  </a:lnTo>
                  <a:lnTo>
                    <a:pt x="3845334" y="7802865"/>
                  </a:lnTo>
                  <a:lnTo>
                    <a:pt x="3823657" y="7830491"/>
                  </a:lnTo>
                  <a:lnTo>
                    <a:pt x="3798411" y="7862629"/>
                  </a:lnTo>
                  <a:lnTo>
                    <a:pt x="3783289" y="7905482"/>
                  </a:lnTo>
                  <a:lnTo>
                    <a:pt x="3761091" y="7939308"/>
                  </a:lnTo>
                  <a:lnTo>
                    <a:pt x="3725676" y="7993260"/>
                  </a:lnTo>
                  <a:lnTo>
                    <a:pt x="3701651" y="8022410"/>
                  </a:lnTo>
                  <a:lnTo>
                    <a:pt x="3683555" y="8054923"/>
                  </a:lnTo>
                  <a:lnTo>
                    <a:pt x="3665464" y="8087442"/>
                  </a:lnTo>
                  <a:lnTo>
                    <a:pt x="3653323" y="8122599"/>
                  </a:lnTo>
                  <a:lnTo>
                    <a:pt x="3641387" y="8188226"/>
                  </a:lnTo>
                  <a:lnTo>
                    <a:pt x="3633229" y="8224953"/>
                  </a:lnTo>
                  <a:lnTo>
                    <a:pt x="3625183" y="8261205"/>
                  </a:lnTo>
                  <a:lnTo>
                    <a:pt x="3627452" y="8282566"/>
                  </a:lnTo>
                  <a:lnTo>
                    <a:pt x="3684768" y="8297971"/>
                  </a:lnTo>
                  <a:lnTo>
                    <a:pt x="3769506" y="8340397"/>
                  </a:lnTo>
                  <a:lnTo>
                    <a:pt x="3803252" y="8381371"/>
                  </a:lnTo>
                  <a:lnTo>
                    <a:pt x="3827844" y="8411251"/>
                  </a:lnTo>
                  <a:lnTo>
                    <a:pt x="3843633" y="8452061"/>
                  </a:lnTo>
                  <a:lnTo>
                    <a:pt x="3878065" y="8475223"/>
                  </a:lnTo>
                  <a:lnTo>
                    <a:pt x="3916256" y="8500982"/>
                  </a:lnTo>
                  <a:lnTo>
                    <a:pt x="3968540" y="8507999"/>
                  </a:lnTo>
                  <a:lnTo>
                    <a:pt x="3985522" y="8559558"/>
                  </a:lnTo>
                  <a:lnTo>
                    <a:pt x="4006388" y="8622849"/>
                  </a:lnTo>
                  <a:lnTo>
                    <a:pt x="3931536" y="8678274"/>
                  </a:lnTo>
                  <a:lnTo>
                    <a:pt x="3997762" y="8751345"/>
                  </a:lnTo>
                  <a:lnTo>
                    <a:pt x="4030255" y="8787221"/>
                  </a:lnTo>
                  <a:lnTo>
                    <a:pt x="4119840" y="8863221"/>
                  </a:lnTo>
                  <a:lnTo>
                    <a:pt x="4165068" y="8877841"/>
                  </a:lnTo>
                  <a:lnTo>
                    <a:pt x="4196565" y="8888004"/>
                  </a:lnTo>
                  <a:lnTo>
                    <a:pt x="4225893" y="8884641"/>
                  </a:lnTo>
                  <a:lnTo>
                    <a:pt x="4257562" y="8900962"/>
                  </a:lnTo>
                  <a:lnTo>
                    <a:pt x="4284041" y="8914568"/>
                  </a:lnTo>
                  <a:lnTo>
                    <a:pt x="4297791" y="8947338"/>
                  </a:lnTo>
                  <a:lnTo>
                    <a:pt x="4326933" y="8959453"/>
                  </a:lnTo>
                  <a:lnTo>
                    <a:pt x="4371304" y="8977945"/>
                  </a:lnTo>
                  <a:lnTo>
                    <a:pt x="4426121" y="8962599"/>
                  </a:lnTo>
                  <a:lnTo>
                    <a:pt x="4476552" y="8988022"/>
                  </a:lnTo>
                  <a:lnTo>
                    <a:pt x="4521905" y="9010888"/>
                  </a:lnTo>
                  <a:lnTo>
                    <a:pt x="4637883" y="9270562"/>
                  </a:lnTo>
                  <a:lnTo>
                    <a:pt x="4687385" y="9329428"/>
                  </a:lnTo>
                  <a:lnTo>
                    <a:pt x="4698735" y="9348513"/>
                  </a:lnTo>
                  <a:lnTo>
                    <a:pt x="4715947" y="9378395"/>
                  </a:lnTo>
                  <a:lnTo>
                    <a:pt x="4741153" y="9438330"/>
                  </a:lnTo>
                  <a:lnTo>
                    <a:pt x="4744642" y="9514500"/>
                  </a:lnTo>
                  <a:lnTo>
                    <a:pt x="4819322" y="9529378"/>
                  </a:lnTo>
                  <a:lnTo>
                    <a:pt x="4840169" y="9533501"/>
                  </a:lnTo>
                  <a:lnTo>
                    <a:pt x="4863297" y="9532056"/>
                  </a:lnTo>
                  <a:lnTo>
                    <a:pt x="4883254" y="9523937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55" name="Chernivtsi¬0" descr="Chernivtsi¬0">
              <a:extLst>
                <a:ext uri="{FF2B5EF4-FFF2-40B4-BE49-F238E27FC236}">
                  <a16:creationId xmlns:a16="http://schemas.microsoft.com/office/drawing/2014/main" id="{496966D2-157D-482C-93DE-191DACFC05D5}"/>
                </a:ext>
              </a:extLst>
            </p:cNvPr>
            <p:cNvSpPr/>
            <p:nvPr/>
          </p:nvSpPr>
          <p:spPr>
            <a:xfrm>
              <a:off x="1831124" y="2862276"/>
              <a:ext cx="890017" cy="436579"/>
            </a:xfrm>
            <a:custGeom>
              <a:avLst/>
              <a:gdLst/>
              <a:ahLst/>
              <a:cxnLst/>
              <a:rect l="0" t="0" r="0" b="0"/>
              <a:pathLst>
                <a:path w="9082132" h="5057210">
                  <a:moveTo>
                    <a:pt x="5106420" y="821342"/>
                  </a:moveTo>
                  <a:lnTo>
                    <a:pt x="5091325" y="837868"/>
                  </a:lnTo>
                  <a:lnTo>
                    <a:pt x="5076077" y="857890"/>
                  </a:lnTo>
                  <a:lnTo>
                    <a:pt x="5060322" y="877702"/>
                  </a:lnTo>
                  <a:lnTo>
                    <a:pt x="5043715" y="895001"/>
                  </a:lnTo>
                  <a:lnTo>
                    <a:pt x="5024023" y="907973"/>
                  </a:lnTo>
                  <a:lnTo>
                    <a:pt x="5001898" y="911779"/>
                  </a:lnTo>
                  <a:lnTo>
                    <a:pt x="4981144" y="907241"/>
                  </a:lnTo>
                  <a:lnTo>
                    <a:pt x="4961009" y="899367"/>
                  </a:lnTo>
                  <a:lnTo>
                    <a:pt x="4941436" y="887918"/>
                  </a:lnTo>
                  <a:lnTo>
                    <a:pt x="4922660" y="874596"/>
                  </a:lnTo>
                  <a:lnTo>
                    <a:pt x="4905038" y="862738"/>
                  </a:lnTo>
                  <a:lnTo>
                    <a:pt x="4871326" y="853585"/>
                  </a:lnTo>
                  <a:lnTo>
                    <a:pt x="4832534" y="852061"/>
                  </a:lnTo>
                  <a:lnTo>
                    <a:pt x="4807044" y="852839"/>
                  </a:lnTo>
                  <a:lnTo>
                    <a:pt x="4786481" y="841147"/>
                  </a:lnTo>
                  <a:lnTo>
                    <a:pt x="4769092" y="823446"/>
                  </a:lnTo>
                  <a:lnTo>
                    <a:pt x="4752631" y="806590"/>
                  </a:lnTo>
                  <a:lnTo>
                    <a:pt x="4736176" y="789726"/>
                  </a:lnTo>
                  <a:lnTo>
                    <a:pt x="4720256" y="774367"/>
                  </a:lnTo>
                  <a:lnTo>
                    <a:pt x="4699587" y="764422"/>
                  </a:lnTo>
                  <a:lnTo>
                    <a:pt x="4657604" y="756726"/>
                  </a:lnTo>
                  <a:lnTo>
                    <a:pt x="4627499" y="761704"/>
                  </a:lnTo>
                  <a:lnTo>
                    <a:pt x="4597386" y="766684"/>
                  </a:lnTo>
                  <a:lnTo>
                    <a:pt x="4562447" y="776219"/>
                  </a:lnTo>
                  <a:lnTo>
                    <a:pt x="4525482" y="783467"/>
                  </a:lnTo>
                  <a:lnTo>
                    <a:pt x="4488518" y="790716"/>
                  </a:lnTo>
                  <a:lnTo>
                    <a:pt x="4450116" y="795708"/>
                  </a:lnTo>
                  <a:lnTo>
                    <a:pt x="4412583" y="794348"/>
                  </a:lnTo>
                  <a:lnTo>
                    <a:pt x="4375052" y="792990"/>
                  </a:lnTo>
                  <a:lnTo>
                    <a:pt x="4338292" y="785261"/>
                  </a:lnTo>
                  <a:lnTo>
                    <a:pt x="4306484" y="764422"/>
                  </a:lnTo>
                  <a:lnTo>
                    <a:pt x="4286555" y="744221"/>
                  </a:lnTo>
                  <a:lnTo>
                    <a:pt x="4269758" y="714102"/>
                  </a:lnTo>
                  <a:lnTo>
                    <a:pt x="4259648" y="681174"/>
                  </a:lnTo>
                  <a:lnTo>
                    <a:pt x="4255388" y="646367"/>
                  </a:lnTo>
                  <a:lnTo>
                    <a:pt x="4256159" y="610721"/>
                  </a:lnTo>
                  <a:lnTo>
                    <a:pt x="4258876" y="575101"/>
                  </a:lnTo>
                  <a:lnTo>
                    <a:pt x="4264324" y="540248"/>
                  </a:lnTo>
                  <a:lnTo>
                    <a:pt x="4271124" y="507346"/>
                  </a:lnTo>
                  <a:lnTo>
                    <a:pt x="4276505" y="475948"/>
                  </a:lnTo>
                  <a:lnTo>
                    <a:pt x="4279346" y="448974"/>
                  </a:lnTo>
                  <a:lnTo>
                    <a:pt x="4277922" y="427100"/>
                  </a:lnTo>
                  <a:lnTo>
                    <a:pt x="4267040" y="402613"/>
                  </a:lnTo>
                  <a:lnTo>
                    <a:pt x="4248344" y="385353"/>
                  </a:lnTo>
                  <a:lnTo>
                    <a:pt x="4225612" y="375157"/>
                  </a:lnTo>
                  <a:lnTo>
                    <a:pt x="4207193" y="356361"/>
                  </a:lnTo>
                  <a:lnTo>
                    <a:pt x="4184044" y="337567"/>
                  </a:lnTo>
                  <a:lnTo>
                    <a:pt x="4154169" y="326203"/>
                  </a:lnTo>
                  <a:lnTo>
                    <a:pt x="4125580" y="329164"/>
                  </a:lnTo>
                  <a:lnTo>
                    <a:pt x="4107431" y="341602"/>
                  </a:lnTo>
                  <a:lnTo>
                    <a:pt x="4098376" y="382214"/>
                  </a:lnTo>
                  <a:lnTo>
                    <a:pt x="4097050" y="404267"/>
                  </a:lnTo>
                  <a:lnTo>
                    <a:pt x="4102135" y="428932"/>
                  </a:lnTo>
                  <a:lnTo>
                    <a:pt x="4110615" y="454303"/>
                  </a:lnTo>
                  <a:lnTo>
                    <a:pt x="4119103" y="479673"/>
                  </a:lnTo>
                  <a:lnTo>
                    <a:pt x="4130611" y="505360"/>
                  </a:lnTo>
                  <a:lnTo>
                    <a:pt x="4141902" y="527757"/>
                  </a:lnTo>
                  <a:lnTo>
                    <a:pt x="4153193" y="550146"/>
                  </a:lnTo>
                  <a:lnTo>
                    <a:pt x="4163395" y="569034"/>
                  </a:lnTo>
                  <a:lnTo>
                    <a:pt x="4178042" y="596226"/>
                  </a:lnTo>
                  <a:lnTo>
                    <a:pt x="4199033" y="625684"/>
                  </a:lnTo>
                  <a:lnTo>
                    <a:pt x="4207278" y="651511"/>
                  </a:lnTo>
                  <a:lnTo>
                    <a:pt x="4192228" y="692339"/>
                  </a:lnTo>
                  <a:lnTo>
                    <a:pt x="4169502" y="719082"/>
                  </a:lnTo>
                  <a:lnTo>
                    <a:pt x="4144230" y="728163"/>
                  </a:lnTo>
                  <a:lnTo>
                    <a:pt x="4117423" y="723626"/>
                  </a:lnTo>
                  <a:lnTo>
                    <a:pt x="4090238" y="715870"/>
                  </a:lnTo>
                  <a:lnTo>
                    <a:pt x="4061200" y="695327"/>
                  </a:lnTo>
                  <a:lnTo>
                    <a:pt x="4037169" y="676016"/>
                  </a:lnTo>
                  <a:lnTo>
                    <a:pt x="4015452" y="658560"/>
                  </a:lnTo>
                  <a:lnTo>
                    <a:pt x="3985201" y="638420"/>
                  </a:lnTo>
                  <a:lnTo>
                    <a:pt x="3970514" y="613445"/>
                  </a:lnTo>
                  <a:lnTo>
                    <a:pt x="3956744" y="581076"/>
                  </a:lnTo>
                  <a:lnTo>
                    <a:pt x="3939234" y="547667"/>
                  </a:lnTo>
                  <a:lnTo>
                    <a:pt x="3920847" y="520615"/>
                  </a:lnTo>
                  <a:lnTo>
                    <a:pt x="3924270" y="497829"/>
                  </a:lnTo>
                  <a:lnTo>
                    <a:pt x="3929837" y="460786"/>
                  </a:lnTo>
                  <a:lnTo>
                    <a:pt x="3960911" y="409477"/>
                  </a:lnTo>
                  <a:lnTo>
                    <a:pt x="3981402" y="379496"/>
                  </a:lnTo>
                  <a:lnTo>
                    <a:pt x="3980044" y="350927"/>
                  </a:lnTo>
                  <a:lnTo>
                    <a:pt x="3974596" y="323723"/>
                  </a:lnTo>
                  <a:lnTo>
                    <a:pt x="3966979" y="304011"/>
                  </a:lnTo>
                  <a:lnTo>
                    <a:pt x="3964612" y="271334"/>
                  </a:lnTo>
                  <a:lnTo>
                    <a:pt x="3970982" y="242812"/>
                  </a:lnTo>
                  <a:lnTo>
                    <a:pt x="3971872" y="213550"/>
                  </a:lnTo>
                  <a:lnTo>
                    <a:pt x="3944458" y="164753"/>
                  </a:lnTo>
                  <a:lnTo>
                    <a:pt x="3910665" y="156417"/>
                  </a:lnTo>
                  <a:lnTo>
                    <a:pt x="3889410" y="167886"/>
                  </a:lnTo>
                  <a:lnTo>
                    <a:pt x="3877822" y="203070"/>
                  </a:lnTo>
                  <a:lnTo>
                    <a:pt x="3867139" y="239395"/>
                  </a:lnTo>
                  <a:lnTo>
                    <a:pt x="3856456" y="275713"/>
                  </a:lnTo>
                  <a:lnTo>
                    <a:pt x="3847011" y="313534"/>
                  </a:lnTo>
                  <a:lnTo>
                    <a:pt x="3833136" y="330530"/>
                  </a:lnTo>
                  <a:lnTo>
                    <a:pt x="3800101" y="344207"/>
                  </a:lnTo>
                  <a:lnTo>
                    <a:pt x="3770959" y="341333"/>
                  </a:lnTo>
                  <a:lnTo>
                    <a:pt x="3744718" y="327806"/>
                  </a:lnTo>
                  <a:lnTo>
                    <a:pt x="3719980" y="313224"/>
                  </a:lnTo>
                  <a:lnTo>
                    <a:pt x="3698751" y="293539"/>
                  </a:lnTo>
                  <a:lnTo>
                    <a:pt x="3670249" y="329363"/>
                  </a:lnTo>
                  <a:lnTo>
                    <a:pt x="3662347" y="361987"/>
                  </a:lnTo>
                  <a:lnTo>
                    <a:pt x="3650865" y="390378"/>
                  </a:lnTo>
                  <a:lnTo>
                    <a:pt x="3639390" y="418762"/>
                  </a:lnTo>
                  <a:lnTo>
                    <a:pt x="3624493" y="442789"/>
                  </a:lnTo>
                  <a:lnTo>
                    <a:pt x="3605981" y="459744"/>
                  </a:lnTo>
                  <a:lnTo>
                    <a:pt x="3587469" y="476706"/>
                  </a:lnTo>
                  <a:lnTo>
                    <a:pt x="3565540" y="487053"/>
                  </a:lnTo>
                  <a:lnTo>
                    <a:pt x="3536609" y="488307"/>
                  </a:lnTo>
                  <a:lnTo>
                    <a:pt x="3507683" y="489572"/>
                  </a:lnTo>
                  <a:lnTo>
                    <a:pt x="3471879" y="481171"/>
                  </a:lnTo>
                  <a:lnTo>
                    <a:pt x="3429158" y="462468"/>
                  </a:lnTo>
                  <a:lnTo>
                    <a:pt x="3408984" y="453636"/>
                  </a:lnTo>
                  <a:lnTo>
                    <a:pt x="3389219" y="434242"/>
                  </a:lnTo>
                  <a:lnTo>
                    <a:pt x="3366586" y="425740"/>
                  </a:lnTo>
                  <a:lnTo>
                    <a:pt x="3298553" y="434775"/>
                  </a:lnTo>
                  <a:lnTo>
                    <a:pt x="3270009" y="427100"/>
                  </a:lnTo>
                  <a:lnTo>
                    <a:pt x="3256965" y="408310"/>
                  </a:lnTo>
                  <a:lnTo>
                    <a:pt x="3261852" y="378132"/>
                  </a:lnTo>
                  <a:lnTo>
                    <a:pt x="3274924" y="350287"/>
                  </a:lnTo>
                  <a:lnTo>
                    <a:pt x="3272352" y="316627"/>
                  </a:lnTo>
                  <a:lnTo>
                    <a:pt x="3247251" y="288889"/>
                  </a:lnTo>
                  <a:lnTo>
                    <a:pt x="3212371" y="260069"/>
                  </a:lnTo>
                  <a:lnTo>
                    <a:pt x="3196563" y="227155"/>
                  </a:lnTo>
                  <a:lnTo>
                    <a:pt x="3179423" y="191469"/>
                  </a:lnTo>
                  <a:lnTo>
                    <a:pt x="3161194" y="153701"/>
                  </a:lnTo>
                  <a:lnTo>
                    <a:pt x="3150155" y="135248"/>
                  </a:lnTo>
                  <a:lnTo>
                    <a:pt x="3134853" y="116624"/>
                  </a:lnTo>
                  <a:lnTo>
                    <a:pt x="3102703" y="81612"/>
                  </a:lnTo>
                  <a:lnTo>
                    <a:pt x="3078092" y="61128"/>
                  </a:lnTo>
                  <a:lnTo>
                    <a:pt x="3048434" y="50405"/>
                  </a:lnTo>
                  <a:lnTo>
                    <a:pt x="3017016" y="50326"/>
                  </a:lnTo>
                  <a:lnTo>
                    <a:pt x="2986462" y="56815"/>
                  </a:lnTo>
                  <a:lnTo>
                    <a:pt x="2960511" y="73763"/>
                  </a:lnTo>
                  <a:lnTo>
                    <a:pt x="2942204" y="100651"/>
                  </a:lnTo>
                  <a:lnTo>
                    <a:pt x="2928295" y="130110"/>
                  </a:lnTo>
                  <a:lnTo>
                    <a:pt x="2930887" y="155533"/>
                  </a:lnTo>
                  <a:lnTo>
                    <a:pt x="2928598" y="179546"/>
                  </a:lnTo>
                  <a:lnTo>
                    <a:pt x="2926323" y="203558"/>
                  </a:lnTo>
                  <a:lnTo>
                    <a:pt x="2920025" y="226758"/>
                  </a:lnTo>
                  <a:lnTo>
                    <a:pt x="2890513" y="251634"/>
                  </a:lnTo>
                  <a:lnTo>
                    <a:pt x="2867094" y="262055"/>
                  </a:lnTo>
                  <a:lnTo>
                    <a:pt x="2836105" y="250276"/>
                  </a:lnTo>
                  <a:lnTo>
                    <a:pt x="2816162" y="223329"/>
                  </a:lnTo>
                  <a:lnTo>
                    <a:pt x="2798468" y="165433"/>
                  </a:lnTo>
                  <a:lnTo>
                    <a:pt x="2796107" y="117283"/>
                  </a:lnTo>
                  <a:lnTo>
                    <a:pt x="2774165" y="89419"/>
                  </a:lnTo>
                  <a:lnTo>
                    <a:pt x="2742490" y="78584"/>
                  </a:lnTo>
                  <a:lnTo>
                    <a:pt x="2709608" y="69371"/>
                  </a:lnTo>
                  <a:lnTo>
                    <a:pt x="2676732" y="60151"/>
                  </a:lnTo>
                  <a:lnTo>
                    <a:pt x="2642182" y="53524"/>
                  </a:lnTo>
                  <a:lnTo>
                    <a:pt x="2605870" y="47172"/>
                  </a:lnTo>
                  <a:lnTo>
                    <a:pt x="2565021" y="54698"/>
                  </a:lnTo>
                  <a:lnTo>
                    <a:pt x="2530062" y="53042"/>
                  </a:lnTo>
                  <a:lnTo>
                    <a:pt x="2496870" y="48690"/>
                  </a:lnTo>
                  <a:lnTo>
                    <a:pt x="2476208" y="32908"/>
                  </a:lnTo>
                  <a:lnTo>
                    <a:pt x="2475654" y="0"/>
                  </a:lnTo>
                  <a:lnTo>
                    <a:pt x="2444473" y="25792"/>
                  </a:lnTo>
                  <a:lnTo>
                    <a:pt x="2408900" y="47648"/>
                  </a:lnTo>
                  <a:lnTo>
                    <a:pt x="2389643" y="58931"/>
                  </a:lnTo>
                  <a:lnTo>
                    <a:pt x="2346136" y="91002"/>
                  </a:lnTo>
                  <a:lnTo>
                    <a:pt x="2326609" y="112509"/>
                  </a:lnTo>
                  <a:lnTo>
                    <a:pt x="2304272" y="138737"/>
                  </a:lnTo>
                  <a:lnTo>
                    <a:pt x="2244423" y="209466"/>
                  </a:lnTo>
                  <a:lnTo>
                    <a:pt x="2233997" y="243239"/>
                  </a:lnTo>
                  <a:lnTo>
                    <a:pt x="2234901" y="269315"/>
                  </a:lnTo>
                  <a:lnTo>
                    <a:pt x="2235804" y="295391"/>
                  </a:lnTo>
                  <a:lnTo>
                    <a:pt x="2239827" y="325926"/>
                  </a:lnTo>
                  <a:lnTo>
                    <a:pt x="2245782" y="356369"/>
                  </a:lnTo>
                  <a:lnTo>
                    <a:pt x="2257686" y="417252"/>
                  </a:lnTo>
                  <a:lnTo>
                    <a:pt x="2275624" y="476937"/>
                  </a:lnTo>
                  <a:lnTo>
                    <a:pt x="2281150" y="499188"/>
                  </a:lnTo>
                  <a:lnTo>
                    <a:pt x="2290944" y="538572"/>
                  </a:lnTo>
                  <a:lnTo>
                    <a:pt x="2313492" y="578056"/>
                  </a:lnTo>
                  <a:lnTo>
                    <a:pt x="2326035" y="616169"/>
                  </a:lnTo>
                  <a:lnTo>
                    <a:pt x="2339252" y="656312"/>
                  </a:lnTo>
                  <a:lnTo>
                    <a:pt x="2352112" y="697629"/>
                  </a:lnTo>
                  <a:lnTo>
                    <a:pt x="2366838" y="737225"/>
                  </a:lnTo>
                  <a:lnTo>
                    <a:pt x="2375280" y="759943"/>
                  </a:lnTo>
                  <a:lnTo>
                    <a:pt x="2388773" y="779326"/>
                  </a:lnTo>
                  <a:lnTo>
                    <a:pt x="2395407" y="803872"/>
                  </a:lnTo>
                  <a:lnTo>
                    <a:pt x="2401421" y="826129"/>
                  </a:lnTo>
                  <a:lnTo>
                    <a:pt x="2371982" y="1213422"/>
                  </a:lnTo>
                  <a:lnTo>
                    <a:pt x="2369562" y="1235060"/>
                  </a:lnTo>
                  <a:lnTo>
                    <a:pt x="2366455" y="1262515"/>
                  </a:lnTo>
                  <a:lnTo>
                    <a:pt x="2357526" y="1292140"/>
                  </a:lnTo>
                  <a:lnTo>
                    <a:pt x="2351874" y="1319389"/>
                  </a:lnTo>
                  <a:lnTo>
                    <a:pt x="2345530" y="1350035"/>
                  </a:lnTo>
                  <a:lnTo>
                    <a:pt x="2342404" y="1381717"/>
                  </a:lnTo>
                  <a:lnTo>
                    <a:pt x="2336917" y="1411883"/>
                  </a:lnTo>
                  <a:lnTo>
                    <a:pt x="2331430" y="1442055"/>
                  </a:lnTo>
                  <a:lnTo>
                    <a:pt x="2323094" y="1470709"/>
                  </a:lnTo>
                  <a:lnTo>
                    <a:pt x="2305631" y="1498935"/>
                  </a:lnTo>
                  <a:lnTo>
                    <a:pt x="2282212" y="1513187"/>
                  </a:lnTo>
                  <a:lnTo>
                    <a:pt x="2258319" y="1514611"/>
                  </a:lnTo>
                  <a:lnTo>
                    <a:pt x="2234901" y="1507100"/>
                  </a:lnTo>
                  <a:lnTo>
                    <a:pt x="2211996" y="1497709"/>
                  </a:lnTo>
                  <a:lnTo>
                    <a:pt x="2190385" y="1481274"/>
                  </a:lnTo>
                  <a:lnTo>
                    <a:pt x="2169611" y="1471732"/>
                  </a:lnTo>
                  <a:lnTo>
                    <a:pt x="2140561" y="1458384"/>
                  </a:lnTo>
                  <a:lnTo>
                    <a:pt x="2107084" y="1447884"/>
                  </a:lnTo>
                  <a:lnTo>
                    <a:pt x="2077117" y="1436370"/>
                  </a:lnTo>
                  <a:lnTo>
                    <a:pt x="2054187" y="1427612"/>
                  </a:lnTo>
                  <a:lnTo>
                    <a:pt x="1950218" y="1431226"/>
                  </a:lnTo>
                  <a:lnTo>
                    <a:pt x="1920693" y="1430928"/>
                  </a:lnTo>
                  <a:lnTo>
                    <a:pt x="1843598" y="1445036"/>
                  </a:lnTo>
                  <a:lnTo>
                    <a:pt x="1782120" y="1458522"/>
                  </a:lnTo>
                  <a:lnTo>
                    <a:pt x="1722107" y="1477172"/>
                  </a:lnTo>
                  <a:lnTo>
                    <a:pt x="1662094" y="1495822"/>
                  </a:lnTo>
                  <a:lnTo>
                    <a:pt x="1603993" y="1519893"/>
                  </a:lnTo>
                  <a:lnTo>
                    <a:pt x="1552077" y="1551984"/>
                  </a:lnTo>
                  <a:lnTo>
                    <a:pt x="1513424" y="1575871"/>
                  </a:lnTo>
                  <a:lnTo>
                    <a:pt x="1481584" y="1615784"/>
                  </a:lnTo>
                  <a:lnTo>
                    <a:pt x="1447344" y="1640396"/>
                  </a:lnTo>
                  <a:lnTo>
                    <a:pt x="1411441" y="1666215"/>
                  </a:lnTo>
                  <a:lnTo>
                    <a:pt x="1366108" y="1697047"/>
                  </a:lnTo>
                  <a:lnTo>
                    <a:pt x="1322205" y="1730166"/>
                  </a:lnTo>
                  <a:lnTo>
                    <a:pt x="1278309" y="1763292"/>
                  </a:lnTo>
                  <a:lnTo>
                    <a:pt x="1236103" y="1797737"/>
                  </a:lnTo>
                  <a:lnTo>
                    <a:pt x="1205232" y="1832183"/>
                  </a:lnTo>
                  <a:lnTo>
                    <a:pt x="1165043" y="1876988"/>
                  </a:lnTo>
                  <a:lnTo>
                    <a:pt x="1139454" y="1929780"/>
                  </a:lnTo>
                  <a:lnTo>
                    <a:pt x="1105932" y="1979084"/>
                  </a:lnTo>
                  <a:lnTo>
                    <a:pt x="1093059" y="1998005"/>
                  </a:lnTo>
                  <a:lnTo>
                    <a:pt x="1076855" y="2013344"/>
                  </a:lnTo>
                  <a:lnTo>
                    <a:pt x="1063771" y="2032133"/>
                  </a:lnTo>
                  <a:lnTo>
                    <a:pt x="1043445" y="2061310"/>
                  </a:lnTo>
                  <a:lnTo>
                    <a:pt x="1023482" y="2091277"/>
                  </a:lnTo>
                  <a:lnTo>
                    <a:pt x="1003922" y="2120545"/>
                  </a:lnTo>
                  <a:lnTo>
                    <a:pt x="984361" y="2149819"/>
                  </a:lnTo>
                  <a:lnTo>
                    <a:pt x="964445" y="2178738"/>
                  </a:lnTo>
                  <a:lnTo>
                    <a:pt x="941350" y="2206239"/>
                  </a:lnTo>
                  <a:lnTo>
                    <a:pt x="912708" y="2229380"/>
                  </a:lnTo>
                  <a:lnTo>
                    <a:pt x="877504" y="2240223"/>
                  </a:lnTo>
                  <a:lnTo>
                    <a:pt x="839340" y="2249765"/>
                  </a:lnTo>
                  <a:lnTo>
                    <a:pt x="798517" y="2266443"/>
                  </a:lnTo>
                  <a:lnTo>
                    <a:pt x="779491" y="2285133"/>
                  </a:lnTo>
                  <a:lnTo>
                    <a:pt x="760458" y="2303818"/>
                  </a:lnTo>
                  <a:lnTo>
                    <a:pt x="743344" y="2330514"/>
                  </a:lnTo>
                  <a:lnTo>
                    <a:pt x="727800" y="2372187"/>
                  </a:lnTo>
                  <a:lnTo>
                    <a:pt x="722762" y="2409633"/>
                  </a:lnTo>
                  <a:lnTo>
                    <a:pt x="720598" y="2447889"/>
                  </a:lnTo>
                  <a:lnTo>
                    <a:pt x="719748" y="2472666"/>
                  </a:lnTo>
                  <a:lnTo>
                    <a:pt x="726435" y="2502765"/>
                  </a:lnTo>
                  <a:lnTo>
                    <a:pt x="742474" y="2536518"/>
                  </a:lnTo>
                  <a:lnTo>
                    <a:pt x="759370" y="2569657"/>
                  </a:lnTo>
                  <a:lnTo>
                    <a:pt x="754998" y="2606134"/>
                  </a:lnTo>
                  <a:lnTo>
                    <a:pt x="730530" y="2616910"/>
                  </a:lnTo>
                  <a:lnTo>
                    <a:pt x="708754" y="2618381"/>
                  </a:lnTo>
                  <a:lnTo>
                    <a:pt x="686978" y="2619845"/>
                  </a:lnTo>
                  <a:lnTo>
                    <a:pt x="663783" y="2619324"/>
                  </a:lnTo>
                  <a:lnTo>
                    <a:pt x="640635" y="2620524"/>
                  </a:lnTo>
                  <a:lnTo>
                    <a:pt x="614902" y="2638779"/>
                  </a:lnTo>
                  <a:lnTo>
                    <a:pt x="592097" y="2666101"/>
                  </a:lnTo>
                  <a:lnTo>
                    <a:pt x="562578" y="2714712"/>
                  </a:lnTo>
                  <a:lnTo>
                    <a:pt x="547859" y="2750232"/>
                  </a:lnTo>
                  <a:lnTo>
                    <a:pt x="536007" y="2767999"/>
                  </a:lnTo>
                  <a:lnTo>
                    <a:pt x="511375" y="2804937"/>
                  </a:lnTo>
                  <a:lnTo>
                    <a:pt x="476904" y="2841961"/>
                  </a:lnTo>
                  <a:lnTo>
                    <a:pt x="448954" y="2876815"/>
                  </a:lnTo>
                  <a:lnTo>
                    <a:pt x="407228" y="2901209"/>
                  </a:lnTo>
                  <a:lnTo>
                    <a:pt x="376866" y="2905378"/>
                  </a:lnTo>
                  <a:lnTo>
                    <a:pt x="346503" y="2909545"/>
                  </a:lnTo>
                  <a:lnTo>
                    <a:pt x="314293" y="2908570"/>
                  </a:lnTo>
                  <a:lnTo>
                    <a:pt x="266981" y="2923823"/>
                  </a:lnTo>
                  <a:lnTo>
                    <a:pt x="248977" y="2947177"/>
                  </a:lnTo>
                  <a:lnTo>
                    <a:pt x="236764" y="2973384"/>
                  </a:lnTo>
                  <a:lnTo>
                    <a:pt x="224557" y="2999598"/>
                  </a:lnTo>
                  <a:lnTo>
                    <a:pt x="219148" y="3028742"/>
                  </a:lnTo>
                  <a:lnTo>
                    <a:pt x="215001" y="3059078"/>
                  </a:lnTo>
                  <a:lnTo>
                    <a:pt x="210859" y="3089415"/>
                  </a:lnTo>
                  <a:lnTo>
                    <a:pt x="208201" y="3120741"/>
                  </a:lnTo>
                  <a:lnTo>
                    <a:pt x="202760" y="3150214"/>
                  </a:lnTo>
                  <a:lnTo>
                    <a:pt x="197319" y="3179687"/>
                  </a:lnTo>
                  <a:lnTo>
                    <a:pt x="188931" y="3208215"/>
                  </a:lnTo>
                  <a:lnTo>
                    <a:pt x="172833" y="3231826"/>
                  </a:lnTo>
                  <a:lnTo>
                    <a:pt x="137464" y="3283721"/>
                  </a:lnTo>
                  <a:lnTo>
                    <a:pt x="90027" y="3348172"/>
                  </a:lnTo>
                  <a:lnTo>
                    <a:pt x="54500" y="3416813"/>
                  </a:lnTo>
                  <a:lnTo>
                    <a:pt x="36733" y="3451132"/>
                  </a:lnTo>
                  <a:lnTo>
                    <a:pt x="21367" y="3486349"/>
                  </a:lnTo>
                  <a:lnTo>
                    <a:pt x="12332" y="3521546"/>
                  </a:lnTo>
                  <a:lnTo>
                    <a:pt x="3297" y="3556743"/>
                  </a:lnTo>
                  <a:lnTo>
                    <a:pt x="0" y="3591057"/>
                  </a:lnTo>
                  <a:lnTo>
                    <a:pt x="5533" y="3624921"/>
                  </a:lnTo>
                  <a:lnTo>
                    <a:pt x="12701" y="3668790"/>
                  </a:lnTo>
                  <a:lnTo>
                    <a:pt x="15564" y="3732115"/>
                  </a:lnTo>
                  <a:lnTo>
                    <a:pt x="23214" y="3792228"/>
                  </a:lnTo>
                  <a:lnTo>
                    <a:pt x="27039" y="3822288"/>
                  </a:lnTo>
                  <a:lnTo>
                    <a:pt x="31602" y="3851477"/>
                  </a:lnTo>
                  <a:lnTo>
                    <a:pt x="39536" y="3877922"/>
                  </a:lnTo>
                  <a:lnTo>
                    <a:pt x="47470" y="3904360"/>
                  </a:lnTo>
                  <a:lnTo>
                    <a:pt x="58846" y="3926863"/>
                  </a:lnTo>
                  <a:lnTo>
                    <a:pt x="73539" y="3944570"/>
                  </a:lnTo>
                  <a:lnTo>
                    <a:pt x="126688" y="4008599"/>
                  </a:lnTo>
                  <a:lnTo>
                    <a:pt x="142727" y="4030633"/>
                  </a:lnTo>
                  <a:lnTo>
                    <a:pt x="146994" y="4056109"/>
                  </a:lnTo>
                  <a:lnTo>
                    <a:pt x="151260" y="4081579"/>
                  </a:lnTo>
                  <a:lnTo>
                    <a:pt x="143617" y="4111216"/>
                  </a:lnTo>
                  <a:lnTo>
                    <a:pt x="148352" y="4193488"/>
                  </a:lnTo>
                  <a:lnTo>
                    <a:pt x="154901" y="4230742"/>
                  </a:lnTo>
                  <a:lnTo>
                    <a:pt x="169001" y="4267766"/>
                  </a:lnTo>
                  <a:lnTo>
                    <a:pt x="185079" y="4302303"/>
                  </a:lnTo>
                  <a:lnTo>
                    <a:pt x="202655" y="4341496"/>
                  </a:lnTo>
                  <a:lnTo>
                    <a:pt x="206592" y="4379333"/>
                  </a:lnTo>
                  <a:lnTo>
                    <a:pt x="202760" y="4416560"/>
                  </a:lnTo>
                  <a:lnTo>
                    <a:pt x="198929" y="4453782"/>
                  </a:lnTo>
                  <a:lnTo>
                    <a:pt x="187025" y="4490779"/>
                  </a:lnTo>
                  <a:lnTo>
                    <a:pt x="171474" y="4529452"/>
                  </a:lnTo>
                  <a:lnTo>
                    <a:pt x="150858" y="4559083"/>
                  </a:lnTo>
                  <a:lnTo>
                    <a:pt x="84421" y="4688601"/>
                  </a:lnTo>
                  <a:lnTo>
                    <a:pt x="53893" y="4747149"/>
                  </a:lnTo>
                  <a:lnTo>
                    <a:pt x="38270" y="4777045"/>
                  </a:lnTo>
                  <a:lnTo>
                    <a:pt x="28655" y="4809655"/>
                  </a:lnTo>
                  <a:lnTo>
                    <a:pt x="19033" y="4842267"/>
                  </a:lnTo>
                  <a:lnTo>
                    <a:pt x="14878" y="4876752"/>
                  </a:lnTo>
                  <a:lnTo>
                    <a:pt x="8250" y="4945676"/>
                  </a:lnTo>
                  <a:lnTo>
                    <a:pt x="10967" y="5000084"/>
                  </a:lnTo>
                  <a:lnTo>
                    <a:pt x="10967" y="5025929"/>
                  </a:lnTo>
                  <a:lnTo>
                    <a:pt x="12325" y="5057209"/>
                  </a:lnTo>
                  <a:lnTo>
                    <a:pt x="58285" y="5042126"/>
                  </a:lnTo>
                  <a:lnTo>
                    <a:pt x="101647" y="5021959"/>
                  </a:lnTo>
                  <a:lnTo>
                    <a:pt x="148346" y="5010966"/>
                  </a:lnTo>
                  <a:lnTo>
                    <a:pt x="183094" y="5002808"/>
                  </a:lnTo>
                  <a:lnTo>
                    <a:pt x="221351" y="5008327"/>
                  </a:lnTo>
                  <a:lnTo>
                    <a:pt x="255803" y="5000084"/>
                  </a:lnTo>
                  <a:lnTo>
                    <a:pt x="312849" y="4979172"/>
                  </a:lnTo>
                  <a:lnTo>
                    <a:pt x="374781" y="4977642"/>
                  </a:lnTo>
                  <a:lnTo>
                    <a:pt x="429908" y="4952475"/>
                  </a:lnTo>
                  <a:lnTo>
                    <a:pt x="556411" y="4893991"/>
                  </a:lnTo>
                  <a:lnTo>
                    <a:pt x="583570" y="4874437"/>
                  </a:lnTo>
                  <a:lnTo>
                    <a:pt x="673491" y="4821303"/>
                  </a:lnTo>
                  <a:lnTo>
                    <a:pt x="792384" y="4684136"/>
                  </a:lnTo>
                  <a:lnTo>
                    <a:pt x="824370" y="4608347"/>
                  </a:lnTo>
                  <a:lnTo>
                    <a:pt x="845750" y="4557723"/>
                  </a:lnTo>
                  <a:lnTo>
                    <a:pt x="855504" y="4490266"/>
                  </a:lnTo>
                  <a:lnTo>
                    <a:pt x="885577" y="4445123"/>
                  </a:lnTo>
                  <a:lnTo>
                    <a:pt x="962071" y="4330398"/>
                  </a:lnTo>
                  <a:lnTo>
                    <a:pt x="1012522" y="4414476"/>
                  </a:lnTo>
                  <a:lnTo>
                    <a:pt x="1022961" y="4230215"/>
                  </a:lnTo>
                  <a:lnTo>
                    <a:pt x="1044000" y="4220732"/>
                  </a:lnTo>
                  <a:lnTo>
                    <a:pt x="1063659" y="4171302"/>
                  </a:lnTo>
                  <a:lnTo>
                    <a:pt x="1090968" y="4152678"/>
                  </a:lnTo>
                  <a:lnTo>
                    <a:pt x="1134561" y="4122969"/>
                  </a:lnTo>
                  <a:lnTo>
                    <a:pt x="1256507" y="4070987"/>
                  </a:lnTo>
                  <a:lnTo>
                    <a:pt x="1309959" y="4046586"/>
                  </a:lnTo>
                  <a:lnTo>
                    <a:pt x="1341054" y="4032433"/>
                  </a:lnTo>
                  <a:lnTo>
                    <a:pt x="1368554" y="4010117"/>
                  </a:lnTo>
                  <a:lnTo>
                    <a:pt x="1399735" y="3996260"/>
                  </a:lnTo>
                  <a:lnTo>
                    <a:pt x="1473525" y="3963484"/>
                  </a:lnTo>
                  <a:lnTo>
                    <a:pt x="1536691" y="4005098"/>
                  </a:lnTo>
                  <a:lnTo>
                    <a:pt x="1610561" y="4000336"/>
                  </a:lnTo>
                  <a:lnTo>
                    <a:pt x="1669565" y="3996511"/>
                  </a:lnTo>
                  <a:lnTo>
                    <a:pt x="1746073" y="3982780"/>
                  </a:lnTo>
                  <a:lnTo>
                    <a:pt x="1800995" y="3960885"/>
                  </a:lnTo>
                  <a:lnTo>
                    <a:pt x="1822837" y="3952173"/>
                  </a:lnTo>
                  <a:lnTo>
                    <a:pt x="1840650" y="3937724"/>
                  </a:lnTo>
                  <a:lnTo>
                    <a:pt x="1863561" y="3930965"/>
                  </a:lnTo>
                  <a:lnTo>
                    <a:pt x="1907048" y="3918130"/>
                  </a:lnTo>
                  <a:lnTo>
                    <a:pt x="1950719" y="3910560"/>
                  </a:lnTo>
                  <a:lnTo>
                    <a:pt x="1995499" y="3903760"/>
                  </a:lnTo>
                  <a:lnTo>
                    <a:pt x="2067614" y="3892753"/>
                  </a:lnTo>
                  <a:lnTo>
                    <a:pt x="2176067" y="3884932"/>
                  </a:lnTo>
                  <a:lnTo>
                    <a:pt x="2248499" y="3887439"/>
                  </a:lnTo>
                  <a:lnTo>
                    <a:pt x="2324499" y="3890029"/>
                  </a:lnTo>
                  <a:lnTo>
                    <a:pt x="2401646" y="3902487"/>
                  </a:lnTo>
                  <a:lnTo>
                    <a:pt x="2478371" y="3896961"/>
                  </a:lnTo>
                  <a:lnTo>
                    <a:pt x="2513225" y="3894494"/>
                  </a:lnTo>
                  <a:lnTo>
                    <a:pt x="2550229" y="3900998"/>
                  </a:lnTo>
                  <a:lnTo>
                    <a:pt x="2585829" y="3898320"/>
                  </a:lnTo>
                  <a:lnTo>
                    <a:pt x="2668376" y="3892114"/>
                  </a:lnTo>
                  <a:lnTo>
                    <a:pt x="2751664" y="3878594"/>
                  </a:lnTo>
                  <a:lnTo>
                    <a:pt x="2834740" y="3880631"/>
                  </a:lnTo>
                  <a:lnTo>
                    <a:pt x="2866560" y="3881489"/>
                  </a:lnTo>
                  <a:lnTo>
                    <a:pt x="2945772" y="3895345"/>
                  </a:lnTo>
                  <a:lnTo>
                    <a:pt x="2966684" y="3892879"/>
                  </a:lnTo>
                  <a:lnTo>
                    <a:pt x="3048038" y="3883270"/>
                  </a:lnTo>
                  <a:lnTo>
                    <a:pt x="3104894" y="3779216"/>
                  </a:lnTo>
                  <a:lnTo>
                    <a:pt x="3177516" y="3748694"/>
                  </a:lnTo>
                  <a:lnTo>
                    <a:pt x="3250218" y="3718173"/>
                  </a:lnTo>
                  <a:lnTo>
                    <a:pt x="3322585" y="3766038"/>
                  </a:lnTo>
                  <a:lnTo>
                    <a:pt x="3393783" y="3755501"/>
                  </a:lnTo>
                  <a:lnTo>
                    <a:pt x="3459370" y="3745806"/>
                  </a:lnTo>
                  <a:lnTo>
                    <a:pt x="3412506" y="3647449"/>
                  </a:lnTo>
                  <a:lnTo>
                    <a:pt x="3644059" y="3692928"/>
                  </a:lnTo>
                  <a:lnTo>
                    <a:pt x="3695810" y="3705893"/>
                  </a:lnTo>
                  <a:lnTo>
                    <a:pt x="3733190" y="3703427"/>
                  </a:lnTo>
                  <a:lnTo>
                    <a:pt x="3759056" y="3674053"/>
                  </a:lnTo>
                  <a:lnTo>
                    <a:pt x="3782797" y="3664366"/>
                  </a:lnTo>
                  <a:lnTo>
                    <a:pt x="3818416" y="3649824"/>
                  </a:lnTo>
                  <a:lnTo>
                    <a:pt x="3853890" y="3643109"/>
                  </a:lnTo>
                  <a:lnTo>
                    <a:pt x="3891613" y="3637161"/>
                  </a:lnTo>
                  <a:lnTo>
                    <a:pt x="3918494" y="3632994"/>
                  </a:lnTo>
                  <a:lnTo>
                    <a:pt x="3949205" y="3638521"/>
                  </a:lnTo>
                  <a:lnTo>
                    <a:pt x="3973218" y="3638521"/>
                  </a:lnTo>
                  <a:lnTo>
                    <a:pt x="4001338" y="3637161"/>
                  </a:lnTo>
                  <a:lnTo>
                    <a:pt x="4095046" y="3640598"/>
                  </a:lnTo>
                  <a:lnTo>
                    <a:pt x="4121485" y="3645319"/>
                  </a:lnTo>
                  <a:lnTo>
                    <a:pt x="4300497" y="3655436"/>
                  </a:lnTo>
                  <a:lnTo>
                    <a:pt x="4434328" y="3548743"/>
                  </a:lnTo>
                  <a:lnTo>
                    <a:pt x="4494604" y="3504789"/>
                  </a:lnTo>
                  <a:lnTo>
                    <a:pt x="4528733" y="3328730"/>
                  </a:lnTo>
                  <a:lnTo>
                    <a:pt x="4564906" y="3261741"/>
                  </a:lnTo>
                  <a:lnTo>
                    <a:pt x="4607199" y="3183359"/>
                  </a:lnTo>
                  <a:lnTo>
                    <a:pt x="4693916" y="3192289"/>
                  </a:lnTo>
                  <a:lnTo>
                    <a:pt x="4715890" y="3151566"/>
                  </a:lnTo>
                  <a:lnTo>
                    <a:pt x="4738180" y="3110249"/>
                  </a:lnTo>
                  <a:lnTo>
                    <a:pt x="4729212" y="3065325"/>
                  </a:lnTo>
                  <a:lnTo>
                    <a:pt x="4743093" y="3023704"/>
                  </a:lnTo>
                  <a:lnTo>
                    <a:pt x="4758354" y="2977882"/>
                  </a:lnTo>
                  <a:lnTo>
                    <a:pt x="4787425" y="2932278"/>
                  </a:lnTo>
                  <a:lnTo>
                    <a:pt x="4807024" y="2887684"/>
                  </a:lnTo>
                  <a:lnTo>
                    <a:pt x="4824389" y="2848153"/>
                  </a:lnTo>
                  <a:lnTo>
                    <a:pt x="4832739" y="2804713"/>
                  </a:lnTo>
                  <a:lnTo>
                    <a:pt x="4853268" y="2766628"/>
                  </a:lnTo>
                  <a:lnTo>
                    <a:pt x="4865067" y="2744778"/>
                  </a:lnTo>
                  <a:lnTo>
                    <a:pt x="4887292" y="2722085"/>
                  </a:lnTo>
                  <a:lnTo>
                    <a:pt x="4891354" y="2697262"/>
                  </a:lnTo>
                  <a:lnTo>
                    <a:pt x="4896861" y="2663464"/>
                  </a:lnTo>
                  <a:lnTo>
                    <a:pt x="4869169" y="2639241"/>
                  </a:lnTo>
                  <a:lnTo>
                    <a:pt x="4866873" y="2607486"/>
                  </a:lnTo>
                  <a:lnTo>
                    <a:pt x="4872994" y="2581430"/>
                  </a:lnTo>
                  <a:lnTo>
                    <a:pt x="4928080" y="2586910"/>
                  </a:lnTo>
                  <a:lnTo>
                    <a:pt x="5010286" y="2582405"/>
                  </a:lnTo>
                  <a:lnTo>
                    <a:pt x="5043697" y="2528591"/>
                  </a:lnTo>
                  <a:lnTo>
                    <a:pt x="5090883" y="2534968"/>
                  </a:lnTo>
                  <a:lnTo>
                    <a:pt x="5102397" y="2569525"/>
                  </a:lnTo>
                  <a:lnTo>
                    <a:pt x="5144354" y="2557154"/>
                  </a:lnTo>
                  <a:lnTo>
                    <a:pt x="5167983" y="2550182"/>
                  </a:lnTo>
                  <a:lnTo>
                    <a:pt x="5178997" y="2520130"/>
                  </a:lnTo>
                  <a:lnTo>
                    <a:pt x="5214023" y="2517749"/>
                  </a:lnTo>
                  <a:lnTo>
                    <a:pt x="5247261" y="2527108"/>
                  </a:lnTo>
                  <a:lnTo>
                    <a:pt x="5280690" y="2498537"/>
                  </a:lnTo>
                  <a:lnTo>
                    <a:pt x="5295740" y="2444296"/>
                  </a:lnTo>
                  <a:lnTo>
                    <a:pt x="5334783" y="2457861"/>
                  </a:lnTo>
                  <a:lnTo>
                    <a:pt x="5378671" y="2383385"/>
                  </a:lnTo>
                  <a:lnTo>
                    <a:pt x="5414626" y="2413523"/>
                  </a:lnTo>
                  <a:lnTo>
                    <a:pt x="5464003" y="2418411"/>
                  </a:lnTo>
                  <a:lnTo>
                    <a:pt x="5495222" y="2418806"/>
                  </a:lnTo>
                  <a:lnTo>
                    <a:pt x="5543043" y="2426739"/>
                  </a:lnTo>
                  <a:lnTo>
                    <a:pt x="5600721" y="2461983"/>
                  </a:lnTo>
                  <a:lnTo>
                    <a:pt x="5628374" y="2459687"/>
                  </a:lnTo>
                  <a:lnTo>
                    <a:pt x="5755484" y="2377350"/>
                  </a:lnTo>
                  <a:lnTo>
                    <a:pt x="5780036" y="2341902"/>
                  </a:lnTo>
                  <a:lnTo>
                    <a:pt x="5782734" y="2307938"/>
                  </a:lnTo>
                  <a:lnTo>
                    <a:pt x="5799967" y="2281031"/>
                  </a:lnTo>
                  <a:lnTo>
                    <a:pt x="5834609" y="2263774"/>
                  </a:lnTo>
                  <a:lnTo>
                    <a:pt x="5864088" y="2281031"/>
                  </a:lnTo>
                  <a:lnTo>
                    <a:pt x="5878861" y="2312318"/>
                  </a:lnTo>
                  <a:lnTo>
                    <a:pt x="5907298" y="2306706"/>
                  </a:lnTo>
                  <a:lnTo>
                    <a:pt x="5948998" y="2240355"/>
                  </a:lnTo>
                  <a:lnTo>
                    <a:pt x="5969719" y="2200726"/>
                  </a:lnTo>
                  <a:lnTo>
                    <a:pt x="5984769" y="2182510"/>
                  </a:lnTo>
                  <a:lnTo>
                    <a:pt x="5989042" y="2147729"/>
                  </a:lnTo>
                  <a:lnTo>
                    <a:pt x="6001514" y="2083205"/>
                  </a:lnTo>
                  <a:lnTo>
                    <a:pt x="6020131" y="2012138"/>
                  </a:lnTo>
                  <a:lnTo>
                    <a:pt x="6034817" y="1959729"/>
                  </a:lnTo>
                  <a:lnTo>
                    <a:pt x="6085611" y="1939620"/>
                  </a:lnTo>
                  <a:lnTo>
                    <a:pt x="6111438" y="1929464"/>
                  </a:lnTo>
                  <a:lnTo>
                    <a:pt x="6160280" y="1939488"/>
                  </a:lnTo>
                  <a:lnTo>
                    <a:pt x="6174029" y="1912417"/>
                  </a:lnTo>
                  <a:lnTo>
                    <a:pt x="6175962" y="1866852"/>
                  </a:lnTo>
                  <a:lnTo>
                    <a:pt x="6175922" y="1760542"/>
                  </a:lnTo>
                  <a:lnTo>
                    <a:pt x="6224355" y="1739669"/>
                  </a:lnTo>
                  <a:lnTo>
                    <a:pt x="6305756" y="1772486"/>
                  </a:lnTo>
                  <a:lnTo>
                    <a:pt x="6314296" y="2024128"/>
                  </a:lnTo>
                  <a:lnTo>
                    <a:pt x="6501835" y="2010350"/>
                  </a:lnTo>
                  <a:lnTo>
                    <a:pt x="6543020" y="2004442"/>
                  </a:lnTo>
                  <a:lnTo>
                    <a:pt x="6577789" y="1998828"/>
                  </a:lnTo>
                  <a:lnTo>
                    <a:pt x="6598411" y="1962742"/>
                  </a:lnTo>
                  <a:lnTo>
                    <a:pt x="6620360" y="1924320"/>
                  </a:lnTo>
                  <a:lnTo>
                    <a:pt x="6581727" y="1716204"/>
                  </a:lnTo>
                  <a:lnTo>
                    <a:pt x="6567126" y="1667580"/>
                  </a:lnTo>
                  <a:lnTo>
                    <a:pt x="6555440" y="1628769"/>
                  </a:lnTo>
                  <a:lnTo>
                    <a:pt x="6524640" y="1587841"/>
                  </a:lnTo>
                  <a:lnTo>
                    <a:pt x="6534480" y="1545158"/>
                  </a:lnTo>
                  <a:lnTo>
                    <a:pt x="6559409" y="1514176"/>
                  </a:lnTo>
                  <a:lnTo>
                    <a:pt x="6648309" y="1562847"/>
                  </a:lnTo>
                  <a:lnTo>
                    <a:pt x="6689540" y="1558764"/>
                  </a:lnTo>
                  <a:lnTo>
                    <a:pt x="6713091" y="1518298"/>
                  </a:lnTo>
                  <a:lnTo>
                    <a:pt x="6727902" y="1437239"/>
                  </a:lnTo>
                  <a:lnTo>
                    <a:pt x="6753471" y="1422744"/>
                  </a:lnTo>
                  <a:lnTo>
                    <a:pt x="6898672" y="1549881"/>
                  </a:lnTo>
                  <a:lnTo>
                    <a:pt x="6924853" y="1568287"/>
                  </a:lnTo>
                  <a:lnTo>
                    <a:pt x="6990254" y="1614280"/>
                  </a:lnTo>
                  <a:lnTo>
                    <a:pt x="7062066" y="1636934"/>
                  </a:lnTo>
                  <a:lnTo>
                    <a:pt x="7137051" y="1659423"/>
                  </a:lnTo>
                  <a:lnTo>
                    <a:pt x="7172543" y="1670047"/>
                  </a:lnTo>
                  <a:lnTo>
                    <a:pt x="7218596" y="1679056"/>
                  </a:lnTo>
                  <a:lnTo>
                    <a:pt x="7251307" y="1653981"/>
                  </a:lnTo>
                  <a:lnTo>
                    <a:pt x="7308840" y="1541091"/>
                  </a:lnTo>
                  <a:lnTo>
                    <a:pt x="7356337" y="1642084"/>
                  </a:lnTo>
                  <a:lnTo>
                    <a:pt x="7439011" y="1632224"/>
                  </a:lnTo>
                  <a:lnTo>
                    <a:pt x="7444728" y="1589807"/>
                  </a:lnTo>
                  <a:lnTo>
                    <a:pt x="7435040" y="1558731"/>
                  </a:lnTo>
                  <a:lnTo>
                    <a:pt x="7425413" y="1534291"/>
                  </a:lnTo>
                  <a:lnTo>
                    <a:pt x="7411834" y="1505643"/>
                  </a:lnTo>
                  <a:lnTo>
                    <a:pt x="7411279" y="1438822"/>
                  </a:lnTo>
                  <a:lnTo>
                    <a:pt x="7436295" y="1415952"/>
                  </a:lnTo>
                  <a:lnTo>
                    <a:pt x="7462733" y="1410933"/>
                  </a:lnTo>
                  <a:lnTo>
                    <a:pt x="7501049" y="1419479"/>
                  </a:lnTo>
                  <a:lnTo>
                    <a:pt x="7566597" y="1469602"/>
                  </a:lnTo>
                  <a:lnTo>
                    <a:pt x="7599517" y="1485330"/>
                  </a:lnTo>
                  <a:lnTo>
                    <a:pt x="7629545" y="1499654"/>
                  </a:lnTo>
                  <a:lnTo>
                    <a:pt x="7663640" y="1506624"/>
                  </a:lnTo>
                  <a:lnTo>
                    <a:pt x="7693370" y="1520692"/>
                  </a:lnTo>
                  <a:lnTo>
                    <a:pt x="7775193" y="1559418"/>
                  </a:lnTo>
                  <a:lnTo>
                    <a:pt x="7861125" y="1592999"/>
                  </a:lnTo>
                  <a:lnTo>
                    <a:pt x="7951810" y="1605028"/>
                  </a:lnTo>
                  <a:lnTo>
                    <a:pt x="8040710" y="1609446"/>
                  </a:lnTo>
                  <a:lnTo>
                    <a:pt x="8073691" y="1634395"/>
                  </a:lnTo>
                  <a:lnTo>
                    <a:pt x="8159920" y="1594146"/>
                  </a:lnTo>
                  <a:lnTo>
                    <a:pt x="8189083" y="1580541"/>
                  </a:lnTo>
                  <a:lnTo>
                    <a:pt x="8216069" y="1559503"/>
                  </a:lnTo>
                  <a:lnTo>
                    <a:pt x="8234733" y="1532939"/>
                  </a:lnTo>
                  <a:lnTo>
                    <a:pt x="8252625" y="1507429"/>
                  </a:lnTo>
                  <a:lnTo>
                    <a:pt x="8260829" y="1476236"/>
                  </a:lnTo>
                  <a:lnTo>
                    <a:pt x="8278259" y="1451321"/>
                  </a:lnTo>
                  <a:lnTo>
                    <a:pt x="8308372" y="1408433"/>
                  </a:lnTo>
                  <a:lnTo>
                    <a:pt x="8349622" y="1374259"/>
                  </a:lnTo>
                  <a:lnTo>
                    <a:pt x="8374828" y="1327547"/>
                  </a:lnTo>
                  <a:lnTo>
                    <a:pt x="8450617" y="1203471"/>
                  </a:lnTo>
                  <a:lnTo>
                    <a:pt x="8468469" y="1215585"/>
                  </a:lnTo>
                  <a:lnTo>
                    <a:pt x="8599259" y="1232330"/>
                  </a:lnTo>
                  <a:lnTo>
                    <a:pt x="8620534" y="1235094"/>
                  </a:lnTo>
                  <a:lnTo>
                    <a:pt x="8705227" y="1263142"/>
                  </a:lnTo>
                  <a:lnTo>
                    <a:pt x="8668480" y="1321586"/>
                  </a:lnTo>
                  <a:lnTo>
                    <a:pt x="8710792" y="1361543"/>
                  </a:lnTo>
                  <a:lnTo>
                    <a:pt x="8732555" y="1361543"/>
                  </a:lnTo>
                  <a:lnTo>
                    <a:pt x="8780144" y="1329961"/>
                  </a:lnTo>
                  <a:lnTo>
                    <a:pt x="8821903" y="1242994"/>
                  </a:lnTo>
                  <a:lnTo>
                    <a:pt x="8903943" y="1211918"/>
                  </a:lnTo>
                  <a:lnTo>
                    <a:pt x="8930171" y="1204782"/>
                  </a:lnTo>
                  <a:lnTo>
                    <a:pt x="8962302" y="1169758"/>
                  </a:lnTo>
                  <a:lnTo>
                    <a:pt x="8985555" y="1154793"/>
                  </a:lnTo>
                  <a:lnTo>
                    <a:pt x="9014203" y="1136301"/>
                  </a:lnTo>
                  <a:lnTo>
                    <a:pt x="9052520" y="1134627"/>
                  </a:lnTo>
                  <a:lnTo>
                    <a:pt x="9082131" y="1118067"/>
                  </a:lnTo>
                  <a:lnTo>
                    <a:pt x="9067173" y="1101758"/>
                  </a:lnTo>
                  <a:lnTo>
                    <a:pt x="9046973" y="1095347"/>
                  </a:lnTo>
                  <a:lnTo>
                    <a:pt x="9016842" y="1071829"/>
                  </a:lnTo>
                  <a:lnTo>
                    <a:pt x="8997677" y="1047442"/>
                  </a:lnTo>
                  <a:lnTo>
                    <a:pt x="8981447" y="980886"/>
                  </a:lnTo>
                  <a:lnTo>
                    <a:pt x="8967874" y="912689"/>
                  </a:lnTo>
                  <a:lnTo>
                    <a:pt x="8954309" y="844483"/>
                  </a:lnTo>
                  <a:lnTo>
                    <a:pt x="8943395" y="775257"/>
                  </a:lnTo>
                  <a:lnTo>
                    <a:pt x="8937953" y="745382"/>
                  </a:lnTo>
                  <a:lnTo>
                    <a:pt x="8934175" y="724641"/>
                  </a:lnTo>
                  <a:lnTo>
                    <a:pt x="8930171" y="702660"/>
                  </a:lnTo>
                  <a:lnTo>
                    <a:pt x="8924348" y="681458"/>
                  </a:lnTo>
                  <a:lnTo>
                    <a:pt x="8918525" y="660248"/>
                  </a:lnTo>
                  <a:lnTo>
                    <a:pt x="8911330" y="638854"/>
                  </a:lnTo>
                  <a:lnTo>
                    <a:pt x="8897336" y="592446"/>
                  </a:lnTo>
                  <a:lnTo>
                    <a:pt x="8890998" y="562051"/>
                  </a:lnTo>
                  <a:lnTo>
                    <a:pt x="8882186" y="531833"/>
                  </a:lnTo>
                  <a:lnTo>
                    <a:pt x="8873370" y="501614"/>
                  </a:lnTo>
                  <a:lnTo>
                    <a:pt x="8861987" y="472393"/>
                  </a:lnTo>
                  <a:lnTo>
                    <a:pt x="8846818" y="448863"/>
                  </a:lnTo>
                  <a:lnTo>
                    <a:pt x="8823843" y="420768"/>
                  </a:lnTo>
                  <a:lnTo>
                    <a:pt x="8796348" y="400779"/>
                  </a:lnTo>
                  <a:lnTo>
                    <a:pt x="8767930" y="380848"/>
                  </a:lnTo>
                  <a:lnTo>
                    <a:pt x="8741986" y="360939"/>
                  </a:lnTo>
                  <a:lnTo>
                    <a:pt x="8707831" y="331163"/>
                  </a:lnTo>
                  <a:lnTo>
                    <a:pt x="8671354" y="306043"/>
                  </a:lnTo>
                  <a:lnTo>
                    <a:pt x="8653113" y="293480"/>
                  </a:lnTo>
                  <a:lnTo>
                    <a:pt x="8634370" y="281160"/>
                  </a:lnTo>
                  <a:lnTo>
                    <a:pt x="8596799" y="265629"/>
                  </a:lnTo>
                  <a:lnTo>
                    <a:pt x="8559815" y="262516"/>
                  </a:lnTo>
                  <a:lnTo>
                    <a:pt x="8531167" y="273985"/>
                  </a:lnTo>
                  <a:lnTo>
                    <a:pt x="8512299" y="291850"/>
                  </a:lnTo>
                  <a:lnTo>
                    <a:pt x="8499966" y="314201"/>
                  </a:lnTo>
                  <a:lnTo>
                    <a:pt x="8488815" y="338094"/>
                  </a:lnTo>
                  <a:lnTo>
                    <a:pt x="8483156" y="366730"/>
                  </a:lnTo>
                  <a:lnTo>
                    <a:pt x="8470046" y="390372"/>
                  </a:lnTo>
                  <a:lnTo>
                    <a:pt x="8451270" y="404214"/>
                  </a:lnTo>
                  <a:lnTo>
                    <a:pt x="8419712" y="416217"/>
                  </a:lnTo>
                  <a:lnTo>
                    <a:pt x="8392945" y="420622"/>
                  </a:lnTo>
                  <a:lnTo>
                    <a:pt x="8359007" y="411488"/>
                  </a:lnTo>
                  <a:lnTo>
                    <a:pt x="8341292" y="393880"/>
                  </a:lnTo>
                  <a:lnTo>
                    <a:pt x="8323143" y="372684"/>
                  </a:lnTo>
                  <a:lnTo>
                    <a:pt x="8304995" y="351495"/>
                  </a:lnTo>
                  <a:lnTo>
                    <a:pt x="8286060" y="326402"/>
                  </a:lnTo>
                  <a:lnTo>
                    <a:pt x="8261936" y="308760"/>
                  </a:lnTo>
                  <a:lnTo>
                    <a:pt x="8236644" y="292793"/>
                  </a:lnTo>
                  <a:lnTo>
                    <a:pt x="8205609" y="283918"/>
                  </a:lnTo>
                  <a:lnTo>
                    <a:pt x="8168078" y="284279"/>
                  </a:lnTo>
                  <a:lnTo>
                    <a:pt x="8135559" y="291824"/>
                  </a:lnTo>
                  <a:lnTo>
                    <a:pt x="8105387" y="306662"/>
                  </a:lnTo>
                  <a:lnTo>
                    <a:pt x="8079666" y="329164"/>
                  </a:lnTo>
                  <a:lnTo>
                    <a:pt x="8071719" y="351614"/>
                  </a:lnTo>
                  <a:lnTo>
                    <a:pt x="8079449" y="374729"/>
                  </a:lnTo>
                  <a:lnTo>
                    <a:pt x="8095995" y="394454"/>
                  </a:lnTo>
                  <a:lnTo>
                    <a:pt x="8121168" y="394652"/>
                  </a:lnTo>
                  <a:lnTo>
                    <a:pt x="8154485" y="403977"/>
                  </a:lnTo>
                  <a:lnTo>
                    <a:pt x="8177845" y="420418"/>
                  </a:lnTo>
                  <a:lnTo>
                    <a:pt x="8193455" y="456789"/>
                  </a:lnTo>
                  <a:lnTo>
                    <a:pt x="8188199" y="491538"/>
                  </a:lnTo>
                  <a:lnTo>
                    <a:pt x="8172166" y="537273"/>
                  </a:lnTo>
                  <a:lnTo>
                    <a:pt x="8151412" y="559188"/>
                  </a:lnTo>
                  <a:lnTo>
                    <a:pt x="8122191" y="577937"/>
                  </a:lnTo>
                  <a:lnTo>
                    <a:pt x="8095995" y="590322"/>
                  </a:lnTo>
                  <a:lnTo>
                    <a:pt x="8074575" y="592809"/>
                  </a:lnTo>
                  <a:lnTo>
                    <a:pt x="8048625" y="585219"/>
                  </a:lnTo>
                  <a:lnTo>
                    <a:pt x="7993920" y="564972"/>
                  </a:lnTo>
                  <a:lnTo>
                    <a:pt x="7964763" y="552937"/>
                  </a:lnTo>
                  <a:lnTo>
                    <a:pt x="7934129" y="530475"/>
                  </a:lnTo>
                  <a:lnTo>
                    <a:pt x="7914517" y="516091"/>
                  </a:lnTo>
                  <a:lnTo>
                    <a:pt x="7890603" y="495112"/>
                  </a:lnTo>
                  <a:lnTo>
                    <a:pt x="7861883" y="483702"/>
                  </a:lnTo>
                  <a:lnTo>
                    <a:pt x="7834838" y="488307"/>
                  </a:lnTo>
                  <a:lnTo>
                    <a:pt x="7812593" y="492099"/>
                  </a:lnTo>
                  <a:lnTo>
                    <a:pt x="7783146" y="515517"/>
                  </a:lnTo>
                  <a:lnTo>
                    <a:pt x="7759701" y="545781"/>
                  </a:lnTo>
                  <a:lnTo>
                    <a:pt x="7738585" y="577740"/>
                  </a:lnTo>
                  <a:lnTo>
                    <a:pt x="7713782" y="603928"/>
                  </a:lnTo>
                  <a:lnTo>
                    <a:pt x="7681624" y="622162"/>
                  </a:lnTo>
                  <a:lnTo>
                    <a:pt x="7658008" y="621609"/>
                  </a:lnTo>
                  <a:lnTo>
                    <a:pt x="7608639" y="620455"/>
                  </a:lnTo>
                  <a:lnTo>
                    <a:pt x="7557738" y="614552"/>
                  </a:lnTo>
                  <a:lnTo>
                    <a:pt x="7508389" y="610727"/>
                  </a:lnTo>
                  <a:lnTo>
                    <a:pt x="7474130" y="591767"/>
                  </a:lnTo>
                  <a:lnTo>
                    <a:pt x="7434481" y="588206"/>
                  </a:lnTo>
                  <a:lnTo>
                    <a:pt x="7410264" y="594682"/>
                  </a:lnTo>
                  <a:lnTo>
                    <a:pt x="7385969" y="599846"/>
                  </a:lnTo>
                  <a:lnTo>
                    <a:pt x="7361679" y="605010"/>
                  </a:lnTo>
                  <a:lnTo>
                    <a:pt x="7337950" y="608281"/>
                  </a:lnTo>
                  <a:lnTo>
                    <a:pt x="7316603" y="598488"/>
                  </a:lnTo>
                  <a:lnTo>
                    <a:pt x="7295691" y="588891"/>
                  </a:lnTo>
                  <a:lnTo>
                    <a:pt x="7283425" y="564135"/>
                  </a:lnTo>
                  <a:lnTo>
                    <a:pt x="7271711" y="541362"/>
                  </a:lnTo>
                  <a:lnTo>
                    <a:pt x="7259998" y="518584"/>
                  </a:lnTo>
                  <a:lnTo>
                    <a:pt x="7247647" y="498067"/>
                  </a:lnTo>
                  <a:lnTo>
                    <a:pt x="7226827" y="495112"/>
                  </a:lnTo>
                  <a:lnTo>
                    <a:pt x="7178796" y="518999"/>
                  </a:lnTo>
                  <a:lnTo>
                    <a:pt x="7139603" y="530414"/>
                  </a:lnTo>
                  <a:lnTo>
                    <a:pt x="7109853" y="516875"/>
                  </a:lnTo>
                  <a:lnTo>
                    <a:pt x="7076772" y="507972"/>
                  </a:lnTo>
                  <a:lnTo>
                    <a:pt x="7044564" y="518234"/>
                  </a:lnTo>
                  <a:lnTo>
                    <a:pt x="7021291" y="536983"/>
                  </a:lnTo>
                  <a:lnTo>
                    <a:pt x="7002996" y="561450"/>
                  </a:lnTo>
                  <a:lnTo>
                    <a:pt x="6987432" y="587606"/>
                  </a:lnTo>
                  <a:lnTo>
                    <a:pt x="6971867" y="613755"/>
                  </a:lnTo>
                  <a:lnTo>
                    <a:pt x="6959021" y="642271"/>
                  </a:lnTo>
                  <a:lnTo>
                    <a:pt x="6945270" y="667859"/>
                  </a:lnTo>
                  <a:lnTo>
                    <a:pt x="6933888" y="686067"/>
                  </a:lnTo>
                  <a:lnTo>
                    <a:pt x="6914460" y="707053"/>
                  </a:lnTo>
                  <a:lnTo>
                    <a:pt x="6892148" y="723895"/>
                  </a:lnTo>
                  <a:lnTo>
                    <a:pt x="6868314" y="733887"/>
                  </a:lnTo>
                  <a:lnTo>
                    <a:pt x="6841605" y="739730"/>
                  </a:lnTo>
                  <a:lnTo>
                    <a:pt x="6813373" y="738735"/>
                  </a:lnTo>
                  <a:lnTo>
                    <a:pt x="6784975" y="733591"/>
                  </a:lnTo>
                  <a:lnTo>
                    <a:pt x="6755066" y="722953"/>
                  </a:lnTo>
                  <a:lnTo>
                    <a:pt x="6734438" y="708654"/>
                  </a:lnTo>
                  <a:lnTo>
                    <a:pt x="6719475" y="690973"/>
                  </a:lnTo>
                  <a:lnTo>
                    <a:pt x="6700428" y="667846"/>
                  </a:lnTo>
                  <a:lnTo>
                    <a:pt x="6687951" y="649881"/>
                  </a:lnTo>
                  <a:lnTo>
                    <a:pt x="6674826" y="631410"/>
                  </a:lnTo>
                  <a:lnTo>
                    <a:pt x="6662342" y="613437"/>
                  </a:lnTo>
                  <a:lnTo>
                    <a:pt x="6649707" y="595474"/>
                  </a:lnTo>
                  <a:lnTo>
                    <a:pt x="6635844" y="573057"/>
                  </a:lnTo>
                  <a:lnTo>
                    <a:pt x="6625622" y="553590"/>
                  </a:lnTo>
                  <a:lnTo>
                    <a:pt x="6623030" y="529135"/>
                  </a:lnTo>
                  <a:lnTo>
                    <a:pt x="6629705" y="507346"/>
                  </a:lnTo>
                  <a:lnTo>
                    <a:pt x="6638937" y="483578"/>
                  </a:lnTo>
                  <a:lnTo>
                    <a:pt x="6648295" y="457726"/>
                  </a:lnTo>
                  <a:lnTo>
                    <a:pt x="6654178" y="433891"/>
                  </a:lnTo>
                  <a:lnTo>
                    <a:pt x="6652101" y="410513"/>
                  </a:lnTo>
                  <a:lnTo>
                    <a:pt x="6640309" y="391480"/>
                  </a:lnTo>
                  <a:lnTo>
                    <a:pt x="6619799" y="375217"/>
                  </a:lnTo>
                  <a:lnTo>
                    <a:pt x="6599619" y="366973"/>
                  </a:lnTo>
                  <a:lnTo>
                    <a:pt x="6578008" y="363175"/>
                  </a:lnTo>
                  <a:lnTo>
                    <a:pt x="6556178" y="365246"/>
                  </a:lnTo>
                  <a:lnTo>
                    <a:pt x="6535951" y="373627"/>
                  </a:lnTo>
                  <a:lnTo>
                    <a:pt x="6516417" y="393478"/>
                  </a:lnTo>
                  <a:lnTo>
                    <a:pt x="6507046" y="419508"/>
                  </a:lnTo>
                  <a:lnTo>
                    <a:pt x="6503761" y="447643"/>
                  </a:lnTo>
                  <a:lnTo>
                    <a:pt x="6505153" y="477879"/>
                  </a:lnTo>
                  <a:lnTo>
                    <a:pt x="6508609" y="507504"/>
                  </a:lnTo>
                  <a:lnTo>
                    <a:pt x="6512672" y="533791"/>
                  </a:lnTo>
                  <a:lnTo>
                    <a:pt x="6514663" y="556735"/>
                  </a:lnTo>
                  <a:lnTo>
                    <a:pt x="6509361" y="595855"/>
                  </a:lnTo>
                  <a:lnTo>
                    <a:pt x="6502488" y="630024"/>
                  </a:lnTo>
                  <a:lnTo>
                    <a:pt x="6488224" y="655613"/>
                  </a:lnTo>
                  <a:lnTo>
                    <a:pt x="6472924" y="678951"/>
                  </a:lnTo>
                  <a:lnTo>
                    <a:pt x="6449116" y="692114"/>
                  </a:lnTo>
                  <a:lnTo>
                    <a:pt x="6416135" y="690973"/>
                  </a:lnTo>
                  <a:lnTo>
                    <a:pt x="6400927" y="665775"/>
                  </a:lnTo>
                  <a:lnTo>
                    <a:pt x="6395974" y="626404"/>
                  </a:lnTo>
                  <a:lnTo>
                    <a:pt x="6394668" y="603822"/>
                  </a:lnTo>
                  <a:lnTo>
                    <a:pt x="6391648" y="579441"/>
                  </a:lnTo>
                  <a:lnTo>
                    <a:pt x="6388635" y="555053"/>
                  </a:lnTo>
                  <a:lnTo>
                    <a:pt x="6383418" y="528971"/>
                  </a:lnTo>
                  <a:lnTo>
                    <a:pt x="6371250" y="505988"/>
                  </a:lnTo>
                  <a:lnTo>
                    <a:pt x="6359075" y="483003"/>
                  </a:lnTo>
                  <a:lnTo>
                    <a:pt x="6339997" y="462975"/>
                  </a:lnTo>
                  <a:lnTo>
                    <a:pt x="6310036" y="447497"/>
                  </a:lnTo>
                  <a:lnTo>
                    <a:pt x="6271950" y="448855"/>
                  </a:lnTo>
                  <a:lnTo>
                    <a:pt x="6257838" y="472636"/>
                  </a:lnTo>
                  <a:lnTo>
                    <a:pt x="6256010" y="509178"/>
                  </a:lnTo>
                  <a:lnTo>
                    <a:pt x="6279984" y="541251"/>
                  </a:lnTo>
                  <a:lnTo>
                    <a:pt x="6297426" y="562254"/>
                  </a:lnTo>
                  <a:lnTo>
                    <a:pt x="6312754" y="582158"/>
                  </a:lnTo>
                  <a:lnTo>
                    <a:pt x="6328086" y="602061"/>
                  </a:lnTo>
                  <a:lnTo>
                    <a:pt x="6341943" y="621635"/>
                  </a:lnTo>
                  <a:lnTo>
                    <a:pt x="6357018" y="659654"/>
                  </a:lnTo>
                  <a:lnTo>
                    <a:pt x="6350838" y="696415"/>
                  </a:lnTo>
                  <a:lnTo>
                    <a:pt x="6327975" y="735081"/>
                  </a:lnTo>
                  <a:lnTo>
                    <a:pt x="6299149" y="754898"/>
                  </a:lnTo>
                  <a:lnTo>
                    <a:pt x="6277392" y="767145"/>
                  </a:lnTo>
                  <a:lnTo>
                    <a:pt x="6252905" y="772585"/>
                  </a:lnTo>
                  <a:lnTo>
                    <a:pt x="6229782" y="772585"/>
                  </a:lnTo>
                  <a:lnTo>
                    <a:pt x="6205295" y="765780"/>
                  </a:lnTo>
                  <a:lnTo>
                    <a:pt x="6173159" y="742652"/>
                  </a:lnTo>
                  <a:lnTo>
                    <a:pt x="6150387" y="712744"/>
                  </a:lnTo>
                  <a:lnTo>
                    <a:pt x="6129125" y="680092"/>
                  </a:lnTo>
                  <a:lnTo>
                    <a:pt x="6103953" y="650601"/>
                  </a:lnTo>
                  <a:lnTo>
                    <a:pt x="6084239" y="639284"/>
                  </a:lnTo>
                  <a:lnTo>
                    <a:pt x="6064527" y="627973"/>
                  </a:lnTo>
                  <a:lnTo>
                    <a:pt x="6039282" y="619782"/>
                  </a:lnTo>
                  <a:lnTo>
                    <a:pt x="6003987" y="617521"/>
                  </a:lnTo>
                  <a:lnTo>
                    <a:pt x="5974066" y="620237"/>
                  </a:lnTo>
                  <a:lnTo>
                    <a:pt x="5948220" y="631118"/>
                  </a:lnTo>
                  <a:lnTo>
                    <a:pt x="5925099" y="650165"/>
                  </a:lnTo>
                  <a:lnTo>
                    <a:pt x="5906052" y="673286"/>
                  </a:lnTo>
                  <a:lnTo>
                    <a:pt x="5904694" y="700491"/>
                  </a:lnTo>
                  <a:lnTo>
                    <a:pt x="5906151" y="722564"/>
                  </a:lnTo>
                  <a:lnTo>
                    <a:pt x="5911394" y="743707"/>
                  </a:lnTo>
                  <a:lnTo>
                    <a:pt x="5927354" y="767251"/>
                  </a:lnTo>
                  <a:lnTo>
                    <a:pt x="5986411" y="769869"/>
                  </a:lnTo>
                  <a:lnTo>
                    <a:pt x="6012513" y="768023"/>
                  </a:lnTo>
                  <a:lnTo>
                    <a:pt x="6049860" y="768966"/>
                  </a:lnTo>
                  <a:lnTo>
                    <a:pt x="6071993" y="776669"/>
                  </a:lnTo>
                  <a:lnTo>
                    <a:pt x="6090710" y="791045"/>
                  </a:lnTo>
                  <a:lnTo>
                    <a:pt x="6118566" y="816693"/>
                  </a:lnTo>
                  <a:lnTo>
                    <a:pt x="6137151" y="833576"/>
                  </a:lnTo>
                  <a:lnTo>
                    <a:pt x="6167211" y="856915"/>
                  </a:lnTo>
                  <a:lnTo>
                    <a:pt x="6198490" y="878038"/>
                  </a:lnTo>
                  <a:lnTo>
                    <a:pt x="6216177" y="893642"/>
                  </a:lnTo>
                  <a:lnTo>
                    <a:pt x="6233866" y="909245"/>
                  </a:lnTo>
                  <a:lnTo>
                    <a:pt x="6248756" y="927698"/>
                  </a:lnTo>
                  <a:lnTo>
                    <a:pt x="6249786" y="953912"/>
                  </a:lnTo>
                  <a:lnTo>
                    <a:pt x="6235218" y="969814"/>
                  </a:lnTo>
                  <a:lnTo>
                    <a:pt x="6213507" y="987039"/>
                  </a:lnTo>
                  <a:lnTo>
                    <a:pt x="6186045" y="993845"/>
                  </a:lnTo>
                  <a:lnTo>
                    <a:pt x="6157258" y="989360"/>
                  </a:lnTo>
                  <a:lnTo>
                    <a:pt x="6136352" y="985628"/>
                  </a:lnTo>
                  <a:lnTo>
                    <a:pt x="6111444" y="984777"/>
                  </a:lnTo>
                  <a:lnTo>
                    <a:pt x="6076438" y="994597"/>
                  </a:lnTo>
                  <a:lnTo>
                    <a:pt x="6055670" y="990217"/>
                  </a:lnTo>
                  <a:lnTo>
                    <a:pt x="6033518" y="985541"/>
                  </a:lnTo>
                  <a:lnTo>
                    <a:pt x="6018792" y="968851"/>
                  </a:lnTo>
                  <a:lnTo>
                    <a:pt x="6003987" y="950767"/>
                  </a:lnTo>
                  <a:lnTo>
                    <a:pt x="5989181" y="932690"/>
                  </a:lnTo>
                  <a:lnTo>
                    <a:pt x="5974488" y="912425"/>
                  </a:lnTo>
                  <a:lnTo>
                    <a:pt x="5953655" y="901799"/>
                  </a:lnTo>
                  <a:lnTo>
                    <a:pt x="5920356" y="900020"/>
                  </a:lnTo>
                  <a:lnTo>
                    <a:pt x="5890324" y="912326"/>
                  </a:lnTo>
                  <a:lnTo>
                    <a:pt x="5874767" y="927646"/>
                  </a:lnTo>
                  <a:lnTo>
                    <a:pt x="5867967" y="953485"/>
                  </a:lnTo>
                  <a:lnTo>
                    <a:pt x="5877483" y="982047"/>
                  </a:lnTo>
                  <a:lnTo>
                    <a:pt x="5889335" y="1003559"/>
                  </a:lnTo>
                  <a:lnTo>
                    <a:pt x="5900050" y="1024010"/>
                  </a:lnTo>
                  <a:lnTo>
                    <a:pt x="5910127" y="1043260"/>
                  </a:lnTo>
                  <a:lnTo>
                    <a:pt x="5922375" y="1070465"/>
                  </a:lnTo>
                  <a:lnTo>
                    <a:pt x="5934614" y="1099028"/>
                  </a:lnTo>
                  <a:lnTo>
                    <a:pt x="5938690" y="1119662"/>
                  </a:lnTo>
                  <a:lnTo>
                    <a:pt x="5942535" y="1149629"/>
                  </a:lnTo>
                  <a:lnTo>
                    <a:pt x="5922375" y="1176556"/>
                  </a:lnTo>
                  <a:lnTo>
                    <a:pt x="5891563" y="1195721"/>
                  </a:lnTo>
                  <a:lnTo>
                    <a:pt x="5870683" y="1199685"/>
                  </a:lnTo>
                  <a:lnTo>
                    <a:pt x="5849812" y="1203649"/>
                  </a:lnTo>
                  <a:lnTo>
                    <a:pt x="5826385" y="1204638"/>
                  </a:lnTo>
                  <a:lnTo>
                    <a:pt x="5805394" y="1201043"/>
                  </a:lnTo>
                  <a:lnTo>
                    <a:pt x="5784409" y="1197449"/>
                  </a:lnTo>
                  <a:lnTo>
                    <a:pt x="5752351" y="1177916"/>
                  </a:lnTo>
                  <a:lnTo>
                    <a:pt x="5734862" y="1163465"/>
                  </a:lnTo>
                  <a:lnTo>
                    <a:pt x="5708819" y="1134390"/>
                  </a:lnTo>
                  <a:lnTo>
                    <a:pt x="5689206" y="1104165"/>
                  </a:lnTo>
                  <a:lnTo>
                    <a:pt x="5674030" y="1072127"/>
                  </a:lnTo>
                  <a:lnTo>
                    <a:pt x="5661217" y="1037820"/>
                  </a:lnTo>
                  <a:lnTo>
                    <a:pt x="5648449" y="1002682"/>
                  </a:lnTo>
                  <a:lnTo>
                    <a:pt x="5633471" y="964899"/>
                  </a:lnTo>
                  <a:lnTo>
                    <a:pt x="5620322" y="940564"/>
                  </a:lnTo>
                  <a:lnTo>
                    <a:pt x="5602726" y="915398"/>
                  </a:lnTo>
                  <a:lnTo>
                    <a:pt x="5585132" y="890233"/>
                  </a:lnTo>
                  <a:lnTo>
                    <a:pt x="5563559" y="863707"/>
                  </a:lnTo>
                  <a:lnTo>
                    <a:pt x="5540161" y="839228"/>
                  </a:lnTo>
                  <a:lnTo>
                    <a:pt x="5516754" y="814747"/>
                  </a:lnTo>
                  <a:lnTo>
                    <a:pt x="5491477" y="791770"/>
                  </a:lnTo>
                  <a:lnTo>
                    <a:pt x="5466706" y="775297"/>
                  </a:lnTo>
                  <a:lnTo>
                    <a:pt x="5441936" y="758830"/>
                  </a:lnTo>
                  <a:lnTo>
                    <a:pt x="5417666" y="749213"/>
                  </a:lnTo>
                  <a:lnTo>
                    <a:pt x="5395976" y="748092"/>
                  </a:lnTo>
                  <a:lnTo>
                    <a:pt x="5374859" y="748423"/>
                  </a:lnTo>
                  <a:lnTo>
                    <a:pt x="5344673" y="756521"/>
                  </a:lnTo>
                  <a:lnTo>
                    <a:pt x="5324864" y="764144"/>
                  </a:lnTo>
                  <a:lnTo>
                    <a:pt x="5304842" y="772573"/>
                  </a:lnTo>
                  <a:lnTo>
                    <a:pt x="5276279" y="780737"/>
                  </a:lnTo>
                  <a:lnTo>
                    <a:pt x="5243621" y="784944"/>
                  </a:lnTo>
                  <a:lnTo>
                    <a:pt x="5216443" y="784748"/>
                  </a:lnTo>
                  <a:lnTo>
                    <a:pt x="5191949" y="783455"/>
                  </a:lnTo>
                  <a:lnTo>
                    <a:pt x="5169112" y="786588"/>
                  </a:lnTo>
                  <a:lnTo>
                    <a:pt x="5144050" y="796644"/>
                  </a:lnTo>
                  <a:lnTo>
                    <a:pt x="5114413" y="818817"/>
                  </a:lnTo>
                </a:path>
              </a:pathLst>
            </a:custGeom>
            <a:solidFill>
              <a:schemeClr val="tx2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56" name="Ternopil¬0" descr="Ternopil¬0">
              <a:extLst>
                <a:ext uri="{FF2B5EF4-FFF2-40B4-BE49-F238E27FC236}">
                  <a16:creationId xmlns:a16="http://schemas.microsoft.com/office/drawing/2014/main" id="{5027570F-F9FE-4A53-A866-E6225C565114}"/>
                </a:ext>
              </a:extLst>
            </p:cNvPr>
            <p:cNvSpPr/>
            <p:nvPr/>
          </p:nvSpPr>
          <p:spPr>
            <a:xfrm>
              <a:off x="1756505" y="2139543"/>
              <a:ext cx="575030" cy="801444"/>
            </a:xfrm>
            <a:custGeom>
              <a:avLst/>
              <a:gdLst/>
              <a:ahLst/>
              <a:cxnLst/>
              <a:rect l="0" t="0" r="0" b="0"/>
              <a:pathLst>
                <a:path w="5867863" h="9283712">
                  <a:moveTo>
                    <a:pt x="4391725" y="0"/>
                  </a:moveTo>
                  <a:lnTo>
                    <a:pt x="4367126" y="4689"/>
                  </a:lnTo>
                  <a:lnTo>
                    <a:pt x="4341597" y="17589"/>
                  </a:lnTo>
                  <a:lnTo>
                    <a:pt x="4316069" y="30489"/>
                  </a:lnTo>
                  <a:lnTo>
                    <a:pt x="4290256" y="51605"/>
                  </a:lnTo>
                  <a:lnTo>
                    <a:pt x="4265425" y="74714"/>
                  </a:lnTo>
                  <a:lnTo>
                    <a:pt x="4215773" y="120931"/>
                  </a:lnTo>
                  <a:lnTo>
                    <a:pt x="4171033" y="175946"/>
                  </a:lnTo>
                  <a:lnTo>
                    <a:pt x="4149811" y="198493"/>
                  </a:lnTo>
                  <a:lnTo>
                    <a:pt x="4083407" y="269026"/>
                  </a:lnTo>
                  <a:lnTo>
                    <a:pt x="4018347" y="324469"/>
                  </a:lnTo>
                  <a:lnTo>
                    <a:pt x="3953942" y="399803"/>
                  </a:lnTo>
                  <a:lnTo>
                    <a:pt x="3924331" y="434433"/>
                  </a:lnTo>
                  <a:lnTo>
                    <a:pt x="3885955" y="457554"/>
                  </a:lnTo>
                  <a:lnTo>
                    <a:pt x="3843761" y="471892"/>
                  </a:lnTo>
                  <a:lnTo>
                    <a:pt x="3801573" y="486236"/>
                  </a:lnTo>
                  <a:lnTo>
                    <a:pt x="3755811" y="492296"/>
                  </a:lnTo>
                  <a:lnTo>
                    <a:pt x="3711823" y="492296"/>
                  </a:lnTo>
                  <a:lnTo>
                    <a:pt x="3678354" y="488043"/>
                  </a:lnTo>
                  <a:lnTo>
                    <a:pt x="3625654" y="488617"/>
                  </a:lnTo>
                  <a:lnTo>
                    <a:pt x="3562145" y="489448"/>
                  </a:lnTo>
                  <a:lnTo>
                    <a:pt x="3500998" y="495020"/>
                  </a:lnTo>
                  <a:lnTo>
                    <a:pt x="3439843" y="500600"/>
                  </a:lnTo>
                  <a:lnTo>
                    <a:pt x="3381241" y="510716"/>
                  </a:lnTo>
                  <a:lnTo>
                    <a:pt x="3354089" y="530388"/>
                  </a:lnTo>
                  <a:lnTo>
                    <a:pt x="3323931" y="557560"/>
                  </a:lnTo>
                  <a:lnTo>
                    <a:pt x="3310570" y="573915"/>
                  </a:lnTo>
                  <a:lnTo>
                    <a:pt x="3297201" y="590264"/>
                  </a:lnTo>
                  <a:lnTo>
                    <a:pt x="3284850" y="607853"/>
                  </a:lnTo>
                  <a:lnTo>
                    <a:pt x="3270189" y="625665"/>
                  </a:lnTo>
                  <a:lnTo>
                    <a:pt x="3246229" y="634192"/>
                  </a:lnTo>
                  <a:lnTo>
                    <a:pt x="3216711" y="626958"/>
                  </a:lnTo>
                  <a:lnTo>
                    <a:pt x="3187852" y="580886"/>
                  </a:lnTo>
                  <a:lnTo>
                    <a:pt x="3173184" y="550786"/>
                  </a:lnTo>
                  <a:lnTo>
                    <a:pt x="3128616" y="570195"/>
                  </a:lnTo>
                  <a:lnTo>
                    <a:pt x="3103179" y="597656"/>
                  </a:lnTo>
                  <a:lnTo>
                    <a:pt x="3077974" y="622876"/>
                  </a:lnTo>
                  <a:lnTo>
                    <a:pt x="3052768" y="648101"/>
                  </a:lnTo>
                  <a:lnTo>
                    <a:pt x="3027306" y="671625"/>
                  </a:lnTo>
                  <a:lnTo>
                    <a:pt x="2997721" y="682724"/>
                  </a:lnTo>
                  <a:lnTo>
                    <a:pt x="2974599" y="677283"/>
                  </a:lnTo>
                  <a:lnTo>
                    <a:pt x="2960327" y="654122"/>
                  </a:lnTo>
                  <a:lnTo>
                    <a:pt x="2953509" y="621557"/>
                  </a:lnTo>
                  <a:lnTo>
                    <a:pt x="2937871" y="597036"/>
                  </a:lnTo>
                  <a:lnTo>
                    <a:pt x="2902326" y="603572"/>
                  </a:lnTo>
                  <a:lnTo>
                    <a:pt x="2879381" y="611994"/>
                  </a:lnTo>
                  <a:lnTo>
                    <a:pt x="2855456" y="619737"/>
                  </a:lnTo>
                  <a:lnTo>
                    <a:pt x="2832578" y="617864"/>
                  </a:lnTo>
                  <a:lnTo>
                    <a:pt x="2811375" y="599754"/>
                  </a:lnTo>
                  <a:lnTo>
                    <a:pt x="2804253" y="571613"/>
                  </a:lnTo>
                  <a:lnTo>
                    <a:pt x="2796411" y="546705"/>
                  </a:lnTo>
                  <a:lnTo>
                    <a:pt x="2660114" y="535526"/>
                  </a:lnTo>
                  <a:lnTo>
                    <a:pt x="2634546" y="534464"/>
                  </a:lnTo>
                  <a:lnTo>
                    <a:pt x="2608707" y="549428"/>
                  </a:lnTo>
                  <a:lnTo>
                    <a:pt x="2598544" y="568883"/>
                  </a:lnTo>
                  <a:lnTo>
                    <a:pt x="2583264" y="603282"/>
                  </a:lnTo>
                  <a:lnTo>
                    <a:pt x="2570331" y="642944"/>
                  </a:lnTo>
                  <a:lnTo>
                    <a:pt x="2566539" y="681366"/>
                  </a:lnTo>
                  <a:lnTo>
                    <a:pt x="2564943" y="720151"/>
                  </a:lnTo>
                  <a:lnTo>
                    <a:pt x="2573576" y="754121"/>
                  </a:lnTo>
                  <a:lnTo>
                    <a:pt x="2595102" y="780658"/>
                  </a:lnTo>
                  <a:lnTo>
                    <a:pt x="2615328" y="795418"/>
                  </a:lnTo>
                  <a:lnTo>
                    <a:pt x="2634717" y="809426"/>
                  </a:lnTo>
                  <a:lnTo>
                    <a:pt x="2653585" y="829626"/>
                  </a:lnTo>
                  <a:lnTo>
                    <a:pt x="2660385" y="860912"/>
                  </a:lnTo>
                  <a:lnTo>
                    <a:pt x="2641846" y="881244"/>
                  </a:lnTo>
                  <a:lnTo>
                    <a:pt x="2630141" y="900534"/>
                  </a:lnTo>
                  <a:lnTo>
                    <a:pt x="2623664" y="922120"/>
                  </a:lnTo>
                  <a:lnTo>
                    <a:pt x="2617188" y="943711"/>
                  </a:lnTo>
                  <a:lnTo>
                    <a:pt x="2615849" y="966615"/>
                  </a:lnTo>
                  <a:lnTo>
                    <a:pt x="2615500" y="994214"/>
                  </a:lnTo>
                  <a:lnTo>
                    <a:pt x="2582677" y="1010306"/>
                  </a:lnTo>
                  <a:lnTo>
                    <a:pt x="2559733" y="1013254"/>
                  </a:lnTo>
                  <a:lnTo>
                    <a:pt x="2536790" y="1016202"/>
                  </a:lnTo>
                  <a:lnTo>
                    <a:pt x="2512732" y="1017535"/>
                  </a:lnTo>
                  <a:lnTo>
                    <a:pt x="2475404" y="1044541"/>
                  </a:lnTo>
                  <a:lnTo>
                    <a:pt x="2465848" y="1083879"/>
                  </a:lnTo>
                  <a:lnTo>
                    <a:pt x="2467834" y="1106618"/>
                  </a:lnTo>
                  <a:lnTo>
                    <a:pt x="2474277" y="1137344"/>
                  </a:lnTo>
                  <a:lnTo>
                    <a:pt x="2477390" y="1163037"/>
                  </a:lnTo>
                  <a:lnTo>
                    <a:pt x="2476196" y="1188731"/>
                  </a:lnTo>
                  <a:lnTo>
                    <a:pt x="2472681" y="1214564"/>
                  </a:lnTo>
                  <a:lnTo>
                    <a:pt x="2469165" y="1240396"/>
                  </a:lnTo>
                  <a:lnTo>
                    <a:pt x="2463929" y="1266604"/>
                  </a:lnTo>
                  <a:lnTo>
                    <a:pt x="2441460" y="1258387"/>
                  </a:lnTo>
                  <a:lnTo>
                    <a:pt x="2429385" y="1238641"/>
                  </a:lnTo>
                  <a:lnTo>
                    <a:pt x="2408578" y="1215540"/>
                  </a:lnTo>
                  <a:lnTo>
                    <a:pt x="2351624" y="1208061"/>
                  </a:lnTo>
                  <a:lnTo>
                    <a:pt x="2321697" y="1218646"/>
                  </a:lnTo>
                  <a:lnTo>
                    <a:pt x="2313658" y="1258855"/>
                  </a:lnTo>
                  <a:lnTo>
                    <a:pt x="2310815" y="1279854"/>
                  </a:lnTo>
                  <a:lnTo>
                    <a:pt x="2307973" y="1300852"/>
                  </a:lnTo>
                  <a:lnTo>
                    <a:pt x="2306647" y="1321922"/>
                  </a:lnTo>
                  <a:lnTo>
                    <a:pt x="2300283" y="1359573"/>
                  </a:lnTo>
                  <a:lnTo>
                    <a:pt x="2310815" y="1395468"/>
                  </a:lnTo>
                  <a:lnTo>
                    <a:pt x="2319012" y="1419382"/>
                  </a:lnTo>
                  <a:lnTo>
                    <a:pt x="2338019" y="1448518"/>
                  </a:lnTo>
                  <a:lnTo>
                    <a:pt x="2360204" y="1470037"/>
                  </a:lnTo>
                  <a:lnTo>
                    <a:pt x="2383847" y="1484130"/>
                  </a:lnTo>
                  <a:lnTo>
                    <a:pt x="2408750" y="1497485"/>
                  </a:lnTo>
                  <a:lnTo>
                    <a:pt x="2435063" y="1513563"/>
                  </a:lnTo>
                  <a:lnTo>
                    <a:pt x="2464542" y="1544645"/>
                  </a:lnTo>
                  <a:lnTo>
                    <a:pt x="2459418" y="1575291"/>
                  </a:lnTo>
                  <a:lnTo>
                    <a:pt x="2475397" y="1594061"/>
                  </a:lnTo>
                  <a:lnTo>
                    <a:pt x="2520289" y="1647110"/>
                  </a:lnTo>
                  <a:lnTo>
                    <a:pt x="2533888" y="1674315"/>
                  </a:lnTo>
                  <a:lnTo>
                    <a:pt x="2540001" y="1697416"/>
                  </a:lnTo>
                  <a:lnTo>
                    <a:pt x="2541386" y="1721943"/>
                  </a:lnTo>
                  <a:lnTo>
                    <a:pt x="2536618" y="1745044"/>
                  </a:lnTo>
                  <a:lnTo>
                    <a:pt x="2520295" y="1769524"/>
                  </a:lnTo>
                  <a:lnTo>
                    <a:pt x="2494450" y="1772242"/>
                  </a:lnTo>
                  <a:lnTo>
                    <a:pt x="2467246" y="1768166"/>
                  </a:lnTo>
                  <a:lnTo>
                    <a:pt x="2440042" y="1764091"/>
                  </a:lnTo>
                  <a:lnTo>
                    <a:pt x="2411480" y="1765449"/>
                  </a:lnTo>
                  <a:lnTo>
                    <a:pt x="2387586" y="1784581"/>
                  </a:lnTo>
                  <a:lnTo>
                    <a:pt x="2375135" y="1803205"/>
                  </a:lnTo>
                  <a:lnTo>
                    <a:pt x="2366206" y="1839226"/>
                  </a:lnTo>
                  <a:lnTo>
                    <a:pt x="2376111" y="1874265"/>
                  </a:lnTo>
                  <a:lnTo>
                    <a:pt x="2390561" y="1911863"/>
                  </a:lnTo>
                  <a:lnTo>
                    <a:pt x="2405188" y="1950924"/>
                  </a:lnTo>
                  <a:lnTo>
                    <a:pt x="2410115" y="1992604"/>
                  </a:lnTo>
                  <a:lnTo>
                    <a:pt x="2400328" y="2018852"/>
                  </a:lnTo>
                  <a:lnTo>
                    <a:pt x="2388952" y="2042733"/>
                  </a:lnTo>
                  <a:lnTo>
                    <a:pt x="2374753" y="2061976"/>
                  </a:lnTo>
                  <a:lnTo>
                    <a:pt x="2360554" y="2081212"/>
                  </a:lnTo>
                  <a:lnTo>
                    <a:pt x="2344568" y="2096830"/>
                  </a:lnTo>
                  <a:lnTo>
                    <a:pt x="2325786" y="2108219"/>
                  </a:lnTo>
                  <a:lnTo>
                    <a:pt x="2307003" y="2119609"/>
                  </a:lnTo>
                  <a:lnTo>
                    <a:pt x="2285398" y="2125926"/>
                  </a:lnTo>
                  <a:lnTo>
                    <a:pt x="2261855" y="2128623"/>
                  </a:lnTo>
                  <a:lnTo>
                    <a:pt x="2238317" y="2131321"/>
                  </a:lnTo>
                  <a:lnTo>
                    <a:pt x="2212795" y="2130036"/>
                  </a:lnTo>
                  <a:lnTo>
                    <a:pt x="2184325" y="2123184"/>
                  </a:lnTo>
                  <a:lnTo>
                    <a:pt x="2154674" y="2133998"/>
                  </a:lnTo>
                  <a:lnTo>
                    <a:pt x="2137910" y="2157569"/>
                  </a:lnTo>
                  <a:lnTo>
                    <a:pt x="2112236" y="2172150"/>
                  </a:lnTo>
                  <a:lnTo>
                    <a:pt x="2077975" y="2191618"/>
                  </a:lnTo>
                  <a:lnTo>
                    <a:pt x="2036955" y="2190319"/>
                  </a:lnTo>
                  <a:lnTo>
                    <a:pt x="2002055" y="2203436"/>
                  </a:lnTo>
                  <a:lnTo>
                    <a:pt x="1958746" y="2219674"/>
                  </a:lnTo>
                  <a:lnTo>
                    <a:pt x="1921828" y="2254335"/>
                  </a:lnTo>
                  <a:lnTo>
                    <a:pt x="1879641" y="2274167"/>
                  </a:lnTo>
                  <a:lnTo>
                    <a:pt x="1859618" y="2283578"/>
                  </a:lnTo>
                  <a:lnTo>
                    <a:pt x="1692292" y="2303217"/>
                  </a:lnTo>
                  <a:lnTo>
                    <a:pt x="1656568" y="2309529"/>
                  </a:lnTo>
                  <a:lnTo>
                    <a:pt x="1616465" y="2316604"/>
                  </a:lnTo>
                  <a:lnTo>
                    <a:pt x="1574850" y="2344344"/>
                  </a:lnTo>
                  <a:lnTo>
                    <a:pt x="1550469" y="2347615"/>
                  </a:lnTo>
                  <a:lnTo>
                    <a:pt x="1334967" y="2369911"/>
                  </a:lnTo>
                  <a:lnTo>
                    <a:pt x="1319087" y="2387059"/>
                  </a:lnTo>
                  <a:lnTo>
                    <a:pt x="1285427" y="2553303"/>
                  </a:lnTo>
                  <a:lnTo>
                    <a:pt x="1294283" y="2589792"/>
                  </a:lnTo>
                  <a:lnTo>
                    <a:pt x="1309293" y="2617570"/>
                  </a:lnTo>
                  <a:lnTo>
                    <a:pt x="1317880" y="2637335"/>
                  </a:lnTo>
                  <a:lnTo>
                    <a:pt x="1350465" y="2681422"/>
                  </a:lnTo>
                  <a:lnTo>
                    <a:pt x="1370428" y="2704333"/>
                  </a:lnTo>
                  <a:lnTo>
                    <a:pt x="1383169" y="2729829"/>
                  </a:lnTo>
                  <a:lnTo>
                    <a:pt x="1395904" y="2755331"/>
                  </a:lnTo>
                  <a:lnTo>
                    <a:pt x="1402084" y="2782100"/>
                  </a:lnTo>
                  <a:lnTo>
                    <a:pt x="1394051" y="2820964"/>
                  </a:lnTo>
                  <a:lnTo>
                    <a:pt x="1389131" y="2844764"/>
                  </a:lnTo>
                  <a:lnTo>
                    <a:pt x="1366847" y="2871290"/>
                  </a:lnTo>
                  <a:lnTo>
                    <a:pt x="1338330" y="2891120"/>
                  </a:lnTo>
                  <a:lnTo>
                    <a:pt x="1317880" y="2901217"/>
                  </a:lnTo>
                  <a:lnTo>
                    <a:pt x="1285433" y="2917236"/>
                  </a:lnTo>
                  <a:lnTo>
                    <a:pt x="1262555" y="2927029"/>
                  </a:lnTo>
                  <a:lnTo>
                    <a:pt x="1238985" y="2931137"/>
                  </a:lnTo>
                  <a:lnTo>
                    <a:pt x="1215422" y="2935253"/>
                  </a:lnTo>
                  <a:lnTo>
                    <a:pt x="1191146" y="2933241"/>
                  </a:lnTo>
                  <a:lnTo>
                    <a:pt x="1154656" y="2927062"/>
                  </a:lnTo>
                  <a:lnTo>
                    <a:pt x="1137760" y="2891634"/>
                  </a:lnTo>
                  <a:lnTo>
                    <a:pt x="1114242" y="2873465"/>
                  </a:lnTo>
                  <a:lnTo>
                    <a:pt x="1095078" y="2885923"/>
                  </a:lnTo>
                  <a:lnTo>
                    <a:pt x="1077120" y="2908022"/>
                  </a:lnTo>
                  <a:lnTo>
                    <a:pt x="1059168" y="2930116"/>
                  </a:lnTo>
                  <a:lnTo>
                    <a:pt x="1042015" y="2962087"/>
                  </a:lnTo>
                  <a:lnTo>
                    <a:pt x="1026794" y="2996434"/>
                  </a:lnTo>
                  <a:lnTo>
                    <a:pt x="996352" y="3065126"/>
                  </a:lnTo>
                  <a:lnTo>
                    <a:pt x="971450" y="3143757"/>
                  </a:lnTo>
                  <a:lnTo>
                    <a:pt x="956064" y="3174622"/>
                  </a:lnTo>
                  <a:lnTo>
                    <a:pt x="936918" y="3213024"/>
                  </a:lnTo>
                  <a:lnTo>
                    <a:pt x="915195" y="3251070"/>
                  </a:lnTo>
                  <a:lnTo>
                    <a:pt x="894857" y="3288878"/>
                  </a:lnTo>
                  <a:lnTo>
                    <a:pt x="883229" y="3310471"/>
                  </a:lnTo>
                  <a:lnTo>
                    <a:pt x="874867" y="3332313"/>
                  </a:lnTo>
                  <a:lnTo>
                    <a:pt x="859488" y="3352809"/>
                  </a:lnTo>
                  <a:lnTo>
                    <a:pt x="833880" y="3386945"/>
                  </a:lnTo>
                  <a:lnTo>
                    <a:pt x="796336" y="3412875"/>
                  </a:lnTo>
                  <a:lnTo>
                    <a:pt x="756113" y="3434421"/>
                  </a:lnTo>
                  <a:lnTo>
                    <a:pt x="715891" y="3455960"/>
                  </a:lnTo>
                  <a:lnTo>
                    <a:pt x="674171" y="3473186"/>
                  </a:lnTo>
                  <a:lnTo>
                    <a:pt x="637781" y="3491546"/>
                  </a:lnTo>
                  <a:lnTo>
                    <a:pt x="600902" y="3510158"/>
                  </a:lnTo>
                  <a:lnTo>
                    <a:pt x="564689" y="3533285"/>
                  </a:lnTo>
                  <a:lnTo>
                    <a:pt x="527599" y="3551396"/>
                  </a:lnTo>
                  <a:lnTo>
                    <a:pt x="463484" y="3582721"/>
                  </a:lnTo>
                  <a:lnTo>
                    <a:pt x="389456" y="3602658"/>
                  </a:lnTo>
                  <a:lnTo>
                    <a:pt x="329014" y="3641171"/>
                  </a:lnTo>
                  <a:lnTo>
                    <a:pt x="304468" y="3656814"/>
                  </a:lnTo>
                  <a:lnTo>
                    <a:pt x="263216" y="3704357"/>
                  </a:lnTo>
                  <a:lnTo>
                    <a:pt x="246044" y="3729583"/>
                  </a:lnTo>
                  <a:lnTo>
                    <a:pt x="203190" y="3728989"/>
                  </a:lnTo>
                  <a:lnTo>
                    <a:pt x="171231" y="3718702"/>
                  </a:lnTo>
                  <a:lnTo>
                    <a:pt x="139100" y="3708084"/>
                  </a:lnTo>
                  <a:lnTo>
                    <a:pt x="102710" y="3704833"/>
                  </a:lnTo>
                  <a:lnTo>
                    <a:pt x="63773" y="3714620"/>
                  </a:lnTo>
                  <a:lnTo>
                    <a:pt x="54633" y="3734510"/>
                  </a:lnTo>
                  <a:lnTo>
                    <a:pt x="63773" y="3755574"/>
                  </a:lnTo>
                  <a:lnTo>
                    <a:pt x="63773" y="3821714"/>
                  </a:lnTo>
                  <a:lnTo>
                    <a:pt x="50109" y="3864476"/>
                  </a:lnTo>
                  <a:lnTo>
                    <a:pt x="44734" y="3909129"/>
                  </a:lnTo>
                  <a:lnTo>
                    <a:pt x="48216" y="3938694"/>
                  </a:lnTo>
                  <a:lnTo>
                    <a:pt x="46989" y="3960754"/>
                  </a:lnTo>
                  <a:lnTo>
                    <a:pt x="42010" y="3983941"/>
                  </a:lnTo>
                  <a:lnTo>
                    <a:pt x="35844" y="4011442"/>
                  </a:lnTo>
                  <a:lnTo>
                    <a:pt x="26420" y="4038046"/>
                  </a:lnTo>
                  <a:lnTo>
                    <a:pt x="14806" y="4060113"/>
                  </a:lnTo>
                  <a:lnTo>
                    <a:pt x="0" y="4078289"/>
                  </a:lnTo>
                  <a:lnTo>
                    <a:pt x="26262" y="4127222"/>
                  </a:lnTo>
                  <a:lnTo>
                    <a:pt x="48763" y="4160112"/>
                  </a:lnTo>
                  <a:lnTo>
                    <a:pt x="71931" y="4192043"/>
                  </a:lnTo>
                  <a:lnTo>
                    <a:pt x="95105" y="4223982"/>
                  </a:lnTo>
                  <a:lnTo>
                    <a:pt x="118861" y="4255216"/>
                  </a:lnTo>
                  <a:lnTo>
                    <a:pt x="145385" y="4287261"/>
                  </a:lnTo>
                  <a:lnTo>
                    <a:pt x="173427" y="4321133"/>
                  </a:lnTo>
                  <a:lnTo>
                    <a:pt x="189690" y="4346800"/>
                  </a:lnTo>
                  <a:lnTo>
                    <a:pt x="203869" y="4374314"/>
                  </a:lnTo>
                  <a:lnTo>
                    <a:pt x="218048" y="4401821"/>
                  </a:lnTo>
                  <a:lnTo>
                    <a:pt x="230737" y="4430951"/>
                  </a:lnTo>
                  <a:lnTo>
                    <a:pt x="250119" y="4469524"/>
                  </a:lnTo>
                  <a:lnTo>
                    <a:pt x="276156" y="4521347"/>
                  </a:lnTo>
                  <a:lnTo>
                    <a:pt x="307903" y="4571053"/>
                  </a:lnTo>
                  <a:lnTo>
                    <a:pt x="333089" y="4623225"/>
                  </a:lnTo>
                  <a:lnTo>
                    <a:pt x="347671" y="4653449"/>
                  </a:lnTo>
                  <a:lnTo>
                    <a:pt x="359020" y="4694192"/>
                  </a:lnTo>
                  <a:lnTo>
                    <a:pt x="369817" y="4726600"/>
                  </a:lnTo>
                  <a:lnTo>
                    <a:pt x="382142" y="4763585"/>
                  </a:lnTo>
                  <a:lnTo>
                    <a:pt x="394765" y="4810488"/>
                  </a:lnTo>
                  <a:lnTo>
                    <a:pt x="416060" y="4843580"/>
                  </a:lnTo>
                  <a:lnTo>
                    <a:pt x="442439" y="4866446"/>
                  </a:lnTo>
                  <a:lnTo>
                    <a:pt x="441905" y="4888466"/>
                  </a:lnTo>
                  <a:lnTo>
                    <a:pt x="429322" y="4924236"/>
                  </a:lnTo>
                  <a:lnTo>
                    <a:pt x="417425" y="4944231"/>
                  </a:lnTo>
                  <a:lnTo>
                    <a:pt x="405521" y="4964227"/>
                  </a:lnTo>
                  <a:lnTo>
                    <a:pt x="394706" y="4988450"/>
                  </a:lnTo>
                  <a:lnTo>
                    <a:pt x="397020" y="5020404"/>
                  </a:lnTo>
                  <a:lnTo>
                    <a:pt x="403997" y="5047521"/>
                  </a:lnTo>
                  <a:lnTo>
                    <a:pt x="417247" y="5077620"/>
                  </a:lnTo>
                  <a:lnTo>
                    <a:pt x="426942" y="5107456"/>
                  </a:lnTo>
                  <a:lnTo>
                    <a:pt x="431723" y="5138570"/>
                  </a:lnTo>
                  <a:lnTo>
                    <a:pt x="435765" y="5174283"/>
                  </a:lnTo>
                  <a:lnTo>
                    <a:pt x="439188" y="5212197"/>
                  </a:lnTo>
                  <a:lnTo>
                    <a:pt x="443673" y="5248639"/>
                  </a:lnTo>
                  <a:lnTo>
                    <a:pt x="448303" y="5281839"/>
                  </a:lnTo>
                  <a:lnTo>
                    <a:pt x="454146" y="5308766"/>
                  </a:lnTo>
                  <a:lnTo>
                    <a:pt x="471833" y="5331893"/>
                  </a:lnTo>
                  <a:lnTo>
                    <a:pt x="500395" y="5340052"/>
                  </a:lnTo>
                  <a:lnTo>
                    <a:pt x="521414" y="5342122"/>
                  </a:lnTo>
                  <a:lnTo>
                    <a:pt x="551454" y="5350399"/>
                  </a:lnTo>
                  <a:lnTo>
                    <a:pt x="569939" y="5370771"/>
                  </a:lnTo>
                  <a:lnTo>
                    <a:pt x="580471" y="5399095"/>
                  </a:lnTo>
                  <a:lnTo>
                    <a:pt x="590165" y="5433904"/>
                  </a:lnTo>
                  <a:lnTo>
                    <a:pt x="598145" y="5470433"/>
                  </a:lnTo>
                  <a:lnTo>
                    <a:pt x="603955" y="5500743"/>
                  </a:lnTo>
                  <a:lnTo>
                    <a:pt x="611480" y="5563718"/>
                  </a:lnTo>
                  <a:lnTo>
                    <a:pt x="605743" y="5595142"/>
                  </a:lnTo>
                  <a:lnTo>
                    <a:pt x="594248" y="5620249"/>
                  </a:lnTo>
                  <a:lnTo>
                    <a:pt x="582752" y="5645350"/>
                  </a:lnTo>
                  <a:lnTo>
                    <a:pt x="566246" y="5663967"/>
                  </a:lnTo>
                  <a:lnTo>
                    <a:pt x="549363" y="5678740"/>
                  </a:lnTo>
                  <a:lnTo>
                    <a:pt x="532480" y="5693505"/>
                  </a:lnTo>
                  <a:lnTo>
                    <a:pt x="504477" y="5718184"/>
                  </a:lnTo>
                  <a:lnTo>
                    <a:pt x="487991" y="5745618"/>
                  </a:lnTo>
                  <a:lnTo>
                    <a:pt x="499703" y="5787786"/>
                  </a:lnTo>
                  <a:lnTo>
                    <a:pt x="511053" y="5812372"/>
                  </a:lnTo>
                  <a:lnTo>
                    <a:pt x="519435" y="5833799"/>
                  </a:lnTo>
                  <a:lnTo>
                    <a:pt x="528213" y="5856229"/>
                  </a:lnTo>
                  <a:lnTo>
                    <a:pt x="528958" y="5892288"/>
                  </a:lnTo>
                  <a:lnTo>
                    <a:pt x="525159" y="5926854"/>
                  </a:lnTo>
                  <a:lnTo>
                    <a:pt x="519158" y="5961100"/>
                  </a:lnTo>
                  <a:lnTo>
                    <a:pt x="519442" y="5999747"/>
                  </a:lnTo>
                  <a:lnTo>
                    <a:pt x="528358" y="6042659"/>
                  </a:lnTo>
                  <a:lnTo>
                    <a:pt x="543921" y="6070470"/>
                  </a:lnTo>
                  <a:lnTo>
                    <a:pt x="556030" y="6088996"/>
                  </a:lnTo>
                  <a:lnTo>
                    <a:pt x="572010" y="6104249"/>
                  </a:lnTo>
                  <a:lnTo>
                    <a:pt x="593239" y="6102561"/>
                  </a:lnTo>
                  <a:lnTo>
                    <a:pt x="611593" y="6087352"/>
                  </a:lnTo>
                  <a:lnTo>
                    <a:pt x="633698" y="6066394"/>
                  </a:lnTo>
                  <a:lnTo>
                    <a:pt x="659089" y="6044381"/>
                  </a:lnTo>
                  <a:lnTo>
                    <a:pt x="684479" y="6025835"/>
                  </a:lnTo>
                  <a:lnTo>
                    <a:pt x="708511" y="6016068"/>
                  </a:lnTo>
                  <a:lnTo>
                    <a:pt x="736236" y="6023125"/>
                  </a:lnTo>
                  <a:lnTo>
                    <a:pt x="759443" y="6036935"/>
                  </a:lnTo>
                  <a:lnTo>
                    <a:pt x="780764" y="6050389"/>
                  </a:lnTo>
                  <a:lnTo>
                    <a:pt x="805509" y="6062213"/>
                  </a:lnTo>
                  <a:lnTo>
                    <a:pt x="829567" y="6065030"/>
                  </a:lnTo>
                  <a:lnTo>
                    <a:pt x="851079" y="6064766"/>
                  </a:lnTo>
                  <a:lnTo>
                    <a:pt x="873344" y="6065293"/>
                  </a:lnTo>
                  <a:lnTo>
                    <a:pt x="896215" y="6070470"/>
                  </a:lnTo>
                  <a:lnTo>
                    <a:pt x="920056" y="6081120"/>
                  </a:lnTo>
                  <a:lnTo>
                    <a:pt x="938541" y="6096539"/>
                  </a:lnTo>
                  <a:lnTo>
                    <a:pt x="950221" y="6118554"/>
                  </a:lnTo>
                  <a:lnTo>
                    <a:pt x="958781" y="6138476"/>
                  </a:lnTo>
                  <a:lnTo>
                    <a:pt x="963589" y="6161737"/>
                  </a:lnTo>
                  <a:lnTo>
                    <a:pt x="964881" y="6185954"/>
                  </a:lnTo>
                  <a:lnTo>
                    <a:pt x="964221" y="6210565"/>
                  </a:lnTo>
                  <a:lnTo>
                    <a:pt x="963390" y="6235224"/>
                  </a:lnTo>
                  <a:lnTo>
                    <a:pt x="965039" y="6259368"/>
                  </a:lnTo>
                  <a:lnTo>
                    <a:pt x="971021" y="6282661"/>
                  </a:lnTo>
                  <a:lnTo>
                    <a:pt x="982463" y="6303435"/>
                  </a:lnTo>
                  <a:lnTo>
                    <a:pt x="995508" y="6326187"/>
                  </a:lnTo>
                  <a:lnTo>
                    <a:pt x="996867" y="6349308"/>
                  </a:lnTo>
                  <a:lnTo>
                    <a:pt x="988735" y="6371112"/>
                  </a:lnTo>
                  <a:lnTo>
                    <a:pt x="973738" y="6392255"/>
                  </a:lnTo>
                  <a:lnTo>
                    <a:pt x="957416" y="6410517"/>
                  </a:lnTo>
                  <a:lnTo>
                    <a:pt x="930601" y="6419934"/>
                  </a:lnTo>
                  <a:lnTo>
                    <a:pt x="905692" y="6416762"/>
                  </a:lnTo>
                  <a:lnTo>
                    <a:pt x="881244" y="6409158"/>
                  </a:lnTo>
                  <a:lnTo>
                    <a:pt x="856804" y="6401574"/>
                  </a:lnTo>
                  <a:lnTo>
                    <a:pt x="832832" y="6389346"/>
                  </a:lnTo>
                  <a:lnTo>
                    <a:pt x="809156" y="6376513"/>
                  </a:lnTo>
                  <a:lnTo>
                    <a:pt x="785480" y="6363686"/>
                  </a:lnTo>
                  <a:lnTo>
                    <a:pt x="761567" y="6350180"/>
                  </a:lnTo>
                  <a:lnTo>
                    <a:pt x="737067" y="6343869"/>
                  </a:lnTo>
                  <a:lnTo>
                    <a:pt x="712560" y="6337557"/>
                  </a:lnTo>
                  <a:lnTo>
                    <a:pt x="687829" y="6337340"/>
                  </a:lnTo>
                  <a:lnTo>
                    <a:pt x="660896" y="6349308"/>
                  </a:lnTo>
                  <a:lnTo>
                    <a:pt x="644395" y="6389683"/>
                  </a:lnTo>
                  <a:lnTo>
                    <a:pt x="644573" y="6421405"/>
                  </a:lnTo>
                  <a:lnTo>
                    <a:pt x="654815" y="6450040"/>
                  </a:lnTo>
                  <a:lnTo>
                    <a:pt x="667695" y="6473089"/>
                  </a:lnTo>
                  <a:lnTo>
                    <a:pt x="683701" y="6504928"/>
                  </a:lnTo>
                  <a:lnTo>
                    <a:pt x="709863" y="6519338"/>
                  </a:lnTo>
                  <a:lnTo>
                    <a:pt x="770694" y="6534296"/>
                  </a:lnTo>
                  <a:lnTo>
                    <a:pt x="813238" y="6557424"/>
                  </a:lnTo>
                  <a:lnTo>
                    <a:pt x="834507" y="6568985"/>
                  </a:lnTo>
                  <a:lnTo>
                    <a:pt x="855195" y="6582406"/>
                  </a:lnTo>
                  <a:lnTo>
                    <a:pt x="885532" y="6608607"/>
                  </a:lnTo>
                  <a:lnTo>
                    <a:pt x="894850" y="6633595"/>
                  </a:lnTo>
                  <a:lnTo>
                    <a:pt x="896209" y="6677115"/>
                  </a:lnTo>
                  <a:lnTo>
                    <a:pt x="897567" y="6720649"/>
                  </a:lnTo>
                  <a:lnTo>
                    <a:pt x="900284" y="6743770"/>
                  </a:lnTo>
                  <a:lnTo>
                    <a:pt x="909807" y="6766892"/>
                  </a:lnTo>
                  <a:lnTo>
                    <a:pt x="922047" y="6788655"/>
                  </a:lnTo>
                  <a:lnTo>
                    <a:pt x="935646" y="6806336"/>
                  </a:lnTo>
                  <a:lnTo>
                    <a:pt x="956526" y="6830829"/>
                  </a:lnTo>
                  <a:lnTo>
                    <a:pt x="975400" y="6845977"/>
                  </a:lnTo>
                  <a:lnTo>
                    <a:pt x="1012872" y="6861911"/>
                  </a:lnTo>
                  <a:lnTo>
                    <a:pt x="1049903" y="6859386"/>
                  </a:lnTo>
                  <a:lnTo>
                    <a:pt x="1086867" y="6846109"/>
                  </a:lnTo>
                  <a:lnTo>
                    <a:pt x="1107034" y="6834905"/>
                  </a:lnTo>
                  <a:lnTo>
                    <a:pt x="1127195" y="6823693"/>
                  </a:lnTo>
                  <a:lnTo>
                    <a:pt x="1148602" y="6810682"/>
                  </a:lnTo>
                  <a:lnTo>
                    <a:pt x="1172323" y="6796813"/>
                  </a:lnTo>
                  <a:lnTo>
                    <a:pt x="1201869" y="6778084"/>
                  </a:lnTo>
                  <a:lnTo>
                    <a:pt x="1232173" y="6790013"/>
                  </a:lnTo>
                  <a:lnTo>
                    <a:pt x="1259865" y="6811849"/>
                  </a:lnTo>
                  <a:lnTo>
                    <a:pt x="1283369" y="6841632"/>
                  </a:lnTo>
                  <a:lnTo>
                    <a:pt x="1302903" y="6871625"/>
                  </a:lnTo>
                  <a:lnTo>
                    <a:pt x="1321896" y="6895618"/>
                  </a:lnTo>
                  <a:lnTo>
                    <a:pt x="1352648" y="6912738"/>
                  </a:lnTo>
                  <a:lnTo>
                    <a:pt x="1375671" y="6922782"/>
                  </a:lnTo>
                  <a:lnTo>
                    <a:pt x="1399479" y="6931475"/>
                  </a:lnTo>
                  <a:lnTo>
                    <a:pt x="1423279" y="6940167"/>
                  </a:lnTo>
                  <a:lnTo>
                    <a:pt x="1448578" y="6947757"/>
                  </a:lnTo>
                  <a:lnTo>
                    <a:pt x="1472926" y="6955961"/>
                  </a:lnTo>
                  <a:lnTo>
                    <a:pt x="1490772" y="6968835"/>
                  </a:lnTo>
                  <a:lnTo>
                    <a:pt x="1501324" y="6992049"/>
                  </a:lnTo>
                  <a:lnTo>
                    <a:pt x="1500124" y="7015810"/>
                  </a:lnTo>
                  <a:lnTo>
                    <a:pt x="1456597" y="7043013"/>
                  </a:lnTo>
                  <a:lnTo>
                    <a:pt x="1434834" y="7071576"/>
                  </a:lnTo>
                  <a:lnTo>
                    <a:pt x="1433476" y="7117820"/>
                  </a:lnTo>
                  <a:lnTo>
                    <a:pt x="1445887" y="7134974"/>
                  </a:lnTo>
                  <a:lnTo>
                    <a:pt x="1496087" y="7218669"/>
                  </a:lnTo>
                  <a:lnTo>
                    <a:pt x="1505333" y="7245972"/>
                  </a:lnTo>
                  <a:lnTo>
                    <a:pt x="1502056" y="7281591"/>
                  </a:lnTo>
                  <a:lnTo>
                    <a:pt x="1505564" y="7312330"/>
                  </a:lnTo>
                  <a:lnTo>
                    <a:pt x="1510708" y="7341499"/>
                  </a:lnTo>
                  <a:lnTo>
                    <a:pt x="1524914" y="7364772"/>
                  </a:lnTo>
                  <a:lnTo>
                    <a:pt x="1553173" y="7377619"/>
                  </a:lnTo>
                  <a:lnTo>
                    <a:pt x="1575411" y="7378477"/>
                  </a:lnTo>
                  <a:lnTo>
                    <a:pt x="1596225" y="7374052"/>
                  </a:lnTo>
                  <a:lnTo>
                    <a:pt x="1634178" y="7355692"/>
                  </a:lnTo>
                  <a:lnTo>
                    <a:pt x="1640384" y="7333506"/>
                  </a:lnTo>
                  <a:lnTo>
                    <a:pt x="1642949" y="7310978"/>
                  </a:lnTo>
                  <a:lnTo>
                    <a:pt x="1645509" y="7288443"/>
                  </a:lnTo>
                  <a:lnTo>
                    <a:pt x="1644182" y="7264952"/>
                  </a:lnTo>
                  <a:lnTo>
                    <a:pt x="1647025" y="7242964"/>
                  </a:lnTo>
                  <a:lnTo>
                    <a:pt x="1651153" y="7211106"/>
                  </a:lnTo>
                  <a:lnTo>
                    <a:pt x="1678311" y="7173593"/>
                  </a:lnTo>
                  <a:lnTo>
                    <a:pt x="1694416" y="7139761"/>
                  </a:lnTo>
                  <a:lnTo>
                    <a:pt x="1713673" y="7113744"/>
                  </a:lnTo>
                  <a:lnTo>
                    <a:pt x="1728234" y="7097936"/>
                  </a:lnTo>
                  <a:lnTo>
                    <a:pt x="1753341" y="7080210"/>
                  </a:lnTo>
                  <a:lnTo>
                    <a:pt x="1780321" y="7066142"/>
                  </a:lnTo>
                  <a:lnTo>
                    <a:pt x="1807301" y="7052075"/>
                  </a:lnTo>
                  <a:lnTo>
                    <a:pt x="1836450" y="7041603"/>
                  </a:lnTo>
                  <a:lnTo>
                    <a:pt x="1857858" y="7043021"/>
                  </a:lnTo>
                  <a:lnTo>
                    <a:pt x="1871522" y="7063933"/>
                  </a:lnTo>
                  <a:lnTo>
                    <a:pt x="1823980" y="7177148"/>
                  </a:lnTo>
                  <a:lnTo>
                    <a:pt x="1818406" y="7200804"/>
                  </a:lnTo>
                  <a:lnTo>
                    <a:pt x="1812076" y="7227751"/>
                  </a:lnTo>
                  <a:lnTo>
                    <a:pt x="1836114" y="7253167"/>
                  </a:lnTo>
                  <a:lnTo>
                    <a:pt x="1830647" y="7279692"/>
                  </a:lnTo>
                  <a:lnTo>
                    <a:pt x="1825470" y="7304858"/>
                  </a:lnTo>
                  <a:lnTo>
                    <a:pt x="1805942" y="7345747"/>
                  </a:lnTo>
                  <a:lnTo>
                    <a:pt x="1791203" y="7385785"/>
                  </a:lnTo>
                  <a:lnTo>
                    <a:pt x="1783837" y="7405807"/>
                  </a:lnTo>
                  <a:lnTo>
                    <a:pt x="1774880" y="7442916"/>
                  </a:lnTo>
                  <a:lnTo>
                    <a:pt x="1773561" y="7478047"/>
                  </a:lnTo>
                  <a:lnTo>
                    <a:pt x="1793927" y="7500048"/>
                  </a:lnTo>
                  <a:lnTo>
                    <a:pt x="1832830" y="7485631"/>
                  </a:lnTo>
                  <a:lnTo>
                    <a:pt x="1846040" y="7466143"/>
                  </a:lnTo>
                  <a:lnTo>
                    <a:pt x="1860574" y="7446992"/>
                  </a:lnTo>
                  <a:lnTo>
                    <a:pt x="1875110" y="7427840"/>
                  </a:lnTo>
                  <a:lnTo>
                    <a:pt x="1891155" y="7408945"/>
                  </a:lnTo>
                  <a:lnTo>
                    <a:pt x="1910900" y="7399389"/>
                  </a:lnTo>
                  <a:lnTo>
                    <a:pt x="1931371" y="7389478"/>
                  </a:lnTo>
                  <a:lnTo>
                    <a:pt x="1961226" y="7389867"/>
                  </a:lnTo>
                  <a:lnTo>
                    <a:pt x="1985456" y="7401361"/>
                  </a:lnTo>
                  <a:lnTo>
                    <a:pt x="2014790" y="7432166"/>
                  </a:lnTo>
                  <a:lnTo>
                    <a:pt x="2029048" y="7461566"/>
                  </a:lnTo>
                  <a:lnTo>
                    <a:pt x="2051002" y="7480994"/>
                  </a:lnTo>
                  <a:lnTo>
                    <a:pt x="2119992" y="7499679"/>
                  </a:lnTo>
                  <a:lnTo>
                    <a:pt x="2142329" y="7505212"/>
                  </a:lnTo>
                  <a:lnTo>
                    <a:pt x="2158598" y="7524593"/>
                  </a:lnTo>
                  <a:lnTo>
                    <a:pt x="2166618" y="7546291"/>
                  </a:lnTo>
                  <a:lnTo>
                    <a:pt x="2154298" y="7583585"/>
                  </a:lnTo>
                  <a:lnTo>
                    <a:pt x="2134111" y="7592699"/>
                  </a:lnTo>
                  <a:lnTo>
                    <a:pt x="2108134" y="7599333"/>
                  </a:lnTo>
                  <a:lnTo>
                    <a:pt x="2082157" y="7605974"/>
                  </a:lnTo>
                  <a:lnTo>
                    <a:pt x="2051312" y="7609081"/>
                  </a:lnTo>
                  <a:lnTo>
                    <a:pt x="2019723" y="7611574"/>
                  </a:lnTo>
                  <a:lnTo>
                    <a:pt x="1988133" y="7614073"/>
                  </a:lnTo>
                  <a:lnTo>
                    <a:pt x="1956392" y="7616633"/>
                  </a:lnTo>
                  <a:lnTo>
                    <a:pt x="1929946" y="7621098"/>
                  </a:lnTo>
                  <a:lnTo>
                    <a:pt x="1903507" y="7625561"/>
                  </a:lnTo>
                  <a:lnTo>
                    <a:pt x="1881995" y="7633027"/>
                  </a:lnTo>
                  <a:lnTo>
                    <a:pt x="1864808" y="7653511"/>
                  </a:lnTo>
                  <a:lnTo>
                    <a:pt x="1851150" y="7674516"/>
                  </a:lnTo>
                  <a:lnTo>
                    <a:pt x="1845123" y="7696370"/>
                  </a:lnTo>
                  <a:lnTo>
                    <a:pt x="1843995" y="7720429"/>
                  </a:lnTo>
                  <a:lnTo>
                    <a:pt x="1845967" y="7761456"/>
                  </a:lnTo>
                  <a:lnTo>
                    <a:pt x="1856499" y="7795202"/>
                  </a:lnTo>
                  <a:lnTo>
                    <a:pt x="1871377" y="7821800"/>
                  </a:lnTo>
                  <a:lnTo>
                    <a:pt x="1893312" y="7842059"/>
                  </a:lnTo>
                  <a:lnTo>
                    <a:pt x="1923154" y="7856409"/>
                  </a:lnTo>
                  <a:lnTo>
                    <a:pt x="1955897" y="7868346"/>
                  </a:lnTo>
                  <a:lnTo>
                    <a:pt x="2000736" y="7865748"/>
                  </a:lnTo>
                  <a:lnTo>
                    <a:pt x="2017487" y="7851938"/>
                  </a:lnTo>
                  <a:lnTo>
                    <a:pt x="2041005" y="7817362"/>
                  </a:lnTo>
                  <a:lnTo>
                    <a:pt x="2048292" y="7797273"/>
                  </a:lnTo>
                  <a:lnTo>
                    <a:pt x="2055091" y="7776162"/>
                  </a:lnTo>
                  <a:lnTo>
                    <a:pt x="2061884" y="7755052"/>
                  </a:lnTo>
                  <a:lnTo>
                    <a:pt x="2068571" y="7733409"/>
                  </a:lnTo>
                  <a:lnTo>
                    <a:pt x="2087861" y="7696496"/>
                  </a:lnTo>
                  <a:lnTo>
                    <a:pt x="2120381" y="7671429"/>
                  </a:lnTo>
                  <a:lnTo>
                    <a:pt x="2148943" y="7668712"/>
                  </a:lnTo>
                  <a:lnTo>
                    <a:pt x="2174789" y="7680953"/>
                  </a:lnTo>
                  <a:lnTo>
                    <a:pt x="2193301" y="7692440"/>
                  </a:lnTo>
                  <a:lnTo>
                    <a:pt x="2219074" y="7705868"/>
                  </a:lnTo>
                  <a:lnTo>
                    <a:pt x="2247531" y="7699094"/>
                  </a:lnTo>
                  <a:lnTo>
                    <a:pt x="2271279" y="7676276"/>
                  </a:lnTo>
                  <a:lnTo>
                    <a:pt x="2276713" y="7655799"/>
                  </a:lnTo>
                  <a:lnTo>
                    <a:pt x="2275440" y="7634701"/>
                  </a:lnTo>
                  <a:lnTo>
                    <a:pt x="2274174" y="7613611"/>
                  </a:lnTo>
                  <a:lnTo>
                    <a:pt x="2266075" y="7591617"/>
                  </a:lnTo>
                  <a:lnTo>
                    <a:pt x="2257760" y="7569412"/>
                  </a:lnTo>
                  <a:lnTo>
                    <a:pt x="2249443" y="7547207"/>
                  </a:lnTo>
                  <a:lnTo>
                    <a:pt x="2240896" y="7524369"/>
                  </a:lnTo>
                  <a:lnTo>
                    <a:pt x="2233813" y="7483876"/>
                  </a:lnTo>
                  <a:lnTo>
                    <a:pt x="2248236" y="7451080"/>
                  </a:lnTo>
                  <a:lnTo>
                    <a:pt x="2282688" y="7435886"/>
                  </a:lnTo>
                  <a:lnTo>
                    <a:pt x="2305367" y="7441557"/>
                  </a:lnTo>
                  <a:lnTo>
                    <a:pt x="2328047" y="7447229"/>
                  </a:lnTo>
                  <a:lnTo>
                    <a:pt x="2353675" y="7458830"/>
                  </a:lnTo>
                  <a:lnTo>
                    <a:pt x="2378815" y="7471479"/>
                  </a:lnTo>
                  <a:lnTo>
                    <a:pt x="2403955" y="7484128"/>
                  </a:lnTo>
                  <a:lnTo>
                    <a:pt x="2428659" y="7497265"/>
                  </a:lnTo>
                  <a:lnTo>
                    <a:pt x="2450911" y="7504123"/>
                  </a:lnTo>
                  <a:lnTo>
                    <a:pt x="2473156" y="7510988"/>
                  </a:lnTo>
                  <a:lnTo>
                    <a:pt x="2506677" y="7500048"/>
                  </a:lnTo>
                  <a:lnTo>
                    <a:pt x="2521634" y="7475567"/>
                  </a:lnTo>
                  <a:lnTo>
                    <a:pt x="2520282" y="7446998"/>
                  </a:lnTo>
                  <a:lnTo>
                    <a:pt x="2516207" y="7417077"/>
                  </a:lnTo>
                  <a:lnTo>
                    <a:pt x="2520282" y="7388515"/>
                  </a:lnTo>
                  <a:lnTo>
                    <a:pt x="2540859" y="7374275"/>
                  </a:lnTo>
                  <a:lnTo>
                    <a:pt x="2565167" y="7378991"/>
                  </a:lnTo>
                  <a:lnTo>
                    <a:pt x="2591059" y="7386385"/>
                  </a:lnTo>
                  <a:lnTo>
                    <a:pt x="2618164" y="7398796"/>
                  </a:lnTo>
                  <a:lnTo>
                    <a:pt x="2642697" y="7414354"/>
                  </a:lnTo>
                  <a:lnTo>
                    <a:pt x="2662943" y="7429027"/>
                  </a:lnTo>
                  <a:lnTo>
                    <a:pt x="2667184" y="7460597"/>
                  </a:lnTo>
                  <a:lnTo>
                    <a:pt x="2653836" y="7479768"/>
                  </a:lnTo>
                  <a:lnTo>
                    <a:pt x="2635706" y="7492628"/>
                  </a:lnTo>
                  <a:lnTo>
                    <a:pt x="2620934" y="7509563"/>
                  </a:lnTo>
                  <a:lnTo>
                    <a:pt x="2609017" y="7527475"/>
                  </a:lnTo>
                  <a:lnTo>
                    <a:pt x="2605654" y="7548784"/>
                  </a:lnTo>
                  <a:lnTo>
                    <a:pt x="2610059" y="7570778"/>
                  </a:lnTo>
                  <a:lnTo>
                    <a:pt x="2616601" y="7593774"/>
                  </a:lnTo>
                  <a:lnTo>
                    <a:pt x="2627997" y="7613070"/>
                  </a:lnTo>
                  <a:lnTo>
                    <a:pt x="2684871" y="7636067"/>
                  </a:lnTo>
                  <a:lnTo>
                    <a:pt x="2706634" y="7640143"/>
                  </a:lnTo>
                  <a:lnTo>
                    <a:pt x="2727653" y="7651545"/>
                  </a:lnTo>
                  <a:lnTo>
                    <a:pt x="2748182" y="7664103"/>
                  </a:lnTo>
                  <a:lnTo>
                    <a:pt x="2767842" y="7678229"/>
                  </a:lnTo>
                  <a:lnTo>
                    <a:pt x="2788992" y="7690653"/>
                  </a:lnTo>
                  <a:lnTo>
                    <a:pt x="2809265" y="7703889"/>
                  </a:lnTo>
                  <a:lnTo>
                    <a:pt x="2829049" y="7716313"/>
                  </a:lnTo>
                  <a:lnTo>
                    <a:pt x="2859162" y="7728139"/>
                  </a:lnTo>
                  <a:lnTo>
                    <a:pt x="2894154" y="7734404"/>
                  </a:lnTo>
                  <a:lnTo>
                    <a:pt x="2932425" y="7739436"/>
                  </a:lnTo>
                  <a:lnTo>
                    <a:pt x="2971328" y="7744975"/>
                  </a:lnTo>
                  <a:lnTo>
                    <a:pt x="3010495" y="7755660"/>
                  </a:lnTo>
                  <a:lnTo>
                    <a:pt x="3048040" y="7774804"/>
                  </a:lnTo>
                  <a:lnTo>
                    <a:pt x="3068444" y="7796561"/>
                  </a:lnTo>
                  <a:lnTo>
                    <a:pt x="3081825" y="7818442"/>
                  </a:lnTo>
                  <a:lnTo>
                    <a:pt x="3095873" y="7842698"/>
                  </a:lnTo>
                  <a:lnTo>
                    <a:pt x="3109253" y="7865932"/>
                  </a:lnTo>
                  <a:lnTo>
                    <a:pt x="3119377" y="7885202"/>
                  </a:lnTo>
                  <a:lnTo>
                    <a:pt x="3132151" y="7904367"/>
                  </a:lnTo>
                  <a:lnTo>
                    <a:pt x="3147339" y="7920340"/>
                  </a:lnTo>
                  <a:lnTo>
                    <a:pt x="3167737" y="7935305"/>
                  </a:lnTo>
                  <a:lnTo>
                    <a:pt x="3190865" y="7946186"/>
                  </a:lnTo>
                  <a:lnTo>
                    <a:pt x="3210630" y="7953756"/>
                  </a:lnTo>
                  <a:lnTo>
                    <a:pt x="3231484" y="7965734"/>
                  </a:lnTo>
                  <a:lnTo>
                    <a:pt x="3246632" y="7981548"/>
                  </a:lnTo>
                  <a:lnTo>
                    <a:pt x="3258556" y="8000784"/>
                  </a:lnTo>
                  <a:lnTo>
                    <a:pt x="3267353" y="8022166"/>
                  </a:lnTo>
                  <a:lnTo>
                    <a:pt x="3271112" y="8044120"/>
                  </a:lnTo>
                  <a:lnTo>
                    <a:pt x="3269430" y="8065157"/>
                  </a:lnTo>
                  <a:lnTo>
                    <a:pt x="3245537" y="8085220"/>
                  </a:lnTo>
                  <a:lnTo>
                    <a:pt x="3228681" y="8098237"/>
                  </a:lnTo>
                  <a:lnTo>
                    <a:pt x="3213987" y="8113492"/>
                  </a:lnTo>
                  <a:lnTo>
                    <a:pt x="3197665" y="8139337"/>
                  </a:lnTo>
                  <a:lnTo>
                    <a:pt x="3191835" y="8159517"/>
                  </a:lnTo>
                  <a:lnTo>
                    <a:pt x="3193853" y="8180397"/>
                  </a:lnTo>
                  <a:lnTo>
                    <a:pt x="3214950" y="8195875"/>
                  </a:lnTo>
                  <a:lnTo>
                    <a:pt x="3234392" y="8204620"/>
                  </a:lnTo>
                  <a:lnTo>
                    <a:pt x="3257005" y="8213108"/>
                  </a:lnTo>
                  <a:lnTo>
                    <a:pt x="3279778" y="8228778"/>
                  </a:lnTo>
                  <a:lnTo>
                    <a:pt x="3301040" y="8254953"/>
                  </a:lnTo>
                  <a:lnTo>
                    <a:pt x="3305116" y="8295756"/>
                  </a:lnTo>
                  <a:lnTo>
                    <a:pt x="3287190" y="8324983"/>
                  </a:lnTo>
                  <a:lnTo>
                    <a:pt x="3260468" y="8348145"/>
                  </a:lnTo>
                  <a:lnTo>
                    <a:pt x="3237102" y="8371926"/>
                  </a:lnTo>
                  <a:lnTo>
                    <a:pt x="3237630" y="8404842"/>
                  </a:lnTo>
                  <a:lnTo>
                    <a:pt x="3258318" y="8420624"/>
                  </a:lnTo>
                  <a:lnTo>
                    <a:pt x="3291510" y="8424976"/>
                  </a:lnTo>
                  <a:lnTo>
                    <a:pt x="3326469" y="8426625"/>
                  </a:lnTo>
                  <a:lnTo>
                    <a:pt x="3367319" y="8419100"/>
                  </a:lnTo>
                  <a:lnTo>
                    <a:pt x="3403630" y="8425450"/>
                  </a:lnTo>
                  <a:lnTo>
                    <a:pt x="3438181" y="8432085"/>
                  </a:lnTo>
                  <a:lnTo>
                    <a:pt x="3471057" y="8441299"/>
                  </a:lnTo>
                  <a:lnTo>
                    <a:pt x="3503938" y="8450518"/>
                  </a:lnTo>
                  <a:lnTo>
                    <a:pt x="3535614" y="8461353"/>
                  </a:lnTo>
                  <a:lnTo>
                    <a:pt x="3551310" y="8475309"/>
                  </a:lnTo>
                  <a:lnTo>
                    <a:pt x="3559916" y="8537366"/>
                  </a:lnTo>
                  <a:lnTo>
                    <a:pt x="3571714" y="8575960"/>
                  </a:lnTo>
                  <a:lnTo>
                    <a:pt x="3584740" y="8612508"/>
                  </a:lnTo>
                  <a:lnTo>
                    <a:pt x="3610374" y="8631904"/>
                  </a:lnTo>
                  <a:lnTo>
                    <a:pt x="3651968" y="8623568"/>
                  </a:lnTo>
                  <a:lnTo>
                    <a:pt x="3681473" y="8598692"/>
                  </a:lnTo>
                  <a:lnTo>
                    <a:pt x="3687765" y="8575492"/>
                  </a:lnTo>
                  <a:lnTo>
                    <a:pt x="3690053" y="8551473"/>
                  </a:lnTo>
                  <a:lnTo>
                    <a:pt x="3692329" y="8527461"/>
                  </a:lnTo>
                  <a:lnTo>
                    <a:pt x="3689717" y="8502044"/>
                  </a:lnTo>
                  <a:lnTo>
                    <a:pt x="3703652" y="8472585"/>
                  </a:lnTo>
                  <a:lnTo>
                    <a:pt x="3721959" y="8445691"/>
                  </a:lnTo>
                  <a:lnTo>
                    <a:pt x="3747911" y="8428747"/>
                  </a:lnTo>
                  <a:lnTo>
                    <a:pt x="3778464" y="8422259"/>
                  </a:lnTo>
                  <a:lnTo>
                    <a:pt x="3809883" y="8422325"/>
                  </a:lnTo>
                  <a:lnTo>
                    <a:pt x="3839540" y="8433062"/>
                  </a:lnTo>
                  <a:lnTo>
                    <a:pt x="3864158" y="8453544"/>
                  </a:lnTo>
                  <a:lnTo>
                    <a:pt x="3896302" y="8488558"/>
                  </a:lnTo>
                  <a:lnTo>
                    <a:pt x="3911602" y="8507175"/>
                  </a:lnTo>
                  <a:lnTo>
                    <a:pt x="3922643" y="8525635"/>
                  </a:lnTo>
                  <a:lnTo>
                    <a:pt x="3933683" y="8544086"/>
                  </a:lnTo>
                  <a:lnTo>
                    <a:pt x="3958012" y="8599081"/>
                  </a:lnTo>
                  <a:lnTo>
                    <a:pt x="3973826" y="8632003"/>
                  </a:lnTo>
                  <a:lnTo>
                    <a:pt x="4008700" y="8660823"/>
                  </a:lnTo>
                  <a:lnTo>
                    <a:pt x="4032816" y="8687493"/>
                  </a:lnTo>
                  <a:lnTo>
                    <a:pt x="4036371" y="8722221"/>
                  </a:lnTo>
                  <a:lnTo>
                    <a:pt x="4023301" y="8750066"/>
                  </a:lnTo>
                  <a:lnTo>
                    <a:pt x="4018414" y="8780244"/>
                  </a:lnTo>
                  <a:lnTo>
                    <a:pt x="4031458" y="8799032"/>
                  </a:lnTo>
                  <a:lnTo>
                    <a:pt x="4060001" y="8806735"/>
                  </a:lnTo>
                  <a:lnTo>
                    <a:pt x="4119659" y="8794548"/>
                  </a:lnTo>
                  <a:lnTo>
                    <a:pt x="4150668" y="8806174"/>
                  </a:lnTo>
                  <a:lnTo>
                    <a:pt x="4170433" y="8825564"/>
                  </a:lnTo>
                  <a:lnTo>
                    <a:pt x="4190600" y="8834400"/>
                  </a:lnTo>
                  <a:lnTo>
                    <a:pt x="4233328" y="8853105"/>
                  </a:lnTo>
                  <a:lnTo>
                    <a:pt x="4269132" y="8861499"/>
                  </a:lnTo>
                  <a:lnTo>
                    <a:pt x="4298057" y="8860239"/>
                  </a:lnTo>
                  <a:lnTo>
                    <a:pt x="4326989" y="8858980"/>
                  </a:lnTo>
                  <a:lnTo>
                    <a:pt x="4348918" y="8848632"/>
                  </a:lnTo>
                  <a:lnTo>
                    <a:pt x="4367428" y="8831676"/>
                  </a:lnTo>
                  <a:lnTo>
                    <a:pt x="4385940" y="8814721"/>
                  </a:lnTo>
                  <a:lnTo>
                    <a:pt x="4400839" y="8790696"/>
                  </a:lnTo>
                  <a:lnTo>
                    <a:pt x="4412314" y="8762305"/>
                  </a:lnTo>
                  <a:lnTo>
                    <a:pt x="4423796" y="8733915"/>
                  </a:lnTo>
                  <a:lnTo>
                    <a:pt x="4431696" y="8701295"/>
                  </a:lnTo>
                  <a:lnTo>
                    <a:pt x="4439519" y="8665736"/>
                  </a:lnTo>
                  <a:lnTo>
                    <a:pt x="4481429" y="8685158"/>
                  </a:lnTo>
                  <a:lnTo>
                    <a:pt x="4506173" y="8699739"/>
                  </a:lnTo>
                  <a:lnTo>
                    <a:pt x="4532407" y="8713259"/>
                  </a:lnTo>
                  <a:lnTo>
                    <a:pt x="4561550" y="8716147"/>
                  </a:lnTo>
                  <a:lnTo>
                    <a:pt x="4594584" y="8702456"/>
                  </a:lnTo>
                  <a:lnTo>
                    <a:pt x="4608460" y="8685468"/>
                  </a:lnTo>
                  <a:lnTo>
                    <a:pt x="4617903" y="8647646"/>
                  </a:lnTo>
                  <a:lnTo>
                    <a:pt x="4628588" y="8611321"/>
                  </a:lnTo>
                  <a:lnTo>
                    <a:pt x="4639271" y="8575004"/>
                  </a:lnTo>
                  <a:lnTo>
                    <a:pt x="4650858" y="8539820"/>
                  </a:lnTo>
                  <a:lnTo>
                    <a:pt x="4672114" y="8528351"/>
                  </a:lnTo>
                  <a:lnTo>
                    <a:pt x="4705905" y="8536680"/>
                  </a:lnTo>
                  <a:lnTo>
                    <a:pt x="4726713" y="8572768"/>
                  </a:lnTo>
                  <a:lnTo>
                    <a:pt x="4735299" y="8600050"/>
                  </a:lnTo>
                  <a:lnTo>
                    <a:pt x="4729245" y="8629002"/>
                  </a:lnTo>
                  <a:lnTo>
                    <a:pt x="4721819" y="8656602"/>
                  </a:lnTo>
                  <a:lnTo>
                    <a:pt x="4733236" y="8685633"/>
                  </a:lnTo>
                  <a:lnTo>
                    <a:pt x="4740826" y="8716688"/>
                  </a:lnTo>
                  <a:lnTo>
                    <a:pt x="4742850" y="8751424"/>
                  </a:lnTo>
                  <a:lnTo>
                    <a:pt x="4722360" y="8781411"/>
                  </a:lnTo>
                  <a:lnTo>
                    <a:pt x="4691285" y="8832720"/>
                  </a:lnTo>
                  <a:lnTo>
                    <a:pt x="4685719" y="8869762"/>
                  </a:lnTo>
                  <a:lnTo>
                    <a:pt x="4682296" y="8892549"/>
                  </a:lnTo>
                  <a:lnTo>
                    <a:pt x="4700682" y="8919600"/>
                  </a:lnTo>
                  <a:lnTo>
                    <a:pt x="4718193" y="8953010"/>
                  </a:lnTo>
                  <a:lnTo>
                    <a:pt x="4731969" y="8985377"/>
                  </a:lnTo>
                  <a:lnTo>
                    <a:pt x="4746649" y="9010346"/>
                  </a:lnTo>
                  <a:lnTo>
                    <a:pt x="4776900" y="9030494"/>
                  </a:lnTo>
                  <a:lnTo>
                    <a:pt x="4798618" y="9047944"/>
                  </a:lnTo>
                  <a:lnTo>
                    <a:pt x="4822649" y="9067260"/>
                  </a:lnTo>
                  <a:lnTo>
                    <a:pt x="4851686" y="9087803"/>
                  </a:lnTo>
                  <a:lnTo>
                    <a:pt x="4878870" y="9095552"/>
                  </a:lnTo>
                  <a:lnTo>
                    <a:pt x="4905679" y="9100089"/>
                  </a:lnTo>
                  <a:lnTo>
                    <a:pt x="4930951" y="9091016"/>
                  </a:lnTo>
                  <a:lnTo>
                    <a:pt x="4953676" y="9064267"/>
                  </a:lnTo>
                  <a:lnTo>
                    <a:pt x="4967750" y="9041995"/>
                  </a:lnTo>
                  <a:lnTo>
                    <a:pt x="4960482" y="8997618"/>
                  </a:lnTo>
                  <a:lnTo>
                    <a:pt x="4939491" y="8968158"/>
                  </a:lnTo>
                  <a:lnTo>
                    <a:pt x="4924844" y="8940967"/>
                  </a:lnTo>
                  <a:lnTo>
                    <a:pt x="4914642" y="8922080"/>
                  </a:lnTo>
                  <a:lnTo>
                    <a:pt x="4903351" y="8899683"/>
                  </a:lnTo>
                  <a:lnTo>
                    <a:pt x="4892060" y="8877294"/>
                  </a:lnTo>
                  <a:lnTo>
                    <a:pt x="4880552" y="8851601"/>
                  </a:lnTo>
                  <a:lnTo>
                    <a:pt x="4872064" y="8826236"/>
                  </a:lnTo>
                  <a:lnTo>
                    <a:pt x="4863584" y="8800866"/>
                  </a:lnTo>
                  <a:lnTo>
                    <a:pt x="4858499" y="8776194"/>
                  </a:lnTo>
                  <a:lnTo>
                    <a:pt x="4859825" y="8754148"/>
                  </a:lnTo>
                  <a:lnTo>
                    <a:pt x="4861150" y="8732093"/>
                  </a:lnTo>
                  <a:lnTo>
                    <a:pt x="4887028" y="8701098"/>
                  </a:lnTo>
                  <a:lnTo>
                    <a:pt x="4915617" y="8698137"/>
                  </a:lnTo>
                  <a:lnTo>
                    <a:pt x="4945492" y="8709507"/>
                  </a:lnTo>
                  <a:lnTo>
                    <a:pt x="4968640" y="8728301"/>
                  </a:lnTo>
                  <a:lnTo>
                    <a:pt x="4987060" y="8747097"/>
                  </a:lnTo>
                  <a:lnTo>
                    <a:pt x="5009792" y="8757293"/>
                  </a:lnTo>
                  <a:lnTo>
                    <a:pt x="5028489" y="8774553"/>
                  </a:lnTo>
                  <a:lnTo>
                    <a:pt x="5039370" y="8799032"/>
                  </a:lnTo>
                  <a:lnTo>
                    <a:pt x="5040795" y="8820914"/>
                  </a:lnTo>
                  <a:lnTo>
                    <a:pt x="5037953" y="8847880"/>
                  </a:lnTo>
                  <a:lnTo>
                    <a:pt x="5032571" y="8879286"/>
                  </a:lnTo>
                  <a:lnTo>
                    <a:pt x="5025773" y="8912182"/>
                  </a:lnTo>
                  <a:lnTo>
                    <a:pt x="5020325" y="8947041"/>
                  </a:lnTo>
                  <a:lnTo>
                    <a:pt x="5017607" y="8982661"/>
                  </a:lnTo>
                  <a:lnTo>
                    <a:pt x="5016835" y="9018307"/>
                  </a:lnTo>
                  <a:lnTo>
                    <a:pt x="5021095" y="9053114"/>
                  </a:lnTo>
                  <a:lnTo>
                    <a:pt x="5031207" y="9086036"/>
                  </a:lnTo>
                  <a:lnTo>
                    <a:pt x="5048010" y="9116161"/>
                  </a:lnTo>
                  <a:lnTo>
                    <a:pt x="5067933" y="9136362"/>
                  </a:lnTo>
                  <a:lnTo>
                    <a:pt x="5099734" y="9157194"/>
                  </a:lnTo>
                  <a:lnTo>
                    <a:pt x="5136493" y="9164930"/>
                  </a:lnTo>
                  <a:lnTo>
                    <a:pt x="5174026" y="9166288"/>
                  </a:lnTo>
                  <a:lnTo>
                    <a:pt x="5211557" y="9167642"/>
                  </a:lnTo>
                  <a:lnTo>
                    <a:pt x="5249959" y="9162656"/>
                  </a:lnTo>
                  <a:lnTo>
                    <a:pt x="5286924" y="9155407"/>
                  </a:lnTo>
                  <a:lnTo>
                    <a:pt x="5323888" y="9148153"/>
                  </a:lnTo>
                  <a:lnTo>
                    <a:pt x="5358828" y="9138624"/>
                  </a:lnTo>
                  <a:lnTo>
                    <a:pt x="5388940" y="9133644"/>
                  </a:lnTo>
                  <a:lnTo>
                    <a:pt x="5419046" y="9128666"/>
                  </a:lnTo>
                  <a:lnTo>
                    <a:pt x="5444067" y="9128204"/>
                  </a:lnTo>
                  <a:lnTo>
                    <a:pt x="5481697" y="9146307"/>
                  </a:lnTo>
                  <a:lnTo>
                    <a:pt x="5497625" y="9161666"/>
                  </a:lnTo>
                  <a:lnTo>
                    <a:pt x="5514078" y="9178530"/>
                  </a:lnTo>
                  <a:lnTo>
                    <a:pt x="5530533" y="9195386"/>
                  </a:lnTo>
                  <a:lnTo>
                    <a:pt x="5547924" y="9213079"/>
                  </a:lnTo>
                  <a:lnTo>
                    <a:pt x="5568479" y="9224773"/>
                  </a:lnTo>
                  <a:lnTo>
                    <a:pt x="5593975" y="9224001"/>
                  </a:lnTo>
                  <a:lnTo>
                    <a:pt x="5632767" y="9225517"/>
                  </a:lnTo>
                  <a:lnTo>
                    <a:pt x="5658257" y="9230213"/>
                  </a:lnTo>
                  <a:lnTo>
                    <a:pt x="5684102" y="9246536"/>
                  </a:lnTo>
                  <a:lnTo>
                    <a:pt x="5702877" y="9259858"/>
                  </a:lnTo>
                  <a:lnTo>
                    <a:pt x="5722451" y="9271307"/>
                  </a:lnTo>
                  <a:lnTo>
                    <a:pt x="5742593" y="9279181"/>
                  </a:lnTo>
                  <a:lnTo>
                    <a:pt x="5763340" y="9283711"/>
                  </a:lnTo>
                  <a:lnTo>
                    <a:pt x="5785466" y="9279906"/>
                  </a:lnTo>
                  <a:lnTo>
                    <a:pt x="5805158" y="9266934"/>
                  </a:lnTo>
                  <a:lnTo>
                    <a:pt x="5821763" y="9249635"/>
                  </a:lnTo>
                  <a:lnTo>
                    <a:pt x="5837519" y="9229824"/>
                  </a:lnTo>
                  <a:lnTo>
                    <a:pt x="5852766" y="9209808"/>
                  </a:lnTo>
                  <a:lnTo>
                    <a:pt x="5867862" y="9193282"/>
                  </a:lnTo>
                  <a:lnTo>
                    <a:pt x="5866833" y="9169738"/>
                  </a:lnTo>
                  <a:lnTo>
                    <a:pt x="5848288" y="9151767"/>
                  </a:lnTo>
                  <a:lnTo>
                    <a:pt x="5829262" y="9133915"/>
                  </a:lnTo>
                  <a:lnTo>
                    <a:pt x="5809740" y="9116181"/>
                  </a:lnTo>
                  <a:lnTo>
                    <a:pt x="5802018" y="9087321"/>
                  </a:lnTo>
                  <a:lnTo>
                    <a:pt x="5797422" y="9062986"/>
                  </a:lnTo>
                  <a:lnTo>
                    <a:pt x="5790200" y="9038427"/>
                  </a:lnTo>
                  <a:lnTo>
                    <a:pt x="5781258" y="9015233"/>
                  </a:lnTo>
                  <a:lnTo>
                    <a:pt x="5769216" y="8993608"/>
                  </a:lnTo>
                  <a:lnTo>
                    <a:pt x="5753474" y="8974496"/>
                  </a:lnTo>
                  <a:lnTo>
                    <a:pt x="5782037" y="8939135"/>
                  </a:lnTo>
                  <a:lnTo>
                    <a:pt x="5812115" y="8945801"/>
                  </a:lnTo>
                  <a:lnTo>
                    <a:pt x="5836444" y="8935051"/>
                  </a:lnTo>
                  <a:lnTo>
                    <a:pt x="5837802" y="8899683"/>
                  </a:lnTo>
                  <a:lnTo>
                    <a:pt x="5809240" y="8890167"/>
                  </a:lnTo>
                  <a:lnTo>
                    <a:pt x="5788018" y="8879853"/>
                  </a:lnTo>
                  <a:lnTo>
                    <a:pt x="5767896" y="8867837"/>
                  </a:lnTo>
                  <a:lnTo>
                    <a:pt x="5752114" y="8853441"/>
                  </a:lnTo>
                  <a:lnTo>
                    <a:pt x="5735793" y="8828960"/>
                  </a:lnTo>
                  <a:lnTo>
                    <a:pt x="5713680" y="8814960"/>
                  </a:lnTo>
                  <a:lnTo>
                    <a:pt x="5684458" y="8802151"/>
                  </a:lnTo>
                  <a:lnTo>
                    <a:pt x="5652821" y="8789510"/>
                  </a:lnTo>
                  <a:lnTo>
                    <a:pt x="5620929" y="8775092"/>
                  </a:lnTo>
                  <a:lnTo>
                    <a:pt x="5594932" y="8757682"/>
                  </a:lnTo>
                  <a:lnTo>
                    <a:pt x="5579368" y="8735101"/>
                  </a:lnTo>
                  <a:lnTo>
                    <a:pt x="5584974" y="8704943"/>
                  </a:lnTo>
                  <a:lnTo>
                    <a:pt x="5595526" y="8680937"/>
                  </a:lnTo>
                  <a:lnTo>
                    <a:pt x="5607937" y="8658930"/>
                  </a:lnTo>
                  <a:lnTo>
                    <a:pt x="5620381" y="8635690"/>
                  </a:lnTo>
                  <a:lnTo>
                    <a:pt x="5630847" y="8606006"/>
                  </a:lnTo>
                  <a:lnTo>
                    <a:pt x="5637858" y="8565079"/>
                  </a:lnTo>
                  <a:lnTo>
                    <a:pt x="5642408" y="8535454"/>
                  </a:lnTo>
                  <a:lnTo>
                    <a:pt x="5620177" y="8526986"/>
                  </a:lnTo>
                  <a:lnTo>
                    <a:pt x="5607001" y="8549396"/>
                  </a:lnTo>
                  <a:lnTo>
                    <a:pt x="5595268" y="8567148"/>
                  </a:lnTo>
                  <a:lnTo>
                    <a:pt x="5575259" y="8584995"/>
                  </a:lnTo>
                  <a:lnTo>
                    <a:pt x="5549249" y="8588522"/>
                  </a:lnTo>
                  <a:lnTo>
                    <a:pt x="5522243" y="8581394"/>
                  </a:lnTo>
                  <a:lnTo>
                    <a:pt x="5506514" y="8561649"/>
                  </a:lnTo>
                  <a:lnTo>
                    <a:pt x="5503725" y="8539952"/>
                  </a:lnTo>
                  <a:lnTo>
                    <a:pt x="5511362" y="8512021"/>
                  </a:lnTo>
                  <a:lnTo>
                    <a:pt x="5520646" y="8483229"/>
                  </a:lnTo>
                  <a:lnTo>
                    <a:pt x="5527683" y="8452174"/>
                  </a:lnTo>
                  <a:lnTo>
                    <a:pt x="5489684" y="8441246"/>
                  </a:lnTo>
                  <a:lnTo>
                    <a:pt x="5465171" y="8440593"/>
                  </a:lnTo>
                  <a:lnTo>
                    <a:pt x="5443349" y="8437217"/>
                  </a:lnTo>
                  <a:lnTo>
                    <a:pt x="5421525" y="8433853"/>
                  </a:lnTo>
                  <a:lnTo>
                    <a:pt x="5387582" y="8416812"/>
                  </a:lnTo>
                  <a:lnTo>
                    <a:pt x="5360312" y="8392337"/>
                  </a:lnTo>
                  <a:lnTo>
                    <a:pt x="5346838" y="8354239"/>
                  </a:lnTo>
                  <a:lnTo>
                    <a:pt x="5345091" y="8331270"/>
                  </a:lnTo>
                  <a:lnTo>
                    <a:pt x="5348138" y="8301196"/>
                  </a:lnTo>
                  <a:lnTo>
                    <a:pt x="5353908" y="8274513"/>
                  </a:lnTo>
                  <a:lnTo>
                    <a:pt x="5364130" y="8248991"/>
                  </a:lnTo>
                  <a:lnTo>
                    <a:pt x="5373976" y="8223667"/>
                  </a:lnTo>
                  <a:lnTo>
                    <a:pt x="5379760" y="8195652"/>
                  </a:lnTo>
                  <a:lnTo>
                    <a:pt x="5381804" y="8167346"/>
                  </a:lnTo>
                  <a:lnTo>
                    <a:pt x="5380782" y="8139337"/>
                  </a:lnTo>
                  <a:lnTo>
                    <a:pt x="5379094" y="8110083"/>
                  </a:lnTo>
                  <a:lnTo>
                    <a:pt x="5377037" y="8081533"/>
                  </a:lnTo>
                  <a:lnTo>
                    <a:pt x="5375348" y="8053643"/>
                  </a:lnTo>
                  <a:lnTo>
                    <a:pt x="5380782" y="8030514"/>
                  </a:lnTo>
                  <a:lnTo>
                    <a:pt x="5395745" y="8010117"/>
                  </a:lnTo>
                  <a:lnTo>
                    <a:pt x="5409351" y="7989712"/>
                  </a:lnTo>
                  <a:lnTo>
                    <a:pt x="5413427" y="7966591"/>
                  </a:lnTo>
                  <a:lnTo>
                    <a:pt x="5405751" y="7945552"/>
                  </a:lnTo>
                  <a:lnTo>
                    <a:pt x="5390707" y="7930457"/>
                  </a:lnTo>
                  <a:lnTo>
                    <a:pt x="5359969" y="7904783"/>
                  </a:lnTo>
                  <a:lnTo>
                    <a:pt x="5331815" y="7882255"/>
                  </a:lnTo>
                  <a:lnTo>
                    <a:pt x="5313685" y="7857523"/>
                  </a:lnTo>
                  <a:lnTo>
                    <a:pt x="5318434" y="7831375"/>
                  </a:lnTo>
                  <a:lnTo>
                    <a:pt x="5330456" y="7810167"/>
                  </a:lnTo>
                  <a:lnTo>
                    <a:pt x="5348407" y="7785838"/>
                  </a:lnTo>
                  <a:lnTo>
                    <a:pt x="5363101" y="7770723"/>
                  </a:lnTo>
                  <a:lnTo>
                    <a:pt x="5360377" y="7740794"/>
                  </a:lnTo>
                  <a:lnTo>
                    <a:pt x="5361737" y="7710873"/>
                  </a:lnTo>
                  <a:lnTo>
                    <a:pt x="5393267" y="7704496"/>
                  </a:lnTo>
                  <a:lnTo>
                    <a:pt x="5428126" y="7706368"/>
                  </a:lnTo>
                  <a:lnTo>
                    <a:pt x="5455588" y="7690468"/>
                  </a:lnTo>
                  <a:lnTo>
                    <a:pt x="5450155" y="7656466"/>
                  </a:lnTo>
                  <a:lnTo>
                    <a:pt x="5412048" y="7643961"/>
                  </a:lnTo>
                  <a:lnTo>
                    <a:pt x="5387588" y="7633343"/>
                  </a:lnTo>
                  <a:lnTo>
                    <a:pt x="5363127" y="7622725"/>
                  </a:lnTo>
                  <a:lnTo>
                    <a:pt x="5340250" y="7610208"/>
                  </a:lnTo>
                  <a:lnTo>
                    <a:pt x="5325643" y="7589006"/>
                  </a:lnTo>
                  <a:lnTo>
                    <a:pt x="5315499" y="7568054"/>
                  </a:lnTo>
                  <a:lnTo>
                    <a:pt x="5301663" y="7551376"/>
                  </a:lnTo>
                  <a:lnTo>
                    <a:pt x="5281489" y="7536768"/>
                  </a:lnTo>
                  <a:lnTo>
                    <a:pt x="5270145" y="7517629"/>
                  </a:lnTo>
                  <a:lnTo>
                    <a:pt x="5271973" y="7493242"/>
                  </a:lnTo>
                  <a:lnTo>
                    <a:pt x="5274282" y="7462417"/>
                  </a:lnTo>
                  <a:lnTo>
                    <a:pt x="5275238" y="7431157"/>
                  </a:lnTo>
                  <a:lnTo>
                    <a:pt x="5277413" y="7399389"/>
                  </a:lnTo>
                  <a:lnTo>
                    <a:pt x="5279584" y="7367622"/>
                  </a:lnTo>
                  <a:lnTo>
                    <a:pt x="5282743" y="7335980"/>
                  </a:lnTo>
                  <a:lnTo>
                    <a:pt x="5288295" y="7305537"/>
                  </a:lnTo>
                  <a:lnTo>
                    <a:pt x="5296902" y="7270426"/>
                  </a:lnTo>
                  <a:lnTo>
                    <a:pt x="5306886" y="7234549"/>
                  </a:lnTo>
                  <a:lnTo>
                    <a:pt x="5310059" y="7198080"/>
                  </a:lnTo>
                  <a:lnTo>
                    <a:pt x="5282849" y="7176317"/>
                  </a:lnTo>
                  <a:lnTo>
                    <a:pt x="5216200" y="7203520"/>
                  </a:lnTo>
                  <a:lnTo>
                    <a:pt x="5192070" y="7190826"/>
                  </a:lnTo>
                  <a:lnTo>
                    <a:pt x="5194443" y="7164076"/>
                  </a:lnTo>
                  <a:lnTo>
                    <a:pt x="5204204" y="7133766"/>
                  </a:lnTo>
                  <a:lnTo>
                    <a:pt x="5217327" y="7101894"/>
                  </a:lnTo>
                  <a:lnTo>
                    <a:pt x="5229805" y="7071584"/>
                  </a:lnTo>
                  <a:lnTo>
                    <a:pt x="5240806" y="7042440"/>
                  </a:lnTo>
                  <a:lnTo>
                    <a:pt x="5243741" y="7014893"/>
                  </a:lnTo>
                  <a:lnTo>
                    <a:pt x="5235245" y="6989972"/>
                  </a:lnTo>
                  <a:lnTo>
                    <a:pt x="5221871" y="6967641"/>
                  </a:lnTo>
                  <a:lnTo>
                    <a:pt x="5205094" y="6949729"/>
                  </a:lnTo>
                  <a:lnTo>
                    <a:pt x="5189003" y="6934205"/>
                  </a:lnTo>
                  <a:lnTo>
                    <a:pt x="5172680" y="6909718"/>
                  </a:lnTo>
                  <a:lnTo>
                    <a:pt x="5180436" y="6882091"/>
                  </a:lnTo>
                  <a:lnTo>
                    <a:pt x="5242045" y="6858034"/>
                  </a:lnTo>
                  <a:lnTo>
                    <a:pt x="5259521" y="6826239"/>
                  </a:lnTo>
                  <a:lnTo>
                    <a:pt x="5247018" y="6805994"/>
                  </a:lnTo>
                  <a:lnTo>
                    <a:pt x="5232529" y="6785944"/>
                  </a:lnTo>
                  <a:lnTo>
                    <a:pt x="5218040" y="6765889"/>
                  </a:lnTo>
                  <a:lnTo>
                    <a:pt x="5201460" y="6747014"/>
                  </a:lnTo>
                  <a:lnTo>
                    <a:pt x="5212124" y="6717931"/>
                  </a:lnTo>
                  <a:lnTo>
                    <a:pt x="5236341" y="6712603"/>
                  </a:lnTo>
                  <a:lnTo>
                    <a:pt x="5272237" y="6715102"/>
                  </a:lnTo>
                  <a:lnTo>
                    <a:pt x="5297818" y="6719297"/>
                  </a:lnTo>
                  <a:lnTo>
                    <a:pt x="5303767" y="6688835"/>
                  </a:lnTo>
                  <a:lnTo>
                    <a:pt x="5297818" y="6664889"/>
                  </a:lnTo>
                  <a:lnTo>
                    <a:pt x="5289324" y="6640553"/>
                  </a:lnTo>
                  <a:lnTo>
                    <a:pt x="5279101" y="6618494"/>
                  </a:lnTo>
                  <a:lnTo>
                    <a:pt x="5266532" y="6596875"/>
                  </a:lnTo>
                  <a:lnTo>
                    <a:pt x="5253329" y="6574050"/>
                  </a:lnTo>
                  <a:lnTo>
                    <a:pt x="5224957" y="6524634"/>
                  </a:lnTo>
                  <a:lnTo>
                    <a:pt x="5216800" y="6497141"/>
                  </a:lnTo>
                  <a:lnTo>
                    <a:pt x="5216206" y="6474461"/>
                  </a:lnTo>
                  <a:lnTo>
                    <a:pt x="5215612" y="6451781"/>
                  </a:lnTo>
                  <a:lnTo>
                    <a:pt x="5236605" y="6417329"/>
                  </a:lnTo>
                  <a:lnTo>
                    <a:pt x="5266189" y="6386148"/>
                  </a:lnTo>
                  <a:lnTo>
                    <a:pt x="5285579" y="6368362"/>
                  </a:lnTo>
                  <a:lnTo>
                    <a:pt x="5304960" y="6350581"/>
                  </a:lnTo>
                  <a:lnTo>
                    <a:pt x="5326638" y="6330152"/>
                  </a:lnTo>
                  <a:lnTo>
                    <a:pt x="5345428" y="6303079"/>
                  </a:lnTo>
                  <a:lnTo>
                    <a:pt x="5346020" y="6280406"/>
                  </a:lnTo>
                  <a:lnTo>
                    <a:pt x="5341101" y="6257871"/>
                  </a:lnTo>
                  <a:lnTo>
                    <a:pt x="5333180" y="6235066"/>
                  </a:lnTo>
                  <a:lnTo>
                    <a:pt x="5325266" y="6212261"/>
                  </a:lnTo>
                  <a:lnTo>
                    <a:pt x="5314054" y="6189568"/>
                  </a:lnTo>
                  <a:lnTo>
                    <a:pt x="5303260" y="6168417"/>
                  </a:lnTo>
                  <a:lnTo>
                    <a:pt x="5292463" y="6147268"/>
                  </a:lnTo>
                  <a:lnTo>
                    <a:pt x="5281397" y="6127627"/>
                  </a:lnTo>
                  <a:lnTo>
                    <a:pt x="5265267" y="6092227"/>
                  </a:lnTo>
                  <a:lnTo>
                    <a:pt x="5261092" y="6063684"/>
                  </a:lnTo>
                  <a:lnTo>
                    <a:pt x="5261619" y="6040707"/>
                  </a:lnTo>
                  <a:lnTo>
                    <a:pt x="5261751" y="6019043"/>
                  </a:lnTo>
                  <a:lnTo>
                    <a:pt x="5268617" y="5977733"/>
                  </a:lnTo>
                  <a:lnTo>
                    <a:pt x="5285572" y="5938546"/>
                  </a:lnTo>
                  <a:lnTo>
                    <a:pt x="5300530" y="5912699"/>
                  </a:lnTo>
                  <a:lnTo>
                    <a:pt x="5308120" y="5892302"/>
                  </a:lnTo>
                  <a:lnTo>
                    <a:pt x="5297917" y="5856539"/>
                  </a:lnTo>
                  <a:lnTo>
                    <a:pt x="5279379" y="5841891"/>
                  </a:lnTo>
                  <a:lnTo>
                    <a:pt x="5259726" y="5822924"/>
                  </a:lnTo>
                  <a:lnTo>
                    <a:pt x="5240073" y="5803957"/>
                  </a:lnTo>
                  <a:lnTo>
                    <a:pt x="5219088" y="5780921"/>
                  </a:lnTo>
                  <a:lnTo>
                    <a:pt x="5209400" y="5739953"/>
                  </a:lnTo>
                  <a:lnTo>
                    <a:pt x="5213225" y="5706391"/>
                  </a:lnTo>
                  <a:lnTo>
                    <a:pt x="5222412" y="5675534"/>
                  </a:lnTo>
                  <a:lnTo>
                    <a:pt x="5229799" y="5644736"/>
                  </a:lnTo>
                  <a:lnTo>
                    <a:pt x="5237191" y="5613944"/>
                  </a:lnTo>
                  <a:lnTo>
                    <a:pt x="5243305" y="5582658"/>
                  </a:lnTo>
                  <a:lnTo>
                    <a:pt x="5242045" y="5548167"/>
                  </a:lnTo>
                  <a:lnTo>
                    <a:pt x="5238471" y="5521491"/>
                  </a:lnTo>
                  <a:lnTo>
                    <a:pt x="5237442" y="5495948"/>
                  </a:lnTo>
                  <a:lnTo>
                    <a:pt x="5250210" y="5470637"/>
                  </a:lnTo>
                  <a:lnTo>
                    <a:pt x="5278370" y="5436640"/>
                  </a:lnTo>
                  <a:lnTo>
                    <a:pt x="5309972" y="5422429"/>
                  </a:lnTo>
                  <a:lnTo>
                    <a:pt x="5337262" y="5412147"/>
                  </a:lnTo>
                  <a:lnTo>
                    <a:pt x="5364552" y="5401866"/>
                  </a:lnTo>
                  <a:lnTo>
                    <a:pt x="5387450" y="5396412"/>
                  </a:lnTo>
                  <a:lnTo>
                    <a:pt x="5406825" y="5362488"/>
                  </a:lnTo>
                  <a:lnTo>
                    <a:pt x="5401252" y="5340644"/>
                  </a:lnTo>
                  <a:lnTo>
                    <a:pt x="5395753" y="5316930"/>
                  </a:lnTo>
                  <a:lnTo>
                    <a:pt x="5390253" y="5293215"/>
                  </a:lnTo>
                  <a:lnTo>
                    <a:pt x="5385221" y="5267388"/>
                  </a:lnTo>
                  <a:lnTo>
                    <a:pt x="5391678" y="5243483"/>
                  </a:lnTo>
                  <a:lnTo>
                    <a:pt x="5417502" y="5223019"/>
                  </a:lnTo>
                  <a:lnTo>
                    <a:pt x="5431029" y="5204414"/>
                  </a:lnTo>
                  <a:lnTo>
                    <a:pt x="5442095" y="5168288"/>
                  </a:lnTo>
                  <a:lnTo>
                    <a:pt x="5431122" y="5133308"/>
                  </a:lnTo>
                  <a:lnTo>
                    <a:pt x="5408678" y="5096990"/>
                  </a:lnTo>
                  <a:lnTo>
                    <a:pt x="5393036" y="5077535"/>
                  </a:lnTo>
                  <a:lnTo>
                    <a:pt x="5377393" y="5058087"/>
                  </a:lnTo>
                  <a:lnTo>
                    <a:pt x="5359236" y="5036844"/>
                  </a:lnTo>
                  <a:lnTo>
                    <a:pt x="5342710" y="5013604"/>
                  </a:lnTo>
                  <a:lnTo>
                    <a:pt x="5332329" y="4990120"/>
                  </a:lnTo>
                  <a:lnTo>
                    <a:pt x="5334044" y="4963641"/>
                  </a:lnTo>
                  <a:lnTo>
                    <a:pt x="5344068" y="4936074"/>
                  </a:lnTo>
                  <a:lnTo>
                    <a:pt x="5354145" y="4908369"/>
                  </a:lnTo>
                  <a:lnTo>
                    <a:pt x="5368192" y="4881455"/>
                  </a:lnTo>
                  <a:lnTo>
                    <a:pt x="5367191" y="4859903"/>
                  </a:lnTo>
                  <a:lnTo>
                    <a:pt x="5365884" y="4831724"/>
                  </a:lnTo>
                  <a:lnTo>
                    <a:pt x="5355701" y="4804704"/>
                  </a:lnTo>
                  <a:lnTo>
                    <a:pt x="5345428" y="4778291"/>
                  </a:lnTo>
                  <a:lnTo>
                    <a:pt x="5335158" y="4751879"/>
                  </a:lnTo>
                  <a:lnTo>
                    <a:pt x="5324317" y="4724820"/>
                  </a:lnTo>
                  <a:lnTo>
                    <a:pt x="5320947" y="4698037"/>
                  </a:lnTo>
                  <a:lnTo>
                    <a:pt x="5323169" y="4663487"/>
                  </a:lnTo>
                  <a:lnTo>
                    <a:pt x="5332323" y="4626496"/>
                  </a:lnTo>
                  <a:lnTo>
                    <a:pt x="5334546" y="4590586"/>
                  </a:lnTo>
                  <a:lnTo>
                    <a:pt x="5322127" y="4560574"/>
                  </a:lnTo>
                  <a:lnTo>
                    <a:pt x="5295287" y="4536264"/>
                  </a:lnTo>
                  <a:lnTo>
                    <a:pt x="5261098" y="4514416"/>
                  </a:lnTo>
                  <a:lnTo>
                    <a:pt x="5226850" y="4493496"/>
                  </a:lnTo>
                  <a:lnTo>
                    <a:pt x="5200134" y="4470039"/>
                  </a:lnTo>
                  <a:lnTo>
                    <a:pt x="5189009" y="4442321"/>
                  </a:lnTo>
                  <a:lnTo>
                    <a:pt x="5185481" y="4418540"/>
                  </a:lnTo>
                  <a:lnTo>
                    <a:pt x="5181154" y="4393722"/>
                  </a:lnTo>
                  <a:lnTo>
                    <a:pt x="5176762" y="4368873"/>
                  </a:lnTo>
                  <a:lnTo>
                    <a:pt x="5172370" y="4344023"/>
                  </a:lnTo>
                  <a:lnTo>
                    <a:pt x="5167846" y="4318811"/>
                  </a:lnTo>
                  <a:lnTo>
                    <a:pt x="5161805" y="4294060"/>
                  </a:lnTo>
                  <a:lnTo>
                    <a:pt x="5155757" y="4269316"/>
                  </a:lnTo>
                  <a:lnTo>
                    <a:pt x="5148523" y="4244084"/>
                  </a:lnTo>
                  <a:lnTo>
                    <a:pt x="5140042" y="4220614"/>
                  </a:lnTo>
                  <a:lnTo>
                    <a:pt x="5131554" y="4197142"/>
                  </a:lnTo>
                  <a:lnTo>
                    <a:pt x="5121827" y="4174990"/>
                  </a:lnTo>
                  <a:lnTo>
                    <a:pt x="5110115" y="4153959"/>
                  </a:lnTo>
                  <a:lnTo>
                    <a:pt x="5090363" y="4118485"/>
                  </a:lnTo>
                  <a:lnTo>
                    <a:pt x="5074264" y="4091842"/>
                  </a:lnTo>
                  <a:lnTo>
                    <a:pt x="5062505" y="4069629"/>
                  </a:lnTo>
                  <a:lnTo>
                    <a:pt x="5050754" y="4047418"/>
                  </a:lnTo>
                  <a:lnTo>
                    <a:pt x="5039384" y="4012504"/>
                  </a:lnTo>
                  <a:lnTo>
                    <a:pt x="5036693" y="3975453"/>
                  </a:lnTo>
                  <a:lnTo>
                    <a:pt x="5042100" y="3952655"/>
                  </a:lnTo>
                  <a:lnTo>
                    <a:pt x="5047516" y="3929850"/>
                  </a:lnTo>
                  <a:lnTo>
                    <a:pt x="5057447" y="3902250"/>
                  </a:lnTo>
                  <a:lnTo>
                    <a:pt x="5072029" y="3865597"/>
                  </a:lnTo>
                  <a:lnTo>
                    <a:pt x="5082910" y="3838398"/>
                  </a:lnTo>
                  <a:lnTo>
                    <a:pt x="5091483" y="3818449"/>
                  </a:lnTo>
                  <a:lnTo>
                    <a:pt x="5101534" y="3798494"/>
                  </a:lnTo>
                  <a:lnTo>
                    <a:pt x="5114191" y="3781267"/>
                  </a:lnTo>
                  <a:lnTo>
                    <a:pt x="5127070" y="3764627"/>
                  </a:lnTo>
                  <a:lnTo>
                    <a:pt x="5149472" y="3756893"/>
                  </a:lnTo>
                  <a:lnTo>
                    <a:pt x="5177698" y="3742252"/>
                  </a:lnTo>
                  <a:lnTo>
                    <a:pt x="5207152" y="3729926"/>
                  </a:lnTo>
                  <a:lnTo>
                    <a:pt x="5231169" y="3714626"/>
                  </a:lnTo>
                  <a:lnTo>
                    <a:pt x="5255328" y="3687869"/>
                  </a:lnTo>
                  <a:lnTo>
                    <a:pt x="5262456" y="3664293"/>
                  </a:lnTo>
                  <a:lnTo>
                    <a:pt x="5269580" y="3640717"/>
                  </a:lnTo>
                  <a:lnTo>
                    <a:pt x="5274150" y="3611040"/>
                  </a:lnTo>
                  <a:lnTo>
                    <a:pt x="5277413" y="3581322"/>
                  </a:lnTo>
                  <a:lnTo>
                    <a:pt x="5280678" y="3551606"/>
                  </a:lnTo>
                  <a:lnTo>
                    <a:pt x="5283039" y="3521686"/>
                  </a:lnTo>
                  <a:lnTo>
                    <a:pt x="5285579" y="3494270"/>
                  </a:lnTo>
                  <a:lnTo>
                    <a:pt x="5288110" y="3466855"/>
                  </a:lnTo>
                  <a:lnTo>
                    <a:pt x="5290161" y="3441577"/>
                  </a:lnTo>
                  <a:lnTo>
                    <a:pt x="5302508" y="3399896"/>
                  </a:lnTo>
                  <a:lnTo>
                    <a:pt x="5325023" y="3370490"/>
                  </a:lnTo>
                  <a:lnTo>
                    <a:pt x="5350551" y="3347823"/>
                  </a:lnTo>
                  <a:lnTo>
                    <a:pt x="5375665" y="3327874"/>
                  </a:lnTo>
                  <a:lnTo>
                    <a:pt x="5397111" y="3302484"/>
                  </a:lnTo>
                  <a:lnTo>
                    <a:pt x="5413282" y="3267075"/>
                  </a:lnTo>
                  <a:lnTo>
                    <a:pt x="5416157" y="3238553"/>
                  </a:lnTo>
                  <a:lnTo>
                    <a:pt x="5417107" y="3212813"/>
                  </a:lnTo>
                  <a:lnTo>
                    <a:pt x="5409332" y="3185667"/>
                  </a:lnTo>
                  <a:lnTo>
                    <a:pt x="5391374" y="3165929"/>
                  </a:lnTo>
                  <a:lnTo>
                    <a:pt x="5365963" y="3146805"/>
                  </a:lnTo>
                  <a:lnTo>
                    <a:pt x="5337994" y="3124943"/>
                  </a:lnTo>
                  <a:lnTo>
                    <a:pt x="5319852" y="3109900"/>
                  </a:lnTo>
                  <a:lnTo>
                    <a:pt x="5301900" y="3094368"/>
                  </a:lnTo>
                  <a:lnTo>
                    <a:pt x="5283955" y="3078845"/>
                  </a:lnTo>
                  <a:lnTo>
                    <a:pt x="5266663" y="3063194"/>
                  </a:lnTo>
                  <a:lnTo>
                    <a:pt x="5254292" y="3045408"/>
                  </a:lnTo>
                  <a:lnTo>
                    <a:pt x="5241927" y="3027615"/>
                  </a:lnTo>
                  <a:lnTo>
                    <a:pt x="5234106" y="3008027"/>
                  </a:lnTo>
                  <a:lnTo>
                    <a:pt x="5232529" y="2986917"/>
                  </a:lnTo>
                  <a:lnTo>
                    <a:pt x="5230952" y="2965808"/>
                  </a:lnTo>
                  <a:lnTo>
                    <a:pt x="5235786" y="2943036"/>
                  </a:lnTo>
                  <a:lnTo>
                    <a:pt x="5250216" y="2917546"/>
                  </a:lnTo>
                  <a:lnTo>
                    <a:pt x="5269559" y="2879802"/>
                  </a:lnTo>
                  <a:lnTo>
                    <a:pt x="5295814" y="2858700"/>
                  </a:lnTo>
                  <a:lnTo>
                    <a:pt x="5315505" y="2845457"/>
                  </a:lnTo>
                  <a:lnTo>
                    <a:pt x="5332323" y="2830413"/>
                  </a:lnTo>
                  <a:lnTo>
                    <a:pt x="5341344" y="2810089"/>
                  </a:lnTo>
                  <a:lnTo>
                    <a:pt x="5348784" y="2763000"/>
                  </a:lnTo>
                  <a:lnTo>
                    <a:pt x="5349510" y="2728477"/>
                  </a:lnTo>
                  <a:lnTo>
                    <a:pt x="5350241" y="2693960"/>
                  </a:lnTo>
                  <a:lnTo>
                    <a:pt x="5349641" y="2658907"/>
                  </a:lnTo>
                  <a:lnTo>
                    <a:pt x="5349311" y="2625201"/>
                  </a:lnTo>
                  <a:lnTo>
                    <a:pt x="5346034" y="2594731"/>
                  </a:lnTo>
                  <a:lnTo>
                    <a:pt x="5338628" y="2565253"/>
                  </a:lnTo>
                  <a:lnTo>
                    <a:pt x="5331222" y="2535780"/>
                  </a:lnTo>
                  <a:lnTo>
                    <a:pt x="5320096" y="2508160"/>
                  </a:lnTo>
                  <a:lnTo>
                    <a:pt x="5301900" y="2494522"/>
                  </a:lnTo>
                  <a:lnTo>
                    <a:pt x="5272896" y="2472463"/>
                  </a:lnTo>
                  <a:lnTo>
                    <a:pt x="5243852" y="2451292"/>
                  </a:lnTo>
                  <a:lnTo>
                    <a:pt x="5216206" y="2429233"/>
                  </a:lnTo>
                  <a:lnTo>
                    <a:pt x="5188746" y="2406224"/>
                  </a:lnTo>
                  <a:lnTo>
                    <a:pt x="5175285" y="2383451"/>
                  </a:lnTo>
                  <a:lnTo>
                    <a:pt x="5171322" y="2359861"/>
                  </a:lnTo>
                  <a:lnTo>
                    <a:pt x="5167358" y="2336277"/>
                  </a:lnTo>
                  <a:lnTo>
                    <a:pt x="5172252" y="2312332"/>
                  </a:lnTo>
                  <a:lnTo>
                    <a:pt x="5179486" y="2287772"/>
                  </a:lnTo>
                  <a:lnTo>
                    <a:pt x="5186713" y="2263212"/>
                  </a:lnTo>
                  <a:lnTo>
                    <a:pt x="5196488" y="2238891"/>
                  </a:lnTo>
                  <a:lnTo>
                    <a:pt x="5202608" y="2212966"/>
                  </a:lnTo>
                  <a:lnTo>
                    <a:pt x="5208727" y="2187035"/>
                  </a:lnTo>
                  <a:lnTo>
                    <a:pt x="5211261" y="2159040"/>
                  </a:lnTo>
                  <a:lnTo>
                    <a:pt x="5203967" y="2131347"/>
                  </a:lnTo>
                  <a:lnTo>
                    <a:pt x="5196699" y="2103761"/>
                  </a:lnTo>
                  <a:lnTo>
                    <a:pt x="5174038" y="2072864"/>
                  </a:lnTo>
                  <a:lnTo>
                    <a:pt x="5148252" y="2050303"/>
                  </a:lnTo>
                  <a:lnTo>
                    <a:pt x="5120936" y="2035576"/>
                  </a:lnTo>
                  <a:lnTo>
                    <a:pt x="5095150" y="2019815"/>
                  </a:lnTo>
                  <a:lnTo>
                    <a:pt x="5072919" y="1998611"/>
                  </a:lnTo>
                  <a:lnTo>
                    <a:pt x="5065223" y="1979012"/>
                  </a:lnTo>
                  <a:lnTo>
                    <a:pt x="5058529" y="1950752"/>
                  </a:lnTo>
                  <a:lnTo>
                    <a:pt x="5063766" y="1925653"/>
                  </a:lnTo>
                  <a:lnTo>
                    <a:pt x="5076111" y="1902840"/>
                  </a:lnTo>
                  <a:lnTo>
                    <a:pt x="5090257" y="1880161"/>
                  </a:lnTo>
                  <a:lnTo>
                    <a:pt x="5102774" y="1857507"/>
                  </a:lnTo>
                  <a:lnTo>
                    <a:pt x="5110115" y="1833469"/>
                  </a:lnTo>
                  <a:lnTo>
                    <a:pt x="5115324" y="1798272"/>
                  </a:lnTo>
                  <a:lnTo>
                    <a:pt x="5098204" y="1754977"/>
                  </a:lnTo>
                  <a:lnTo>
                    <a:pt x="5080193" y="1715129"/>
                  </a:lnTo>
                  <a:lnTo>
                    <a:pt x="5062183" y="1675284"/>
                  </a:lnTo>
                  <a:lnTo>
                    <a:pt x="5042820" y="1639743"/>
                  </a:lnTo>
                  <a:lnTo>
                    <a:pt x="5054380" y="1585527"/>
                  </a:lnTo>
                  <a:lnTo>
                    <a:pt x="5072240" y="1554900"/>
                  </a:lnTo>
                  <a:lnTo>
                    <a:pt x="5101753" y="1532590"/>
                  </a:lnTo>
                  <a:lnTo>
                    <a:pt x="5138684" y="1513821"/>
                  </a:lnTo>
                  <a:lnTo>
                    <a:pt x="5177554" y="1499285"/>
                  </a:lnTo>
                  <a:lnTo>
                    <a:pt x="5214064" y="1487553"/>
                  </a:lnTo>
                  <a:lnTo>
                    <a:pt x="5243417" y="1478459"/>
                  </a:lnTo>
                  <a:lnTo>
                    <a:pt x="5278146" y="1468026"/>
                  </a:lnTo>
                  <a:lnTo>
                    <a:pt x="5301413" y="1467848"/>
                  </a:lnTo>
                  <a:lnTo>
                    <a:pt x="5335047" y="1453701"/>
                  </a:lnTo>
                  <a:lnTo>
                    <a:pt x="5353591" y="1402288"/>
                  </a:lnTo>
                  <a:lnTo>
                    <a:pt x="5362791" y="1368409"/>
                  </a:lnTo>
                  <a:lnTo>
                    <a:pt x="5340211" y="1337968"/>
                  </a:lnTo>
                  <a:lnTo>
                    <a:pt x="5296466" y="1338357"/>
                  </a:lnTo>
                  <a:lnTo>
                    <a:pt x="5271993" y="1336583"/>
                  </a:lnTo>
                  <a:lnTo>
                    <a:pt x="5242026" y="1331426"/>
                  </a:lnTo>
                  <a:lnTo>
                    <a:pt x="5203973" y="1304354"/>
                  </a:lnTo>
                  <a:lnTo>
                    <a:pt x="5196871" y="1276213"/>
                  </a:lnTo>
                  <a:lnTo>
                    <a:pt x="5229323" y="1229976"/>
                  </a:lnTo>
                  <a:lnTo>
                    <a:pt x="5252024" y="1228254"/>
                  </a:lnTo>
                  <a:lnTo>
                    <a:pt x="5271979" y="1221377"/>
                  </a:lnTo>
                  <a:lnTo>
                    <a:pt x="5291698" y="1213106"/>
                  </a:lnTo>
                  <a:lnTo>
                    <a:pt x="5309393" y="1191568"/>
                  </a:lnTo>
                  <a:lnTo>
                    <a:pt x="5326387" y="1146570"/>
                  </a:lnTo>
                  <a:lnTo>
                    <a:pt x="5344860" y="1108755"/>
                  </a:lnTo>
                  <a:lnTo>
                    <a:pt x="5342795" y="1077285"/>
                  </a:lnTo>
                  <a:lnTo>
                    <a:pt x="5319232" y="1061120"/>
                  </a:lnTo>
                  <a:lnTo>
                    <a:pt x="5293742" y="1041830"/>
                  </a:lnTo>
                  <a:lnTo>
                    <a:pt x="5268254" y="1022547"/>
                  </a:lnTo>
                  <a:lnTo>
                    <a:pt x="5241248" y="999689"/>
                  </a:lnTo>
                  <a:lnTo>
                    <a:pt x="5232535" y="975182"/>
                  </a:lnTo>
                  <a:lnTo>
                    <a:pt x="5245263" y="930514"/>
                  </a:lnTo>
                  <a:lnTo>
                    <a:pt x="5290802" y="929901"/>
                  </a:lnTo>
                  <a:lnTo>
                    <a:pt x="5320392" y="931392"/>
                  </a:lnTo>
                  <a:lnTo>
                    <a:pt x="5349510" y="930297"/>
                  </a:lnTo>
                  <a:lnTo>
                    <a:pt x="5378632" y="929202"/>
                  </a:lnTo>
                  <a:lnTo>
                    <a:pt x="5407723" y="925126"/>
                  </a:lnTo>
                  <a:lnTo>
                    <a:pt x="5435204" y="916692"/>
                  </a:lnTo>
                  <a:lnTo>
                    <a:pt x="5458306" y="909609"/>
                  </a:lnTo>
                  <a:lnTo>
                    <a:pt x="5481453" y="884047"/>
                  </a:lnTo>
                  <a:lnTo>
                    <a:pt x="5491076" y="851389"/>
                  </a:lnTo>
                  <a:lnTo>
                    <a:pt x="5485430" y="816053"/>
                  </a:lnTo>
                  <a:lnTo>
                    <a:pt x="5467848" y="782030"/>
                  </a:lnTo>
                  <a:lnTo>
                    <a:pt x="5444001" y="751786"/>
                  </a:lnTo>
                  <a:lnTo>
                    <a:pt x="5408883" y="725743"/>
                  </a:lnTo>
                  <a:lnTo>
                    <a:pt x="5372921" y="712184"/>
                  </a:lnTo>
                  <a:lnTo>
                    <a:pt x="5335910" y="701783"/>
                  </a:lnTo>
                  <a:lnTo>
                    <a:pt x="5298894" y="691383"/>
                  </a:lnTo>
                  <a:lnTo>
                    <a:pt x="5261394" y="682935"/>
                  </a:lnTo>
                  <a:lnTo>
                    <a:pt x="5236617" y="678662"/>
                  </a:lnTo>
                  <a:lnTo>
                    <a:pt x="5251858" y="649070"/>
                  </a:lnTo>
                  <a:lnTo>
                    <a:pt x="5308219" y="623845"/>
                  </a:lnTo>
                  <a:lnTo>
                    <a:pt x="5333193" y="620171"/>
                  </a:lnTo>
                  <a:lnTo>
                    <a:pt x="5347274" y="596773"/>
                  </a:lnTo>
                  <a:lnTo>
                    <a:pt x="5346911" y="557124"/>
                  </a:lnTo>
                  <a:lnTo>
                    <a:pt x="5344074" y="518155"/>
                  </a:lnTo>
                  <a:lnTo>
                    <a:pt x="5341239" y="479186"/>
                  </a:lnTo>
                  <a:lnTo>
                    <a:pt x="5335679" y="440975"/>
                  </a:lnTo>
                  <a:lnTo>
                    <a:pt x="5323671" y="412063"/>
                  </a:lnTo>
                  <a:lnTo>
                    <a:pt x="5229818" y="397099"/>
                  </a:lnTo>
                  <a:lnTo>
                    <a:pt x="5220659" y="366769"/>
                  </a:lnTo>
                  <a:lnTo>
                    <a:pt x="5223368" y="326237"/>
                  </a:lnTo>
                  <a:lnTo>
                    <a:pt x="5233893" y="286924"/>
                  </a:lnTo>
                  <a:lnTo>
                    <a:pt x="5244426" y="247600"/>
                  </a:lnTo>
                  <a:lnTo>
                    <a:pt x="5261876" y="210391"/>
                  </a:lnTo>
                  <a:lnTo>
                    <a:pt x="5281503" y="186267"/>
                  </a:lnTo>
                  <a:lnTo>
                    <a:pt x="5315051" y="145028"/>
                  </a:lnTo>
                  <a:lnTo>
                    <a:pt x="5337341" y="133883"/>
                  </a:lnTo>
                  <a:lnTo>
                    <a:pt x="5348085" y="105347"/>
                  </a:lnTo>
                  <a:lnTo>
                    <a:pt x="5337078" y="87475"/>
                  </a:lnTo>
                  <a:lnTo>
                    <a:pt x="5307348" y="33924"/>
                  </a:lnTo>
                  <a:lnTo>
                    <a:pt x="5281503" y="23043"/>
                  </a:lnTo>
                  <a:lnTo>
                    <a:pt x="5262839" y="48657"/>
                  </a:lnTo>
                  <a:lnTo>
                    <a:pt x="5248923" y="65508"/>
                  </a:lnTo>
                  <a:lnTo>
                    <a:pt x="5232535" y="78816"/>
                  </a:lnTo>
                  <a:lnTo>
                    <a:pt x="5216141" y="92118"/>
                  </a:lnTo>
                  <a:lnTo>
                    <a:pt x="5196231" y="102960"/>
                  </a:lnTo>
                  <a:lnTo>
                    <a:pt x="5167246" y="114177"/>
                  </a:lnTo>
                  <a:lnTo>
                    <a:pt x="5086992" y="145464"/>
                  </a:lnTo>
                  <a:lnTo>
                    <a:pt x="5061062" y="151769"/>
                  </a:lnTo>
                  <a:lnTo>
                    <a:pt x="5005453" y="126972"/>
                  </a:lnTo>
                  <a:lnTo>
                    <a:pt x="4949615" y="99214"/>
                  </a:lnTo>
                  <a:lnTo>
                    <a:pt x="4893768" y="71462"/>
                  </a:lnTo>
                  <a:lnTo>
                    <a:pt x="4838180" y="40367"/>
                  </a:lnTo>
                  <a:lnTo>
                    <a:pt x="4814953" y="31207"/>
                  </a:lnTo>
                  <a:lnTo>
                    <a:pt x="4769686" y="18341"/>
                  </a:lnTo>
                  <a:lnTo>
                    <a:pt x="4725289" y="10116"/>
                  </a:lnTo>
                  <a:lnTo>
                    <a:pt x="4699726" y="20813"/>
                  </a:lnTo>
                  <a:lnTo>
                    <a:pt x="4674850" y="35289"/>
                  </a:lnTo>
                  <a:lnTo>
                    <a:pt x="4649982" y="49765"/>
                  </a:lnTo>
                  <a:lnTo>
                    <a:pt x="4625124" y="68416"/>
                  </a:lnTo>
                  <a:lnTo>
                    <a:pt x="4598679" y="81533"/>
                  </a:lnTo>
                  <a:lnTo>
                    <a:pt x="4572241" y="94657"/>
                  </a:lnTo>
                  <a:lnTo>
                    <a:pt x="4544799" y="101239"/>
                  </a:lnTo>
                  <a:lnTo>
                    <a:pt x="4514350" y="92414"/>
                  </a:lnTo>
                  <a:lnTo>
                    <a:pt x="4483428" y="80333"/>
                  </a:lnTo>
                  <a:lnTo>
                    <a:pt x="4466742" y="66569"/>
                  </a:lnTo>
                  <a:lnTo>
                    <a:pt x="4450057" y="52812"/>
                  </a:lnTo>
                  <a:lnTo>
                    <a:pt x="4432145" y="33766"/>
                  </a:lnTo>
                  <a:lnTo>
                    <a:pt x="4413692" y="8085"/>
                  </a:lnTo>
                  <a:close/>
                </a:path>
              </a:pathLst>
            </a:custGeom>
            <a:solidFill>
              <a:schemeClr val="tx2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57" name="Lviv¬0" descr="Lviv¬0">
              <a:extLst>
                <a:ext uri="{FF2B5EF4-FFF2-40B4-BE49-F238E27FC236}">
                  <a16:creationId xmlns:a16="http://schemas.microsoft.com/office/drawing/2014/main" id="{D4216464-4FEF-4CF0-99AC-8DD590C9AD6F}"/>
                </a:ext>
              </a:extLst>
            </p:cNvPr>
            <p:cNvSpPr/>
            <p:nvPr/>
          </p:nvSpPr>
          <p:spPr>
            <a:xfrm>
              <a:off x="1051086" y="1970904"/>
              <a:ext cx="954466" cy="869648"/>
            </a:xfrm>
            <a:custGeom>
              <a:avLst/>
              <a:gdLst/>
              <a:ahLst/>
              <a:cxnLst/>
              <a:rect l="0" t="0" r="0" b="0"/>
              <a:pathLst>
                <a:path w="9739805" h="10073762">
                  <a:moveTo>
                    <a:pt x="9497890" y="3285890"/>
                  </a:moveTo>
                  <a:lnTo>
                    <a:pt x="9440454" y="3249539"/>
                  </a:lnTo>
                  <a:lnTo>
                    <a:pt x="9384517" y="3226219"/>
                  </a:lnTo>
                  <a:lnTo>
                    <a:pt x="9336486" y="3199319"/>
                  </a:lnTo>
                  <a:lnTo>
                    <a:pt x="9296554" y="3176916"/>
                  </a:lnTo>
                  <a:lnTo>
                    <a:pt x="9246776" y="3154790"/>
                  </a:lnTo>
                  <a:lnTo>
                    <a:pt x="9214064" y="3121783"/>
                  </a:lnTo>
                  <a:lnTo>
                    <a:pt x="9155812" y="3062996"/>
                  </a:lnTo>
                  <a:lnTo>
                    <a:pt x="9086209" y="3002085"/>
                  </a:lnTo>
                  <a:lnTo>
                    <a:pt x="9039708" y="2959370"/>
                  </a:lnTo>
                  <a:lnTo>
                    <a:pt x="9002559" y="2926640"/>
                  </a:lnTo>
                  <a:lnTo>
                    <a:pt x="8965153" y="2900075"/>
                  </a:lnTo>
                  <a:lnTo>
                    <a:pt x="8944815" y="2885639"/>
                  </a:lnTo>
                  <a:lnTo>
                    <a:pt x="8903939" y="2861989"/>
                  </a:lnTo>
                  <a:lnTo>
                    <a:pt x="8877751" y="2760830"/>
                  </a:lnTo>
                  <a:lnTo>
                    <a:pt x="8862932" y="2693542"/>
                  </a:lnTo>
                  <a:lnTo>
                    <a:pt x="8861778" y="2626670"/>
                  </a:lnTo>
                  <a:lnTo>
                    <a:pt x="8860618" y="2559805"/>
                  </a:lnTo>
                  <a:lnTo>
                    <a:pt x="8871954" y="2492814"/>
                  </a:lnTo>
                  <a:lnTo>
                    <a:pt x="8899863" y="2392716"/>
                  </a:lnTo>
                  <a:lnTo>
                    <a:pt x="8880006" y="2354037"/>
                  </a:lnTo>
                  <a:lnTo>
                    <a:pt x="8852255" y="2328785"/>
                  </a:lnTo>
                  <a:lnTo>
                    <a:pt x="8824504" y="2303540"/>
                  </a:lnTo>
                  <a:lnTo>
                    <a:pt x="8794042" y="2278024"/>
                  </a:lnTo>
                  <a:lnTo>
                    <a:pt x="8783298" y="2244040"/>
                  </a:lnTo>
                  <a:lnTo>
                    <a:pt x="8803288" y="2209094"/>
                  </a:lnTo>
                  <a:lnTo>
                    <a:pt x="8815983" y="2192047"/>
                  </a:lnTo>
                  <a:lnTo>
                    <a:pt x="8833644" y="2175203"/>
                  </a:lnTo>
                  <a:lnTo>
                    <a:pt x="8852255" y="2158762"/>
                  </a:lnTo>
                  <a:lnTo>
                    <a:pt x="8870866" y="2142321"/>
                  </a:lnTo>
                  <a:lnTo>
                    <a:pt x="8889859" y="2126078"/>
                  </a:lnTo>
                  <a:lnTo>
                    <a:pt x="8906663" y="2108436"/>
                  </a:lnTo>
                  <a:lnTo>
                    <a:pt x="8923467" y="2090795"/>
                  </a:lnTo>
                  <a:lnTo>
                    <a:pt x="8937461" y="2071953"/>
                  </a:lnTo>
                  <a:lnTo>
                    <a:pt x="8944748" y="2051311"/>
                  </a:lnTo>
                  <a:lnTo>
                    <a:pt x="8952425" y="2029535"/>
                  </a:lnTo>
                  <a:lnTo>
                    <a:pt x="8956923" y="2006486"/>
                  </a:lnTo>
                  <a:lnTo>
                    <a:pt x="8956989" y="1983298"/>
                  </a:lnTo>
                  <a:lnTo>
                    <a:pt x="8957054" y="1960110"/>
                  </a:lnTo>
                  <a:lnTo>
                    <a:pt x="8953797" y="1936441"/>
                  </a:lnTo>
                  <a:lnTo>
                    <a:pt x="8946107" y="1915291"/>
                  </a:lnTo>
                  <a:lnTo>
                    <a:pt x="8938418" y="1894135"/>
                  </a:lnTo>
                  <a:lnTo>
                    <a:pt x="8926342" y="1875201"/>
                  </a:lnTo>
                  <a:lnTo>
                    <a:pt x="8910746" y="1859518"/>
                  </a:lnTo>
                  <a:lnTo>
                    <a:pt x="8895148" y="1843842"/>
                  </a:lnTo>
                  <a:lnTo>
                    <a:pt x="8875904" y="1832275"/>
                  </a:lnTo>
                  <a:lnTo>
                    <a:pt x="8852255" y="1825515"/>
                  </a:lnTo>
                  <a:lnTo>
                    <a:pt x="8831151" y="1819480"/>
                  </a:lnTo>
                  <a:lnTo>
                    <a:pt x="8809236" y="1809700"/>
                  </a:lnTo>
                  <a:lnTo>
                    <a:pt x="8786966" y="1814633"/>
                  </a:lnTo>
                  <a:lnTo>
                    <a:pt x="8757322" y="1821195"/>
                  </a:lnTo>
                  <a:lnTo>
                    <a:pt x="8735862" y="1832281"/>
                  </a:lnTo>
                  <a:lnTo>
                    <a:pt x="8717594" y="1843196"/>
                  </a:lnTo>
                  <a:lnTo>
                    <a:pt x="8699332" y="1854117"/>
                  </a:lnTo>
                  <a:lnTo>
                    <a:pt x="8668626" y="1875840"/>
                  </a:lnTo>
                  <a:lnTo>
                    <a:pt x="8633212" y="1892717"/>
                  </a:lnTo>
                  <a:lnTo>
                    <a:pt x="8608778" y="1896245"/>
                  </a:lnTo>
                  <a:lnTo>
                    <a:pt x="8584344" y="1899774"/>
                  </a:lnTo>
                  <a:lnTo>
                    <a:pt x="8554192" y="1899028"/>
                  </a:lnTo>
                  <a:lnTo>
                    <a:pt x="8512202" y="1890805"/>
                  </a:lnTo>
                  <a:lnTo>
                    <a:pt x="8467469" y="1885641"/>
                  </a:lnTo>
                  <a:lnTo>
                    <a:pt x="8442811" y="1861154"/>
                  </a:lnTo>
                  <a:lnTo>
                    <a:pt x="8439309" y="1829617"/>
                  </a:lnTo>
                  <a:lnTo>
                    <a:pt x="8439705" y="1792804"/>
                  </a:lnTo>
                  <a:lnTo>
                    <a:pt x="8442738" y="1769076"/>
                  </a:lnTo>
                  <a:lnTo>
                    <a:pt x="8445554" y="1743903"/>
                  </a:lnTo>
                  <a:lnTo>
                    <a:pt x="8448377" y="1718730"/>
                  </a:lnTo>
                  <a:lnTo>
                    <a:pt x="8451436" y="1692825"/>
                  </a:lnTo>
                  <a:lnTo>
                    <a:pt x="8450995" y="1667732"/>
                  </a:lnTo>
                  <a:lnTo>
                    <a:pt x="8450533" y="1642638"/>
                  </a:lnTo>
                  <a:lnTo>
                    <a:pt x="8447586" y="1618593"/>
                  </a:lnTo>
                  <a:lnTo>
                    <a:pt x="8438754" y="1597002"/>
                  </a:lnTo>
                  <a:lnTo>
                    <a:pt x="8429924" y="1575410"/>
                  </a:lnTo>
                  <a:lnTo>
                    <a:pt x="8414861" y="1555909"/>
                  </a:lnTo>
                  <a:lnTo>
                    <a:pt x="8392504" y="1541235"/>
                  </a:lnTo>
                  <a:lnTo>
                    <a:pt x="8365987" y="1523039"/>
                  </a:lnTo>
                  <a:lnTo>
                    <a:pt x="8206159" y="1550752"/>
                  </a:lnTo>
                  <a:lnTo>
                    <a:pt x="8184778" y="1551286"/>
                  </a:lnTo>
                  <a:lnTo>
                    <a:pt x="8155154" y="1540048"/>
                  </a:lnTo>
                  <a:lnTo>
                    <a:pt x="8128623" y="1519109"/>
                  </a:lnTo>
                  <a:lnTo>
                    <a:pt x="8112663" y="1498381"/>
                  </a:lnTo>
                  <a:lnTo>
                    <a:pt x="8095985" y="1478662"/>
                  </a:lnTo>
                  <a:lnTo>
                    <a:pt x="8079306" y="1458937"/>
                  </a:lnTo>
                  <a:lnTo>
                    <a:pt x="8061546" y="1440207"/>
                  </a:lnTo>
                  <a:lnTo>
                    <a:pt x="8041576" y="1426972"/>
                  </a:lnTo>
                  <a:lnTo>
                    <a:pt x="8021607" y="1413742"/>
                  </a:lnTo>
                  <a:lnTo>
                    <a:pt x="7999772" y="1406521"/>
                  </a:lnTo>
                  <a:lnTo>
                    <a:pt x="7972205" y="1412014"/>
                  </a:lnTo>
                  <a:lnTo>
                    <a:pt x="7964951" y="1435044"/>
                  </a:lnTo>
                  <a:lnTo>
                    <a:pt x="7965867" y="1462432"/>
                  </a:lnTo>
                  <a:lnTo>
                    <a:pt x="7970846" y="1492261"/>
                  </a:lnTo>
                  <a:lnTo>
                    <a:pt x="7975542" y="1522637"/>
                  </a:lnTo>
                  <a:lnTo>
                    <a:pt x="7979367" y="1553198"/>
                  </a:lnTo>
                  <a:lnTo>
                    <a:pt x="7965406" y="1576597"/>
                  </a:lnTo>
                  <a:lnTo>
                    <a:pt x="7927788" y="1586773"/>
                  </a:lnTo>
                  <a:lnTo>
                    <a:pt x="7854677" y="1576472"/>
                  </a:lnTo>
                  <a:lnTo>
                    <a:pt x="7803540" y="1538511"/>
                  </a:lnTo>
                  <a:lnTo>
                    <a:pt x="7778816" y="1517599"/>
                  </a:lnTo>
                  <a:lnTo>
                    <a:pt x="7754652" y="1505378"/>
                  </a:lnTo>
                  <a:lnTo>
                    <a:pt x="7728734" y="1500426"/>
                  </a:lnTo>
                  <a:lnTo>
                    <a:pt x="7702816" y="1495473"/>
                  </a:lnTo>
                  <a:lnTo>
                    <a:pt x="7675968" y="1497834"/>
                  </a:lnTo>
                  <a:lnTo>
                    <a:pt x="7644399" y="1504501"/>
                  </a:lnTo>
                  <a:lnTo>
                    <a:pt x="7622338" y="1509164"/>
                  </a:lnTo>
                  <a:lnTo>
                    <a:pt x="7588929" y="1517619"/>
                  </a:lnTo>
                  <a:lnTo>
                    <a:pt x="7568228" y="1526265"/>
                  </a:lnTo>
                  <a:lnTo>
                    <a:pt x="7515297" y="1561198"/>
                  </a:lnTo>
                  <a:lnTo>
                    <a:pt x="7481175" y="1584755"/>
                  </a:lnTo>
                  <a:lnTo>
                    <a:pt x="7447053" y="1608305"/>
                  </a:lnTo>
                  <a:lnTo>
                    <a:pt x="7414005" y="1628597"/>
                  </a:lnTo>
                  <a:lnTo>
                    <a:pt x="7360758" y="1606511"/>
                  </a:lnTo>
                  <a:lnTo>
                    <a:pt x="7324645" y="1588685"/>
                  </a:lnTo>
                  <a:lnTo>
                    <a:pt x="7288023" y="1575232"/>
                  </a:lnTo>
                  <a:lnTo>
                    <a:pt x="7238271" y="1562378"/>
                  </a:lnTo>
                  <a:lnTo>
                    <a:pt x="7213217" y="1550745"/>
                  </a:lnTo>
                  <a:lnTo>
                    <a:pt x="7189601" y="1538445"/>
                  </a:lnTo>
                  <a:lnTo>
                    <a:pt x="7174261" y="1519525"/>
                  </a:lnTo>
                  <a:lnTo>
                    <a:pt x="7171050" y="1492261"/>
                  </a:lnTo>
                  <a:lnTo>
                    <a:pt x="7175824" y="1455679"/>
                  </a:lnTo>
                  <a:lnTo>
                    <a:pt x="7178865" y="1430974"/>
                  </a:lnTo>
                  <a:lnTo>
                    <a:pt x="7179075" y="1404444"/>
                  </a:lnTo>
                  <a:lnTo>
                    <a:pt x="7167290" y="1361781"/>
                  </a:lnTo>
                  <a:lnTo>
                    <a:pt x="7151528" y="1346105"/>
                  </a:lnTo>
                  <a:lnTo>
                    <a:pt x="7131605" y="1335837"/>
                  </a:lnTo>
                  <a:lnTo>
                    <a:pt x="7111682" y="1325568"/>
                  </a:lnTo>
                  <a:lnTo>
                    <a:pt x="7088165" y="1320325"/>
                  </a:lnTo>
                  <a:lnTo>
                    <a:pt x="7064957" y="1316791"/>
                  </a:lnTo>
                  <a:lnTo>
                    <a:pt x="7041750" y="1313256"/>
                  </a:lnTo>
                  <a:lnTo>
                    <a:pt x="7018720" y="1311442"/>
                  </a:lnTo>
                  <a:lnTo>
                    <a:pt x="6980608" y="1305817"/>
                  </a:lnTo>
                  <a:lnTo>
                    <a:pt x="6957500" y="1293669"/>
                  </a:lnTo>
                  <a:lnTo>
                    <a:pt x="6949342" y="1271906"/>
                  </a:lnTo>
                  <a:lnTo>
                    <a:pt x="6950700" y="1247425"/>
                  </a:lnTo>
                  <a:lnTo>
                    <a:pt x="6952059" y="1218856"/>
                  </a:lnTo>
                  <a:lnTo>
                    <a:pt x="6946532" y="1196783"/>
                  </a:lnTo>
                  <a:lnTo>
                    <a:pt x="6925231" y="1179056"/>
                  </a:lnTo>
                  <a:lnTo>
                    <a:pt x="6889487" y="1178053"/>
                  </a:lnTo>
                  <a:lnTo>
                    <a:pt x="6849693" y="1181266"/>
                  </a:lnTo>
                  <a:lnTo>
                    <a:pt x="6809589" y="1183007"/>
                  </a:lnTo>
                  <a:lnTo>
                    <a:pt x="6773871" y="1179412"/>
                  </a:lnTo>
                  <a:lnTo>
                    <a:pt x="6744946" y="1166598"/>
                  </a:lnTo>
                  <a:lnTo>
                    <a:pt x="6731974" y="1142666"/>
                  </a:lnTo>
                  <a:lnTo>
                    <a:pt x="6723546" y="1118205"/>
                  </a:lnTo>
                  <a:lnTo>
                    <a:pt x="6716291" y="1091931"/>
                  </a:lnTo>
                  <a:lnTo>
                    <a:pt x="6708245" y="1068756"/>
                  </a:lnTo>
                  <a:lnTo>
                    <a:pt x="6684095" y="1056991"/>
                  </a:lnTo>
                  <a:lnTo>
                    <a:pt x="6657788" y="1051761"/>
                  </a:lnTo>
                  <a:lnTo>
                    <a:pt x="6632410" y="1067879"/>
                  </a:lnTo>
                  <a:lnTo>
                    <a:pt x="6617131" y="1102496"/>
                  </a:lnTo>
                  <a:lnTo>
                    <a:pt x="6626753" y="1134903"/>
                  </a:lnTo>
                  <a:lnTo>
                    <a:pt x="6626970" y="1164448"/>
                  </a:lnTo>
                  <a:lnTo>
                    <a:pt x="6624636" y="1193591"/>
                  </a:lnTo>
                  <a:lnTo>
                    <a:pt x="6607541" y="1219641"/>
                  </a:lnTo>
                  <a:lnTo>
                    <a:pt x="6567121" y="1241984"/>
                  </a:lnTo>
                  <a:lnTo>
                    <a:pt x="6510372" y="1249444"/>
                  </a:lnTo>
                  <a:lnTo>
                    <a:pt x="6489677" y="1229850"/>
                  </a:lnTo>
                  <a:lnTo>
                    <a:pt x="6472405" y="1200311"/>
                  </a:lnTo>
                  <a:lnTo>
                    <a:pt x="6471067" y="1173648"/>
                  </a:lnTo>
                  <a:lnTo>
                    <a:pt x="6482640" y="1145514"/>
                  </a:lnTo>
                  <a:lnTo>
                    <a:pt x="6485509" y="1115488"/>
                  </a:lnTo>
                  <a:lnTo>
                    <a:pt x="6485707" y="1085013"/>
                  </a:lnTo>
                  <a:lnTo>
                    <a:pt x="6474456" y="1056193"/>
                  </a:lnTo>
                  <a:lnTo>
                    <a:pt x="6446065" y="1031159"/>
                  </a:lnTo>
                  <a:lnTo>
                    <a:pt x="6424025" y="1017461"/>
                  </a:lnTo>
                  <a:lnTo>
                    <a:pt x="6388043" y="997360"/>
                  </a:lnTo>
                  <a:lnTo>
                    <a:pt x="6354930" y="974027"/>
                  </a:lnTo>
                  <a:lnTo>
                    <a:pt x="6321817" y="950694"/>
                  </a:lnTo>
                  <a:lnTo>
                    <a:pt x="6292635" y="923893"/>
                  </a:lnTo>
                  <a:lnTo>
                    <a:pt x="6285559" y="895139"/>
                  </a:lnTo>
                  <a:lnTo>
                    <a:pt x="6296862" y="872888"/>
                  </a:lnTo>
                  <a:lnTo>
                    <a:pt x="6332019" y="847062"/>
                  </a:lnTo>
                  <a:lnTo>
                    <a:pt x="6377386" y="831089"/>
                  </a:lnTo>
                  <a:lnTo>
                    <a:pt x="6426491" y="829038"/>
                  </a:lnTo>
                  <a:lnTo>
                    <a:pt x="6471904" y="818968"/>
                  </a:lnTo>
                  <a:lnTo>
                    <a:pt x="6494616" y="813929"/>
                  </a:lnTo>
                  <a:lnTo>
                    <a:pt x="6516492" y="806471"/>
                  </a:lnTo>
                  <a:lnTo>
                    <a:pt x="6535835" y="794481"/>
                  </a:lnTo>
                  <a:lnTo>
                    <a:pt x="6555184" y="782492"/>
                  </a:lnTo>
                  <a:lnTo>
                    <a:pt x="6572846" y="765846"/>
                  </a:lnTo>
                  <a:lnTo>
                    <a:pt x="6586160" y="741431"/>
                  </a:lnTo>
                  <a:lnTo>
                    <a:pt x="6600043" y="707612"/>
                  </a:lnTo>
                  <a:lnTo>
                    <a:pt x="6602206" y="674599"/>
                  </a:lnTo>
                  <a:lnTo>
                    <a:pt x="6591601" y="639421"/>
                  </a:lnTo>
                  <a:lnTo>
                    <a:pt x="6575932" y="602120"/>
                  </a:lnTo>
                  <a:lnTo>
                    <a:pt x="6539594" y="568731"/>
                  </a:lnTo>
                  <a:lnTo>
                    <a:pt x="6514072" y="538764"/>
                  </a:lnTo>
                  <a:lnTo>
                    <a:pt x="6486762" y="506712"/>
                  </a:lnTo>
                  <a:lnTo>
                    <a:pt x="6462532" y="484085"/>
                  </a:lnTo>
                  <a:lnTo>
                    <a:pt x="6421578" y="472115"/>
                  </a:lnTo>
                  <a:lnTo>
                    <a:pt x="6401391" y="466213"/>
                  </a:lnTo>
                  <a:lnTo>
                    <a:pt x="6373970" y="468039"/>
                  </a:lnTo>
                  <a:lnTo>
                    <a:pt x="6354423" y="476554"/>
                  </a:lnTo>
                  <a:lnTo>
                    <a:pt x="6331452" y="495897"/>
                  </a:lnTo>
                  <a:lnTo>
                    <a:pt x="6297798" y="512924"/>
                  </a:lnTo>
                  <a:lnTo>
                    <a:pt x="6239427" y="481361"/>
                  </a:lnTo>
                  <a:lnTo>
                    <a:pt x="6201230" y="450359"/>
                  </a:lnTo>
                  <a:lnTo>
                    <a:pt x="6163031" y="419349"/>
                  </a:lnTo>
                  <a:lnTo>
                    <a:pt x="6127465" y="385887"/>
                  </a:lnTo>
                  <a:lnTo>
                    <a:pt x="6118008" y="349365"/>
                  </a:lnTo>
                  <a:lnTo>
                    <a:pt x="6133216" y="319779"/>
                  </a:lnTo>
                  <a:lnTo>
                    <a:pt x="6148760" y="292127"/>
                  </a:lnTo>
                  <a:lnTo>
                    <a:pt x="6146135" y="255935"/>
                  </a:lnTo>
                  <a:lnTo>
                    <a:pt x="6101303" y="219352"/>
                  </a:lnTo>
                  <a:lnTo>
                    <a:pt x="6051604" y="191918"/>
                  </a:lnTo>
                  <a:lnTo>
                    <a:pt x="6026754" y="178201"/>
                  </a:lnTo>
                  <a:lnTo>
                    <a:pt x="6001193" y="166962"/>
                  </a:lnTo>
                  <a:lnTo>
                    <a:pt x="5978156" y="160632"/>
                  </a:lnTo>
                  <a:lnTo>
                    <a:pt x="5955121" y="154307"/>
                  </a:lnTo>
                  <a:lnTo>
                    <a:pt x="5922384" y="160632"/>
                  </a:lnTo>
                  <a:lnTo>
                    <a:pt x="5901353" y="190263"/>
                  </a:lnTo>
                  <a:lnTo>
                    <a:pt x="5883572" y="223501"/>
                  </a:lnTo>
                  <a:lnTo>
                    <a:pt x="5857094" y="244967"/>
                  </a:lnTo>
                  <a:lnTo>
                    <a:pt x="5825511" y="255618"/>
                  </a:lnTo>
                  <a:lnTo>
                    <a:pt x="5798907" y="258796"/>
                  </a:lnTo>
                  <a:lnTo>
                    <a:pt x="5774123" y="259924"/>
                  </a:lnTo>
                  <a:lnTo>
                    <a:pt x="5747810" y="262239"/>
                  </a:lnTo>
                  <a:lnTo>
                    <a:pt x="5716102" y="271208"/>
                  </a:lnTo>
                  <a:lnTo>
                    <a:pt x="5676190" y="291211"/>
                  </a:lnTo>
                  <a:lnTo>
                    <a:pt x="5636257" y="318797"/>
                  </a:lnTo>
                  <a:lnTo>
                    <a:pt x="5625863" y="337454"/>
                  </a:lnTo>
                  <a:lnTo>
                    <a:pt x="5588893" y="328010"/>
                  </a:lnTo>
                  <a:lnTo>
                    <a:pt x="5563291" y="314333"/>
                  </a:lnTo>
                  <a:lnTo>
                    <a:pt x="5537690" y="300654"/>
                  </a:lnTo>
                  <a:lnTo>
                    <a:pt x="5507822" y="285368"/>
                  </a:lnTo>
                  <a:lnTo>
                    <a:pt x="5477603" y="281687"/>
                  </a:lnTo>
                  <a:lnTo>
                    <a:pt x="5446318" y="210153"/>
                  </a:lnTo>
                  <a:lnTo>
                    <a:pt x="5427271" y="189194"/>
                  </a:lnTo>
                  <a:lnTo>
                    <a:pt x="5404671" y="171137"/>
                  </a:lnTo>
                  <a:lnTo>
                    <a:pt x="5376424" y="161001"/>
                  </a:lnTo>
                  <a:lnTo>
                    <a:pt x="5348383" y="151108"/>
                  </a:lnTo>
                  <a:lnTo>
                    <a:pt x="5322953" y="136600"/>
                  </a:lnTo>
                  <a:lnTo>
                    <a:pt x="5308517" y="108485"/>
                  </a:lnTo>
                  <a:lnTo>
                    <a:pt x="5310297" y="59974"/>
                  </a:lnTo>
                  <a:lnTo>
                    <a:pt x="5291884" y="28371"/>
                  </a:lnTo>
                  <a:lnTo>
                    <a:pt x="5273571" y="17812"/>
                  </a:lnTo>
                  <a:lnTo>
                    <a:pt x="5255256" y="7247"/>
                  </a:lnTo>
                  <a:lnTo>
                    <a:pt x="5232431" y="0"/>
                  </a:lnTo>
                  <a:lnTo>
                    <a:pt x="5208281" y="125"/>
                  </a:lnTo>
                  <a:lnTo>
                    <a:pt x="5184130" y="256"/>
                  </a:lnTo>
                  <a:lnTo>
                    <a:pt x="5158159" y="7129"/>
                  </a:lnTo>
                  <a:lnTo>
                    <a:pt x="5136192" y="21888"/>
                  </a:lnTo>
                  <a:lnTo>
                    <a:pt x="5115926" y="35506"/>
                  </a:lnTo>
                  <a:lnTo>
                    <a:pt x="5100441" y="57883"/>
                  </a:lnTo>
                  <a:lnTo>
                    <a:pt x="5088584" y="87177"/>
                  </a:lnTo>
                  <a:lnTo>
                    <a:pt x="5084297" y="147771"/>
                  </a:lnTo>
                  <a:lnTo>
                    <a:pt x="5065370" y="222037"/>
                  </a:lnTo>
                  <a:lnTo>
                    <a:pt x="5066820" y="255842"/>
                  </a:lnTo>
                  <a:lnTo>
                    <a:pt x="5072861" y="284365"/>
                  </a:lnTo>
                  <a:lnTo>
                    <a:pt x="5087225" y="307533"/>
                  </a:lnTo>
                  <a:lnTo>
                    <a:pt x="5093200" y="349034"/>
                  </a:lnTo>
                  <a:lnTo>
                    <a:pt x="5112708" y="422212"/>
                  </a:lnTo>
                  <a:lnTo>
                    <a:pt x="5182845" y="447141"/>
                  </a:lnTo>
                  <a:lnTo>
                    <a:pt x="5178360" y="502037"/>
                  </a:lnTo>
                  <a:lnTo>
                    <a:pt x="5134306" y="557447"/>
                  </a:lnTo>
                  <a:lnTo>
                    <a:pt x="5085992" y="548583"/>
                  </a:lnTo>
                  <a:lnTo>
                    <a:pt x="5050505" y="594530"/>
                  </a:lnTo>
                  <a:lnTo>
                    <a:pt x="5049614" y="623119"/>
                  </a:lnTo>
                  <a:lnTo>
                    <a:pt x="5031946" y="642099"/>
                  </a:lnTo>
                  <a:lnTo>
                    <a:pt x="5008337" y="655743"/>
                  </a:lnTo>
                  <a:lnTo>
                    <a:pt x="4967804" y="679116"/>
                  </a:lnTo>
                  <a:lnTo>
                    <a:pt x="4922002" y="680033"/>
                  </a:lnTo>
                  <a:lnTo>
                    <a:pt x="4879116" y="693830"/>
                  </a:lnTo>
                  <a:lnTo>
                    <a:pt x="4853488" y="717775"/>
                  </a:lnTo>
                  <a:lnTo>
                    <a:pt x="4828790" y="719668"/>
                  </a:lnTo>
                  <a:lnTo>
                    <a:pt x="4810892" y="741668"/>
                  </a:lnTo>
                  <a:lnTo>
                    <a:pt x="4788047" y="801959"/>
                  </a:lnTo>
                  <a:lnTo>
                    <a:pt x="4797504" y="828484"/>
                  </a:lnTo>
                  <a:lnTo>
                    <a:pt x="4815126" y="846660"/>
                  </a:lnTo>
                  <a:lnTo>
                    <a:pt x="4837607" y="872459"/>
                  </a:lnTo>
                  <a:lnTo>
                    <a:pt x="4830703" y="910967"/>
                  </a:lnTo>
                  <a:lnTo>
                    <a:pt x="4823349" y="933218"/>
                  </a:lnTo>
                  <a:lnTo>
                    <a:pt x="4815548" y="956854"/>
                  </a:lnTo>
                  <a:lnTo>
                    <a:pt x="4797570" y="978254"/>
                  </a:lnTo>
                  <a:lnTo>
                    <a:pt x="4787988" y="1001231"/>
                  </a:lnTo>
                  <a:lnTo>
                    <a:pt x="4765565" y="1054940"/>
                  </a:lnTo>
                  <a:lnTo>
                    <a:pt x="4749579" y="1109005"/>
                  </a:lnTo>
                  <a:lnTo>
                    <a:pt x="4732215" y="1164455"/>
                  </a:lnTo>
                  <a:lnTo>
                    <a:pt x="4721887" y="1188236"/>
                  </a:lnTo>
                  <a:lnTo>
                    <a:pt x="4703863" y="1207896"/>
                  </a:lnTo>
                  <a:lnTo>
                    <a:pt x="4684613" y="1224303"/>
                  </a:lnTo>
                  <a:lnTo>
                    <a:pt x="4607782" y="1265792"/>
                  </a:lnTo>
                  <a:lnTo>
                    <a:pt x="4187074" y="1219074"/>
                  </a:lnTo>
                  <a:lnTo>
                    <a:pt x="4062999" y="1231103"/>
                  </a:lnTo>
                  <a:lnTo>
                    <a:pt x="3989485" y="1238245"/>
                  </a:lnTo>
                  <a:lnTo>
                    <a:pt x="3804816" y="1305342"/>
                  </a:lnTo>
                  <a:lnTo>
                    <a:pt x="3735191" y="1338561"/>
                  </a:lnTo>
                  <a:lnTo>
                    <a:pt x="3625333" y="1390990"/>
                  </a:lnTo>
                  <a:lnTo>
                    <a:pt x="3636556" y="1461166"/>
                  </a:lnTo>
                  <a:lnTo>
                    <a:pt x="3616854" y="1569798"/>
                  </a:lnTo>
                  <a:lnTo>
                    <a:pt x="3612435" y="1613383"/>
                  </a:lnTo>
                  <a:lnTo>
                    <a:pt x="3567972" y="1698675"/>
                  </a:lnTo>
                  <a:lnTo>
                    <a:pt x="3480366" y="1676655"/>
                  </a:lnTo>
                  <a:lnTo>
                    <a:pt x="3430507" y="1727580"/>
                  </a:lnTo>
                  <a:lnTo>
                    <a:pt x="3392399" y="1766471"/>
                  </a:lnTo>
                  <a:lnTo>
                    <a:pt x="3380774" y="1827678"/>
                  </a:lnTo>
                  <a:lnTo>
                    <a:pt x="3348895" y="1869035"/>
                  </a:lnTo>
                  <a:lnTo>
                    <a:pt x="3297228" y="1936052"/>
                  </a:lnTo>
                  <a:lnTo>
                    <a:pt x="3226774" y="2008458"/>
                  </a:lnTo>
                  <a:lnTo>
                    <a:pt x="3153026" y="2049946"/>
                  </a:lnTo>
                  <a:lnTo>
                    <a:pt x="2968549" y="2183183"/>
                  </a:lnTo>
                  <a:lnTo>
                    <a:pt x="2925022" y="2224473"/>
                  </a:lnTo>
                  <a:lnTo>
                    <a:pt x="2860859" y="2257843"/>
                  </a:lnTo>
                  <a:lnTo>
                    <a:pt x="2818417" y="2293416"/>
                  </a:lnTo>
                  <a:lnTo>
                    <a:pt x="2764434" y="2338671"/>
                  </a:lnTo>
                  <a:lnTo>
                    <a:pt x="2732065" y="2406466"/>
                  </a:lnTo>
                  <a:lnTo>
                    <a:pt x="2682397" y="2456641"/>
                  </a:lnTo>
                  <a:lnTo>
                    <a:pt x="2642186" y="2497305"/>
                  </a:lnTo>
                  <a:lnTo>
                    <a:pt x="2590924" y="2527377"/>
                  </a:lnTo>
                  <a:lnTo>
                    <a:pt x="2547737" y="2565456"/>
                  </a:lnTo>
                  <a:lnTo>
                    <a:pt x="2470440" y="2633661"/>
                  </a:lnTo>
                  <a:lnTo>
                    <a:pt x="2326408" y="2769747"/>
                  </a:lnTo>
                  <a:lnTo>
                    <a:pt x="2262096" y="2847019"/>
                  </a:lnTo>
                  <a:lnTo>
                    <a:pt x="2231534" y="2888488"/>
                  </a:lnTo>
                  <a:lnTo>
                    <a:pt x="2207178" y="2943146"/>
                  </a:lnTo>
                  <a:lnTo>
                    <a:pt x="2172322" y="2980322"/>
                  </a:lnTo>
                  <a:lnTo>
                    <a:pt x="2148881" y="3005356"/>
                  </a:lnTo>
                  <a:lnTo>
                    <a:pt x="2115322" y="3022701"/>
                  </a:lnTo>
                  <a:lnTo>
                    <a:pt x="2089350" y="3044253"/>
                  </a:lnTo>
                  <a:lnTo>
                    <a:pt x="2054390" y="3073257"/>
                  </a:lnTo>
                  <a:lnTo>
                    <a:pt x="2025485" y="3106694"/>
                  </a:lnTo>
                  <a:lnTo>
                    <a:pt x="1992777" y="3136740"/>
                  </a:lnTo>
                  <a:lnTo>
                    <a:pt x="1955626" y="3170855"/>
                  </a:lnTo>
                  <a:lnTo>
                    <a:pt x="1967528" y="3224795"/>
                  </a:lnTo>
                  <a:lnTo>
                    <a:pt x="1946529" y="3263243"/>
                  </a:lnTo>
                  <a:lnTo>
                    <a:pt x="1919283" y="3313167"/>
                  </a:lnTo>
                  <a:lnTo>
                    <a:pt x="1862984" y="3325070"/>
                  </a:lnTo>
                  <a:lnTo>
                    <a:pt x="1824112" y="3363894"/>
                  </a:lnTo>
                  <a:lnTo>
                    <a:pt x="1720885" y="3422747"/>
                  </a:lnTo>
                  <a:lnTo>
                    <a:pt x="1686306" y="3525378"/>
                  </a:lnTo>
                  <a:lnTo>
                    <a:pt x="1607840" y="3591050"/>
                  </a:lnTo>
                  <a:lnTo>
                    <a:pt x="1560892" y="3630368"/>
                  </a:lnTo>
                  <a:lnTo>
                    <a:pt x="1585716" y="3653108"/>
                  </a:lnTo>
                  <a:lnTo>
                    <a:pt x="1560233" y="3686267"/>
                  </a:lnTo>
                  <a:lnTo>
                    <a:pt x="1535835" y="3718034"/>
                  </a:lnTo>
                  <a:lnTo>
                    <a:pt x="1504742" y="3746538"/>
                  </a:lnTo>
                  <a:lnTo>
                    <a:pt x="1479981" y="3778754"/>
                  </a:lnTo>
                  <a:lnTo>
                    <a:pt x="1444064" y="3825472"/>
                  </a:lnTo>
                  <a:lnTo>
                    <a:pt x="1412015" y="3878244"/>
                  </a:lnTo>
                  <a:lnTo>
                    <a:pt x="1380687" y="3928379"/>
                  </a:lnTo>
                  <a:lnTo>
                    <a:pt x="1355970" y="3967909"/>
                  </a:lnTo>
                  <a:lnTo>
                    <a:pt x="1282498" y="4049969"/>
                  </a:lnTo>
                  <a:lnTo>
                    <a:pt x="1250107" y="4091602"/>
                  </a:lnTo>
                  <a:lnTo>
                    <a:pt x="1223882" y="4125329"/>
                  </a:lnTo>
                  <a:lnTo>
                    <a:pt x="1197400" y="4185330"/>
                  </a:lnTo>
                  <a:lnTo>
                    <a:pt x="1153109" y="4233598"/>
                  </a:lnTo>
                  <a:lnTo>
                    <a:pt x="1091092" y="4228262"/>
                  </a:lnTo>
                  <a:lnTo>
                    <a:pt x="1073282" y="4257544"/>
                  </a:lnTo>
                  <a:lnTo>
                    <a:pt x="1056025" y="4285942"/>
                  </a:lnTo>
                  <a:lnTo>
                    <a:pt x="1044738" y="4370231"/>
                  </a:lnTo>
                  <a:lnTo>
                    <a:pt x="1043357" y="4404451"/>
                  </a:lnTo>
                  <a:lnTo>
                    <a:pt x="1038299" y="4527506"/>
                  </a:lnTo>
                  <a:lnTo>
                    <a:pt x="838711" y="4422793"/>
                  </a:lnTo>
                  <a:lnTo>
                    <a:pt x="817565" y="4677850"/>
                  </a:lnTo>
                  <a:lnTo>
                    <a:pt x="808596" y="4802262"/>
                  </a:lnTo>
                  <a:lnTo>
                    <a:pt x="721054" y="4801326"/>
                  </a:lnTo>
                  <a:lnTo>
                    <a:pt x="666583" y="4887318"/>
                  </a:lnTo>
                  <a:lnTo>
                    <a:pt x="649134" y="4914865"/>
                  </a:lnTo>
                  <a:lnTo>
                    <a:pt x="649431" y="4945471"/>
                  </a:lnTo>
                  <a:lnTo>
                    <a:pt x="627137" y="4971654"/>
                  </a:lnTo>
                  <a:lnTo>
                    <a:pt x="591262" y="4980450"/>
                  </a:lnTo>
                  <a:lnTo>
                    <a:pt x="552474" y="4964597"/>
                  </a:lnTo>
                  <a:lnTo>
                    <a:pt x="518321" y="4983893"/>
                  </a:lnTo>
                  <a:lnTo>
                    <a:pt x="430503" y="5033586"/>
                  </a:lnTo>
                  <a:lnTo>
                    <a:pt x="441236" y="5082315"/>
                  </a:lnTo>
                  <a:lnTo>
                    <a:pt x="408145" y="5167522"/>
                  </a:lnTo>
                  <a:lnTo>
                    <a:pt x="361069" y="5288729"/>
                  </a:lnTo>
                  <a:lnTo>
                    <a:pt x="304770" y="5351803"/>
                  </a:lnTo>
                  <a:lnTo>
                    <a:pt x="217717" y="5443643"/>
                  </a:lnTo>
                  <a:lnTo>
                    <a:pt x="179568" y="5483892"/>
                  </a:lnTo>
                  <a:lnTo>
                    <a:pt x="144798" y="5538683"/>
                  </a:lnTo>
                  <a:lnTo>
                    <a:pt x="111622" y="5583739"/>
                  </a:lnTo>
                  <a:lnTo>
                    <a:pt x="97849" y="5602443"/>
                  </a:lnTo>
                  <a:lnTo>
                    <a:pt x="82101" y="5621785"/>
                  </a:lnTo>
                  <a:lnTo>
                    <a:pt x="73536" y="5643588"/>
                  </a:lnTo>
                  <a:lnTo>
                    <a:pt x="65757" y="5663438"/>
                  </a:lnTo>
                  <a:lnTo>
                    <a:pt x="58573" y="5703437"/>
                  </a:lnTo>
                  <a:lnTo>
                    <a:pt x="46289" y="5743607"/>
                  </a:lnTo>
                  <a:lnTo>
                    <a:pt x="15345" y="5782009"/>
                  </a:lnTo>
                  <a:lnTo>
                    <a:pt x="5526" y="5823133"/>
                  </a:lnTo>
                  <a:lnTo>
                    <a:pt x="0" y="5846151"/>
                  </a:lnTo>
                  <a:lnTo>
                    <a:pt x="4166" y="5888424"/>
                  </a:lnTo>
                  <a:lnTo>
                    <a:pt x="18172" y="5913037"/>
                  </a:lnTo>
                  <a:lnTo>
                    <a:pt x="43356" y="5929998"/>
                  </a:lnTo>
                  <a:lnTo>
                    <a:pt x="59934" y="5952355"/>
                  </a:lnTo>
                  <a:lnTo>
                    <a:pt x="74981" y="5978326"/>
                  </a:lnTo>
                  <a:lnTo>
                    <a:pt x="99040" y="6014432"/>
                  </a:lnTo>
                  <a:lnTo>
                    <a:pt x="121015" y="6098366"/>
                  </a:lnTo>
                  <a:lnTo>
                    <a:pt x="122503" y="6127819"/>
                  </a:lnTo>
                  <a:lnTo>
                    <a:pt x="124395" y="6165674"/>
                  </a:lnTo>
                  <a:lnTo>
                    <a:pt x="143140" y="6214258"/>
                  </a:lnTo>
                  <a:lnTo>
                    <a:pt x="138826" y="6250239"/>
                  </a:lnTo>
                  <a:lnTo>
                    <a:pt x="133555" y="6294426"/>
                  </a:lnTo>
                  <a:lnTo>
                    <a:pt x="112748" y="6331318"/>
                  </a:lnTo>
                  <a:lnTo>
                    <a:pt x="125224" y="6378095"/>
                  </a:lnTo>
                  <a:lnTo>
                    <a:pt x="142184" y="6441769"/>
                  </a:lnTo>
                  <a:lnTo>
                    <a:pt x="241457" y="6455585"/>
                  </a:lnTo>
                  <a:lnTo>
                    <a:pt x="285728" y="6550843"/>
                  </a:lnTo>
                  <a:lnTo>
                    <a:pt x="313441" y="6610461"/>
                  </a:lnTo>
                  <a:lnTo>
                    <a:pt x="282580" y="6778440"/>
                  </a:lnTo>
                  <a:lnTo>
                    <a:pt x="293889" y="6859608"/>
                  </a:lnTo>
                  <a:lnTo>
                    <a:pt x="305237" y="6940944"/>
                  </a:lnTo>
                  <a:lnTo>
                    <a:pt x="370059" y="6987914"/>
                  </a:lnTo>
                  <a:lnTo>
                    <a:pt x="370059" y="7090839"/>
                  </a:lnTo>
                  <a:lnTo>
                    <a:pt x="370059" y="7144634"/>
                  </a:lnTo>
                  <a:lnTo>
                    <a:pt x="331804" y="7250898"/>
                  </a:lnTo>
                  <a:lnTo>
                    <a:pt x="307490" y="7300313"/>
                  </a:lnTo>
                  <a:lnTo>
                    <a:pt x="282391" y="7351338"/>
                  </a:lnTo>
                  <a:lnTo>
                    <a:pt x="275824" y="7412782"/>
                  </a:lnTo>
                  <a:lnTo>
                    <a:pt x="242201" y="7460813"/>
                  </a:lnTo>
                  <a:lnTo>
                    <a:pt x="240944" y="7580471"/>
                  </a:lnTo>
                  <a:lnTo>
                    <a:pt x="149493" y="7682488"/>
                  </a:lnTo>
                  <a:lnTo>
                    <a:pt x="159227" y="7750541"/>
                  </a:lnTo>
                  <a:lnTo>
                    <a:pt x="215420" y="7774190"/>
                  </a:lnTo>
                  <a:lnTo>
                    <a:pt x="219054" y="7715852"/>
                  </a:lnTo>
                  <a:lnTo>
                    <a:pt x="242199" y="7694768"/>
                  </a:lnTo>
                  <a:lnTo>
                    <a:pt x="267809" y="7687612"/>
                  </a:lnTo>
                  <a:lnTo>
                    <a:pt x="293886" y="7698850"/>
                  </a:lnTo>
                  <a:lnTo>
                    <a:pt x="294992" y="7734581"/>
                  </a:lnTo>
                  <a:lnTo>
                    <a:pt x="277564" y="7766863"/>
                  </a:lnTo>
                  <a:lnTo>
                    <a:pt x="278922" y="7789986"/>
                  </a:lnTo>
                  <a:lnTo>
                    <a:pt x="298730" y="7809578"/>
                  </a:lnTo>
                  <a:lnTo>
                    <a:pt x="346485" y="7821351"/>
                  </a:lnTo>
                  <a:lnTo>
                    <a:pt x="383572" y="7814128"/>
                  </a:lnTo>
                  <a:lnTo>
                    <a:pt x="431264" y="7829430"/>
                  </a:lnTo>
                  <a:lnTo>
                    <a:pt x="461932" y="7859778"/>
                  </a:lnTo>
                  <a:lnTo>
                    <a:pt x="451667" y="7920564"/>
                  </a:lnTo>
                  <a:lnTo>
                    <a:pt x="461911" y="7940863"/>
                  </a:lnTo>
                  <a:lnTo>
                    <a:pt x="547221" y="7967275"/>
                  </a:lnTo>
                  <a:lnTo>
                    <a:pt x="576806" y="8000818"/>
                  </a:lnTo>
                  <a:lnTo>
                    <a:pt x="591512" y="8017476"/>
                  </a:lnTo>
                  <a:lnTo>
                    <a:pt x="590619" y="8044364"/>
                  </a:lnTo>
                  <a:lnTo>
                    <a:pt x="616251" y="8051143"/>
                  </a:lnTo>
                  <a:lnTo>
                    <a:pt x="642519" y="8049230"/>
                  </a:lnTo>
                  <a:lnTo>
                    <a:pt x="671934" y="8041812"/>
                  </a:lnTo>
                  <a:lnTo>
                    <a:pt x="692422" y="8063383"/>
                  </a:lnTo>
                  <a:lnTo>
                    <a:pt x="695482" y="8102531"/>
                  </a:lnTo>
                  <a:lnTo>
                    <a:pt x="721305" y="8137240"/>
                  </a:lnTo>
                  <a:lnTo>
                    <a:pt x="750443" y="8123001"/>
                  </a:lnTo>
                  <a:lnTo>
                    <a:pt x="775394" y="8147713"/>
                  </a:lnTo>
                  <a:lnTo>
                    <a:pt x="775394" y="8184439"/>
                  </a:lnTo>
                  <a:lnTo>
                    <a:pt x="692422" y="8263585"/>
                  </a:lnTo>
                  <a:lnTo>
                    <a:pt x="732569" y="8235978"/>
                  </a:lnTo>
                  <a:lnTo>
                    <a:pt x="729148" y="8319101"/>
                  </a:lnTo>
                  <a:lnTo>
                    <a:pt x="727999" y="8347049"/>
                  </a:lnTo>
                  <a:lnTo>
                    <a:pt x="720327" y="8371339"/>
                  </a:lnTo>
                  <a:lnTo>
                    <a:pt x="727789" y="8399355"/>
                  </a:lnTo>
                  <a:lnTo>
                    <a:pt x="748704" y="8428556"/>
                  </a:lnTo>
                  <a:lnTo>
                    <a:pt x="748195" y="8468719"/>
                  </a:lnTo>
                  <a:lnTo>
                    <a:pt x="786483" y="8505050"/>
                  </a:lnTo>
                  <a:lnTo>
                    <a:pt x="814712" y="8509601"/>
                  </a:lnTo>
                  <a:lnTo>
                    <a:pt x="798522" y="8574818"/>
                  </a:lnTo>
                  <a:lnTo>
                    <a:pt x="816031" y="8590850"/>
                  </a:lnTo>
                  <a:lnTo>
                    <a:pt x="833364" y="8606626"/>
                  </a:lnTo>
                  <a:lnTo>
                    <a:pt x="855996" y="8626528"/>
                  </a:lnTo>
                  <a:lnTo>
                    <a:pt x="871984" y="8640555"/>
                  </a:lnTo>
                  <a:lnTo>
                    <a:pt x="878572" y="8685256"/>
                  </a:lnTo>
                  <a:lnTo>
                    <a:pt x="856910" y="8729376"/>
                  </a:lnTo>
                  <a:lnTo>
                    <a:pt x="841270" y="8763340"/>
                  </a:lnTo>
                  <a:lnTo>
                    <a:pt x="831167" y="8795174"/>
                  </a:lnTo>
                  <a:lnTo>
                    <a:pt x="822922" y="8826203"/>
                  </a:lnTo>
                  <a:lnTo>
                    <a:pt x="817647" y="8856632"/>
                  </a:lnTo>
                  <a:lnTo>
                    <a:pt x="816207" y="8886302"/>
                  </a:lnTo>
                  <a:lnTo>
                    <a:pt x="818466" y="8915215"/>
                  </a:lnTo>
                  <a:lnTo>
                    <a:pt x="824830" y="8944448"/>
                  </a:lnTo>
                  <a:lnTo>
                    <a:pt x="835250" y="8974719"/>
                  </a:lnTo>
                  <a:lnTo>
                    <a:pt x="850777" y="9004516"/>
                  </a:lnTo>
                  <a:lnTo>
                    <a:pt x="871410" y="9034688"/>
                  </a:lnTo>
                  <a:lnTo>
                    <a:pt x="897819" y="9064489"/>
                  </a:lnTo>
                  <a:lnTo>
                    <a:pt x="927748" y="9097213"/>
                  </a:lnTo>
                  <a:lnTo>
                    <a:pt x="949847" y="9126126"/>
                  </a:lnTo>
                  <a:lnTo>
                    <a:pt x="984872" y="9154267"/>
                  </a:lnTo>
                  <a:lnTo>
                    <a:pt x="1018048" y="9180916"/>
                  </a:lnTo>
                  <a:lnTo>
                    <a:pt x="1066909" y="9192114"/>
                  </a:lnTo>
                  <a:lnTo>
                    <a:pt x="1093688" y="9224996"/>
                  </a:lnTo>
                  <a:lnTo>
                    <a:pt x="1100040" y="9269433"/>
                  </a:lnTo>
                  <a:lnTo>
                    <a:pt x="1110155" y="9322957"/>
                  </a:lnTo>
                  <a:lnTo>
                    <a:pt x="1129650" y="9352357"/>
                  </a:lnTo>
                  <a:lnTo>
                    <a:pt x="1156257" y="9371891"/>
                  </a:lnTo>
                  <a:lnTo>
                    <a:pt x="1182863" y="9391432"/>
                  </a:lnTo>
                  <a:lnTo>
                    <a:pt x="1216288" y="9400453"/>
                  </a:lnTo>
                  <a:lnTo>
                    <a:pt x="1252831" y="9395019"/>
                  </a:lnTo>
                  <a:lnTo>
                    <a:pt x="1279484" y="9391055"/>
                  </a:lnTo>
                  <a:lnTo>
                    <a:pt x="1313296" y="9372083"/>
                  </a:lnTo>
                  <a:lnTo>
                    <a:pt x="1337164" y="9359651"/>
                  </a:lnTo>
                  <a:lnTo>
                    <a:pt x="1361265" y="9347114"/>
                  </a:lnTo>
                  <a:lnTo>
                    <a:pt x="1470463" y="9317424"/>
                  </a:lnTo>
                  <a:lnTo>
                    <a:pt x="1505330" y="9302929"/>
                  </a:lnTo>
                  <a:lnTo>
                    <a:pt x="1529154" y="9297528"/>
                  </a:lnTo>
                  <a:lnTo>
                    <a:pt x="1550715" y="9295720"/>
                  </a:lnTo>
                  <a:lnTo>
                    <a:pt x="1572275" y="9293920"/>
                  </a:lnTo>
                  <a:lnTo>
                    <a:pt x="1607843" y="9301168"/>
                  </a:lnTo>
                  <a:lnTo>
                    <a:pt x="1640296" y="9312082"/>
                  </a:lnTo>
                  <a:lnTo>
                    <a:pt x="1663137" y="9336319"/>
                  </a:lnTo>
                  <a:lnTo>
                    <a:pt x="1681294" y="9367815"/>
                  </a:lnTo>
                  <a:lnTo>
                    <a:pt x="1699451" y="9399312"/>
                  </a:lnTo>
                  <a:lnTo>
                    <a:pt x="1712933" y="9438559"/>
                  </a:lnTo>
                  <a:lnTo>
                    <a:pt x="1726180" y="9479349"/>
                  </a:lnTo>
                  <a:lnTo>
                    <a:pt x="1739427" y="9520137"/>
                  </a:lnTo>
                  <a:lnTo>
                    <a:pt x="1751982" y="9562972"/>
                  </a:lnTo>
                  <a:lnTo>
                    <a:pt x="1769706" y="9601770"/>
                  </a:lnTo>
                  <a:lnTo>
                    <a:pt x="1785612" y="9636578"/>
                  </a:lnTo>
                  <a:lnTo>
                    <a:pt x="1802768" y="9668761"/>
                  </a:lnTo>
                  <a:lnTo>
                    <a:pt x="1822754" y="9698345"/>
                  </a:lnTo>
                  <a:lnTo>
                    <a:pt x="1842741" y="9727923"/>
                  </a:lnTo>
                  <a:lnTo>
                    <a:pt x="1865287" y="9754139"/>
                  </a:lnTo>
                  <a:lnTo>
                    <a:pt x="1890764" y="9775875"/>
                  </a:lnTo>
                  <a:lnTo>
                    <a:pt x="1916242" y="9797612"/>
                  </a:lnTo>
                  <a:lnTo>
                    <a:pt x="1945444" y="9814924"/>
                  </a:lnTo>
                  <a:lnTo>
                    <a:pt x="1977817" y="9826201"/>
                  </a:lnTo>
                  <a:lnTo>
                    <a:pt x="2010189" y="9837478"/>
                  </a:lnTo>
                  <a:lnTo>
                    <a:pt x="2045959" y="9842958"/>
                  </a:lnTo>
                  <a:lnTo>
                    <a:pt x="2086633" y="9841164"/>
                  </a:lnTo>
                  <a:lnTo>
                    <a:pt x="2135069" y="9841205"/>
                  </a:lnTo>
                  <a:lnTo>
                    <a:pt x="2185991" y="9818742"/>
                  </a:lnTo>
                  <a:lnTo>
                    <a:pt x="2212941" y="9787199"/>
                  </a:lnTo>
                  <a:lnTo>
                    <a:pt x="2240336" y="9760912"/>
                  </a:lnTo>
                  <a:lnTo>
                    <a:pt x="2267540" y="9764994"/>
                  </a:lnTo>
                  <a:lnTo>
                    <a:pt x="2277613" y="9795660"/>
                  </a:lnTo>
                  <a:lnTo>
                    <a:pt x="2271135" y="9824650"/>
                  </a:lnTo>
                  <a:lnTo>
                    <a:pt x="2268898" y="9853405"/>
                  </a:lnTo>
                  <a:lnTo>
                    <a:pt x="2266647" y="9882528"/>
                  </a:lnTo>
                  <a:lnTo>
                    <a:pt x="2273868" y="9911335"/>
                  </a:lnTo>
                  <a:lnTo>
                    <a:pt x="2294738" y="9940457"/>
                  </a:lnTo>
                  <a:lnTo>
                    <a:pt x="2319222" y="9941815"/>
                  </a:lnTo>
                  <a:lnTo>
                    <a:pt x="2342752" y="9926799"/>
                  </a:lnTo>
                  <a:lnTo>
                    <a:pt x="2363701" y="9899708"/>
                  </a:lnTo>
                  <a:lnTo>
                    <a:pt x="2383151" y="9867011"/>
                  </a:lnTo>
                  <a:lnTo>
                    <a:pt x="2403666" y="9835051"/>
                  </a:lnTo>
                  <a:lnTo>
                    <a:pt x="2425205" y="9811910"/>
                  </a:lnTo>
                  <a:lnTo>
                    <a:pt x="2448441" y="9804438"/>
                  </a:lnTo>
                  <a:lnTo>
                    <a:pt x="2474412" y="9803469"/>
                  </a:lnTo>
                  <a:lnTo>
                    <a:pt x="2496048" y="9831642"/>
                  </a:lnTo>
                  <a:lnTo>
                    <a:pt x="2504395" y="9874224"/>
                  </a:lnTo>
                  <a:lnTo>
                    <a:pt x="2505569" y="9899649"/>
                  </a:lnTo>
                  <a:lnTo>
                    <a:pt x="2506743" y="9925078"/>
                  </a:lnTo>
                  <a:lnTo>
                    <a:pt x="2507778" y="9951992"/>
                  </a:lnTo>
                  <a:lnTo>
                    <a:pt x="2515091" y="9974462"/>
                  </a:lnTo>
                  <a:lnTo>
                    <a:pt x="2522396" y="9996930"/>
                  </a:lnTo>
                  <a:lnTo>
                    <a:pt x="2535547" y="10014684"/>
                  </a:lnTo>
                  <a:lnTo>
                    <a:pt x="2561337" y="10023428"/>
                  </a:lnTo>
                  <a:lnTo>
                    <a:pt x="2587076" y="10032160"/>
                  </a:lnTo>
                  <a:lnTo>
                    <a:pt x="2617870" y="10035417"/>
                  </a:lnTo>
                  <a:lnTo>
                    <a:pt x="2644309" y="10042474"/>
                  </a:lnTo>
                  <a:lnTo>
                    <a:pt x="2691268" y="10055004"/>
                  </a:lnTo>
                  <a:lnTo>
                    <a:pt x="2722202" y="10064436"/>
                  </a:lnTo>
                  <a:lnTo>
                    <a:pt x="2754485" y="10068313"/>
                  </a:lnTo>
                  <a:lnTo>
                    <a:pt x="2786769" y="10072197"/>
                  </a:lnTo>
                  <a:lnTo>
                    <a:pt x="2820000" y="10070806"/>
                  </a:lnTo>
                  <a:lnTo>
                    <a:pt x="2868742" y="10058796"/>
                  </a:lnTo>
                  <a:lnTo>
                    <a:pt x="2905618" y="10049702"/>
                  </a:lnTo>
                  <a:lnTo>
                    <a:pt x="2941917" y="10031613"/>
                  </a:lnTo>
                  <a:lnTo>
                    <a:pt x="2980279" y="10028869"/>
                  </a:lnTo>
                  <a:lnTo>
                    <a:pt x="3010562" y="10036413"/>
                  </a:lnTo>
                  <a:lnTo>
                    <a:pt x="3042150" y="10056475"/>
                  </a:lnTo>
                  <a:lnTo>
                    <a:pt x="3074132" y="10073761"/>
                  </a:lnTo>
                  <a:lnTo>
                    <a:pt x="3097850" y="10038464"/>
                  </a:lnTo>
                  <a:lnTo>
                    <a:pt x="3114305" y="9996897"/>
                  </a:lnTo>
                  <a:lnTo>
                    <a:pt x="3121751" y="9970649"/>
                  </a:lnTo>
                  <a:lnTo>
                    <a:pt x="3128540" y="9944539"/>
                  </a:lnTo>
                  <a:lnTo>
                    <a:pt x="3135329" y="9918431"/>
                  </a:lnTo>
                  <a:lnTo>
                    <a:pt x="3141380" y="9893028"/>
                  </a:lnTo>
                  <a:lnTo>
                    <a:pt x="3146223" y="9869727"/>
                  </a:lnTo>
                  <a:lnTo>
                    <a:pt x="3151064" y="9846427"/>
                  </a:lnTo>
                  <a:lnTo>
                    <a:pt x="3155413" y="9825271"/>
                  </a:lnTo>
                  <a:lnTo>
                    <a:pt x="3168317" y="9765936"/>
                  </a:lnTo>
                  <a:lnTo>
                    <a:pt x="3182565" y="9718341"/>
                  </a:lnTo>
                  <a:lnTo>
                    <a:pt x="3195190" y="9669776"/>
                  </a:lnTo>
                  <a:lnTo>
                    <a:pt x="3207815" y="9621218"/>
                  </a:lnTo>
                  <a:lnTo>
                    <a:pt x="3219235" y="9572416"/>
                  </a:lnTo>
                  <a:lnTo>
                    <a:pt x="3223754" y="9524233"/>
                  </a:lnTo>
                  <a:lnTo>
                    <a:pt x="3228271" y="9476058"/>
                  </a:lnTo>
                  <a:lnTo>
                    <a:pt x="3225970" y="9428278"/>
                  </a:lnTo>
                  <a:lnTo>
                    <a:pt x="3211512" y="9384138"/>
                  </a:lnTo>
                  <a:lnTo>
                    <a:pt x="3204284" y="9362065"/>
                  </a:lnTo>
                  <a:lnTo>
                    <a:pt x="3192880" y="9340585"/>
                  </a:lnTo>
                  <a:lnTo>
                    <a:pt x="3178868" y="9320207"/>
                  </a:lnTo>
                  <a:lnTo>
                    <a:pt x="3164855" y="9299828"/>
                  </a:lnTo>
                  <a:lnTo>
                    <a:pt x="3147974" y="9281310"/>
                  </a:lnTo>
                  <a:lnTo>
                    <a:pt x="3125819" y="9263082"/>
                  </a:lnTo>
                  <a:lnTo>
                    <a:pt x="3124151" y="9240982"/>
                  </a:lnTo>
                  <a:lnTo>
                    <a:pt x="3132922" y="9206280"/>
                  </a:lnTo>
                  <a:lnTo>
                    <a:pt x="3139541" y="9186001"/>
                  </a:lnTo>
                  <a:lnTo>
                    <a:pt x="3147579" y="9165140"/>
                  </a:lnTo>
                  <a:lnTo>
                    <a:pt x="3155619" y="9144287"/>
                  </a:lnTo>
                  <a:lnTo>
                    <a:pt x="3164648" y="9122386"/>
                  </a:lnTo>
                  <a:lnTo>
                    <a:pt x="3179480" y="9085488"/>
                  </a:lnTo>
                  <a:lnTo>
                    <a:pt x="3188385" y="9060407"/>
                  </a:lnTo>
                  <a:lnTo>
                    <a:pt x="3194307" y="9036599"/>
                  </a:lnTo>
                  <a:lnTo>
                    <a:pt x="3197998" y="9011322"/>
                  </a:lnTo>
                  <a:lnTo>
                    <a:pt x="3201987" y="8986961"/>
                  </a:lnTo>
                  <a:lnTo>
                    <a:pt x="3205977" y="8962591"/>
                  </a:lnTo>
                  <a:lnTo>
                    <a:pt x="3210245" y="8938151"/>
                  </a:lnTo>
                  <a:lnTo>
                    <a:pt x="3212869" y="8913506"/>
                  </a:lnTo>
                  <a:lnTo>
                    <a:pt x="3215494" y="8888867"/>
                  </a:lnTo>
                  <a:lnTo>
                    <a:pt x="3216489" y="8864697"/>
                  </a:lnTo>
                  <a:lnTo>
                    <a:pt x="3218310" y="8840058"/>
                  </a:lnTo>
                  <a:lnTo>
                    <a:pt x="3220136" y="8815421"/>
                  </a:lnTo>
                  <a:lnTo>
                    <a:pt x="3222168" y="8790966"/>
                  </a:lnTo>
                  <a:lnTo>
                    <a:pt x="3223751" y="8766605"/>
                  </a:lnTo>
                  <a:lnTo>
                    <a:pt x="3238509" y="8743594"/>
                  </a:lnTo>
                  <a:lnTo>
                    <a:pt x="3259708" y="8729403"/>
                  </a:lnTo>
                  <a:lnTo>
                    <a:pt x="3280934" y="8718020"/>
                  </a:lnTo>
                  <a:lnTo>
                    <a:pt x="3330554" y="8681623"/>
                  </a:lnTo>
                  <a:lnTo>
                    <a:pt x="3491880" y="8539363"/>
                  </a:lnTo>
                  <a:lnTo>
                    <a:pt x="3516194" y="8504088"/>
                  </a:lnTo>
                  <a:lnTo>
                    <a:pt x="3531262" y="8482199"/>
                  </a:lnTo>
                  <a:lnTo>
                    <a:pt x="3532729" y="8452759"/>
                  </a:lnTo>
                  <a:lnTo>
                    <a:pt x="3540677" y="8427917"/>
                  </a:lnTo>
                  <a:lnTo>
                    <a:pt x="3548158" y="8404557"/>
                  </a:lnTo>
                  <a:lnTo>
                    <a:pt x="3559296" y="8379207"/>
                  </a:lnTo>
                  <a:lnTo>
                    <a:pt x="3563800" y="8354469"/>
                  </a:lnTo>
                  <a:lnTo>
                    <a:pt x="3569010" y="8325847"/>
                  </a:lnTo>
                  <a:lnTo>
                    <a:pt x="3572482" y="8282941"/>
                  </a:lnTo>
                  <a:lnTo>
                    <a:pt x="3580123" y="8241570"/>
                  </a:lnTo>
                  <a:lnTo>
                    <a:pt x="3587764" y="8200195"/>
                  </a:lnTo>
                  <a:lnTo>
                    <a:pt x="3599867" y="8160189"/>
                  </a:lnTo>
                  <a:lnTo>
                    <a:pt x="3619569" y="8138195"/>
                  </a:lnTo>
                  <a:lnTo>
                    <a:pt x="3671001" y="8099681"/>
                  </a:lnTo>
                  <a:lnTo>
                    <a:pt x="3715914" y="8056881"/>
                  </a:lnTo>
                  <a:lnTo>
                    <a:pt x="3751254" y="8038020"/>
                  </a:lnTo>
                  <a:lnTo>
                    <a:pt x="3785513" y="8028014"/>
                  </a:lnTo>
                  <a:lnTo>
                    <a:pt x="3819772" y="8018017"/>
                  </a:lnTo>
                  <a:lnTo>
                    <a:pt x="3852791" y="8016697"/>
                  </a:lnTo>
                  <a:lnTo>
                    <a:pt x="3886167" y="8019857"/>
                  </a:lnTo>
                  <a:lnTo>
                    <a:pt x="3952921" y="8026168"/>
                  </a:lnTo>
                  <a:lnTo>
                    <a:pt x="4021550" y="8050061"/>
                  </a:lnTo>
                  <a:lnTo>
                    <a:pt x="4109240" y="8062019"/>
                  </a:lnTo>
                  <a:lnTo>
                    <a:pt x="4156573" y="8068474"/>
                  </a:lnTo>
                  <a:lnTo>
                    <a:pt x="4206824" y="8068916"/>
                  </a:lnTo>
                  <a:lnTo>
                    <a:pt x="4256142" y="8066094"/>
                  </a:lnTo>
                  <a:lnTo>
                    <a:pt x="4305460" y="8063284"/>
                  </a:lnTo>
                  <a:lnTo>
                    <a:pt x="4354266" y="8057744"/>
                  </a:lnTo>
                  <a:lnTo>
                    <a:pt x="4401682" y="8055219"/>
                  </a:lnTo>
                  <a:lnTo>
                    <a:pt x="4449737" y="8042951"/>
                  </a:lnTo>
                  <a:lnTo>
                    <a:pt x="4470883" y="8014239"/>
                  </a:lnTo>
                  <a:lnTo>
                    <a:pt x="4486568" y="7986375"/>
                  </a:lnTo>
                  <a:lnTo>
                    <a:pt x="4505058" y="7966801"/>
                  </a:lnTo>
                  <a:lnTo>
                    <a:pt x="4520631" y="7950314"/>
                  </a:lnTo>
                  <a:lnTo>
                    <a:pt x="4542321" y="7945334"/>
                  </a:lnTo>
                  <a:lnTo>
                    <a:pt x="4566267" y="7947762"/>
                  </a:lnTo>
                  <a:lnTo>
                    <a:pt x="4590213" y="7950188"/>
                  </a:lnTo>
                  <a:lnTo>
                    <a:pt x="4617483" y="7959211"/>
                  </a:lnTo>
                  <a:lnTo>
                    <a:pt x="4645155" y="7970883"/>
                  </a:lnTo>
                  <a:lnTo>
                    <a:pt x="4700507" y="7994229"/>
                  </a:lnTo>
                  <a:lnTo>
                    <a:pt x="4757822" y="8027025"/>
                  </a:lnTo>
                  <a:lnTo>
                    <a:pt x="4800221" y="8029374"/>
                  </a:lnTo>
                  <a:lnTo>
                    <a:pt x="4821753" y="8018043"/>
                  </a:lnTo>
                  <a:lnTo>
                    <a:pt x="4834225" y="8000804"/>
                  </a:lnTo>
                  <a:lnTo>
                    <a:pt x="4841209" y="7980743"/>
                  </a:lnTo>
                  <a:lnTo>
                    <a:pt x="4851912" y="7962725"/>
                  </a:lnTo>
                  <a:lnTo>
                    <a:pt x="4876649" y="7921040"/>
                  </a:lnTo>
                  <a:lnTo>
                    <a:pt x="4902396" y="7893671"/>
                  </a:lnTo>
                  <a:lnTo>
                    <a:pt x="4928083" y="7877031"/>
                  </a:lnTo>
                  <a:lnTo>
                    <a:pt x="4953764" y="7860392"/>
                  </a:lnTo>
                  <a:lnTo>
                    <a:pt x="4980110" y="7854456"/>
                  </a:lnTo>
                  <a:lnTo>
                    <a:pt x="5008330" y="7855268"/>
                  </a:lnTo>
                  <a:lnTo>
                    <a:pt x="5036550" y="7856079"/>
                  </a:lnTo>
                  <a:lnTo>
                    <a:pt x="5065759" y="7863657"/>
                  </a:lnTo>
                  <a:lnTo>
                    <a:pt x="5098106" y="7874308"/>
                  </a:lnTo>
                  <a:lnTo>
                    <a:pt x="5130455" y="7884958"/>
                  </a:lnTo>
                  <a:lnTo>
                    <a:pt x="5166133" y="7899500"/>
                  </a:lnTo>
                  <a:lnTo>
                    <a:pt x="5204198" y="7912394"/>
                  </a:lnTo>
                  <a:lnTo>
                    <a:pt x="5239805" y="7917945"/>
                  </a:lnTo>
                  <a:lnTo>
                    <a:pt x="5280132" y="7909564"/>
                  </a:lnTo>
                  <a:lnTo>
                    <a:pt x="5301902" y="7901452"/>
                  </a:lnTo>
                  <a:lnTo>
                    <a:pt x="5322538" y="7891989"/>
                  </a:lnTo>
                  <a:lnTo>
                    <a:pt x="5343173" y="7882532"/>
                  </a:lnTo>
                  <a:lnTo>
                    <a:pt x="5362523" y="7870733"/>
                  </a:lnTo>
                  <a:lnTo>
                    <a:pt x="5381028" y="7860702"/>
                  </a:lnTo>
                  <a:lnTo>
                    <a:pt x="5399527" y="7850672"/>
                  </a:lnTo>
                  <a:lnTo>
                    <a:pt x="5429995" y="7836221"/>
                  </a:lnTo>
                  <a:lnTo>
                    <a:pt x="5450571" y="7829706"/>
                  </a:lnTo>
                  <a:lnTo>
                    <a:pt x="5471985" y="7829093"/>
                  </a:lnTo>
                  <a:lnTo>
                    <a:pt x="5493926" y="7832140"/>
                  </a:lnTo>
                  <a:lnTo>
                    <a:pt x="5516896" y="7836130"/>
                  </a:lnTo>
                  <a:lnTo>
                    <a:pt x="5538962" y="7839031"/>
                  </a:lnTo>
                  <a:lnTo>
                    <a:pt x="5579640" y="7837541"/>
                  </a:lnTo>
                  <a:lnTo>
                    <a:pt x="5600342" y="7834132"/>
                  </a:lnTo>
                  <a:lnTo>
                    <a:pt x="5637774" y="7821984"/>
                  </a:lnTo>
                  <a:lnTo>
                    <a:pt x="5672107" y="7804935"/>
                  </a:lnTo>
                  <a:lnTo>
                    <a:pt x="5708056" y="7785097"/>
                  </a:lnTo>
                  <a:lnTo>
                    <a:pt x="5742257" y="7764917"/>
                  </a:lnTo>
                  <a:lnTo>
                    <a:pt x="5775482" y="7745088"/>
                  </a:lnTo>
                  <a:lnTo>
                    <a:pt x="5795227" y="7733791"/>
                  </a:lnTo>
                  <a:lnTo>
                    <a:pt x="5813956" y="7720929"/>
                  </a:lnTo>
                  <a:lnTo>
                    <a:pt x="5835331" y="7709719"/>
                  </a:lnTo>
                  <a:lnTo>
                    <a:pt x="5860992" y="7697794"/>
                  </a:lnTo>
                  <a:lnTo>
                    <a:pt x="5905336" y="7680378"/>
                  </a:lnTo>
                  <a:lnTo>
                    <a:pt x="5949588" y="7668915"/>
                  </a:lnTo>
                  <a:lnTo>
                    <a:pt x="5993846" y="7657448"/>
                  </a:lnTo>
                  <a:lnTo>
                    <a:pt x="6038150" y="7651044"/>
                  </a:lnTo>
                  <a:lnTo>
                    <a:pt x="6065203" y="7662110"/>
                  </a:lnTo>
                  <a:lnTo>
                    <a:pt x="6088747" y="7678867"/>
                  </a:lnTo>
                  <a:lnTo>
                    <a:pt x="6109672" y="7699760"/>
                  </a:lnTo>
                  <a:lnTo>
                    <a:pt x="6131857" y="7713801"/>
                  </a:lnTo>
                  <a:lnTo>
                    <a:pt x="6155573" y="7711566"/>
                  </a:lnTo>
                  <a:lnTo>
                    <a:pt x="6181590" y="7699707"/>
                  </a:lnTo>
                  <a:lnTo>
                    <a:pt x="6198506" y="7683873"/>
                  </a:lnTo>
                  <a:lnTo>
                    <a:pt x="6238405" y="7629650"/>
                  </a:lnTo>
                  <a:lnTo>
                    <a:pt x="6261559" y="7595621"/>
                  </a:lnTo>
                  <a:lnTo>
                    <a:pt x="6273318" y="7570974"/>
                  </a:lnTo>
                  <a:lnTo>
                    <a:pt x="6285077" y="7546337"/>
                  </a:lnTo>
                  <a:lnTo>
                    <a:pt x="6278759" y="7519290"/>
                  </a:lnTo>
                  <a:lnTo>
                    <a:pt x="6256126" y="7496360"/>
                  </a:lnTo>
                  <a:lnTo>
                    <a:pt x="6239308" y="7478481"/>
                  </a:lnTo>
                  <a:lnTo>
                    <a:pt x="6222557" y="7458031"/>
                  </a:lnTo>
                  <a:lnTo>
                    <a:pt x="6204375" y="7430925"/>
                  </a:lnTo>
                  <a:lnTo>
                    <a:pt x="6186265" y="7394152"/>
                  </a:lnTo>
                  <a:lnTo>
                    <a:pt x="6151919" y="7399138"/>
                  </a:lnTo>
                  <a:lnTo>
                    <a:pt x="6114513" y="7408212"/>
                  </a:lnTo>
                  <a:lnTo>
                    <a:pt x="6076091" y="7417273"/>
                  </a:lnTo>
                  <a:lnTo>
                    <a:pt x="6038282" y="7421686"/>
                  </a:lnTo>
                  <a:lnTo>
                    <a:pt x="6002353" y="7415579"/>
                  </a:lnTo>
                  <a:lnTo>
                    <a:pt x="5969992" y="7394152"/>
                  </a:lnTo>
                  <a:lnTo>
                    <a:pt x="5961320" y="7319656"/>
                  </a:lnTo>
                  <a:lnTo>
                    <a:pt x="5953056" y="7262723"/>
                  </a:lnTo>
                  <a:lnTo>
                    <a:pt x="5950946" y="7206441"/>
                  </a:lnTo>
                  <a:lnTo>
                    <a:pt x="5957224" y="7176790"/>
                  </a:lnTo>
                  <a:lnTo>
                    <a:pt x="5974602" y="7149046"/>
                  </a:lnTo>
                  <a:lnTo>
                    <a:pt x="5993114" y="7122113"/>
                  </a:lnTo>
                  <a:lnTo>
                    <a:pt x="6005888" y="7096524"/>
                  </a:lnTo>
                  <a:lnTo>
                    <a:pt x="5999385" y="7068799"/>
                  </a:lnTo>
                  <a:lnTo>
                    <a:pt x="5963193" y="7039135"/>
                  </a:lnTo>
                  <a:lnTo>
                    <a:pt x="5944166" y="7027198"/>
                  </a:lnTo>
                  <a:lnTo>
                    <a:pt x="5925681" y="7013613"/>
                  </a:lnTo>
                  <a:lnTo>
                    <a:pt x="5901986" y="7020096"/>
                  </a:lnTo>
                  <a:lnTo>
                    <a:pt x="5877947" y="7035033"/>
                  </a:lnTo>
                  <a:lnTo>
                    <a:pt x="5852570" y="7059567"/>
                  </a:lnTo>
                  <a:lnTo>
                    <a:pt x="5825815" y="7086745"/>
                  </a:lnTo>
                  <a:lnTo>
                    <a:pt x="5797938" y="7112233"/>
                  </a:lnTo>
                  <a:lnTo>
                    <a:pt x="5769349" y="7126552"/>
                  </a:lnTo>
                  <a:lnTo>
                    <a:pt x="5741479" y="7123465"/>
                  </a:lnTo>
                  <a:lnTo>
                    <a:pt x="5719695" y="7109477"/>
                  </a:lnTo>
                  <a:lnTo>
                    <a:pt x="5703413" y="7083044"/>
                  </a:lnTo>
                  <a:lnTo>
                    <a:pt x="5693870" y="7050017"/>
                  </a:lnTo>
                  <a:lnTo>
                    <a:pt x="5692380" y="7016792"/>
                  </a:lnTo>
                  <a:lnTo>
                    <a:pt x="5703531" y="6988025"/>
                  </a:lnTo>
                  <a:lnTo>
                    <a:pt x="5730597" y="6968405"/>
                  </a:lnTo>
                  <a:lnTo>
                    <a:pt x="5757438" y="6956982"/>
                  </a:lnTo>
                  <a:lnTo>
                    <a:pt x="5783937" y="6950876"/>
                  </a:lnTo>
                  <a:lnTo>
                    <a:pt x="5810850" y="6946642"/>
                  </a:lnTo>
                  <a:lnTo>
                    <a:pt x="5837764" y="6942402"/>
                  </a:lnTo>
                  <a:lnTo>
                    <a:pt x="5864975" y="6941003"/>
                  </a:lnTo>
                  <a:lnTo>
                    <a:pt x="5889739" y="6939842"/>
                  </a:lnTo>
                  <a:lnTo>
                    <a:pt x="5914509" y="6938675"/>
                  </a:lnTo>
                  <a:lnTo>
                    <a:pt x="5937367" y="6937949"/>
                  </a:lnTo>
                  <a:lnTo>
                    <a:pt x="5978137" y="6933577"/>
                  </a:lnTo>
                  <a:lnTo>
                    <a:pt x="6009436" y="6922161"/>
                  </a:lnTo>
                  <a:lnTo>
                    <a:pt x="6028482" y="6901758"/>
                  </a:lnTo>
                  <a:lnTo>
                    <a:pt x="6038006" y="6874553"/>
                  </a:lnTo>
                  <a:lnTo>
                    <a:pt x="6046163" y="6845990"/>
                  </a:lnTo>
                  <a:lnTo>
                    <a:pt x="6059769" y="6821504"/>
                  </a:lnTo>
                  <a:lnTo>
                    <a:pt x="6074647" y="6805379"/>
                  </a:lnTo>
                  <a:lnTo>
                    <a:pt x="6107370" y="6783418"/>
                  </a:lnTo>
                  <a:lnTo>
                    <a:pt x="6139237" y="6762644"/>
                  </a:lnTo>
                  <a:lnTo>
                    <a:pt x="6168004" y="6741632"/>
                  </a:lnTo>
                  <a:lnTo>
                    <a:pt x="6190347" y="6714053"/>
                  </a:lnTo>
                  <a:lnTo>
                    <a:pt x="6202971" y="6677371"/>
                  </a:lnTo>
                  <a:lnTo>
                    <a:pt x="6202588" y="6650122"/>
                  </a:lnTo>
                  <a:lnTo>
                    <a:pt x="6178121" y="6628728"/>
                  </a:lnTo>
                  <a:lnTo>
                    <a:pt x="6145443" y="6608943"/>
                  </a:lnTo>
                  <a:lnTo>
                    <a:pt x="6110094" y="6590273"/>
                  </a:lnTo>
                  <a:lnTo>
                    <a:pt x="6075775" y="6571069"/>
                  </a:lnTo>
                  <a:lnTo>
                    <a:pt x="6049203" y="6549629"/>
                  </a:lnTo>
                  <a:lnTo>
                    <a:pt x="6035282" y="6523626"/>
                  </a:lnTo>
                  <a:lnTo>
                    <a:pt x="6026919" y="6499593"/>
                  </a:lnTo>
                  <a:lnTo>
                    <a:pt x="6031417" y="6478035"/>
                  </a:lnTo>
                  <a:lnTo>
                    <a:pt x="6043446" y="6456971"/>
                  </a:lnTo>
                  <a:lnTo>
                    <a:pt x="6055469" y="6435913"/>
                  </a:lnTo>
                  <a:lnTo>
                    <a:pt x="6075154" y="6415192"/>
                  </a:lnTo>
                  <a:lnTo>
                    <a:pt x="6096489" y="6395764"/>
                  </a:lnTo>
                  <a:lnTo>
                    <a:pt x="6117830" y="6376342"/>
                  </a:lnTo>
                  <a:lnTo>
                    <a:pt x="6140853" y="6357763"/>
                  </a:lnTo>
                  <a:lnTo>
                    <a:pt x="6160420" y="6338638"/>
                  </a:lnTo>
                  <a:lnTo>
                    <a:pt x="6179994" y="6319506"/>
                  </a:lnTo>
                  <a:lnTo>
                    <a:pt x="6195861" y="6300315"/>
                  </a:lnTo>
                  <a:lnTo>
                    <a:pt x="6202588" y="6280147"/>
                  </a:lnTo>
                  <a:lnTo>
                    <a:pt x="6210897" y="6249949"/>
                  </a:lnTo>
                  <a:lnTo>
                    <a:pt x="6213318" y="6223294"/>
                  </a:lnTo>
                  <a:lnTo>
                    <a:pt x="6210752" y="6199895"/>
                  </a:lnTo>
                  <a:lnTo>
                    <a:pt x="6206229" y="6177149"/>
                  </a:lnTo>
                  <a:lnTo>
                    <a:pt x="6198948" y="6157350"/>
                  </a:lnTo>
                  <a:lnTo>
                    <a:pt x="6172093" y="6105957"/>
                  </a:lnTo>
                  <a:lnTo>
                    <a:pt x="6149585" y="6082280"/>
                  </a:lnTo>
                  <a:lnTo>
                    <a:pt x="6156344" y="6061158"/>
                  </a:lnTo>
                  <a:lnTo>
                    <a:pt x="6168584" y="6033953"/>
                  </a:lnTo>
                  <a:lnTo>
                    <a:pt x="6180825" y="6008108"/>
                  </a:lnTo>
                  <a:lnTo>
                    <a:pt x="6196534" y="5969773"/>
                  </a:lnTo>
                  <a:lnTo>
                    <a:pt x="6216806" y="5934905"/>
                  </a:lnTo>
                  <a:lnTo>
                    <a:pt x="6247480" y="5907449"/>
                  </a:lnTo>
                  <a:lnTo>
                    <a:pt x="6291052" y="5902650"/>
                  </a:lnTo>
                  <a:lnTo>
                    <a:pt x="6319568" y="5910173"/>
                  </a:lnTo>
                  <a:lnTo>
                    <a:pt x="6348078" y="5917698"/>
                  </a:lnTo>
                  <a:lnTo>
                    <a:pt x="6376469" y="5927986"/>
                  </a:lnTo>
                  <a:lnTo>
                    <a:pt x="6432559" y="5937530"/>
                  </a:lnTo>
                  <a:lnTo>
                    <a:pt x="6489519" y="5927143"/>
                  </a:lnTo>
                  <a:lnTo>
                    <a:pt x="6545358" y="5911533"/>
                  </a:lnTo>
                  <a:lnTo>
                    <a:pt x="6601197" y="5895915"/>
                  </a:lnTo>
                  <a:lnTo>
                    <a:pt x="6655921" y="5875557"/>
                  </a:lnTo>
                  <a:lnTo>
                    <a:pt x="6696341" y="5863923"/>
                  </a:lnTo>
                  <a:lnTo>
                    <a:pt x="6748092" y="5863990"/>
                  </a:lnTo>
                  <a:lnTo>
                    <a:pt x="6793003" y="5872695"/>
                  </a:lnTo>
                  <a:lnTo>
                    <a:pt x="6826578" y="5880522"/>
                  </a:lnTo>
                  <a:lnTo>
                    <a:pt x="6854125" y="5897927"/>
                  </a:lnTo>
                  <a:lnTo>
                    <a:pt x="6900698" y="5937094"/>
                  </a:lnTo>
                  <a:lnTo>
                    <a:pt x="6931654" y="5964574"/>
                  </a:lnTo>
                  <a:lnTo>
                    <a:pt x="6962617" y="5992057"/>
                  </a:lnTo>
                  <a:lnTo>
                    <a:pt x="6993706" y="6017664"/>
                  </a:lnTo>
                  <a:lnTo>
                    <a:pt x="7037753" y="5994497"/>
                  </a:lnTo>
                  <a:lnTo>
                    <a:pt x="7062048" y="6004902"/>
                  </a:lnTo>
                  <a:lnTo>
                    <a:pt x="7086905" y="6019458"/>
                  </a:lnTo>
                  <a:lnTo>
                    <a:pt x="7112559" y="6033947"/>
                  </a:lnTo>
                  <a:lnTo>
                    <a:pt x="7137580" y="6045098"/>
                  </a:lnTo>
                  <a:lnTo>
                    <a:pt x="7163716" y="6047269"/>
                  </a:lnTo>
                  <a:lnTo>
                    <a:pt x="7190096" y="6035305"/>
                  </a:lnTo>
                  <a:lnTo>
                    <a:pt x="7213217" y="6013542"/>
                  </a:lnTo>
                  <a:lnTo>
                    <a:pt x="7224825" y="5991475"/>
                  </a:lnTo>
                  <a:lnTo>
                    <a:pt x="7234248" y="5964878"/>
                  </a:lnTo>
                  <a:lnTo>
                    <a:pt x="7240421" y="5937371"/>
                  </a:lnTo>
                  <a:lnTo>
                    <a:pt x="7245420" y="5914190"/>
                  </a:lnTo>
                  <a:lnTo>
                    <a:pt x="7246620" y="5892123"/>
                  </a:lnTo>
                  <a:lnTo>
                    <a:pt x="7243145" y="5862559"/>
                  </a:lnTo>
                  <a:lnTo>
                    <a:pt x="7248520" y="5817904"/>
                  </a:lnTo>
                  <a:lnTo>
                    <a:pt x="7262184" y="5775143"/>
                  </a:lnTo>
                  <a:lnTo>
                    <a:pt x="7262184" y="5729262"/>
                  </a:lnTo>
                  <a:lnTo>
                    <a:pt x="7253051" y="5687945"/>
                  </a:lnTo>
                  <a:lnTo>
                    <a:pt x="7262184" y="5668048"/>
                  </a:lnTo>
                  <a:lnTo>
                    <a:pt x="7301121" y="5658261"/>
                  </a:lnTo>
                  <a:lnTo>
                    <a:pt x="7337511" y="5661520"/>
                  </a:lnTo>
                  <a:lnTo>
                    <a:pt x="7369642" y="5672130"/>
                  </a:lnTo>
                  <a:lnTo>
                    <a:pt x="7401601" y="5682432"/>
                  </a:lnTo>
                  <a:lnTo>
                    <a:pt x="7428633" y="5694013"/>
                  </a:lnTo>
                  <a:lnTo>
                    <a:pt x="7461627" y="5657787"/>
                  </a:lnTo>
                  <a:lnTo>
                    <a:pt x="7502879" y="5610244"/>
                  </a:lnTo>
                  <a:lnTo>
                    <a:pt x="7527425" y="5594602"/>
                  </a:lnTo>
                  <a:lnTo>
                    <a:pt x="7587867" y="5556094"/>
                  </a:lnTo>
                  <a:lnTo>
                    <a:pt x="7661895" y="5536157"/>
                  </a:lnTo>
                  <a:lnTo>
                    <a:pt x="7726017" y="5504830"/>
                  </a:lnTo>
                  <a:lnTo>
                    <a:pt x="7763100" y="5486721"/>
                  </a:lnTo>
                  <a:lnTo>
                    <a:pt x="7799313" y="5463586"/>
                  </a:lnTo>
                  <a:lnTo>
                    <a:pt x="7836192" y="5444983"/>
                  </a:lnTo>
                  <a:lnTo>
                    <a:pt x="7872582" y="5426615"/>
                  </a:lnTo>
                  <a:lnTo>
                    <a:pt x="7914308" y="5409390"/>
                  </a:lnTo>
                  <a:lnTo>
                    <a:pt x="7954530" y="5387850"/>
                  </a:lnTo>
                  <a:lnTo>
                    <a:pt x="7994753" y="5366312"/>
                  </a:lnTo>
                  <a:lnTo>
                    <a:pt x="8032298" y="5340374"/>
                  </a:lnTo>
                  <a:lnTo>
                    <a:pt x="8057905" y="5306239"/>
                  </a:lnTo>
                  <a:lnTo>
                    <a:pt x="8073278" y="5285741"/>
                  </a:lnTo>
                  <a:lnTo>
                    <a:pt x="8081640" y="5263899"/>
                  </a:lnTo>
                  <a:lnTo>
                    <a:pt x="8093268" y="5242308"/>
                  </a:lnTo>
                  <a:lnTo>
                    <a:pt x="8113606" y="5204500"/>
                  </a:lnTo>
                  <a:lnTo>
                    <a:pt x="8135329" y="5166460"/>
                  </a:lnTo>
                  <a:lnTo>
                    <a:pt x="8154475" y="5128052"/>
                  </a:lnTo>
                  <a:lnTo>
                    <a:pt x="8169868" y="5097193"/>
                  </a:lnTo>
                  <a:lnTo>
                    <a:pt x="8194770" y="5018556"/>
                  </a:lnTo>
                  <a:lnTo>
                    <a:pt x="8225212" y="4949863"/>
                  </a:lnTo>
                  <a:lnTo>
                    <a:pt x="8240426" y="4915518"/>
                  </a:lnTo>
                  <a:lnTo>
                    <a:pt x="8257579" y="4883552"/>
                  </a:lnTo>
                  <a:lnTo>
                    <a:pt x="8275537" y="4861453"/>
                  </a:lnTo>
                  <a:lnTo>
                    <a:pt x="8293495" y="4839359"/>
                  </a:lnTo>
                  <a:lnTo>
                    <a:pt x="8312653" y="4826901"/>
                  </a:lnTo>
                  <a:lnTo>
                    <a:pt x="8336171" y="4845071"/>
                  </a:lnTo>
                  <a:lnTo>
                    <a:pt x="8343907" y="4869359"/>
                  </a:lnTo>
                  <a:lnTo>
                    <a:pt x="8389557" y="4886684"/>
                  </a:lnTo>
                  <a:lnTo>
                    <a:pt x="8413833" y="4888690"/>
                  </a:lnTo>
                  <a:lnTo>
                    <a:pt x="8437402" y="4884574"/>
                  </a:lnTo>
                  <a:lnTo>
                    <a:pt x="8460966" y="4880459"/>
                  </a:lnTo>
                  <a:lnTo>
                    <a:pt x="8483844" y="4870665"/>
                  </a:lnTo>
                  <a:lnTo>
                    <a:pt x="8516291" y="4854647"/>
                  </a:lnTo>
                  <a:lnTo>
                    <a:pt x="8536741" y="4844550"/>
                  </a:lnTo>
                  <a:lnTo>
                    <a:pt x="8565258" y="4824725"/>
                  </a:lnTo>
                  <a:lnTo>
                    <a:pt x="8587536" y="4798201"/>
                  </a:lnTo>
                  <a:lnTo>
                    <a:pt x="8592462" y="4774399"/>
                  </a:lnTo>
                  <a:lnTo>
                    <a:pt x="8600501" y="4735536"/>
                  </a:lnTo>
                  <a:lnTo>
                    <a:pt x="8594322" y="4708760"/>
                  </a:lnTo>
                  <a:lnTo>
                    <a:pt x="8581580" y="4683265"/>
                  </a:lnTo>
                  <a:lnTo>
                    <a:pt x="8568839" y="4657761"/>
                  </a:lnTo>
                  <a:lnTo>
                    <a:pt x="8548876" y="4634857"/>
                  </a:lnTo>
                  <a:lnTo>
                    <a:pt x="8528531" y="4604369"/>
                  </a:lnTo>
                  <a:lnTo>
                    <a:pt x="8507704" y="4571005"/>
                  </a:lnTo>
                  <a:lnTo>
                    <a:pt x="8492701" y="4543229"/>
                  </a:lnTo>
                  <a:lnTo>
                    <a:pt x="8487728" y="4522757"/>
                  </a:lnTo>
                  <a:lnTo>
                    <a:pt x="8517505" y="4340494"/>
                  </a:lnTo>
                  <a:lnTo>
                    <a:pt x="8533378" y="4323341"/>
                  </a:lnTo>
                  <a:lnTo>
                    <a:pt x="8731331" y="4303405"/>
                  </a:lnTo>
                  <a:lnTo>
                    <a:pt x="8773261" y="4297772"/>
                  </a:lnTo>
                  <a:lnTo>
                    <a:pt x="8814876" y="4270041"/>
                  </a:lnTo>
                  <a:lnTo>
                    <a:pt x="8854979" y="4262965"/>
                  </a:lnTo>
                  <a:lnTo>
                    <a:pt x="8890703" y="4256646"/>
                  </a:lnTo>
                  <a:lnTo>
                    <a:pt x="9058036" y="4237013"/>
                  </a:lnTo>
                  <a:lnTo>
                    <a:pt x="9078052" y="4227597"/>
                  </a:lnTo>
                  <a:lnTo>
                    <a:pt x="9120239" y="4207765"/>
                  </a:lnTo>
                  <a:lnTo>
                    <a:pt x="9157157" y="4173102"/>
                  </a:lnTo>
                  <a:lnTo>
                    <a:pt x="9200473" y="4156866"/>
                  </a:lnTo>
                  <a:lnTo>
                    <a:pt x="9235366" y="4143755"/>
                  </a:lnTo>
                  <a:lnTo>
                    <a:pt x="9276386" y="4145048"/>
                  </a:lnTo>
                  <a:lnTo>
                    <a:pt x="9310647" y="4125580"/>
                  </a:lnTo>
                  <a:lnTo>
                    <a:pt x="9336321" y="4111005"/>
                  </a:lnTo>
                  <a:lnTo>
                    <a:pt x="9353092" y="4087435"/>
                  </a:lnTo>
                  <a:lnTo>
                    <a:pt x="9382736" y="4076612"/>
                  </a:lnTo>
                  <a:lnTo>
                    <a:pt x="9411206" y="4083464"/>
                  </a:lnTo>
                  <a:lnTo>
                    <a:pt x="9436728" y="4084751"/>
                  </a:lnTo>
                  <a:lnTo>
                    <a:pt x="9460266" y="4082054"/>
                  </a:lnTo>
                  <a:lnTo>
                    <a:pt x="9483809" y="4079362"/>
                  </a:lnTo>
                  <a:lnTo>
                    <a:pt x="9505414" y="4073045"/>
                  </a:lnTo>
                  <a:lnTo>
                    <a:pt x="9524197" y="4061649"/>
                  </a:lnTo>
                  <a:lnTo>
                    <a:pt x="9542979" y="4050259"/>
                  </a:lnTo>
                  <a:lnTo>
                    <a:pt x="9558965" y="4034649"/>
                  </a:lnTo>
                  <a:lnTo>
                    <a:pt x="9573164" y="4015405"/>
                  </a:lnTo>
                  <a:lnTo>
                    <a:pt x="9587369" y="3996161"/>
                  </a:lnTo>
                  <a:lnTo>
                    <a:pt x="9598739" y="3972281"/>
                  </a:lnTo>
                  <a:lnTo>
                    <a:pt x="9608533" y="3946034"/>
                  </a:lnTo>
                  <a:lnTo>
                    <a:pt x="9608862" y="3923854"/>
                  </a:lnTo>
                  <a:lnTo>
                    <a:pt x="9596285" y="3884825"/>
                  </a:lnTo>
                  <a:lnTo>
                    <a:pt x="9580464" y="3845843"/>
                  </a:lnTo>
                  <a:lnTo>
                    <a:pt x="9568587" y="3809553"/>
                  </a:lnTo>
                  <a:lnTo>
                    <a:pt x="9569088" y="3774652"/>
                  </a:lnTo>
                  <a:lnTo>
                    <a:pt x="9586004" y="3738017"/>
                  </a:lnTo>
                  <a:lnTo>
                    <a:pt x="9609891" y="3718885"/>
                  </a:lnTo>
                  <a:lnTo>
                    <a:pt x="9638453" y="3717527"/>
                  </a:lnTo>
                  <a:lnTo>
                    <a:pt x="9665657" y="3721603"/>
                  </a:lnTo>
                  <a:lnTo>
                    <a:pt x="9692861" y="3725671"/>
                  </a:lnTo>
                  <a:lnTo>
                    <a:pt x="9718706" y="3722955"/>
                  </a:lnTo>
                  <a:lnTo>
                    <a:pt x="9735029" y="3698474"/>
                  </a:lnTo>
                  <a:lnTo>
                    <a:pt x="9739804" y="3675372"/>
                  </a:lnTo>
                  <a:lnTo>
                    <a:pt x="9738419" y="3650846"/>
                  </a:lnTo>
                  <a:lnTo>
                    <a:pt x="9732306" y="3627743"/>
                  </a:lnTo>
                  <a:lnTo>
                    <a:pt x="9724220" y="3607022"/>
                  </a:lnTo>
                  <a:lnTo>
                    <a:pt x="9673815" y="3547490"/>
                  </a:lnTo>
                  <a:lnTo>
                    <a:pt x="9657836" y="3528728"/>
                  </a:lnTo>
                  <a:lnTo>
                    <a:pt x="9662960" y="3498075"/>
                  </a:lnTo>
                  <a:lnTo>
                    <a:pt x="9646611" y="3480842"/>
                  </a:lnTo>
                  <a:lnTo>
                    <a:pt x="9619935" y="3458407"/>
                  </a:lnTo>
                  <a:lnTo>
                    <a:pt x="9594399" y="3443429"/>
                  </a:lnTo>
                  <a:lnTo>
                    <a:pt x="9570440" y="3430517"/>
                  </a:lnTo>
                  <a:lnTo>
                    <a:pt x="9546738" y="3414471"/>
                  </a:lnTo>
                  <a:lnTo>
                    <a:pt x="9526135" y="3389430"/>
                  </a:lnTo>
                  <a:lnTo>
                    <a:pt x="9509232" y="3348905"/>
                  </a:lnTo>
                  <a:lnTo>
                    <a:pt x="9498694" y="3313008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58" name="Khmelnytsky¬0" descr="Khmelnytsky¬0">
              <a:extLst>
                <a:ext uri="{FF2B5EF4-FFF2-40B4-BE49-F238E27FC236}">
                  <a16:creationId xmlns:a16="http://schemas.microsoft.com/office/drawing/2014/main" id="{3A4AA156-489D-4444-A7DD-A93E44318403}"/>
                </a:ext>
              </a:extLst>
            </p:cNvPr>
            <p:cNvSpPr/>
            <p:nvPr/>
          </p:nvSpPr>
          <p:spPr>
            <a:xfrm>
              <a:off x="2250084" y="1994736"/>
              <a:ext cx="599041" cy="971534"/>
            </a:xfrm>
            <a:custGeom>
              <a:avLst/>
              <a:gdLst/>
              <a:ahLst/>
              <a:cxnLst/>
              <a:rect l="0" t="0" r="0" b="0"/>
              <a:pathLst>
                <a:path w="6112888" h="11253986">
                  <a:moveTo>
                    <a:pt x="4288341" y="10295067"/>
                  </a:moveTo>
                  <a:lnTo>
                    <a:pt x="4292741" y="10266965"/>
                  </a:lnTo>
                  <a:lnTo>
                    <a:pt x="4300054" y="10236939"/>
                  </a:lnTo>
                  <a:lnTo>
                    <a:pt x="4314834" y="10192363"/>
                  </a:lnTo>
                  <a:lnTo>
                    <a:pt x="4327483" y="10163010"/>
                  </a:lnTo>
                  <a:lnTo>
                    <a:pt x="4338985" y="10133669"/>
                  </a:lnTo>
                  <a:lnTo>
                    <a:pt x="4350493" y="10104328"/>
                  </a:lnTo>
                  <a:lnTo>
                    <a:pt x="4361790" y="10074922"/>
                  </a:lnTo>
                  <a:lnTo>
                    <a:pt x="4370270" y="10045251"/>
                  </a:lnTo>
                  <a:lnTo>
                    <a:pt x="4378751" y="10015588"/>
                  </a:lnTo>
                  <a:lnTo>
                    <a:pt x="4384449" y="9984822"/>
                  </a:lnTo>
                  <a:lnTo>
                    <a:pt x="4385235" y="9954123"/>
                  </a:lnTo>
                  <a:lnTo>
                    <a:pt x="4385952" y="9925877"/>
                  </a:lnTo>
                  <a:lnTo>
                    <a:pt x="4382965" y="9895916"/>
                  </a:lnTo>
                  <a:lnTo>
                    <a:pt x="4382517" y="9865706"/>
                  </a:lnTo>
                  <a:lnTo>
                    <a:pt x="4382055" y="9835507"/>
                  </a:lnTo>
                  <a:lnTo>
                    <a:pt x="4384535" y="9806252"/>
                  </a:lnTo>
                  <a:lnTo>
                    <a:pt x="4393398" y="9778658"/>
                  </a:lnTo>
                  <a:lnTo>
                    <a:pt x="4404002" y="9754746"/>
                  </a:lnTo>
                  <a:lnTo>
                    <a:pt x="4397435" y="9727970"/>
                  </a:lnTo>
                  <a:lnTo>
                    <a:pt x="4386599" y="9705205"/>
                  </a:lnTo>
                  <a:lnTo>
                    <a:pt x="4382860" y="9678343"/>
                  </a:lnTo>
                  <a:lnTo>
                    <a:pt x="4370257" y="9593559"/>
                  </a:lnTo>
                  <a:lnTo>
                    <a:pt x="4381159" y="9571908"/>
                  </a:lnTo>
                  <a:lnTo>
                    <a:pt x="4446065" y="9582019"/>
                  </a:lnTo>
                  <a:lnTo>
                    <a:pt x="4470420" y="9586470"/>
                  </a:lnTo>
                  <a:lnTo>
                    <a:pt x="4491334" y="9571908"/>
                  </a:lnTo>
                  <a:lnTo>
                    <a:pt x="4492751" y="9550337"/>
                  </a:lnTo>
                  <a:lnTo>
                    <a:pt x="4482074" y="9522361"/>
                  </a:lnTo>
                  <a:lnTo>
                    <a:pt x="4470671" y="9504469"/>
                  </a:lnTo>
                  <a:lnTo>
                    <a:pt x="4458695" y="9486214"/>
                  </a:lnTo>
                  <a:lnTo>
                    <a:pt x="4447504" y="9467485"/>
                  </a:lnTo>
                  <a:lnTo>
                    <a:pt x="4433258" y="9430355"/>
                  </a:lnTo>
                  <a:lnTo>
                    <a:pt x="4421645" y="9400072"/>
                  </a:lnTo>
                  <a:lnTo>
                    <a:pt x="4413803" y="9371957"/>
                  </a:lnTo>
                  <a:lnTo>
                    <a:pt x="4401979" y="9329558"/>
                  </a:lnTo>
                  <a:lnTo>
                    <a:pt x="4390095" y="9282406"/>
                  </a:lnTo>
                  <a:lnTo>
                    <a:pt x="4382523" y="9234580"/>
                  </a:lnTo>
                  <a:lnTo>
                    <a:pt x="4374945" y="9186747"/>
                  </a:lnTo>
                  <a:lnTo>
                    <a:pt x="4371755" y="9138181"/>
                  </a:lnTo>
                  <a:lnTo>
                    <a:pt x="4379807" y="9094477"/>
                  </a:lnTo>
                  <a:lnTo>
                    <a:pt x="4383670" y="9073545"/>
                  </a:lnTo>
                  <a:lnTo>
                    <a:pt x="4392957" y="9052864"/>
                  </a:lnTo>
                  <a:lnTo>
                    <a:pt x="4396129" y="9031905"/>
                  </a:lnTo>
                  <a:lnTo>
                    <a:pt x="4347412" y="8839123"/>
                  </a:lnTo>
                  <a:lnTo>
                    <a:pt x="4329520" y="8796276"/>
                  </a:lnTo>
                  <a:lnTo>
                    <a:pt x="4307988" y="8760353"/>
                  </a:lnTo>
                  <a:lnTo>
                    <a:pt x="4290030" y="8725862"/>
                  </a:lnTo>
                  <a:lnTo>
                    <a:pt x="4286568" y="8701203"/>
                  </a:lnTo>
                  <a:lnTo>
                    <a:pt x="4293493" y="8668909"/>
                  </a:lnTo>
                  <a:lnTo>
                    <a:pt x="4307711" y="8649690"/>
                  </a:lnTo>
                  <a:lnTo>
                    <a:pt x="4373001" y="8619769"/>
                  </a:lnTo>
                  <a:lnTo>
                    <a:pt x="4393478" y="8600177"/>
                  </a:lnTo>
                  <a:lnTo>
                    <a:pt x="4390609" y="8568627"/>
                  </a:lnTo>
                  <a:lnTo>
                    <a:pt x="4373001" y="8531351"/>
                  </a:lnTo>
                  <a:lnTo>
                    <a:pt x="4351804" y="8495403"/>
                  </a:lnTo>
                  <a:lnTo>
                    <a:pt x="4320789" y="8461663"/>
                  </a:lnTo>
                  <a:lnTo>
                    <a:pt x="4306353" y="8443620"/>
                  </a:lnTo>
                  <a:lnTo>
                    <a:pt x="4308205" y="8406728"/>
                  </a:lnTo>
                  <a:lnTo>
                    <a:pt x="4327990" y="8372955"/>
                  </a:lnTo>
                  <a:lnTo>
                    <a:pt x="4343839" y="8353922"/>
                  </a:lnTo>
                  <a:lnTo>
                    <a:pt x="4353961" y="8332767"/>
                  </a:lnTo>
                  <a:lnTo>
                    <a:pt x="4364090" y="8311604"/>
                  </a:lnTo>
                  <a:lnTo>
                    <a:pt x="4368978" y="8288079"/>
                  </a:lnTo>
                  <a:lnTo>
                    <a:pt x="4363484" y="8259312"/>
                  </a:lnTo>
                  <a:lnTo>
                    <a:pt x="4384951" y="8229898"/>
                  </a:lnTo>
                  <a:lnTo>
                    <a:pt x="4432962" y="8187625"/>
                  </a:lnTo>
                  <a:lnTo>
                    <a:pt x="4479654" y="8172193"/>
                  </a:lnTo>
                  <a:lnTo>
                    <a:pt x="4500869" y="8139614"/>
                  </a:lnTo>
                  <a:lnTo>
                    <a:pt x="4526497" y="8100257"/>
                  </a:lnTo>
                  <a:lnTo>
                    <a:pt x="4525218" y="8058900"/>
                  </a:lnTo>
                  <a:lnTo>
                    <a:pt x="4534872" y="8028081"/>
                  </a:lnTo>
                  <a:lnTo>
                    <a:pt x="4546915" y="8000072"/>
                  </a:lnTo>
                  <a:lnTo>
                    <a:pt x="4577238" y="7982636"/>
                  </a:lnTo>
                  <a:lnTo>
                    <a:pt x="4600479" y="7978098"/>
                  </a:lnTo>
                  <a:lnTo>
                    <a:pt x="4635523" y="7979114"/>
                  </a:lnTo>
                  <a:lnTo>
                    <a:pt x="4653204" y="7946469"/>
                  </a:lnTo>
                  <a:lnTo>
                    <a:pt x="4630651" y="7890446"/>
                  </a:lnTo>
                  <a:lnTo>
                    <a:pt x="4638241" y="7870299"/>
                  </a:lnTo>
                  <a:lnTo>
                    <a:pt x="4647995" y="7844302"/>
                  </a:lnTo>
                  <a:lnTo>
                    <a:pt x="4681767" y="7814525"/>
                  </a:lnTo>
                  <a:lnTo>
                    <a:pt x="4698836" y="7792827"/>
                  </a:lnTo>
                  <a:lnTo>
                    <a:pt x="4688996" y="7736659"/>
                  </a:lnTo>
                  <a:lnTo>
                    <a:pt x="4704890" y="7702993"/>
                  </a:lnTo>
                  <a:lnTo>
                    <a:pt x="4725294" y="7681230"/>
                  </a:lnTo>
                  <a:lnTo>
                    <a:pt x="4766782" y="7680768"/>
                  </a:lnTo>
                  <a:lnTo>
                    <a:pt x="4810500" y="7677701"/>
                  </a:lnTo>
                  <a:lnTo>
                    <a:pt x="4851791" y="7679870"/>
                  </a:lnTo>
                  <a:lnTo>
                    <a:pt x="4877431" y="7681222"/>
                  </a:lnTo>
                  <a:lnTo>
                    <a:pt x="4901510" y="7688390"/>
                  </a:lnTo>
                  <a:lnTo>
                    <a:pt x="4926603" y="7694835"/>
                  </a:lnTo>
                  <a:lnTo>
                    <a:pt x="4951696" y="7701270"/>
                  </a:lnTo>
                  <a:lnTo>
                    <a:pt x="4976961" y="7706639"/>
                  </a:lnTo>
                  <a:lnTo>
                    <a:pt x="5002774" y="7704351"/>
                  </a:lnTo>
                  <a:lnTo>
                    <a:pt x="5034186" y="7680543"/>
                  </a:lnTo>
                  <a:lnTo>
                    <a:pt x="5049775" y="7646684"/>
                  </a:lnTo>
                  <a:lnTo>
                    <a:pt x="5062623" y="7610499"/>
                  </a:lnTo>
                  <a:lnTo>
                    <a:pt x="5075470" y="7574312"/>
                  </a:lnTo>
                  <a:lnTo>
                    <a:pt x="5086542" y="7535732"/>
                  </a:lnTo>
                  <a:lnTo>
                    <a:pt x="5108873" y="7505764"/>
                  </a:lnTo>
                  <a:lnTo>
                    <a:pt x="5153758" y="7502290"/>
                  </a:lnTo>
                  <a:lnTo>
                    <a:pt x="5187761" y="7511206"/>
                  </a:lnTo>
                  <a:lnTo>
                    <a:pt x="5221765" y="7520122"/>
                  </a:lnTo>
                  <a:lnTo>
                    <a:pt x="5255960" y="7532527"/>
                  </a:lnTo>
                  <a:lnTo>
                    <a:pt x="5305355" y="7549187"/>
                  </a:lnTo>
                  <a:lnTo>
                    <a:pt x="5337493" y="7592988"/>
                  </a:lnTo>
                  <a:lnTo>
                    <a:pt x="5375472" y="7610499"/>
                  </a:lnTo>
                  <a:lnTo>
                    <a:pt x="5394934" y="7619488"/>
                  </a:lnTo>
                  <a:lnTo>
                    <a:pt x="5416156" y="7620714"/>
                  </a:lnTo>
                  <a:lnTo>
                    <a:pt x="5438039" y="7622745"/>
                  </a:lnTo>
                  <a:lnTo>
                    <a:pt x="5459919" y="7624769"/>
                  </a:lnTo>
                  <a:lnTo>
                    <a:pt x="5481650" y="7626966"/>
                  </a:lnTo>
                  <a:lnTo>
                    <a:pt x="5499246" y="7639068"/>
                  </a:lnTo>
                  <a:lnTo>
                    <a:pt x="5522604" y="7655113"/>
                  </a:lnTo>
                  <a:lnTo>
                    <a:pt x="5542263" y="7680741"/>
                  </a:lnTo>
                  <a:lnTo>
                    <a:pt x="5565893" y="7696193"/>
                  </a:lnTo>
                  <a:lnTo>
                    <a:pt x="5587281" y="7710181"/>
                  </a:lnTo>
                  <a:lnTo>
                    <a:pt x="5625300" y="7725757"/>
                  </a:lnTo>
                  <a:lnTo>
                    <a:pt x="5650229" y="7731555"/>
                  </a:lnTo>
                  <a:lnTo>
                    <a:pt x="5671003" y="7736395"/>
                  </a:lnTo>
                  <a:lnTo>
                    <a:pt x="5701914" y="7732913"/>
                  </a:lnTo>
                  <a:lnTo>
                    <a:pt x="5727238" y="7722401"/>
                  </a:lnTo>
                  <a:lnTo>
                    <a:pt x="5757369" y="7692744"/>
                  </a:lnTo>
                  <a:lnTo>
                    <a:pt x="5772452" y="7662744"/>
                  </a:lnTo>
                  <a:lnTo>
                    <a:pt x="5791690" y="7630904"/>
                  </a:lnTo>
                  <a:lnTo>
                    <a:pt x="5809371" y="7613215"/>
                  </a:lnTo>
                  <a:lnTo>
                    <a:pt x="5827863" y="7599115"/>
                  </a:lnTo>
                  <a:lnTo>
                    <a:pt x="5885272" y="7573205"/>
                  </a:lnTo>
                  <a:lnTo>
                    <a:pt x="5911459" y="7562614"/>
                  </a:lnTo>
                  <a:lnTo>
                    <a:pt x="5939949" y="7558814"/>
                  </a:lnTo>
                  <a:lnTo>
                    <a:pt x="5968446" y="7555009"/>
                  </a:lnTo>
                  <a:lnTo>
                    <a:pt x="5998842" y="7557991"/>
                  </a:lnTo>
                  <a:lnTo>
                    <a:pt x="6061013" y="7558814"/>
                  </a:lnTo>
                  <a:lnTo>
                    <a:pt x="6097034" y="7538984"/>
                  </a:lnTo>
                  <a:lnTo>
                    <a:pt x="6112887" y="7516402"/>
                  </a:lnTo>
                  <a:lnTo>
                    <a:pt x="6108112" y="7492542"/>
                  </a:lnTo>
                  <a:lnTo>
                    <a:pt x="6100463" y="7467680"/>
                  </a:lnTo>
                  <a:lnTo>
                    <a:pt x="6092800" y="7442816"/>
                  </a:lnTo>
                  <a:lnTo>
                    <a:pt x="6081726" y="7417373"/>
                  </a:lnTo>
                  <a:lnTo>
                    <a:pt x="6072738" y="7376980"/>
                  </a:lnTo>
                  <a:lnTo>
                    <a:pt x="6075917" y="7349710"/>
                  </a:lnTo>
                  <a:lnTo>
                    <a:pt x="6077334" y="7322137"/>
                  </a:lnTo>
                  <a:lnTo>
                    <a:pt x="6078759" y="7294563"/>
                  </a:lnTo>
                  <a:lnTo>
                    <a:pt x="6077862" y="7266996"/>
                  </a:lnTo>
                  <a:lnTo>
                    <a:pt x="6066459" y="7240525"/>
                  </a:lnTo>
                  <a:lnTo>
                    <a:pt x="6053494" y="7210472"/>
                  </a:lnTo>
                  <a:lnTo>
                    <a:pt x="6036321" y="7190390"/>
                  </a:lnTo>
                  <a:lnTo>
                    <a:pt x="6020209" y="7168436"/>
                  </a:lnTo>
                  <a:lnTo>
                    <a:pt x="6004099" y="7146475"/>
                  </a:lnTo>
                  <a:lnTo>
                    <a:pt x="5989385" y="7122245"/>
                  </a:lnTo>
                  <a:lnTo>
                    <a:pt x="5982125" y="7086824"/>
                  </a:lnTo>
                  <a:lnTo>
                    <a:pt x="5983404" y="7058472"/>
                  </a:lnTo>
                  <a:lnTo>
                    <a:pt x="5989444" y="7023347"/>
                  </a:lnTo>
                  <a:lnTo>
                    <a:pt x="6000761" y="7004981"/>
                  </a:lnTo>
                  <a:lnTo>
                    <a:pt x="6026058" y="6975515"/>
                  </a:lnTo>
                  <a:lnTo>
                    <a:pt x="6051496" y="6953521"/>
                  </a:lnTo>
                  <a:lnTo>
                    <a:pt x="6070383" y="6929779"/>
                  </a:lnTo>
                  <a:lnTo>
                    <a:pt x="6070739" y="6895657"/>
                  </a:lnTo>
                  <a:lnTo>
                    <a:pt x="6062371" y="6873380"/>
                  </a:lnTo>
                  <a:lnTo>
                    <a:pt x="6041972" y="6841988"/>
                  </a:lnTo>
                  <a:lnTo>
                    <a:pt x="6014940" y="6814165"/>
                  </a:lnTo>
                  <a:lnTo>
                    <a:pt x="5975899" y="6768705"/>
                  </a:lnTo>
                  <a:lnTo>
                    <a:pt x="5972607" y="6744054"/>
                  </a:lnTo>
                  <a:lnTo>
                    <a:pt x="5968803" y="6715530"/>
                  </a:lnTo>
                  <a:lnTo>
                    <a:pt x="5981134" y="6679246"/>
                  </a:lnTo>
                  <a:lnTo>
                    <a:pt x="5983489" y="6647477"/>
                  </a:lnTo>
                  <a:lnTo>
                    <a:pt x="5983291" y="6617287"/>
                  </a:lnTo>
                  <a:lnTo>
                    <a:pt x="5970062" y="6593333"/>
                  </a:lnTo>
                  <a:lnTo>
                    <a:pt x="5937239" y="6578106"/>
                  </a:lnTo>
                  <a:lnTo>
                    <a:pt x="5902511" y="6568676"/>
                  </a:lnTo>
                  <a:lnTo>
                    <a:pt x="5858351" y="6553626"/>
                  </a:lnTo>
                  <a:lnTo>
                    <a:pt x="5846085" y="6524747"/>
                  </a:lnTo>
                  <a:lnTo>
                    <a:pt x="5846130" y="6484565"/>
                  </a:lnTo>
                  <a:lnTo>
                    <a:pt x="5847463" y="6463461"/>
                  </a:lnTo>
                  <a:lnTo>
                    <a:pt x="5836740" y="6428613"/>
                  </a:lnTo>
                  <a:lnTo>
                    <a:pt x="5808025" y="6398561"/>
                  </a:lnTo>
                  <a:lnTo>
                    <a:pt x="5792257" y="6376664"/>
                  </a:lnTo>
                  <a:lnTo>
                    <a:pt x="5798502" y="6341435"/>
                  </a:lnTo>
                  <a:lnTo>
                    <a:pt x="5822204" y="6313696"/>
                  </a:lnTo>
                  <a:lnTo>
                    <a:pt x="5842028" y="6303349"/>
                  </a:lnTo>
                  <a:lnTo>
                    <a:pt x="5881677" y="6282655"/>
                  </a:lnTo>
                  <a:lnTo>
                    <a:pt x="5935202" y="6271449"/>
                  </a:lnTo>
                  <a:lnTo>
                    <a:pt x="5959008" y="6266623"/>
                  </a:lnTo>
                  <a:lnTo>
                    <a:pt x="5951333" y="6210242"/>
                  </a:lnTo>
                  <a:lnTo>
                    <a:pt x="5935881" y="6167330"/>
                  </a:lnTo>
                  <a:lnTo>
                    <a:pt x="5920435" y="6124410"/>
                  </a:lnTo>
                  <a:lnTo>
                    <a:pt x="5900941" y="6083792"/>
                  </a:lnTo>
                  <a:lnTo>
                    <a:pt x="5845953" y="6077631"/>
                  </a:lnTo>
                  <a:lnTo>
                    <a:pt x="5799168" y="6083798"/>
                  </a:lnTo>
                  <a:lnTo>
                    <a:pt x="5753618" y="6087076"/>
                  </a:lnTo>
                  <a:lnTo>
                    <a:pt x="5708065" y="6090353"/>
                  </a:lnTo>
                  <a:lnTo>
                    <a:pt x="5663247" y="6089787"/>
                  </a:lnTo>
                  <a:lnTo>
                    <a:pt x="5623038" y="6074836"/>
                  </a:lnTo>
                  <a:lnTo>
                    <a:pt x="5596553" y="6061191"/>
                  </a:lnTo>
                  <a:lnTo>
                    <a:pt x="5578793" y="6039507"/>
                  </a:lnTo>
                  <a:lnTo>
                    <a:pt x="5569989" y="6013629"/>
                  </a:lnTo>
                  <a:lnTo>
                    <a:pt x="5569330" y="5985818"/>
                  </a:lnTo>
                  <a:lnTo>
                    <a:pt x="5578799" y="5959821"/>
                  </a:lnTo>
                  <a:lnTo>
                    <a:pt x="5599909" y="5937451"/>
                  </a:lnTo>
                  <a:lnTo>
                    <a:pt x="5617993" y="5923576"/>
                  </a:lnTo>
                  <a:lnTo>
                    <a:pt x="5663307" y="5911975"/>
                  </a:lnTo>
                  <a:lnTo>
                    <a:pt x="5673358" y="5891207"/>
                  </a:lnTo>
                  <a:lnTo>
                    <a:pt x="5661341" y="5864089"/>
                  </a:lnTo>
                  <a:lnTo>
                    <a:pt x="5620975" y="5835962"/>
                  </a:lnTo>
                  <a:lnTo>
                    <a:pt x="5583588" y="5806871"/>
                  </a:lnTo>
                  <a:lnTo>
                    <a:pt x="5546201" y="5777788"/>
                  </a:lnTo>
                  <a:lnTo>
                    <a:pt x="5511195" y="5748665"/>
                  </a:lnTo>
                  <a:lnTo>
                    <a:pt x="5513879" y="5708305"/>
                  </a:lnTo>
                  <a:lnTo>
                    <a:pt x="5516459" y="5668339"/>
                  </a:lnTo>
                  <a:lnTo>
                    <a:pt x="5525097" y="5634131"/>
                  </a:lnTo>
                  <a:lnTo>
                    <a:pt x="5535056" y="5601098"/>
                  </a:lnTo>
                  <a:lnTo>
                    <a:pt x="5553232" y="5577389"/>
                  </a:lnTo>
                  <a:lnTo>
                    <a:pt x="5582228" y="5567483"/>
                  </a:lnTo>
                  <a:lnTo>
                    <a:pt x="5616060" y="5562405"/>
                  </a:lnTo>
                  <a:lnTo>
                    <a:pt x="5648475" y="5593408"/>
                  </a:lnTo>
                  <a:lnTo>
                    <a:pt x="5681521" y="5604204"/>
                  </a:lnTo>
                  <a:lnTo>
                    <a:pt x="5712702" y="5595913"/>
                  </a:lnTo>
                  <a:lnTo>
                    <a:pt x="5737394" y="5568968"/>
                  </a:lnTo>
                  <a:lnTo>
                    <a:pt x="5753610" y="5533474"/>
                  </a:lnTo>
                  <a:lnTo>
                    <a:pt x="5759341" y="5498811"/>
                  </a:lnTo>
                  <a:lnTo>
                    <a:pt x="5744575" y="5470994"/>
                  </a:lnTo>
                  <a:lnTo>
                    <a:pt x="5731445" y="5454507"/>
                  </a:lnTo>
                  <a:lnTo>
                    <a:pt x="5702322" y="5424736"/>
                  </a:lnTo>
                  <a:lnTo>
                    <a:pt x="5671998" y="5398812"/>
                  </a:lnTo>
                  <a:lnTo>
                    <a:pt x="5667283" y="5363345"/>
                  </a:lnTo>
                  <a:lnTo>
                    <a:pt x="5702540" y="5334334"/>
                  </a:lnTo>
                  <a:lnTo>
                    <a:pt x="5750339" y="5260946"/>
                  </a:lnTo>
                  <a:lnTo>
                    <a:pt x="5777946" y="5200992"/>
                  </a:lnTo>
                  <a:lnTo>
                    <a:pt x="5806659" y="5139019"/>
                  </a:lnTo>
                  <a:lnTo>
                    <a:pt x="5833765" y="5080503"/>
                  </a:lnTo>
                  <a:lnTo>
                    <a:pt x="5850913" y="5042271"/>
                  </a:lnTo>
                  <a:lnTo>
                    <a:pt x="5848821" y="5007081"/>
                  </a:lnTo>
                  <a:lnTo>
                    <a:pt x="5842530" y="4973369"/>
                  </a:lnTo>
                  <a:lnTo>
                    <a:pt x="5829782" y="4955391"/>
                  </a:lnTo>
                  <a:lnTo>
                    <a:pt x="5817034" y="4937413"/>
                  </a:lnTo>
                  <a:lnTo>
                    <a:pt x="5797314" y="4918051"/>
                  </a:lnTo>
                  <a:lnTo>
                    <a:pt x="5769933" y="4895542"/>
                  </a:lnTo>
                  <a:lnTo>
                    <a:pt x="5744919" y="4874985"/>
                  </a:lnTo>
                  <a:lnTo>
                    <a:pt x="5716099" y="4862819"/>
                  </a:lnTo>
                  <a:lnTo>
                    <a:pt x="5686963" y="4850657"/>
                  </a:lnTo>
                  <a:lnTo>
                    <a:pt x="5657827" y="4838496"/>
                  </a:lnTo>
                  <a:lnTo>
                    <a:pt x="5628875" y="4826605"/>
                  </a:lnTo>
                  <a:lnTo>
                    <a:pt x="5603985" y="4805773"/>
                  </a:lnTo>
                  <a:lnTo>
                    <a:pt x="5617195" y="4750784"/>
                  </a:lnTo>
                  <a:lnTo>
                    <a:pt x="5633913" y="4714637"/>
                  </a:lnTo>
                  <a:lnTo>
                    <a:pt x="5650632" y="4678490"/>
                  </a:lnTo>
                  <a:lnTo>
                    <a:pt x="5669493" y="4644310"/>
                  </a:lnTo>
                  <a:lnTo>
                    <a:pt x="5702243" y="4635412"/>
                  </a:lnTo>
                  <a:lnTo>
                    <a:pt x="5724851" y="4642384"/>
                  </a:lnTo>
                  <a:lnTo>
                    <a:pt x="5746812" y="4649348"/>
                  </a:lnTo>
                  <a:lnTo>
                    <a:pt x="5768766" y="4656312"/>
                  </a:lnTo>
                  <a:lnTo>
                    <a:pt x="5790028" y="4662688"/>
                  </a:lnTo>
                  <a:lnTo>
                    <a:pt x="5813459" y="4662946"/>
                  </a:lnTo>
                  <a:lnTo>
                    <a:pt x="5858456" y="4633065"/>
                  </a:lnTo>
                  <a:lnTo>
                    <a:pt x="5884190" y="4608538"/>
                  </a:lnTo>
                  <a:lnTo>
                    <a:pt x="5909923" y="4584019"/>
                  </a:lnTo>
                  <a:lnTo>
                    <a:pt x="5932294" y="4556644"/>
                  </a:lnTo>
                  <a:lnTo>
                    <a:pt x="5931329" y="4524301"/>
                  </a:lnTo>
                  <a:lnTo>
                    <a:pt x="5909211" y="4506845"/>
                  </a:lnTo>
                  <a:lnTo>
                    <a:pt x="5884190" y="4491564"/>
                  </a:lnTo>
                  <a:lnTo>
                    <a:pt x="5859168" y="4476284"/>
                  </a:lnTo>
                  <a:lnTo>
                    <a:pt x="5832439" y="4463469"/>
                  </a:lnTo>
                  <a:lnTo>
                    <a:pt x="5855627" y="4442598"/>
                  </a:lnTo>
                  <a:lnTo>
                    <a:pt x="5893336" y="4440217"/>
                  </a:lnTo>
                  <a:lnTo>
                    <a:pt x="5955672" y="4443277"/>
                  </a:lnTo>
                  <a:lnTo>
                    <a:pt x="5997285" y="4447497"/>
                  </a:lnTo>
                  <a:lnTo>
                    <a:pt x="6015000" y="4420906"/>
                  </a:lnTo>
                  <a:lnTo>
                    <a:pt x="6022471" y="4371774"/>
                  </a:lnTo>
                  <a:lnTo>
                    <a:pt x="6028367" y="4351469"/>
                  </a:lnTo>
                  <a:lnTo>
                    <a:pt x="6010714" y="4334600"/>
                  </a:lnTo>
                  <a:lnTo>
                    <a:pt x="5989391" y="4329857"/>
                  </a:lnTo>
                  <a:lnTo>
                    <a:pt x="5967160" y="4328347"/>
                  </a:lnTo>
                  <a:lnTo>
                    <a:pt x="5944929" y="4326830"/>
                  </a:lnTo>
                  <a:lnTo>
                    <a:pt x="5922276" y="4327417"/>
                  </a:lnTo>
                  <a:lnTo>
                    <a:pt x="5899153" y="4324272"/>
                  </a:lnTo>
                  <a:lnTo>
                    <a:pt x="5867419" y="4319945"/>
                  </a:lnTo>
                  <a:lnTo>
                    <a:pt x="5835335" y="4307053"/>
                  </a:lnTo>
                  <a:lnTo>
                    <a:pt x="5805295" y="4291627"/>
                  </a:lnTo>
                  <a:lnTo>
                    <a:pt x="5775261" y="4276202"/>
                  </a:lnTo>
                  <a:lnTo>
                    <a:pt x="5746435" y="4258197"/>
                  </a:lnTo>
                  <a:lnTo>
                    <a:pt x="5718242" y="4245377"/>
                  </a:lnTo>
                  <a:lnTo>
                    <a:pt x="5683210" y="4229450"/>
                  </a:lnTo>
                  <a:lnTo>
                    <a:pt x="5647584" y="4222413"/>
                  </a:lnTo>
                  <a:lnTo>
                    <a:pt x="5610791" y="4216815"/>
                  </a:lnTo>
                  <a:lnTo>
                    <a:pt x="5573991" y="4211215"/>
                  </a:lnTo>
                  <a:lnTo>
                    <a:pt x="5536045" y="4207443"/>
                  </a:lnTo>
                  <a:lnTo>
                    <a:pt x="5499252" y="4200492"/>
                  </a:lnTo>
                  <a:lnTo>
                    <a:pt x="5478425" y="4196554"/>
                  </a:lnTo>
                  <a:lnTo>
                    <a:pt x="5457400" y="4187644"/>
                  </a:lnTo>
                  <a:lnTo>
                    <a:pt x="5436687" y="4182811"/>
                  </a:lnTo>
                  <a:lnTo>
                    <a:pt x="5409073" y="4176368"/>
                  </a:lnTo>
                  <a:lnTo>
                    <a:pt x="5376838" y="4181453"/>
                  </a:lnTo>
                  <a:lnTo>
                    <a:pt x="5343150" y="4178538"/>
                  </a:lnTo>
                  <a:lnTo>
                    <a:pt x="5312907" y="4154248"/>
                  </a:lnTo>
                  <a:lnTo>
                    <a:pt x="5268100" y="4106040"/>
                  </a:lnTo>
                  <a:lnTo>
                    <a:pt x="5260549" y="4076515"/>
                  </a:lnTo>
                  <a:lnTo>
                    <a:pt x="5253058" y="4045433"/>
                  </a:lnTo>
                  <a:lnTo>
                    <a:pt x="5245565" y="4014351"/>
                  </a:lnTo>
                  <a:lnTo>
                    <a:pt x="5238139" y="3982161"/>
                  </a:lnTo>
                  <a:lnTo>
                    <a:pt x="5204090" y="3940698"/>
                  </a:lnTo>
                  <a:lnTo>
                    <a:pt x="5186383" y="3919134"/>
                  </a:lnTo>
                  <a:lnTo>
                    <a:pt x="5157003" y="3888348"/>
                  </a:lnTo>
                  <a:lnTo>
                    <a:pt x="5130636" y="3855004"/>
                  </a:lnTo>
                  <a:lnTo>
                    <a:pt x="5104270" y="3821661"/>
                  </a:lnTo>
                  <a:lnTo>
                    <a:pt x="5081319" y="3786201"/>
                  </a:lnTo>
                  <a:lnTo>
                    <a:pt x="5078952" y="3755711"/>
                  </a:lnTo>
                  <a:lnTo>
                    <a:pt x="5099337" y="3707404"/>
                  </a:lnTo>
                  <a:lnTo>
                    <a:pt x="5102740" y="3675558"/>
                  </a:lnTo>
                  <a:lnTo>
                    <a:pt x="5095275" y="3655054"/>
                  </a:lnTo>
                  <a:lnTo>
                    <a:pt x="5087809" y="3634549"/>
                  </a:lnTo>
                  <a:lnTo>
                    <a:pt x="5047665" y="3621051"/>
                  </a:lnTo>
                  <a:lnTo>
                    <a:pt x="5025803" y="3616889"/>
                  </a:lnTo>
                  <a:lnTo>
                    <a:pt x="4999747" y="3617614"/>
                  </a:lnTo>
                  <a:lnTo>
                    <a:pt x="4976935" y="3618333"/>
                  </a:lnTo>
                  <a:lnTo>
                    <a:pt x="4954124" y="3619053"/>
                  </a:lnTo>
                  <a:lnTo>
                    <a:pt x="4923885" y="3614258"/>
                  </a:lnTo>
                  <a:lnTo>
                    <a:pt x="4899003" y="3592217"/>
                  </a:lnTo>
                  <a:lnTo>
                    <a:pt x="4883262" y="3575638"/>
                  </a:lnTo>
                  <a:lnTo>
                    <a:pt x="4882641" y="3535718"/>
                  </a:lnTo>
                  <a:lnTo>
                    <a:pt x="4885801" y="3494560"/>
                  </a:lnTo>
                  <a:lnTo>
                    <a:pt x="4888967" y="3453401"/>
                  </a:lnTo>
                  <a:lnTo>
                    <a:pt x="4896332" y="3412163"/>
                  </a:lnTo>
                  <a:lnTo>
                    <a:pt x="4906462" y="3380771"/>
                  </a:lnTo>
                  <a:lnTo>
                    <a:pt x="4945083" y="3379472"/>
                  </a:lnTo>
                  <a:lnTo>
                    <a:pt x="4970135" y="3377587"/>
                  </a:lnTo>
                  <a:lnTo>
                    <a:pt x="4995190" y="3375727"/>
                  </a:lnTo>
                  <a:lnTo>
                    <a:pt x="5020179" y="3371414"/>
                  </a:lnTo>
                  <a:lnTo>
                    <a:pt x="5030183" y="3333117"/>
                  </a:lnTo>
                  <a:lnTo>
                    <a:pt x="5020983" y="3304924"/>
                  </a:lnTo>
                  <a:lnTo>
                    <a:pt x="5008221" y="3278287"/>
                  </a:lnTo>
                  <a:lnTo>
                    <a:pt x="4995461" y="3251657"/>
                  </a:lnTo>
                  <a:lnTo>
                    <a:pt x="4977971" y="3227143"/>
                  </a:lnTo>
                  <a:lnTo>
                    <a:pt x="4960613" y="3202116"/>
                  </a:lnTo>
                  <a:lnTo>
                    <a:pt x="4943263" y="3177094"/>
                  </a:lnTo>
                  <a:lnTo>
                    <a:pt x="4926563" y="3151981"/>
                  </a:lnTo>
                  <a:lnTo>
                    <a:pt x="4913004" y="3125945"/>
                  </a:lnTo>
                  <a:lnTo>
                    <a:pt x="4899451" y="3099915"/>
                  </a:lnTo>
                  <a:lnTo>
                    <a:pt x="4889889" y="3072638"/>
                  </a:lnTo>
                  <a:lnTo>
                    <a:pt x="4888525" y="3042974"/>
                  </a:lnTo>
                  <a:lnTo>
                    <a:pt x="4912134" y="3049747"/>
                  </a:lnTo>
                  <a:lnTo>
                    <a:pt x="4935644" y="3055248"/>
                  </a:lnTo>
                  <a:lnTo>
                    <a:pt x="4959254" y="3059296"/>
                  </a:lnTo>
                  <a:lnTo>
                    <a:pt x="4982680" y="3064295"/>
                  </a:lnTo>
                  <a:lnTo>
                    <a:pt x="5006559" y="3067896"/>
                  </a:lnTo>
                  <a:lnTo>
                    <a:pt x="5029984" y="3070172"/>
                  </a:lnTo>
                  <a:lnTo>
                    <a:pt x="5082487" y="3077347"/>
                  </a:lnTo>
                  <a:lnTo>
                    <a:pt x="5114677" y="3075474"/>
                  </a:lnTo>
                  <a:lnTo>
                    <a:pt x="5136077" y="3067455"/>
                  </a:lnTo>
                  <a:lnTo>
                    <a:pt x="5157484" y="3059435"/>
                  </a:lnTo>
                  <a:lnTo>
                    <a:pt x="5178245" y="3032092"/>
                  </a:lnTo>
                  <a:lnTo>
                    <a:pt x="5195734" y="3003497"/>
                  </a:lnTo>
                  <a:lnTo>
                    <a:pt x="5228769" y="2981793"/>
                  </a:lnTo>
                  <a:lnTo>
                    <a:pt x="5253862" y="2974816"/>
                  </a:lnTo>
                  <a:lnTo>
                    <a:pt x="5296584" y="2976326"/>
                  </a:lnTo>
                  <a:lnTo>
                    <a:pt x="5309753" y="2945020"/>
                  </a:lnTo>
                  <a:lnTo>
                    <a:pt x="5318347" y="2904230"/>
                  </a:lnTo>
                  <a:lnTo>
                    <a:pt x="5322238" y="2883556"/>
                  </a:lnTo>
                  <a:lnTo>
                    <a:pt x="5325114" y="2861641"/>
                  </a:lnTo>
                  <a:lnTo>
                    <a:pt x="5325187" y="2821689"/>
                  </a:lnTo>
                  <a:lnTo>
                    <a:pt x="5312907" y="2787257"/>
                  </a:lnTo>
                  <a:lnTo>
                    <a:pt x="5287958" y="2759413"/>
                  </a:lnTo>
                  <a:lnTo>
                    <a:pt x="5263939" y="2751889"/>
                  </a:lnTo>
                  <a:lnTo>
                    <a:pt x="5234651" y="2742722"/>
                  </a:lnTo>
                  <a:lnTo>
                    <a:pt x="5205113" y="2742029"/>
                  </a:lnTo>
                  <a:lnTo>
                    <a:pt x="5179609" y="2723326"/>
                  </a:lnTo>
                  <a:lnTo>
                    <a:pt x="5166117" y="2689527"/>
                  </a:lnTo>
                  <a:lnTo>
                    <a:pt x="5167364" y="2667560"/>
                  </a:lnTo>
                  <a:lnTo>
                    <a:pt x="5168610" y="2645592"/>
                  </a:lnTo>
                  <a:lnTo>
                    <a:pt x="5174737" y="2620940"/>
                  </a:lnTo>
                  <a:lnTo>
                    <a:pt x="5183685" y="2598187"/>
                  </a:lnTo>
                  <a:lnTo>
                    <a:pt x="5192641" y="2575435"/>
                  </a:lnTo>
                  <a:lnTo>
                    <a:pt x="5204485" y="2554753"/>
                  </a:lnTo>
                  <a:lnTo>
                    <a:pt x="5217689" y="2538339"/>
                  </a:lnTo>
                  <a:lnTo>
                    <a:pt x="5230899" y="2521924"/>
                  </a:lnTo>
                  <a:lnTo>
                    <a:pt x="5258498" y="2507052"/>
                  </a:lnTo>
                  <a:lnTo>
                    <a:pt x="5271140" y="2479789"/>
                  </a:lnTo>
                  <a:lnTo>
                    <a:pt x="5248342" y="2439112"/>
                  </a:lnTo>
                  <a:lnTo>
                    <a:pt x="5192740" y="2421873"/>
                  </a:lnTo>
                  <a:lnTo>
                    <a:pt x="5182716" y="2399496"/>
                  </a:lnTo>
                  <a:lnTo>
                    <a:pt x="5181628" y="2377812"/>
                  </a:lnTo>
                  <a:lnTo>
                    <a:pt x="5188164" y="2352639"/>
                  </a:lnTo>
                  <a:lnTo>
                    <a:pt x="5259849" y="2315266"/>
                  </a:lnTo>
                  <a:lnTo>
                    <a:pt x="5273844" y="2295930"/>
                  </a:lnTo>
                  <a:lnTo>
                    <a:pt x="5283209" y="2269814"/>
                  </a:lnTo>
                  <a:lnTo>
                    <a:pt x="5272097" y="2229572"/>
                  </a:lnTo>
                  <a:lnTo>
                    <a:pt x="5263714" y="2209128"/>
                  </a:lnTo>
                  <a:lnTo>
                    <a:pt x="5249166" y="2189138"/>
                  </a:lnTo>
                  <a:lnTo>
                    <a:pt x="5232653" y="2169723"/>
                  </a:lnTo>
                  <a:lnTo>
                    <a:pt x="5199631" y="2130899"/>
                  </a:lnTo>
                  <a:lnTo>
                    <a:pt x="5157880" y="2095274"/>
                  </a:lnTo>
                  <a:lnTo>
                    <a:pt x="5136077" y="2071789"/>
                  </a:lnTo>
                  <a:lnTo>
                    <a:pt x="5119815" y="2054266"/>
                  </a:lnTo>
                  <a:lnTo>
                    <a:pt x="5108913" y="2005972"/>
                  </a:lnTo>
                  <a:lnTo>
                    <a:pt x="5111596" y="1982019"/>
                  </a:lnTo>
                  <a:lnTo>
                    <a:pt x="5123369" y="1917488"/>
                  </a:lnTo>
                  <a:lnTo>
                    <a:pt x="5127919" y="1863680"/>
                  </a:lnTo>
                  <a:lnTo>
                    <a:pt x="5130194" y="1836779"/>
                  </a:lnTo>
                  <a:lnTo>
                    <a:pt x="5131460" y="1809074"/>
                  </a:lnTo>
                  <a:lnTo>
                    <a:pt x="5129278" y="1787509"/>
                  </a:lnTo>
                  <a:lnTo>
                    <a:pt x="5127095" y="1765943"/>
                  </a:lnTo>
                  <a:lnTo>
                    <a:pt x="5111596" y="1745342"/>
                  </a:lnTo>
                  <a:lnTo>
                    <a:pt x="5060756" y="1735779"/>
                  </a:lnTo>
                  <a:lnTo>
                    <a:pt x="5027261" y="1746707"/>
                  </a:lnTo>
                  <a:lnTo>
                    <a:pt x="5005584" y="1808870"/>
                  </a:lnTo>
                  <a:lnTo>
                    <a:pt x="4987863" y="1824638"/>
                  </a:lnTo>
                  <a:lnTo>
                    <a:pt x="4967413" y="1839200"/>
                  </a:lnTo>
                  <a:lnTo>
                    <a:pt x="4958074" y="1878242"/>
                  </a:lnTo>
                  <a:lnTo>
                    <a:pt x="4946830" y="1914408"/>
                  </a:lnTo>
                  <a:lnTo>
                    <a:pt x="4919810" y="1945292"/>
                  </a:lnTo>
                  <a:lnTo>
                    <a:pt x="4855714" y="1944897"/>
                  </a:lnTo>
                  <a:lnTo>
                    <a:pt x="4801471" y="1938493"/>
                  </a:lnTo>
                  <a:lnTo>
                    <a:pt x="4747228" y="1932096"/>
                  </a:lnTo>
                  <a:lnTo>
                    <a:pt x="4693803" y="1922810"/>
                  </a:lnTo>
                  <a:lnTo>
                    <a:pt x="4687162" y="1898442"/>
                  </a:lnTo>
                  <a:lnTo>
                    <a:pt x="4695372" y="1865039"/>
                  </a:lnTo>
                  <a:lnTo>
                    <a:pt x="4701045" y="1830046"/>
                  </a:lnTo>
                  <a:lnTo>
                    <a:pt x="4684491" y="1789877"/>
                  </a:lnTo>
                  <a:lnTo>
                    <a:pt x="4655928" y="1768470"/>
                  </a:lnTo>
                  <a:lnTo>
                    <a:pt x="4626877" y="1756427"/>
                  </a:lnTo>
                  <a:lnTo>
                    <a:pt x="4583438" y="1751745"/>
                  </a:lnTo>
                  <a:lnTo>
                    <a:pt x="4556306" y="1757087"/>
                  </a:lnTo>
                  <a:lnTo>
                    <a:pt x="4538948" y="1745342"/>
                  </a:lnTo>
                  <a:lnTo>
                    <a:pt x="4521623" y="1714543"/>
                  </a:lnTo>
                  <a:lnTo>
                    <a:pt x="4519909" y="1693657"/>
                  </a:lnTo>
                  <a:lnTo>
                    <a:pt x="4518188" y="1672765"/>
                  </a:lnTo>
                  <a:lnTo>
                    <a:pt x="4517594" y="1650685"/>
                  </a:lnTo>
                  <a:lnTo>
                    <a:pt x="4479640" y="1630458"/>
                  </a:lnTo>
                  <a:lnTo>
                    <a:pt x="4451896" y="1644690"/>
                  </a:lnTo>
                  <a:lnTo>
                    <a:pt x="4428826" y="1660333"/>
                  </a:lnTo>
                  <a:lnTo>
                    <a:pt x="4396129" y="1650130"/>
                  </a:lnTo>
                  <a:lnTo>
                    <a:pt x="4379807" y="1617486"/>
                  </a:lnTo>
                  <a:lnTo>
                    <a:pt x="4385247" y="1597082"/>
                  </a:lnTo>
                  <a:lnTo>
                    <a:pt x="4429709" y="1561462"/>
                  </a:lnTo>
                  <a:lnTo>
                    <a:pt x="4410307" y="1518147"/>
                  </a:lnTo>
                  <a:lnTo>
                    <a:pt x="4370284" y="1504588"/>
                  </a:lnTo>
                  <a:lnTo>
                    <a:pt x="4346587" y="1488542"/>
                  </a:lnTo>
                  <a:lnTo>
                    <a:pt x="4322655" y="1467504"/>
                  </a:lnTo>
                  <a:lnTo>
                    <a:pt x="4299553" y="1450180"/>
                  </a:lnTo>
                  <a:lnTo>
                    <a:pt x="4276623" y="1432987"/>
                  </a:lnTo>
                  <a:lnTo>
                    <a:pt x="4251840" y="1410353"/>
                  </a:lnTo>
                  <a:lnTo>
                    <a:pt x="4227464" y="1395772"/>
                  </a:lnTo>
                  <a:lnTo>
                    <a:pt x="4206176" y="1383043"/>
                  </a:lnTo>
                  <a:lnTo>
                    <a:pt x="4183134" y="1372677"/>
                  </a:lnTo>
                  <a:lnTo>
                    <a:pt x="4159451" y="1361769"/>
                  </a:lnTo>
                  <a:lnTo>
                    <a:pt x="4135775" y="1350860"/>
                  </a:lnTo>
                  <a:lnTo>
                    <a:pt x="4110932" y="1340005"/>
                  </a:lnTo>
                  <a:lnTo>
                    <a:pt x="4088727" y="1327765"/>
                  </a:lnTo>
                  <a:lnTo>
                    <a:pt x="4069814" y="1317339"/>
                  </a:lnTo>
                  <a:lnTo>
                    <a:pt x="4050635" y="1288314"/>
                  </a:lnTo>
                  <a:lnTo>
                    <a:pt x="4039800" y="1257200"/>
                  </a:lnTo>
                  <a:lnTo>
                    <a:pt x="4034273" y="1224218"/>
                  </a:lnTo>
                  <a:lnTo>
                    <a:pt x="4027514" y="1193104"/>
                  </a:lnTo>
                  <a:lnTo>
                    <a:pt x="4015893" y="1164145"/>
                  </a:lnTo>
                  <a:lnTo>
                    <a:pt x="3979720" y="1134653"/>
                  </a:lnTo>
                  <a:lnTo>
                    <a:pt x="3952233" y="1128164"/>
                  </a:lnTo>
                  <a:lnTo>
                    <a:pt x="3924139" y="1125090"/>
                  </a:lnTo>
                  <a:lnTo>
                    <a:pt x="3896044" y="1122024"/>
                  </a:lnTo>
                  <a:lnTo>
                    <a:pt x="3868313" y="1122973"/>
                  </a:lnTo>
                  <a:lnTo>
                    <a:pt x="3845251" y="1118291"/>
                  </a:lnTo>
                  <a:lnTo>
                    <a:pt x="3822181" y="1113609"/>
                  </a:lnTo>
                  <a:lnTo>
                    <a:pt x="3803141" y="1102701"/>
                  </a:lnTo>
                  <a:lnTo>
                    <a:pt x="3794917" y="1078847"/>
                  </a:lnTo>
                  <a:lnTo>
                    <a:pt x="3786701" y="1054993"/>
                  </a:lnTo>
                  <a:lnTo>
                    <a:pt x="3789366" y="1017000"/>
                  </a:lnTo>
                  <a:lnTo>
                    <a:pt x="3805806" y="956426"/>
                  </a:lnTo>
                  <a:lnTo>
                    <a:pt x="3835727" y="847610"/>
                  </a:lnTo>
                  <a:lnTo>
                    <a:pt x="3847723" y="803371"/>
                  </a:lnTo>
                  <a:lnTo>
                    <a:pt x="3855802" y="773727"/>
                  </a:lnTo>
                  <a:lnTo>
                    <a:pt x="3869730" y="748317"/>
                  </a:lnTo>
                  <a:lnTo>
                    <a:pt x="3883659" y="722907"/>
                  </a:lnTo>
                  <a:lnTo>
                    <a:pt x="3903252" y="701671"/>
                  </a:lnTo>
                  <a:lnTo>
                    <a:pt x="3937744" y="669429"/>
                  </a:lnTo>
                  <a:lnTo>
                    <a:pt x="3972083" y="648418"/>
                  </a:lnTo>
                  <a:lnTo>
                    <a:pt x="3993978" y="638473"/>
                  </a:lnTo>
                  <a:lnTo>
                    <a:pt x="4015273" y="627261"/>
                  </a:lnTo>
                  <a:lnTo>
                    <a:pt x="4036568" y="616043"/>
                  </a:lnTo>
                  <a:lnTo>
                    <a:pt x="4057059" y="603025"/>
                  </a:lnTo>
                  <a:lnTo>
                    <a:pt x="4073764" y="586452"/>
                  </a:lnTo>
                  <a:lnTo>
                    <a:pt x="4040558" y="560422"/>
                  </a:lnTo>
                  <a:lnTo>
                    <a:pt x="4012319" y="555285"/>
                  </a:lnTo>
                  <a:lnTo>
                    <a:pt x="3983988" y="549732"/>
                  </a:lnTo>
                  <a:lnTo>
                    <a:pt x="3955648" y="544462"/>
                  </a:lnTo>
                  <a:lnTo>
                    <a:pt x="3927996" y="535961"/>
                  </a:lnTo>
                  <a:lnTo>
                    <a:pt x="3901016" y="522528"/>
                  </a:lnTo>
                  <a:lnTo>
                    <a:pt x="3886073" y="498984"/>
                  </a:lnTo>
                  <a:lnTo>
                    <a:pt x="3877875" y="475341"/>
                  </a:lnTo>
                  <a:lnTo>
                    <a:pt x="3873813" y="451797"/>
                  </a:lnTo>
                  <a:lnTo>
                    <a:pt x="3870013" y="429078"/>
                  </a:lnTo>
                  <a:lnTo>
                    <a:pt x="3864012" y="406497"/>
                  </a:lnTo>
                  <a:lnTo>
                    <a:pt x="3852050" y="383784"/>
                  </a:lnTo>
                  <a:lnTo>
                    <a:pt x="3828927" y="381067"/>
                  </a:lnTo>
                  <a:lnTo>
                    <a:pt x="3799001" y="375626"/>
                  </a:lnTo>
                  <a:lnTo>
                    <a:pt x="3777633" y="371161"/>
                  </a:lnTo>
                  <a:lnTo>
                    <a:pt x="3754589" y="359561"/>
                  </a:lnTo>
                  <a:lnTo>
                    <a:pt x="3741776" y="331651"/>
                  </a:lnTo>
                  <a:lnTo>
                    <a:pt x="3739257" y="310785"/>
                  </a:lnTo>
                  <a:lnTo>
                    <a:pt x="3732088" y="282123"/>
                  </a:lnTo>
                  <a:lnTo>
                    <a:pt x="3716029" y="266810"/>
                  </a:lnTo>
                  <a:lnTo>
                    <a:pt x="3694266" y="257287"/>
                  </a:lnTo>
                  <a:lnTo>
                    <a:pt x="3665928" y="248450"/>
                  </a:lnTo>
                  <a:lnTo>
                    <a:pt x="3643940" y="240964"/>
                  </a:lnTo>
                  <a:lnTo>
                    <a:pt x="3592125" y="238768"/>
                  </a:lnTo>
                  <a:lnTo>
                    <a:pt x="3551447" y="228725"/>
                  </a:lnTo>
                  <a:lnTo>
                    <a:pt x="3501794" y="216464"/>
                  </a:lnTo>
                  <a:lnTo>
                    <a:pt x="3455222" y="200723"/>
                  </a:lnTo>
                  <a:lnTo>
                    <a:pt x="3445737" y="175807"/>
                  </a:lnTo>
                  <a:lnTo>
                    <a:pt x="3449754" y="140775"/>
                  </a:lnTo>
                  <a:lnTo>
                    <a:pt x="3453513" y="106310"/>
                  </a:lnTo>
                  <a:lnTo>
                    <a:pt x="3457265" y="71838"/>
                  </a:lnTo>
                  <a:lnTo>
                    <a:pt x="3459620" y="37374"/>
                  </a:lnTo>
                  <a:lnTo>
                    <a:pt x="3440680" y="8837"/>
                  </a:lnTo>
                  <a:lnTo>
                    <a:pt x="3411173" y="3139"/>
                  </a:lnTo>
                  <a:lnTo>
                    <a:pt x="3380059" y="1570"/>
                  </a:lnTo>
                  <a:lnTo>
                    <a:pt x="3348951" y="0"/>
                  </a:lnTo>
                  <a:lnTo>
                    <a:pt x="3316491" y="2098"/>
                  </a:lnTo>
                  <a:lnTo>
                    <a:pt x="3289215" y="25067"/>
                  </a:lnTo>
                  <a:lnTo>
                    <a:pt x="3278761" y="47417"/>
                  </a:lnTo>
                  <a:lnTo>
                    <a:pt x="3271242" y="70941"/>
                  </a:lnTo>
                  <a:lnTo>
                    <a:pt x="3263725" y="94466"/>
                  </a:lnTo>
                  <a:lnTo>
                    <a:pt x="3258844" y="119612"/>
                  </a:lnTo>
                  <a:lnTo>
                    <a:pt x="3256279" y="141672"/>
                  </a:lnTo>
                  <a:lnTo>
                    <a:pt x="3209672" y="172404"/>
                  </a:lnTo>
                  <a:lnTo>
                    <a:pt x="3166509" y="186557"/>
                  </a:lnTo>
                  <a:lnTo>
                    <a:pt x="3123346" y="200716"/>
                  </a:lnTo>
                  <a:lnTo>
                    <a:pt x="3076245" y="213741"/>
                  </a:lnTo>
                  <a:lnTo>
                    <a:pt x="3053610" y="228725"/>
                  </a:lnTo>
                  <a:lnTo>
                    <a:pt x="3030865" y="246162"/>
                  </a:lnTo>
                  <a:lnTo>
                    <a:pt x="3008343" y="265695"/>
                  </a:lnTo>
                  <a:lnTo>
                    <a:pt x="2985604" y="284491"/>
                  </a:lnTo>
                  <a:lnTo>
                    <a:pt x="2964962" y="312473"/>
                  </a:lnTo>
                  <a:lnTo>
                    <a:pt x="2946391" y="343568"/>
                  </a:lnTo>
                  <a:lnTo>
                    <a:pt x="2917591" y="366103"/>
                  </a:lnTo>
                  <a:lnTo>
                    <a:pt x="2894588" y="377261"/>
                  </a:lnTo>
                  <a:lnTo>
                    <a:pt x="2871915" y="379042"/>
                  </a:lnTo>
                  <a:lnTo>
                    <a:pt x="2849584" y="374267"/>
                  </a:lnTo>
                  <a:lnTo>
                    <a:pt x="2827254" y="369493"/>
                  </a:lnTo>
                  <a:lnTo>
                    <a:pt x="2806046" y="358149"/>
                  </a:lnTo>
                  <a:lnTo>
                    <a:pt x="2784289" y="345705"/>
                  </a:lnTo>
                  <a:lnTo>
                    <a:pt x="2740781" y="320809"/>
                  </a:lnTo>
                  <a:lnTo>
                    <a:pt x="2698224" y="289107"/>
                  </a:lnTo>
                  <a:lnTo>
                    <a:pt x="2656433" y="283132"/>
                  </a:lnTo>
                  <a:lnTo>
                    <a:pt x="2620682" y="297080"/>
                  </a:lnTo>
                  <a:lnTo>
                    <a:pt x="2603384" y="311695"/>
                  </a:lnTo>
                  <a:lnTo>
                    <a:pt x="2586086" y="326310"/>
                  </a:lnTo>
                  <a:lnTo>
                    <a:pt x="2569572" y="344089"/>
                  </a:lnTo>
                  <a:lnTo>
                    <a:pt x="2526046" y="383065"/>
                  </a:lnTo>
                  <a:lnTo>
                    <a:pt x="2493209" y="403720"/>
                  </a:lnTo>
                  <a:lnTo>
                    <a:pt x="2457847" y="427317"/>
                  </a:lnTo>
                  <a:lnTo>
                    <a:pt x="2437205" y="441048"/>
                  </a:lnTo>
                  <a:lnTo>
                    <a:pt x="2372661" y="432633"/>
                  </a:lnTo>
                  <a:lnTo>
                    <a:pt x="2346308" y="431392"/>
                  </a:lnTo>
                  <a:lnTo>
                    <a:pt x="2321847" y="446864"/>
                  </a:lnTo>
                  <a:lnTo>
                    <a:pt x="2298125" y="475341"/>
                  </a:lnTo>
                  <a:lnTo>
                    <a:pt x="2282377" y="508922"/>
                  </a:lnTo>
                  <a:lnTo>
                    <a:pt x="2278512" y="537630"/>
                  </a:lnTo>
                  <a:lnTo>
                    <a:pt x="2283524" y="564544"/>
                  </a:lnTo>
                  <a:lnTo>
                    <a:pt x="2290541" y="595975"/>
                  </a:lnTo>
                  <a:lnTo>
                    <a:pt x="2295125" y="633124"/>
                  </a:lnTo>
                  <a:lnTo>
                    <a:pt x="2291900" y="659906"/>
                  </a:lnTo>
                  <a:lnTo>
                    <a:pt x="2254678" y="681096"/>
                  </a:lnTo>
                  <a:lnTo>
                    <a:pt x="2218452" y="677580"/>
                  </a:lnTo>
                  <a:lnTo>
                    <a:pt x="2189217" y="664806"/>
                  </a:lnTo>
                  <a:lnTo>
                    <a:pt x="2166069" y="646828"/>
                  </a:lnTo>
                  <a:lnTo>
                    <a:pt x="2143640" y="629972"/>
                  </a:lnTo>
                  <a:lnTo>
                    <a:pt x="2115381" y="617085"/>
                  </a:lnTo>
                  <a:lnTo>
                    <a:pt x="2082775" y="619802"/>
                  </a:lnTo>
                  <a:lnTo>
                    <a:pt x="2070185" y="643577"/>
                  </a:lnTo>
                  <a:lnTo>
                    <a:pt x="2063262" y="674903"/>
                  </a:lnTo>
                  <a:lnTo>
                    <a:pt x="2059555" y="731909"/>
                  </a:lnTo>
                  <a:lnTo>
                    <a:pt x="2059713" y="774084"/>
                  </a:lnTo>
                  <a:lnTo>
                    <a:pt x="2048422" y="794561"/>
                  </a:lnTo>
                  <a:lnTo>
                    <a:pt x="2022551" y="809782"/>
                  </a:lnTo>
                  <a:lnTo>
                    <a:pt x="1989965" y="820136"/>
                  </a:lnTo>
                  <a:lnTo>
                    <a:pt x="1970892" y="836722"/>
                  </a:lnTo>
                  <a:lnTo>
                    <a:pt x="1961376" y="949613"/>
                  </a:lnTo>
                  <a:lnTo>
                    <a:pt x="1959366" y="972953"/>
                  </a:lnTo>
                  <a:lnTo>
                    <a:pt x="1934180" y="998581"/>
                  </a:lnTo>
                  <a:lnTo>
                    <a:pt x="1898343" y="1015253"/>
                  </a:lnTo>
                  <a:lnTo>
                    <a:pt x="1877047" y="1020344"/>
                  </a:lnTo>
                  <a:lnTo>
                    <a:pt x="1855752" y="1025435"/>
                  </a:lnTo>
                  <a:lnTo>
                    <a:pt x="1833731" y="1030526"/>
                  </a:lnTo>
                  <a:lnTo>
                    <a:pt x="1813116" y="1036666"/>
                  </a:lnTo>
                  <a:lnTo>
                    <a:pt x="1792508" y="1042806"/>
                  </a:lnTo>
                  <a:lnTo>
                    <a:pt x="1761432" y="1063870"/>
                  </a:lnTo>
                  <a:lnTo>
                    <a:pt x="1749983" y="1083708"/>
                  </a:lnTo>
                  <a:lnTo>
                    <a:pt x="1757356" y="1123719"/>
                  </a:lnTo>
                  <a:lnTo>
                    <a:pt x="1760060" y="1144981"/>
                  </a:lnTo>
                  <a:lnTo>
                    <a:pt x="1760858" y="1168762"/>
                  </a:lnTo>
                  <a:lnTo>
                    <a:pt x="1741035" y="1202613"/>
                  </a:lnTo>
                  <a:lnTo>
                    <a:pt x="1728405" y="1224173"/>
                  </a:lnTo>
                  <a:lnTo>
                    <a:pt x="1693630" y="1247459"/>
                  </a:lnTo>
                  <a:lnTo>
                    <a:pt x="1656699" y="1269262"/>
                  </a:lnTo>
                  <a:lnTo>
                    <a:pt x="1619774" y="1291058"/>
                  </a:lnTo>
                  <a:lnTo>
                    <a:pt x="1580052" y="1312115"/>
                  </a:lnTo>
                  <a:lnTo>
                    <a:pt x="1557406" y="1331827"/>
                  </a:lnTo>
                  <a:lnTo>
                    <a:pt x="1529641" y="1355998"/>
                  </a:lnTo>
                  <a:lnTo>
                    <a:pt x="1510378" y="1397546"/>
                  </a:lnTo>
                  <a:lnTo>
                    <a:pt x="1492117" y="1437926"/>
                  </a:lnTo>
                  <a:lnTo>
                    <a:pt x="1473854" y="1478307"/>
                  </a:lnTo>
                  <a:lnTo>
                    <a:pt x="1456998" y="1517243"/>
                  </a:lnTo>
                  <a:lnTo>
                    <a:pt x="1432268" y="1534502"/>
                  </a:lnTo>
                  <a:lnTo>
                    <a:pt x="1387858" y="1555164"/>
                  </a:lnTo>
                  <a:lnTo>
                    <a:pt x="1361537" y="1564423"/>
                  </a:lnTo>
                  <a:lnTo>
                    <a:pt x="1335216" y="1573689"/>
                  </a:lnTo>
                  <a:lnTo>
                    <a:pt x="1310861" y="1582606"/>
                  </a:lnTo>
                  <a:lnTo>
                    <a:pt x="1293022" y="1608088"/>
                  </a:lnTo>
                  <a:lnTo>
                    <a:pt x="1264064" y="1650447"/>
                  </a:lnTo>
                  <a:lnTo>
                    <a:pt x="1233681" y="1690920"/>
                  </a:lnTo>
                  <a:lnTo>
                    <a:pt x="1203292" y="1731393"/>
                  </a:lnTo>
                  <a:lnTo>
                    <a:pt x="1171201" y="1769960"/>
                  </a:lnTo>
                  <a:lnTo>
                    <a:pt x="1086780" y="1786137"/>
                  </a:lnTo>
                  <a:lnTo>
                    <a:pt x="1064932" y="1789646"/>
                  </a:lnTo>
                  <a:lnTo>
                    <a:pt x="1028204" y="1795614"/>
                  </a:lnTo>
                  <a:lnTo>
                    <a:pt x="1005162" y="1790213"/>
                  </a:lnTo>
                  <a:lnTo>
                    <a:pt x="972286" y="1782497"/>
                  </a:lnTo>
                  <a:lnTo>
                    <a:pt x="937986" y="1756783"/>
                  </a:lnTo>
                  <a:lnTo>
                    <a:pt x="903151" y="1758927"/>
                  </a:lnTo>
                  <a:lnTo>
                    <a:pt x="870910" y="1773238"/>
                  </a:lnTo>
                  <a:lnTo>
                    <a:pt x="842083" y="1792923"/>
                  </a:lnTo>
                  <a:lnTo>
                    <a:pt x="816099" y="1814693"/>
                  </a:lnTo>
                  <a:lnTo>
                    <a:pt x="790115" y="1836463"/>
                  </a:lnTo>
                  <a:lnTo>
                    <a:pt x="766690" y="1861411"/>
                  </a:lnTo>
                  <a:lnTo>
                    <a:pt x="745368" y="1888148"/>
                  </a:lnTo>
                  <a:lnTo>
                    <a:pt x="724047" y="1914876"/>
                  </a:lnTo>
                  <a:lnTo>
                    <a:pt x="705134" y="1943281"/>
                  </a:lnTo>
                  <a:lnTo>
                    <a:pt x="686879" y="1972477"/>
                  </a:lnTo>
                  <a:lnTo>
                    <a:pt x="668624" y="2001679"/>
                  </a:lnTo>
                  <a:lnTo>
                    <a:pt x="651979" y="2031719"/>
                  </a:lnTo>
                  <a:lnTo>
                    <a:pt x="635194" y="2060894"/>
                  </a:lnTo>
                  <a:lnTo>
                    <a:pt x="621898" y="2083996"/>
                  </a:lnTo>
                  <a:lnTo>
                    <a:pt x="605346" y="2110818"/>
                  </a:lnTo>
                  <a:lnTo>
                    <a:pt x="586226" y="2135700"/>
                  </a:lnTo>
                  <a:lnTo>
                    <a:pt x="567102" y="2160589"/>
                  </a:lnTo>
                  <a:lnTo>
                    <a:pt x="544640" y="2182544"/>
                  </a:lnTo>
                  <a:lnTo>
                    <a:pt x="519573" y="2194190"/>
                  </a:lnTo>
                  <a:lnTo>
                    <a:pt x="490489" y="2203193"/>
                  </a:lnTo>
                  <a:lnTo>
                    <a:pt x="458887" y="2209668"/>
                  </a:lnTo>
                  <a:lnTo>
                    <a:pt x="429802" y="2221395"/>
                  </a:lnTo>
                  <a:lnTo>
                    <a:pt x="392297" y="2244417"/>
                  </a:lnTo>
                  <a:lnTo>
                    <a:pt x="369954" y="2259480"/>
                  </a:lnTo>
                  <a:lnTo>
                    <a:pt x="346343" y="2273798"/>
                  </a:lnTo>
                  <a:lnTo>
                    <a:pt x="314609" y="2286763"/>
                  </a:lnTo>
                  <a:lnTo>
                    <a:pt x="296500" y="2297565"/>
                  </a:lnTo>
                  <a:lnTo>
                    <a:pt x="271531" y="2301246"/>
                  </a:lnTo>
                  <a:lnTo>
                    <a:pt x="215165" y="2326471"/>
                  </a:lnTo>
                  <a:lnTo>
                    <a:pt x="197207" y="2343809"/>
                  </a:lnTo>
                  <a:lnTo>
                    <a:pt x="224707" y="2360329"/>
                  </a:lnTo>
                  <a:lnTo>
                    <a:pt x="262206" y="2368777"/>
                  </a:lnTo>
                  <a:lnTo>
                    <a:pt x="299217" y="2379177"/>
                  </a:lnTo>
                  <a:lnTo>
                    <a:pt x="336234" y="2389577"/>
                  </a:lnTo>
                  <a:lnTo>
                    <a:pt x="372190" y="2403137"/>
                  </a:lnTo>
                  <a:lnTo>
                    <a:pt x="393075" y="2418621"/>
                  </a:lnTo>
                  <a:lnTo>
                    <a:pt x="420813" y="2443102"/>
                  </a:lnTo>
                  <a:lnTo>
                    <a:pt x="441502" y="2475760"/>
                  </a:lnTo>
                  <a:lnTo>
                    <a:pt x="451558" y="2511115"/>
                  </a:lnTo>
                  <a:lnTo>
                    <a:pt x="453082" y="2546859"/>
                  </a:lnTo>
                  <a:lnTo>
                    <a:pt x="436437" y="2576029"/>
                  </a:lnTo>
                  <a:lnTo>
                    <a:pt x="398517" y="2594086"/>
                  </a:lnTo>
                  <a:lnTo>
                    <a:pt x="371028" y="2602520"/>
                  </a:lnTo>
                  <a:lnTo>
                    <a:pt x="341939" y="2606596"/>
                  </a:lnTo>
                  <a:lnTo>
                    <a:pt x="312823" y="2607690"/>
                  </a:lnTo>
                  <a:lnTo>
                    <a:pt x="283705" y="2608786"/>
                  </a:lnTo>
                  <a:lnTo>
                    <a:pt x="254107" y="2607295"/>
                  </a:lnTo>
                  <a:lnTo>
                    <a:pt x="225769" y="2607690"/>
                  </a:lnTo>
                  <a:lnTo>
                    <a:pt x="196607" y="2639043"/>
                  </a:lnTo>
                  <a:lnTo>
                    <a:pt x="204560" y="2677082"/>
                  </a:lnTo>
                  <a:lnTo>
                    <a:pt x="231566" y="2699941"/>
                  </a:lnTo>
                  <a:lnTo>
                    <a:pt x="257056" y="2719230"/>
                  </a:lnTo>
                  <a:lnTo>
                    <a:pt x="282538" y="2738514"/>
                  </a:lnTo>
                  <a:lnTo>
                    <a:pt x="306102" y="2754678"/>
                  </a:lnTo>
                  <a:lnTo>
                    <a:pt x="308172" y="2786156"/>
                  </a:lnTo>
                  <a:lnTo>
                    <a:pt x="295788" y="2804766"/>
                  </a:lnTo>
                  <a:lnTo>
                    <a:pt x="280922" y="2851630"/>
                  </a:lnTo>
                  <a:lnTo>
                    <a:pt x="263855" y="2879730"/>
                  </a:lnTo>
                  <a:lnTo>
                    <a:pt x="245270" y="2895334"/>
                  </a:lnTo>
                  <a:lnTo>
                    <a:pt x="215336" y="2905648"/>
                  </a:lnTo>
                  <a:lnTo>
                    <a:pt x="192636" y="2907370"/>
                  </a:lnTo>
                  <a:lnTo>
                    <a:pt x="161838" y="2942296"/>
                  </a:lnTo>
                  <a:lnTo>
                    <a:pt x="161773" y="2971525"/>
                  </a:lnTo>
                  <a:lnTo>
                    <a:pt x="205332" y="3008819"/>
                  </a:lnTo>
                  <a:lnTo>
                    <a:pt x="235299" y="3013977"/>
                  </a:lnTo>
                  <a:lnTo>
                    <a:pt x="259773" y="3015751"/>
                  </a:lnTo>
                  <a:lnTo>
                    <a:pt x="284246" y="3017524"/>
                  </a:lnTo>
                  <a:lnTo>
                    <a:pt x="322345" y="3029355"/>
                  </a:lnTo>
                  <a:lnTo>
                    <a:pt x="320518" y="3063913"/>
                  </a:lnTo>
                  <a:lnTo>
                    <a:pt x="308259" y="3117371"/>
                  </a:lnTo>
                  <a:lnTo>
                    <a:pt x="281536" y="3138165"/>
                  </a:lnTo>
                  <a:lnTo>
                    <a:pt x="241452" y="3145420"/>
                  </a:lnTo>
                  <a:lnTo>
                    <a:pt x="206724" y="3155852"/>
                  </a:lnTo>
                  <a:lnTo>
                    <a:pt x="177375" y="3164947"/>
                  </a:lnTo>
                  <a:lnTo>
                    <a:pt x="140860" y="3176679"/>
                  </a:lnTo>
                  <a:lnTo>
                    <a:pt x="101989" y="3191215"/>
                  </a:lnTo>
                  <a:lnTo>
                    <a:pt x="65058" y="3209983"/>
                  </a:lnTo>
                  <a:lnTo>
                    <a:pt x="35547" y="3232294"/>
                  </a:lnTo>
                  <a:lnTo>
                    <a:pt x="19019" y="3259227"/>
                  </a:lnTo>
                  <a:lnTo>
                    <a:pt x="6871" y="3297544"/>
                  </a:lnTo>
                  <a:lnTo>
                    <a:pt x="25488" y="3352677"/>
                  </a:lnTo>
                  <a:lnTo>
                    <a:pt x="43500" y="3392524"/>
                  </a:lnTo>
                  <a:lnTo>
                    <a:pt x="61517" y="3432377"/>
                  </a:lnTo>
                  <a:lnTo>
                    <a:pt x="78637" y="3475666"/>
                  </a:lnTo>
                  <a:lnTo>
                    <a:pt x="73426" y="3510862"/>
                  </a:lnTo>
                  <a:lnTo>
                    <a:pt x="66080" y="3534901"/>
                  </a:lnTo>
                  <a:lnTo>
                    <a:pt x="53563" y="3557554"/>
                  </a:lnTo>
                  <a:lnTo>
                    <a:pt x="39424" y="3580235"/>
                  </a:lnTo>
                  <a:lnTo>
                    <a:pt x="27077" y="3603046"/>
                  </a:lnTo>
                  <a:lnTo>
                    <a:pt x="21842" y="3628147"/>
                  </a:lnTo>
                  <a:lnTo>
                    <a:pt x="28536" y="3656406"/>
                  </a:lnTo>
                  <a:lnTo>
                    <a:pt x="36232" y="3676012"/>
                  </a:lnTo>
                  <a:lnTo>
                    <a:pt x="58457" y="3697208"/>
                  </a:lnTo>
                  <a:lnTo>
                    <a:pt x="84249" y="3712969"/>
                  </a:lnTo>
                  <a:lnTo>
                    <a:pt x="111565" y="3727697"/>
                  </a:lnTo>
                  <a:lnTo>
                    <a:pt x="137351" y="3750257"/>
                  </a:lnTo>
                  <a:lnTo>
                    <a:pt x="160012" y="3781162"/>
                  </a:lnTo>
                  <a:lnTo>
                    <a:pt x="167272" y="3808748"/>
                  </a:lnTo>
                  <a:lnTo>
                    <a:pt x="174566" y="3836433"/>
                  </a:lnTo>
                  <a:lnTo>
                    <a:pt x="172027" y="3864428"/>
                  </a:lnTo>
                  <a:lnTo>
                    <a:pt x="165914" y="3890360"/>
                  </a:lnTo>
                  <a:lnTo>
                    <a:pt x="159793" y="3916284"/>
                  </a:lnTo>
                  <a:lnTo>
                    <a:pt x="150020" y="3940607"/>
                  </a:lnTo>
                  <a:lnTo>
                    <a:pt x="142793" y="3965173"/>
                  </a:lnTo>
                  <a:lnTo>
                    <a:pt x="135564" y="3989732"/>
                  </a:lnTo>
                  <a:lnTo>
                    <a:pt x="130665" y="4013672"/>
                  </a:lnTo>
                  <a:lnTo>
                    <a:pt x="134634" y="4037261"/>
                  </a:lnTo>
                  <a:lnTo>
                    <a:pt x="138598" y="4060844"/>
                  </a:lnTo>
                  <a:lnTo>
                    <a:pt x="152051" y="4083623"/>
                  </a:lnTo>
                  <a:lnTo>
                    <a:pt x="179519" y="4106626"/>
                  </a:lnTo>
                  <a:lnTo>
                    <a:pt x="207166" y="4128693"/>
                  </a:lnTo>
                  <a:lnTo>
                    <a:pt x="236209" y="4149856"/>
                  </a:lnTo>
                  <a:lnTo>
                    <a:pt x="265213" y="4171917"/>
                  </a:lnTo>
                  <a:lnTo>
                    <a:pt x="283409" y="4185561"/>
                  </a:lnTo>
                  <a:lnTo>
                    <a:pt x="294528" y="4213173"/>
                  </a:lnTo>
                  <a:lnTo>
                    <a:pt x="301933" y="4242646"/>
                  </a:lnTo>
                  <a:lnTo>
                    <a:pt x="309339" y="4272126"/>
                  </a:lnTo>
                  <a:lnTo>
                    <a:pt x="312637" y="4302594"/>
                  </a:lnTo>
                  <a:lnTo>
                    <a:pt x="312947" y="4336300"/>
                  </a:lnTo>
                  <a:lnTo>
                    <a:pt x="313554" y="4371353"/>
                  </a:lnTo>
                  <a:lnTo>
                    <a:pt x="312815" y="4405870"/>
                  </a:lnTo>
                  <a:lnTo>
                    <a:pt x="312089" y="4440395"/>
                  </a:lnTo>
                  <a:lnTo>
                    <a:pt x="310006" y="4475427"/>
                  </a:lnTo>
                  <a:lnTo>
                    <a:pt x="295628" y="4507814"/>
                  </a:lnTo>
                  <a:lnTo>
                    <a:pt x="278812" y="4522850"/>
                  </a:lnTo>
                  <a:lnTo>
                    <a:pt x="259127" y="4536093"/>
                  </a:lnTo>
                  <a:lnTo>
                    <a:pt x="232865" y="4557197"/>
                  </a:lnTo>
                  <a:lnTo>
                    <a:pt x="219762" y="4583919"/>
                  </a:lnTo>
                  <a:lnTo>
                    <a:pt x="199099" y="4620429"/>
                  </a:lnTo>
                  <a:lnTo>
                    <a:pt x="194266" y="4643201"/>
                  </a:lnTo>
                  <a:lnTo>
                    <a:pt x="195842" y="4664311"/>
                  </a:lnTo>
                  <a:lnTo>
                    <a:pt x="197417" y="4685422"/>
                  </a:lnTo>
                  <a:lnTo>
                    <a:pt x="205232" y="4705008"/>
                  </a:lnTo>
                  <a:lnTo>
                    <a:pt x="217605" y="4722801"/>
                  </a:lnTo>
                  <a:lnTo>
                    <a:pt x="229970" y="4740587"/>
                  </a:lnTo>
                  <a:lnTo>
                    <a:pt x="247262" y="4756244"/>
                  </a:lnTo>
                  <a:lnTo>
                    <a:pt x="265213" y="4771768"/>
                  </a:lnTo>
                  <a:lnTo>
                    <a:pt x="283158" y="4787293"/>
                  </a:lnTo>
                  <a:lnTo>
                    <a:pt x="301301" y="4802343"/>
                  </a:lnTo>
                  <a:lnTo>
                    <a:pt x="319621" y="4816654"/>
                  </a:lnTo>
                  <a:lnTo>
                    <a:pt x="338964" y="4830787"/>
                  </a:lnTo>
                  <a:lnTo>
                    <a:pt x="361815" y="4849140"/>
                  </a:lnTo>
                  <a:lnTo>
                    <a:pt x="375797" y="4870956"/>
                  </a:lnTo>
                  <a:lnTo>
                    <a:pt x="380901" y="4901681"/>
                  </a:lnTo>
                  <a:lnTo>
                    <a:pt x="376588" y="4944470"/>
                  </a:lnTo>
                  <a:lnTo>
                    <a:pt x="369999" y="4964828"/>
                  </a:lnTo>
                  <a:lnTo>
                    <a:pt x="350848" y="4994927"/>
                  </a:lnTo>
                  <a:lnTo>
                    <a:pt x="326420" y="5015247"/>
                  </a:lnTo>
                  <a:lnTo>
                    <a:pt x="300166" y="5034596"/>
                  </a:lnTo>
                  <a:lnTo>
                    <a:pt x="276498" y="5061180"/>
                  </a:lnTo>
                  <a:lnTo>
                    <a:pt x="258407" y="5102292"/>
                  </a:lnTo>
                  <a:lnTo>
                    <a:pt x="251423" y="5144250"/>
                  </a:lnTo>
                  <a:lnTo>
                    <a:pt x="248884" y="5171663"/>
                  </a:lnTo>
                  <a:lnTo>
                    <a:pt x="246352" y="5199085"/>
                  </a:lnTo>
                  <a:lnTo>
                    <a:pt x="243991" y="5228999"/>
                  </a:lnTo>
                  <a:lnTo>
                    <a:pt x="240726" y="5258717"/>
                  </a:lnTo>
                  <a:lnTo>
                    <a:pt x="237461" y="5288433"/>
                  </a:lnTo>
                  <a:lnTo>
                    <a:pt x="232891" y="5318116"/>
                  </a:lnTo>
                  <a:lnTo>
                    <a:pt x="225763" y="5341693"/>
                  </a:lnTo>
                  <a:lnTo>
                    <a:pt x="218641" y="5365264"/>
                  </a:lnTo>
                  <a:lnTo>
                    <a:pt x="194476" y="5392019"/>
                  </a:lnTo>
                  <a:lnTo>
                    <a:pt x="170464" y="5407320"/>
                  </a:lnTo>
                  <a:lnTo>
                    <a:pt x="141005" y="5419645"/>
                  </a:lnTo>
                  <a:lnTo>
                    <a:pt x="115588" y="5432823"/>
                  </a:lnTo>
                  <a:lnTo>
                    <a:pt x="90382" y="5442022"/>
                  </a:lnTo>
                  <a:lnTo>
                    <a:pt x="77502" y="5458661"/>
                  </a:lnTo>
                  <a:lnTo>
                    <a:pt x="64847" y="5475887"/>
                  </a:lnTo>
                  <a:lnTo>
                    <a:pt x="54797" y="5495850"/>
                  </a:lnTo>
                  <a:lnTo>
                    <a:pt x="46216" y="5515793"/>
                  </a:lnTo>
                  <a:lnTo>
                    <a:pt x="35334" y="5542996"/>
                  </a:lnTo>
                  <a:lnTo>
                    <a:pt x="20760" y="5579651"/>
                  </a:lnTo>
                  <a:lnTo>
                    <a:pt x="10821" y="5607251"/>
                  </a:lnTo>
                  <a:lnTo>
                    <a:pt x="5414" y="5630049"/>
                  </a:lnTo>
                  <a:lnTo>
                    <a:pt x="0" y="5652848"/>
                  </a:lnTo>
                  <a:lnTo>
                    <a:pt x="2696" y="5689898"/>
                  </a:lnTo>
                  <a:lnTo>
                    <a:pt x="14060" y="5724811"/>
                  </a:lnTo>
                  <a:lnTo>
                    <a:pt x="25819" y="5747024"/>
                  </a:lnTo>
                  <a:lnTo>
                    <a:pt x="37577" y="5769235"/>
                  </a:lnTo>
                  <a:lnTo>
                    <a:pt x="53668" y="5795878"/>
                  </a:lnTo>
                  <a:lnTo>
                    <a:pt x="73426" y="5831358"/>
                  </a:lnTo>
                  <a:lnTo>
                    <a:pt x="85133" y="5852383"/>
                  </a:lnTo>
                  <a:lnTo>
                    <a:pt x="94861" y="5874535"/>
                  </a:lnTo>
                  <a:lnTo>
                    <a:pt x="103349" y="5898007"/>
                  </a:lnTo>
                  <a:lnTo>
                    <a:pt x="111835" y="5921478"/>
                  </a:lnTo>
                  <a:lnTo>
                    <a:pt x="119070" y="5946711"/>
                  </a:lnTo>
                  <a:lnTo>
                    <a:pt x="125112" y="5971461"/>
                  </a:lnTo>
                  <a:lnTo>
                    <a:pt x="131159" y="5996205"/>
                  </a:lnTo>
                  <a:lnTo>
                    <a:pt x="135683" y="6021418"/>
                  </a:lnTo>
                  <a:lnTo>
                    <a:pt x="140075" y="6046267"/>
                  </a:lnTo>
                  <a:lnTo>
                    <a:pt x="144467" y="6071123"/>
                  </a:lnTo>
                  <a:lnTo>
                    <a:pt x="148794" y="6095933"/>
                  </a:lnTo>
                  <a:lnTo>
                    <a:pt x="152315" y="6119720"/>
                  </a:lnTo>
                  <a:lnTo>
                    <a:pt x="163441" y="6147440"/>
                  </a:lnTo>
                  <a:lnTo>
                    <a:pt x="190157" y="6170891"/>
                  </a:lnTo>
                  <a:lnTo>
                    <a:pt x="224405" y="6191810"/>
                  </a:lnTo>
                  <a:lnTo>
                    <a:pt x="258592" y="6213665"/>
                  </a:lnTo>
                  <a:lnTo>
                    <a:pt x="285434" y="6237967"/>
                  </a:lnTo>
                  <a:lnTo>
                    <a:pt x="297858" y="6267981"/>
                  </a:lnTo>
                  <a:lnTo>
                    <a:pt x="295636" y="6303897"/>
                  </a:lnTo>
                  <a:lnTo>
                    <a:pt x="286482" y="6340888"/>
                  </a:lnTo>
                  <a:lnTo>
                    <a:pt x="284252" y="6375438"/>
                  </a:lnTo>
                  <a:lnTo>
                    <a:pt x="287629" y="6402213"/>
                  </a:lnTo>
                  <a:lnTo>
                    <a:pt x="298472" y="6429280"/>
                  </a:lnTo>
                  <a:lnTo>
                    <a:pt x="308739" y="6455692"/>
                  </a:lnTo>
                  <a:lnTo>
                    <a:pt x="319008" y="6482098"/>
                  </a:lnTo>
                  <a:lnTo>
                    <a:pt x="329197" y="6509117"/>
                  </a:lnTo>
                  <a:lnTo>
                    <a:pt x="330502" y="6537304"/>
                  </a:lnTo>
                  <a:lnTo>
                    <a:pt x="331505" y="6558849"/>
                  </a:lnTo>
                  <a:lnTo>
                    <a:pt x="317452" y="6585769"/>
                  </a:lnTo>
                  <a:lnTo>
                    <a:pt x="307381" y="6613475"/>
                  </a:lnTo>
                  <a:lnTo>
                    <a:pt x="297351" y="6641042"/>
                  </a:lnTo>
                  <a:lnTo>
                    <a:pt x="295642" y="6667513"/>
                  </a:lnTo>
                  <a:lnTo>
                    <a:pt x="306015" y="6691005"/>
                  </a:lnTo>
                  <a:lnTo>
                    <a:pt x="322549" y="6714237"/>
                  </a:lnTo>
                  <a:lnTo>
                    <a:pt x="340699" y="6735480"/>
                  </a:lnTo>
                  <a:lnTo>
                    <a:pt x="356349" y="6754936"/>
                  </a:lnTo>
                  <a:lnTo>
                    <a:pt x="371991" y="6774384"/>
                  </a:lnTo>
                  <a:lnTo>
                    <a:pt x="386144" y="6792975"/>
                  </a:lnTo>
                  <a:lnTo>
                    <a:pt x="402716" y="6828429"/>
                  </a:lnTo>
                  <a:lnTo>
                    <a:pt x="399875" y="6863751"/>
                  </a:lnTo>
                  <a:lnTo>
                    <a:pt x="380815" y="6900412"/>
                  </a:lnTo>
                  <a:lnTo>
                    <a:pt x="354983" y="6920876"/>
                  </a:lnTo>
                  <a:lnTo>
                    <a:pt x="348534" y="6944789"/>
                  </a:lnTo>
                  <a:lnTo>
                    <a:pt x="353558" y="6970608"/>
                  </a:lnTo>
                  <a:lnTo>
                    <a:pt x="359059" y="6994324"/>
                  </a:lnTo>
                  <a:lnTo>
                    <a:pt x="364559" y="7018045"/>
                  </a:lnTo>
                  <a:lnTo>
                    <a:pt x="370139" y="7039887"/>
                  </a:lnTo>
                  <a:lnTo>
                    <a:pt x="350755" y="7073806"/>
                  </a:lnTo>
                  <a:lnTo>
                    <a:pt x="327859" y="7079260"/>
                  </a:lnTo>
                  <a:lnTo>
                    <a:pt x="300569" y="7089540"/>
                  </a:lnTo>
                  <a:lnTo>
                    <a:pt x="273279" y="7099822"/>
                  </a:lnTo>
                  <a:lnTo>
                    <a:pt x="241677" y="7114035"/>
                  </a:lnTo>
                  <a:lnTo>
                    <a:pt x="213516" y="7148031"/>
                  </a:lnTo>
                  <a:lnTo>
                    <a:pt x="200768" y="7173343"/>
                  </a:lnTo>
                  <a:lnTo>
                    <a:pt x="201803" y="7198892"/>
                  </a:lnTo>
                  <a:lnTo>
                    <a:pt x="205352" y="7225561"/>
                  </a:lnTo>
                  <a:lnTo>
                    <a:pt x="206611" y="7260052"/>
                  </a:lnTo>
                  <a:lnTo>
                    <a:pt x="200498" y="7291339"/>
                  </a:lnTo>
                  <a:lnTo>
                    <a:pt x="193111" y="7322137"/>
                  </a:lnTo>
                  <a:lnTo>
                    <a:pt x="185719" y="7352929"/>
                  </a:lnTo>
                  <a:lnTo>
                    <a:pt x="176532" y="7383792"/>
                  </a:lnTo>
                  <a:lnTo>
                    <a:pt x="172707" y="7417346"/>
                  </a:lnTo>
                  <a:lnTo>
                    <a:pt x="182395" y="7458315"/>
                  </a:lnTo>
                  <a:lnTo>
                    <a:pt x="203380" y="7481350"/>
                  </a:lnTo>
                  <a:lnTo>
                    <a:pt x="223033" y="7500324"/>
                  </a:lnTo>
                  <a:lnTo>
                    <a:pt x="242686" y="7519291"/>
                  </a:lnTo>
                  <a:lnTo>
                    <a:pt x="261223" y="7533932"/>
                  </a:lnTo>
                  <a:lnTo>
                    <a:pt x="269283" y="7560173"/>
                  </a:lnTo>
                  <a:lnTo>
                    <a:pt x="263841" y="7590094"/>
                  </a:lnTo>
                  <a:lnTo>
                    <a:pt x="253118" y="7608434"/>
                  </a:lnTo>
                  <a:lnTo>
                    <a:pt x="237581" y="7635908"/>
                  </a:lnTo>
                  <a:lnTo>
                    <a:pt x="228473" y="7675788"/>
                  </a:lnTo>
                  <a:lnTo>
                    <a:pt x="224899" y="7718102"/>
                  </a:lnTo>
                  <a:lnTo>
                    <a:pt x="224397" y="7741077"/>
                  </a:lnTo>
                  <a:lnTo>
                    <a:pt x="228578" y="7769627"/>
                  </a:lnTo>
                  <a:lnTo>
                    <a:pt x="244703" y="7805022"/>
                  </a:lnTo>
                  <a:lnTo>
                    <a:pt x="255769" y="7824661"/>
                  </a:lnTo>
                  <a:lnTo>
                    <a:pt x="266565" y="7845812"/>
                  </a:lnTo>
                  <a:lnTo>
                    <a:pt x="277361" y="7866961"/>
                  </a:lnTo>
                  <a:lnTo>
                    <a:pt x="288573" y="7889654"/>
                  </a:lnTo>
                  <a:lnTo>
                    <a:pt x="296486" y="7912459"/>
                  </a:lnTo>
                  <a:lnTo>
                    <a:pt x="304406" y="7935265"/>
                  </a:lnTo>
                  <a:lnTo>
                    <a:pt x="309307" y="7957807"/>
                  </a:lnTo>
                  <a:lnTo>
                    <a:pt x="308733" y="7980473"/>
                  </a:lnTo>
                  <a:lnTo>
                    <a:pt x="289951" y="8007551"/>
                  </a:lnTo>
                  <a:lnTo>
                    <a:pt x="268267" y="8027976"/>
                  </a:lnTo>
                  <a:lnTo>
                    <a:pt x="248884" y="8045762"/>
                  </a:lnTo>
                  <a:lnTo>
                    <a:pt x="229496" y="8063543"/>
                  </a:lnTo>
                  <a:lnTo>
                    <a:pt x="212843" y="8078407"/>
                  </a:lnTo>
                  <a:lnTo>
                    <a:pt x="186992" y="8111045"/>
                  </a:lnTo>
                  <a:lnTo>
                    <a:pt x="179513" y="8151855"/>
                  </a:lnTo>
                  <a:lnTo>
                    <a:pt x="180107" y="8174534"/>
                  </a:lnTo>
                  <a:lnTo>
                    <a:pt x="188264" y="8202029"/>
                  </a:lnTo>
                  <a:lnTo>
                    <a:pt x="209434" y="8238907"/>
                  </a:lnTo>
                  <a:lnTo>
                    <a:pt x="223586" y="8263064"/>
                  </a:lnTo>
                  <a:lnTo>
                    <a:pt x="236091" y="8285481"/>
                  </a:lnTo>
                  <a:lnTo>
                    <a:pt x="247520" y="8306920"/>
                  </a:lnTo>
                  <a:lnTo>
                    <a:pt x="257366" y="8330274"/>
                  </a:lnTo>
                  <a:lnTo>
                    <a:pt x="264883" y="8354292"/>
                  </a:lnTo>
                  <a:lnTo>
                    <a:pt x="269283" y="8380368"/>
                  </a:lnTo>
                  <a:lnTo>
                    <a:pt x="253705" y="8395212"/>
                  </a:lnTo>
                  <a:lnTo>
                    <a:pt x="217598" y="8391250"/>
                  </a:lnTo>
                  <a:lnTo>
                    <a:pt x="181874" y="8390352"/>
                  </a:lnTo>
                  <a:lnTo>
                    <a:pt x="164548" y="8408931"/>
                  </a:lnTo>
                  <a:lnTo>
                    <a:pt x="181345" y="8443284"/>
                  </a:lnTo>
                  <a:lnTo>
                    <a:pt x="195835" y="8463338"/>
                  </a:lnTo>
                  <a:lnTo>
                    <a:pt x="210324" y="8483393"/>
                  </a:lnTo>
                  <a:lnTo>
                    <a:pt x="222828" y="8503634"/>
                  </a:lnTo>
                  <a:lnTo>
                    <a:pt x="205358" y="8535427"/>
                  </a:lnTo>
                  <a:lnTo>
                    <a:pt x="152308" y="8553108"/>
                  </a:lnTo>
                  <a:lnTo>
                    <a:pt x="136330" y="8576831"/>
                  </a:lnTo>
                  <a:lnTo>
                    <a:pt x="144797" y="8603533"/>
                  </a:lnTo>
                  <a:lnTo>
                    <a:pt x="159820" y="8619664"/>
                  </a:lnTo>
                  <a:lnTo>
                    <a:pt x="176789" y="8636086"/>
                  </a:lnTo>
                  <a:lnTo>
                    <a:pt x="193230" y="8655804"/>
                  </a:lnTo>
                  <a:lnTo>
                    <a:pt x="203874" y="8678925"/>
                  </a:lnTo>
                  <a:lnTo>
                    <a:pt x="205358" y="8708175"/>
                  </a:lnTo>
                  <a:lnTo>
                    <a:pt x="199140" y="8733900"/>
                  </a:lnTo>
                  <a:lnTo>
                    <a:pt x="187083" y="8764060"/>
                  </a:lnTo>
                  <a:lnTo>
                    <a:pt x="174071" y="8795227"/>
                  </a:lnTo>
                  <a:lnTo>
                    <a:pt x="160606" y="8827233"/>
                  </a:lnTo>
                  <a:lnTo>
                    <a:pt x="154894" y="8855708"/>
                  </a:lnTo>
                  <a:lnTo>
                    <a:pt x="160466" y="8878197"/>
                  </a:lnTo>
                  <a:lnTo>
                    <a:pt x="246160" y="8853710"/>
                  </a:lnTo>
                  <a:lnTo>
                    <a:pt x="273365" y="8875473"/>
                  </a:lnTo>
                  <a:lnTo>
                    <a:pt x="270193" y="8911944"/>
                  </a:lnTo>
                  <a:lnTo>
                    <a:pt x="260207" y="8947821"/>
                  </a:lnTo>
                  <a:lnTo>
                    <a:pt x="251602" y="8982932"/>
                  </a:lnTo>
                  <a:lnTo>
                    <a:pt x="246048" y="9013373"/>
                  </a:lnTo>
                  <a:lnTo>
                    <a:pt x="242883" y="9045016"/>
                  </a:lnTo>
                  <a:lnTo>
                    <a:pt x="240720" y="9076783"/>
                  </a:lnTo>
                  <a:lnTo>
                    <a:pt x="238550" y="9108550"/>
                  </a:lnTo>
                  <a:lnTo>
                    <a:pt x="237587" y="9139810"/>
                  </a:lnTo>
                  <a:lnTo>
                    <a:pt x="235279" y="9170635"/>
                  </a:lnTo>
                  <a:lnTo>
                    <a:pt x="233452" y="9195022"/>
                  </a:lnTo>
                  <a:lnTo>
                    <a:pt x="244796" y="9214161"/>
                  </a:lnTo>
                  <a:lnTo>
                    <a:pt x="264970" y="9228775"/>
                  </a:lnTo>
                  <a:lnTo>
                    <a:pt x="278806" y="9245447"/>
                  </a:lnTo>
                  <a:lnTo>
                    <a:pt x="288942" y="9266400"/>
                  </a:lnTo>
                  <a:lnTo>
                    <a:pt x="303557" y="9287603"/>
                  </a:lnTo>
                  <a:lnTo>
                    <a:pt x="326434" y="9300120"/>
                  </a:lnTo>
                  <a:lnTo>
                    <a:pt x="350895" y="9310738"/>
                  </a:lnTo>
                  <a:lnTo>
                    <a:pt x="375355" y="9321356"/>
                  </a:lnTo>
                  <a:lnTo>
                    <a:pt x="400975" y="9330186"/>
                  </a:lnTo>
                  <a:lnTo>
                    <a:pt x="421625" y="9348822"/>
                  </a:lnTo>
                  <a:lnTo>
                    <a:pt x="407558" y="9383400"/>
                  </a:lnTo>
                  <a:lnTo>
                    <a:pt x="374022" y="9382827"/>
                  </a:lnTo>
                  <a:lnTo>
                    <a:pt x="338430" y="9379655"/>
                  </a:lnTo>
                  <a:lnTo>
                    <a:pt x="323011" y="9397407"/>
                  </a:lnTo>
                  <a:lnTo>
                    <a:pt x="324158" y="9428594"/>
                  </a:lnTo>
                  <a:lnTo>
                    <a:pt x="311720" y="9463231"/>
                  </a:lnTo>
                  <a:lnTo>
                    <a:pt x="293770" y="9487566"/>
                  </a:lnTo>
                  <a:lnTo>
                    <a:pt x="281747" y="9508775"/>
                  </a:lnTo>
                  <a:lnTo>
                    <a:pt x="276999" y="9534918"/>
                  </a:lnTo>
                  <a:lnTo>
                    <a:pt x="295128" y="9559656"/>
                  </a:lnTo>
                  <a:lnTo>
                    <a:pt x="323289" y="9582183"/>
                  </a:lnTo>
                  <a:lnTo>
                    <a:pt x="354020" y="9607858"/>
                  </a:lnTo>
                  <a:lnTo>
                    <a:pt x="369063" y="9622953"/>
                  </a:lnTo>
                  <a:lnTo>
                    <a:pt x="376740" y="9643984"/>
                  </a:lnTo>
                  <a:lnTo>
                    <a:pt x="372664" y="9667113"/>
                  </a:lnTo>
                  <a:lnTo>
                    <a:pt x="359065" y="9687510"/>
                  </a:lnTo>
                  <a:lnTo>
                    <a:pt x="344101" y="9707915"/>
                  </a:lnTo>
                  <a:lnTo>
                    <a:pt x="338661" y="9731038"/>
                  </a:lnTo>
                  <a:lnTo>
                    <a:pt x="340350" y="9758928"/>
                  </a:lnTo>
                  <a:lnTo>
                    <a:pt x="342407" y="9787482"/>
                  </a:lnTo>
                  <a:lnTo>
                    <a:pt x="344095" y="9816732"/>
                  </a:lnTo>
                  <a:lnTo>
                    <a:pt x="345111" y="9844747"/>
                  </a:lnTo>
                  <a:lnTo>
                    <a:pt x="343072" y="9873045"/>
                  </a:lnTo>
                  <a:lnTo>
                    <a:pt x="337289" y="9901060"/>
                  </a:lnTo>
                  <a:lnTo>
                    <a:pt x="327436" y="9926392"/>
                  </a:lnTo>
                  <a:lnTo>
                    <a:pt x="317221" y="9951907"/>
                  </a:lnTo>
                  <a:lnTo>
                    <a:pt x="311451" y="9978596"/>
                  </a:lnTo>
                  <a:lnTo>
                    <a:pt x="308403" y="10008663"/>
                  </a:lnTo>
                  <a:lnTo>
                    <a:pt x="310152" y="10031633"/>
                  </a:lnTo>
                  <a:lnTo>
                    <a:pt x="323625" y="10069738"/>
                  </a:lnTo>
                  <a:lnTo>
                    <a:pt x="350895" y="10094213"/>
                  </a:lnTo>
                  <a:lnTo>
                    <a:pt x="384838" y="10111253"/>
                  </a:lnTo>
                  <a:lnTo>
                    <a:pt x="406660" y="10114616"/>
                  </a:lnTo>
                  <a:lnTo>
                    <a:pt x="428490" y="10117980"/>
                  </a:lnTo>
                  <a:lnTo>
                    <a:pt x="452997" y="10118653"/>
                  </a:lnTo>
                  <a:lnTo>
                    <a:pt x="480115" y="10117334"/>
                  </a:lnTo>
                  <a:lnTo>
                    <a:pt x="490996" y="10151336"/>
                  </a:lnTo>
                  <a:lnTo>
                    <a:pt x="479106" y="10175284"/>
                  </a:lnTo>
                  <a:lnTo>
                    <a:pt x="470229" y="10203562"/>
                  </a:lnTo>
                  <a:lnTo>
                    <a:pt x="466509" y="10228866"/>
                  </a:lnTo>
                  <a:lnTo>
                    <a:pt x="477391" y="10251823"/>
                  </a:lnTo>
                  <a:lnTo>
                    <a:pt x="500078" y="10263728"/>
                  </a:lnTo>
                  <a:lnTo>
                    <a:pt x="522277" y="10265594"/>
                  </a:lnTo>
                  <a:lnTo>
                    <a:pt x="545404" y="10257435"/>
                  </a:lnTo>
                  <a:lnTo>
                    <a:pt x="564445" y="10235666"/>
                  </a:lnTo>
                  <a:lnTo>
                    <a:pt x="576664" y="10216495"/>
                  </a:lnTo>
                  <a:lnTo>
                    <a:pt x="601171" y="10200310"/>
                  </a:lnTo>
                  <a:lnTo>
                    <a:pt x="602279" y="10230871"/>
                  </a:lnTo>
                  <a:lnTo>
                    <a:pt x="598962" y="10265666"/>
                  </a:lnTo>
                  <a:lnTo>
                    <a:pt x="588931" y="10298245"/>
                  </a:lnTo>
                  <a:lnTo>
                    <a:pt x="577495" y="10325211"/>
                  </a:lnTo>
                  <a:lnTo>
                    <a:pt x="564992" y="10347444"/>
                  </a:lnTo>
                  <a:lnTo>
                    <a:pt x="553563" y="10370334"/>
                  </a:lnTo>
                  <a:lnTo>
                    <a:pt x="544982" y="10394985"/>
                  </a:lnTo>
                  <a:lnTo>
                    <a:pt x="548162" y="10424458"/>
                  </a:lnTo>
                  <a:lnTo>
                    <a:pt x="571243" y="10443782"/>
                  </a:lnTo>
                  <a:lnTo>
                    <a:pt x="600089" y="10460057"/>
                  </a:lnTo>
                  <a:lnTo>
                    <a:pt x="632174" y="10473761"/>
                  </a:lnTo>
                  <a:lnTo>
                    <a:pt x="662378" y="10485948"/>
                  </a:lnTo>
                  <a:lnTo>
                    <a:pt x="690393" y="10498994"/>
                  </a:lnTo>
                  <a:lnTo>
                    <a:pt x="707882" y="10523270"/>
                  </a:lnTo>
                  <a:lnTo>
                    <a:pt x="722973" y="10538406"/>
                  </a:lnTo>
                  <a:lnTo>
                    <a:pt x="741273" y="10551239"/>
                  </a:lnTo>
                  <a:lnTo>
                    <a:pt x="762291" y="10563373"/>
                  </a:lnTo>
                  <a:lnTo>
                    <a:pt x="782814" y="10571755"/>
                  </a:lnTo>
                  <a:lnTo>
                    <a:pt x="806563" y="10594765"/>
                  </a:lnTo>
                  <a:lnTo>
                    <a:pt x="790538" y="10618678"/>
                  </a:lnTo>
                  <a:lnTo>
                    <a:pt x="764395" y="10623334"/>
                  </a:lnTo>
                  <a:lnTo>
                    <a:pt x="716786" y="10635581"/>
                  </a:lnTo>
                  <a:lnTo>
                    <a:pt x="724430" y="10660431"/>
                  </a:lnTo>
                  <a:lnTo>
                    <a:pt x="738549" y="10681825"/>
                  </a:lnTo>
                  <a:lnTo>
                    <a:pt x="749272" y="10703805"/>
                  </a:lnTo>
                  <a:lnTo>
                    <a:pt x="757760" y="10727856"/>
                  </a:lnTo>
                  <a:lnTo>
                    <a:pt x="763036" y="10752555"/>
                  </a:lnTo>
                  <a:lnTo>
                    <a:pt x="766921" y="10776679"/>
                  </a:lnTo>
                  <a:lnTo>
                    <a:pt x="779728" y="10799886"/>
                  </a:lnTo>
                  <a:lnTo>
                    <a:pt x="798787" y="10817396"/>
                  </a:lnTo>
                  <a:lnTo>
                    <a:pt x="818328" y="10834794"/>
                  </a:lnTo>
                  <a:lnTo>
                    <a:pt x="835639" y="10853424"/>
                  </a:lnTo>
                  <a:lnTo>
                    <a:pt x="868838" y="10845998"/>
                  </a:lnTo>
                  <a:lnTo>
                    <a:pt x="893899" y="10835935"/>
                  </a:lnTo>
                  <a:lnTo>
                    <a:pt x="916730" y="10832808"/>
                  </a:lnTo>
                  <a:lnTo>
                    <a:pt x="941231" y="10834060"/>
                  </a:lnTo>
                  <a:lnTo>
                    <a:pt x="968408" y="10834299"/>
                  </a:lnTo>
                  <a:lnTo>
                    <a:pt x="1001066" y="10830092"/>
                  </a:lnTo>
                  <a:lnTo>
                    <a:pt x="1029629" y="10821926"/>
                  </a:lnTo>
                  <a:lnTo>
                    <a:pt x="1049651" y="10813499"/>
                  </a:lnTo>
                  <a:lnTo>
                    <a:pt x="1069456" y="10805875"/>
                  </a:lnTo>
                  <a:lnTo>
                    <a:pt x="1099640" y="10797743"/>
                  </a:lnTo>
                  <a:lnTo>
                    <a:pt x="1120764" y="10797446"/>
                  </a:lnTo>
                  <a:lnTo>
                    <a:pt x="1142454" y="10798568"/>
                  </a:lnTo>
                  <a:lnTo>
                    <a:pt x="1166724" y="10808183"/>
                  </a:lnTo>
                  <a:lnTo>
                    <a:pt x="1191495" y="10824650"/>
                  </a:lnTo>
                  <a:lnTo>
                    <a:pt x="1216264" y="10841124"/>
                  </a:lnTo>
                  <a:lnTo>
                    <a:pt x="1241537" y="10864100"/>
                  </a:lnTo>
                  <a:lnTo>
                    <a:pt x="1264941" y="10888581"/>
                  </a:lnTo>
                  <a:lnTo>
                    <a:pt x="1288346" y="10913062"/>
                  </a:lnTo>
                  <a:lnTo>
                    <a:pt x="1309918" y="10939592"/>
                  </a:lnTo>
                  <a:lnTo>
                    <a:pt x="1327514" y="10964752"/>
                  </a:lnTo>
                  <a:lnTo>
                    <a:pt x="1345102" y="10989911"/>
                  </a:lnTo>
                  <a:lnTo>
                    <a:pt x="1358260" y="11014254"/>
                  </a:lnTo>
                  <a:lnTo>
                    <a:pt x="1373236" y="11052036"/>
                  </a:lnTo>
                  <a:lnTo>
                    <a:pt x="1386004" y="11087167"/>
                  </a:lnTo>
                  <a:lnTo>
                    <a:pt x="1398818" y="11121474"/>
                  </a:lnTo>
                  <a:lnTo>
                    <a:pt x="1413993" y="11153518"/>
                  </a:lnTo>
                  <a:lnTo>
                    <a:pt x="1433605" y="11183743"/>
                  </a:lnTo>
                  <a:lnTo>
                    <a:pt x="1459643" y="11212820"/>
                  </a:lnTo>
                  <a:lnTo>
                    <a:pt x="1477133" y="11227269"/>
                  </a:lnTo>
                  <a:lnTo>
                    <a:pt x="1509190" y="11246796"/>
                  </a:lnTo>
                  <a:lnTo>
                    <a:pt x="1530183" y="11250398"/>
                  </a:lnTo>
                  <a:lnTo>
                    <a:pt x="1551173" y="11253985"/>
                  </a:lnTo>
                  <a:lnTo>
                    <a:pt x="1574598" y="11252996"/>
                  </a:lnTo>
                  <a:lnTo>
                    <a:pt x="1595472" y="11249038"/>
                  </a:lnTo>
                  <a:lnTo>
                    <a:pt x="1616345" y="11245068"/>
                  </a:lnTo>
                  <a:lnTo>
                    <a:pt x="1647161" y="11225911"/>
                  </a:lnTo>
                  <a:lnTo>
                    <a:pt x="1667323" y="11198984"/>
                  </a:lnTo>
                  <a:lnTo>
                    <a:pt x="1663478" y="11169009"/>
                  </a:lnTo>
                  <a:lnTo>
                    <a:pt x="1659403" y="11148381"/>
                  </a:lnTo>
                  <a:lnTo>
                    <a:pt x="1647161" y="11119818"/>
                  </a:lnTo>
                  <a:lnTo>
                    <a:pt x="1634922" y="11092614"/>
                  </a:lnTo>
                  <a:lnTo>
                    <a:pt x="1624833" y="11073364"/>
                  </a:lnTo>
                  <a:lnTo>
                    <a:pt x="1614128" y="11052912"/>
                  </a:lnTo>
                  <a:lnTo>
                    <a:pt x="1602277" y="11031400"/>
                  </a:lnTo>
                  <a:lnTo>
                    <a:pt x="1593889" y="11012136"/>
                  </a:lnTo>
                  <a:lnTo>
                    <a:pt x="1593796" y="10984992"/>
                  </a:lnTo>
                  <a:lnTo>
                    <a:pt x="1615111" y="10961673"/>
                  </a:lnTo>
                  <a:lnTo>
                    <a:pt x="1645144" y="10949367"/>
                  </a:lnTo>
                  <a:lnTo>
                    <a:pt x="1678448" y="10951154"/>
                  </a:lnTo>
                  <a:lnTo>
                    <a:pt x="1699275" y="10961778"/>
                  </a:lnTo>
                  <a:lnTo>
                    <a:pt x="1713968" y="10982044"/>
                  </a:lnTo>
                  <a:lnTo>
                    <a:pt x="1728767" y="11000120"/>
                  </a:lnTo>
                  <a:lnTo>
                    <a:pt x="1743580" y="11018204"/>
                  </a:lnTo>
                  <a:lnTo>
                    <a:pt x="1758307" y="11034896"/>
                  </a:lnTo>
                  <a:lnTo>
                    <a:pt x="1780459" y="11039572"/>
                  </a:lnTo>
                  <a:lnTo>
                    <a:pt x="1801219" y="11043950"/>
                  </a:lnTo>
                  <a:lnTo>
                    <a:pt x="1836224" y="11034130"/>
                  </a:lnTo>
                  <a:lnTo>
                    <a:pt x="1861141" y="11034988"/>
                  </a:lnTo>
                  <a:lnTo>
                    <a:pt x="1882046" y="11038715"/>
                  </a:lnTo>
                  <a:lnTo>
                    <a:pt x="1910834" y="11043198"/>
                  </a:lnTo>
                  <a:lnTo>
                    <a:pt x="1938294" y="11036400"/>
                  </a:lnTo>
                  <a:lnTo>
                    <a:pt x="1960004" y="11019173"/>
                  </a:lnTo>
                  <a:lnTo>
                    <a:pt x="1974566" y="11003280"/>
                  </a:lnTo>
                  <a:lnTo>
                    <a:pt x="1973545" y="10977058"/>
                  </a:lnTo>
                  <a:lnTo>
                    <a:pt x="1958646" y="10958606"/>
                  </a:lnTo>
                  <a:lnTo>
                    <a:pt x="1940965" y="10943003"/>
                  </a:lnTo>
                  <a:lnTo>
                    <a:pt x="1923278" y="10927399"/>
                  </a:lnTo>
                  <a:lnTo>
                    <a:pt x="1902247" y="10914235"/>
                  </a:lnTo>
                  <a:lnTo>
                    <a:pt x="1861939" y="10882937"/>
                  </a:lnTo>
                  <a:lnTo>
                    <a:pt x="1843354" y="10866052"/>
                  </a:lnTo>
                  <a:lnTo>
                    <a:pt x="1815497" y="10840406"/>
                  </a:lnTo>
                  <a:lnTo>
                    <a:pt x="1796780" y="10826022"/>
                  </a:lnTo>
                  <a:lnTo>
                    <a:pt x="1774654" y="10818345"/>
                  </a:lnTo>
                  <a:lnTo>
                    <a:pt x="1737302" y="10817403"/>
                  </a:lnTo>
                  <a:lnTo>
                    <a:pt x="1711192" y="10819235"/>
                  </a:lnTo>
                  <a:lnTo>
                    <a:pt x="1671642" y="10820588"/>
                  </a:lnTo>
                  <a:lnTo>
                    <a:pt x="1645797" y="10809705"/>
                  </a:lnTo>
                  <a:lnTo>
                    <a:pt x="1633558" y="10782502"/>
                  </a:lnTo>
                  <a:lnTo>
                    <a:pt x="1629553" y="10760468"/>
                  </a:lnTo>
                  <a:lnTo>
                    <a:pt x="1629415" y="10739246"/>
                  </a:lnTo>
                  <a:lnTo>
                    <a:pt x="1636413" y="10714001"/>
                  </a:lnTo>
                  <a:lnTo>
                    <a:pt x="1656717" y="10692449"/>
                  </a:lnTo>
                  <a:lnTo>
                    <a:pt x="1681093" y="10675479"/>
                  </a:lnTo>
                  <a:lnTo>
                    <a:pt x="1708192" y="10667190"/>
                  </a:lnTo>
                  <a:lnTo>
                    <a:pt x="1764063" y="10669142"/>
                  </a:lnTo>
                  <a:lnTo>
                    <a:pt x="1789316" y="10677340"/>
                  </a:lnTo>
                  <a:lnTo>
                    <a:pt x="1809028" y="10688651"/>
                  </a:lnTo>
                  <a:lnTo>
                    <a:pt x="1828739" y="10699960"/>
                  </a:lnTo>
                  <a:lnTo>
                    <a:pt x="1853913" y="10729459"/>
                  </a:lnTo>
                  <a:lnTo>
                    <a:pt x="1875174" y="10762111"/>
                  </a:lnTo>
                  <a:lnTo>
                    <a:pt x="1897940" y="10792018"/>
                  </a:lnTo>
                  <a:lnTo>
                    <a:pt x="1930084" y="10815153"/>
                  </a:lnTo>
                  <a:lnTo>
                    <a:pt x="1954571" y="10821953"/>
                  </a:lnTo>
                  <a:lnTo>
                    <a:pt x="1977692" y="10821953"/>
                  </a:lnTo>
                  <a:lnTo>
                    <a:pt x="2002172" y="10816513"/>
                  </a:lnTo>
                  <a:lnTo>
                    <a:pt x="2023942" y="10804265"/>
                  </a:lnTo>
                  <a:lnTo>
                    <a:pt x="2052755" y="10784448"/>
                  </a:lnTo>
                  <a:lnTo>
                    <a:pt x="2068450" y="10764762"/>
                  </a:lnTo>
                  <a:lnTo>
                    <a:pt x="2082801" y="10726796"/>
                  </a:lnTo>
                  <a:lnTo>
                    <a:pt x="2074267" y="10690009"/>
                  </a:lnTo>
                  <a:lnTo>
                    <a:pt x="2052867" y="10651428"/>
                  </a:lnTo>
                  <a:lnTo>
                    <a:pt x="2037541" y="10631525"/>
                  </a:lnTo>
                  <a:lnTo>
                    <a:pt x="2022214" y="10611615"/>
                  </a:lnTo>
                  <a:lnTo>
                    <a:pt x="2004764" y="10590616"/>
                  </a:lnTo>
                  <a:lnTo>
                    <a:pt x="1988573" y="10568953"/>
                  </a:lnTo>
                  <a:lnTo>
                    <a:pt x="1982618" y="10522003"/>
                  </a:lnTo>
                  <a:lnTo>
                    <a:pt x="1996739" y="10498222"/>
                  </a:lnTo>
                  <a:lnTo>
                    <a:pt x="2034831" y="10496864"/>
                  </a:lnTo>
                  <a:lnTo>
                    <a:pt x="2064784" y="10512342"/>
                  </a:lnTo>
                  <a:lnTo>
                    <a:pt x="2083863" y="10532370"/>
                  </a:lnTo>
                  <a:lnTo>
                    <a:pt x="2096038" y="10555353"/>
                  </a:lnTo>
                  <a:lnTo>
                    <a:pt x="2108205" y="10578336"/>
                  </a:lnTo>
                  <a:lnTo>
                    <a:pt x="2113429" y="10604420"/>
                  </a:lnTo>
                  <a:lnTo>
                    <a:pt x="2116435" y="10628808"/>
                  </a:lnTo>
                  <a:lnTo>
                    <a:pt x="2119449" y="10653189"/>
                  </a:lnTo>
                  <a:lnTo>
                    <a:pt x="2120768" y="10675771"/>
                  </a:lnTo>
                  <a:lnTo>
                    <a:pt x="2125721" y="10715142"/>
                  </a:lnTo>
                  <a:lnTo>
                    <a:pt x="2140922" y="10740341"/>
                  </a:lnTo>
                  <a:lnTo>
                    <a:pt x="2173904" y="10741488"/>
                  </a:lnTo>
                  <a:lnTo>
                    <a:pt x="2197711" y="10728318"/>
                  </a:lnTo>
                  <a:lnTo>
                    <a:pt x="2213012" y="10704978"/>
                  </a:lnTo>
                  <a:lnTo>
                    <a:pt x="2227276" y="10679391"/>
                  </a:lnTo>
                  <a:lnTo>
                    <a:pt x="2234149" y="10645222"/>
                  </a:lnTo>
                  <a:lnTo>
                    <a:pt x="2238857" y="10617926"/>
                  </a:lnTo>
                  <a:lnTo>
                    <a:pt x="2238263" y="10591658"/>
                  </a:lnTo>
                  <a:lnTo>
                    <a:pt x="2234820" y="10565641"/>
                  </a:lnTo>
                  <a:lnTo>
                    <a:pt x="2230732" y="10537514"/>
                  </a:lnTo>
                  <a:lnTo>
                    <a:pt x="2228748" y="10507290"/>
                  </a:lnTo>
                  <a:lnTo>
                    <a:pt x="2230144" y="10477679"/>
                  </a:lnTo>
                  <a:lnTo>
                    <a:pt x="2237728" y="10451405"/>
                  </a:lnTo>
                  <a:lnTo>
                    <a:pt x="2252845" y="10428468"/>
                  </a:lnTo>
                  <a:lnTo>
                    <a:pt x="2275537" y="10416373"/>
                  </a:lnTo>
                  <a:lnTo>
                    <a:pt x="2297314" y="10412364"/>
                  </a:lnTo>
                  <a:lnTo>
                    <a:pt x="2319117" y="10415258"/>
                  </a:lnTo>
                  <a:lnTo>
                    <a:pt x="2344579" y="10424591"/>
                  </a:lnTo>
                  <a:lnTo>
                    <a:pt x="2365090" y="10440847"/>
                  </a:lnTo>
                  <a:lnTo>
                    <a:pt x="2376881" y="10459886"/>
                  </a:lnTo>
                  <a:lnTo>
                    <a:pt x="2378966" y="10483265"/>
                  </a:lnTo>
                  <a:lnTo>
                    <a:pt x="2373083" y="10507093"/>
                  </a:lnTo>
                  <a:lnTo>
                    <a:pt x="2363718" y="10532944"/>
                  </a:lnTo>
                  <a:lnTo>
                    <a:pt x="2354486" y="10556713"/>
                  </a:lnTo>
                  <a:lnTo>
                    <a:pt x="2347804" y="10578502"/>
                  </a:lnTo>
                  <a:lnTo>
                    <a:pt x="2350404" y="10602963"/>
                  </a:lnTo>
                  <a:lnTo>
                    <a:pt x="2360625" y="10622424"/>
                  </a:lnTo>
                  <a:lnTo>
                    <a:pt x="2374488" y="10644839"/>
                  </a:lnTo>
                  <a:lnTo>
                    <a:pt x="2387130" y="10662812"/>
                  </a:lnTo>
                  <a:lnTo>
                    <a:pt x="2399607" y="10680775"/>
                  </a:lnTo>
                  <a:lnTo>
                    <a:pt x="2412732" y="10699248"/>
                  </a:lnTo>
                  <a:lnTo>
                    <a:pt x="2425209" y="10717213"/>
                  </a:lnTo>
                  <a:lnTo>
                    <a:pt x="2444255" y="10740341"/>
                  </a:lnTo>
                  <a:lnTo>
                    <a:pt x="2459219" y="10758022"/>
                  </a:lnTo>
                  <a:lnTo>
                    <a:pt x="2479849" y="10772326"/>
                  </a:lnTo>
                  <a:lnTo>
                    <a:pt x="2500021" y="10779785"/>
                  </a:lnTo>
                  <a:lnTo>
                    <a:pt x="2528591" y="10786584"/>
                  </a:lnTo>
                  <a:lnTo>
                    <a:pt x="2557154" y="10789308"/>
                  </a:lnTo>
                  <a:lnTo>
                    <a:pt x="2584357" y="10785232"/>
                  </a:lnTo>
                  <a:lnTo>
                    <a:pt x="2608838" y="10777075"/>
                  </a:lnTo>
                  <a:lnTo>
                    <a:pt x="2631966" y="10762111"/>
                  </a:lnTo>
                  <a:lnTo>
                    <a:pt x="2652364" y="10743064"/>
                  </a:lnTo>
                  <a:lnTo>
                    <a:pt x="2670045" y="10717226"/>
                  </a:lnTo>
                  <a:lnTo>
                    <a:pt x="2683796" y="10691638"/>
                  </a:lnTo>
                  <a:lnTo>
                    <a:pt x="2696649" y="10663120"/>
                  </a:lnTo>
                  <a:lnTo>
                    <a:pt x="2712213" y="10636972"/>
                  </a:lnTo>
                  <a:lnTo>
                    <a:pt x="2727776" y="10610823"/>
                  </a:lnTo>
                  <a:lnTo>
                    <a:pt x="2746071" y="10586350"/>
                  </a:lnTo>
                  <a:lnTo>
                    <a:pt x="2769344" y="10567601"/>
                  </a:lnTo>
                  <a:lnTo>
                    <a:pt x="2801555" y="10557339"/>
                  </a:lnTo>
                  <a:lnTo>
                    <a:pt x="2834633" y="10566243"/>
                  </a:lnTo>
                  <a:lnTo>
                    <a:pt x="2864389" y="10579781"/>
                  </a:lnTo>
                  <a:lnTo>
                    <a:pt x="2890400" y="10577124"/>
                  </a:lnTo>
                  <a:lnTo>
                    <a:pt x="2935629" y="10547137"/>
                  </a:lnTo>
                  <a:lnTo>
                    <a:pt x="2972428" y="10547433"/>
                  </a:lnTo>
                  <a:lnTo>
                    <a:pt x="2984781" y="10567950"/>
                  </a:lnTo>
                  <a:lnTo>
                    <a:pt x="2996499" y="10590730"/>
                  </a:lnTo>
                  <a:lnTo>
                    <a:pt x="3008212" y="10613502"/>
                  </a:lnTo>
                  <a:lnTo>
                    <a:pt x="3020471" y="10638258"/>
                  </a:lnTo>
                  <a:lnTo>
                    <a:pt x="3041385" y="10647853"/>
                  </a:lnTo>
                  <a:lnTo>
                    <a:pt x="3062732" y="10657654"/>
                  </a:lnTo>
                  <a:lnTo>
                    <a:pt x="3086460" y="10654377"/>
                  </a:lnTo>
                  <a:lnTo>
                    <a:pt x="3110750" y="10649213"/>
                  </a:lnTo>
                  <a:lnTo>
                    <a:pt x="3135044" y="10644049"/>
                  </a:lnTo>
                  <a:lnTo>
                    <a:pt x="3159261" y="10637579"/>
                  </a:lnTo>
                  <a:lnTo>
                    <a:pt x="3182844" y="10639689"/>
                  </a:lnTo>
                  <a:lnTo>
                    <a:pt x="3227795" y="10659673"/>
                  </a:lnTo>
                  <a:lnTo>
                    <a:pt x="3282521" y="10663919"/>
                  </a:lnTo>
                  <a:lnTo>
                    <a:pt x="3333420" y="10669829"/>
                  </a:lnTo>
                  <a:lnTo>
                    <a:pt x="3382789" y="10670976"/>
                  </a:lnTo>
                  <a:lnTo>
                    <a:pt x="3406406" y="10671503"/>
                  </a:lnTo>
                  <a:lnTo>
                    <a:pt x="3438562" y="10653295"/>
                  </a:lnTo>
                  <a:lnTo>
                    <a:pt x="3463365" y="10627107"/>
                  </a:lnTo>
                  <a:lnTo>
                    <a:pt x="3484482" y="10595148"/>
                  </a:lnTo>
                  <a:lnTo>
                    <a:pt x="3507935" y="10564883"/>
                  </a:lnTo>
                  <a:lnTo>
                    <a:pt x="3537381" y="10541464"/>
                  </a:lnTo>
                  <a:lnTo>
                    <a:pt x="3559618" y="10537680"/>
                  </a:lnTo>
                  <a:lnTo>
                    <a:pt x="3586663" y="10533069"/>
                  </a:lnTo>
                  <a:lnTo>
                    <a:pt x="3615384" y="10544478"/>
                  </a:lnTo>
                  <a:lnTo>
                    <a:pt x="3639297" y="10565457"/>
                  </a:lnTo>
                  <a:lnTo>
                    <a:pt x="3658911" y="10579840"/>
                  </a:lnTo>
                  <a:lnTo>
                    <a:pt x="3689544" y="10602302"/>
                  </a:lnTo>
                  <a:lnTo>
                    <a:pt x="3718700" y="10614339"/>
                  </a:lnTo>
                  <a:lnTo>
                    <a:pt x="3754129" y="10627450"/>
                  </a:lnTo>
                  <a:lnTo>
                    <a:pt x="3799356" y="10642176"/>
                  </a:lnTo>
                  <a:lnTo>
                    <a:pt x="3820776" y="10639689"/>
                  </a:lnTo>
                  <a:lnTo>
                    <a:pt x="3846971" y="10627304"/>
                  </a:lnTo>
                  <a:lnTo>
                    <a:pt x="3876193" y="10608555"/>
                  </a:lnTo>
                  <a:lnTo>
                    <a:pt x="3896948" y="10586646"/>
                  </a:lnTo>
                  <a:lnTo>
                    <a:pt x="3912980" y="10540911"/>
                  </a:lnTo>
                  <a:lnTo>
                    <a:pt x="3918235" y="10506156"/>
                  </a:lnTo>
                  <a:lnTo>
                    <a:pt x="3907830" y="10481907"/>
                  </a:lnTo>
                  <a:lnTo>
                    <a:pt x="3893610" y="10459649"/>
                  </a:lnTo>
                  <a:lnTo>
                    <a:pt x="3864916" y="10447039"/>
                  </a:lnTo>
                  <a:lnTo>
                    <a:pt x="3820776" y="10443821"/>
                  </a:lnTo>
                  <a:lnTo>
                    <a:pt x="3804236" y="10424102"/>
                  </a:lnTo>
                  <a:lnTo>
                    <a:pt x="3796508" y="10400980"/>
                  </a:lnTo>
                  <a:lnTo>
                    <a:pt x="3804447" y="10378532"/>
                  </a:lnTo>
                  <a:lnTo>
                    <a:pt x="3830168" y="10356029"/>
                  </a:lnTo>
                  <a:lnTo>
                    <a:pt x="3860340" y="10341191"/>
                  </a:lnTo>
                  <a:lnTo>
                    <a:pt x="3892865" y="10333646"/>
                  </a:lnTo>
                  <a:lnTo>
                    <a:pt x="3930389" y="10333317"/>
                  </a:lnTo>
                  <a:lnTo>
                    <a:pt x="3961426" y="10342160"/>
                  </a:lnTo>
                  <a:lnTo>
                    <a:pt x="3986718" y="10358127"/>
                  </a:lnTo>
                  <a:lnTo>
                    <a:pt x="4010842" y="10375775"/>
                  </a:lnTo>
                  <a:lnTo>
                    <a:pt x="4029776" y="10400862"/>
                  </a:lnTo>
                  <a:lnTo>
                    <a:pt x="4047925" y="10422058"/>
                  </a:lnTo>
                  <a:lnTo>
                    <a:pt x="4066074" y="10443253"/>
                  </a:lnTo>
                  <a:lnTo>
                    <a:pt x="4083788" y="10460855"/>
                  </a:lnTo>
                  <a:lnTo>
                    <a:pt x="4106414" y="10466943"/>
                  </a:lnTo>
                  <a:lnTo>
                    <a:pt x="4130111" y="10469818"/>
                  </a:lnTo>
                  <a:lnTo>
                    <a:pt x="4158890" y="10461350"/>
                  </a:lnTo>
                  <a:lnTo>
                    <a:pt x="4194826" y="10439739"/>
                  </a:lnTo>
                  <a:lnTo>
                    <a:pt x="4207937" y="10416095"/>
                  </a:lnTo>
                  <a:lnTo>
                    <a:pt x="4213602" y="10387468"/>
                  </a:lnTo>
                  <a:lnTo>
                    <a:pt x="4224754" y="10363568"/>
                  </a:lnTo>
                  <a:lnTo>
                    <a:pt x="4237079" y="10341218"/>
                  </a:lnTo>
                  <a:lnTo>
                    <a:pt x="4255948" y="10323352"/>
                  </a:lnTo>
                  <a:lnTo>
                    <a:pt x="4284602" y="10311883"/>
                  </a:lnTo>
                </a:path>
              </a:pathLst>
            </a:custGeom>
            <a:solidFill>
              <a:schemeClr val="tx2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59" name="Vinnytsia¬0" descr="Vinnytsia¬0">
              <a:extLst>
                <a:ext uri="{FF2B5EF4-FFF2-40B4-BE49-F238E27FC236}">
                  <a16:creationId xmlns:a16="http://schemas.microsoft.com/office/drawing/2014/main" id="{99473195-E558-483D-85DE-C6048C8BFC02}"/>
                </a:ext>
              </a:extLst>
            </p:cNvPr>
            <p:cNvSpPr/>
            <p:nvPr/>
          </p:nvSpPr>
          <p:spPr>
            <a:xfrm>
              <a:off x="2670090" y="2314498"/>
              <a:ext cx="929330" cy="849649"/>
            </a:xfrm>
            <a:custGeom>
              <a:avLst/>
              <a:gdLst/>
              <a:ahLst/>
              <a:cxnLst/>
              <a:rect l="0" t="0" r="0" b="0"/>
              <a:pathLst>
                <a:path w="9483300" h="9842096">
                  <a:moveTo>
                    <a:pt x="7272498" y="1213760"/>
                  </a:moveTo>
                  <a:lnTo>
                    <a:pt x="7244529" y="1209664"/>
                  </a:lnTo>
                  <a:lnTo>
                    <a:pt x="7211580" y="1208245"/>
                  </a:lnTo>
                  <a:lnTo>
                    <a:pt x="7188504" y="1209585"/>
                  </a:lnTo>
                  <a:lnTo>
                    <a:pt x="7139630" y="1239512"/>
                  </a:lnTo>
                  <a:lnTo>
                    <a:pt x="7122905" y="1271465"/>
                  </a:lnTo>
                  <a:lnTo>
                    <a:pt x="7101610" y="1303047"/>
                  </a:lnTo>
                  <a:lnTo>
                    <a:pt x="7078996" y="1333819"/>
                  </a:lnTo>
                  <a:lnTo>
                    <a:pt x="7062160" y="1349297"/>
                  </a:lnTo>
                  <a:lnTo>
                    <a:pt x="7045330" y="1364769"/>
                  </a:lnTo>
                  <a:lnTo>
                    <a:pt x="7023211" y="1379898"/>
                  </a:lnTo>
                  <a:lnTo>
                    <a:pt x="6992795" y="1394183"/>
                  </a:lnTo>
                  <a:lnTo>
                    <a:pt x="6962551" y="1403019"/>
                  </a:lnTo>
                  <a:lnTo>
                    <a:pt x="6933263" y="1398944"/>
                  </a:lnTo>
                  <a:lnTo>
                    <a:pt x="6905742" y="1387383"/>
                  </a:lnTo>
                  <a:lnTo>
                    <a:pt x="6878281" y="1375275"/>
                  </a:lnTo>
                  <a:lnTo>
                    <a:pt x="6852449" y="1360912"/>
                  </a:lnTo>
                  <a:lnTo>
                    <a:pt x="6829571" y="1364254"/>
                  </a:lnTo>
                  <a:lnTo>
                    <a:pt x="6806864" y="1367578"/>
                  </a:lnTo>
                  <a:lnTo>
                    <a:pt x="6782728" y="1374682"/>
                  </a:lnTo>
                  <a:lnTo>
                    <a:pt x="6758841" y="1383301"/>
                  </a:lnTo>
                  <a:lnTo>
                    <a:pt x="6734954" y="1391921"/>
                  </a:lnTo>
                  <a:lnTo>
                    <a:pt x="6711766" y="1401629"/>
                  </a:lnTo>
                  <a:lnTo>
                    <a:pt x="6690828" y="1410504"/>
                  </a:lnTo>
                  <a:lnTo>
                    <a:pt x="6669776" y="1435625"/>
                  </a:lnTo>
                  <a:lnTo>
                    <a:pt x="6664849" y="1462011"/>
                  </a:lnTo>
                  <a:lnTo>
                    <a:pt x="6663623" y="1489392"/>
                  </a:lnTo>
                  <a:lnTo>
                    <a:pt x="6662397" y="1516781"/>
                  </a:lnTo>
                  <a:lnTo>
                    <a:pt x="6664732" y="1544863"/>
                  </a:lnTo>
                  <a:lnTo>
                    <a:pt x="6659547" y="1573728"/>
                  </a:lnTo>
                  <a:lnTo>
                    <a:pt x="6576069" y="1556661"/>
                  </a:lnTo>
                  <a:lnTo>
                    <a:pt x="6550732" y="1554683"/>
                  </a:lnTo>
                  <a:lnTo>
                    <a:pt x="6514578" y="1551860"/>
                  </a:lnTo>
                  <a:lnTo>
                    <a:pt x="6481427" y="1561422"/>
                  </a:lnTo>
                  <a:lnTo>
                    <a:pt x="6445998" y="1564205"/>
                  </a:lnTo>
                  <a:lnTo>
                    <a:pt x="6404344" y="1567502"/>
                  </a:lnTo>
                  <a:lnTo>
                    <a:pt x="6362474" y="1566013"/>
                  </a:lnTo>
                  <a:lnTo>
                    <a:pt x="6320860" y="1569646"/>
                  </a:lnTo>
                  <a:lnTo>
                    <a:pt x="6272084" y="1573900"/>
                  </a:lnTo>
                  <a:lnTo>
                    <a:pt x="6226921" y="1584887"/>
                  </a:lnTo>
                  <a:lnTo>
                    <a:pt x="6176682" y="1583252"/>
                  </a:lnTo>
                  <a:lnTo>
                    <a:pt x="6144480" y="1582190"/>
                  </a:lnTo>
                  <a:lnTo>
                    <a:pt x="6117255" y="1569073"/>
                  </a:lnTo>
                  <a:lnTo>
                    <a:pt x="6086905" y="1562847"/>
                  </a:lnTo>
                  <a:lnTo>
                    <a:pt x="6025613" y="1550303"/>
                  </a:lnTo>
                  <a:lnTo>
                    <a:pt x="5965717" y="1541400"/>
                  </a:lnTo>
                  <a:lnTo>
                    <a:pt x="5904642" y="1526120"/>
                  </a:lnTo>
                  <a:lnTo>
                    <a:pt x="5850082" y="1550964"/>
                  </a:lnTo>
                  <a:lnTo>
                    <a:pt x="5805290" y="1560816"/>
                  </a:lnTo>
                  <a:lnTo>
                    <a:pt x="5760590" y="1557287"/>
                  </a:lnTo>
                  <a:lnTo>
                    <a:pt x="5721014" y="1542442"/>
                  </a:lnTo>
                  <a:lnTo>
                    <a:pt x="5701223" y="1535016"/>
                  </a:lnTo>
                  <a:lnTo>
                    <a:pt x="5682123" y="1524986"/>
                  </a:lnTo>
                  <a:lnTo>
                    <a:pt x="5651082" y="1500057"/>
                  </a:lnTo>
                  <a:lnTo>
                    <a:pt x="5631237" y="1467629"/>
                  </a:lnTo>
                  <a:lnTo>
                    <a:pt x="5647402" y="1437946"/>
                  </a:lnTo>
                  <a:lnTo>
                    <a:pt x="5663883" y="1420028"/>
                  </a:lnTo>
                  <a:lnTo>
                    <a:pt x="5680362" y="1402103"/>
                  </a:lnTo>
                  <a:lnTo>
                    <a:pt x="5698459" y="1383056"/>
                  </a:lnTo>
                  <a:lnTo>
                    <a:pt x="5711036" y="1345097"/>
                  </a:lnTo>
                  <a:lnTo>
                    <a:pt x="5687334" y="1319225"/>
                  </a:lnTo>
                  <a:lnTo>
                    <a:pt x="5665241" y="1286726"/>
                  </a:lnTo>
                  <a:lnTo>
                    <a:pt x="5643958" y="1252505"/>
                  </a:lnTo>
                  <a:lnTo>
                    <a:pt x="5638036" y="1232317"/>
                  </a:lnTo>
                  <a:lnTo>
                    <a:pt x="5632120" y="1212130"/>
                  </a:lnTo>
                  <a:lnTo>
                    <a:pt x="5630894" y="1190426"/>
                  </a:lnTo>
                  <a:lnTo>
                    <a:pt x="5638036" y="1165670"/>
                  </a:lnTo>
                  <a:lnTo>
                    <a:pt x="5616279" y="1144110"/>
                  </a:lnTo>
                  <a:lnTo>
                    <a:pt x="5594247" y="1137291"/>
                  </a:lnTo>
                  <a:lnTo>
                    <a:pt x="5574113" y="1128942"/>
                  </a:lnTo>
                  <a:lnTo>
                    <a:pt x="5553978" y="1120593"/>
                  </a:lnTo>
                  <a:lnTo>
                    <a:pt x="5527862" y="1096297"/>
                  </a:lnTo>
                  <a:lnTo>
                    <a:pt x="5530454" y="1049520"/>
                  </a:lnTo>
                  <a:lnTo>
                    <a:pt x="5550990" y="1017409"/>
                  </a:lnTo>
                  <a:lnTo>
                    <a:pt x="5571521" y="985299"/>
                  </a:lnTo>
                  <a:lnTo>
                    <a:pt x="5602041" y="949106"/>
                  </a:lnTo>
                  <a:lnTo>
                    <a:pt x="5632602" y="914034"/>
                  </a:lnTo>
                  <a:lnTo>
                    <a:pt x="5663157" y="878955"/>
                  </a:lnTo>
                  <a:lnTo>
                    <a:pt x="5694568" y="844227"/>
                  </a:lnTo>
                  <a:lnTo>
                    <a:pt x="5716932" y="816100"/>
                  </a:lnTo>
                  <a:lnTo>
                    <a:pt x="5739295" y="787965"/>
                  </a:lnTo>
                  <a:lnTo>
                    <a:pt x="5752266" y="766164"/>
                  </a:lnTo>
                  <a:lnTo>
                    <a:pt x="5724687" y="742125"/>
                  </a:lnTo>
                  <a:lnTo>
                    <a:pt x="5699296" y="732549"/>
                  </a:lnTo>
                  <a:lnTo>
                    <a:pt x="5674764" y="720883"/>
                  </a:lnTo>
                  <a:lnTo>
                    <a:pt x="5650231" y="709217"/>
                  </a:lnTo>
                  <a:lnTo>
                    <a:pt x="5627221" y="695334"/>
                  </a:lnTo>
                  <a:lnTo>
                    <a:pt x="5606757" y="677357"/>
                  </a:lnTo>
                  <a:lnTo>
                    <a:pt x="5567920" y="624281"/>
                  </a:lnTo>
                  <a:lnTo>
                    <a:pt x="5546908" y="582145"/>
                  </a:lnTo>
                  <a:lnTo>
                    <a:pt x="5525890" y="540004"/>
                  </a:lnTo>
                  <a:lnTo>
                    <a:pt x="5507286" y="495844"/>
                  </a:lnTo>
                  <a:lnTo>
                    <a:pt x="5495118" y="453242"/>
                  </a:lnTo>
                  <a:lnTo>
                    <a:pt x="5508374" y="428082"/>
                  </a:lnTo>
                  <a:lnTo>
                    <a:pt x="5506092" y="403958"/>
                  </a:lnTo>
                  <a:lnTo>
                    <a:pt x="5503672" y="378600"/>
                  </a:lnTo>
                  <a:lnTo>
                    <a:pt x="5481822" y="342704"/>
                  </a:lnTo>
                  <a:lnTo>
                    <a:pt x="5484335" y="319622"/>
                  </a:lnTo>
                  <a:lnTo>
                    <a:pt x="5487726" y="288554"/>
                  </a:lnTo>
                  <a:lnTo>
                    <a:pt x="5527243" y="227043"/>
                  </a:lnTo>
                  <a:lnTo>
                    <a:pt x="5508585" y="193937"/>
                  </a:lnTo>
                  <a:lnTo>
                    <a:pt x="5483967" y="179553"/>
                  </a:lnTo>
                  <a:lnTo>
                    <a:pt x="5457125" y="168645"/>
                  </a:lnTo>
                  <a:lnTo>
                    <a:pt x="5430291" y="157737"/>
                  </a:lnTo>
                  <a:lnTo>
                    <a:pt x="5401702" y="149177"/>
                  </a:lnTo>
                  <a:lnTo>
                    <a:pt x="5379596" y="145516"/>
                  </a:lnTo>
                  <a:lnTo>
                    <a:pt x="5409286" y="71792"/>
                  </a:lnTo>
                  <a:lnTo>
                    <a:pt x="5402723" y="47583"/>
                  </a:lnTo>
                  <a:lnTo>
                    <a:pt x="5367949" y="35962"/>
                  </a:lnTo>
                  <a:lnTo>
                    <a:pt x="5109000" y="0"/>
                  </a:lnTo>
                  <a:lnTo>
                    <a:pt x="5091141" y="24111"/>
                  </a:lnTo>
                  <a:lnTo>
                    <a:pt x="5086003" y="49145"/>
                  </a:lnTo>
                  <a:lnTo>
                    <a:pt x="5080352" y="73428"/>
                  </a:lnTo>
                  <a:lnTo>
                    <a:pt x="5074706" y="97710"/>
                  </a:lnTo>
                  <a:lnTo>
                    <a:pt x="5068269" y="121597"/>
                  </a:lnTo>
                  <a:lnTo>
                    <a:pt x="5051790" y="138717"/>
                  </a:lnTo>
                  <a:lnTo>
                    <a:pt x="5023953" y="167636"/>
                  </a:lnTo>
                  <a:lnTo>
                    <a:pt x="4983836" y="181221"/>
                  </a:lnTo>
                  <a:lnTo>
                    <a:pt x="4945691" y="194484"/>
                  </a:lnTo>
                  <a:lnTo>
                    <a:pt x="4907552" y="207753"/>
                  </a:lnTo>
                  <a:lnTo>
                    <a:pt x="4870765" y="221253"/>
                  </a:lnTo>
                  <a:lnTo>
                    <a:pt x="4847763" y="250257"/>
                  </a:lnTo>
                  <a:lnTo>
                    <a:pt x="4828439" y="274612"/>
                  </a:lnTo>
                  <a:lnTo>
                    <a:pt x="4810970" y="319965"/>
                  </a:lnTo>
                  <a:lnTo>
                    <a:pt x="4796072" y="348191"/>
                  </a:lnTo>
                  <a:lnTo>
                    <a:pt x="4781642" y="375560"/>
                  </a:lnTo>
                  <a:lnTo>
                    <a:pt x="4780112" y="414608"/>
                  </a:lnTo>
                  <a:lnTo>
                    <a:pt x="4762068" y="442044"/>
                  </a:lnTo>
                  <a:lnTo>
                    <a:pt x="4746385" y="465877"/>
                  </a:lnTo>
                  <a:lnTo>
                    <a:pt x="4721398" y="477036"/>
                  </a:lnTo>
                  <a:lnTo>
                    <a:pt x="4692697" y="480128"/>
                  </a:lnTo>
                  <a:lnTo>
                    <a:pt x="4663996" y="483221"/>
                  </a:lnTo>
                  <a:lnTo>
                    <a:pt x="4631595" y="478474"/>
                  </a:lnTo>
                  <a:lnTo>
                    <a:pt x="4597480" y="470607"/>
                  </a:lnTo>
                  <a:lnTo>
                    <a:pt x="4529256" y="454883"/>
                  </a:lnTo>
                  <a:lnTo>
                    <a:pt x="4456705" y="427898"/>
                  </a:lnTo>
                  <a:lnTo>
                    <a:pt x="4412492" y="427079"/>
                  </a:lnTo>
                  <a:lnTo>
                    <a:pt x="4389753" y="433285"/>
                  </a:lnTo>
                  <a:lnTo>
                    <a:pt x="4327246" y="479832"/>
                  </a:lnTo>
                  <a:lnTo>
                    <a:pt x="4285996" y="491010"/>
                  </a:lnTo>
                  <a:lnTo>
                    <a:pt x="4194867" y="515491"/>
                  </a:lnTo>
                  <a:lnTo>
                    <a:pt x="4188233" y="488888"/>
                  </a:lnTo>
                  <a:lnTo>
                    <a:pt x="4146797" y="444160"/>
                  </a:lnTo>
                  <a:lnTo>
                    <a:pt x="4126854" y="427079"/>
                  </a:lnTo>
                  <a:lnTo>
                    <a:pt x="4095983" y="400640"/>
                  </a:lnTo>
                  <a:lnTo>
                    <a:pt x="4071636" y="390122"/>
                  </a:lnTo>
                  <a:lnTo>
                    <a:pt x="4049324" y="387635"/>
                  </a:lnTo>
                  <a:lnTo>
                    <a:pt x="4027014" y="385150"/>
                  </a:lnTo>
                  <a:lnTo>
                    <a:pt x="4007123" y="391751"/>
                  </a:lnTo>
                  <a:lnTo>
                    <a:pt x="3971828" y="410723"/>
                  </a:lnTo>
                  <a:lnTo>
                    <a:pt x="3939151" y="432520"/>
                  </a:lnTo>
                  <a:lnTo>
                    <a:pt x="3904778" y="448631"/>
                  </a:lnTo>
                  <a:lnTo>
                    <a:pt x="3857367" y="442703"/>
                  </a:lnTo>
                  <a:lnTo>
                    <a:pt x="3823502" y="422330"/>
                  </a:lnTo>
                  <a:lnTo>
                    <a:pt x="3789524" y="406676"/>
                  </a:lnTo>
                  <a:lnTo>
                    <a:pt x="3755384" y="392667"/>
                  </a:lnTo>
                  <a:lnTo>
                    <a:pt x="3723015" y="385320"/>
                  </a:lnTo>
                  <a:lnTo>
                    <a:pt x="3694308" y="390353"/>
                  </a:lnTo>
                  <a:lnTo>
                    <a:pt x="3670519" y="409286"/>
                  </a:lnTo>
                  <a:lnTo>
                    <a:pt x="3658946" y="428439"/>
                  </a:lnTo>
                  <a:lnTo>
                    <a:pt x="3647372" y="447589"/>
                  </a:lnTo>
                  <a:lnTo>
                    <a:pt x="3634538" y="471245"/>
                  </a:lnTo>
                  <a:lnTo>
                    <a:pt x="3620860" y="495086"/>
                  </a:lnTo>
                  <a:lnTo>
                    <a:pt x="3607182" y="518934"/>
                  </a:lnTo>
                  <a:lnTo>
                    <a:pt x="3592001" y="542873"/>
                  </a:lnTo>
                  <a:lnTo>
                    <a:pt x="3573252" y="561741"/>
                  </a:lnTo>
                  <a:lnTo>
                    <a:pt x="3554509" y="580609"/>
                  </a:lnTo>
                  <a:lnTo>
                    <a:pt x="3532027" y="594233"/>
                  </a:lnTo>
                  <a:lnTo>
                    <a:pt x="3505245" y="598461"/>
                  </a:lnTo>
                  <a:lnTo>
                    <a:pt x="3475463" y="603163"/>
                  </a:lnTo>
                  <a:lnTo>
                    <a:pt x="3449254" y="600836"/>
                  </a:lnTo>
                  <a:lnTo>
                    <a:pt x="3423633" y="594385"/>
                  </a:lnTo>
                  <a:lnTo>
                    <a:pt x="3398012" y="587930"/>
                  </a:lnTo>
                  <a:lnTo>
                    <a:pt x="3373703" y="578195"/>
                  </a:lnTo>
                  <a:lnTo>
                    <a:pt x="3350179" y="565822"/>
                  </a:lnTo>
                  <a:lnTo>
                    <a:pt x="3303131" y="541086"/>
                  </a:lnTo>
                  <a:lnTo>
                    <a:pt x="3258417" y="509384"/>
                  </a:lnTo>
                  <a:lnTo>
                    <a:pt x="3207360" y="492376"/>
                  </a:lnTo>
                  <a:lnTo>
                    <a:pt x="3183947" y="484573"/>
                  </a:lnTo>
                  <a:lnTo>
                    <a:pt x="3162462" y="489579"/>
                  </a:lnTo>
                  <a:lnTo>
                    <a:pt x="3142071" y="499175"/>
                  </a:lnTo>
                  <a:lnTo>
                    <a:pt x="3121678" y="508770"/>
                  </a:lnTo>
                  <a:lnTo>
                    <a:pt x="3101855" y="523089"/>
                  </a:lnTo>
                  <a:lnTo>
                    <a:pt x="3082222" y="530462"/>
                  </a:lnTo>
                  <a:lnTo>
                    <a:pt x="3049979" y="542563"/>
                  </a:lnTo>
                  <a:lnTo>
                    <a:pt x="3018060" y="542892"/>
                  </a:lnTo>
                  <a:lnTo>
                    <a:pt x="2985646" y="546783"/>
                  </a:lnTo>
                  <a:lnTo>
                    <a:pt x="2931897" y="553240"/>
                  </a:lnTo>
                  <a:lnTo>
                    <a:pt x="2871264" y="565974"/>
                  </a:lnTo>
                  <a:lnTo>
                    <a:pt x="2816980" y="559024"/>
                  </a:lnTo>
                  <a:lnTo>
                    <a:pt x="2794413" y="556135"/>
                  </a:lnTo>
                  <a:lnTo>
                    <a:pt x="2771562" y="548867"/>
                  </a:lnTo>
                  <a:lnTo>
                    <a:pt x="2748974" y="546783"/>
                  </a:lnTo>
                  <a:lnTo>
                    <a:pt x="2728049" y="544852"/>
                  </a:lnTo>
                  <a:lnTo>
                    <a:pt x="2696538" y="550048"/>
                  </a:lnTo>
                  <a:lnTo>
                    <a:pt x="2664639" y="557659"/>
                  </a:lnTo>
                  <a:lnTo>
                    <a:pt x="2632745" y="565269"/>
                  </a:lnTo>
                  <a:lnTo>
                    <a:pt x="2601169" y="574371"/>
                  </a:lnTo>
                  <a:lnTo>
                    <a:pt x="2580310" y="579428"/>
                  </a:lnTo>
                  <a:lnTo>
                    <a:pt x="2540438" y="589097"/>
                  </a:lnTo>
                  <a:lnTo>
                    <a:pt x="2481669" y="613886"/>
                  </a:lnTo>
                  <a:lnTo>
                    <a:pt x="2422527" y="632471"/>
                  </a:lnTo>
                  <a:lnTo>
                    <a:pt x="2392955" y="641764"/>
                  </a:lnTo>
                  <a:lnTo>
                    <a:pt x="2362638" y="649123"/>
                  </a:lnTo>
                  <a:lnTo>
                    <a:pt x="2335473" y="652876"/>
                  </a:lnTo>
                  <a:lnTo>
                    <a:pt x="2308309" y="656628"/>
                  </a:lnTo>
                  <a:lnTo>
                    <a:pt x="2283322" y="657130"/>
                  </a:lnTo>
                  <a:lnTo>
                    <a:pt x="2263385" y="650152"/>
                  </a:lnTo>
                  <a:lnTo>
                    <a:pt x="2225807" y="635564"/>
                  </a:lnTo>
                  <a:lnTo>
                    <a:pt x="2186700" y="621213"/>
                  </a:lnTo>
                  <a:lnTo>
                    <a:pt x="2165885" y="614810"/>
                  </a:lnTo>
                  <a:lnTo>
                    <a:pt x="2110740" y="599338"/>
                  </a:lnTo>
                  <a:lnTo>
                    <a:pt x="2039073" y="606513"/>
                  </a:lnTo>
                  <a:lnTo>
                    <a:pt x="1966859" y="618866"/>
                  </a:lnTo>
                  <a:lnTo>
                    <a:pt x="1894645" y="631218"/>
                  </a:lnTo>
                  <a:lnTo>
                    <a:pt x="1822542" y="648265"/>
                  </a:lnTo>
                  <a:lnTo>
                    <a:pt x="1785953" y="655592"/>
                  </a:lnTo>
                  <a:lnTo>
                    <a:pt x="1752880" y="654571"/>
                  </a:lnTo>
                  <a:lnTo>
                    <a:pt x="1736611" y="671461"/>
                  </a:lnTo>
                  <a:lnTo>
                    <a:pt x="1728769" y="717348"/>
                  </a:lnTo>
                  <a:lnTo>
                    <a:pt x="1711346" y="743463"/>
                  </a:lnTo>
                  <a:lnTo>
                    <a:pt x="1669725" y="739243"/>
                  </a:lnTo>
                  <a:lnTo>
                    <a:pt x="1628171" y="737198"/>
                  </a:lnTo>
                  <a:lnTo>
                    <a:pt x="1586787" y="736803"/>
                  </a:lnTo>
                  <a:lnTo>
                    <a:pt x="1552574" y="740291"/>
                  </a:lnTo>
                  <a:lnTo>
                    <a:pt x="1534319" y="752161"/>
                  </a:lnTo>
                  <a:lnTo>
                    <a:pt x="1573222" y="772250"/>
                  </a:lnTo>
                  <a:lnTo>
                    <a:pt x="1598242" y="787524"/>
                  </a:lnTo>
                  <a:lnTo>
                    <a:pt x="1623264" y="802805"/>
                  </a:lnTo>
                  <a:lnTo>
                    <a:pt x="1645384" y="820267"/>
                  </a:lnTo>
                  <a:lnTo>
                    <a:pt x="1646353" y="852602"/>
                  </a:lnTo>
                  <a:lnTo>
                    <a:pt x="1623976" y="879978"/>
                  </a:lnTo>
                  <a:lnTo>
                    <a:pt x="1598242" y="904504"/>
                  </a:lnTo>
                  <a:lnTo>
                    <a:pt x="1572509" y="929024"/>
                  </a:lnTo>
                  <a:lnTo>
                    <a:pt x="1543657" y="950399"/>
                  </a:lnTo>
                  <a:lnTo>
                    <a:pt x="1504081" y="958648"/>
                  </a:lnTo>
                  <a:lnTo>
                    <a:pt x="1482819" y="952272"/>
                  </a:lnTo>
                  <a:lnTo>
                    <a:pt x="1460865" y="945306"/>
                  </a:lnTo>
                  <a:lnTo>
                    <a:pt x="1438903" y="938350"/>
                  </a:lnTo>
                  <a:lnTo>
                    <a:pt x="1416295" y="931358"/>
                  </a:lnTo>
                  <a:lnTo>
                    <a:pt x="1394216" y="931709"/>
                  </a:lnTo>
                  <a:lnTo>
                    <a:pt x="1364685" y="974450"/>
                  </a:lnTo>
                  <a:lnTo>
                    <a:pt x="1347966" y="1010597"/>
                  </a:lnTo>
                  <a:lnTo>
                    <a:pt x="1331254" y="1046743"/>
                  </a:lnTo>
                  <a:lnTo>
                    <a:pt x="1317425" y="1085495"/>
                  </a:lnTo>
                  <a:lnTo>
                    <a:pt x="1342934" y="1122571"/>
                  </a:lnTo>
                  <a:lnTo>
                    <a:pt x="1371880" y="1134456"/>
                  </a:lnTo>
                  <a:lnTo>
                    <a:pt x="1401016" y="1146616"/>
                  </a:lnTo>
                  <a:lnTo>
                    <a:pt x="1430152" y="1158785"/>
                  </a:lnTo>
                  <a:lnTo>
                    <a:pt x="1458972" y="1170945"/>
                  </a:lnTo>
                  <a:lnTo>
                    <a:pt x="1483986" y="1191508"/>
                  </a:lnTo>
                  <a:lnTo>
                    <a:pt x="1511369" y="1214009"/>
                  </a:lnTo>
                  <a:lnTo>
                    <a:pt x="1531087" y="1233379"/>
                  </a:lnTo>
                  <a:lnTo>
                    <a:pt x="1543835" y="1251357"/>
                  </a:lnTo>
                  <a:lnTo>
                    <a:pt x="1556583" y="1269328"/>
                  </a:lnTo>
                  <a:lnTo>
                    <a:pt x="1562880" y="1303041"/>
                  </a:lnTo>
                  <a:lnTo>
                    <a:pt x="1564972" y="1338231"/>
                  </a:lnTo>
                  <a:lnTo>
                    <a:pt x="1547825" y="1376461"/>
                  </a:lnTo>
                  <a:lnTo>
                    <a:pt x="1520714" y="1434979"/>
                  </a:lnTo>
                  <a:lnTo>
                    <a:pt x="1492006" y="1496958"/>
                  </a:lnTo>
                  <a:lnTo>
                    <a:pt x="1464393" y="1556912"/>
                  </a:lnTo>
                  <a:lnTo>
                    <a:pt x="1426861" y="1614524"/>
                  </a:lnTo>
                  <a:lnTo>
                    <a:pt x="1381336" y="1659311"/>
                  </a:lnTo>
                  <a:lnTo>
                    <a:pt x="1386052" y="1694778"/>
                  </a:lnTo>
                  <a:lnTo>
                    <a:pt x="1416382" y="1720702"/>
                  </a:lnTo>
                  <a:lnTo>
                    <a:pt x="1445504" y="1750473"/>
                  </a:lnTo>
                  <a:lnTo>
                    <a:pt x="1458635" y="1766952"/>
                  </a:lnTo>
                  <a:lnTo>
                    <a:pt x="1473402" y="1794777"/>
                  </a:lnTo>
                  <a:lnTo>
                    <a:pt x="1467664" y="1829440"/>
                  </a:lnTo>
                  <a:lnTo>
                    <a:pt x="1451447" y="1864934"/>
                  </a:lnTo>
                  <a:lnTo>
                    <a:pt x="1426755" y="1891879"/>
                  </a:lnTo>
                  <a:lnTo>
                    <a:pt x="1395574" y="1900170"/>
                  </a:lnTo>
                  <a:lnTo>
                    <a:pt x="1362534" y="1889374"/>
                  </a:lnTo>
                  <a:lnTo>
                    <a:pt x="1345249" y="1864802"/>
                  </a:lnTo>
                  <a:lnTo>
                    <a:pt x="1311820" y="1861787"/>
                  </a:lnTo>
                  <a:lnTo>
                    <a:pt x="1279386" y="1865250"/>
                  </a:lnTo>
                  <a:lnTo>
                    <a:pt x="1258197" y="1885205"/>
                  </a:lnTo>
                  <a:lnTo>
                    <a:pt x="1243470" y="1912990"/>
                  </a:lnTo>
                  <a:lnTo>
                    <a:pt x="1230518" y="1964305"/>
                  </a:lnTo>
                  <a:lnTo>
                    <a:pt x="1227932" y="2004271"/>
                  </a:lnTo>
                  <a:lnTo>
                    <a:pt x="1220111" y="2030749"/>
                  </a:lnTo>
                  <a:lnTo>
                    <a:pt x="1260254" y="2073747"/>
                  </a:lnTo>
                  <a:lnTo>
                    <a:pt x="1297641" y="2102837"/>
                  </a:lnTo>
                  <a:lnTo>
                    <a:pt x="1335028" y="2131928"/>
                  </a:lnTo>
                  <a:lnTo>
                    <a:pt x="1375394" y="2160055"/>
                  </a:lnTo>
                  <a:lnTo>
                    <a:pt x="1387417" y="2187173"/>
                  </a:lnTo>
                  <a:lnTo>
                    <a:pt x="1377360" y="2207935"/>
                  </a:lnTo>
                  <a:lnTo>
                    <a:pt x="1332053" y="2219542"/>
                  </a:lnTo>
                  <a:lnTo>
                    <a:pt x="1313964" y="2233417"/>
                  </a:lnTo>
                  <a:lnTo>
                    <a:pt x="1292853" y="2255787"/>
                  </a:lnTo>
                  <a:lnTo>
                    <a:pt x="1283389" y="2281784"/>
                  </a:lnTo>
                  <a:lnTo>
                    <a:pt x="1284041" y="2309587"/>
                  </a:lnTo>
                  <a:lnTo>
                    <a:pt x="1292846" y="2335473"/>
                  </a:lnTo>
                  <a:lnTo>
                    <a:pt x="1310614" y="2357157"/>
                  </a:lnTo>
                  <a:lnTo>
                    <a:pt x="1337091" y="2370802"/>
                  </a:lnTo>
                  <a:lnTo>
                    <a:pt x="1377301" y="2385753"/>
                  </a:lnTo>
                  <a:lnTo>
                    <a:pt x="1422120" y="2386319"/>
                  </a:lnTo>
                  <a:lnTo>
                    <a:pt x="1467671" y="2383042"/>
                  </a:lnTo>
                  <a:lnTo>
                    <a:pt x="1513227" y="2379764"/>
                  </a:lnTo>
                  <a:lnTo>
                    <a:pt x="1560006" y="2373591"/>
                  </a:lnTo>
                  <a:lnTo>
                    <a:pt x="1602332" y="2377602"/>
                  </a:lnTo>
                  <a:lnTo>
                    <a:pt x="1634488" y="2420376"/>
                  </a:lnTo>
                  <a:lnTo>
                    <a:pt x="1649940" y="2463296"/>
                  </a:lnTo>
                  <a:lnTo>
                    <a:pt x="1665392" y="2506208"/>
                  </a:lnTo>
                  <a:lnTo>
                    <a:pt x="1676484" y="2550974"/>
                  </a:lnTo>
                  <a:lnTo>
                    <a:pt x="1649261" y="2567415"/>
                  </a:lnTo>
                  <a:lnTo>
                    <a:pt x="1595731" y="2578621"/>
                  </a:lnTo>
                  <a:lnTo>
                    <a:pt x="1556082" y="2599315"/>
                  </a:lnTo>
                  <a:lnTo>
                    <a:pt x="1536263" y="2609662"/>
                  </a:lnTo>
                  <a:lnTo>
                    <a:pt x="1512555" y="2637401"/>
                  </a:lnTo>
                  <a:lnTo>
                    <a:pt x="1506310" y="2672630"/>
                  </a:lnTo>
                  <a:lnTo>
                    <a:pt x="1522078" y="2694527"/>
                  </a:lnTo>
                  <a:lnTo>
                    <a:pt x="1535077" y="2712577"/>
                  </a:lnTo>
                  <a:lnTo>
                    <a:pt x="1557447" y="2746216"/>
                  </a:lnTo>
                  <a:lnTo>
                    <a:pt x="1560191" y="2780531"/>
                  </a:lnTo>
                  <a:lnTo>
                    <a:pt x="1560138" y="2820713"/>
                  </a:lnTo>
                  <a:lnTo>
                    <a:pt x="1572404" y="2849592"/>
                  </a:lnTo>
                  <a:lnTo>
                    <a:pt x="1599608" y="2867273"/>
                  </a:lnTo>
                  <a:lnTo>
                    <a:pt x="1635121" y="2870214"/>
                  </a:lnTo>
                  <a:lnTo>
                    <a:pt x="1671940" y="2878999"/>
                  </a:lnTo>
                  <a:lnTo>
                    <a:pt x="1690742" y="2901277"/>
                  </a:lnTo>
                  <a:lnTo>
                    <a:pt x="1698723" y="2927564"/>
                  </a:lnTo>
                  <a:lnTo>
                    <a:pt x="1695188" y="2975212"/>
                  </a:lnTo>
                  <a:lnTo>
                    <a:pt x="1682856" y="3011496"/>
                  </a:lnTo>
                  <a:lnTo>
                    <a:pt x="1686660" y="3040020"/>
                  </a:lnTo>
                  <a:lnTo>
                    <a:pt x="1689952" y="3064671"/>
                  </a:lnTo>
                  <a:lnTo>
                    <a:pt x="1729000" y="3110131"/>
                  </a:lnTo>
                  <a:lnTo>
                    <a:pt x="1742427" y="3127072"/>
                  </a:lnTo>
                  <a:lnTo>
                    <a:pt x="1776424" y="3169346"/>
                  </a:lnTo>
                  <a:lnTo>
                    <a:pt x="1784754" y="3191623"/>
                  </a:lnTo>
                  <a:lnTo>
                    <a:pt x="1784397" y="3225739"/>
                  </a:lnTo>
                  <a:lnTo>
                    <a:pt x="1765549" y="3249487"/>
                  </a:lnTo>
                  <a:lnTo>
                    <a:pt x="1740113" y="3271481"/>
                  </a:lnTo>
                  <a:lnTo>
                    <a:pt x="1714821" y="3300947"/>
                  </a:lnTo>
                  <a:lnTo>
                    <a:pt x="1703504" y="3319313"/>
                  </a:lnTo>
                  <a:lnTo>
                    <a:pt x="1698901" y="3346062"/>
                  </a:lnTo>
                  <a:lnTo>
                    <a:pt x="1694305" y="3373629"/>
                  </a:lnTo>
                  <a:lnTo>
                    <a:pt x="1703445" y="3418205"/>
                  </a:lnTo>
                  <a:lnTo>
                    <a:pt x="1718165" y="3442441"/>
                  </a:lnTo>
                  <a:lnTo>
                    <a:pt x="1734270" y="3464402"/>
                  </a:lnTo>
                  <a:lnTo>
                    <a:pt x="1750380" y="3486356"/>
                  </a:lnTo>
                  <a:lnTo>
                    <a:pt x="1767555" y="3506438"/>
                  </a:lnTo>
                  <a:lnTo>
                    <a:pt x="1780520" y="3536491"/>
                  </a:lnTo>
                  <a:lnTo>
                    <a:pt x="1791935" y="3562956"/>
                  </a:lnTo>
                  <a:lnTo>
                    <a:pt x="1792818" y="3590529"/>
                  </a:lnTo>
                  <a:lnTo>
                    <a:pt x="1791401" y="3618103"/>
                  </a:lnTo>
                  <a:lnTo>
                    <a:pt x="1789983" y="3645676"/>
                  </a:lnTo>
                  <a:lnTo>
                    <a:pt x="1786805" y="3672946"/>
                  </a:lnTo>
                  <a:lnTo>
                    <a:pt x="1792759" y="3699715"/>
                  </a:lnTo>
                  <a:lnTo>
                    <a:pt x="1806865" y="3738782"/>
                  </a:lnTo>
                  <a:lnTo>
                    <a:pt x="1814522" y="3763646"/>
                  </a:lnTo>
                  <a:lnTo>
                    <a:pt x="1822179" y="3788508"/>
                  </a:lnTo>
                  <a:lnTo>
                    <a:pt x="1826954" y="3812368"/>
                  </a:lnTo>
                  <a:lnTo>
                    <a:pt x="1811093" y="3834950"/>
                  </a:lnTo>
                  <a:lnTo>
                    <a:pt x="1789053" y="3854958"/>
                  </a:lnTo>
                  <a:lnTo>
                    <a:pt x="1712902" y="3853957"/>
                  </a:lnTo>
                  <a:lnTo>
                    <a:pt x="1682506" y="3850969"/>
                  </a:lnTo>
                  <a:lnTo>
                    <a:pt x="1654010" y="3854774"/>
                  </a:lnTo>
                  <a:lnTo>
                    <a:pt x="1625520" y="3858580"/>
                  </a:lnTo>
                  <a:lnTo>
                    <a:pt x="1599331" y="3869171"/>
                  </a:lnTo>
                  <a:lnTo>
                    <a:pt x="1543835" y="3894224"/>
                  </a:lnTo>
                  <a:lnTo>
                    <a:pt x="1523436" y="3909181"/>
                  </a:lnTo>
                  <a:lnTo>
                    <a:pt x="1507056" y="3924714"/>
                  </a:lnTo>
                  <a:lnTo>
                    <a:pt x="1486511" y="3958710"/>
                  </a:lnTo>
                  <a:lnTo>
                    <a:pt x="1471430" y="3988710"/>
                  </a:lnTo>
                  <a:lnTo>
                    <a:pt x="1451341" y="4008481"/>
                  </a:lnTo>
                  <a:lnTo>
                    <a:pt x="1430099" y="4025272"/>
                  </a:lnTo>
                  <a:lnTo>
                    <a:pt x="1401859" y="4032493"/>
                  </a:lnTo>
                  <a:lnTo>
                    <a:pt x="1364289" y="4027521"/>
                  </a:lnTo>
                  <a:lnTo>
                    <a:pt x="1339361" y="4021723"/>
                  </a:lnTo>
                  <a:lnTo>
                    <a:pt x="1301340" y="4006140"/>
                  </a:lnTo>
                  <a:lnTo>
                    <a:pt x="1279960" y="3992159"/>
                  </a:lnTo>
                  <a:lnTo>
                    <a:pt x="1256324" y="3976707"/>
                  </a:lnTo>
                  <a:lnTo>
                    <a:pt x="1236665" y="3951073"/>
                  </a:lnTo>
                  <a:lnTo>
                    <a:pt x="1213305" y="3935034"/>
                  </a:lnTo>
                  <a:lnTo>
                    <a:pt x="1195710" y="3922926"/>
                  </a:lnTo>
                  <a:lnTo>
                    <a:pt x="1173980" y="3920735"/>
                  </a:lnTo>
                  <a:lnTo>
                    <a:pt x="1152098" y="3918705"/>
                  </a:lnTo>
                  <a:lnTo>
                    <a:pt x="1130223" y="3916674"/>
                  </a:lnTo>
                  <a:lnTo>
                    <a:pt x="1108999" y="3915454"/>
                  </a:lnTo>
                  <a:lnTo>
                    <a:pt x="1089532" y="3906465"/>
                  </a:lnTo>
                  <a:lnTo>
                    <a:pt x="1051552" y="3888954"/>
                  </a:lnTo>
                  <a:lnTo>
                    <a:pt x="1019414" y="3845153"/>
                  </a:lnTo>
                  <a:lnTo>
                    <a:pt x="983433" y="3833017"/>
                  </a:lnTo>
                  <a:lnTo>
                    <a:pt x="935824" y="3816081"/>
                  </a:lnTo>
                  <a:lnTo>
                    <a:pt x="901821" y="3807172"/>
                  </a:lnTo>
                  <a:lnTo>
                    <a:pt x="867817" y="3798256"/>
                  </a:lnTo>
                  <a:lnTo>
                    <a:pt x="835074" y="3792174"/>
                  </a:lnTo>
                  <a:lnTo>
                    <a:pt x="800603" y="3831698"/>
                  </a:lnTo>
                  <a:lnTo>
                    <a:pt x="789537" y="3870278"/>
                  </a:lnTo>
                  <a:lnTo>
                    <a:pt x="776683" y="3906465"/>
                  </a:lnTo>
                  <a:lnTo>
                    <a:pt x="763836" y="3942650"/>
                  </a:lnTo>
                  <a:lnTo>
                    <a:pt x="748252" y="3976503"/>
                  </a:lnTo>
                  <a:lnTo>
                    <a:pt x="716834" y="4000317"/>
                  </a:lnTo>
                  <a:lnTo>
                    <a:pt x="691022" y="4002605"/>
                  </a:lnTo>
                  <a:lnTo>
                    <a:pt x="665763" y="3997244"/>
                  </a:lnTo>
                  <a:lnTo>
                    <a:pt x="640664" y="3990801"/>
                  </a:lnTo>
                  <a:lnTo>
                    <a:pt x="615569" y="3984364"/>
                  </a:lnTo>
                  <a:lnTo>
                    <a:pt x="591498" y="3977182"/>
                  </a:lnTo>
                  <a:lnTo>
                    <a:pt x="565850" y="3975836"/>
                  </a:lnTo>
                  <a:lnTo>
                    <a:pt x="524559" y="3973667"/>
                  </a:lnTo>
                  <a:lnTo>
                    <a:pt x="480842" y="3976713"/>
                  </a:lnTo>
                  <a:lnTo>
                    <a:pt x="439354" y="3977196"/>
                  </a:lnTo>
                  <a:lnTo>
                    <a:pt x="421845" y="3989989"/>
                  </a:lnTo>
                  <a:lnTo>
                    <a:pt x="403055" y="4032625"/>
                  </a:lnTo>
                  <a:lnTo>
                    <a:pt x="412901" y="4088793"/>
                  </a:lnTo>
                  <a:lnTo>
                    <a:pt x="395827" y="4110491"/>
                  </a:lnTo>
                  <a:lnTo>
                    <a:pt x="380297" y="4130282"/>
                  </a:lnTo>
                  <a:lnTo>
                    <a:pt x="352301" y="4166265"/>
                  </a:lnTo>
                  <a:lnTo>
                    <a:pt x="344717" y="4186412"/>
                  </a:lnTo>
                  <a:lnTo>
                    <a:pt x="358189" y="4224920"/>
                  </a:lnTo>
                  <a:lnTo>
                    <a:pt x="363189" y="4262834"/>
                  </a:lnTo>
                  <a:lnTo>
                    <a:pt x="314538" y="4274064"/>
                  </a:lnTo>
                  <a:lnTo>
                    <a:pt x="291297" y="4278608"/>
                  </a:lnTo>
                  <a:lnTo>
                    <a:pt x="260975" y="4296038"/>
                  </a:lnTo>
                  <a:lnTo>
                    <a:pt x="248933" y="4324047"/>
                  </a:lnTo>
                  <a:lnTo>
                    <a:pt x="239277" y="4354866"/>
                  </a:lnTo>
                  <a:lnTo>
                    <a:pt x="240556" y="4396223"/>
                  </a:lnTo>
                  <a:lnTo>
                    <a:pt x="214928" y="4435580"/>
                  </a:lnTo>
                  <a:lnTo>
                    <a:pt x="193713" y="4468159"/>
                  </a:lnTo>
                  <a:lnTo>
                    <a:pt x="147021" y="4483591"/>
                  </a:lnTo>
                  <a:lnTo>
                    <a:pt x="115637" y="4526716"/>
                  </a:lnTo>
                  <a:lnTo>
                    <a:pt x="82180" y="4539978"/>
                  </a:lnTo>
                  <a:lnTo>
                    <a:pt x="83043" y="4584045"/>
                  </a:lnTo>
                  <a:lnTo>
                    <a:pt x="78137" y="4607570"/>
                  </a:lnTo>
                  <a:lnTo>
                    <a:pt x="68027" y="4628733"/>
                  </a:lnTo>
                  <a:lnTo>
                    <a:pt x="57904" y="4649888"/>
                  </a:lnTo>
                  <a:lnTo>
                    <a:pt x="42057" y="4668921"/>
                  </a:lnTo>
                  <a:lnTo>
                    <a:pt x="24501" y="4691298"/>
                  </a:lnTo>
                  <a:lnTo>
                    <a:pt x="20426" y="4739586"/>
                  </a:lnTo>
                  <a:lnTo>
                    <a:pt x="34848" y="4757629"/>
                  </a:lnTo>
                  <a:lnTo>
                    <a:pt x="65865" y="4791369"/>
                  </a:lnTo>
                  <a:lnTo>
                    <a:pt x="87066" y="4827317"/>
                  </a:lnTo>
                  <a:lnTo>
                    <a:pt x="104675" y="4864593"/>
                  </a:lnTo>
                  <a:lnTo>
                    <a:pt x="107544" y="4896143"/>
                  </a:lnTo>
                  <a:lnTo>
                    <a:pt x="87066" y="4915729"/>
                  </a:lnTo>
                  <a:lnTo>
                    <a:pt x="21771" y="4945656"/>
                  </a:lnTo>
                  <a:lnTo>
                    <a:pt x="7558" y="4964867"/>
                  </a:lnTo>
                  <a:lnTo>
                    <a:pt x="628" y="4997169"/>
                  </a:lnTo>
                  <a:lnTo>
                    <a:pt x="4090" y="5021828"/>
                  </a:lnTo>
                  <a:lnTo>
                    <a:pt x="22047" y="5056319"/>
                  </a:lnTo>
                  <a:lnTo>
                    <a:pt x="43581" y="5092242"/>
                  </a:lnTo>
                  <a:lnTo>
                    <a:pt x="58498" y="5127919"/>
                  </a:lnTo>
                  <a:lnTo>
                    <a:pt x="111995" y="5315928"/>
                  </a:lnTo>
                  <a:lnTo>
                    <a:pt x="107023" y="5348830"/>
                  </a:lnTo>
                  <a:lnTo>
                    <a:pt x="97737" y="5369504"/>
                  </a:lnTo>
                  <a:lnTo>
                    <a:pt x="93866" y="5390443"/>
                  </a:lnTo>
                  <a:lnTo>
                    <a:pt x="85820" y="5434147"/>
                  </a:lnTo>
                  <a:lnTo>
                    <a:pt x="89012" y="5482713"/>
                  </a:lnTo>
                  <a:lnTo>
                    <a:pt x="96584" y="5530538"/>
                  </a:lnTo>
                  <a:lnTo>
                    <a:pt x="104154" y="5578372"/>
                  </a:lnTo>
                  <a:lnTo>
                    <a:pt x="116038" y="5625524"/>
                  </a:lnTo>
                  <a:lnTo>
                    <a:pt x="127862" y="5667923"/>
                  </a:lnTo>
                  <a:lnTo>
                    <a:pt x="135712" y="5696038"/>
                  </a:lnTo>
                  <a:lnTo>
                    <a:pt x="147319" y="5726321"/>
                  </a:lnTo>
                  <a:lnTo>
                    <a:pt x="157791" y="5753611"/>
                  </a:lnTo>
                  <a:lnTo>
                    <a:pt x="166721" y="5773191"/>
                  </a:lnTo>
                  <a:lnTo>
                    <a:pt x="178790" y="5791162"/>
                  </a:lnTo>
                  <a:lnTo>
                    <a:pt x="190435" y="5809385"/>
                  </a:lnTo>
                  <a:lnTo>
                    <a:pt x="204035" y="5836589"/>
                  </a:lnTo>
                  <a:lnTo>
                    <a:pt x="205393" y="5867868"/>
                  </a:lnTo>
                  <a:lnTo>
                    <a:pt x="184481" y="5882430"/>
                  </a:lnTo>
                  <a:lnTo>
                    <a:pt x="160126" y="5877985"/>
                  </a:lnTo>
                  <a:lnTo>
                    <a:pt x="110327" y="5859710"/>
                  </a:lnTo>
                  <a:lnTo>
                    <a:pt x="85702" y="5882839"/>
                  </a:lnTo>
                  <a:lnTo>
                    <a:pt x="96926" y="5974309"/>
                  </a:lnTo>
                  <a:lnTo>
                    <a:pt x="100659" y="6001171"/>
                  </a:lnTo>
                  <a:lnTo>
                    <a:pt x="111494" y="6023936"/>
                  </a:lnTo>
                  <a:lnTo>
                    <a:pt x="118063" y="6050712"/>
                  </a:lnTo>
                  <a:lnTo>
                    <a:pt x="107459" y="6074624"/>
                  </a:lnTo>
                  <a:lnTo>
                    <a:pt x="98602" y="6102218"/>
                  </a:lnTo>
                  <a:lnTo>
                    <a:pt x="96128" y="6131473"/>
                  </a:lnTo>
                  <a:lnTo>
                    <a:pt x="96578" y="6161678"/>
                  </a:lnTo>
                  <a:lnTo>
                    <a:pt x="97038" y="6191882"/>
                  </a:lnTo>
                  <a:lnTo>
                    <a:pt x="100013" y="6221843"/>
                  </a:lnTo>
                  <a:lnTo>
                    <a:pt x="99294" y="6250089"/>
                  </a:lnTo>
                  <a:lnTo>
                    <a:pt x="98509" y="6280788"/>
                  </a:lnTo>
                  <a:lnTo>
                    <a:pt x="92812" y="6311554"/>
                  </a:lnTo>
                  <a:lnTo>
                    <a:pt x="84330" y="6341223"/>
                  </a:lnTo>
                  <a:lnTo>
                    <a:pt x="75849" y="6370888"/>
                  </a:lnTo>
                  <a:lnTo>
                    <a:pt x="64552" y="6400294"/>
                  </a:lnTo>
                  <a:lnTo>
                    <a:pt x="53050" y="6429635"/>
                  </a:lnTo>
                  <a:lnTo>
                    <a:pt x="41542" y="6458976"/>
                  </a:lnTo>
                  <a:lnTo>
                    <a:pt x="28899" y="6488329"/>
                  </a:lnTo>
                  <a:lnTo>
                    <a:pt x="19047" y="6518047"/>
                  </a:lnTo>
                  <a:lnTo>
                    <a:pt x="10440" y="6547848"/>
                  </a:lnTo>
                  <a:lnTo>
                    <a:pt x="4453" y="6572685"/>
                  </a:lnTo>
                  <a:lnTo>
                    <a:pt x="0" y="6607823"/>
                  </a:lnTo>
                  <a:lnTo>
                    <a:pt x="36062" y="6611120"/>
                  </a:lnTo>
                  <a:lnTo>
                    <a:pt x="73198" y="6626466"/>
                  </a:lnTo>
                  <a:lnTo>
                    <a:pt x="91941" y="6638787"/>
                  </a:lnTo>
                  <a:lnTo>
                    <a:pt x="110175" y="6651349"/>
                  </a:lnTo>
                  <a:lnTo>
                    <a:pt x="146652" y="6676470"/>
                  </a:lnTo>
                  <a:lnTo>
                    <a:pt x="180814" y="6706245"/>
                  </a:lnTo>
                  <a:lnTo>
                    <a:pt x="206751" y="6726161"/>
                  </a:lnTo>
                  <a:lnTo>
                    <a:pt x="235169" y="6746086"/>
                  </a:lnTo>
                  <a:lnTo>
                    <a:pt x="262670" y="6766073"/>
                  </a:lnTo>
                  <a:lnTo>
                    <a:pt x="285647" y="6794168"/>
                  </a:lnTo>
                  <a:lnTo>
                    <a:pt x="300808" y="6817706"/>
                  </a:lnTo>
                  <a:lnTo>
                    <a:pt x="312197" y="6846921"/>
                  </a:lnTo>
                  <a:lnTo>
                    <a:pt x="321007" y="6877140"/>
                  </a:lnTo>
                  <a:lnTo>
                    <a:pt x="329825" y="6907356"/>
                  </a:lnTo>
                  <a:lnTo>
                    <a:pt x="336163" y="6937753"/>
                  </a:lnTo>
                  <a:lnTo>
                    <a:pt x="344130" y="6964192"/>
                  </a:lnTo>
                  <a:lnTo>
                    <a:pt x="357352" y="7005555"/>
                  </a:lnTo>
                  <a:lnTo>
                    <a:pt x="363175" y="7026765"/>
                  </a:lnTo>
                  <a:lnTo>
                    <a:pt x="369000" y="7047973"/>
                  </a:lnTo>
                  <a:lnTo>
                    <a:pt x="372996" y="7069948"/>
                  </a:lnTo>
                  <a:lnTo>
                    <a:pt x="376774" y="7090695"/>
                  </a:lnTo>
                  <a:lnTo>
                    <a:pt x="382222" y="7120563"/>
                  </a:lnTo>
                  <a:lnTo>
                    <a:pt x="393136" y="7189796"/>
                  </a:lnTo>
                  <a:lnTo>
                    <a:pt x="406703" y="7257994"/>
                  </a:lnTo>
                  <a:lnTo>
                    <a:pt x="420268" y="7326199"/>
                  </a:lnTo>
                  <a:lnTo>
                    <a:pt x="436498" y="7392748"/>
                  </a:lnTo>
                  <a:lnTo>
                    <a:pt x="455669" y="7417136"/>
                  </a:lnTo>
                  <a:lnTo>
                    <a:pt x="485802" y="7440654"/>
                  </a:lnTo>
                  <a:lnTo>
                    <a:pt x="505994" y="7447064"/>
                  </a:lnTo>
                  <a:lnTo>
                    <a:pt x="577299" y="7447954"/>
                  </a:lnTo>
                  <a:lnTo>
                    <a:pt x="674593" y="7425492"/>
                  </a:lnTo>
                  <a:lnTo>
                    <a:pt x="720904" y="7395373"/>
                  </a:lnTo>
                  <a:lnTo>
                    <a:pt x="749215" y="7376966"/>
                  </a:lnTo>
                  <a:lnTo>
                    <a:pt x="767575" y="7342007"/>
                  </a:lnTo>
                  <a:lnTo>
                    <a:pt x="805238" y="7338248"/>
                  </a:lnTo>
                  <a:lnTo>
                    <a:pt x="867996" y="7372779"/>
                  </a:lnTo>
                  <a:lnTo>
                    <a:pt x="794614" y="7462555"/>
                  </a:lnTo>
                  <a:lnTo>
                    <a:pt x="832443" y="7508272"/>
                  </a:lnTo>
                  <a:lnTo>
                    <a:pt x="897369" y="7536194"/>
                  </a:lnTo>
                  <a:lnTo>
                    <a:pt x="1009925" y="7588011"/>
                  </a:lnTo>
                  <a:lnTo>
                    <a:pt x="1058240" y="7591242"/>
                  </a:lnTo>
                  <a:lnTo>
                    <a:pt x="1229192" y="7555537"/>
                  </a:lnTo>
                  <a:lnTo>
                    <a:pt x="1295464" y="7529118"/>
                  </a:lnTo>
                  <a:lnTo>
                    <a:pt x="1305620" y="7505996"/>
                  </a:lnTo>
                  <a:lnTo>
                    <a:pt x="1369723" y="7531393"/>
                  </a:lnTo>
                  <a:lnTo>
                    <a:pt x="1402751" y="7539339"/>
                  </a:lnTo>
                  <a:lnTo>
                    <a:pt x="1435012" y="7566755"/>
                  </a:lnTo>
                  <a:lnTo>
                    <a:pt x="1454157" y="7589369"/>
                  </a:lnTo>
                  <a:lnTo>
                    <a:pt x="1487786" y="7613051"/>
                  </a:lnTo>
                  <a:lnTo>
                    <a:pt x="1499959" y="7644838"/>
                  </a:lnTo>
                  <a:lnTo>
                    <a:pt x="1516624" y="7666054"/>
                  </a:lnTo>
                  <a:lnTo>
                    <a:pt x="1541488" y="7696147"/>
                  </a:lnTo>
                  <a:lnTo>
                    <a:pt x="1566099" y="7722203"/>
                  </a:lnTo>
                  <a:lnTo>
                    <a:pt x="1605036" y="7734061"/>
                  </a:lnTo>
                  <a:lnTo>
                    <a:pt x="1636361" y="7743584"/>
                  </a:lnTo>
                  <a:lnTo>
                    <a:pt x="1663566" y="7759312"/>
                  </a:lnTo>
                  <a:lnTo>
                    <a:pt x="1693448" y="7770787"/>
                  </a:lnTo>
                  <a:lnTo>
                    <a:pt x="1715659" y="7773979"/>
                  </a:lnTo>
                  <a:lnTo>
                    <a:pt x="1787814" y="7808233"/>
                  </a:lnTo>
                  <a:lnTo>
                    <a:pt x="1786943" y="7973628"/>
                  </a:lnTo>
                  <a:lnTo>
                    <a:pt x="1872993" y="8034663"/>
                  </a:lnTo>
                  <a:lnTo>
                    <a:pt x="1897500" y="8073263"/>
                  </a:lnTo>
                  <a:lnTo>
                    <a:pt x="1954163" y="8102716"/>
                  </a:lnTo>
                  <a:lnTo>
                    <a:pt x="1988608" y="8132604"/>
                  </a:lnTo>
                  <a:lnTo>
                    <a:pt x="2089774" y="8220290"/>
                  </a:lnTo>
                  <a:lnTo>
                    <a:pt x="2165504" y="8186326"/>
                  </a:lnTo>
                  <a:lnTo>
                    <a:pt x="2200799" y="8210134"/>
                  </a:lnTo>
                  <a:lnTo>
                    <a:pt x="2237276" y="8234700"/>
                  </a:lnTo>
                  <a:lnTo>
                    <a:pt x="2282286" y="8234826"/>
                  </a:lnTo>
                  <a:lnTo>
                    <a:pt x="2324580" y="8237337"/>
                  </a:lnTo>
                  <a:lnTo>
                    <a:pt x="2408954" y="8242310"/>
                  </a:lnTo>
                  <a:lnTo>
                    <a:pt x="2489993" y="8236230"/>
                  </a:lnTo>
                  <a:lnTo>
                    <a:pt x="2531330" y="8320309"/>
                  </a:lnTo>
                  <a:lnTo>
                    <a:pt x="2550758" y="8359798"/>
                  </a:lnTo>
                  <a:lnTo>
                    <a:pt x="2548970" y="8408297"/>
                  </a:lnTo>
                  <a:lnTo>
                    <a:pt x="2538135" y="8450887"/>
                  </a:lnTo>
                  <a:lnTo>
                    <a:pt x="2526377" y="8497045"/>
                  </a:lnTo>
                  <a:lnTo>
                    <a:pt x="2512759" y="8530330"/>
                  </a:lnTo>
                  <a:lnTo>
                    <a:pt x="2501409" y="8581467"/>
                  </a:lnTo>
                  <a:lnTo>
                    <a:pt x="2467999" y="8719438"/>
                  </a:lnTo>
                  <a:lnTo>
                    <a:pt x="2624634" y="8722583"/>
                  </a:lnTo>
                  <a:lnTo>
                    <a:pt x="2670073" y="8668519"/>
                  </a:lnTo>
                  <a:lnTo>
                    <a:pt x="2690134" y="8644672"/>
                  </a:lnTo>
                  <a:lnTo>
                    <a:pt x="2701676" y="8608414"/>
                  </a:lnTo>
                  <a:lnTo>
                    <a:pt x="2717675" y="8581467"/>
                  </a:lnTo>
                  <a:lnTo>
                    <a:pt x="2746686" y="8532499"/>
                  </a:lnTo>
                  <a:lnTo>
                    <a:pt x="2820286" y="8526419"/>
                  </a:lnTo>
                  <a:lnTo>
                    <a:pt x="2844179" y="8581467"/>
                  </a:lnTo>
                  <a:lnTo>
                    <a:pt x="2863178" y="8646717"/>
                  </a:lnTo>
                  <a:lnTo>
                    <a:pt x="2819566" y="8746049"/>
                  </a:lnTo>
                  <a:lnTo>
                    <a:pt x="2887705" y="8784135"/>
                  </a:lnTo>
                  <a:lnTo>
                    <a:pt x="3005786" y="8850103"/>
                  </a:lnTo>
                  <a:lnTo>
                    <a:pt x="3031988" y="8816358"/>
                  </a:lnTo>
                  <a:lnTo>
                    <a:pt x="3118936" y="8736525"/>
                  </a:lnTo>
                  <a:lnTo>
                    <a:pt x="3139341" y="8717743"/>
                  </a:lnTo>
                  <a:lnTo>
                    <a:pt x="3166505" y="8704778"/>
                  </a:lnTo>
                  <a:lnTo>
                    <a:pt x="3186949" y="8686200"/>
                  </a:lnTo>
                  <a:lnTo>
                    <a:pt x="3210005" y="8660572"/>
                  </a:lnTo>
                  <a:lnTo>
                    <a:pt x="3283220" y="8619763"/>
                  </a:lnTo>
                  <a:lnTo>
                    <a:pt x="3314276" y="8685950"/>
                  </a:lnTo>
                  <a:lnTo>
                    <a:pt x="3351531" y="8668519"/>
                  </a:lnTo>
                  <a:lnTo>
                    <a:pt x="3388620" y="8630090"/>
                  </a:lnTo>
                  <a:lnTo>
                    <a:pt x="3417863" y="8612923"/>
                  </a:lnTo>
                  <a:lnTo>
                    <a:pt x="3442857" y="8615477"/>
                  </a:lnTo>
                  <a:lnTo>
                    <a:pt x="3493671" y="8662181"/>
                  </a:lnTo>
                  <a:lnTo>
                    <a:pt x="3499429" y="8691218"/>
                  </a:lnTo>
                  <a:lnTo>
                    <a:pt x="3512031" y="8736525"/>
                  </a:lnTo>
                  <a:lnTo>
                    <a:pt x="3522787" y="8775165"/>
                  </a:lnTo>
                  <a:lnTo>
                    <a:pt x="3516944" y="8803010"/>
                  </a:lnTo>
                  <a:lnTo>
                    <a:pt x="3509313" y="8841266"/>
                  </a:lnTo>
                  <a:lnTo>
                    <a:pt x="3491904" y="8928490"/>
                  </a:lnTo>
                  <a:lnTo>
                    <a:pt x="3456714" y="8963978"/>
                  </a:lnTo>
                  <a:lnTo>
                    <a:pt x="3389617" y="9018088"/>
                  </a:lnTo>
                  <a:lnTo>
                    <a:pt x="3369595" y="9028799"/>
                  </a:lnTo>
                  <a:lnTo>
                    <a:pt x="3352632" y="9045339"/>
                  </a:lnTo>
                  <a:lnTo>
                    <a:pt x="3337925" y="9064338"/>
                  </a:lnTo>
                  <a:lnTo>
                    <a:pt x="3310425" y="9085805"/>
                  </a:lnTo>
                  <a:lnTo>
                    <a:pt x="3291187" y="9134772"/>
                  </a:lnTo>
                  <a:lnTo>
                    <a:pt x="3303005" y="9154069"/>
                  </a:lnTo>
                  <a:lnTo>
                    <a:pt x="3314804" y="9182678"/>
                  </a:lnTo>
                  <a:lnTo>
                    <a:pt x="3327790" y="9214088"/>
                  </a:lnTo>
                  <a:lnTo>
                    <a:pt x="3344006" y="9228281"/>
                  </a:lnTo>
                  <a:lnTo>
                    <a:pt x="3378728" y="9233003"/>
                  </a:lnTo>
                  <a:lnTo>
                    <a:pt x="3493262" y="9248514"/>
                  </a:lnTo>
                  <a:lnTo>
                    <a:pt x="3478363" y="9083806"/>
                  </a:lnTo>
                  <a:lnTo>
                    <a:pt x="3600443" y="9020812"/>
                  </a:lnTo>
                  <a:lnTo>
                    <a:pt x="3623353" y="9008955"/>
                  </a:lnTo>
                  <a:lnTo>
                    <a:pt x="3648967" y="8998963"/>
                  </a:lnTo>
                  <a:lnTo>
                    <a:pt x="3675255" y="9005848"/>
                  </a:lnTo>
                  <a:lnTo>
                    <a:pt x="3711534" y="9041890"/>
                  </a:lnTo>
                  <a:lnTo>
                    <a:pt x="3755039" y="9139527"/>
                  </a:lnTo>
                  <a:lnTo>
                    <a:pt x="3741902" y="9190836"/>
                  </a:lnTo>
                  <a:lnTo>
                    <a:pt x="3736166" y="9213278"/>
                  </a:lnTo>
                  <a:lnTo>
                    <a:pt x="3698779" y="9223863"/>
                  </a:lnTo>
                  <a:lnTo>
                    <a:pt x="3683413" y="9253408"/>
                  </a:lnTo>
                  <a:lnTo>
                    <a:pt x="3699379" y="9302968"/>
                  </a:lnTo>
                  <a:lnTo>
                    <a:pt x="3744139" y="9418070"/>
                  </a:lnTo>
                  <a:lnTo>
                    <a:pt x="3730810" y="9464194"/>
                  </a:lnTo>
                  <a:lnTo>
                    <a:pt x="3828956" y="9525448"/>
                  </a:lnTo>
                  <a:lnTo>
                    <a:pt x="3849255" y="9493310"/>
                  </a:lnTo>
                  <a:lnTo>
                    <a:pt x="3866724" y="9422962"/>
                  </a:lnTo>
                  <a:lnTo>
                    <a:pt x="3856199" y="9318394"/>
                  </a:lnTo>
                  <a:lnTo>
                    <a:pt x="3882005" y="9273806"/>
                  </a:lnTo>
                  <a:lnTo>
                    <a:pt x="3897160" y="9251364"/>
                  </a:lnTo>
                  <a:lnTo>
                    <a:pt x="4135962" y="9054776"/>
                  </a:lnTo>
                  <a:lnTo>
                    <a:pt x="4166371" y="9039470"/>
                  </a:lnTo>
                  <a:lnTo>
                    <a:pt x="4188134" y="9036324"/>
                  </a:lnTo>
                  <a:lnTo>
                    <a:pt x="4219335" y="9043934"/>
                  </a:lnTo>
                  <a:lnTo>
                    <a:pt x="4269086" y="9053793"/>
                  </a:lnTo>
                  <a:lnTo>
                    <a:pt x="4316655" y="9072878"/>
                  </a:lnTo>
                  <a:lnTo>
                    <a:pt x="4367594" y="9080661"/>
                  </a:lnTo>
                  <a:lnTo>
                    <a:pt x="4412480" y="9087546"/>
                  </a:lnTo>
                  <a:lnTo>
                    <a:pt x="4457964" y="9084064"/>
                  </a:lnTo>
                  <a:lnTo>
                    <a:pt x="4500898" y="9101066"/>
                  </a:lnTo>
                  <a:lnTo>
                    <a:pt x="4524276" y="9110332"/>
                  </a:lnTo>
                  <a:lnTo>
                    <a:pt x="4573072" y="9160064"/>
                  </a:lnTo>
                  <a:lnTo>
                    <a:pt x="4596108" y="9178596"/>
                  </a:lnTo>
                  <a:lnTo>
                    <a:pt x="4619230" y="9181312"/>
                  </a:lnTo>
                  <a:lnTo>
                    <a:pt x="4656662" y="9152196"/>
                  </a:lnTo>
                  <a:lnTo>
                    <a:pt x="4688344" y="9164991"/>
                  </a:lnTo>
                  <a:lnTo>
                    <a:pt x="4730769" y="9164991"/>
                  </a:lnTo>
                  <a:lnTo>
                    <a:pt x="4752236" y="9164991"/>
                  </a:lnTo>
                  <a:lnTo>
                    <a:pt x="4791976" y="9167714"/>
                  </a:lnTo>
                  <a:lnTo>
                    <a:pt x="4830616" y="9183436"/>
                  </a:lnTo>
                  <a:lnTo>
                    <a:pt x="4859971" y="9221356"/>
                  </a:lnTo>
                  <a:lnTo>
                    <a:pt x="4902157" y="9233003"/>
                  </a:lnTo>
                  <a:lnTo>
                    <a:pt x="4937499" y="9242777"/>
                  </a:lnTo>
                  <a:lnTo>
                    <a:pt x="4964578" y="9218594"/>
                  </a:lnTo>
                  <a:lnTo>
                    <a:pt x="5000086" y="9223480"/>
                  </a:lnTo>
                  <a:lnTo>
                    <a:pt x="5059749" y="9231684"/>
                  </a:lnTo>
                  <a:lnTo>
                    <a:pt x="5130749" y="9321797"/>
                  </a:lnTo>
                  <a:lnTo>
                    <a:pt x="5129306" y="9381263"/>
                  </a:lnTo>
                  <a:lnTo>
                    <a:pt x="5128627" y="9409825"/>
                  </a:lnTo>
                  <a:lnTo>
                    <a:pt x="5112389" y="9436351"/>
                  </a:lnTo>
                  <a:lnTo>
                    <a:pt x="5106183" y="9464234"/>
                  </a:lnTo>
                  <a:lnTo>
                    <a:pt x="5102339" y="9518259"/>
                  </a:lnTo>
                  <a:lnTo>
                    <a:pt x="5180041" y="9544276"/>
                  </a:lnTo>
                  <a:lnTo>
                    <a:pt x="5195955" y="9586655"/>
                  </a:lnTo>
                  <a:lnTo>
                    <a:pt x="5212217" y="9629964"/>
                  </a:lnTo>
                  <a:lnTo>
                    <a:pt x="5187070" y="9673708"/>
                  </a:lnTo>
                  <a:lnTo>
                    <a:pt x="5193237" y="9728116"/>
                  </a:lnTo>
                  <a:lnTo>
                    <a:pt x="5288830" y="9839821"/>
                  </a:lnTo>
                  <a:lnTo>
                    <a:pt x="5311655" y="9842095"/>
                  </a:lnTo>
                  <a:lnTo>
                    <a:pt x="5344214" y="9834207"/>
                  </a:lnTo>
                  <a:lnTo>
                    <a:pt x="5373245" y="9826623"/>
                  </a:lnTo>
                  <a:lnTo>
                    <a:pt x="5409008" y="9816013"/>
                  </a:lnTo>
                  <a:lnTo>
                    <a:pt x="5446231" y="9804286"/>
                  </a:lnTo>
                  <a:lnTo>
                    <a:pt x="5520667" y="9780823"/>
                  </a:lnTo>
                  <a:lnTo>
                    <a:pt x="5598124" y="9753189"/>
                  </a:lnTo>
                  <a:lnTo>
                    <a:pt x="5617613" y="9738997"/>
                  </a:lnTo>
                  <a:lnTo>
                    <a:pt x="5629027" y="9709643"/>
                  </a:lnTo>
                  <a:lnTo>
                    <a:pt x="5640734" y="9690030"/>
                  </a:lnTo>
                  <a:lnTo>
                    <a:pt x="5652446" y="9670417"/>
                  </a:lnTo>
                  <a:lnTo>
                    <a:pt x="5665300" y="9651299"/>
                  </a:lnTo>
                  <a:lnTo>
                    <a:pt x="5691791" y="9607402"/>
                  </a:lnTo>
                  <a:lnTo>
                    <a:pt x="5711029" y="9583167"/>
                  </a:lnTo>
                  <a:lnTo>
                    <a:pt x="5729145" y="9564892"/>
                  </a:lnTo>
                  <a:lnTo>
                    <a:pt x="5747268" y="9546611"/>
                  </a:lnTo>
                  <a:lnTo>
                    <a:pt x="5780837" y="9524082"/>
                  </a:lnTo>
                  <a:lnTo>
                    <a:pt x="5814523" y="9503579"/>
                  </a:lnTo>
                  <a:lnTo>
                    <a:pt x="5847861" y="9489907"/>
                  </a:lnTo>
                  <a:lnTo>
                    <a:pt x="5886934" y="9449269"/>
                  </a:lnTo>
                  <a:lnTo>
                    <a:pt x="5893464" y="9413104"/>
                  </a:lnTo>
                  <a:lnTo>
                    <a:pt x="5889652" y="9389422"/>
                  </a:lnTo>
                  <a:lnTo>
                    <a:pt x="5885840" y="9365746"/>
                  </a:lnTo>
                  <a:lnTo>
                    <a:pt x="5878718" y="9339261"/>
                  </a:lnTo>
                  <a:lnTo>
                    <a:pt x="5871965" y="9313250"/>
                  </a:lnTo>
                  <a:lnTo>
                    <a:pt x="5865218" y="9287247"/>
                  </a:lnTo>
                  <a:lnTo>
                    <a:pt x="5858999" y="9261982"/>
                  </a:lnTo>
                  <a:lnTo>
                    <a:pt x="5857007" y="9239803"/>
                  </a:lnTo>
                  <a:lnTo>
                    <a:pt x="5855009" y="9217625"/>
                  </a:lnTo>
                  <a:lnTo>
                    <a:pt x="5866523" y="9186754"/>
                  </a:lnTo>
                  <a:lnTo>
                    <a:pt x="5926366" y="9158988"/>
                  </a:lnTo>
                  <a:lnTo>
                    <a:pt x="5969898" y="9141868"/>
                  </a:lnTo>
                  <a:lnTo>
                    <a:pt x="6013438" y="9124748"/>
                  </a:lnTo>
                  <a:lnTo>
                    <a:pt x="6056530" y="9110516"/>
                  </a:lnTo>
                  <a:lnTo>
                    <a:pt x="6084888" y="9140358"/>
                  </a:lnTo>
                  <a:lnTo>
                    <a:pt x="6104488" y="9165808"/>
                  </a:lnTo>
                  <a:lnTo>
                    <a:pt x="6126323" y="9188112"/>
                  </a:lnTo>
                  <a:lnTo>
                    <a:pt x="6148159" y="9210422"/>
                  </a:lnTo>
                  <a:lnTo>
                    <a:pt x="6172388" y="9230069"/>
                  </a:lnTo>
                  <a:lnTo>
                    <a:pt x="6198413" y="9246603"/>
                  </a:lnTo>
                  <a:lnTo>
                    <a:pt x="6222900" y="9262924"/>
                  </a:lnTo>
                  <a:lnTo>
                    <a:pt x="6248745" y="9279247"/>
                  </a:lnTo>
                  <a:lnTo>
                    <a:pt x="6266268" y="9303430"/>
                  </a:lnTo>
                  <a:lnTo>
                    <a:pt x="6280183" y="9325793"/>
                  </a:lnTo>
                  <a:lnTo>
                    <a:pt x="6323551" y="9349978"/>
                  </a:lnTo>
                  <a:lnTo>
                    <a:pt x="6359994" y="9365172"/>
                  </a:lnTo>
                  <a:lnTo>
                    <a:pt x="6402273" y="9377089"/>
                  </a:lnTo>
                  <a:lnTo>
                    <a:pt x="6443248" y="9392144"/>
                  </a:lnTo>
                  <a:lnTo>
                    <a:pt x="6484222" y="9407194"/>
                  </a:lnTo>
                  <a:lnTo>
                    <a:pt x="6524061" y="9425086"/>
                  </a:lnTo>
                  <a:lnTo>
                    <a:pt x="6553428" y="9453353"/>
                  </a:lnTo>
                  <a:lnTo>
                    <a:pt x="6578081" y="9455351"/>
                  </a:lnTo>
                  <a:lnTo>
                    <a:pt x="6600550" y="9452185"/>
                  </a:lnTo>
                  <a:lnTo>
                    <a:pt x="6622795" y="9447911"/>
                  </a:lnTo>
                  <a:lnTo>
                    <a:pt x="6645038" y="9443645"/>
                  </a:lnTo>
                  <a:lnTo>
                    <a:pt x="6667184" y="9439490"/>
                  </a:lnTo>
                  <a:lnTo>
                    <a:pt x="6690808" y="9437030"/>
                  </a:lnTo>
                  <a:lnTo>
                    <a:pt x="6735013" y="9432433"/>
                  </a:lnTo>
                  <a:lnTo>
                    <a:pt x="6781639" y="9443150"/>
                  </a:lnTo>
                  <a:lnTo>
                    <a:pt x="6825469" y="9446553"/>
                  </a:lnTo>
                  <a:lnTo>
                    <a:pt x="6945101" y="9441963"/>
                  </a:lnTo>
                  <a:lnTo>
                    <a:pt x="6986193" y="9434754"/>
                  </a:lnTo>
                  <a:lnTo>
                    <a:pt x="7007732" y="9415267"/>
                  </a:lnTo>
                  <a:lnTo>
                    <a:pt x="7023936" y="9395759"/>
                  </a:lnTo>
                  <a:lnTo>
                    <a:pt x="7054957" y="9384534"/>
                  </a:lnTo>
                  <a:lnTo>
                    <a:pt x="7078358" y="9386664"/>
                  </a:lnTo>
                  <a:lnTo>
                    <a:pt x="7126995" y="9371873"/>
                  </a:lnTo>
                  <a:lnTo>
                    <a:pt x="7156388" y="9359704"/>
                  </a:lnTo>
                  <a:lnTo>
                    <a:pt x="7183196" y="9343178"/>
                  </a:lnTo>
                  <a:lnTo>
                    <a:pt x="7210012" y="9326650"/>
                  </a:lnTo>
                  <a:lnTo>
                    <a:pt x="7233588" y="9306049"/>
                  </a:lnTo>
                  <a:lnTo>
                    <a:pt x="7251209" y="9277888"/>
                  </a:lnTo>
                  <a:lnTo>
                    <a:pt x="7272972" y="9277888"/>
                  </a:lnTo>
                  <a:lnTo>
                    <a:pt x="7291590" y="9291744"/>
                  </a:lnTo>
                  <a:lnTo>
                    <a:pt x="7318920" y="9328511"/>
                  </a:lnTo>
                  <a:lnTo>
                    <a:pt x="7348800" y="9344879"/>
                  </a:lnTo>
                  <a:lnTo>
                    <a:pt x="7379065" y="9363582"/>
                  </a:lnTo>
                  <a:lnTo>
                    <a:pt x="7403953" y="9379009"/>
                  </a:lnTo>
                  <a:lnTo>
                    <a:pt x="7430497" y="9398476"/>
                  </a:lnTo>
                  <a:lnTo>
                    <a:pt x="7456595" y="9411185"/>
                  </a:lnTo>
                  <a:lnTo>
                    <a:pt x="7478194" y="9421730"/>
                  </a:lnTo>
                  <a:lnTo>
                    <a:pt x="7510455" y="9427117"/>
                  </a:lnTo>
                  <a:lnTo>
                    <a:pt x="7543647" y="9430230"/>
                  </a:lnTo>
                  <a:lnTo>
                    <a:pt x="7576845" y="9433343"/>
                  </a:lnTo>
                  <a:lnTo>
                    <a:pt x="7611035" y="9433931"/>
                  </a:lnTo>
                  <a:lnTo>
                    <a:pt x="7634783" y="9434306"/>
                  </a:lnTo>
                  <a:lnTo>
                    <a:pt x="7717903" y="9435751"/>
                  </a:lnTo>
                  <a:lnTo>
                    <a:pt x="7803771" y="9440723"/>
                  </a:lnTo>
                  <a:lnTo>
                    <a:pt x="7886423" y="9432948"/>
                  </a:lnTo>
                  <a:lnTo>
                    <a:pt x="7930054" y="9428872"/>
                  </a:lnTo>
                  <a:lnTo>
                    <a:pt x="8003148" y="9400561"/>
                  </a:lnTo>
                  <a:lnTo>
                    <a:pt x="8041992" y="9399031"/>
                  </a:lnTo>
                  <a:lnTo>
                    <a:pt x="8064797" y="9436476"/>
                  </a:lnTo>
                  <a:lnTo>
                    <a:pt x="8097250" y="9438388"/>
                  </a:lnTo>
                  <a:lnTo>
                    <a:pt x="8121736" y="9413901"/>
                  </a:lnTo>
                  <a:lnTo>
                    <a:pt x="8110750" y="9349806"/>
                  </a:lnTo>
                  <a:lnTo>
                    <a:pt x="8116421" y="9320009"/>
                  </a:lnTo>
                  <a:lnTo>
                    <a:pt x="8132619" y="9305092"/>
                  </a:lnTo>
                  <a:lnTo>
                    <a:pt x="8156993" y="9270297"/>
                  </a:lnTo>
                  <a:lnTo>
                    <a:pt x="8168843" y="9245620"/>
                  </a:lnTo>
                  <a:lnTo>
                    <a:pt x="8167981" y="9220756"/>
                  </a:lnTo>
                  <a:lnTo>
                    <a:pt x="8167116" y="9195894"/>
                  </a:lnTo>
                  <a:lnTo>
                    <a:pt x="8153371" y="9170088"/>
                  </a:lnTo>
                  <a:lnTo>
                    <a:pt x="8128535" y="9136420"/>
                  </a:lnTo>
                  <a:lnTo>
                    <a:pt x="8078210" y="9068414"/>
                  </a:lnTo>
                  <a:lnTo>
                    <a:pt x="8057213" y="9039958"/>
                  </a:lnTo>
                  <a:lnTo>
                    <a:pt x="8042525" y="9017224"/>
                  </a:lnTo>
                  <a:lnTo>
                    <a:pt x="8040125" y="8996325"/>
                  </a:lnTo>
                  <a:lnTo>
                    <a:pt x="8037725" y="8975419"/>
                  </a:lnTo>
                  <a:lnTo>
                    <a:pt x="8047985" y="8956050"/>
                  </a:lnTo>
                  <a:lnTo>
                    <a:pt x="8079568" y="8932394"/>
                  </a:lnTo>
                  <a:lnTo>
                    <a:pt x="8109278" y="8909867"/>
                  </a:lnTo>
                  <a:lnTo>
                    <a:pt x="8129893" y="8916072"/>
                  </a:lnTo>
                  <a:lnTo>
                    <a:pt x="8150425" y="8925766"/>
                  </a:lnTo>
                  <a:lnTo>
                    <a:pt x="8153867" y="8955642"/>
                  </a:lnTo>
                  <a:lnTo>
                    <a:pt x="8173419" y="8967756"/>
                  </a:lnTo>
                  <a:lnTo>
                    <a:pt x="8224991" y="8951652"/>
                  </a:lnTo>
                  <a:lnTo>
                    <a:pt x="8261839" y="8928312"/>
                  </a:lnTo>
                  <a:lnTo>
                    <a:pt x="8280259" y="8916646"/>
                  </a:lnTo>
                  <a:lnTo>
                    <a:pt x="8299886" y="8903865"/>
                  </a:lnTo>
                  <a:lnTo>
                    <a:pt x="8335320" y="8887470"/>
                  </a:lnTo>
                  <a:lnTo>
                    <a:pt x="8365212" y="8886144"/>
                  </a:lnTo>
                  <a:lnTo>
                    <a:pt x="8381193" y="8862897"/>
                  </a:lnTo>
                  <a:lnTo>
                    <a:pt x="8417730" y="8852484"/>
                  </a:lnTo>
                  <a:lnTo>
                    <a:pt x="8426421" y="8829019"/>
                  </a:lnTo>
                  <a:lnTo>
                    <a:pt x="8425063" y="8807256"/>
                  </a:lnTo>
                  <a:lnTo>
                    <a:pt x="8416899" y="8786851"/>
                  </a:lnTo>
                  <a:lnTo>
                    <a:pt x="8430284" y="8757670"/>
                  </a:lnTo>
                  <a:lnTo>
                    <a:pt x="8455201" y="8726264"/>
                  </a:lnTo>
                  <a:lnTo>
                    <a:pt x="8475389" y="8695717"/>
                  </a:lnTo>
                  <a:lnTo>
                    <a:pt x="8469953" y="8657631"/>
                  </a:lnTo>
                  <a:lnTo>
                    <a:pt x="8455985" y="8640221"/>
                  </a:lnTo>
                  <a:lnTo>
                    <a:pt x="8459889" y="8613762"/>
                  </a:lnTo>
                  <a:lnTo>
                    <a:pt x="8468660" y="8585159"/>
                  </a:lnTo>
                  <a:lnTo>
                    <a:pt x="8461796" y="8562420"/>
                  </a:lnTo>
                  <a:lnTo>
                    <a:pt x="8439723" y="8547754"/>
                  </a:lnTo>
                  <a:lnTo>
                    <a:pt x="8399858" y="8542998"/>
                  </a:lnTo>
                  <a:lnTo>
                    <a:pt x="8363861" y="8533857"/>
                  </a:lnTo>
                  <a:lnTo>
                    <a:pt x="8329001" y="8523589"/>
                  </a:lnTo>
                  <a:lnTo>
                    <a:pt x="8303511" y="8506034"/>
                  </a:lnTo>
                  <a:lnTo>
                    <a:pt x="8293133" y="8476726"/>
                  </a:lnTo>
                  <a:lnTo>
                    <a:pt x="8317070" y="8430648"/>
                  </a:lnTo>
                  <a:lnTo>
                    <a:pt x="8342249" y="8398913"/>
                  </a:lnTo>
                  <a:lnTo>
                    <a:pt x="8366580" y="8363829"/>
                  </a:lnTo>
                  <a:lnTo>
                    <a:pt x="8390907" y="8328742"/>
                  </a:lnTo>
                  <a:lnTo>
                    <a:pt x="8413529" y="8290697"/>
                  </a:lnTo>
                  <a:lnTo>
                    <a:pt x="8430511" y="8233249"/>
                  </a:lnTo>
                  <a:lnTo>
                    <a:pt x="8438892" y="8204897"/>
                  </a:lnTo>
                  <a:lnTo>
                    <a:pt x="8438761" y="8164537"/>
                  </a:lnTo>
                  <a:lnTo>
                    <a:pt x="8437310" y="8127156"/>
                  </a:lnTo>
                  <a:lnTo>
                    <a:pt x="8435859" y="8089777"/>
                  </a:lnTo>
                  <a:lnTo>
                    <a:pt x="8432883" y="8054956"/>
                  </a:lnTo>
                  <a:lnTo>
                    <a:pt x="8456956" y="8004927"/>
                  </a:lnTo>
                  <a:lnTo>
                    <a:pt x="8486349" y="7976733"/>
                  </a:lnTo>
                  <a:lnTo>
                    <a:pt x="8517563" y="7948969"/>
                  </a:lnTo>
                  <a:lnTo>
                    <a:pt x="8548783" y="7921211"/>
                  </a:lnTo>
                  <a:lnTo>
                    <a:pt x="8583091" y="7894983"/>
                  </a:lnTo>
                  <a:lnTo>
                    <a:pt x="8608698" y="7865999"/>
                  </a:lnTo>
                  <a:lnTo>
                    <a:pt x="8626905" y="7843615"/>
                  </a:lnTo>
                  <a:lnTo>
                    <a:pt x="8644904" y="7820369"/>
                  </a:lnTo>
                  <a:lnTo>
                    <a:pt x="8663104" y="7796626"/>
                  </a:lnTo>
                  <a:lnTo>
                    <a:pt x="8676803" y="7774620"/>
                  </a:lnTo>
                  <a:lnTo>
                    <a:pt x="8687593" y="7755824"/>
                  </a:lnTo>
                  <a:lnTo>
                    <a:pt x="8698383" y="7737022"/>
                  </a:lnTo>
                  <a:lnTo>
                    <a:pt x="8710311" y="7715549"/>
                  </a:lnTo>
                  <a:lnTo>
                    <a:pt x="8732582" y="7686895"/>
                  </a:lnTo>
                  <a:lnTo>
                    <a:pt x="8776207" y="7645590"/>
                  </a:lnTo>
                  <a:lnTo>
                    <a:pt x="8822248" y="7615722"/>
                  </a:lnTo>
                  <a:lnTo>
                    <a:pt x="8845270" y="7600791"/>
                  </a:lnTo>
                  <a:lnTo>
                    <a:pt x="8868372" y="7588155"/>
                  </a:lnTo>
                  <a:lnTo>
                    <a:pt x="8909430" y="7580717"/>
                  </a:lnTo>
                  <a:lnTo>
                    <a:pt x="8937869" y="7602117"/>
                  </a:lnTo>
                  <a:lnTo>
                    <a:pt x="8943078" y="7622541"/>
                  </a:lnTo>
                  <a:lnTo>
                    <a:pt x="8937277" y="7644502"/>
                  </a:lnTo>
                  <a:lnTo>
                    <a:pt x="8931069" y="7666048"/>
                  </a:lnTo>
                  <a:lnTo>
                    <a:pt x="8924850" y="7687592"/>
                  </a:lnTo>
                  <a:lnTo>
                    <a:pt x="8917848" y="7709448"/>
                  </a:lnTo>
                  <a:lnTo>
                    <a:pt x="8922905" y="7731337"/>
                  </a:lnTo>
                  <a:lnTo>
                    <a:pt x="8948057" y="7755856"/>
                  </a:lnTo>
                  <a:lnTo>
                    <a:pt x="8963043" y="7793870"/>
                  </a:lnTo>
                  <a:lnTo>
                    <a:pt x="8968403" y="7815448"/>
                  </a:lnTo>
                  <a:lnTo>
                    <a:pt x="8973231" y="7837436"/>
                  </a:lnTo>
                  <a:lnTo>
                    <a:pt x="8978059" y="7859416"/>
                  </a:lnTo>
                  <a:lnTo>
                    <a:pt x="8981717" y="7880923"/>
                  </a:lnTo>
                  <a:lnTo>
                    <a:pt x="8994672" y="7916364"/>
                  </a:lnTo>
                  <a:lnTo>
                    <a:pt x="9015399" y="7936729"/>
                  </a:lnTo>
                  <a:lnTo>
                    <a:pt x="9041540" y="7933833"/>
                  </a:lnTo>
                  <a:lnTo>
                    <a:pt x="9063877" y="7917729"/>
                  </a:lnTo>
                  <a:lnTo>
                    <a:pt x="9094445" y="7888751"/>
                  </a:lnTo>
                  <a:lnTo>
                    <a:pt x="9122856" y="7859199"/>
                  </a:lnTo>
                  <a:lnTo>
                    <a:pt x="9151267" y="7829647"/>
                  </a:lnTo>
                  <a:lnTo>
                    <a:pt x="9176902" y="7799686"/>
                  </a:lnTo>
                  <a:lnTo>
                    <a:pt x="9183522" y="7772654"/>
                  </a:lnTo>
                  <a:lnTo>
                    <a:pt x="9188145" y="7739502"/>
                  </a:lnTo>
                  <a:lnTo>
                    <a:pt x="9190387" y="7706811"/>
                  </a:lnTo>
                  <a:lnTo>
                    <a:pt x="9204460" y="7676929"/>
                  </a:lnTo>
                  <a:lnTo>
                    <a:pt x="9240945" y="7656168"/>
                  </a:lnTo>
                  <a:lnTo>
                    <a:pt x="9279510" y="7656314"/>
                  </a:lnTo>
                  <a:lnTo>
                    <a:pt x="9316001" y="7653807"/>
                  </a:lnTo>
                  <a:lnTo>
                    <a:pt x="9352485" y="7651302"/>
                  </a:lnTo>
                  <a:lnTo>
                    <a:pt x="9385987" y="7646606"/>
                  </a:lnTo>
                  <a:lnTo>
                    <a:pt x="9401689" y="7629320"/>
                  </a:lnTo>
                  <a:lnTo>
                    <a:pt x="9418044" y="7611330"/>
                  </a:lnTo>
                  <a:lnTo>
                    <a:pt x="9436787" y="7592192"/>
                  </a:lnTo>
                  <a:lnTo>
                    <a:pt x="9452020" y="7572195"/>
                  </a:lnTo>
                  <a:lnTo>
                    <a:pt x="9467247" y="7552199"/>
                  </a:lnTo>
                  <a:lnTo>
                    <a:pt x="9479371" y="7531050"/>
                  </a:lnTo>
                  <a:lnTo>
                    <a:pt x="9483299" y="7505548"/>
                  </a:lnTo>
                  <a:lnTo>
                    <a:pt x="9467294" y="7480672"/>
                  </a:lnTo>
                  <a:lnTo>
                    <a:pt x="9444898" y="7459693"/>
                  </a:lnTo>
                  <a:lnTo>
                    <a:pt x="9422094" y="7441617"/>
                  </a:lnTo>
                  <a:lnTo>
                    <a:pt x="9404690" y="7425875"/>
                  </a:lnTo>
                  <a:lnTo>
                    <a:pt x="9371768" y="7410330"/>
                  </a:lnTo>
                  <a:lnTo>
                    <a:pt x="9339327" y="7403841"/>
                  </a:lnTo>
                  <a:lnTo>
                    <a:pt x="9289739" y="7411082"/>
                  </a:lnTo>
                  <a:lnTo>
                    <a:pt x="9255670" y="7428783"/>
                  </a:lnTo>
                  <a:lnTo>
                    <a:pt x="9216701" y="7449781"/>
                  </a:lnTo>
                  <a:lnTo>
                    <a:pt x="9174989" y="7471967"/>
                  </a:lnTo>
                  <a:lnTo>
                    <a:pt x="9143255" y="7483791"/>
                  </a:lnTo>
                  <a:lnTo>
                    <a:pt x="9111520" y="7495609"/>
                  </a:lnTo>
                  <a:lnTo>
                    <a:pt x="9078282" y="7503641"/>
                  </a:lnTo>
                  <a:lnTo>
                    <a:pt x="9052634" y="7471835"/>
                  </a:lnTo>
                  <a:lnTo>
                    <a:pt x="9053477" y="7438899"/>
                  </a:lnTo>
                  <a:lnTo>
                    <a:pt x="9067228" y="7409829"/>
                  </a:lnTo>
                  <a:lnTo>
                    <a:pt x="9103515" y="7370550"/>
                  </a:lnTo>
                  <a:lnTo>
                    <a:pt x="9137305" y="7347277"/>
                  </a:lnTo>
                  <a:lnTo>
                    <a:pt x="9155493" y="7326008"/>
                  </a:lnTo>
                  <a:lnTo>
                    <a:pt x="9170425" y="7308550"/>
                  </a:lnTo>
                  <a:lnTo>
                    <a:pt x="9181339" y="7270235"/>
                  </a:lnTo>
                  <a:lnTo>
                    <a:pt x="9190393" y="7232386"/>
                  </a:lnTo>
                  <a:lnTo>
                    <a:pt x="9208544" y="7215827"/>
                  </a:lnTo>
                  <a:lnTo>
                    <a:pt x="9240622" y="7216150"/>
                  </a:lnTo>
                  <a:lnTo>
                    <a:pt x="9260333" y="7192685"/>
                  </a:lnTo>
                  <a:lnTo>
                    <a:pt x="9273827" y="7165494"/>
                  </a:lnTo>
                  <a:lnTo>
                    <a:pt x="9287320" y="7138303"/>
                  </a:lnTo>
                  <a:lnTo>
                    <a:pt x="9295069" y="7108119"/>
                  </a:lnTo>
                  <a:lnTo>
                    <a:pt x="9293636" y="7078995"/>
                  </a:lnTo>
                  <a:lnTo>
                    <a:pt x="9288790" y="7052597"/>
                  </a:lnTo>
                  <a:lnTo>
                    <a:pt x="9283969" y="7027543"/>
                  </a:lnTo>
                  <a:lnTo>
                    <a:pt x="9278713" y="6996566"/>
                  </a:lnTo>
                  <a:lnTo>
                    <a:pt x="9268332" y="6972428"/>
                  </a:lnTo>
                  <a:lnTo>
                    <a:pt x="9256147" y="6950580"/>
                  </a:lnTo>
                  <a:lnTo>
                    <a:pt x="9243953" y="6928738"/>
                  </a:lnTo>
                  <a:lnTo>
                    <a:pt x="9229851" y="6908366"/>
                  </a:lnTo>
                  <a:lnTo>
                    <a:pt x="9185417" y="6855369"/>
                  </a:lnTo>
                  <a:lnTo>
                    <a:pt x="9152770" y="6814560"/>
                  </a:lnTo>
                  <a:lnTo>
                    <a:pt x="9132899" y="6785258"/>
                  </a:lnTo>
                  <a:lnTo>
                    <a:pt x="9115511" y="6751374"/>
                  </a:lnTo>
                  <a:lnTo>
                    <a:pt x="9101081" y="6719349"/>
                  </a:lnTo>
                  <a:lnTo>
                    <a:pt x="9082080" y="6679575"/>
                  </a:lnTo>
                  <a:lnTo>
                    <a:pt x="9072806" y="6645453"/>
                  </a:lnTo>
                  <a:lnTo>
                    <a:pt x="9068435" y="6615974"/>
                  </a:lnTo>
                  <a:lnTo>
                    <a:pt x="9064069" y="6586495"/>
                  </a:lnTo>
                  <a:lnTo>
                    <a:pt x="9064512" y="6561757"/>
                  </a:lnTo>
                  <a:lnTo>
                    <a:pt x="9067076" y="6539804"/>
                  </a:lnTo>
                  <a:lnTo>
                    <a:pt x="9072208" y="6495887"/>
                  </a:lnTo>
                  <a:lnTo>
                    <a:pt x="9083156" y="6464205"/>
                  </a:lnTo>
                  <a:lnTo>
                    <a:pt x="9069793" y="6433711"/>
                  </a:lnTo>
                  <a:lnTo>
                    <a:pt x="9031907" y="6415067"/>
                  </a:lnTo>
                  <a:lnTo>
                    <a:pt x="9008612" y="6407337"/>
                  </a:lnTo>
                  <a:lnTo>
                    <a:pt x="8985466" y="6399700"/>
                  </a:lnTo>
                  <a:lnTo>
                    <a:pt x="8962311" y="6392070"/>
                  </a:lnTo>
                  <a:lnTo>
                    <a:pt x="8938771" y="6385047"/>
                  </a:lnTo>
                  <a:lnTo>
                    <a:pt x="8916093" y="6376579"/>
                  </a:lnTo>
                  <a:lnTo>
                    <a:pt x="8892476" y="6364946"/>
                  </a:lnTo>
                  <a:lnTo>
                    <a:pt x="8868980" y="6350133"/>
                  </a:lnTo>
                  <a:lnTo>
                    <a:pt x="8848085" y="6335777"/>
                  </a:lnTo>
                  <a:lnTo>
                    <a:pt x="8815579" y="6313954"/>
                  </a:lnTo>
                  <a:lnTo>
                    <a:pt x="8780753" y="6293068"/>
                  </a:lnTo>
                  <a:lnTo>
                    <a:pt x="8752869" y="6266405"/>
                  </a:lnTo>
                  <a:lnTo>
                    <a:pt x="8726725" y="6238185"/>
                  </a:lnTo>
                  <a:lnTo>
                    <a:pt x="8708286" y="6204847"/>
                  </a:lnTo>
                  <a:lnTo>
                    <a:pt x="8699818" y="6164388"/>
                  </a:lnTo>
                  <a:lnTo>
                    <a:pt x="8698460" y="6141267"/>
                  </a:lnTo>
                  <a:lnTo>
                    <a:pt x="8703902" y="6118138"/>
                  </a:lnTo>
                  <a:lnTo>
                    <a:pt x="8717389" y="6094304"/>
                  </a:lnTo>
                  <a:lnTo>
                    <a:pt x="8738873" y="6080521"/>
                  </a:lnTo>
                  <a:lnTo>
                    <a:pt x="8762391" y="6069178"/>
                  </a:lnTo>
                  <a:lnTo>
                    <a:pt x="8785909" y="6057834"/>
                  </a:lnTo>
                  <a:lnTo>
                    <a:pt x="8811424" y="6048127"/>
                  </a:lnTo>
                  <a:lnTo>
                    <a:pt x="8830406" y="6029726"/>
                  </a:lnTo>
                  <a:lnTo>
                    <a:pt x="8835847" y="6007963"/>
                  </a:lnTo>
                  <a:lnTo>
                    <a:pt x="8800463" y="5975919"/>
                  </a:lnTo>
                  <a:lnTo>
                    <a:pt x="8765802" y="5965203"/>
                  </a:lnTo>
                  <a:lnTo>
                    <a:pt x="8735202" y="5956279"/>
                  </a:lnTo>
                  <a:lnTo>
                    <a:pt x="8732347" y="5911988"/>
                  </a:lnTo>
                  <a:lnTo>
                    <a:pt x="8727035" y="5888273"/>
                  </a:lnTo>
                  <a:lnTo>
                    <a:pt x="8714791" y="5865144"/>
                  </a:lnTo>
                  <a:lnTo>
                    <a:pt x="8675438" y="5870097"/>
                  </a:lnTo>
                  <a:lnTo>
                    <a:pt x="8617833" y="5875736"/>
                  </a:lnTo>
                  <a:lnTo>
                    <a:pt x="8561089" y="5876025"/>
                  </a:lnTo>
                  <a:lnTo>
                    <a:pt x="8504345" y="5876356"/>
                  </a:lnTo>
                  <a:lnTo>
                    <a:pt x="8448612" y="5871832"/>
                  </a:lnTo>
                  <a:lnTo>
                    <a:pt x="8414186" y="5856986"/>
                  </a:lnTo>
                  <a:lnTo>
                    <a:pt x="8397313" y="5835282"/>
                  </a:lnTo>
                  <a:lnTo>
                    <a:pt x="8387537" y="5797072"/>
                  </a:lnTo>
                  <a:lnTo>
                    <a:pt x="8384703" y="5773390"/>
                  </a:lnTo>
                  <a:lnTo>
                    <a:pt x="8382901" y="5749529"/>
                  </a:lnTo>
                  <a:lnTo>
                    <a:pt x="8379308" y="5701808"/>
                  </a:lnTo>
                  <a:lnTo>
                    <a:pt x="8380256" y="5651562"/>
                  </a:lnTo>
                  <a:lnTo>
                    <a:pt x="8377460" y="5629831"/>
                  </a:lnTo>
                  <a:lnTo>
                    <a:pt x="8371755" y="5600267"/>
                  </a:lnTo>
                  <a:lnTo>
                    <a:pt x="8364118" y="5569621"/>
                  </a:lnTo>
                  <a:lnTo>
                    <a:pt x="8357055" y="5540061"/>
                  </a:lnTo>
                  <a:lnTo>
                    <a:pt x="8351002" y="5505643"/>
                  </a:lnTo>
                  <a:lnTo>
                    <a:pt x="8346175" y="5482930"/>
                  </a:lnTo>
                  <a:lnTo>
                    <a:pt x="8341347" y="5460217"/>
                  </a:lnTo>
                  <a:lnTo>
                    <a:pt x="8335220" y="5438620"/>
                  </a:lnTo>
                  <a:lnTo>
                    <a:pt x="8256999" y="5416474"/>
                  </a:lnTo>
                  <a:lnTo>
                    <a:pt x="8222883" y="5411375"/>
                  </a:lnTo>
                  <a:lnTo>
                    <a:pt x="8201998" y="5391795"/>
                  </a:lnTo>
                  <a:lnTo>
                    <a:pt x="8181112" y="5372222"/>
                  </a:lnTo>
                  <a:lnTo>
                    <a:pt x="8173581" y="5338759"/>
                  </a:lnTo>
                  <a:lnTo>
                    <a:pt x="8154388" y="5265298"/>
                  </a:lnTo>
                  <a:lnTo>
                    <a:pt x="8176074" y="5240759"/>
                  </a:lnTo>
                  <a:lnTo>
                    <a:pt x="8197914" y="5228572"/>
                  </a:lnTo>
                  <a:lnTo>
                    <a:pt x="8219764" y="5216384"/>
                  </a:lnTo>
                  <a:lnTo>
                    <a:pt x="8243477" y="5203609"/>
                  </a:lnTo>
                  <a:lnTo>
                    <a:pt x="8254915" y="5176102"/>
                  </a:lnTo>
                  <a:lnTo>
                    <a:pt x="8248240" y="5153759"/>
                  </a:lnTo>
                  <a:lnTo>
                    <a:pt x="8238256" y="5131085"/>
                  </a:lnTo>
                  <a:lnTo>
                    <a:pt x="8217482" y="5078088"/>
                  </a:lnTo>
                  <a:lnTo>
                    <a:pt x="8201371" y="5054486"/>
                  </a:lnTo>
                  <a:lnTo>
                    <a:pt x="8185673" y="5039509"/>
                  </a:lnTo>
                  <a:lnTo>
                    <a:pt x="8169978" y="5024525"/>
                  </a:lnTo>
                  <a:lnTo>
                    <a:pt x="8139425" y="5017738"/>
                  </a:lnTo>
                  <a:lnTo>
                    <a:pt x="8109926" y="5015945"/>
                  </a:lnTo>
                  <a:lnTo>
                    <a:pt x="8083986" y="5030679"/>
                  </a:lnTo>
                  <a:lnTo>
                    <a:pt x="8063252" y="5017738"/>
                  </a:lnTo>
                  <a:lnTo>
                    <a:pt x="8045499" y="4987349"/>
                  </a:lnTo>
                  <a:lnTo>
                    <a:pt x="8012955" y="4969656"/>
                  </a:lnTo>
                  <a:lnTo>
                    <a:pt x="7984364" y="4953815"/>
                  </a:lnTo>
                  <a:lnTo>
                    <a:pt x="7955777" y="4937966"/>
                  </a:lnTo>
                  <a:lnTo>
                    <a:pt x="7930411" y="4924843"/>
                  </a:lnTo>
                  <a:lnTo>
                    <a:pt x="7931406" y="4895154"/>
                  </a:lnTo>
                  <a:lnTo>
                    <a:pt x="7950360" y="4880361"/>
                  </a:lnTo>
                  <a:lnTo>
                    <a:pt x="7970567" y="4867197"/>
                  </a:lnTo>
                  <a:lnTo>
                    <a:pt x="7982631" y="4845888"/>
                  </a:lnTo>
                  <a:lnTo>
                    <a:pt x="7977559" y="4816436"/>
                  </a:lnTo>
                  <a:lnTo>
                    <a:pt x="7974235" y="4782683"/>
                  </a:lnTo>
                  <a:lnTo>
                    <a:pt x="7985722" y="4762022"/>
                  </a:lnTo>
                  <a:lnTo>
                    <a:pt x="8011780" y="4746715"/>
                  </a:lnTo>
                  <a:lnTo>
                    <a:pt x="8046720" y="4739250"/>
                  </a:lnTo>
                  <a:lnTo>
                    <a:pt x="8075500" y="4737541"/>
                  </a:lnTo>
                  <a:lnTo>
                    <a:pt x="8094308" y="4711399"/>
                  </a:lnTo>
                  <a:lnTo>
                    <a:pt x="8084826" y="4678971"/>
                  </a:lnTo>
                  <a:lnTo>
                    <a:pt x="8071416" y="4649130"/>
                  </a:lnTo>
                  <a:lnTo>
                    <a:pt x="8058009" y="4619282"/>
                  </a:lnTo>
                  <a:lnTo>
                    <a:pt x="8040203" y="4592276"/>
                  </a:lnTo>
                  <a:lnTo>
                    <a:pt x="8003021" y="4571383"/>
                  </a:lnTo>
                  <a:lnTo>
                    <a:pt x="7973689" y="4570815"/>
                  </a:lnTo>
                  <a:lnTo>
                    <a:pt x="7943554" y="4571600"/>
                  </a:lnTo>
                  <a:lnTo>
                    <a:pt x="7913429" y="4572386"/>
                  </a:lnTo>
                  <a:lnTo>
                    <a:pt x="7883015" y="4574350"/>
                  </a:lnTo>
                  <a:lnTo>
                    <a:pt x="7855144" y="4566153"/>
                  </a:lnTo>
                  <a:lnTo>
                    <a:pt x="7830795" y="4553584"/>
                  </a:lnTo>
                  <a:lnTo>
                    <a:pt x="7811485" y="4532486"/>
                  </a:lnTo>
                  <a:lnTo>
                    <a:pt x="7798013" y="4509028"/>
                  </a:lnTo>
                  <a:lnTo>
                    <a:pt x="7785421" y="4474029"/>
                  </a:lnTo>
                  <a:lnTo>
                    <a:pt x="7783412" y="4437935"/>
                  </a:lnTo>
                  <a:lnTo>
                    <a:pt x="7789855" y="4401570"/>
                  </a:lnTo>
                  <a:lnTo>
                    <a:pt x="7800189" y="4366327"/>
                  </a:lnTo>
                  <a:lnTo>
                    <a:pt x="7821608" y="4334302"/>
                  </a:lnTo>
                  <a:lnTo>
                    <a:pt x="7848345" y="4310436"/>
                  </a:lnTo>
                  <a:lnTo>
                    <a:pt x="7881121" y="4286113"/>
                  </a:lnTo>
                  <a:lnTo>
                    <a:pt x="7916220" y="4266758"/>
                  </a:lnTo>
                  <a:lnTo>
                    <a:pt x="7951721" y="4247869"/>
                  </a:lnTo>
                  <a:lnTo>
                    <a:pt x="7971354" y="4233130"/>
                  </a:lnTo>
                  <a:lnTo>
                    <a:pt x="7995985" y="4220078"/>
                  </a:lnTo>
                  <a:lnTo>
                    <a:pt x="8018052" y="4213583"/>
                  </a:lnTo>
                  <a:lnTo>
                    <a:pt x="8038773" y="4205703"/>
                  </a:lnTo>
                  <a:lnTo>
                    <a:pt x="8059495" y="4197827"/>
                  </a:lnTo>
                  <a:lnTo>
                    <a:pt x="8078666" y="4188172"/>
                  </a:lnTo>
                  <a:lnTo>
                    <a:pt x="8090451" y="4147410"/>
                  </a:lnTo>
                  <a:lnTo>
                    <a:pt x="8086343" y="4126616"/>
                  </a:lnTo>
                  <a:lnTo>
                    <a:pt x="8075534" y="4086203"/>
                  </a:lnTo>
                  <a:lnTo>
                    <a:pt x="8069665" y="4065956"/>
                  </a:lnTo>
                  <a:lnTo>
                    <a:pt x="8064611" y="4042478"/>
                  </a:lnTo>
                  <a:lnTo>
                    <a:pt x="8069742" y="4018697"/>
                  </a:lnTo>
                  <a:lnTo>
                    <a:pt x="8095824" y="4003278"/>
                  </a:lnTo>
                  <a:lnTo>
                    <a:pt x="8125825" y="3989429"/>
                  </a:lnTo>
                  <a:lnTo>
                    <a:pt x="8155820" y="3975586"/>
                  </a:lnTo>
                  <a:lnTo>
                    <a:pt x="8189270" y="3964223"/>
                  </a:lnTo>
                  <a:lnTo>
                    <a:pt x="8210155" y="3949985"/>
                  </a:lnTo>
                  <a:lnTo>
                    <a:pt x="8214626" y="3912789"/>
                  </a:lnTo>
                  <a:lnTo>
                    <a:pt x="8197526" y="3875647"/>
                  </a:lnTo>
                  <a:lnTo>
                    <a:pt x="8183763" y="3856997"/>
                  </a:lnTo>
                  <a:lnTo>
                    <a:pt x="8173435" y="3838452"/>
                  </a:lnTo>
                  <a:lnTo>
                    <a:pt x="8163107" y="3819906"/>
                  </a:lnTo>
                  <a:lnTo>
                    <a:pt x="8159836" y="3784043"/>
                  </a:lnTo>
                  <a:lnTo>
                    <a:pt x="8175577" y="3748168"/>
                  </a:lnTo>
                  <a:lnTo>
                    <a:pt x="8207445" y="3730994"/>
                  </a:lnTo>
                  <a:lnTo>
                    <a:pt x="8218601" y="3704358"/>
                  </a:lnTo>
                  <a:lnTo>
                    <a:pt x="8218759" y="3683345"/>
                  </a:lnTo>
                  <a:lnTo>
                    <a:pt x="8201560" y="3650780"/>
                  </a:lnTo>
                  <a:lnTo>
                    <a:pt x="8165271" y="3627618"/>
                  </a:lnTo>
                  <a:lnTo>
                    <a:pt x="8146237" y="3616269"/>
                  </a:lnTo>
                  <a:lnTo>
                    <a:pt x="8124204" y="3605454"/>
                  </a:lnTo>
                  <a:lnTo>
                    <a:pt x="8104062" y="3593616"/>
                  </a:lnTo>
                  <a:lnTo>
                    <a:pt x="8083921" y="3581772"/>
                  </a:lnTo>
                  <a:lnTo>
                    <a:pt x="8065662" y="3569208"/>
                  </a:lnTo>
                  <a:lnTo>
                    <a:pt x="8053737" y="3551448"/>
                  </a:lnTo>
                  <a:lnTo>
                    <a:pt x="8056902" y="3524884"/>
                  </a:lnTo>
                  <a:lnTo>
                    <a:pt x="8076824" y="3501973"/>
                  </a:lnTo>
                  <a:lnTo>
                    <a:pt x="8098621" y="3482075"/>
                  </a:lnTo>
                  <a:lnTo>
                    <a:pt x="8120418" y="3462185"/>
                  </a:lnTo>
                  <a:lnTo>
                    <a:pt x="8144826" y="3444716"/>
                  </a:lnTo>
                  <a:lnTo>
                    <a:pt x="8152047" y="3411602"/>
                  </a:lnTo>
                  <a:lnTo>
                    <a:pt x="8144857" y="3382598"/>
                  </a:lnTo>
                  <a:lnTo>
                    <a:pt x="8125825" y="3359661"/>
                  </a:lnTo>
                  <a:lnTo>
                    <a:pt x="8104062" y="3355585"/>
                  </a:lnTo>
                  <a:lnTo>
                    <a:pt x="8080941" y="3352862"/>
                  </a:lnTo>
                  <a:lnTo>
                    <a:pt x="8058347" y="3366296"/>
                  </a:lnTo>
                  <a:lnTo>
                    <a:pt x="8039886" y="3377046"/>
                  </a:lnTo>
                  <a:lnTo>
                    <a:pt x="8002289" y="3385804"/>
                  </a:lnTo>
                  <a:lnTo>
                    <a:pt x="7959879" y="3370543"/>
                  </a:lnTo>
                  <a:lnTo>
                    <a:pt x="7948956" y="3340140"/>
                  </a:lnTo>
                  <a:lnTo>
                    <a:pt x="7943601" y="3308452"/>
                  </a:lnTo>
                  <a:lnTo>
                    <a:pt x="7936755" y="3278049"/>
                  </a:lnTo>
                  <a:lnTo>
                    <a:pt x="7930064" y="3257368"/>
                  </a:lnTo>
                  <a:lnTo>
                    <a:pt x="7908192" y="3234523"/>
                  </a:lnTo>
                  <a:lnTo>
                    <a:pt x="7881729" y="3215259"/>
                  </a:lnTo>
                  <a:lnTo>
                    <a:pt x="7854254" y="3184060"/>
                  </a:lnTo>
                  <a:lnTo>
                    <a:pt x="7844019" y="3140994"/>
                  </a:lnTo>
                  <a:lnTo>
                    <a:pt x="7829304" y="3101227"/>
                  </a:lnTo>
                  <a:lnTo>
                    <a:pt x="7821946" y="3081337"/>
                  </a:lnTo>
                  <a:lnTo>
                    <a:pt x="7803461" y="3048178"/>
                  </a:lnTo>
                  <a:lnTo>
                    <a:pt x="7779890" y="3023624"/>
                  </a:lnTo>
                  <a:lnTo>
                    <a:pt x="7741719" y="3020519"/>
                  </a:lnTo>
                  <a:lnTo>
                    <a:pt x="7701662" y="3020142"/>
                  </a:lnTo>
                  <a:lnTo>
                    <a:pt x="7661999" y="3016891"/>
                  </a:lnTo>
                  <a:lnTo>
                    <a:pt x="7622331" y="3013640"/>
                  </a:lnTo>
                  <a:lnTo>
                    <a:pt x="7582631" y="3008073"/>
                  </a:lnTo>
                  <a:lnTo>
                    <a:pt x="7564064" y="2995128"/>
                  </a:lnTo>
                  <a:lnTo>
                    <a:pt x="7547309" y="2972342"/>
                  </a:lnTo>
                  <a:lnTo>
                    <a:pt x="7542630" y="2948206"/>
                  </a:lnTo>
                  <a:lnTo>
                    <a:pt x="7540937" y="2923040"/>
                  </a:lnTo>
                  <a:lnTo>
                    <a:pt x="7539253" y="2897874"/>
                  </a:lnTo>
                  <a:lnTo>
                    <a:pt x="7540615" y="2871071"/>
                  </a:lnTo>
                  <a:lnTo>
                    <a:pt x="7536860" y="2844144"/>
                  </a:lnTo>
                  <a:lnTo>
                    <a:pt x="7533945" y="2823120"/>
                  </a:lnTo>
                  <a:lnTo>
                    <a:pt x="7517822" y="2796542"/>
                  </a:lnTo>
                  <a:lnTo>
                    <a:pt x="7497727" y="2773553"/>
                  </a:lnTo>
                  <a:lnTo>
                    <a:pt x="7478067" y="2751518"/>
                  </a:lnTo>
                  <a:lnTo>
                    <a:pt x="7464771" y="2723089"/>
                  </a:lnTo>
                  <a:lnTo>
                    <a:pt x="7458737" y="2684257"/>
                  </a:lnTo>
                  <a:lnTo>
                    <a:pt x="7464771" y="2653717"/>
                  </a:lnTo>
                  <a:lnTo>
                    <a:pt x="7476860" y="2616119"/>
                  </a:lnTo>
                  <a:lnTo>
                    <a:pt x="7498940" y="2585222"/>
                  </a:lnTo>
                  <a:lnTo>
                    <a:pt x="7530060" y="2562589"/>
                  </a:lnTo>
                  <a:lnTo>
                    <a:pt x="7590934" y="2531651"/>
                  </a:lnTo>
                  <a:lnTo>
                    <a:pt x="7630721" y="2506816"/>
                  </a:lnTo>
                  <a:lnTo>
                    <a:pt x="7650611" y="2494404"/>
                  </a:lnTo>
                  <a:lnTo>
                    <a:pt x="7669677" y="2481168"/>
                  </a:lnTo>
                  <a:lnTo>
                    <a:pt x="7697861" y="2453574"/>
                  </a:lnTo>
                  <a:lnTo>
                    <a:pt x="7708248" y="2425204"/>
                  </a:lnTo>
                  <a:lnTo>
                    <a:pt x="7710967" y="2369436"/>
                  </a:lnTo>
                  <a:lnTo>
                    <a:pt x="7713683" y="2315029"/>
                  </a:lnTo>
                  <a:lnTo>
                    <a:pt x="7684566" y="2249521"/>
                  </a:lnTo>
                  <a:lnTo>
                    <a:pt x="7655194" y="2199414"/>
                  </a:lnTo>
                  <a:lnTo>
                    <a:pt x="7640512" y="2174352"/>
                  </a:lnTo>
                  <a:lnTo>
                    <a:pt x="7626169" y="2147735"/>
                  </a:lnTo>
                  <a:lnTo>
                    <a:pt x="7615748" y="2123242"/>
                  </a:lnTo>
                  <a:lnTo>
                    <a:pt x="7605330" y="2098743"/>
                  </a:lnTo>
                  <a:lnTo>
                    <a:pt x="7599023" y="2076425"/>
                  </a:lnTo>
                  <a:lnTo>
                    <a:pt x="7602105" y="2044163"/>
                  </a:lnTo>
                  <a:lnTo>
                    <a:pt x="7618473" y="2026667"/>
                  </a:lnTo>
                  <a:lnTo>
                    <a:pt x="7639306" y="2013833"/>
                  </a:lnTo>
                  <a:lnTo>
                    <a:pt x="7662923" y="2004138"/>
                  </a:lnTo>
                  <a:lnTo>
                    <a:pt x="7683762" y="1994022"/>
                  </a:lnTo>
                  <a:lnTo>
                    <a:pt x="7698720" y="1969541"/>
                  </a:lnTo>
                  <a:lnTo>
                    <a:pt x="7698317" y="1938038"/>
                  </a:lnTo>
                  <a:lnTo>
                    <a:pt x="7704167" y="1902887"/>
                  </a:lnTo>
                  <a:lnTo>
                    <a:pt x="7706738" y="1867960"/>
                  </a:lnTo>
                  <a:lnTo>
                    <a:pt x="7701867" y="1836226"/>
                  </a:lnTo>
                  <a:lnTo>
                    <a:pt x="7668799" y="1815835"/>
                  </a:lnTo>
                  <a:lnTo>
                    <a:pt x="7649312" y="1805626"/>
                  </a:lnTo>
                  <a:lnTo>
                    <a:pt x="7623596" y="1795997"/>
                  </a:lnTo>
                  <a:lnTo>
                    <a:pt x="7596710" y="1784554"/>
                  </a:lnTo>
                  <a:lnTo>
                    <a:pt x="7569822" y="1773105"/>
                  </a:lnTo>
                  <a:lnTo>
                    <a:pt x="7542308" y="1759719"/>
                  </a:lnTo>
                  <a:lnTo>
                    <a:pt x="7517816" y="1741028"/>
                  </a:lnTo>
                  <a:lnTo>
                    <a:pt x="7493328" y="1722332"/>
                  </a:lnTo>
                  <a:lnTo>
                    <a:pt x="7471636" y="1698161"/>
                  </a:lnTo>
                  <a:lnTo>
                    <a:pt x="7459333" y="1666216"/>
                  </a:lnTo>
                  <a:lnTo>
                    <a:pt x="7448363" y="1637746"/>
                  </a:lnTo>
                  <a:lnTo>
                    <a:pt x="7443979" y="1601077"/>
                  </a:lnTo>
                  <a:lnTo>
                    <a:pt x="7444366" y="1564199"/>
                  </a:lnTo>
                  <a:lnTo>
                    <a:pt x="7444763" y="1527320"/>
                  </a:lnTo>
                  <a:lnTo>
                    <a:pt x="7450357" y="1490594"/>
                  </a:lnTo>
                  <a:lnTo>
                    <a:pt x="7460691" y="1462183"/>
                  </a:lnTo>
                  <a:lnTo>
                    <a:pt x="7473992" y="1440657"/>
                  </a:lnTo>
                  <a:lnTo>
                    <a:pt x="7491349" y="1408645"/>
                  </a:lnTo>
                  <a:lnTo>
                    <a:pt x="7502164" y="1388630"/>
                  </a:lnTo>
                  <a:lnTo>
                    <a:pt x="7509658" y="1368330"/>
                  </a:lnTo>
                  <a:lnTo>
                    <a:pt x="7517149" y="1348032"/>
                  </a:lnTo>
                  <a:lnTo>
                    <a:pt x="7521896" y="1303041"/>
                  </a:lnTo>
                  <a:lnTo>
                    <a:pt x="7511947" y="1280512"/>
                  </a:lnTo>
                  <a:lnTo>
                    <a:pt x="7497027" y="1264434"/>
                  </a:lnTo>
                  <a:lnTo>
                    <a:pt x="7478370" y="1254073"/>
                  </a:lnTo>
                  <a:lnTo>
                    <a:pt x="7459714" y="1243713"/>
                  </a:lnTo>
                  <a:lnTo>
                    <a:pt x="7437514" y="1238484"/>
                  </a:lnTo>
                  <a:lnTo>
                    <a:pt x="7414439" y="1235034"/>
                  </a:lnTo>
                  <a:lnTo>
                    <a:pt x="7368295" y="1228123"/>
                  </a:lnTo>
                  <a:lnTo>
                    <a:pt x="7317890" y="1229593"/>
                  </a:lnTo>
                  <a:lnTo>
                    <a:pt x="7279786" y="1218711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60" name="Zhytomyr¬0" descr="Zhytomyr¬0">
              <a:extLst>
                <a:ext uri="{FF2B5EF4-FFF2-40B4-BE49-F238E27FC236}">
                  <a16:creationId xmlns:a16="http://schemas.microsoft.com/office/drawing/2014/main" id="{5B88A865-7B07-4A07-B992-56DE9E7D20A6}"/>
                </a:ext>
              </a:extLst>
            </p:cNvPr>
            <p:cNvSpPr/>
            <p:nvPr/>
          </p:nvSpPr>
          <p:spPr>
            <a:xfrm>
              <a:off x="2607352" y="1507563"/>
              <a:ext cx="877423" cy="943753"/>
            </a:xfrm>
            <a:custGeom>
              <a:avLst/>
              <a:gdLst/>
              <a:ahLst/>
              <a:cxnLst/>
              <a:rect l="0" t="0" r="0" b="0"/>
              <a:pathLst>
                <a:path w="8953623" h="10932180">
                  <a:moveTo>
                    <a:pt x="3647014" y="0"/>
                  </a:moveTo>
                  <a:lnTo>
                    <a:pt x="3540790" y="46501"/>
                  </a:lnTo>
                  <a:lnTo>
                    <a:pt x="3473503" y="134660"/>
                  </a:lnTo>
                  <a:lnTo>
                    <a:pt x="3444900" y="172129"/>
                  </a:lnTo>
                  <a:lnTo>
                    <a:pt x="3421179" y="226877"/>
                  </a:lnTo>
                  <a:lnTo>
                    <a:pt x="3400054" y="269320"/>
                  </a:lnTo>
                  <a:lnTo>
                    <a:pt x="3374526" y="320518"/>
                  </a:lnTo>
                  <a:lnTo>
                    <a:pt x="3360097" y="382853"/>
                  </a:lnTo>
                  <a:lnTo>
                    <a:pt x="3321160" y="425742"/>
                  </a:lnTo>
                  <a:lnTo>
                    <a:pt x="3302504" y="446294"/>
                  </a:lnTo>
                  <a:lnTo>
                    <a:pt x="3241652" y="480001"/>
                  </a:lnTo>
                  <a:lnTo>
                    <a:pt x="3215069" y="489671"/>
                  </a:lnTo>
                  <a:lnTo>
                    <a:pt x="3137577" y="517896"/>
                  </a:lnTo>
                  <a:lnTo>
                    <a:pt x="3062363" y="508714"/>
                  </a:lnTo>
                  <a:lnTo>
                    <a:pt x="2982472" y="508714"/>
                  </a:lnTo>
                  <a:lnTo>
                    <a:pt x="2935734" y="508714"/>
                  </a:lnTo>
                  <a:lnTo>
                    <a:pt x="2896336" y="522423"/>
                  </a:lnTo>
                  <a:lnTo>
                    <a:pt x="2843735" y="516875"/>
                  </a:lnTo>
                  <a:lnTo>
                    <a:pt x="2817679" y="510138"/>
                  </a:lnTo>
                  <a:lnTo>
                    <a:pt x="2786690" y="501850"/>
                  </a:lnTo>
                  <a:lnTo>
                    <a:pt x="2762116" y="491032"/>
                  </a:lnTo>
                  <a:lnTo>
                    <a:pt x="2737530" y="480192"/>
                  </a:lnTo>
                  <a:lnTo>
                    <a:pt x="2717060" y="463743"/>
                  </a:lnTo>
                  <a:lnTo>
                    <a:pt x="2691394" y="452946"/>
                  </a:lnTo>
                  <a:lnTo>
                    <a:pt x="2630588" y="421024"/>
                  </a:lnTo>
                  <a:lnTo>
                    <a:pt x="2554418" y="329890"/>
                  </a:lnTo>
                  <a:lnTo>
                    <a:pt x="2503683" y="280201"/>
                  </a:lnTo>
                  <a:lnTo>
                    <a:pt x="2484471" y="261392"/>
                  </a:lnTo>
                  <a:lnTo>
                    <a:pt x="2469382" y="229916"/>
                  </a:lnTo>
                  <a:lnTo>
                    <a:pt x="2445192" y="216272"/>
                  </a:lnTo>
                  <a:lnTo>
                    <a:pt x="2374356" y="191108"/>
                  </a:lnTo>
                  <a:lnTo>
                    <a:pt x="2342648" y="208408"/>
                  </a:lnTo>
                  <a:lnTo>
                    <a:pt x="2313254" y="225792"/>
                  </a:lnTo>
                  <a:lnTo>
                    <a:pt x="2255253" y="267024"/>
                  </a:lnTo>
                  <a:lnTo>
                    <a:pt x="2179022" y="353163"/>
                  </a:lnTo>
                  <a:lnTo>
                    <a:pt x="2182676" y="428463"/>
                  </a:lnTo>
                  <a:lnTo>
                    <a:pt x="2184119" y="458451"/>
                  </a:lnTo>
                  <a:lnTo>
                    <a:pt x="2200442" y="489204"/>
                  </a:lnTo>
                  <a:lnTo>
                    <a:pt x="2207163" y="518236"/>
                  </a:lnTo>
                  <a:lnTo>
                    <a:pt x="2212834" y="542762"/>
                  </a:lnTo>
                  <a:lnTo>
                    <a:pt x="2217082" y="665669"/>
                  </a:lnTo>
                  <a:lnTo>
                    <a:pt x="2208521" y="686900"/>
                  </a:lnTo>
                  <a:lnTo>
                    <a:pt x="2188862" y="717802"/>
                  </a:lnTo>
                  <a:lnTo>
                    <a:pt x="2144122" y="766918"/>
                  </a:lnTo>
                  <a:lnTo>
                    <a:pt x="2117999" y="806279"/>
                  </a:lnTo>
                  <a:lnTo>
                    <a:pt x="2091540" y="850124"/>
                  </a:lnTo>
                  <a:lnTo>
                    <a:pt x="2069737" y="886276"/>
                  </a:lnTo>
                  <a:lnTo>
                    <a:pt x="2030459" y="912205"/>
                  </a:lnTo>
                  <a:lnTo>
                    <a:pt x="2008570" y="946698"/>
                  </a:lnTo>
                  <a:lnTo>
                    <a:pt x="1994246" y="969269"/>
                  </a:lnTo>
                  <a:lnTo>
                    <a:pt x="1995816" y="996431"/>
                  </a:lnTo>
                  <a:lnTo>
                    <a:pt x="1978642" y="1020149"/>
                  </a:lnTo>
                  <a:lnTo>
                    <a:pt x="1934179" y="1025399"/>
                  </a:lnTo>
                  <a:lnTo>
                    <a:pt x="1883728" y="970672"/>
                  </a:lnTo>
                  <a:lnTo>
                    <a:pt x="1857586" y="953499"/>
                  </a:lnTo>
                  <a:lnTo>
                    <a:pt x="1828575" y="934435"/>
                  </a:lnTo>
                  <a:lnTo>
                    <a:pt x="1742842" y="901068"/>
                  </a:lnTo>
                  <a:lnTo>
                    <a:pt x="1727008" y="875967"/>
                  </a:lnTo>
                  <a:lnTo>
                    <a:pt x="1735165" y="851485"/>
                  </a:lnTo>
                  <a:lnTo>
                    <a:pt x="1712782" y="876946"/>
                  </a:lnTo>
                  <a:lnTo>
                    <a:pt x="1689357" y="893860"/>
                  </a:lnTo>
                  <a:lnTo>
                    <a:pt x="1668338" y="903094"/>
                  </a:lnTo>
                  <a:lnTo>
                    <a:pt x="1645395" y="905892"/>
                  </a:lnTo>
                  <a:lnTo>
                    <a:pt x="1621318" y="908831"/>
                  </a:lnTo>
                  <a:lnTo>
                    <a:pt x="1583509" y="908230"/>
                  </a:lnTo>
                  <a:lnTo>
                    <a:pt x="1561066" y="915413"/>
                  </a:lnTo>
                  <a:lnTo>
                    <a:pt x="1535221" y="930376"/>
                  </a:lnTo>
                  <a:lnTo>
                    <a:pt x="1480813" y="957580"/>
                  </a:lnTo>
                  <a:lnTo>
                    <a:pt x="1450865" y="969907"/>
                  </a:lnTo>
                  <a:lnTo>
                    <a:pt x="1425831" y="967908"/>
                  </a:lnTo>
                  <a:lnTo>
                    <a:pt x="1396477" y="990225"/>
                  </a:lnTo>
                  <a:lnTo>
                    <a:pt x="1370473" y="1049656"/>
                  </a:lnTo>
                  <a:lnTo>
                    <a:pt x="1357033" y="1097680"/>
                  </a:lnTo>
                  <a:lnTo>
                    <a:pt x="1343592" y="1145704"/>
                  </a:lnTo>
                  <a:lnTo>
                    <a:pt x="1332994" y="1194775"/>
                  </a:lnTo>
                  <a:lnTo>
                    <a:pt x="1369267" y="1254836"/>
                  </a:lnTo>
                  <a:lnTo>
                    <a:pt x="1405446" y="1275433"/>
                  </a:lnTo>
                  <a:lnTo>
                    <a:pt x="1430480" y="1301710"/>
                  </a:lnTo>
                  <a:lnTo>
                    <a:pt x="1452606" y="1329992"/>
                  </a:lnTo>
                  <a:lnTo>
                    <a:pt x="1462769" y="1368642"/>
                  </a:lnTo>
                  <a:lnTo>
                    <a:pt x="1463738" y="1392854"/>
                  </a:lnTo>
                  <a:lnTo>
                    <a:pt x="1457684" y="1425489"/>
                  </a:lnTo>
                  <a:lnTo>
                    <a:pt x="1416031" y="1424276"/>
                  </a:lnTo>
                  <a:lnTo>
                    <a:pt x="1369557" y="1393547"/>
                  </a:lnTo>
                  <a:lnTo>
                    <a:pt x="1325747" y="1358838"/>
                  </a:lnTo>
                  <a:lnTo>
                    <a:pt x="1281937" y="1324130"/>
                  </a:lnTo>
                  <a:lnTo>
                    <a:pt x="1240026" y="1286036"/>
                  </a:lnTo>
                  <a:lnTo>
                    <a:pt x="1226454" y="1264984"/>
                  </a:lnTo>
                  <a:lnTo>
                    <a:pt x="1213977" y="1212207"/>
                  </a:lnTo>
                  <a:lnTo>
                    <a:pt x="1195167" y="1186093"/>
                  </a:lnTo>
                  <a:lnTo>
                    <a:pt x="1175330" y="1161590"/>
                  </a:lnTo>
                  <a:lnTo>
                    <a:pt x="1152433" y="1145307"/>
                  </a:lnTo>
                  <a:lnTo>
                    <a:pt x="1128520" y="1142567"/>
                  </a:lnTo>
                  <a:lnTo>
                    <a:pt x="1103802" y="1154788"/>
                  </a:lnTo>
                  <a:lnTo>
                    <a:pt x="1086701" y="1201269"/>
                  </a:lnTo>
                  <a:lnTo>
                    <a:pt x="1081952" y="1233318"/>
                  </a:lnTo>
                  <a:lnTo>
                    <a:pt x="1085013" y="1263923"/>
                  </a:lnTo>
                  <a:lnTo>
                    <a:pt x="1080911" y="1293549"/>
                  </a:lnTo>
                  <a:lnTo>
                    <a:pt x="1077001" y="1321816"/>
                  </a:lnTo>
                  <a:lnTo>
                    <a:pt x="1067781" y="1353504"/>
                  </a:lnTo>
                  <a:lnTo>
                    <a:pt x="1061871" y="1381961"/>
                  </a:lnTo>
                  <a:lnTo>
                    <a:pt x="1053047" y="1424489"/>
                  </a:lnTo>
                  <a:lnTo>
                    <a:pt x="1032393" y="1462362"/>
                  </a:lnTo>
                  <a:lnTo>
                    <a:pt x="1027869" y="1505740"/>
                  </a:lnTo>
                  <a:lnTo>
                    <a:pt x="1037470" y="1530797"/>
                  </a:lnTo>
                  <a:lnTo>
                    <a:pt x="1059808" y="1546812"/>
                  </a:lnTo>
                  <a:lnTo>
                    <a:pt x="1082270" y="1562868"/>
                  </a:lnTo>
                  <a:lnTo>
                    <a:pt x="1104739" y="1578926"/>
                  </a:lnTo>
                  <a:lnTo>
                    <a:pt x="1127511" y="1595428"/>
                  </a:lnTo>
                  <a:lnTo>
                    <a:pt x="1138042" y="1619997"/>
                  </a:lnTo>
                  <a:lnTo>
                    <a:pt x="1146880" y="1647626"/>
                  </a:lnTo>
                  <a:lnTo>
                    <a:pt x="1136090" y="1674744"/>
                  </a:lnTo>
                  <a:lnTo>
                    <a:pt x="1127160" y="1700249"/>
                  </a:lnTo>
                  <a:lnTo>
                    <a:pt x="1118423" y="1725263"/>
                  </a:lnTo>
                  <a:lnTo>
                    <a:pt x="1090434" y="1757377"/>
                  </a:lnTo>
                  <a:lnTo>
                    <a:pt x="1066699" y="1786141"/>
                  </a:lnTo>
                  <a:lnTo>
                    <a:pt x="1044995" y="1804504"/>
                  </a:lnTo>
                  <a:lnTo>
                    <a:pt x="1023785" y="1815865"/>
                  </a:lnTo>
                  <a:lnTo>
                    <a:pt x="1002570" y="1827227"/>
                  </a:lnTo>
                  <a:lnTo>
                    <a:pt x="981579" y="1831874"/>
                  </a:lnTo>
                  <a:lnTo>
                    <a:pt x="959854" y="1834908"/>
                  </a:lnTo>
                  <a:lnTo>
                    <a:pt x="916414" y="1840976"/>
                  </a:lnTo>
                  <a:lnTo>
                    <a:pt x="868437" y="1838969"/>
                  </a:lnTo>
                  <a:lnTo>
                    <a:pt x="804796" y="1866193"/>
                  </a:lnTo>
                  <a:lnTo>
                    <a:pt x="811569" y="1941195"/>
                  </a:lnTo>
                  <a:lnTo>
                    <a:pt x="855899" y="2002002"/>
                  </a:lnTo>
                  <a:lnTo>
                    <a:pt x="885042" y="2055260"/>
                  </a:lnTo>
                  <a:lnTo>
                    <a:pt x="904952" y="2091648"/>
                  </a:lnTo>
                  <a:lnTo>
                    <a:pt x="921427" y="2126142"/>
                  </a:lnTo>
                  <a:lnTo>
                    <a:pt x="929928" y="2162716"/>
                  </a:lnTo>
                  <a:lnTo>
                    <a:pt x="938436" y="2199290"/>
                  </a:lnTo>
                  <a:lnTo>
                    <a:pt x="939259" y="2237495"/>
                  </a:lnTo>
                  <a:lnTo>
                    <a:pt x="927210" y="2279693"/>
                  </a:lnTo>
                  <a:lnTo>
                    <a:pt x="918446" y="2310393"/>
                  </a:lnTo>
                  <a:lnTo>
                    <a:pt x="905777" y="2331897"/>
                  </a:lnTo>
                  <a:lnTo>
                    <a:pt x="891848" y="2347703"/>
                  </a:lnTo>
                  <a:lnTo>
                    <a:pt x="877920" y="2363509"/>
                  </a:lnTo>
                  <a:lnTo>
                    <a:pt x="845606" y="2381708"/>
                  </a:lnTo>
                  <a:lnTo>
                    <a:pt x="812321" y="2399134"/>
                  </a:lnTo>
                  <a:lnTo>
                    <a:pt x="778231" y="2418690"/>
                  </a:lnTo>
                  <a:lnTo>
                    <a:pt x="746306" y="2448358"/>
                  </a:lnTo>
                  <a:lnTo>
                    <a:pt x="727958" y="2471162"/>
                  </a:lnTo>
                  <a:lnTo>
                    <a:pt x="722004" y="2500528"/>
                  </a:lnTo>
                  <a:lnTo>
                    <a:pt x="719102" y="2527249"/>
                  </a:lnTo>
                  <a:lnTo>
                    <a:pt x="716199" y="2553968"/>
                  </a:lnTo>
                  <a:lnTo>
                    <a:pt x="715824" y="2578976"/>
                  </a:lnTo>
                  <a:lnTo>
                    <a:pt x="692511" y="2621315"/>
                  </a:lnTo>
                  <a:lnTo>
                    <a:pt x="671486" y="2640784"/>
                  </a:lnTo>
                  <a:lnTo>
                    <a:pt x="651095" y="2660548"/>
                  </a:lnTo>
                  <a:lnTo>
                    <a:pt x="630696" y="2680313"/>
                  </a:lnTo>
                  <a:lnTo>
                    <a:pt x="611142" y="2699458"/>
                  </a:lnTo>
                  <a:lnTo>
                    <a:pt x="598045" y="2727196"/>
                  </a:lnTo>
                  <a:lnTo>
                    <a:pt x="581189" y="2762921"/>
                  </a:lnTo>
                  <a:lnTo>
                    <a:pt x="580450" y="2817823"/>
                  </a:lnTo>
                  <a:lnTo>
                    <a:pt x="580364" y="2867299"/>
                  </a:lnTo>
                  <a:lnTo>
                    <a:pt x="580299" y="2916774"/>
                  </a:lnTo>
                  <a:lnTo>
                    <a:pt x="581268" y="2961296"/>
                  </a:lnTo>
                  <a:lnTo>
                    <a:pt x="565401" y="2978838"/>
                  </a:lnTo>
                  <a:lnTo>
                    <a:pt x="550219" y="2995642"/>
                  </a:lnTo>
                  <a:lnTo>
                    <a:pt x="458563" y="3081910"/>
                  </a:lnTo>
                  <a:lnTo>
                    <a:pt x="436714" y="3130924"/>
                  </a:lnTo>
                  <a:lnTo>
                    <a:pt x="439643" y="3205584"/>
                  </a:lnTo>
                  <a:lnTo>
                    <a:pt x="422582" y="3219592"/>
                  </a:lnTo>
                  <a:lnTo>
                    <a:pt x="384007" y="3238163"/>
                  </a:lnTo>
                  <a:lnTo>
                    <a:pt x="336953" y="3277673"/>
                  </a:lnTo>
                  <a:lnTo>
                    <a:pt x="296078" y="3288964"/>
                  </a:lnTo>
                  <a:lnTo>
                    <a:pt x="271585" y="3295724"/>
                  </a:lnTo>
                  <a:lnTo>
                    <a:pt x="239408" y="3296620"/>
                  </a:lnTo>
                  <a:lnTo>
                    <a:pt x="207666" y="3301204"/>
                  </a:lnTo>
                  <a:lnTo>
                    <a:pt x="175925" y="3305787"/>
                  </a:lnTo>
                  <a:lnTo>
                    <a:pt x="145516" y="3313833"/>
                  </a:lnTo>
                  <a:lnTo>
                    <a:pt x="124696" y="3331125"/>
                  </a:lnTo>
                  <a:lnTo>
                    <a:pt x="103170" y="3354246"/>
                  </a:lnTo>
                  <a:lnTo>
                    <a:pt x="94530" y="3381457"/>
                  </a:lnTo>
                  <a:lnTo>
                    <a:pt x="90693" y="3411378"/>
                  </a:lnTo>
                  <a:lnTo>
                    <a:pt x="83544" y="3443370"/>
                  </a:lnTo>
                  <a:lnTo>
                    <a:pt x="65191" y="3477320"/>
                  </a:lnTo>
                  <a:lnTo>
                    <a:pt x="51282" y="3495490"/>
                  </a:lnTo>
                  <a:lnTo>
                    <a:pt x="28121" y="3513395"/>
                  </a:lnTo>
                  <a:lnTo>
                    <a:pt x="42788" y="3563232"/>
                  </a:lnTo>
                  <a:lnTo>
                    <a:pt x="86314" y="3602531"/>
                  </a:lnTo>
                  <a:lnTo>
                    <a:pt x="107015" y="3650773"/>
                  </a:lnTo>
                  <a:lnTo>
                    <a:pt x="108551" y="3683220"/>
                  </a:lnTo>
                  <a:lnTo>
                    <a:pt x="102761" y="3721702"/>
                  </a:lnTo>
                  <a:lnTo>
                    <a:pt x="109733" y="3756872"/>
                  </a:lnTo>
                  <a:lnTo>
                    <a:pt x="135987" y="3776307"/>
                  </a:lnTo>
                  <a:lnTo>
                    <a:pt x="165083" y="3802726"/>
                  </a:lnTo>
                  <a:lnTo>
                    <a:pt x="184545" y="3830320"/>
                  </a:lnTo>
                  <a:lnTo>
                    <a:pt x="184999" y="3853098"/>
                  </a:lnTo>
                  <a:lnTo>
                    <a:pt x="168836" y="3877057"/>
                  </a:lnTo>
                  <a:lnTo>
                    <a:pt x="142515" y="3891903"/>
                  </a:lnTo>
                  <a:lnTo>
                    <a:pt x="118576" y="3894943"/>
                  </a:lnTo>
                  <a:lnTo>
                    <a:pt x="87976" y="3907849"/>
                  </a:lnTo>
                  <a:lnTo>
                    <a:pt x="96180" y="3931056"/>
                  </a:lnTo>
                  <a:lnTo>
                    <a:pt x="117943" y="3957073"/>
                  </a:lnTo>
                  <a:lnTo>
                    <a:pt x="141962" y="3982174"/>
                  </a:lnTo>
                  <a:lnTo>
                    <a:pt x="161423" y="4008507"/>
                  </a:lnTo>
                  <a:lnTo>
                    <a:pt x="180885" y="4034834"/>
                  </a:lnTo>
                  <a:lnTo>
                    <a:pt x="195994" y="4063007"/>
                  </a:lnTo>
                  <a:lnTo>
                    <a:pt x="192709" y="4090119"/>
                  </a:lnTo>
                  <a:lnTo>
                    <a:pt x="187599" y="4132254"/>
                  </a:lnTo>
                  <a:lnTo>
                    <a:pt x="180496" y="4172279"/>
                  </a:lnTo>
                  <a:lnTo>
                    <a:pt x="172306" y="4212534"/>
                  </a:lnTo>
                  <a:lnTo>
                    <a:pt x="164114" y="4252795"/>
                  </a:lnTo>
                  <a:lnTo>
                    <a:pt x="154914" y="4292899"/>
                  </a:lnTo>
                  <a:lnTo>
                    <a:pt x="145101" y="4333596"/>
                  </a:lnTo>
                  <a:lnTo>
                    <a:pt x="138652" y="4360319"/>
                  </a:lnTo>
                  <a:lnTo>
                    <a:pt x="131970" y="4384990"/>
                  </a:lnTo>
                  <a:lnTo>
                    <a:pt x="127420" y="4409767"/>
                  </a:lnTo>
                  <a:lnTo>
                    <a:pt x="122876" y="4434538"/>
                  </a:lnTo>
                  <a:lnTo>
                    <a:pt x="119335" y="4459849"/>
                  </a:lnTo>
                  <a:lnTo>
                    <a:pt x="120620" y="4487297"/>
                  </a:lnTo>
                  <a:lnTo>
                    <a:pt x="122124" y="4519540"/>
                  </a:lnTo>
                  <a:lnTo>
                    <a:pt x="139925" y="4563514"/>
                  </a:lnTo>
                  <a:lnTo>
                    <a:pt x="161423" y="4605636"/>
                  </a:lnTo>
                  <a:lnTo>
                    <a:pt x="182922" y="4647751"/>
                  </a:lnTo>
                  <a:lnTo>
                    <a:pt x="209085" y="4687512"/>
                  </a:lnTo>
                  <a:lnTo>
                    <a:pt x="226713" y="4713087"/>
                  </a:lnTo>
                  <a:lnTo>
                    <a:pt x="250454" y="4738932"/>
                  </a:lnTo>
                  <a:lnTo>
                    <a:pt x="277276" y="4774512"/>
                  </a:lnTo>
                  <a:lnTo>
                    <a:pt x="304586" y="4866729"/>
                  </a:lnTo>
                  <a:lnTo>
                    <a:pt x="302884" y="4891274"/>
                  </a:lnTo>
                  <a:lnTo>
                    <a:pt x="301202" y="4915570"/>
                  </a:lnTo>
                  <a:lnTo>
                    <a:pt x="290815" y="4956056"/>
                  </a:lnTo>
                  <a:lnTo>
                    <a:pt x="283844" y="4979686"/>
                  </a:lnTo>
                  <a:lnTo>
                    <a:pt x="272290" y="5018918"/>
                  </a:lnTo>
                  <a:lnTo>
                    <a:pt x="254147" y="5055329"/>
                  </a:lnTo>
                  <a:lnTo>
                    <a:pt x="233513" y="5091226"/>
                  </a:lnTo>
                  <a:lnTo>
                    <a:pt x="212877" y="5127121"/>
                  </a:lnTo>
                  <a:lnTo>
                    <a:pt x="189010" y="5162596"/>
                  </a:lnTo>
                  <a:lnTo>
                    <a:pt x="168222" y="5197318"/>
                  </a:lnTo>
                  <a:lnTo>
                    <a:pt x="147950" y="5231176"/>
                  </a:lnTo>
                  <a:lnTo>
                    <a:pt x="113182" y="5260609"/>
                  </a:lnTo>
                  <a:lnTo>
                    <a:pt x="83894" y="5295252"/>
                  </a:lnTo>
                  <a:lnTo>
                    <a:pt x="74581" y="5321117"/>
                  </a:lnTo>
                  <a:lnTo>
                    <a:pt x="80365" y="5347984"/>
                  </a:lnTo>
                  <a:lnTo>
                    <a:pt x="71653" y="5374146"/>
                  </a:lnTo>
                  <a:lnTo>
                    <a:pt x="57561" y="5416374"/>
                  </a:lnTo>
                  <a:lnTo>
                    <a:pt x="30528" y="5451446"/>
                  </a:lnTo>
                  <a:lnTo>
                    <a:pt x="6358" y="5488404"/>
                  </a:lnTo>
                  <a:lnTo>
                    <a:pt x="0" y="5522703"/>
                  </a:lnTo>
                  <a:lnTo>
                    <a:pt x="7280" y="5546498"/>
                  </a:lnTo>
                  <a:lnTo>
                    <a:pt x="32202" y="5568657"/>
                  </a:lnTo>
                  <a:lnTo>
                    <a:pt x="62672" y="5587611"/>
                  </a:lnTo>
                  <a:lnTo>
                    <a:pt x="114098" y="5612348"/>
                  </a:lnTo>
                  <a:lnTo>
                    <a:pt x="151260" y="5629013"/>
                  </a:lnTo>
                  <a:lnTo>
                    <a:pt x="173664" y="5661144"/>
                  </a:lnTo>
                  <a:lnTo>
                    <a:pt x="175510" y="5686138"/>
                  </a:lnTo>
                  <a:lnTo>
                    <a:pt x="167504" y="5731109"/>
                  </a:lnTo>
                  <a:lnTo>
                    <a:pt x="157341" y="5749561"/>
                  </a:lnTo>
                  <a:lnTo>
                    <a:pt x="137227" y="5764671"/>
                  </a:lnTo>
                  <a:lnTo>
                    <a:pt x="111097" y="5791722"/>
                  </a:lnTo>
                  <a:lnTo>
                    <a:pt x="95890" y="5807465"/>
                  </a:lnTo>
                  <a:lnTo>
                    <a:pt x="80933" y="5825568"/>
                  </a:lnTo>
                  <a:lnTo>
                    <a:pt x="66207" y="5842055"/>
                  </a:lnTo>
                  <a:lnTo>
                    <a:pt x="51487" y="5858535"/>
                  </a:lnTo>
                  <a:lnTo>
                    <a:pt x="36819" y="5874271"/>
                  </a:lnTo>
                  <a:lnTo>
                    <a:pt x="18603" y="5886940"/>
                  </a:lnTo>
                  <a:lnTo>
                    <a:pt x="45123" y="5899411"/>
                  </a:lnTo>
                  <a:lnTo>
                    <a:pt x="70289" y="5910062"/>
                  </a:lnTo>
                  <a:lnTo>
                    <a:pt x="86354" y="5925375"/>
                  </a:lnTo>
                  <a:lnTo>
                    <a:pt x="93515" y="5954030"/>
                  </a:lnTo>
                  <a:lnTo>
                    <a:pt x="96034" y="5974903"/>
                  </a:lnTo>
                  <a:lnTo>
                    <a:pt x="104299" y="5997115"/>
                  </a:lnTo>
                  <a:lnTo>
                    <a:pt x="123338" y="6010713"/>
                  </a:lnTo>
                  <a:lnTo>
                    <a:pt x="153265" y="6018878"/>
                  </a:lnTo>
                  <a:lnTo>
                    <a:pt x="183187" y="6024318"/>
                  </a:lnTo>
                  <a:lnTo>
                    <a:pt x="206308" y="6027042"/>
                  </a:lnTo>
                  <a:lnTo>
                    <a:pt x="218272" y="6049755"/>
                  </a:lnTo>
                  <a:lnTo>
                    <a:pt x="224273" y="6072336"/>
                  </a:lnTo>
                  <a:lnTo>
                    <a:pt x="228071" y="6095049"/>
                  </a:lnTo>
                  <a:lnTo>
                    <a:pt x="232134" y="6118592"/>
                  </a:lnTo>
                  <a:lnTo>
                    <a:pt x="240339" y="6142235"/>
                  </a:lnTo>
                  <a:lnTo>
                    <a:pt x="255276" y="6165779"/>
                  </a:lnTo>
                  <a:lnTo>
                    <a:pt x="282262" y="6179220"/>
                  </a:lnTo>
                  <a:lnTo>
                    <a:pt x="309908" y="6187714"/>
                  </a:lnTo>
                  <a:lnTo>
                    <a:pt x="338246" y="6192983"/>
                  </a:lnTo>
                  <a:lnTo>
                    <a:pt x="366577" y="6198536"/>
                  </a:lnTo>
                  <a:lnTo>
                    <a:pt x="394818" y="6203673"/>
                  </a:lnTo>
                  <a:lnTo>
                    <a:pt x="422582" y="6213387"/>
                  </a:lnTo>
                  <a:lnTo>
                    <a:pt x="411317" y="6246276"/>
                  </a:lnTo>
                  <a:lnTo>
                    <a:pt x="390827" y="6259302"/>
                  </a:lnTo>
                  <a:lnTo>
                    <a:pt x="369532" y="6270520"/>
                  </a:lnTo>
                  <a:lnTo>
                    <a:pt x="348237" y="6281731"/>
                  </a:lnTo>
                  <a:lnTo>
                    <a:pt x="326343" y="6291676"/>
                  </a:lnTo>
                  <a:lnTo>
                    <a:pt x="305601" y="6301799"/>
                  </a:lnTo>
                  <a:lnTo>
                    <a:pt x="257511" y="6344923"/>
                  </a:lnTo>
                  <a:lnTo>
                    <a:pt x="237917" y="6366165"/>
                  </a:lnTo>
                  <a:lnTo>
                    <a:pt x="223995" y="6391576"/>
                  </a:lnTo>
                  <a:lnTo>
                    <a:pt x="210061" y="6416986"/>
                  </a:lnTo>
                  <a:lnTo>
                    <a:pt x="201989" y="6446630"/>
                  </a:lnTo>
                  <a:lnTo>
                    <a:pt x="189985" y="6490868"/>
                  </a:lnTo>
                  <a:lnTo>
                    <a:pt x="160064" y="6599684"/>
                  </a:lnTo>
                  <a:lnTo>
                    <a:pt x="143630" y="6660259"/>
                  </a:lnTo>
                  <a:lnTo>
                    <a:pt x="140959" y="6698252"/>
                  </a:lnTo>
                  <a:lnTo>
                    <a:pt x="149183" y="6722105"/>
                  </a:lnTo>
                  <a:lnTo>
                    <a:pt x="157407" y="6745953"/>
                  </a:lnTo>
                  <a:lnTo>
                    <a:pt x="176446" y="6756860"/>
                  </a:lnTo>
                  <a:lnTo>
                    <a:pt x="199509" y="6761549"/>
                  </a:lnTo>
                  <a:lnTo>
                    <a:pt x="222571" y="6766232"/>
                  </a:lnTo>
                  <a:lnTo>
                    <a:pt x="250302" y="6765282"/>
                  </a:lnTo>
                  <a:lnTo>
                    <a:pt x="278397" y="6768349"/>
                  </a:lnTo>
                  <a:lnTo>
                    <a:pt x="306491" y="6771415"/>
                  </a:lnTo>
                  <a:lnTo>
                    <a:pt x="333979" y="6777905"/>
                  </a:lnTo>
                  <a:lnTo>
                    <a:pt x="357291" y="6796911"/>
                  </a:lnTo>
                  <a:lnTo>
                    <a:pt x="377242" y="6821365"/>
                  </a:lnTo>
                  <a:lnTo>
                    <a:pt x="386303" y="6851359"/>
                  </a:lnTo>
                  <a:lnTo>
                    <a:pt x="391295" y="6883964"/>
                  </a:lnTo>
                  <a:lnTo>
                    <a:pt x="397343" y="6916602"/>
                  </a:lnTo>
                  <a:lnTo>
                    <a:pt x="412452" y="6946543"/>
                  </a:lnTo>
                  <a:lnTo>
                    <a:pt x="442987" y="6971017"/>
                  </a:lnTo>
                  <a:lnTo>
                    <a:pt x="465192" y="6983264"/>
                  </a:lnTo>
                  <a:lnTo>
                    <a:pt x="490033" y="6994119"/>
                  </a:lnTo>
                  <a:lnTo>
                    <a:pt x="513716" y="7005027"/>
                  </a:lnTo>
                  <a:lnTo>
                    <a:pt x="537392" y="7015935"/>
                  </a:lnTo>
                  <a:lnTo>
                    <a:pt x="560442" y="7026295"/>
                  </a:lnTo>
                  <a:lnTo>
                    <a:pt x="581722" y="7039030"/>
                  </a:lnTo>
                  <a:lnTo>
                    <a:pt x="606104" y="7053605"/>
                  </a:lnTo>
                  <a:lnTo>
                    <a:pt x="630882" y="7076245"/>
                  </a:lnTo>
                  <a:lnTo>
                    <a:pt x="653813" y="7093438"/>
                  </a:lnTo>
                  <a:lnTo>
                    <a:pt x="676920" y="7110756"/>
                  </a:lnTo>
                  <a:lnTo>
                    <a:pt x="700847" y="7131800"/>
                  </a:lnTo>
                  <a:lnTo>
                    <a:pt x="724549" y="7147846"/>
                  </a:lnTo>
                  <a:lnTo>
                    <a:pt x="750177" y="7165191"/>
                  </a:lnTo>
                  <a:lnTo>
                    <a:pt x="785756" y="7188649"/>
                  </a:lnTo>
                  <a:lnTo>
                    <a:pt x="751345" y="7231859"/>
                  </a:lnTo>
                  <a:lnTo>
                    <a:pt x="734065" y="7260744"/>
                  </a:lnTo>
                  <a:lnTo>
                    <a:pt x="750388" y="7293382"/>
                  </a:lnTo>
                  <a:lnTo>
                    <a:pt x="783092" y="7303591"/>
                  </a:lnTo>
                  <a:lnTo>
                    <a:pt x="806154" y="7287941"/>
                  </a:lnTo>
                  <a:lnTo>
                    <a:pt x="833905" y="7273716"/>
                  </a:lnTo>
                  <a:lnTo>
                    <a:pt x="860569" y="7282507"/>
                  </a:lnTo>
                  <a:lnTo>
                    <a:pt x="872446" y="7316022"/>
                  </a:lnTo>
                  <a:lnTo>
                    <a:pt x="874168" y="7336909"/>
                  </a:lnTo>
                  <a:lnTo>
                    <a:pt x="875889" y="7357801"/>
                  </a:lnTo>
                  <a:lnTo>
                    <a:pt x="893213" y="7388599"/>
                  </a:lnTo>
                  <a:lnTo>
                    <a:pt x="937702" y="7395003"/>
                  </a:lnTo>
                  <a:lnTo>
                    <a:pt x="966662" y="7398123"/>
                  </a:lnTo>
                  <a:lnTo>
                    <a:pt x="995824" y="7403504"/>
                  </a:lnTo>
                  <a:lnTo>
                    <a:pt x="1024551" y="7419945"/>
                  </a:lnTo>
                  <a:lnTo>
                    <a:pt x="1050990" y="7453889"/>
                  </a:lnTo>
                  <a:lnTo>
                    <a:pt x="1053008" y="7491064"/>
                  </a:lnTo>
                  <a:lnTo>
                    <a:pt x="1046262" y="7525530"/>
                  </a:lnTo>
                  <a:lnTo>
                    <a:pt x="1042832" y="7559981"/>
                  </a:lnTo>
                  <a:lnTo>
                    <a:pt x="1101488" y="7575354"/>
                  </a:lnTo>
                  <a:lnTo>
                    <a:pt x="1155731" y="7581744"/>
                  </a:lnTo>
                  <a:lnTo>
                    <a:pt x="1209974" y="7588148"/>
                  </a:lnTo>
                  <a:lnTo>
                    <a:pt x="1264613" y="7592514"/>
                  </a:lnTo>
                  <a:lnTo>
                    <a:pt x="1292014" y="7574609"/>
                  </a:lnTo>
                  <a:lnTo>
                    <a:pt x="1306714" y="7539583"/>
                  </a:lnTo>
                  <a:lnTo>
                    <a:pt x="1314397" y="7501313"/>
                  </a:lnTo>
                  <a:lnTo>
                    <a:pt x="1326361" y="7470311"/>
                  </a:lnTo>
                  <a:lnTo>
                    <a:pt x="1350240" y="7460688"/>
                  </a:lnTo>
                  <a:lnTo>
                    <a:pt x="1377616" y="7402225"/>
                  </a:lnTo>
                  <a:lnTo>
                    <a:pt x="1396484" y="7379077"/>
                  </a:lnTo>
                  <a:lnTo>
                    <a:pt x="1448319" y="7381094"/>
                  </a:lnTo>
                  <a:lnTo>
                    <a:pt x="1476032" y="7394047"/>
                  </a:lnTo>
                  <a:lnTo>
                    <a:pt x="1483537" y="7430767"/>
                  </a:lnTo>
                  <a:lnTo>
                    <a:pt x="1485720" y="7452333"/>
                  </a:lnTo>
                  <a:lnTo>
                    <a:pt x="1484453" y="7480031"/>
                  </a:lnTo>
                  <a:lnTo>
                    <a:pt x="1482178" y="7506939"/>
                  </a:lnTo>
                  <a:lnTo>
                    <a:pt x="1477621" y="7560746"/>
                  </a:lnTo>
                  <a:lnTo>
                    <a:pt x="1467030" y="7614824"/>
                  </a:lnTo>
                  <a:lnTo>
                    <a:pt x="1463171" y="7649224"/>
                  </a:lnTo>
                  <a:lnTo>
                    <a:pt x="1474073" y="7697525"/>
                  </a:lnTo>
                  <a:lnTo>
                    <a:pt x="1490343" y="7715047"/>
                  </a:lnTo>
                  <a:lnTo>
                    <a:pt x="1512139" y="7738532"/>
                  </a:lnTo>
                  <a:lnTo>
                    <a:pt x="1553891" y="7774151"/>
                  </a:lnTo>
                  <a:lnTo>
                    <a:pt x="1586918" y="7812981"/>
                  </a:lnTo>
                  <a:lnTo>
                    <a:pt x="1603426" y="7832397"/>
                  </a:lnTo>
                  <a:lnTo>
                    <a:pt x="1617974" y="7852380"/>
                  </a:lnTo>
                  <a:lnTo>
                    <a:pt x="1626363" y="7872830"/>
                  </a:lnTo>
                  <a:lnTo>
                    <a:pt x="1634745" y="7893281"/>
                  </a:lnTo>
                  <a:lnTo>
                    <a:pt x="1630438" y="7932679"/>
                  </a:lnTo>
                  <a:lnTo>
                    <a:pt x="1621020" y="7955504"/>
                  </a:lnTo>
                  <a:lnTo>
                    <a:pt x="1547460" y="7988446"/>
                  </a:lnTo>
                  <a:lnTo>
                    <a:pt x="1537318" y="8010235"/>
                  </a:lnTo>
                  <a:lnTo>
                    <a:pt x="1535227" y="8031972"/>
                  </a:lnTo>
                  <a:lnTo>
                    <a:pt x="1547000" y="8065131"/>
                  </a:lnTo>
                  <a:lnTo>
                    <a:pt x="1602601" y="8082363"/>
                  </a:lnTo>
                  <a:lnTo>
                    <a:pt x="1623639" y="8112225"/>
                  </a:lnTo>
                  <a:lnTo>
                    <a:pt x="1620447" y="8142021"/>
                  </a:lnTo>
                  <a:lnTo>
                    <a:pt x="1598749" y="8153272"/>
                  </a:lnTo>
                  <a:lnTo>
                    <a:pt x="1571955" y="8181597"/>
                  </a:lnTo>
                  <a:lnTo>
                    <a:pt x="1558745" y="8198012"/>
                  </a:lnTo>
                  <a:lnTo>
                    <a:pt x="1546901" y="8218694"/>
                  </a:lnTo>
                  <a:lnTo>
                    <a:pt x="1537945" y="8241446"/>
                  </a:lnTo>
                  <a:lnTo>
                    <a:pt x="1528995" y="8264192"/>
                  </a:lnTo>
                  <a:lnTo>
                    <a:pt x="1522868" y="8288844"/>
                  </a:lnTo>
                  <a:lnTo>
                    <a:pt x="1521622" y="8310818"/>
                  </a:lnTo>
                  <a:lnTo>
                    <a:pt x="1520375" y="8332785"/>
                  </a:lnTo>
                  <a:lnTo>
                    <a:pt x="1533869" y="8366584"/>
                  </a:lnTo>
                  <a:lnTo>
                    <a:pt x="1559371" y="8385287"/>
                  </a:lnTo>
                  <a:lnTo>
                    <a:pt x="1588911" y="8385973"/>
                  </a:lnTo>
                  <a:lnTo>
                    <a:pt x="1618197" y="8395146"/>
                  </a:lnTo>
                  <a:lnTo>
                    <a:pt x="1642216" y="8402672"/>
                  </a:lnTo>
                  <a:lnTo>
                    <a:pt x="1667165" y="8430515"/>
                  </a:lnTo>
                  <a:lnTo>
                    <a:pt x="1679445" y="8464947"/>
                  </a:lnTo>
                  <a:lnTo>
                    <a:pt x="1679372" y="8504892"/>
                  </a:lnTo>
                  <a:lnTo>
                    <a:pt x="1676497" y="8526807"/>
                  </a:lnTo>
                  <a:lnTo>
                    <a:pt x="1672606" y="8547489"/>
                  </a:lnTo>
                  <a:lnTo>
                    <a:pt x="1668721" y="8568171"/>
                  </a:lnTo>
                  <a:lnTo>
                    <a:pt x="1661725" y="8605979"/>
                  </a:lnTo>
                  <a:lnTo>
                    <a:pt x="1608120" y="8618068"/>
                  </a:lnTo>
                  <a:lnTo>
                    <a:pt x="1583027" y="8625052"/>
                  </a:lnTo>
                  <a:lnTo>
                    <a:pt x="1549994" y="8646755"/>
                  </a:lnTo>
                  <a:lnTo>
                    <a:pt x="1532503" y="8675344"/>
                  </a:lnTo>
                  <a:lnTo>
                    <a:pt x="1511743" y="8702687"/>
                  </a:lnTo>
                  <a:lnTo>
                    <a:pt x="1490343" y="8710712"/>
                  </a:lnTo>
                  <a:lnTo>
                    <a:pt x="1468935" y="8718738"/>
                  </a:lnTo>
                  <a:lnTo>
                    <a:pt x="1436746" y="8720605"/>
                  </a:lnTo>
                  <a:lnTo>
                    <a:pt x="1384244" y="8713430"/>
                  </a:lnTo>
                  <a:lnTo>
                    <a:pt x="1360819" y="8711154"/>
                  </a:lnTo>
                  <a:lnTo>
                    <a:pt x="1336938" y="8707554"/>
                  </a:lnTo>
                  <a:lnTo>
                    <a:pt x="1313513" y="8702555"/>
                  </a:lnTo>
                  <a:lnTo>
                    <a:pt x="1289904" y="8698499"/>
                  </a:lnTo>
                  <a:lnTo>
                    <a:pt x="1266392" y="8693005"/>
                  </a:lnTo>
                  <a:lnTo>
                    <a:pt x="1242783" y="8686233"/>
                  </a:lnTo>
                  <a:lnTo>
                    <a:pt x="1244149" y="8715897"/>
                  </a:lnTo>
                  <a:lnTo>
                    <a:pt x="1253711" y="8743173"/>
                  </a:lnTo>
                  <a:lnTo>
                    <a:pt x="1267270" y="8769203"/>
                  </a:lnTo>
                  <a:lnTo>
                    <a:pt x="1280829" y="8795240"/>
                  </a:lnTo>
                  <a:lnTo>
                    <a:pt x="1297521" y="8820353"/>
                  </a:lnTo>
                  <a:lnTo>
                    <a:pt x="1314871" y="8845374"/>
                  </a:lnTo>
                  <a:lnTo>
                    <a:pt x="1332230" y="8870395"/>
                  </a:lnTo>
                  <a:lnTo>
                    <a:pt x="1349719" y="8894915"/>
                  </a:lnTo>
                  <a:lnTo>
                    <a:pt x="1362481" y="8921545"/>
                  </a:lnTo>
                  <a:lnTo>
                    <a:pt x="1375241" y="8948176"/>
                  </a:lnTo>
                  <a:lnTo>
                    <a:pt x="1384475" y="8976375"/>
                  </a:lnTo>
                  <a:lnTo>
                    <a:pt x="1384244" y="9007239"/>
                  </a:lnTo>
                  <a:lnTo>
                    <a:pt x="1349449" y="9018984"/>
                  </a:lnTo>
                  <a:lnTo>
                    <a:pt x="1324395" y="9020839"/>
                  </a:lnTo>
                  <a:lnTo>
                    <a:pt x="1299341" y="9022711"/>
                  </a:lnTo>
                  <a:lnTo>
                    <a:pt x="1273463" y="9022460"/>
                  </a:lnTo>
                  <a:lnTo>
                    <a:pt x="1252438" y="9037338"/>
                  </a:lnTo>
                  <a:lnTo>
                    <a:pt x="1243225" y="9096660"/>
                  </a:lnTo>
                  <a:lnTo>
                    <a:pt x="1240065" y="9137811"/>
                  </a:lnTo>
                  <a:lnTo>
                    <a:pt x="1236893" y="9178970"/>
                  </a:lnTo>
                  <a:lnTo>
                    <a:pt x="1237527" y="9218896"/>
                  </a:lnTo>
                  <a:lnTo>
                    <a:pt x="1253263" y="9235469"/>
                  </a:lnTo>
                  <a:lnTo>
                    <a:pt x="1275751" y="9256151"/>
                  </a:lnTo>
                  <a:lnTo>
                    <a:pt x="1308382" y="9262311"/>
                  </a:lnTo>
                  <a:lnTo>
                    <a:pt x="1331195" y="9261585"/>
                  </a:lnTo>
                  <a:lnTo>
                    <a:pt x="1354013" y="9260873"/>
                  </a:lnTo>
                  <a:lnTo>
                    <a:pt x="1380063" y="9260148"/>
                  </a:lnTo>
                  <a:lnTo>
                    <a:pt x="1401925" y="9264315"/>
                  </a:lnTo>
                  <a:lnTo>
                    <a:pt x="1423794" y="9268470"/>
                  </a:lnTo>
                  <a:lnTo>
                    <a:pt x="1449533" y="9298319"/>
                  </a:lnTo>
                  <a:lnTo>
                    <a:pt x="1456999" y="9318822"/>
                  </a:lnTo>
                  <a:lnTo>
                    <a:pt x="1453596" y="9350662"/>
                  </a:lnTo>
                  <a:lnTo>
                    <a:pt x="1433212" y="9398970"/>
                  </a:lnTo>
                  <a:lnTo>
                    <a:pt x="1435579" y="9429459"/>
                  </a:lnTo>
                  <a:lnTo>
                    <a:pt x="1458529" y="9464918"/>
                  </a:lnTo>
                  <a:lnTo>
                    <a:pt x="1484895" y="9498270"/>
                  </a:lnTo>
                  <a:lnTo>
                    <a:pt x="1511269" y="9531614"/>
                  </a:lnTo>
                  <a:lnTo>
                    <a:pt x="1540648" y="9562398"/>
                  </a:lnTo>
                  <a:lnTo>
                    <a:pt x="1558350" y="9583958"/>
                  </a:lnTo>
                  <a:lnTo>
                    <a:pt x="1592399" y="9625426"/>
                  </a:lnTo>
                  <a:lnTo>
                    <a:pt x="1599825" y="9657615"/>
                  </a:lnTo>
                  <a:lnTo>
                    <a:pt x="1607316" y="9688697"/>
                  </a:lnTo>
                  <a:lnTo>
                    <a:pt x="1614808" y="9719773"/>
                  </a:lnTo>
                  <a:lnTo>
                    <a:pt x="1622366" y="9749298"/>
                  </a:lnTo>
                  <a:lnTo>
                    <a:pt x="1657641" y="9789348"/>
                  </a:lnTo>
                  <a:lnTo>
                    <a:pt x="1697409" y="9821802"/>
                  </a:lnTo>
                  <a:lnTo>
                    <a:pt x="1731096" y="9824717"/>
                  </a:lnTo>
                  <a:lnTo>
                    <a:pt x="1763332" y="9819639"/>
                  </a:lnTo>
                  <a:lnTo>
                    <a:pt x="1790945" y="9826068"/>
                  </a:lnTo>
                  <a:lnTo>
                    <a:pt x="1811660" y="9830910"/>
                  </a:lnTo>
                  <a:lnTo>
                    <a:pt x="1832683" y="9839820"/>
                  </a:lnTo>
                  <a:lnTo>
                    <a:pt x="1853510" y="9843757"/>
                  </a:lnTo>
                  <a:lnTo>
                    <a:pt x="1890303" y="9850701"/>
                  </a:lnTo>
                  <a:lnTo>
                    <a:pt x="1928251" y="9854481"/>
                  </a:lnTo>
                  <a:lnTo>
                    <a:pt x="1965050" y="9860079"/>
                  </a:lnTo>
                  <a:lnTo>
                    <a:pt x="2001844" y="9865678"/>
                  </a:lnTo>
                  <a:lnTo>
                    <a:pt x="2037469" y="9872715"/>
                  </a:lnTo>
                  <a:lnTo>
                    <a:pt x="2072501" y="9888641"/>
                  </a:lnTo>
                  <a:lnTo>
                    <a:pt x="2100695" y="9901456"/>
                  </a:lnTo>
                  <a:lnTo>
                    <a:pt x="2129521" y="9919460"/>
                  </a:lnTo>
                  <a:lnTo>
                    <a:pt x="2159561" y="9934885"/>
                  </a:lnTo>
                  <a:lnTo>
                    <a:pt x="2189593" y="9950317"/>
                  </a:lnTo>
                  <a:lnTo>
                    <a:pt x="2221678" y="9963210"/>
                  </a:lnTo>
                  <a:lnTo>
                    <a:pt x="2253413" y="9967536"/>
                  </a:lnTo>
                  <a:lnTo>
                    <a:pt x="2276534" y="9970683"/>
                  </a:lnTo>
                  <a:lnTo>
                    <a:pt x="2299188" y="9970095"/>
                  </a:lnTo>
                  <a:lnTo>
                    <a:pt x="2321419" y="9971611"/>
                  </a:lnTo>
                  <a:lnTo>
                    <a:pt x="2343657" y="9973123"/>
                  </a:lnTo>
                  <a:lnTo>
                    <a:pt x="2364972" y="9977864"/>
                  </a:lnTo>
                  <a:lnTo>
                    <a:pt x="2382633" y="9994734"/>
                  </a:lnTo>
                  <a:lnTo>
                    <a:pt x="2415040" y="10005121"/>
                  </a:lnTo>
                  <a:lnTo>
                    <a:pt x="2462741" y="9995565"/>
                  </a:lnTo>
                  <a:lnTo>
                    <a:pt x="2534850" y="9978516"/>
                  </a:lnTo>
                  <a:lnTo>
                    <a:pt x="2607064" y="9966165"/>
                  </a:lnTo>
                  <a:lnTo>
                    <a:pt x="2679278" y="9953813"/>
                  </a:lnTo>
                  <a:lnTo>
                    <a:pt x="2750945" y="9946638"/>
                  </a:lnTo>
                  <a:lnTo>
                    <a:pt x="2786610" y="9956642"/>
                  </a:lnTo>
                  <a:lnTo>
                    <a:pt x="2826905" y="9968506"/>
                  </a:lnTo>
                  <a:lnTo>
                    <a:pt x="2866006" y="9982864"/>
                  </a:lnTo>
                  <a:lnTo>
                    <a:pt x="2903584" y="9997450"/>
                  </a:lnTo>
                  <a:lnTo>
                    <a:pt x="2923527" y="10004428"/>
                  </a:lnTo>
                  <a:lnTo>
                    <a:pt x="2948514" y="10003921"/>
                  </a:lnTo>
                  <a:lnTo>
                    <a:pt x="2975680" y="10000174"/>
                  </a:lnTo>
                  <a:lnTo>
                    <a:pt x="3002844" y="9996422"/>
                  </a:lnTo>
                  <a:lnTo>
                    <a:pt x="3033154" y="9989062"/>
                  </a:lnTo>
                  <a:lnTo>
                    <a:pt x="3062732" y="9979771"/>
                  </a:lnTo>
                  <a:lnTo>
                    <a:pt x="3121876" y="9961186"/>
                  </a:lnTo>
                  <a:lnTo>
                    <a:pt x="3180643" y="9936395"/>
                  </a:lnTo>
                  <a:lnTo>
                    <a:pt x="3220515" y="9926721"/>
                  </a:lnTo>
                  <a:lnTo>
                    <a:pt x="3241376" y="9921663"/>
                  </a:lnTo>
                  <a:lnTo>
                    <a:pt x="3272952" y="9912569"/>
                  </a:lnTo>
                  <a:lnTo>
                    <a:pt x="3304845" y="9904957"/>
                  </a:lnTo>
                  <a:lnTo>
                    <a:pt x="3336737" y="9897354"/>
                  </a:lnTo>
                  <a:lnTo>
                    <a:pt x="3368255" y="9892143"/>
                  </a:lnTo>
                  <a:lnTo>
                    <a:pt x="3389173" y="9894075"/>
                  </a:lnTo>
                  <a:lnTo>
                    <a:pt x="3411768" y="9896160"/>
                  </a:lnTo>
                  <a:lnTo>
                    <a:pt x="3434620" y="9903428"/>
                  </a:lnTo>
                  <a:lnTo>
                    <a:pt x="3457187" y="9906316"/>
                  </a:lnTo>
                  <a:lnTo>
                    <a:pt x="3511469" y="9913266"/>
                  </a:lnTo>
                  <a:lnTo>
                    <a:pt x="3572103" y="9900538"/>
                  </a:lnTo>
                  <a:lnTo>
                    <a:pt x="3625851" y="9894075"/>
                  </a:lnTo>
                  <a:lnTo>
                    <a:pt x="3658259" y="9890185"/>
                  </a:lnTo>
                  <a:lnTo>
                    <a:pt x="3690184" y="9889855"/>
                  </a:lnTo>
                  <a:lnTo>
                    <a:pt x="3722427" y="9877754"/>
                  </a:lnTo>
                  <a:lnTo>
                    <a:pt x="3742060" y="9870380"/>
                  </a:lnTo>
                  <a:lnTo>
                    <a:pt x="3761885" y="9856070"/>
                  </a:lnTo>
                  <a:lnTo>
                    <a:pt x="3782276" y="9846467"/>
                  </a:lnTo>
                  <a:lnTo>
                    <a:pt x="3802667" y="9836871"/>
                  </a:lnTo>
                  <a:lnTo>
                    <a:pt x="3824154" y="9831873"/>
                  </a:lnTo>
                  <a:lnTo>
                    <a:pt x="3847565" y="9839668"/>
                  </a:lnTo>
                  <a:lnTo>
                    <a:pt x="3898622" y="9856682"/>
                  </a:lnTo>
                  <a:lnTo>
                    <a:pt x="3943336" y="9888378"/>
                  </a:lnTo>
                  <a:lnTo>
                    <a:pt x="3990384" y="9913122"/>
                  </a:lnTo>
                  <a:lnTo>
                    <a:pt x="4013908" y="9925493"/>
                  </a:lnTo>
                  <a:lnTo>
                    <a:pt x="4038217" y="9935228"/>
                  </a:lnTo>
                  <a:lnTo>
                    <a:pt x="4063839" y="9941685"/>
                  </a:lnTo>
                  <a:lnTo>
                    <a:pt x="4089453" y="9948140"/>
                  </a:lnTo>
                  <a:lnTo>
                    <a:pt x="4115668" y="9950462"/>
                  </a:lnTo>
                  <a:lnTo>
                    <a:pt x="4145451" y="9945760"/>
                  </a:lnTo>
                  <a:lnTo>
                    <a:pt x="4172232" y="9941533"/>
                  </a:lnTo>
                  <a:lnTo>
                    <a:pt x="4194708" y="9927901"/>
                  </a:lnTo>
                  <a:lnTo>
                    <a:pt x="4213457" y="9909032"/>
                  </a:lnTo>
                  <a:lnTo>
                    <a:pt x="4232207" y="9890165"/>
                  </a:lnTo>
                  <a:lnTo>
                    <a:pt x="4247389" y="9866226"/>
                  </a:lnTo>
                  <a:lnTo>
                    <a:pt x="4261065" y="9842385"/>
                  </a:lnTo>
                  <a:lnTo>
                    <a:pt x="4274744" y="9818545"/>
                  </a:lnTo>
                  <a:lnTo>
                    <a:pt x="4287577" y="9794881"/>
                  </a:lnTo>
                  <a:lnTo>
                    <a:pt x="4299151" y="9775737"/>
                  </a:lnTo>
                  <a:lnTo>
                    <a:pt x="4310718" y="9756586"/>
                  </a:lnTo>
                  <a:lnTo>
                    <a:pt x="4334514" y="9737651"/>
                  </a:lnTo>
                  <a:lnTo>
                    <a:pt x="4363214" y="9732620"/>
                  </a:lnTo>
                  <a:lnTo>
                    <a:pt x="4395589" y="9739967"/>
                  </a:lnTo>
                  <a:lnTo>
                    <a:pt x="4429731" y="9753974"/>
                  </a:lnTo>
                  <a:lnTo>
                    <a:pt x="4463707" y="9769630"/>
                  </a:lnTo>
                  <a:lnTo>
                    <a:pt x="4497572" y="9790001"/>
                  </a:lnTo>
                  <a:lnTo>
                    <a:pt x="4524941" y="9793418"/>
                  </a:lnTo>
                  <a:lnTo>
                    <a:pt x="4562459" y="9789295"/>
                  </a:lnTo>
                  <a:lnTo>
                    <a:pt x="4596245" y="9770342"/>
                  </a:lnTo>
                  <a:lnTo>
                    <a:pt x="4629682" y="9748532"/>
                  </a:lnTo>
                  <a:lnTo>
                    <a:pt x="4667219" y="9732448"/>
                  </a:lnTo>
                  <a:lnTo>
                    <a:pt x="4689531" y="9734928"/>
                  </a:lnTo>
                  <a:lnTo>
                    <a:pt x="4711841" y="9737421"/>
                  </a:lnTo>
                  <a:lnTo>
                    <a:pt x="4736188" y="9747940"/>
                  </a:lnTo>
                  <a:lnTo>
                    <a:pt x="4767059" y="9774379"/>
                  </a:lnTo>
                  <a:lnTo>
                    <a:pt x="4787002" y="9791452"/>
                  </a:lnTo>
                  <a:lnTo>
                    <a:pt x="4828438" y="9836179"/>
                  </a:lnTo>
                  <a:lnTo>
                    <a:pt x="4835066" y="9862790"/>
                  </a:lnTo>
                  <a:lnTo>
                    <a:pt x="4926201" y="9838310"/>
                  </a:lnTo>
                  <a:lnTo>
                    <a:pt x="4967453" y="9827124"/>
                  </a:lnTo>
                  <a:lnTo>
                    <a:pt x="5029959" y="9780584"/>
                  </a:lnTo>
                  <a:lnTo>
                    <a:pt x="5052698" y="9774379"/>
                  </a:lnTo>
                  <a:lnTo>
                    <a:pt x="5096904" y="9775196"/>
                  </a:lnTo>
                  <a:lnTo>
                    <a:pt x="5169461" y="9802175"/>
                  </a:lnTo>
                  <a:lnTo>
                    <a:pt x="5237685" y="9817905"/>
                  </a:lnTo>
                  <a:lnTo>
                    <a:pt x="5271800" y="9825766"/>
                  </a:lnTo>
                  <a:lnTo>
                    <a:pt x="5304202" y="9830515"/>
                  </a:lnTo>
                  <a:lnTo>
                    <a:pt x="5332902" y="9827428"/>
                  </a:lnTo>
                  <a:lnTo>
                    <a:pt x="5361603" y="9824335"/>
                  </a:lnTo>
                  <a:lnTo>
                    <a:pt x="5386592" y="9813176"/>
                  </a:lnTo>
                  <a:lnTo>
                    <a:pt x="5402275" y="9789336"/>
                  </a:lnTo>
                  <a:lnTo>
                    <a:pt x="5420319" y="9761900"/>
                  </a:lnTo>
                  <a:lnTo>
                    <a:pt x="5421847" y="9722859"/>
                  </a:lnTo>
                  <a:lnTo>
                    <a:pt x="5436277" y="9695484"/>
                  </a:lnTo>
                  <a:lnTo>
                    <a:pt x="5451176" y="9667264"/>
                  </a:lnTo>
                  <a:lnTo>
                    <a:pt x="5468646" y="9621904"/>
                  </a:lnTo>
                  <a:lnTo>
                    <a:pt x="5487962" y="9597549"/>
                  </a:lnTo>
                  <a:lnTo>
                    <a:pt x="5510972" y="9568551"/>
                  </a:lnTo>
                  <a:lnTo>
                    <a:pt x="5547757" y="9555051"/>
                  </a:lnTo>
                  <a:lnTo>
                    <a:pt x="5585896" y="9541782"/>
                  </a:lnTo>
                  <a:lnTo>
                    <a:pt x="5624041" y="9528513"/>
                  </a:lnTo>
                  <a:lnTo>
                    <a:pt x="5664152" y="9514928"/>
                  </a:lnTo>
                  <a:lnTo>
                    <a:pt x="5691995" y="9486016"/>
                  </a:lnTo>
                  <a:lnTo>
                    <a:pt x="5708476" y="9468896"/>
                  </a:lnTo>
                  <a:lnTo>
                    <a:pt x="5714911" y="9445010"/>
                  </a:lnTo>
                  <a:lnTo>
                    <a:pt x="5720558" y="9420727"/>
                  </a:lnTo>
                  <a:lnTo>
                    <a:pt x="5726202" y="9396443"/>
                  </a:lnTo>
                  <a:lnTo>
                    <a:pt x="5731340" y="9371409"/>
                  </a:lnTo>
                  <a:lnTo>
                    <a:pt x="5740963" y="9351355"/>
                  </a:lnTo>
                  <a:lnTo>
                    <a:pt x="6008154" y="9383254"/>
                  </a:lnTo>
                  <a:lnTo>
                    <a:pt x="6042922" y="9394881"/>
                  </a:lnTo>
                  <a:lnTo>
                    <a:pt x="6049491" y="9419092"/>
                  </a:lnTo>
                  <a:lnTo>
                    <a:pt x="6018719" y="9481703"/>
                  </a:lnTo>
                  <a:lnTo>
                    <a:pt x="6041907" y="9496468"/>
                  </a:lnTo>
                  <a:lnTo>
                    <a:pt x="6070496" y="9505029"/>
                  </a:lnTo>
                  <a:lnTo>
                    <a:pt x="6097332" y="9515937"/>
                  </a:lnTo>
                  <a:lnTo>
                    <a:pt x="6124172" y="9526845"/>
                  </a:lnTo>
                  <a:lnTo>
                    <a:pt x="6148784" y="9541228"/>
                  </a:lnTo>
                  <a:lnTo>
                    <a:pt x="6165344" y="9556747"/>
                  </a:lnTo>
                  <a:lnTo>
                    <a:pt x="6127937" y="9635852"/>
                  </a:lnTo>
                  <a:lnTo>
                    <a:pt x="6124534" y="9666922"/>
                  </a:lnTo>
                  <a:lnTo>
                    <a:pt x="6122029" y="9690002"/>
                  </a:lnTo>
                  <a:lnTo>
                    <a:pt x="6143877" y="9725899"/>
                  </a:lnTo>
                  <a:lnTo>
                    <a:pt x="6146298" y="9751250"/>
                  </a:lnTo>
                  <a:lnTo>
                    <a:pt x="6148573" y="9775374"/>
                  </a:lnTo>
                  <a:lnTo>
                    <a:pt x="6135317" y="9800540"/>
                  </a:lnTo>
                  <a:lnTo>
                    <a:pt x="6142222" y="9824704"/>
                  </a:lnTo>
                  <a:lnTo>
                    <a:pt x="6166096" y="9887303"/>
                  </a:lnTo>
                  <a:lnTo>
                    <a:pt x="6187114" y="9929437"/>
                  </a:lnTo>
                  <a:lnTo>
                    <a:pt x="6208125" y="9971579"/>
                  </a:lnTo>
                  <a:lnTo>
                    <a:pt x="6232137" y="10011637"/>
                  </a:lnTo>
                  <a:lnTo>
                    <a:pt x="6267427" y="10042632"/>
                  </a:lnTo>
                  <a:lnTo>
                    <a:pt x="6290436" y="10056515"/>
                  </a:lnTo>
                  <a:lnTo>
                    <a:pt x="6314969" y="10068181"/>
                  </a:lnTo>
                  <a:lnTo>
                    <a:pt x="6339503" y="10079848"/>
                  </a:lnTo>
                  <a:lnTo>
                    <a:pt x="6364892" y="10089423"/>
                  </a:lnTo>
                  <a:lnTo>
                    <a:pt x="6388424" y="10102185"/>
                  </a:lnTo>
                  <a:lnTo>
                    <a:pt x="6379500" y="10135265"/>
                  </a:lnTo>
                  <a:lnTo>
                    <a:pt x="6357137" y="10163392"/>
                  </a:lnTo>
                  <a:lnTo>
                    <a:pt x="6334774" y="10191519"/>
                  </a:lnTo>
                  <a:lnTo>
                    <a:pt x="6303362" y="10226255"/>
                  </a:lnTo>
                  <a:lnTo>
                    <a:pt x="6272801" y="10261326"/>
                  </a:lnTo>
                  <a:lnTo>
                    <a:pt x="6242247" y="10296404"/>
                  </a:lnTo>
                  <a:lnTo>
                    <a:pt x="6211726" y="10332591"/>
                  </a:lnTo>
                  <a:lnTo>
                    <a:pt x="6191189" y="10364701"/>
                  </a:lnTo>
                  <a:lnTo>
                    <a:pt x="6170660" y="10396812"/>
                  </a:lnTo>
                  <a:lnTo>
                    <a:pt x="6160365" y="10424353"/>
                  </a:lnTo>
                  <a:lnTo>
                    <a:pt x="6176114" y="10457571"/>
                  </a:lnTo>
                  <a:lnTo>
                    <a:pt x="6214318" y="10476241"/>
                  </a:lnTo>
                  <a:lnTo>
                    <a:pt x="6234452" y="10484583"/>
                  </a:lnTo>
                  <a:lnTo>
                    <a:pt x="6256478" y="10491403"/>
                  </a:lnTo>
                  <a:lnTo>
                    <a:pt x="6278243" y="10512961"/>
                  </a:lnTo>
                  <a:lnTo>
                    <a:pt x="6271099" y="10537726"/>
                  </a:lnTo>
                  <a:lnTo>
                    <a:pt x="6272327" y="10559422"/>
                  </a:lnTo>
                  <a:lnTo>
                    <a:pt x="6278243" y="10579616"/>
                  </a:lnTo>
                  <a:lnTo>
                    <a:pt x="6284157" y="10599803"/>
                  </a:lnTo>
                  <a:lnTo>
                    <a:pt x="6305446" y="10634024"/>
                  </a:lnTo>
                  <a:lnTo>
                    <a:pt x="6327539" y="10666524"/>
                  </a:lnTo>
                  <a:lnTo>
                    <a:pt x="6351235" y="10692395"/>
                  </a:lnTo>
                  <a:lnTo>
                    <a:pt x="6346256" y="10712912"/>
                  </a:lnTo>
                  <a:lnTo>
                    <a:pt x="6320569" y="10749401"/>
                  </a:lnTo>
                  <a:lnTo>
                    <a:pt x="6304088" y="10767320"/>
                  </a:lnTo>
                  <a:lnTo>
                    <a:pt x="6287607" y="10785246"/>
                  </a:lnTo>
                  <a:lnTo>
                    <a:pt x="6272868" y="10801891"/>
                  </a:lnTo>
                  <a:lnTo>
                    <a:pt x="6278928" y="10832069"/>
                  </a:lnTo>
                  <a:lnTo>
                    <a:pt x="6306812" y="10859813"/>
                  </a:lnTo>
                  <a:lnTo>
                    <a:pt x="6341428" y="10882316"/>
                  </a:lnTo>
                  <a:lnTo>
                    <a:pt x="6361213" y="10889741"/>
                  </a:lnTo>
                  <a:lnTo>
                    <a:pt x="6400795" y="10904587"/>
                  </a:lnTo>
                  <a:lnTo>
                    <a:pt x="6445496" y="10908114"/>
                  </a:lnTo>
                  <a:lnTo>
                    <a:pt x="6479552" y="10900623"/>
                  </a:lnTo>
                  <a:lnTo>
                    <a:pt x="6534553" y="10870847"/>
                  </a:lnTo>
                  <a:lnTo>
                    <a:pt x="6605924" y="10888700"/>
                  </a:lnTo>
                  <a:lnTo>
                    <a:pt x="6665818" y="10897603"/>
                  </a:lnTo>
                  <a:lnTo>
                    <a:pt x="6727112" y="10910146"/>
                  </a:lnTo>
                  <a:lnTo>
                    <a:pt x="6757460" y="10916365"/>
                  </a:lnTo>
                  <a:lnTo>
                    <a:pt x="6784685" y="10929482"/>
                  </a:lnTo>
                  <a:lnTo>
                    <a:pt x="6816881" y="10930544"/>
                  </a:lnTo>
                  <a:lnTo>
                    <a:pt x="6867128" y="10932179"/>
                  </a:lnTo>
                  <a:lnTo>
                    <a:pt x="6912290" y="10921198"/>
                  </a:lnTo>
                  <a:lnTo>
                    <a:pt x="6961065" y="10916946"/>
                  </a:lnTo>
                  <a:lnTo>
                    <a:pt x="7002679" y="10913312"/>
                  </a:lnTo>
                  <a:lnTo>
                    <a:pt x="7044543" y="10914802"/>
                  </a:lnTo>
                  <a:lnTo>
                    <a:pt x="7086203" y="10911505"/>
                  </a:lnTo>
                  <a:lnTo>
                    <a:pt x="7121632" y="10908722"/>
                  </a:lnTo>
                  <a:lnTo>
                    <a:pt x="7154785" y="10899160"/>
                  </a:lnTo>
                  <a:lnTo>
                    <a:pt x="7190938" y="10901981"/>
                  </a:lnTo>
                  <a:lnTo>
                    <a:pt x="7216268" y="10903959"/>
                  </a:lnTo>
                  <a:lnTo>
                    <a:pt x="7282811" y="10926871"/>
                  </a:lnTo>
                  <a:lnTo>
                    <a:pt x="7304937" y="10892161"/>
                  </a:lnTo>
                  <a:lnTo>
                    <a:pt x="7302608" y="10864073"/>
                  </a:lnTo>
                  <a:lnTo>
                    <a:pt x="7303828" y="10836692"/>
                  </a:lnTo>
                  <a:lnTo>
                    <a:pt x="7305048" y="10809309"/>
                  </a:lnTo>
                  <a:lnTo>
                    <a:pt x="7309982" y="10782923"/>
                  </a:lnTo>
                  <a:lnTo>
                    <a:pt x="7331033" y="10757804"/>
                  </a:lnTo>
                  <a:lnTo>
                    <a:pt x="7351965" y="10748927"/>
                  </a:lnTo>
                  <a:lnTo>
                    <a:pt x="7375159" y="10739219"/>
                  </a:lnTo>
                  <a:lnTo>
                    <a:pt x="7399046" y="10730593"/>
                  </a:lnTo>
                  <a:lnTo>
                    <a:pt x="7422927" y="10721973"/>
                  </a:lnTo>
                  <a:lnTo>
                    <a:pt x="7447063" y="10714878"/>
                  </a:lnTo>
                  <a:lnTo>
                    <a:pt x="7469770" y="10711554"/>
                  </a:lnTo>
                  <a:lnTo>
                    <a:pt x="7492654" y="10708210"/>
                  </a:lnTo>
                  <a:lnTo>
                    <a:pt x="7518487" y="10722567"/>
                  </a:lnTo>
                  <a:lnTo>
                    <a:pt x="7545947" y="10734675"/>
                  </a:lnTo>
                  <a:lnTo>
                    <a:pt x="7573468" y="10746243"/>
                  </a:lnTo>
                  <a:lnTo>
                    <a:pt x="7602756" y="10750319"/>
                  </a:lnTo>
                  <a:lnTo>
                    <a:pt x="7633001" y="10741475"/>
                  </a:lnTo>
                  <a:lnTo>
                    <a:pt x="7663416" y="10727196"/>
                  </a:lnTo>
                  <a:lnTo>
                    <a:pt x="7685529" y="10712069"/>
                  </a:lnTo>
                  <a:lnTo>
                    <a:pt x="7702365" y="10696590"/>
                  </a:lnTo>
                  <a:lnTo>
                    <a:pt x="7719201" y="10681119"/>
                  </a:lnTo>
                  <a:lnTo>
                    <a:pt x="7741809" y="10650347"/>
                  </a:lnTo>
                  <a:lnTo>
                    <a:pt x="7763104" y="10618756"/>
                  </a:lnTo>
                  <a:lnTo>
                    <a:pt x="7779835" y="10586811"/>
                  </a:lnTo>
                  <a:lnTo>
                    <a:pt x="7820704" y="10559211"/>
                  </a:lnTo>
                  <a:lnTo>
                    <a:pt x="7851786" y="10555551"/>
                  </a:lnTo>
                  <a:lnTo>
                    <a:pt x="7873753" y="10556494"/>
                  </a:lnTo>
                  <a:lnTo>
                    <a:pt x="7895340" y="10557675"/>
                  </a:lnTo>
                  <a:lnTo>
                    <a:pt x="7919997" y="10561929"/>
                  </a:lnTo>
                  <a:lnTo>
                    <a:pt x="7914821" y="10537019"/>
                  </a:lnTo>
                  <a:lnTo>
                    <a:pt x="7917129" y="10506459"/>
                  </a:lnTo>
                  <a:lnTo>
                    <a:pt x="7924087" y="10478957"/>
                  </a:lnTo>
                  <a:lnTo>
                    <a:pt x="7953987" y="10461258"/>
                  </a:lnTo>
                  <a:lnTo>
                    <a:pt x="7992120" y="10447691"/>
                  </a:lnTo>
                  <a:lnTo>
                    <a:pt x="8026102" y="10439507"/>
                  </a:lnTo>
                  <a:lnTo>
                    <a:pt x="8040611" y="10386768"/>
                  </a:lnTo>
                  <a:lnTo>
                    <a:pt x="8045143" y="10347020"/>
                  </a:lnTo>
                  <a:lnTo>
                    <a:pt x="8049673" y="10307267"/>
                  </a:lnTo>
                  <a:lnTo>
                    <a:pt x="8047978" y="10267552"/>
                  </a:lnTo>
                  <a:lnTo>
                    <a:pt x="7997065" y="10252614"/>
                  </a:lnTo>
                  <a:lnTo>
                    <a:pt x="7967824" y="10266107"/>
                  </a:lnTo>
                  <a:lnTo>
                    <a:pt x="7933602" y="10272207"/>
                  </a:lnTo>
                  <a:lnTo>
                    <a:pt x="7893889" y="10279284"/>
                  </a:lnTo>
                  <a:lnTo>
                    <a:pt x="7845468" y="10274416"/>
                  </a:lnTo>
                  <a:lnTo>
                    <a:pt x="7805747" y="10270849"/>
                  </a:lnTo>
                  <a:lnTo>
                    <a:pt x="7815586" y="10247345"/>
                  </a:lnTo>
                  <a:lnTo>
                    <a:pt x="7832278" y="10234530"/>
                  </a:lnTo>
                  <a:lnTo>
                    <a:pt x="7846557" y="10215083"/>
                  </a:lnTo>
                  <a:lnTo>
                    <a:pt x="7869929" y="10183230"/>
                  </a:lnTo>
                  <a:lnTo>
                    <a:pt x="7893704" y="10142065"/>
                  </a:lnTo>
                  <a:lnTo>
                    <a:pt x="7910481" y="10099461"/>
                  </a:lnTo>
                  <a:lnTo>
                    <a:pt x="7927259" y="10056857"/>
                  </a:lnTo>
                  <a:lnTo>
                    <a:pt x="7936880" y="10013114"/>
                  </a:lnTo>
                  <a:lnTo>
                    <a:pt x="7934968" y="9972963"/>
                  </a:lnTo>
                  <a:lnTo>
                    <a:pt x="7933464" y="9941460"/>
                  </a:lnTo>
                  <a:lnTo>
                    <a:pt x="7917926" y="9920481"/>
                  </a:lnTo>
                  <a:lnTo>
                    <a:pt x="7902324" y="9898151"/>
                  </a:lnTo>
                  <a:lnTo>
                    <a:pt x="7886720" y="9875828"/>
                  </a:lnTo>
                  <a:lnTo>
                    <a:pt x="7871755" y="9850985"/>
                  </a:lnTo>
                  <a:lnTo>
                    <a:pt x="7872395" y="9809741"/>
                  </a:lnTo>
                  <a:lnTo>
                    <a:pt x="7900662" y="9798351"/>
                  </a:lnTo>
                  <a:lnTo>
                    <a:pt x="7916369" y="9766663"/>
                  </a:lnTo>
                  <a:lnTo>
                    <a:pt x="7944490" y="9762131"/>
                  </a:lnTo>
                  <a:lnTo>
                    <a:pt x="7972203" y="9757646"/>
                  </a:lnTo>
                  <a:lnTo>
                    <a:pt x="8002361" y="9779898"/>
                  </a:lnTo>
                  <a:lnTo>
                    <a:pt x="8028820" y="9768937"/>
                  </a:lnTo>
                  <a:lnTo>
                    <a:pt x="8054665" y="9745810"/>
                  </a:lnTo>
                  <a:lnTo>
                    <a:pt x="8063118" y="9696822"/>
                  </a:lnTo>
                  <a:lnTo>
                    <a:pt x="8089328" y="9681028"/>
                  </a:lnTo>
                  <a:lnTo>
                    <a:pt x="8121313" y="9692766"/>
                  </a:lnTo>
                  <a:lnTo>
                    <a:pt x="8152778" y="9699361"/>
                  </a:lnTo>
                  <a:lnTo>
                    <a:pt x="8170281" y="9687325"/>
                  </a:lnTo>
                  <a:lnTo>
                    <a:pt x="8206558" y="9662351"/>
                  </a:lnTo>
                  <a:lnTo>
                    <a:pt x="8266895" y="9607685"/>
                  </a:lnTo>
                  <a:lnTo>
                    <a:pt x="8296779" y="9590749"/>
                  </a:lnTo>
                  <a:lnTo>
                    <a:pt x="8320889" y="9577091"/>
                  </a:lnTo>
                  <a:lnTo>
                    <a:pt x="8345954" y="9570107"/>
                  </a:lnTo>
                  <a:lnTo>
                    <a:pt x="8370232" y="9560823"/>
                  </a:lnTo>
                  <a:lnTo>
                    <a:pt x="8394500" y="9551543"/>
                  </a:lnTo>
                  <a:lnTo>
                    <a:pt x="8417701" y="9540687"/>
                  </a:lnTo>
                  <a:lnTo>
                    <a:pt x="8439604" y="9521379"/>
                  </a:lnTo>
                  <a:lnTo>
                    <a:pt x="8475816" y="9476770"/>
                  </a:lnTo>
                  <a:lnTo>
                    <a:pt x="8560660" y="9450648"/>
                  </a:lnTo>
                  <a:lnTo>
                    <a:pt x="8577701" y="9437602"/>
                  </a:lnTo>
                  <a:lnTo>
                    <a:pt x="8603566" y="9407102"/>
                  </a:lnTo>
                  <a:lnTo>
                    <a:pt x="8636829" y="9379917"/>
                  </a:lnTo>
                  <a:lnTo>
                    <a:pt x="8648515" y="9359129"/>
                  </a:lnTo>
                  <a:lnTo>
                    <a:pt x="8667965" y="9323471"/>
                  </a:lnTo>
                  <a:lnTo>
                    <a:pt x="8658316" y="9302322"/>
                  </a:lnTo>
                  <a:lnTo>
                    <a:pt x="8673549" y="9272460"/>
                  </a:lnTo>
                  <a:lnTo>
                    <a:pt x="8704890" y="9250229"/>
                  </a:lnTo>
                  <a:lnTo>
                    <a:pt x="8730681" y="9238456"/>
                  </a:lnTo>
                  <a:lnTo>
                    <a:pt x="8756475" y="9226685"/>
                  </a:lnTo>
                  <a:lnTo>
                    <a:pt x="8786653" y="9214036"/>
                  </a:lnTo>
                  <a:lnTo>
                    <a:pt x="8816378" y="9197654"/>
                  </a:lnTo>
                  <a:lnTo>
                    <a:pt x="8846094" y="9181272"/>
                  </a:lnTo>
                  <a:lnTo>
                    <a:pt x="8874827" y="9161876"/>
                  </a:lnTo>
                  <a:lnTo>
                    <a:pt x="8896630" y="9136441"/>
                  </a:lnTo>
                  <a:lnTo>
                    <a:pt x="8918428" y="9111010"/>
                  </a:lnTo>
                  <a:lnTo>
                    <a:pt x="8934042" y="9080147"/>
                  </a:lnTo>
                  <a:lnTo>
                    <a:pt x="8936073" y="9041230"/>
                  </a:lnTo>
                  <a:lnTo>
                    <a:pt x="8910986" y="8990231"/>
                  </a:lnTo>
                  <a:lnTo>
                    <a:pt x="8885741" y="8950095"/>
                  </a:lnTo>
                  <a:lnTo>
                    <a:pt x="8860502" y="8909958"/>
                  </a:lnTo>
                  <a:lnTo>
                    <a:pt x="8828545" y="8862336"/>
                  </a:lnTo>
                  <a:lnTo>
                    <a:pt x="8798695" y="8815433"/>
                  </a:lnTo>
                  <a:lnTo>
                    <a:pt x="8768840" y="8768537"/>
                  </a:lnTo>
                  <a:lnTo>
                    <a:pt x="8740897" y="8722919"/>
                  </a:lnTo>
                  <a:lnTo>
                    <a:pt x="8721159" y="8684854"/>
                  </a:lnTo>
                  <a:lnTo>
                    <a:pt x="8701421" y="8646795"/>
                  </a:lnTo>
                  <a:lnTo>
                    <a:pt x="8690209" y="8616874"/>
                  </a:lnTo>
                  <a:lnTo>
                    <a:pt x="8710006" y="8590876"/>
                  </a:lnTo>
                  <a:lnTo>
                    <a:pt x="8742624" y="8578399"/>
                  </a:lnTo>
                  <a:lnTo>
                    <a:pt x="8757504" y="8548069"/>
                  </a:lnTo>
                  <a:lnTo>
                    <a:pt x="8691573" y="8311840"/>
                  </a:lnTo>
                  <a:lnTo>
                    <a:pt x="8687155" y="8268636"/>
                  </a:lnTo>
                  <a:lnTo>
                    <a:pt x="8685012" y="8247783"/>
                  </a:lnTo>
                  <a:lnTo>
                    <a:pt x="8712257" y="8218159"/>
                  </a:lnTo>
                  <a:lnTo>
                    <a:pt x="8739809" y="8216978"/>
                  </a:lnTo>
                  <a:lnTo>
                    <a:pt x="8788125" y="8206407"/>
                  </a:lnTo>
                  <a:lnTo>
                    <a:pt x="8836780" y="8189742"/>
                  </a:lnTo>
                  <a:lnTo>
                    <a:pt x="8885431" y="8173076"/>
                  </a:lnTo>
                  <a:lnTo>
                    <a:pt x="8934427" y="8150298"/>
                  </a:lnTo>
                  <a:lnTo>
                    <a:pt x="8947951" y="8112469"/>
                  </a:lnTo>
                  <a:lnTo>
                    <a:pt x="8953622" y="8088326"/>
                  </a:lnTo>
                  <a:lnTo>
                    <a:pt x="8952398" y="8067327"/>
                  </a:lnTo>
                  <a:lnTo>
                    <a:pt x="8928762" y="8053643"/>
                  </a:lnTo>
                  <a:lnTo>
                    <a:pt x="8891440" y="8060996"/>
                  </a:lnTo>
                  <a:lnTo>
                    <a:pt x="8872142" y="8044205"/>
                  </a:lnTo>
                  <a:lnTo>
                    <a:pt x="8865727" y="8011435"/>
                  </a:lnTo>
                  <a:lnTo>
                    <a:pt x="8870409" y="7987199"/>
                  </a:lnTo>
                  <a:lnTo>
                    <a:pt x="8881673" y="7968035"/>
                  </a:lnTo>
                  <a:lnTo>
                    <a:pt x="8893787" y="7950017"/>
                  </a:lnTo>
                  <a:lnTo>
                    <a:pt x="8906152" y="7913626"/>
                  </a:lnTo>
                  <a:lnTo>
                    <a:pt x="8889831" y="7883699"/>
                  </a:lnTo>
                  <a:lnTo>
                    <a:pt x="8865299" y="7872778"/>
                  </a:lnTo>
                  <a:lnTo>
                    <a:pt x="8842209" y="7861012"/>
                  </a:lnTo>
                  <a:lnTo>
                    <a:pt x="8823184" y="7846971"/>
                  </a:lnTo>
                  <a:lnTo>
                    <a:pt x="8804155" y="7832937"/>
                  </a:lnTo>
                  <a:lnTo>
                    <a:pt x="8789028" y="7816114"/>
                  </a:lnTo>
                  <a:lnTo>
                    <a:pt x="8779655" y="7791205"/>
                  </a:lnTo>
                  <a:lnTo>
                    <a:pt x="8774300" y="7732523"/>
                  </a:lnTo>
                  <a:lnTo>
                    <a:pt x="8779655" y="7687553"/>
                  </a:lnTo>
                  <a:lnTo>
                    <a:pt x="8779655" y="7644304"/>
                  </a:lnTo>
                  <a:lnTo>
                    <a:pt x="8779655" y="7605644"/>
                  </a:lnTo>
                  <a:lnTo>
                    <a:pt x="8770840" y="7564775"/>
                  </a:lnTo>
                  <a:lnTo>
                    <a:pt x="8768775" y="7525965"/>
                  </a:lnTo>
                  <a:lnTo>
                    <a:pt x="8766539" y="7483757"/>
                  </a:lnTo>
                  <a:lnTo>
                    <a:pt x="8771162" y="7440805"/>
                  </a:lnTo>
                  <a:lnTo>
                    <a:pt x="8767417" y="7398110"/>
                  </a:lnTo>
                  <a:lnTo>
                    <a:pt x="8776511" y="7376300"/>
                  </a:lnTo>
                  <a:lnTo>
                    <a:pt x="8790882" y="7352967"/>
                  </a:lnTo>
                  <a:lnTo>
                    <a:pt x="8806859" y="7335537"/>
                  </a:lnTo>
                  <a:lnTo>
                    <a:pt x="8778297" y="7297451"/>
                  </a:lnTo>
                  <a:lnTo>
                    <a:pt x="8731837" y="7288509"/>
                  </a:lnTo>
                  <a:lnTo>
                    <a:pt x="8690593" y="7255659"/>
                  </a:lnTo>
                  <a:lnTo>
                    <a:pt x="8670446" y="7207622"/>
                  </a:lnTo>
                  <a:lnTo>
                    <a:pt x="8650441" y="7161431"/>
                  </a:lnTo>
                  <a:lnTo>
                    <a:pt x="8630426" y="7115247"/>
                  </a:lnTo>
                  <a:lnTo>
                    <a:pt x="8611758" y="7071174"/>
                  </a:lnTo>
                  <a:lnTo>
                    <a:pt x="8591951" y="7058056"/>
                  </a:lnTo>
                  <a:lnTo>
                    <a:pt x="8571388" y="7051376"/>
                  </a:lnTo>
                  <a:lnTo>
                    <a:pt x="8538606" y="7053987"/>
                  </a:lnTo>
                  <a:lnTo>
                    <a:pt x="8508973" y="7056698"/>
                  </a:lnTo>
                  <a:lnTo>
                    <a:pt x="8479344" y="7059402"/>
                  </a:lnTo>
                  <a:lnTo>
                    <a:pt x="8451585" y="7062297"/>
                  </a:lnTo>
                  <a:lnTo>
                    <a:pt x="8434169" y="7043099"/>
                  </a:lnTo>
                  <a:lnTo>
                    <a:pt x="8428622" y="6993281"/>
                  </a:lnTo>
                  <a:lnTo>
                    <a:pt x="8455609" y="6939190"/>
                  </a:lnTo>
                  <a:lnTo>
                    <a:pt x="8461373" y="6889398"/>
                  </a:lnTo>
                  <a:lnTo>
                    <a:pt x="8412359" y="6867015"/>
                  </a:lnTo>
                  <a:lnTo>
                    <a:pt x="8394726" y="6851313"/>
                  </a:lnTo>
                  <a:lnTo>
                    <a:pt x="8387728" y="6824794"/>
                  </a:lnTo>
                  <a:lnTo>
                    <a:pt x="8389099" y="6799483"/>
                  </a:lnTo>
                  <a:lnTo>
                    <a:pt x="8392007" y="6775141"/>
                  </a:lnTo>
                  <a:lnTo>
                    <a:pt x="8394903" y="6750793"/>
                  </a:lnTo>
                  <a:lnTo>
                    <a:pt x="8399123" y="6726788"/>
                  </a:lnTo>
                  <a:lnTo>
                    <a:pt x="8397442" y="6700329"/>
                  </a:lnTo>
                  <a:lnTo>
                    <a:pt x="8395926" y="6676468"/>
                  </a:lnTo>
                  <a:lnTo>
                    <a:pt x="8365897" y="6625253"/>
                  </a:lnTo>
                  <a:lnTo>
                    <a:pt x="8330795" y="6580632"/>
                  </a:lnTo>
                  <a:lnTo>
                    <a:pt x="8313240" y="6558321"/>
                  </a:lnTo>
                  <a:lnTo>
                    <a:pt x="8295042" y="6538582"/>
                  </a:lnTo>
                  <a:lnTo>
                    <a:pt x="8277744" y="6523499"/>
                  </a:lnTo>
                  <a:lnTo>
                    <a:pt x="8260446" y="6508424"/>
                  </a:lnTo>
                  <a:lnTo>
                    <a:pt x="8232860" y="6499020"/>
                  </a:lnTo>
                  <a:lnTo>
                    <a:pt x="8184274" y="6500892"/>
                  </a:lnTo>
                  <a:lnTo>
                    <a:pt x="8129809" y="6498268"/>
                  </a:lnTo>
                  <a:lnTo>
                    <a:pt x="8081877" y="6504460"/>
                  </a:lnTo>
                  <a:lnTo>
                    <a:pt x="8047873" y="6518059"/>
                  </a:lnTo>
                  <a:lnTo>
                    <a:pt x="8025773" y="6526817"/>
                  </a:lnTo>
                  <a:lnTo>
                    <a:pt x="8005646" y="6542632"/>
                  </a:lnTo>
                  <a:lnTo>
                    <a:pt x="7983948" y="6550704"/>
                  </a:lnTo>
                  <a:lnTo>
                    <a:pt x="7955274" y="6561394"/>
                  </a:lnTo>
                  <a:lnTo>
                    <a:pt x="7922312" y="6567983"/>
                  </a:lnTo>
                  <a:lnTo>
                    <a:pt x="7892813" y="6576549"/>
                  </a:lnTo>
                  <a:lnTo>
                    <a:pt x="7864250" y="6573826"/>
                  </a:lnTo>
                  <a:lnTo>
                    <a:pt x="7842982" y="6566492"/>
                  </a:lnTo>
                  <a:lnTo>
                    <a:pt x="7826666" y="6530629"/>
                  </a:lnTo>
                  <a:lnTo>
                    <a:pt x="7828367" y="6494601"/>
                  </a:lnTo>
                  <a:lnTo>
                    <a:pt x="7850645" y="6471809"/>
                  </a:lnTo>
                  <a:lnTo>
                    <a:pt x="7954020" y="6465009"/>
                  </a:lnTo>
                  <a:lnTo>
                    <a:pt x="7986236" y="6420382"/>
                  </a:lnTo>
                  <a:lnTo>
                    <a:pt x="7992106" y="6391563"/>
                  </a:lnTo>
                  <a:lnTo>
                    <a:pt x="7902330" y="6348036"/>
                  </a:lnTo>
                  <a:lnTo>
                    <a:pt x="7894501" y="6322190"/>
                  </a:lnTo>
                  <a:lnTo>
                    <a:pt x="7905054" y="6296345"/>
                  </a:lnTo>
                  <a:lnTo>
                    <a:pt x="7940270" y="6292032"/>
                  </a:lnTo>
                  <a:lnTo>
                    <a:pt x="8005131" y="6311560"/>
                  </a:lnTo>
                  <a:lnTo>
                    <a:pt x="8026110" y="6307227"/>
                  </a:lnTo>
                  <a:lnTo>
                    <a:pt x="8045234" y="6292948"/>
                  </a:lnTo>
                  <a:lnTo>
                    <a:pt x="8058753" y="6274582"/>
                  </a:lnTo>
                  <a:lnTo>
                    <a:pt x="8066721" y="6250590"/>
                  </a:lnTo>
                  <a:lnTo>
                    <a:pt x="8075077" y="6229697"/>
                  </a:lnTo>
                  <a:lnTo>
                    <a:pt x="8089356" y="6193992"/>
                  </a:lnTo>
                  <a:lnTo>
                    <a:pt x="8102226" y="6169835"/>
                  </a:lnTo>
                  <a:lnTo>
                    <a:pt x="8106362" y="6145361"/>
                  </a:lnTo>
                  <a:lnTo>
                    <a:pt x="8110499" y="6120894"/>
                  </a:lnTo>
                  <a:lnTo>
                    <a:pt x="8106034" y="6096809"/>
                  </a:lnTo>
                  <a:lnTo>
                    <a:pt x="8085957" y="6061032"/>
                  </a:lnTo>
                  <a:lnTo>
                    <a:pt x="8002987" y="6035187"/>
                  </a:lnTo>
                  <a:lnTo>
                    <a:pt x="7998437" y="5968156"/>
                  </a:lnTo>
                  <a:lnTo>
                    <a:pt x="8012973" y="5939508"/>
                  </a:lnTo>
                  <a:lnTo>
                    <a:pt x="8043797" y="5945417"/>
                  </a:lnTo>
                  <a:lnTo>
                    <a:pt x="8074609" y="5949968"/>
                  </a:lnTo>
                  <a:lnTo>
                    <a:pt x="8102921" y="5914823"/>
                  </a:lnTo>
                  <a:lnTo>
                    <a:pt x="8116036" y="5878426"/>
                  </a:lnTo>
                  <a:lnTo>
                    <a:pt x="8128125" y="5840683"/>
                  </a:lnTo>
                  <a:lnTo>
                    <a:pt x="8140208" y="5802940"/>
                  </a:lnTo>
                  <a:lnTo>
                    <a:pt x="8150515" y="5762996"/>
                  </a:lnTo>
                  <a:lnTo>
                    <a:pt x="8160771" y="5733226"/>
                  </a:lnTo>
                  <a:lnTo>
                    <a:pt x="8147417" y="5714569"/>
                  </a:lnTo>
                  <a:lnTo>
                    <a:pt x="8112238" y="5695121"/>
                  </a:lnTo>
                  <a:lnTo>
                    <a:pt x="8080516" y="5673377"/>
                  </a:lnTo>
                  <a:lnTo>
                    <a:pt x="8049588" y="5650638"/>
                  </a:lnTo>
                  <a:lnTo>
                    <a:pt x="8027118" y="5628110"/>
                  </a:lnTo>
                  <a:lnTo>
                    <a:pt x="8019310" y="5605370"/>
                  </a:lnTo>
                  <a:lnTo>
                    <a:pt x="8044344" y="5559206"/>
                  </a:lnTo>
                  <a:lnTo>
                    <a:pt x="8062666" y="5508900"/>
                  </a:lnTo>
                  <a:lnTo>
                    <a:pt x="8088683" y="5463910"/>
                  </a:lnTo>
                  <a:lnTo>
                    <a:pt x="8121710" y="5406758"/>
                  </a:lnTo>
                  <a:lnTo>
                    <a:pt x="8177180" y="5358365"/>
                  </a:lnTo>
                  <a:lnTo>
                    <a:pt x="8202939" y="5297963"/>
                  </a:lnTo>
                  <a:lnTo>
                    <a:pt x="8238788" y="5202178"/>
                  </a:lnTo>
                  <a:lnTo>
                    <a:pt x="8329276" y="5162226"/>
                  </a:lnTo>
                  <a:lnTo>
                    <a:pt x="8380712" y="5141102"/>
                  </a:lnTo>
                  <a:lnTo>
                    <a:pt x="8408332" y="5108893"/>
                  </a:lnTo>
                  <a:lnTo>
                    <a:pt x="8422132" y="5092795"/>
                  </a:lnTo>
                  <a:lnTo>
                    <a:pt x="8432811" y="5050410"/>
                  </a:lnTo>
                  <a:lnTo>
                    <a:pt x="8434612" y="5026226"/>
                  </a:lnTo>
                  <a:lnTo>
                    <a:pt x="8429822" y="4996938"/>
                  </a:lnTo>
                  <a:lnTo>
                    <a:pt x="8419205" y="4959275"/>
                  </a:lnTo>
                  <a:lnTo>
                    <a:pt x="8406034" y="4912516"/>
                  </a:lnTo>
                  <a:lnTo>
                    <a:pt x="8390689" y="4863701"/>
                  </a:lnTo>
                  <a:lnTo>
                    <a:pt x="8379760" y="4816456"/>
                  </a:lnTo>
                  <a:lnTo>
                    <a:pt x="8369646" y="4772652"/>
                  </a:lnTo>
                  <a:lnTo>
                    <a:pt x="8369360" y="4730168"/>
                  </a:lnTo>
                  <a:lnTo>
                    <a:pt x="8352558" y="4687235"/>
                  </a:lnTo>
                  <a:lnTo>
                    <a:pt x="8343588" y="4664311"/>
                  </a:lnTo>
                  <a:lnTo>
                    <a:pt x="8326448" y="4649808"/>
                  </a:lnTo>
                  <a:lnTo>
                    <a:pt x="8304949" y="4640985"/>
                  </a:lnTo>
                  <a:lnTo>
                    <a:pt x="8283455" y="4632168"/>
                  </a:lnTo>
                  <a:lnTo>
                    <a:pt x="8258251" y="4628619"/>
                  </a:lnTo>
                  <a:lnTo>
                    <a:pt x="8231502" y="4628745"/>
                  </a:lnTo>
                  <a:lnTo>
                    <a:pt x="8177995" y="4629008"/>
                  </a:lnTo>
                  <a:lnTo>
                    <a:pt x="8120910" y="4642502"/>
                  </a:lnTo>
                  <a:lnTo>
                    <a:pt x="8090041" y="4647791"/>
                  </a:lnTo>
                  <a:lnTo>
                    <a:pt x="8066920" y="4647791"/>
                  </a:lnTo>
                  <a:lnTo>
                    <a:pt x="8064790" y="4544673"/>
                  </a:lnTo>
                  <a:lnTo>
                    <a:pt x="8099287" y="4385656"/>
                  </a:lnTo>
                  <a:lnTo>
                    <a:pt x="8121326" y="4292781"/>
                  </a:lnTo>
                  <a:lnTo>
                    <a:pt x="8126259" y="4271993"/>
                  </a:lnTo>
                  <a:lnTo>
                    <a:pt x="8135182" y="4251120"/>
                  </a:lnTo>
                  <a:lnTo>
                    <a:pt x="8139008" y="4230208"/>
                  </a:lnTo>
                  <a:lnTo>
                    <a:pt x="8142959" y="4186490"/>
                  </a:lnTo>
                  <a:lnTo>
                    <a:pt x="8107107" y="4132722"/>
                  </a:lnTo>
                  <a:lnTo>
                    <a:pt x="8069273" y="4106560"/>
                  </a:lnTo>
                  <a:lnTo>
                    <a:pt x="8041073" y="4071066"/>
                  </a:lnTo>
                  <a:lnTo>
                    <a:pt x="7988980" y="4005434"/>
                  </a:lnTo>
                  <a:lnTo>
                    <a:pt x="7948705" y="3933813"/>
                  </a:lnTo>
                  <a:lnTo>
                    <a:pt x="7902330" y="3864316"/>
                  </a:lnTo>
                  <a:lnTo>
                    <a:pt x="7876510" y="3825591"/>
                  </a:lnTo>
                  <a:lnTo>
                    <a:pt x="7846840" y="3790038"/>
                  </a:lnTo>
                  <a:lnTo>
                    <a:pt x="7824800" y="3748701"/>
                  </a:lnTo>
                  <a:lnTo>
                    <a:pt x="7792267" y="3737225"/>
                  </a:lnTo>
                  <a:lnTo>
                    <a:pt x="7756681" y="3743847"/>
                  </a:lnTo>
                  <a:lnTo>
                    <a:pt x="7722783" y="3739178"/>
                  </a:lnTo>
                  <a:lnTo>
                    <a:pt x="7715259" y="3702754"/>
                  </a:lnTo>
                  <a:lnTo>
                    <a:pt x="7722256" y="3643519"/>
                  </a:lnTo>
                  <a:lnTo>
                    <a:pt x="7714625" y="3597717"/>
                  </a:lnTo>
                  <a:lnTo>
                    <a:pt x="7774942" y="3577062"/>
                  </a:lnTo>
                  <a:lnTo>
                    <a:pt x="7832773" y="3575776"/>
                  </a:lnTo>
                  <a:lnTo>
                    <a:pt x="7883291" y="3584118"/>
                  </a:lnTo>
                  <a:lnTo>
                    <a:pt x="7915599" y="3606535"/>
                  </a:lnTo>
                  <a:lnTo>
                    <a:pt x="7932257" y="3623563"/>
                  </a:lnTo>
                  <a:lnTo>
                    <a:pt x="7948910" y="3640597"/>
                  </a:lnTo>
                  <a:lnTo>
                    <a:pt x="7967513" y="3655937"/>
                  </a:lnTo>
                  <a:lnTo>
                    <a:pt x="7989382" y="3650766"/>
                  </a:lnTo>
                  <a:lnTo>
                    <a:pt x="7996214" y="3600461"/>
                  </a:lnTo>
                  <a:lnTo>
                    <a:pt x="7990742" y="3565079"/>
                  </a:lnTo>
                  <a:lnTo>
                    <a:pt x="7985267" y="3529691"/>
                  </a:lnTo>
                  <a:lnTo>
                    <a:pt x="7976654" y="3493815"/>
                  </a:lnTo>
                  <a:lnTo>
                    <a:pt x="7972216" y="3462436"/>
                  </a:lnTo>
                  <a:lnTo>
                    <a:pt x="7971437" y="3430503"/>
                  </a:lnTo>
                  <a:lnTo>
                    <a:pt x="7973060" y="3399131"/>
                  </a:lnTo>
                  <a:lnTo>
                    <a:pt x="7974682" y="3367760"/>
                  </a:lnTo>
                  <a:lnTo>
                    <a:pt x="7978883" y="3336658"/>
                  </a:lnTo>
                  <a:lnTo>
                    <a:pt x="7995845" y="3300452"/>
                  </a:lnTo>
                  <a:lnTo>
                    <a:pt x="8012432" y="3281993"/>
                  </a:lnTo>
                  <a:lnTo>
                    <a:pt x="8028832" y="3263112"/>
                  </a:lnTo>
                  <a:lnTo>
                    <a:pt x="8045228" y="3244231"/>
                  </a:lnTo>
                  <a:lnTo>
                    <a:pt x="8061478" y="3224973"/>
                  </a:lnTo>
                  <a:lnTo>
                    <a:pt x="8070994" y="3203263"/>
                  </a:lnTo>
                  <a:lnTo>
                    <a:pt x="8072352" y="3173342"/>
                  </a:lnTo>
                  <a:lnTo>
                    <a:pt x="8067624" y="3152535"/>
                  </a:lnTo>
                  <a:lnTo>
                    <a:pt x="8060092" y="3119396"/>
                  </a:lnTo>
                  <a:lnTo>
                    <a:pt x="8050313" y="3100514"/>
                  </a:lnTo>
                  <a:lnTo>
                    <a:pt x="8023670" y="3069340"/>
                  </a:lnTo>
                  <a:lnTo>
                    <a:pt x="7989382" y="3046838"/>
                  </a:lnTo>
                  <a:lnTo>
                    <a:pt x="7952457" y="3027442"/>
                  </a:lnTo>
                  <a:lnTo>
                    <a:pt x="7906840" y="3017168"/>
                  </a:lnTo>
                  <a:lnTo>
                    <a:pt x="7865610" y="3006036"/>
                  </a:lnTo>
                  <a:lnTo>
                    <a:pt x="7848628" y="2972560"/>
                  </a:lnTo>
                  <a:lnTo>
                    <a:pt x="7845158" y="2942401"/>
                  </a:lnTo>
                  <a:lnTo>
                    <a:pt x="7831599" y="2923065"/>
                  </a:lnTo>
                  <a:lnTo>
                    <a:pt x="7810811" y="2881392"/>
                  </a:lnTo>
                  <a:lnTo>
                    <a:pt x="7790797" y="2859134"/>
                  </a:lnTo>
                  <a:lnTo>
                    <a:pt x="7770781" y="2836876"/>
                  </a:lnTo>
                  <a:lnTo>
                    <a:pt x="7745377" y="2814473"/>
                  </a:lnTo>
                  <a:lnTo>
                    <a:pt x="7718701" y="2793845"/>
                  </a:lnTo>
                  <a:lnTo>
                    <a:pt x="7665361" y="2752580"/>
                  </a:lnTo>
                  <a:lnTo>
                    <a:pt x="7605573" y="2718195"/>
                  </a:lnTo>
                  <a:lnTo>
                    <a:pt x="7566358" y="2708150"/>
                  </a:lnTo>
                  <a:lnTo>
                    <a:pt x="7538158" y="2735697"/>
                  </a:lnTo>
                  <a:lnTo>
                    <a:pt x="7462772" y="2868592"/>
                  </a:lnTo>
                  <a:lnTo>
                    <a:pt x="7431044" y="2838993"/>
                  </a:lnTo>
                  <a:lnTo>
                    <a:pt x="7415705" y="2787065"/>
                  </a:lnTo>
                  <a:lnTo>
                    <a:pt x="7403136" y="2735355"/>
                  </a:lnTo>
                  <a:lnTo>
                    <a:pt x="7390572" y="2683644"/>
                  </a:lnTo>
                  <a:lnTo>
                    <a:pt x="7381464" y="2631696"/>
                  </a:lnTo>
                  <a:lnTo>
                    <a:pt x="7378655" y="2597976"/>
                  </a:lnTo>
                  <a:lnTo>
                    <a:pt x="7374849" y="2552300"/>
                  </a:lnTo>
                  <a:lnTo>
                    <a:pt x="7373531" y="2502953"/>
                  </a:lnTo>
                  <a:lnTo>
                    <a:pt x="7366414" y="2457875"/>
                  </a:lnTo>
                  <a:lnTo>
                    <a:pt x="7360591" y="2420936"/>
                  </a:lnTo>
                  <a:lnTo>
                    <a:pt x="7339125" y="2373861"/>
                  </a:lnTo>
                  <a:lnTo>
                    <a:pt x="7328329" y="2336817"/>
                  </a:lnTo>
                  <a:lnTo>
                    <a:pt x="7318700" y="2296500"/>
                  </a:lnTo>
                  <a:lnTo>
                    <a:pt x="7284848" y="2232677"/>
                  </a:lnTo>
                  <a:lnTo>
                    <a:pt x="7287526" y="2208958"/>
                  </a:lnTo>
                  <a:lnTo>
                    <a:pt x="7336270" y="2201900"/>
                  </a:lnTo>
                  <a:lnTo>
                    <a:pt x="7370398" y="2197876"/>
                  </a:lnTo>
                  <a:lnTo>
                    <a:pt x="7401770" y="2187192"/>
                  </a:lnTo>
                  <a:lnTo>
                    <a:pt x="7433141" y="2176507"/>
                  </a:lnTo>
                  <a:lnTo>
                    <a:pt x="7461909" y="2159286"/>
                  </a:lnTo>
                  <a:lnTo>
                    <a:pt x="7495621" y="2135506"/>
                  </a:lnTo>
                  <a:lnTo>
                    <a:pt x="7547913" y="2098628"/>
                  </a:lnTo>
                  <a:lnTo>
                    <a:pt x="7584211" y="2074174"/>
                  </a:lnTo>
                  <a:lnTo>
                    <a:pt x="7613961" y="2044372"/>
                  </a:lnTo>
                  <a:lnTo>
                    <a:pt x="7643710" y="2014570"/>
                  </a:lnTo>
                  <a:lnTo>
                    <a:pt x="7667650" y="1978661"/>
                  </a:lnTo>
                  <a:lnTo>
                    <a:pt x="7695572" y="1920594"/>
                  </a:lnTo>
                  <a:lnTo>
                    <a:pt x="7707377" y="1896050"/>
                  </a:lnTo>
                  <a:lnTo>
                    <a:pt x="7724965" y="1854391"/>
                  </a:lnTo>
                  <a:lnTo>
                    <a:pt x="7724135" y="1825380"/>
                  </a:lnTo>
                  <a:lnTo>
                    <a:pt x="7723054" y="1786806"/>
                  </a:lnTo>
                  <a:lnTo>
                    <a:pt x="7717296" y="1752737"/>
                  </a:lnTo>
                  <a:lnTo>
                    <a:pt x="7721412" y="1713843"/>
                  </a:lnTo>
                  <a:lnTo>
                    <a:pt x="7729102" y="1659970"/>
                  </a:lnTo>
                  <a:lnTo>
                    <a:pt x="7729576" y="1624070"/>
                  </a:lnTo>
                  <a:lnTo>
                    <a:pt x="7730038" y="1588172"/>
                  </a:lnTo>
                  <a:lnTo>
                    <a:pt x="7724550" y="1553744"/>
                  </a:lnTo>
                  <a:lnTo>
                    <a:pt x="7707813" y="1539738"/>
                  </a:lnTo>
                  <a:lnTo>
                    <a:pt x="7685266" y="1552681"/>
                  </a:lnTo>
                  <a:lnTo>
                    <a:pt x="7664392" y="1572980"/>
                  </a:lnTo>
                  <a:lnTo>
                    <a:pt x="7630283" y="1572383"/>
                  </a:lnTo>
                  <a:lnTo>
                    <a:pt x="7601047" y="1524060"/>
                  </a:lnTo>
                  <a:lnTo>
                    <a:pt x="7586751" y="1500293"/>
                  </a:lnTo>
                  <a:lnTo>
                    <a:pt x="7559836" y="1516632"/>
                  </a:lnTo>
                  <a:lnTo>
                    <a:pt x="7527818" y="1512110"/>
                  </a:lnTo>
                  <a:lnTo>
                    <a:pt x="7505145" y="1496212"/>
                  </a:lnTo>
                  <a:lnTo>
                    <a:pt x="7368017" y="1416492"/>
                  </a:lnTo>
                  <a:lnTo>
                    <a:pt x="7413964" y="1261492"/>
                  </a:lnTo>
                  <a:lnTo>
                    <a:pt x="7340556" y="1145281"/>
                  </a:lnTo>
                  <a:lnTo>
                    <a:pt x="7305748" y="1090129"/>
                  </a:lnTo>
                  <a:lnTo>
                    <a:pt x="7239608" y="1083477"/>
                  </a:lnTo>
                  <a:lnTo>
                    <a:pt x="7192296" y="1043266"/>
                  </a:lnTo>
                  <a:lnTo>
                    <a:pt x="7180056" y="1024223"/>
                  </a:lnTo>
                  <a:lnTo>
                    <a:pt x="7167176" y="989920"/>
                  </a:lnTo>
                  <a:lnTo>
                    <a:pt x="7218313" y="902209"/>
                  </a:lnTo>
                  <a:lnTo>
                    <a:pt x="7227658" y="846037"/>
                  </a:lnTo>
                  <a:lnTo>
                    <a:pt x="7234695" y="803105"/>
                  </a:lnTo>
                  <a:lnTo>
                    <a:pt x="7215931" y="672782"/>
                  </a:lnTo>
                  <a:lnTo>
                    <a:pt x="7200453" y="631126"/>
                  </a:lnTo>
                  <a:lnTo>
                    <a:pt x="7160693" y="572105"/>
                  </a:lnTo>
                  <a:lnTo>
                    <a:pt x="7123946" y="536103"/>
                  </a:lnTo>
                  <a:lnTo>
                    <a:pt x="7090240" y="518377"/>
                  </a:lnTo>
                  <a:lnTo>
                    <a:pt x="7071239" y="488305"/>
                  </a:lnTo>
                  <a:lnTo>
                    <a:pt x="7056467" y="464884"/>
                  </a:lnTo>
                  <a:lnTo>
                    <a:pt x="7048580" y="435809"/>
                  </a:lnTo>
                  <a:lnTo>
                    <a:pt x="7041313" y="409413"/>
                  </a:lnTo>
                  <a:lnTo>
                    <a:pt x="6992173" y="230866"/>
                  </a:lnTo>
                  <a:lnTo>
                    <a:pt x="7016871" y="193524"/>
                  </a:lnTo>
                  <a:lnTo>
                    <a:pt x="6815522" y="141454"/>
                  </a:lnTo>
                  <a:lnTo>
                    <a:pt x="6747450" y="123835"/>
                  </a:lnTo>
                  <a:lnTo>
                    <a:pt x="6676608" y="108320"/>
                  </a:lnTo>
                  <a:lnTo>
                    <a:pt x="6607407" y="130572"/>
                  </a:lnTo>
                  <a:lnTo>
                    <a:pt x="6544841" y="150678"/>
                  </a:lnTo>
                  <a:lnTo>
                    <a:pt x="6472053" y="188126"/>
                  </a:lnTo>
                  <a:lnTo>
                    <a:pt x="6456431" y="258431"/>
                  </a:lnTo>
                  <a:lnTo>
                    <a:pt x="6450969" y="282978"/>
                  </a:lnTo>
                  <a:lnTo>
                    <a:pt x="6464252" y="322552"/>
                  </a:lnTo>
                  <a:lnTo>
                    <a:pt x="6452355" y="344124"/>
                  </a:lnTo>
                  <a:lnTo>
                    <a:pt x="6432781" y="379595"/>
                  </a:lnTo>
                  <a:lnTo>
                    <a:pt x="6386168" y="420125"/>
                  </a:lnTo>
                  <a:lnTo>
                    <a:pt x="6353062" y="443418"/>
                  </a:lnTo>
                  <a:lnTo>
                    <a:pt x="6319836" y="461143"/>
                  </a:lnTo>
                  <a:lnTo>
                    <a:pt x="6263266" y="471684"/>
                  </a:lnTo>
                  <a:lnTo>
                    <a:pt x="6232342" y="452153"/>
                  </a:lnTo>
                  <a:lnTo>
                    <a:pt x="6195271" y="444778"/>
                  </a:lnTo>
                  <a:lnTo>
                    <a:pt x="6174702" y="440696"/>
                  </a:lnTo>
                  <a:lnTo>
                    <a:pt x="6145738" y="442885"/>
                  </a:lnTo>
                  <a:lnTo>
                    <a:pt x="6124541" y="443420"/>
                  </a:lnTo>
                  <a:lnTo>
                    <a:pt x="6063611" y="445014"/>
                  </a:lnTo>
                  <a:lnTo>
                    <a:pt x="5964107" y="486564"/>
                  </a:lnTo>
                  <a:lnTo>
                    <a:pt x="5910992" y="516871"/>
                  </a:lnTo>
                  <a:lnTo>
                    <a:pt x="5888760" y="529559"/>
                  </a:lnTo>
                  <a:lnTo>
                    <a:pt x="5843724" y="542736"/>
                  </a:lnTo>
                  <a:lnTo>
                    <a:pt x="5810340" y="561758"/>
                  </a:lnTo>
                  <a:lnTo>
                    <a:pt x="5695082" y="627472"/>
                  </a:lnTo>
                  <a:lnTo>
                    <a:pt x="5645540" y="735778"/>
                  </a:lnTo>
                  <a:lnTo>
                    <a:pt x="5577745" y="847399"/>
                  </a:lnTo>
                  <a:lnTo>
                    <a:pt x="5530611" y="911690"/>
                  </a:lnTo>
                  <a:lnTo>
                    <a:pt x="5510160" y="970072"/>
                  </a:lnTo>
                  <a:lnTo>
                    <a:pt x="5526061" y="1048709"/>
                  </a:lnTo>
                  <a:lnTo>
                    <a:pt x="5530775" y="1072130"/>
                  </a:lnTo>
                  <a:lnTo>
                    <a:pt x="5545100" y="1096338"/>
                  </a:lnTo>
                  <a:lnTo>
                    <a:pt x="5545100" y="1120799"/>
                  </a:lnTo>
                  <a:lnTo>
                    <a:pt x="5531436" y="1272206"/>
                  </a:lnTo>
                  <a:lnTo>
                    <a:pt x="5517744" y="1297901"/>
                  </a:lnTo>
                  <a:lnTo>
                    <a:pt x="5485251" y="1313948"/>
                  </a:lnTo>
                  <a:lnTo>
                    <a:pt x="5357819" y="1318517"/>
                  </a:lnTo>
                  <a:lnTo>
                    <a:pt x="5427230" y="1131065"/>
                  </a:lnTo>
                  <a:lnTo>
                    <a:pt x="5368271" y="1097676"/>
                  </a:lnTo>
                  <a:lnTo>
                    <a:pt x="5329809" y="1101054"/>
                  </a:lnTo>
                  <a:lnTo>
                    <a:pt x="5304834" y="1178310"/>
                  </a:lnTo>
                  <a:lnTo>
                    <a:pt x="5244498" y="1169767"/>
                  </a:lnTo>
                  <a:lnTo>
                    <a:pt x="5145607" y="1155782"/>
                  </a:lnTo>
                  <a:lnTo>
                    <a:pt x="5131685" y="991900"/>
                  </a:lnTo>
                  <a:lnTo>
                    <a:pt x="5116636" y="918130"/>
                  </a:lnTo>
                  <a:lnTo>
                    <a:pt x="5111920" y="895007"/>
                  </a:lnTo>
                  <a:lnTo>
                    <a:pt x="5102332" y="870969"/>
                  </a:lnTo>
                  <a:lnTo>
                    <a:pt x="5094873" y="846039"/>
                  </a:lnTo>
                  <a:lnTo>
                    <a:pt x="5090072" y="797752"/>
                  </a:lnTo>
                  <a:lnTo>
                    <a:pt x="5067991" y="737967"/>
                  </a:lnTo>
                  <a:lnTo>
                    <a:pt x="5064951" y="677375"/>
                  </a:lnTo>
                  <a:lnTo>
                    <a:pt x="5062762" y="634061"/>
                  </a:lnTo>
                  <a:lnTo>
                    <a:pt x="5078214" y="566965"/>
                  </a:lnTo>
                  <a:lnTo>
                    <a:pt x="5066311" y="527753"/>
                  </a:lnTo>
                  <a:lnTo>
                    <a:pt x="5057888" y="500060"/>
                  </a:lnTo>
                  <a:lnTo>
                    <a:pt x="5032834" y="485587"/>
                  </a:lnTo>
                  <a:lnTo>
                    <a:pt x="5005096" y="485587"/>
                  </a:lnTo>
                  <a:lnTo>
                    <a:pt x="4951374" y="485587"/>
                  </a:lnTo>
                  <a:lnTo>
                    <a:pt x="4892990" y="515043"/>
                  </a:lnTo>
                  <a:lnTo>
                    <a:pt x="4841879" y="511430"/>
                  </a:lnTo>
                  <a:lnTo>
                    <a:pt x="4792292" y="507922"/>
                  </a:lnTo>
                  <a:lnTo>
                    <a:pt x="4741155" y="460402"/>
                  </a:lnTo>
                  <a:lnTo>
                    <a:pt x="4694977" y="443420"/>
                  </a:lnTo>
                  <a:lnTo>
                    <a:pt x="4666580" y="432985"/>
                  </a:lnTo>
                  <a:lnTo>
                    <a:pt x="4634635" y="431008"/>
                  </a:lnTo>
                  <a:lnTo>
                    <a:pt x="4601119" y="423017"/>
                  </a:lnTo>
                  <a:lnTo>
                    <a:pt x="4395390" y="400702"/>
                  </a:lnTo>
                  <a:lnTo>
                    <a:pt x="4173340" y="690996"/>
                  </a:lnTo>
                  <a:lnTo>
                    <a:pt x="4107371" y="686896"/>
                  </a:lnTo>
                  <a:lnTo>
                    <a:pt x="4073275" y="603116"/>
                  </a:lnTo>
                  <a:lnTo>
                    <a:pt x="4063542" y="527943"/>
                  </a:lnTo>
                  <a:lnTo>
                    <a:pt x="4035276" y="458382"/>
                  </a:lnTo>
                  <a:lnTo>
                    <a:pt x="4026030" y="435642"/>
                  </a:lnTo>
                  <a:lnTo>
                    <a:pt x="4007135" y="421720"/>
                  </a:lnTo>
                  <a:lnTo>
                    <a:pt x="3990392" y="405335"/>
                  </a:lnTo>
                  <a:lnTo>
                    <a:pt x="3961572" y="377111"/>
                  </a:lnTo>
                  <a:lnTo>
                    <a:pt x="3934282" y="341172"/>
                  </a:lnTo>
                  <a:lnTo>
                    <a:pt x="3900614" y="318282"/>
                  </a:lnTo>
                  <a:lnTo>
                    <a:pt x="3868821" y="296689"/>
                  </a:lnTo>
                  <a:lnTo>
                    <a:pt x="3777673" y="259581"/>
                  </a:lnTo>
                  <a:lnTo>
                    <a:pt x="3761877" y="228509"/>
                  </a:lnTo>
                  <a:lnTo>
                    <a:pt x="3746446" y="198139"/>
                  </a:lnTo>
                  <a:lnTo>
                    <a:pt x="3781202" y="65285"/>
                  </a:lnTo>
                  <a:lnTo>
                    <a:pt x="3779558" y="24479"/>
                  </a:lnTo>
                  <a:lnTo>
                    <a:pt x="3764595" y="3182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61" name="Rivne¬0" descr="Rivne¬0">
              <a:extLst>
                <a:ext uri="{FF2B5EF4-FFF2-40B4-BE49-F238E27FC236}">
                  <a16:creationId xmlns:a16="http://schemas.microsoft.com/office/drawing/2014/main" id="{F836D0E9-2AFB-40DB-BEE5-491FC15B8F9F}"/>
                </a:ext>
              </a:extLst>
            </p:cNvPr>
            <p:cNvSpPr/>
            <p:nvPr/>
          </p:nvSpPr>
          <p:spPr>
            <a:xfrm>
              <a:off x="1878053" y="1381238"/>
              <a:ext cx="916515" cy="874194"/>
            </a:xfrm>
            <a:custGeom>
              <a:avLst/>
              <a:gdLst/>
              <a:ahLst/>
              <a:cxnLst/>
              <a:rect l="0" t="0" r="0" b="0"/>
              <a:pathLst>
                <a:path w="9352529" h="10126420">
                  <a:moveTo>
                    <a:pt x="2446795" y="7689"/>
                  </a:moveTo>
                  <a:lnTo>
                    <a:pt x="2374171" y="56316"/>
                  </a:lnTo>
                  <a:lnTo>
                    <a:pt x="2321868" y="73191"/>
                  </a:lnTo>
                  <a:lnTo>
                    <a:pt x="2229651" y="102967"/>
                  </a:lnTo>
                  <a:lnTo>
                    <a:pt x="2097984" y="83733"/>
                  </a:lnTo>
                  <a:lnTo>
                    <a:pt x="2002219" y="89514"/>
                  </a:lnTo>
                  <a:lnTo>
                    <a:pt x="1943564" y="93064"/>
                  </a:lnTo>
                  <a:lnTo>
                    <a:pt x="1887475" y="110385"/>
                  </a:lnTo>
                  <a:lnTo>
                    <a:pt x="1828114" y="108557"/>
                  </a:lnTo>
                  <a:lnTo>
                    <a:pt x="1782549" y="107143"/>
                  </a:lnTo>
                  <a:lnTo>
                    <a:pt x="1738885" y="98654"/>
                  </a:lnTo>
                  <a:lnTo>
                    <a:pt x="1694818" y="90874"/>
                  </a:lnTo>
                  <a:lnTo>
                    <a:pt x="1690148" y="116753"/>
                  </a:lnTo>
                  <a:lnTo>
                    <a:pt x="1685255" y="140784"/>
                  </a:lnTo>
                  <a:lnTo>
                    <a:pt x="1681654" y="178976"/>
                  </a:lnTo>
                  <a:lnTo>
                    <a:pt x="1680962" y="202240"/>
                  </a:lnTo>
                  <a:lnTo>
                    <a:pt x="1699678" y="226108"/>
                  </a:lnTo>
                  <a:lnTo>
                    <a:pt x="1799057" y="230093"/>
                  </a:lnTo>
                  <a:lnTo>
                    <a:pt x="1898844" y="233695"/>
                  </a:lnTo>
                  <a:lnTo>
                    <a:pt x="1998625" y="237298"/>
                  </a:lnTo>
                  <a:lnTo>
                    <a:pt x="2098822" y="241623"/>
                  </a:lnTo>
                  <a:lnTo>
                    <a:pt x="2116476" y="255459"/>
                  </a:lnTo>
                  <a:lnTo>
                    <a:pt x="2039454" y="296201"/>
                  </a:lnTo>
                  <a:lnTo>
                    <a:pt x="2003492" y="322475"/>
                  </a:lnTo>
                  <a:lnTo>
                    <a:pt x="1984532" y="354753"/>
                  </a:lnTo>
                  <a:lnTo>
                    <a:pt x="1977060" y="389451"/>
                  </a:lnTo>
                  <a:lnTo>
                    <a:pt x="1983153" y="444500"/>
                  </a:lnTo>
                  <a:lnTo>
                    <a:pt x="2000432" y="483749"/>
                  </a:lnTo>
                  <a:lnTo>
                    <a:pt x="2011742" y="520697"/>
                  </a:lnTo>
                  <a:lnTo>
                    <a:pt x="2018984" y="544416"/>
                  </a:lnTo>
                  <a:lnTo>
                    <a:pt x="2037429" y="562544"/>
                  </a:lnTo>
                  <a:lnTo>
                    <a:pt x="2033505" y="591428"/>
                  </a:lnTo>
                  <a:lnTo>
                    <a:pt x="2029753" y="618929"/>
                  </a:lnTo>
                  <a:lnTo>
                    <a:pt x="2009308" y="662408"/>
                  </a:lnTo>
                  <a:lnTo>
                    <a:pt x="1984532" y="702964"/>
                  </a:lnTo>
                  <a:lnTo>
                    <a:pt x="1959761" y="743520"/>
                  </a:lnTo>
                  <a:lnTo>
                    <a:pt x="1930117" y="781941"/>
                  </a:lnTo>
                  <a:lnTo>
                    <a:pt x="1908367" y="799538"/>
                  </a:lnTo>
                  <a:lnTo>
                    <a:pt x="1876487" y="825340"/>
                  </a:lnTo>
                  <a:lnTo>
                    <a:pt x="1840737" y="848314"/>
                  </a:lnTo>
                  <a:lnTo>
                    <a:pt x="1810433" y="875709"/>
                  </a:lnTo>
                  <a:lnTo>
                    <a:pt x="1761037" y="920362"/>
                  </a:lnTo>
                  <a:lnTo>
                    <a:pt x="1725537" y="975021"/>
                  </a:lnTo>
                  <a:lnTo>
                    <a:pt x="1686653" y="1028052"/>
                  </a:lnTo>
                  <a:lnTo>
                    <a:pt x="1636374" y="1096620"/>
                  </a:lnTo>
                  <a:lnTo>
                    <a:pt x="1606849" y="1132891"/>
                  </a:lnTo>
                  <a:lnTo>
                    <a:pt x="1588719" y="1170872"/>
                  </a:lnTo>
                  <a:lnTo>
                    <a:pt x="1570590" y="1208854"/>
                  </a:lnTo>
                  <a:lnTo>
                    <a:pt x="1563711" y="1249700"/>
                  </a:lnTo>
                  <a:lnTo>
                    <a:pt x="1556074" y="1330016"/>
                  </a:lnTo>
                  <a:lnTo>
                    <a:pt x="1547975" y="1415155"/>
                  </a:lnTo>
                  <a:lnTo>
                    <a:pt x="1544342" y="1477406"/>
                  </a:lnTo>
                  <a:lnTo>
                    <a:pt x="1553350" y="1570770"/>
                  </a:lnTo>
                  <a:lnTo>
                    <a:pt x="1554465" y="1620673"/>
                  </a:lnTo>
                  <a:lnTo>
                    <a:pt x="1552117" y="1657645"/>
                  </a:lnTo>
                  <a:lnTo>
                    <a:pt x="1564232" y="1683667"/>
                  </a:lnTo>
                  <a:lnTo>
                    <a:pt x="1580561" y="1705890"/>
                  </a:lnTo>
                  <a:lnTo>
                    <a:pt x="1610468" y="1721293"/>
                  </a:lnTo>
                  <a:lnTo>
                    <a:pt x="1658084" y="1729913"/>
                  </a:lnTo>
                  <a:lnTo>
                    <a:pt x="1681206" y="1732251"/>
                  </a:lnTo>
                  <a:lnTo>
                    <a:pt x="1716911" y="1726384"/>
                  </a:lnTo>
                  <a:lnTo>
                    <a:pt x="1736972" y="1712231"/>
                  </a:lnTo>
                  <a:lnTo>
                    <a:pt x="1748348" y="1738809"/>
                  </a:lnTo>
                  <a:lnTo>
                    <a:pt x="1750083" y="1775428"/>
                  </a:lnTo>
                  <a:lnTo>
                    <a:pt x="1761459" y="1803365"/>
                  </a:lnTo>
                  <a:lnTo>
                    <a:pt x="1787977" y="1814047"/>
                  </a:lnTo>
                  <a:lnTo>
                    <a:pt x="1827434" y="1819887"/>
                  </a:lnTo>
                  <a:lnTo>
                    <a:pt x="1850879" y="1825798"/>
                  </a:lnTo>
                  <a:lnTo>
                    <a:pt x="1875716" y="1846891"/>
                  </a:lnTo>
                  <a:lnTo>
                    <a:pt x="1887409" y="1867868"/>
                  </a:lnTo>
                  <a:lnTo>
                    <a:pt x="1896121" y="1902659"/>
                  </a:lnTo>
                  <a:lnTo>
                    <a:pt x="1897050" y="1934814"/>
                  </a:lnTo>
                  <a:lnTo>
                    <a:pt x="1882021" y="1977091"/>
                  </a:lnTo>
                  <a:lnTo>
                    <a:pt x="1859539" y="2001233"/>
                  </a:lnTo>
                  <a:lnTo>
                    <a:pt x="1833555" y="2023717"/>
                  </a:lnTo>
                  <a:lnTo>
                    <a:pt x="1807570" y="2046201"/>
                  </a:lnTo>
                  <a:lnTo>
                    <a:pt x="1777808" y="2068235"/>
                  </a:lnTo>
                  <a:lnTo>
                    <a:pt x="1753302" y="2093087"/>
                  </a:lnTo>
                  <a:lnTo>
                    <a:pt x="1728795" y="2117938"/>
                  </a:lnTo>
                  <a:lnTo>
                    <a:pt x="1709920" y="2144854"/>
                  </a:lnTo>
                  <a:lnTo>
                    <a:pt x="1704334" y="2180140"/>
                  </a:lnTo>
                  <a:lnTo>
                    <a:pt x="1699421" y="2211185"/>
                  </a:lnTo>
                  <a:lnTo>
                    <a:pt x="1699856" y="2241736"/>
                  </a:lnTo>
                  <a:lnTo>
                    <a:pt x="1704334" y="2271273"/>
                  </a:lnTo>
                  <a:lnTo>
                    <a:pt x="1708812" y="2300810"/>
                  </a:lnTo>
                  <a:lnTo>
                    <a:pt x="1716218" y="2329523"/>
                  </a:lnTo>
                  <a:lnTo>
                    <a:pt x="1724739" y="2358325"/>
                  </a:lnTo>
                  <a:lnTo>
                    <a:pt x="1741774" y="2415932"/>
                  </a:lnTo>
                  <a:lnTo>
                    <a:pt x="1761762" y="2473103"/>
                  </a:lnTo>
                  <a:lnTo>
                    <a:pt x="1762824" y="2532432"/>
                  </a:lnTo>
                  <a:lnTo>
                    <a:pt x="1763781" y="2585097"/>
                  </a:lnTo>
                  <a:lnTo>
                    <a:pt x="1742974" y="2639696"/>
                  </a:lnTo>
                  <a:lnTo>
                    <a:pt x="1739702" y="2692934"/>
                  </a:lnTo>
                  <a:lnTo>
                    <a:pt x="1735944" y="2754611"/>
                  </a:lnTo>
                  <a:lnTo>
                    <a:pt x="1745440" y="2786895"/>
                  </a:lnTo>
                  <a:lnTo>
                    <a:pt x="1747860" y="2839836"/>
                  </a:lnTo>
                  <a:lnTo>
                    <a:pt x="1750413" y="2895881"/>
                  </a:lnTo>
                  <a:lnTo>
                    <a:pt x="1728584" y="2963379"/>
                  </a:lnTo>
                  <a:lnTo>
                    <a:pt x="1717939" y="3018022"/>
                  </a:lnTo>
                  <a:lnTo>
                    <a:pt x="1711061" y="3053333"/>
                  </a:lnTo>
                  <a:lnTo>
                    <a:pt x="1717610" y="3095448"/>
                  </a:lnTo>
                  <a:lnTo>
                    <a:pt x="1735621" y="3129558"/>
                  </a:lnTo>
                  <a:lnTo>
                    <a:pt x="1756487" y="3161582"/>
                  </a:lnTo>
                  <a:lnTo>
                    <a:pt x="1785484" y="3184587"/>
                  </a:lnTo>
                  <a:lnTo>
                    <a:pt x="1822673" y="3194848"/>
                  </a:lnTo>
                  <a:lnTo>
                    <a:pt x="1844119" y="3182836"/>
                  </a:lnTo>
                  <a:lnTo>
                    <a:pt x="1858358" y="3160613"/>
                  </a:lnTo>
                  <a:lnTo>
                    <a:pt x="1867558" y="3132279"/>
                  </a:lnTo>
                  <a:lnTo>
                    <a:pt x="1877517" y="3103088"/>
                  </a:lnTo>
                  <a:lnTo>
                    <a:pt x="1886281" y="3070549"/>
                  </a:lnTo>
                  <a:lnTo>
                    <a:pt x="1905643" y="3049306"/>
                  </a:lnTo>
                  <a:lnTo>
                    <a:pt x="1937049" y="3029871"/>
                  </a:lnTo>
                  <a:lnTo>
                    <a:pt x="1979177" y="3013876"/>
                  </a:lnTo>
                  <a:lnTo>
                    <a:pt x="2021259" y="3005781"/>
                  </a:lnTo>
                  <a:lnTo>
                    <a:pt x="2063348" y="2997685"/>
                  </a:lnTo>
                  <a:lnTo>
                    <a:pt x="2106511" y="2997393"/>
                  </a:lnTo>
                  <a:lnTo>
                    <a:pt x="2142321" y="3011221"/>
                  </a:lnTo>
                  <a:lnTo>
                    <a:pt x="2168464" y="3021323"/>
                  </a:lnTo>
                  <a:lnTo>
                    <a:pt x="2195365" y="3037065"/>
                  </a:lnTo>
                  <a:lnTo>
                    <a:pt x="2224369" y="3041900"/>
                  </a:lnTo>
                  <a:lnTo>
                    <a:pt x="2253855" y="3031624"/>
                  </a:lnTo>
                  <a:lnTo>
                    <a:pt x="2302208" y="2985717"/>
                  </a:lnTo>
                  <a:lnTo>
                    <a:pt x="2318788" y="2942877"/>
                  </a:lnTo>
                  <a:lnTo>
                    <a:pt x="2330025" y="2921448"/>
                  </a:lnTo>
                  <a:lnTo>
                    <a:pt x="2341296" y="2901214"/>
                  </a:lnTo>
                  <a:lnTo>
                    <a:pt x="2359564" y="2889994"/>
                  </a:lnTo>
                  <a:lnTo>
                    <a:pt x="2385792" y="2892884"/>
                  </a:lnTo>
                  <a:lnTo>
                    <a:pt x="2399180" y="2925912"/>
                  </a:lnTo>
                  <a:lnTo>
                    <a:pt x="2412996" y="2955453"/>
                  </a:lnTo>
                  <a:lnTo>
                    <a:pt x="2435538" y="2977879"/>
                  </a:lnTo>
                  <a:lnTo>
                    <a:pt x="2482183" y="2996293"/>
                  </a:lnTo>
                  <a:lnTo>
                    <a:pt x="2521924" y="2996525"/>
                  </a:lnTo>
                  <a:lnTo>
                    <a:pt x="2554457" y="2992178"/>
                  </a:lnTo>
                  <a:lnTo>
                    <a:pt x="2591309" y="2973922"/>
                  </a:lnTo>
                  <a:lnTo>
                    <a:pt x="2645104" y="2914350"/>
                  </a:lnTo>
                  <a:lnTo>
                    <a:pt x="2668713" y="2907846"/>
                  </a:lnTo>
                  <a:lnTo>
                    <a:pt x="2677900" y="2950990"/>
                  </a:lnTo>
                  <a:lnTo>
                    <a:pt x="2660957" y="2984952"/>
                  </a:lnTo>
                  <a:lnTo>
                    <a:pt x="2649674" y="3015302"/>
                  </a:lnTo>
                  <a:lnTo>
                    <a:pt x="2637157" y="3048988"/>
                  </a:lnTo>
                  <a:lnTo>
                    <a:pt x="2620201" y="3079274"/>
                  </a:lnTo>
                  <a:lnTo>
                    <a:pt x="2610230" y="3110516"/>
                  </a:lnTo>
                  <a:lnTo>
                    <a:pt x="2600258" y="3141757"/>
                  </a:lnTo>
                  <a:lnTo>
                    <a:pt x="2597528" y="3173701"/>
                  </a:lnTo>
                  <a:lnTo>
                    <a:pt x="2612948" y="3211170"/>
                  </a:lnTo>
                  <a:lnTo>
                    <a:pt x="2621363" y="3231616"/>
                  </a:lnTo>
                  <a:lnTo>
                    <a:pt x="2630436" y="3257523"/>
                  </a:lnTo>
                  <a:lnTo>
                    <a:pt x="2649668" y="3271019"/>
                  </a:lnTo>
                  <a:lnTo>
                    <a:pt x="2693305" y="3290360"/>
                  </a:lnTo>
                  <a:lnTo>
                    <a:pt x="2723121" y="3303664"/>
                  </a:lnTo>
                  <a:lnTo>
                    <a:pt x="2752938" y="3316969"/>
                  </a:lnTo>
                  <a:lnTo>
                    <a:pt x="2780503" y="3332324"/>
                  </a:lnTo>
                  <a:lnTo>
                    <a:pt x="2785061" y="3387932"/>
                  </a:lnTo>
                  <a:lnTo>
                    <a:pt x="2782838" y="3409279"/>
                  </a:lnTo>
                  <a:lnTo>
                    <a:pt x="2793991" y="3442885"/>
                  </a:lnTo>
                  <a:lnTo>
                    <a:pt x="2837377" y="3479129"/>
                  </a:lnTo>
                  <a:lnTo>
                    <a:pt x="2895485" y="3523697"/>
                  </a:lnTo>
                  <a:lnTo>
                    <a:pt x="2947809" y="3564142"/>
                  </a:lnTo>
                  <a:lnTo>
                    <a:pt x="2992438" y="3623310"/>
                  </a:lnTo>
                  <a:lnTo>
                    <a:pt x="3012974" y="3674637"/>
                  </a:lnTo>
                  <a:lnTo>
                    <a:pt x="3199188" y="3749809"/>
                  </a:lnTo>
                  <a:lnTo>
                    <a:pt x="3223397" y="3767194"/>
                  </a:lnTo>
                  <a:lnTo>
                    <a:pt x="3256167" y="3784048"/>
                  </a:lnTo>
                  <a:lnTo>
                    <a:pt x="3279679" y="3789956"/>
                  </a:lnTo>
                  <a:lnTo>
                    <a:pt x="3301205" y="3802857"/>
                  </a:lnTo>
                  <a:lnTo>
                    <a:pt x="3325921" y="3817691"/>
                  </a:lnTo>
                  <a:lnTo>
                    <a:pt x="3340503" y="3847212"/>
                  </a:lnTo>
                  <a:lnTo>
                    <a:pt x="3361052" y="3866786"/>
                  </a:lnTo>
                  <a:lnTo>
                    <a:pt x="3399185" y="3903129"/>
                  </a:lnTo>
                  <a:lnTo>
                    <a:pt x="3441116" y="3936730"/>
                  </a:lnTo>
                  <a:lnTo>
                    <a:pt x="3480750" y="3971521"/>
                  </a:lnTo>
                  <a:lnTo>
                    <a:pt x="3498115" y="3986770"/>
                  </a:lnTo>
                  <a:lnTo>
                    <a:pt x="3503872" y="4027288"/>
                  </a:lnTo>
                  <a:lnTo>
                    <a:pt x="3498418" y="4069251"/>
                  </a:lnTo>
                  <a:lnTo>
                    <a:pt x="3495722" y="4108009"/>
                  </a:lnTo>
                  <a:lnTo>
                    <a:pt x="3500594" y="4132239"/>
                  </a:lnTo>
                  <a:lnTo>
                    <a:pt x="3492325" y="4176477"/>
                  </a:lnTo>
                  <a:lnTo>
                    <a:pt x="3483890" y="4197133"/>
                  </a:lnTo>
                  <a:lnTo>
                    <a:pt x="3464012" y="4230140"/>
                  </a:lnTo>
                  <a:lnTo>
                    <a:pt x="3437224" y="4253084"/>
                  </a:lnTo>
                  <a:lnTo>
                    <a:pt x="3408101" y="4273667"/>
                  </a:lnTo>
                  <a:lnTo>
                    <a:pt x="3370022" y="4284693"/>
                  </a:lnTo>
                  <a:lnTo>
                    <a:pt x="3325692" y="4296610"/>
                  </a:lnTo>
                  <a:lnTo>
                    <a:pt x="3256173" y="4315294"/>
                  </a:lnTo>
                  <a:lnTo>
                    <a:pt x="3178876" y="4327171"/>
                  </a:lnTo>
                  <a:lnTo>
                    <a:pt x="3106694" y="4322456"/>
                  </a:lnTo>
                  <a:lnTo>
                    <a:pt x="3105079" y="4365217"/>
                  </a:lnTo>
                  <a:lnTo>
                    <a:pt x="3111561" y="4423575"/>
                  </a:lnTo>
                  <a:lnTo>
                    <a:pt x="3098279" y="4509903"/>
                  </a:lnTo>
                  <a:lnTo>
                    <a:pt x="3086295" y="4555045"/>
                  </a:lnTo>
                  <a:lnTo>
                    <a:pt x="3128267" y="4565247"/>
                  </a:lnTo>
                  <a:lnTo>
                    <a:pt x="3173264" y="4585969"/>
                  </a:lnTo>
                  <a:lnTo>
                    <a:pt x="3210069" y="4608094"/>
                  </a:lnTo>
                  <a:lnTo>
                    <a:pt x="3236627" y="4608048"/>
                  </a:lnTo>
                  <a:lnTo>
                    <a:pt x="3265843" y="4580891"/>
                  </a:lnTo>
                  <a:lnTo>
                    <a:pt x="3286564" y="4566348"/>
                  </a:lnTo>
                  <a:lnTo>
                    <a:pt x="3318568" y="4554622"/>
                  </a:lnTo>
                  <a:lnTo>
                    <a:pt x="3339230" y="4549604"/>
                  </a:lnTo>
                  <a:lnTo>
                    <a:pt x="3367852" y="4548245"/>
                  </a:lnTo>
                  <a:lnTo>
                    <a:pt x="3392584" y="4561296"/>
                  </a:lnTo>
                  <a:lnTo>
                    <a:pt x="3417486" y="4578898"/>
                  </a:lnTo>
                  <a:lnTo>
                    <a:pt x="3439948" y="4599936"/>
                  </a:lnTo>
                  <a:lnTo>
                    <a:pt x="3462403" y="4620967"/>
                  </a:lnTo>
                  <a:lnTo>
                    <a:pt x="3482082" y="4645745"/>
                  </a:lnTo>
                  <a:lnTo>
                    <a:pt x="3499796" y="4672025"/>
                  </a:lnTo>
                  <a:lnTo>
                    <a:pt x="3517511" y="4698306"/>
                  </a:lnTo>
                  <a:lnTo>
                    <a:pt x="3532837" y="4726203"/>
                  </a:lnTo>
                  <a:lnTo>
                    <a:pt x="3543323" y="4754995"/>
                  </a:lnTo>
                  <a:lnTo>
                    <a:pt x="3553810" y="4783789"/>
                  </a:lnTo>
                  <a:lnTo>
                    <a:pt x="3560226" y="4813473"/>
                  </a:lnTo>
                  <a:lnTo>
                    <a:pt x="3561004" y="4842048"/>
                  </a:lnTo>
                  <a:lnTo>
                    <a:pt x="3587739" y="4866172"/>
                  </a:lnTo>
                  <a:lnTo>
                    <a:pt x="3610175" y="4894458"/>
                  </a:lnTo>
                  <a:lnTo>
                    <a:pt x="3606594" y="4956945"/>
                  </a:lnTo>
                  <a:lnTo>
                    <a:pt x="3609970" y="4979427"/>
                  </a:lnTo>
                  <a:lnTo>
                    <a:pt x="3621010" y="5023250"/>
                  </a:lnTo>
                  <a:lnTo>
                    <a:pt x="3622212" y="5047440"/>
                  </a:lnTo>
                  <a:lnTo>
                    <a:pt x="3622171" y="5071439"/>
                  </a:lnTo>
                  <a:lnTo>
                    <a:pt x="3614093" y="5091455"/>
                  </a:lnTo>
                  <a:lnTo>
                    <a:pt x="3595013" y="5104565"/>
                  </a:lnTo>
                  <a:lnTo>
                    <a:pt x="3530470" y="5105864"/>
                  </a:lnTo>
                  <a:lnTo>
                    <a:pt x="3454701" y="5131789"/>
                  </a:lnTo>
                  <a:lnTo>
                    <a:pt x="3389623" y="5137210"/>
                  </a:lnTo>
                  <a:lnTo>
                    <a:pt x="3360572" y="5139637"/>
                  </a:lnTo>
                  <a:lnTo>
                    <a:pt x="3331494" y="5140593"/>
                  </a:lnTo>
                  <a:lnTo>
                    <a:pt x="3302569" y="5144016"/>
                  </a:lnTo>
                  <a:lnTo>
                    <a:pt x="3260810" y="5150940"/>
                  </a:lnTo>
                  <a:lnTo>
                    <a:pt x="3216261" y="5159996"/>
                  </a:lnTo>
                  <a:lnTo>
                    <a:pt x="3195112" y="5191618"/>
                  </a:lnTo>
                  <a:lnTo>
                    <a:pt x="3179488" y="5212933"/>
                  </a:lnTo>
                  <a:lnTo>
                    <a:pt x="3184231" y="5244667"/>
                  </a:lnTo>
                  <a:lnTo>
                    <a:pt x="3204312" y="5272425"/>
                  </a:lnTo>
                  <a:lnTo>
                    <a:pt x="3237603" y="5295797"/>
                  </a:lnTo>
                  <a:lnTo>
                    <a:pt x="3257118" y="5306145"/>
                  </a:lnTo>
                  <a:lnTo>
                    <a:pt x="3288173" y="5330098"/>
                  </a:lnTo>
                  <a:lnTo>
                    <a:pt x="3302569" y="5358924"/>
                  </a:lnTo>
                  <a:lnTo>
                    <a:pt x="3328323" y="5374066"/>
                  </a:lnTo>
                  <a:lnTo>
                    <a:pt x="3336671" y="5395473"/>
                  </a:lnTo>
                  <a:lnTo>
                    <a:pt x="3335214" y="5425572"/>
                  </a:lnTo>
                  <a:lnTo>
                    <a:pt x="3329978" y="5484907"/>
                  </a:lnTo>
                  <a:lnTo>
                    <a:pt x="3310279" y="5518521"/>
                  </a:lnTo>
                  <a:lnTo>
                    <a:pt x="3280332" y="5529356"/>
                  </a:lnTo>
                  <a:lnTo>
                    <a:pt x="3246796" y="5549352"/>
                  </a:lnTo>
                  <a:lnTo>
                    <a:pt x="3212635" y="5571669"/>
                  </a:lnTo>
                  <a:lnTo>
                    <a:pt x="3195112" y="5588796"/>
                  </a:lnTo>
                  <a:lnTo>
                    <a:pt x="3177589" y="5605923"/>
                  </a:lnTo>
                  <a:lnTo>
                    <a:pt x="3160542" y="5628108"/>
                  </a:lnTo>
                  <a:lnTo>
                    <a:pt x="3144786" y="5658167"/>
                  </a:lnTo>
                  <a:lnTo>
                    <a:pt x="3144786" y="5679930"/>
                  </a:lnTo>
                  <a:lnTo>
                    <a:pt x="3165705" y="5706957"/>
                  </a:lnTo>
                  <a:lnTo>
                    <a:pt x="3197315" y="5726359"/>
                  </a:lnTo>
                  <a:lnTo>
                    <a:pt x="3233198" y="5741138"/>
                  </a:lnTo>
                  <a:lnTo>
                    <a:pt x="3268011" y="5756049"/>
                  </a:lnTo>
                  <a:lnTo>
                    <a:pt x="3293594" y="5772477"/>
                  </a:lnTo>
                  <a:lnTo>
                    <a:pt x="3303927" y="5794188"/>
                  </a:lnTo>
                  <a:lnTo>
                    <a:pt x="3290283" y="5819690"/>
                  </a:lnTo>
                  <a:lnTo>
                    <a:pt x="3264292" y="5862471"/>
                  </a:lnTo>
                  <a:lnTo>
                    <a:pt x="3239996" y="5879882"/>
                  </a:lnTo>
                  <a:lnTo>
                    <a:pt x="3216822" y="5879420"/>
                  </a:lnTo>
                  <a:lnTo>
                    <a:pt x="3180149" y="5859477"/>
                  </a:lnTo>
                  <a:lnTo>
                    <a:pt x="3160437" y="5850105"/>
                  </a:lnTo>
                  <a:lnTo>
                    <a:pt x="3138033" y="5842805"/>
                  </a:lnTo>
                  <a:lnTo>
                    <a:pt x="3099895" y="5848595"/>
                  </a:lnTo>
                  <a:lnTo>
                    <a:pt x="3072163" y="5852803"/>
                  </a:lnTo>
                  <a:lnTo>
                    <a:pt x="3049879" y="5867985"/>
                  </a:lnTo>
                  <a:lnTo>
                    <a:pt x="3030530" y="5886681"/>
                  </a:lnTo>
                  <a:lnTo>
                    <a:pt x="3011181" y="5905384"/>
                  </a:lnTo>
                  <a:lnTo>
                    <a:pt x="2994535" y="5927794"/>
                  </a:lnTo>
                  <a:lnTo>
                    <a:pt x="2974757" y="5945171"/>
                  </a:lnTo>
                  <a:lnTo>
                    <a:pt x="2939883" y="5975798"/>
                  </a:lnTo>
                  <a:lnTo>
                    <a:pt x="2853615" y="6000792"/>
                  </a:lnTo>
                  <a:lnTo>
                    <a:pt x="2834661" y="6025425"/>
                  </a:lnTo>
                  <a:lnTo>
                    <a:pt x="2820634" y="6056473"/>
                  </a:lnTo>
                  <a:lnTo>
                    <a:pt x="2816828" y="6095449"/>
                  </a:lnTo>
                  <a:lnTo>
                    <a:pt x="2824201" y="6172597"/>
                  </a:lnTo>
                  <a:lnTo>
                    <a:pt x="2800552" y="6279606"/>
                  </a:lnTo>
                  <a:lnTo>
                    <a:pt x="2808816" y="6331467"/>
                  </a:lnTo>
                  <a:lnTo>
                    <a:pt x="2825138" y="6429402"/>
                  </a:lnTo>
                  <a:lnTo>
                    <a:pt x="2831905" y="6471913"/>
                  </a:lnTo>
                  <a:lnTo>
                    <a:pt x="2832472" y="6500416"/>
                  </a:lnTo>
                  <a:lnTo>
                    <a:pt x="2829213" y="6521895"/>
                  </a:lnTo>
                  <a:lnTo>
                    <a:pt x="2825956" y="6543368"/>
                  </a:lnTo>
                  <a:lnTo>
                    <a:pt x="2808809" y="6569504"/>
                  </a:lnTo>
                  <a:lnTo>
                    <a:pt x="2787052" y="6593760"/>
                  </a:lnTo>
                  <a:lnTo>
                    <a:pt x="2762559" y="6624136"/>
                  </a:lnTo>
                  <a:lnTo>
                    <a:pt x="2750668" y="6642945"/>
                  </a:lnTo>
                  <a:lnTo>
                    <a:pt x="2739444" y="6672879"/>
                  </a:lnTo>
                  <a:lnTo>
                    <a:pt x="2719659" y="6725626"/>
                  </a:lnTo>
                  <a:lnTo>
                    <a:pt x="2719653" y="6798182"/>
                  </a:lnTo>
                  <a:lnTo>
                    <a:pt x="2712239" y="6853784"/>
                  </a:lnTo>
                  <a:lnTo>
                    <a:pt x="2692811" y="6882466"/>
                  </a:lnTo>
                  <a:lnTo>
                    <a:pt x="2664836" y="6891817"/>
                  </a:lnTo>
                  <a:lnTo>
                    <a:pt x="2627905" y="6885070"/>
                  </a:lnTo>
                  <a:lnTo>
                    <a:pt x="2593367" y="6867185"/>
                  </a:lnTo>
                  <a:lnTo>
                    <a:pt x="2546001" y="6826982"/>
                  </a:lnTo>
                  <a:lnTo>
                    <a:pt x="2518679" y="6791581"/>
                  </a:lnTo>
                  <a:lnTo>
                    <a:pt x="2494608" y="6769448"/>
                  </a:lnTo>
                  <a:lnTo>
                    <a:pt x="2452777" y="6739653"/>
                  </a:lnTo>
                  <a:lnTo>
                    <a:pt x="2415311" y="6721523"/>
                  </a:lnTo>
                  <a:lnTo>
                    <a:pt x="2325238" y="6717038"/>
                  </a:lnTo>
                  <a:lnTo>
                    <a:pt x="2286492" y="6712323"/>
                  </a:lnTo>
                  <a:lnTo>
                    <a:pt x="2261669" y="6698230"/>
                  </a:lnTo>
                  <a:lnTo>
                    <a:pt x="2274253" y="6655192"/>
                  </a:lnTo>
                  <a:lnTo>
                    <a:pt x="2241080" y="6599003"/>
                  </a:lnTo>
                  <a:lnTo>
                    <a:pt x="2207696" y="6561142"/>
                  </a:lnTo>
                  <a:lnTo>
                    <a:pt x="2173601" y="6527336"/>
                  </a:lnTo>
                  <a:lnTo>
                    <a:pt x="2143851" y="6497831"/>
                  </a:lnTo>
                  <a:lnTo>
                    <a:pt x="2125333" y="6485254"/>
                  </a:lnTo>
                  <a:lnTo>
                    <a:pt x="2102871" y="6479727"/>
                  </a:lnTo>
                  <a:lnTo>
                    <a:pt x="2080409" y="6474201"/>
                  </a:lnTo>
                  <a:lnTo>
                    <a:pt x="2054985" y="6475652"/>
                  </a:lnTo>
                  <a:lnTo>
                    <a:pt x="2011735" y="6475652"/>
                  </a:lnTo>
                  <a:lnTo>
                    <a:pt x="1959458" y="6475652"/>
                  </a:lnTo>
                  <a:lnTo>
                    <a:pt x="1902115" y="6471998"/>
                  </a:lnTo>
                  <a:lnTo>
                    <a:pt x="1851236" y="6487892"/>
                  </a:lnTo>
                  <a:lnTo>
                    <a:pt x="1825713" y="6512933"/>
                  </a:lnTo>
                  <a:lnTo>
                    <a:pt x="1816085" y="6550933"/>
                  </a:lnTo>
                  <a:lnTo>
                    <a:pt x="1788663" y="6576304"/>
                  </a:lnTo>
                  <a:lnTo>
                    <a:pt x="1751343" y="6590502"/>
                  </a:lnTo>
                  <a:lnTo>
                    <a:pt x="1710348" y="6593094"/>
                  </a:lnTo>
                  <a:lnTo>
                    <a:pt x="1674406" y="6606231"/>
                  </a:lnTo>
                  <a:lnTo>
                    <a:pt x="1652755" y="6614158"/>
                  </a:lnTo>
                  <a:lnTo>
                    <a:pt x="1631645" y="6629162"/>
                  </a:lnTo>
                  <a:lnTo>
                    <a:pt x="1610482" y="6638876"/>
                  </a:lnTo>
                  <a:lnTo>
                    <a:pt x="1577474" y="6654011"/>
                  </a:lnTo>
                  <a:lnTo>
                    <a:pt x="1536771" y="6668183"/>
                  </a:lnTo>
                  <a:lnTo>
                    <a:pt x="1501666" y="6678320"/>
                  </a:lnTo>
                  <a:lnTo>
                    <a:pt x="1475122" y="6685014"/>
                  </a:lnTo>
                  <a:lnTo>
                    <a:pt x="1443980" y="6713833"/>
                  </a:lnTo>
                  <a:lnTo>
                    <a:pt x="1431569" y="6741677"/>
                  </a:lnTo>
                  <a:lnTo>
                    <a:pt x="1422771" y="6772179"/>
                  </a:lnTo>
                  <a:lnTo>
                    <a:pt x="1330186" y="6755619"/>
                  </a:lnTo>
                  <a:lnTo>
                    <a:pt x="1269466" y="6748180"/>
                  </a:lnTo>
                  <a:lnTo>
                    <a:pt x="1213304" y="6730011"/>
                  </a:lnTo>
                  <a:lnTo>
                    <a:pt x="1185223" y="6720923"/>
                  </a:lnTo>
                  <a:lnTo>
                    <a:pt x="1157940" y="6709454"/>
                  </a:lnTo>
                  <a:lnTo>
                    <a:pt x="1131692" y="6691925"/>
                  </a:lnTo>
                  <a:lnTo>
                    <a:pt x="1105438" y="6674396"/>
                  </a:lnTo>
                  <a:lnTo>
                    <a:pt x="1080258" y="6650714"/>
                  </a:lnTo>
                  <a:lnTo>
                    <a:pt x="1054156" y="6618472"/>
                  </a:lnTo>
                  <a:lnTo>
                    <a:pt x="1031034" y="6614396"/>
                  </a:lnTo>
                  <a:lnTo>
                    <a:pt x="1023239" y="6650167"/>
                  </a:lnTo>
                  <a:lnTo>
                    <a:pt x="1037187" y="6675122"/>
                  </a:lnTo>
                  <a:lnTo>
                    <a:pt x="1047356" y="6700090"/>
                  </a:lnTo>
                  <a:lnTo>
                    <a:pt x="1057532" y="6725058"/>
                  </a:lnTo>
                  <a:lnTo>
                    <a:pt x="1064048" y="6749756"/>
                  </a:lnTo>
                  <a:lnTo>
                    <a:pt x="1056880" y="6770820"/>
                  </a:lnTo>
                  <a:lnTo>
                    <a:pt x="1041857" y="6790269"/>
                  </a:lnTo>
                  <a:lnTo>
                    <a:pt x="1022494" y="6802508"/>
                  </a:lnTo>
                  <a:lnTo>
                    <a:pt x="999748" y="6811630"/>
                  </a:lnTo>
                  <a:lnTo>
                    <a:pt x="989143" y="6839084"/>
                  </a:lnTo>
                  <a:lnTo>
                    <a:pt x="1007773" y="6879761"/>
                  </a:lnTo>
                  <a:lnTo>
                    <a:pt x="1054954" y="6902125"/>
                  </a:lnTo>
                  <a:lnTo>
                    <a:pt x="1090883" y="6924521"/>
                  </a:lnTo>
                  <a:lnTo>
                    <a:pt x="1108847" y="6935719"/>
                  </a:lnTo>
                  <a:lnTo>
                    <a:pt x="1130327" y="6958531"/>
                  </a:lnTo>
                  <a:lnTo>
                    <a:pt x="1136414" y="6984686"/>
                  </a:lnTo>
                  <a:lnTo>
                    <a:pt x="1104488" y="7004774"/>
                  </a:lnTo>
                  <a:lnTo>
                    <a:pt x="1010379" y="6974358"/>
                  </a:lnTo>
                  <a:lnTo>
                    <a:pt x="906786" y="6970560"/>
                  </a:lnTo>
                  <a:lnTo>
                    <a:pt x="809320" y="6954449"/>
                  </a:lnTo>
                  <a:lnTo>
                    <a:pt x="772771" y="6975592"/>
                  </a:lnTo>
                  <a:lnTo>
                    <a:pt x="767390" y="7027645"/>
                  </a:lnTo>
                  <a:lnTo>
                    <a:pt x="792997" y="7056465"/>
                  </a:lnTo>
                  <a:lnTo>
                    <a:pt x="816719" y="7098013"/>
                  </a:lnTo>
                  <a:lnTo>
                    <a:pt x="841635" y="7141348"/>
                  </a:lnTo>
                  <a:lnTo>
                    <a:pt x="848771" y="7189762"/>
                  </a:lnTo>
                  <a:lnTo>
                    <a:pt x="852820" y="7217249"/>
                  </a:lnTo>
                  <a:lnTo>
                    <a:pt x="851837" y="7255618"/>
                  </a:lnTo>
                  <a:lnTo>
                    <a:pt x="840606" y="7289054"/>
                  </a:lnTo>
                  <a:lnTo>
                    <a:pt x="827166" y="7321877"/>
                  </a:lnTo>
                  <a:lnTo>
                    <a:pt x="805086" y="7346008"/>
                  </a:lnTo>
                  <a:lnTo>
                    <a:pt x="772599" y="7358426"/>
                  </a:lnTo>
                  <a:lnTo>
                    <a:pt x="750230" y="7362667"/>
                  </a:lnTo>
                  <a:lnTo>
                    <a:pt x="719471" y="7362001"/>
                  </a:lnTo>
                  <a:lnTo>
                    <a:pt x="682823" y="7359785"/>
                  </a:lnTo>
                  <a:lnTo>
                    <a:pt x="646182" y="7357562"/>
                  </a:lnTo>
                  <a:lnTo>
                    <a:pt x="604423" y="7353573"/>
                  </a:lnTo>
                  <a:lnTo>
                    <a:pt x="563125" y="7347544"/>
                  </a:lnTo>
                  <a:lnTo>
                    <a:pt x="480537" y="7335489"/>
                  </a:lnTo>
                  <a:lnTo>
                    <a:pt x="398484" y="7318098"/>
                  </a:lnTo>
                  <a:lnTo>
                    <a:pt x="355017" y="7306735"/>
                  </a:lnTo>
                  <a:lnTo>
                    <a:pt x="325393" y="7295419"/>
                  </a:lnTo>
                  <a:lnTo>
                    <a:pt x="292147" y="7285414"/>
                  </a:lnTo>
                  <a:lnTo>
                    <a:pt x="259800" y="7289054"/>
                  </a:lnTo>
                  <a:lnTo>
                    <a:pt x="239889" y="7301294"/>
                  </a:lnTo>
                  <a:lnTo>
                    <a:pt x="197168" y="7368120"/>
                  </a:lnTo>
                  <a:lnTo>
                    <a:pt x="184993" y="7389712"/>
                  </a:lnTo>
                  <a:lnTo>
                    <a:pt x="197307" y="7426789"/>
                  </a:lnTo>
                  <a:lnTo>
                    <a:pt x="231191" y="7449838"/>
                  </a:lnTo>
                  <a:lnTo>
                    <a:pt x="267964" y="7474041"/>
                  </a:lnTo>
                  <a:lnTo>
                    <a:pt x="304737" y="7498251"/>
                  </a:lnTo>
                  <a:lnTo>
                    <a:pt x="344867" y="7523279"/>
                  </a:lnTo>
                  <a:lnTo>
                    <a:pt x="365899" y="7550212"/>
                  </a:lnTo>
                  <a:lnTo>
                    <a:pt x="355096" y="7611169"/>
                  </a:lnTo>
                  <a:lnTo>
                    <a:pt x="325814" y="7653317"/>
                  </a:lnTo>
                  <a:lnTo>
                    <a:pt x="299244" y="7686232"/>
                  </a:lnTo>
                  <a:lnTo>
                    <a:pt x="270978" y="7721238"/>
                  </a:lnTo>
                  <a:lnTo>
                    <a:pt x="250131" y="7740033"/>
                  </a:lnTo>
                  <a:lnTo>
                    <a:pt x="215053" y="7757570"/>
                  </a:lnTo>
                  <a:lnTo>
                    <a:pt x="189069" y="7751529"/>
                  </a:lnTo>
                  <a:lnTo>
                    <a:pt x="163620" y="7741353"/>
                  </a:lnTo>
                  <a:lnTo>
                    <a:pt x="135624" y="7734493"/>
                  </a:lnTo>
                  <a:lnTo>
                    <a:pt x="99293" y="7744722"/>
                  </a:lnTo>
                  <a:lnTo>
                    <a:pt x="92625" y="7776398"/>
                  </a:lnTo>
                  <a:lnTo>
                    <a:pt x="118339" y="7804571"/>
                  </a:lnTo>
                  <a:lnTo>
                    <a:pt x="152276" y="7833780"/>
                  </a:lnTo>
                  <a:lnTo>
                    <a:pt x="172747" y="7849462"/>
                  </a:lnTo>
                  <a:lnTo>
                    <a:pt x="193211" y="7865145"/>
                  </a:lnTo>
                  <a:lnTo>
                    <a:pt x="215185" y="7882002"/>
                  </a:lnTo>
                  <a:lnTo>
                    <a:pt x="233954" y="7898430"/>
                  </a:lnTo>
                  <a:lnTo>
                    <a:pt x="252716" y="7914851"/>
                  </a:lnTo>
                  <a:lnTo>
                    <a:pt x="267872" y="7930751"/>
                  </a:lnTo>
                  <a:lnTo>
                    <a:pt x="299244" y="7985483"/>
                  </a:lnTo>
                  <a:lnTo>
                    <a:pt x="321007" y="8023568"/>
                  </a:lnTo>
                  <a:lnTo>
                    <a:pt x="342770" y="8061654"/>
                  </a:lnTo>
                  <a:lnTo>
                    <a:pt x="365892" y="8099732"/>
                  </a:lnTo>
                  <a:lnTo>
                    <a:pt x="394764" y="8120223"/>
                  </a:lnTo>
                  <a:lnTo>
                    <a:pt x="417582" y="8124219"/>
                  </a:lnTo>
                  <a:lnTo>
                    <a:pt x="440401" y="8128216"/>
                  </a:lnTo>
                  <a:lnTo>
                    <a:pt x="464677" y="8130109"/>
                  </a:lnTo>
                  <a:lnTo>
                    <a:pt x="495113" y="8166381"/>
                  </a:lnTo>
                  <a:lnTo>
                    <a:pt x="484231" y="8260240"/>
                  </a:lnTo>
                  <a:lnTo>
                    <a:pt x="473943" y="8283764"/>
                  </a:lnTo>
                  <a:lnTo>
                    <a:pt x="450993" y="8291124"/>
                  </a:lnTo>
                  <a:lnTo>
                    <a:pt x="420300" y="8288802"/>
                  </a:lnTo>
                  <a:lnTo>
                    <a:pt x="387780" y="8283427"/>
                  </a:lnTo>
                  <a:lnTo>
                    <a:pt x="357609" y="8280572"/>
                  </a:lnTo>
                  <a:lnTo>
                    <a:pt x="334606" y="8286071"/>
                  </a:lnTo>
                  <a:lnTo>
                    <a:pt x="318224" y="8299650"/>
                  </a:lnTo>
                  <a:lnTo>
                    <a:pt x="304751" y="8316019"/>
                  </a:lnTo>
                  <a:lnTo>
                    <a:pt x="293803" y="8335039"/>
                  </a:lnTo>
                  <a:lnTo>
                    <a:pt x="280198" y="8363608"/>
                  </a:lnTo>
                  <a:lnTo>
                    <a:pt x="271236" y="8384355"/>
                  </a:lnTo>
                  <a:lnTo>
                    <a:pt x="258830" y="8408915"/>
                  </a:lnTo>
                  <a:lnTo>
                    <a:pt x="240813" y="8427981"/>
                  </a:lnTo>
                  <a:lnTo>
                    <a:pt x="218991" y="8449296"/>
                  </a:lnTo>
                  <a:lnTo>
                    <a:pt x="197174" y="8470617"/>
                  </a:lnTo>
                  <a:lnTo>
                    <a:pt x="171521" y="8493442"/>
                  </a:lnTo>
                  <a:lnTo>
                    <a:pt x="144178" y="8515950"/>
                  </a:lnTo>
                  <a:lnTo>
                    <a:pt x="116842" y="8538452"/>
                  </a:lnTo>
                  <a:lnTo>
                    <a:pt x="88266" y="8560927"/>
                  </a:lnTo>
                  <a:lnTo>
                    <a:pt x="63931" y="8579874"/>
                  </a:lnTo>
                  <a:lnTo>
                    <a:pt x="39589" y="8598828"/>
                  </a:lnTo>
                  <a:lnTo>
                    <a:pt x="19607" y="8614109"/>
                  </a:lnTo>
                  <a:lnTo>
                    <a:pt x="0" y="8643805"/>
                  </a:lnTo>
                  <a:lnTo>
                    <a:pt x="4056" y="8691692"/>
                  </a:lnTo>
                  <a:lnTo>
                    <a:pt x="28715" y="8716172"/>
                  </a:lnTo>
                  <a:lnTo>
                    <a:pt x="54791" y="8717681"/>
                  </a:lnTo>
                  <a:lnTo>
                    <a:pt x="115437" y="8729559"/>
                  </a:lnTo>
                  <a:lnTo>
                    <a:pt x="145589" y="8730305"/>
                  </a:lnTo>
                  <a:lnTo>
                    <a:pt x="170023" y="8726776"/>
                  </a:lnTo>
                  <a:lnTo>
                    <a:pt x="194457" y="8723248"/>
                  </a:lnTo>
                  <a:lnTo>
                    <a:pt x="229872" y="8706371"/>
                  </a:lnTo>
                  <a:lnTo>
                    <a:pt x="260578" y="8684648"/>
                  </a:lnTo>
                  <a:lnTo>
                    <a:pt x="278839" y="8673727"/>
                  </a:lnTo>
                  <a:lnTo>
                    <a:pt x="297101" y="8662812"/>
                  </a:lnTo>
                  <a:lnTo>
                    <a:pt x="318567" y="8651726"/>
                  </a:lnTo>
                  <a:lnTo>
                    <a:pt x="348211" y="8645164"/>
                  </a:lnTo>
                  <a:lnTo>
                    <a:pt x="370482" y="8640231"/>
                  </a:lnTo>
                  <a:lnTo>
                    <a:pt x="392397" y="8650011"/>
                  </a:lnTo>
                  <a:lnTo>
                    <a:pt x="413500" y="8656046"/>
                  </a:lnTo>
                  <a:lnTo>
                    <a:pt x="437150" y="8662806"/>
                  </a:lnTo>
                  <a:lnTo>
                    <a:pt x="456394" y="8674373"/>
                  </a:lnTo>
                  <a:lnTo>
                    <a:pt x="471991" y="8690049"/>
                  </a:lnTo>
                  <a:lnTo>
                    <a:pt x="487587" y="8705732"/>
                  </a:lnTo>
                  <a:lnTo>
                    <a:pt x="499663" y="8724666"/>
                  </a:lnTo>
                  <a:lnTo>
                    <a:pt x="507353" y="8745822"/>
                  </a:lnTo>
                  <a:lnTo>
                    <a:pt x="515042" y="8766972"/>
                  </a:lnTo>
                  <a:lnTo>
                    <a:pt x="518306" y="8790641"/>
                  </a:lnTo>
                  <a:lnTo>
                    <a:pt x="518234" y="8813829"/>
                  </a:lnTo>
                  <a:lnTo>
                    <a:pt x="518168" y="8837017"/>
                  </a:lnTo>
                  <a:lnTo>
                    <a:pt x="513670" y="8860066"/>
                  </a:lnTo>
                  <a:lnTo>
                    <a:pt x="505994" y="8881842"/>
                  </a:lnTo>
                  <a:lnTo>
                    <a:pt x="498707" y="8902484"/>
                  </a:lnTo>
                  <a:lnTo>
                    <a:pt x="484712" y="8921326"/>
                  </a:lnTo>
                  <a:lnTo>
                    <a:pt x="467909" y="8938967"/>
                  </a:lnTo>
                  <a:lnTo>
                    <a:pt x="451104" y="8956609"/>
                  </a:lnTo>
                  <a:lnTo>
                    <a:pt x="432111" y="8972852"/>
                  </a:lnTo>
                  <a:lnTo>
                    <a:pt x="413500" y="8989293"/>
                  </a:lnTo>
                  <a:lnTo>
                    <a:pt x="394890" y="9005734"/>
                  </a:lnTo>
                  <a:lnTo>
                    <a:pt x="377228" y="9022578"/>
                  </a:lnTo>
                  <a:lnTo>
                    <a:pt x="364534" y="9039625"/>
                  </a:lnTo>
                  <a:lnTo>
                    <a:pt x="351838" y="9056673"/>
                  </a:lnTo>
                  <a:lnTo>
                    <a:pt x="345488" y="9094033"/>
                  </a:lnTo>
                  <a:lnTo>
                    <a:pt x="385749" y="9134071"/>
                  </a:lnTo>
                  <a:lnTo>
                    <a:pt x="413500" y="9159323"/>
                  </a:lnTo>
                  <a:lnTo>
                    <a:pt x="441251" y="9184568"/>
                  </a:lnTo>
                  <a:lnTo>
                    <a:pt x="465119" y="9208851"/>
                  </a:lnTo>
                  <a:lnTo>
                    <a:pt x="433193" y="9323345"/>
                  </a:lnTo>
                  <a:lnTo>
                    <a:pt x="421863" y="9390336"/>
                  </a:lnTo>
                  <a:lnTo>
                    <a:pt x="423024" y="9457201"/>
                  </a:lnTo>
                  <a:lnTo>
                    <a:pt x="424184" y="9524073"/>
                  </a:lnTo>
                  <a:lnTo>
                    <a:pt x="438997" y="9591361"/>
                  </a:lnTo>
                  <a:lnTo>
                    <a:pt x="465185" y="9692520"/>
                  </a:lnTo>
                  <a:lnTo>
                    <a:pt x="485609" y="9720654"/>
                  </a:lnTo>
                  <a:lnTo>
                    <a:pt x="526399" y="9730606"/>
                  </a:lnTo>
                  <a:lnTo>
                    <a:pt x="563805" y="9757171"/>
                  </a:lnTo>
                  <a:lnTo>
                    <a:pt x="600954" y="9789901"/>
                  </a:lnTo>
                  <a:lnTo>
                    <a:pt x="636573" y="9819017"/>
                  </a:lnTo>
                  <a:lnTo>
                    <a:pt x="720183" y="9882711"/>
                  </a:lnTo>
                  <a:lnTo>
                    <a:pt x="775310" y="9952314"/>
                  </a:lnTo>
                  <a:lnTo>
                    <a:pt x="808021" y="9985321"/>
                  </a:lnTo>
                  <a:lnTo>
                    <a:pt x="857799" y="10007447"/>
                  </a:lnTo>
                  <a:lnTo>
                    <a:pt x="897731" y="10029850"/>
                  </a:lnTo>
                  <a:lnTo>
                    <a:pt x="945762" y="10056750"/>
                  </a:lnTo>
                  <a:lnTo>
                    <a:pt x="1001700" y="10080070"/>
                  </a:lnTo>
                  <a:lnTo>
                    <a:pt x="1051432" y="10106021"/>
                  </a:lnTo>
                  <a:lnTo>
                    <a:pt x="1066396" y="10126419"/>
                  </a:lnTo>
                  <a:lnTo>
                    <a:pt x="1067636" y="10084852"/>
                  </a:lnTo>
                  <a:lnTo>
                    <a:pt x="1070471" y="10063854"/>
                  </a:lnTo>
                  <a:lnTo>
                    <a:pt x="1073314" y="10042855"/>
                  </a:lnTo>
                  <a:lnTo>
                    <a:pt x="1081353" y="10002646"/>
                  </a:lnTo>
                  <a:lnTo>
                    <a:pt x="1111274" y="9992055"/>
                  </a:lnTo>
                  <a:lnTo>
                    <a:pt x="1168234" y="9999540"/>
                  </a:lnTo>
                  <a:lnTo>
                    <a:pt x="1189041" y="10022641"/>
                  </a:lnTo>
                  <a:lnTo>
                    <a:pt x="1201117" y="10042387"/>
                  </a:lnTo>
                  <a:lnTo>
                    <a:pt x="1220090" y="10066570"/>
                  </a:lnTo>
                  <a:lnTo>
                    <a:pt x="1228822" y="10024396"/>
                  </a:lnTo>
                  <a:lnTo>
                    <a:pt x="1232337" y="9998564"/>
                  </a:lnTo>
                  <a:lnTo>
                    <a:pt x="1235852" y="9972731"/>
                  </a:lnTo>
                  <a:lnTo>
                    <a:pt x="1237053" y="9947031"/>
                  </a:lnTo>
                  <a:lnTo>
                    <a:pt x="1233933" y="9921337"/>
                  </a:lnTo>
                  <a:lnTo>
                    <a:pt x="1229613" y="9900629"/>
                  </a:lnTo>
                  <a:lnTo>
                    <a:pt x="1225538" y="9872067"/>
                  </a:lnTo>
                  <a:lnTo>
                    <a:pt x="1233827" y="9834700"/>
                  </a:lnTo>
                  <a:lnTo>
                    <a:pt x="1258182" y="9805419"/>
                  </a:lnTo>
                  <a:lnTo>
                    <a:pt x="1296446" y="9800202"/>
                  </a:lnTo>
                  <a:lnTo>
                    <a:pt x="1319389" y="9797261"/>
                  </a:lnTo>
                  <a:lnTo>
                    <a:pt x="1342333" y="9794313"/>
                  </a:lnTo>
                  <a:lnTo>
                    <a:pt x="1365317" y="9788819"/>
                  </a:lnTo>
                  <a:lnTo>
                    <a:pt x="1375486" y="9750622"/>
                  </a:lnTo>
                  <a:lnTo>
                    <a:pt x="1376838" y="9727718"/>
                  </a:lnTo>
                  <a:lnTo>
                    <a:pt x="1383320" y="9706126"/>
                  </a:lnTo>
                  <a:lnTo>
                    <a:pt x="1389797" y="9684541"/>
                  </a:lnTo>
                  <a:lnTo>
                    <a:pt x="1401503" y="9665244"/>
                  </a:lnTo>
                  <a:lnTo>
                    <a:pt x="1420041" y="9644919"/>
                  </a:lnTo>
                  <a:lnTo>
                    <a:pt x="1420041" y="9621797"/>
                  </a:lnTo>
                  <a:lnTo>
                    <a:pt x="1404464" y="9601741"/>
                  </a:lnTo>
                  <a:lnTo>
                    <a:pt x="1384679" y="9586428"/>
                  </a:lnTo>
                  <a:lnTo>
                    <a:pt x="1365614" y="9573878"/>
                  </a:lnTo>
                  <a:lnTo>
                    <a:pt x="1341423" y="9553361"/>
                  </a:lnTo>
                  <a:lnTo>
                    <a:pt x="1328913" y="9521139"/>
                  </a:lnTo>
                  <a:lnTo>
                    <a:pt x="1324296" y="9484584"/>
                  </a:lnTo>
                  <a:lnTo>
                    <a:pt x="1329988" y="9426944"/>
                  </a:lnTo>
                  <a:lnTo>
                    <a:pt x="1342913" y="9387289"/>
                  </a:lnTo>
                  <a:lnTo>
                    <a:pt x="1354758" y="9360638"/>
                  </a:lnTo>
                  <a:lnTo>
                    <a:pt x="1368357" y="9333435"/>
                  </a:lnTo>
                  <a:lnTo>
                    <a:pt x="1383143" y="9318016"/>
                  </a:lnTo>
                  <a:lnTo>
                    <a:pt x="1419771" y="9319532"/>
                  </a:lnTo>
                  <a:lnTo>
                    <a:pt x="1539343" y="9320707"/>
                  </a:lnTo>
                  <a:lnTo>
                    <a:pt x="1565591" y="9344310"/>
                  </a:lnTo>
                  <a:lnTo>
                    <a:pt x="1565525" y="9373538"/>
                  </a:lnTo>
                  <a:lnTo>
                    <a:pt x="1581049" y="9395809"/>
                  </a:lnTo>
                  <a:lnTo>
                    <a:pt x="1603676" y="9402800"/>
                  </a:lnTo>
                  <a:lnTo>
                    <a:pt x="1627570" y="9400215"/>
                  </a:lnTo>
                  <a:lnTo>
                    <a:pt x="1661982" y="9387572"/>
                  </a:lnTo>
                  <a:lnTo>
                    <a:pt x="1682789" y="9374310"/>
                  </a:lnTo>
                  <a:lnTo>
                    <a:pt x="1709194" y="9388595"/>
                  </a:lnTo>
                  <a:lnTo>
                    <a:pt x="1716567" y="9421846"/>
                  </a:lnTo>
                  <a:lnTo>
                    <a:pt x="1722583" y="9453699"/>
                  </a:lnTo>
                  <a:lnTo>
                    <a:pt x="1757377" y="9466731"/>
                  </a:lnTo>
                  <a:lnTo>
                    <a:pt x="1786962" y="9455625"/>
                  </a:lnTo>
                  <a:lnTo>
                    <a:pt x="1812418" y="9432108"/>
                  </a:lnTo>
                  <a:lnTo>
                    <a:pt x="1837631" y="9406882"/>
                  </a:lnTo>
                  <a:lnTo>
                    <a:pt x="1862836" y="9381656"/>
                  </a:lnTo>
                  <a:lnTo>
                    <a:pt x="1888272" y="9354195"/>
                  </a:lnTo>
                  <a:lnTo>
                    <a:pt x="1916519" y="9334793"/>
                  </a:lnTo>
                  <a:lnTo>
                    <a:pt x="1946446" y="9344316"/>
                  </a:lnTo>
                  <a:lnTo>
                    <a:pt x="1961404" y="9396574"/>
                  </a:lnTo>
                  <a:lnTo>
                    <a:pt x="1987994" y="9416504"/>
                  </a:lnTo>
                  <a:lnTo>
                    <a:pt x="2018535" y="9416406"/>
                  </a:lnTo>
                  <a:lnTo>
                    <a:pt x="2044506" y="9391859"/>
                  </a:lnTo>
                  <a:lnTo>
                    <a:pt x="2056858" y="9374270"/>
                  </a:lnTo>
                  <a:lnTo>
                    <a:pt x="2070219" y="9357915"/>
                  </a:lnTo>
                  <a:lnTo>
                    <a:pt x="2083587" y="9341566"/>
                  </a:lnTo>
                  <a:lnTo>
                    <a:pt x="2097806" y="9325937"/>
                  </a:lnTo>
                  <a:lnTo>
                    <a:pt x="2140897" y="9294716"/>
                  </a:lnTo>
                  <a:lnTo>
                    <a:pt x="2199499" y="9284600"/>
                  </a:lnTo>
                  <a:lnTo>
                    <a:pt x="2260647" y="9279027"/>
                  </a:lnTo>
                  <a:lnTo>
                    <a:pt x="2321802" y="9273448"/>
                  </a:lnTo>
                  <a:lnTo>
                    <a:pt x="2385310" y="9272603"/>
                  </a:lnTo>
                  <a:lnTo>
                    <a:pt x="2421154" y="9272221"/>
                  </a:lnTo>
                  <a:lnTo>
                    <a:pt x="2454623" y="9276296"/>
                  </a:lnTo>
                  <a:lnTo>
                    <a:pt x="2515461" y="9276296"/>
                  </a:lnTo>
                  <a:lnTo>
                    <a:pt x="2561230" y="9270236"/>
                  </a:lnTo>
                  <a:lnTo>
                    <a:pt x="2603418" y="9255898"/>
                  </a:lnTo>
                  <a:lnTo>
                    <a:pt x="2645611" y="9241554"/>
                  </a:lnTo>
                  <a:lnTo>
                    <a:pt x="2683987" y="9218433"/>
                  </a:lnTo>
                  <a:lnTo>
                    <a:pt x="2713599" y="9183803"/>
                  </a:lnTo>
                  <a:lnTo>
                    <a:pt x="2778004" y="9108469"/>
                  </a:lnTo>
                  <a:lnTo>
                    <a:pt x="2843062" y="9053026"/>
                  </a:lnTo>
                  <a:lnTo>
                    <a:pt x="2909467" y="8982493"/>
                  </a:lnTo>
                  <a:lnTo>
                    <a:pt x="2930689" y="8959952"/>
                  </a:lnTo>
                  <a:lnTo>
                    <a:pt x="2975429" y="8904938"/>
                  </a:lnTo>
                  <a:lnTo>
                    <a:pt x="3025082" y="8858720"/>
                  </a:lnTo>
                  <a:lnTo>
                    <a:pt x="3049905" y="8835612"/>
                  </a:lnTo>
                  <a:lnTo>
                    <a:pt x="3075724" y="8814489"/>
                  </a:lnTo>
                  <a:lnTo>
                    <a:pt x="3101253" y="8801589"/>
                  </a:lnTo>
                  <a:lnTo>
                    <a:pt x="3126783" y="8788689"/>
                  </a:lnTo>
                  <a:lnTo>
                    <a:pt x="3151375" y="8784000"/>
                  </a:lnTo>
                  <a:lnTo>
                    <a:pt x="3173343" y="8792065"/>
                  </a:lnTo>
                  <a:lnTo>
                    <a:pt x="3191788" y="8817753"/>
                  </a:lnTo>
                  <a:lnTo>
                    <a:pt x="3209707" y="8836799"/>
                  </a:lnTo>
                  <a:lnTo>
                    <a:pt x="3226392" y="8850556"/>
                  </a:lnTo>
                  <a:lnTo>
                    <a:pt x="3243077" y="8864320"/>
                  </a:lnTo>
                  <a:lnTo>
                    <a:pt x="3274000" y="8876401"/>
                  </a:lnTo>
                  <a:lnTo>
                    <a:pt x="3304450" y="8885226"/>
                  </a:lnTo>
                  <a:lnTo>
                    <a:pt x="3331890" y="8878637"/>
                  </a:lnTo>
                  <a:lnTo>
                    <a:pt x="3358330" y="8865520"/>
                  </a:lnTo>
                  <a:lnTo>
                    <a:pt x="3384775" y="8852396"/>
                  </a:lnTo>
                  <a:lnTo>
                    <a:pt x="3409631" y="8833746"/>
                  </a:lnTo>
                  <a:lnTo>
                    <a:pt x="3434501" y="8819270"/>
                  </a:lnTo>
                  <a:lnTo>
                    <a:pt x="3459370" y="8804800"/>
                  </a:lnTo>
                  <a:lnTo>
                    <a:pt x="3484938" y="8794103"/>
                  </a:lnTo>
                  <a:lnTo>
                    <a:pt x="3510671" y="8798872"/>
                  </a:lnTo>
                  <a:lnTo>
                    <a:pt x="3557133" y="8808302"/>
                  </a:lnTo>
                  <a:lnTo>
                    <a:pt x="3597830" y="8824348"/>
                  </a:lnTo>
                  <a:lnTo>
                    <a:pt x="3653419" y="8855449"/>
                  </a:lnTo>
                  <a:lnTo>
                    <a:pt x="3709264" y="8883201"/>
                  </a:lnTo>
                  <a:lnTo>
                    <a:pt x="3765104" y="8910959"/>
                  </a:lnTo>
                  <a:lnTo>
                    <a:pt x="3820711" y="8935749"/>
                  </a:lnTo>
                  <a:lnTo>
                    <a:pt x="3846643" y="8929451"/>
                  </a:lnTo>
                  <a:lnTo>
                    <a:pt x="3926895" y="8898164"/>
                  </a:lnTo>
                  <a:lnTo>
                    <a:pt x="3955880" y="8886940"/>
                  </a:lnTo>
                  <a:lnTo>
                    <a:pt x="3975790" y="8876104"/>
                  </a:lnTo>
                  <a:lnTo>
                    <a:pt x="3992186" y="8862796"/>
                  </a:lnTo>
                  <a:lnTo>
                    <a:pt x="4008574" y="8849494"/>
                  </a:lnTo>
                  <a:lnTo>
                    <a:pt x="4022489" y="8832644"/>
                  </a:lnTo>
                  <a:lnTo>
                    <a:pt x="4041152" y="8807030"/>
                  </a:lnTo>
                  <a:lnTo>
                    <a:pt x="4064433" y="8813308"/>
                  </a:lnTo>
                  <a:lnTo>
                    <a:pt x="4096728" y="8871468"/>
                  </a:lnTo>
                  <a:lnTo>
                    <a:pt x="4107728" y="8889341"/>
                  </a:lnTo>
                  <a:lnTo>
                    <a:pt x="4096984" y="8917877"/>
                  </a:lnTo>
                  <a:lnTo>
                    <a:pt x="4074700" y="8929015"/>
                  </a:lnTo>
                  <a:lnTo>
                    <a:pt x="4041152" y="8970260"/>
                  </a:lnTo>
                  <a:lnTo>
                    <a:pt x="4021525" y="8994384"/>
                  </a:lnTo>
                  <a:lnTo>
                    <a:pt x="4004069" y="9031593"/>
                  </a:lnTo>
                  <a:lnTo>
                    <a:pt x="3993544" y="9070911"/>
                  </a:lnTo>
                  <a:lnTo>
                    <a:pt x="3983011" y="9110230"/>
                  </a:lnTo>
                  <a:lnTo>
                    <a:pt x="3980301" y="9150763"/>
                  </a:lnTo>
                  <a:lnTo>
                    <a:pt x="3989468" y="9181086"/>
                  </a:lnTo>
                  <a:lnTo>
                    <a:pt x="4083320" y="9196050"/>
                  </a:lnTo>
                  <a:lnTo>
                    <a:pt x="4095322" y="9224968"/>
                  </a:lnTo>
                  <a:lnTo>
                    <a:pt x="4100889" y="9263179"/>
                  </a:lnTo>
                  <a:lnTo>
                    <a:pt x="4103725" y="9302148"/>
                  </a:lnTo>
                  <a:lnTo>
                    <a:pt x="4106560" y="9341118"/>
                  </a:lnTo>
                  <a:lnTo>
                    <a:pt x="4106923" y="9380760"/>
                  </a:lnTo>
                  <a:lnTo>
                    <a:pt x="4132294" y="9386478"/>
                  </a:lnTo>
                  <a:lnTo>
                    <a:pt x="4155125" y="9373604"/>
                  </a:lnTo>
                  <a:lnTo>
                    <a:pt x="4188641" y="9351010"/>
                  </a:lnTo>
                  <a:lnTo>
                    <a:pt x="4210720" y="9335842"/>
                  </a:lnTo>
                  <a:lnTo>
                    <a:pt x="4240318" y="9320779"/>
                  </a:lnTo>
                  <a:lnTo>
                    <a:pt x="4271031" y="9313023"/>
                  </a:lnTo>
                  <a:lnTo>
                    <a:pt x="4302779" y="9306884"/>
                  </a:lnTo>
                  <a:lnTo>
                    <a:pt x="4340989" y="9289144"/>
                  </a:lnTo>
                  <a:lnTo>
                    <a:pt x="4363452" y="9267182"/>
                  </a:lnTo>
                  <a:lnTo>
                    <a:pt x="4382570" y="9242293"/>
                  </a:lnTo>
                  <a:lnTo>
                    <a:pt x="4401696" y="9217411"/>
                  </a:lnTo>
                  <a:lnTo>
                    <a:pt x="4418248" y="9190589"/>
                  </a:lnTo>
                  <a:lnTo>
                    <a:pt x="4431537" y="9167487"/>
                  </a:lnTo>
                  <a:lnTo>
                    <a:pt x="4448322" y="9138312"/>
                  </a:lnTo>
                  <a:lnTo>
                    <a:pt x="4464968" y="9108272"/>
                  </a:lnTo>
                  <a:lnTo>
                    <a:pt x="4483223" y="9079070"/>
                  </a:lnTo>
                  <a:lnTo>
                    <a:pt x="4501483" y="9049874"/>
                  </a:lnTo>
                  <a:lnTo>
                    <a:pt x="4520391" y="9021469"/>
                  </a:lnTo>
                  <a:lnTo>
                    <a:pt x="4541712" y="8994741"/>
                  </a:lnTo>
                  <a:lnTo>
                    <a:pt x="4563039" y="8968004"/>
                  </a:lnTo>
                  <a:lnTo>
                    <a:pt x="4586458" y="8943062"/>
                  </a:lnTo>
                  <a:lnTo>
                    <a:pt x="4612443" y="8921286"/>
                  </a:lnTo>
                  <a:lnTo>
                    <a:pt x="4638427" y="8899516"/>
                  </a:lnTo>
                  <a:lnTo>
                    <a:pt x="4667253" y="8879837"/>
                  </a:lnTo>
                  <a:lnTo>
                    <a:pt x="4699495" y="8865520"/>
                  </a:lnTo>
                  <a:lnTo>
                    <a:pt x="4734330" y="8863376"/>
                  </a:lnTo>
                  <a:lnTo>
                    <a:pt x="4768630" y="8889090"/>
                  </a:lnTo>
                  <a:lnTo>
                    <a:pt x="4801512" y="8896806"/>
                  </a:lnTo>
                  <a:lnTo>
                    <a:pt x="4824547" y="8902200"/>
                  </a:lnTo>
                  <a:lnTo>
                    <a:pt x="4861275" y="8896212"/>
                  </a:lnTo>
                  <a:lnTo>
                    <a:pt x="4883124" y="8892730"/>
                  </a:lnTo>
                  <a:lnTo>
                    <a:pt x="4949772" y="8881849"/>
                  </a:lnTo>
                  <a:lnTo>
                    <a:pt x="4999642" y="8837993"/>
                  </a:lnTo>
                  <a:lnTo>
                    <a:pt x="5030025" y="8797513"/>
                  </a:lnTo>
                  <a:lnTo>
                    <a:pt x="5060414" y="8757040"/>
                  </a:lnTo>
                  <a:lnTo>
                    <a:pt x="5089373" y="8714681"/>
                  </a:lnTo>
                  <a:lnTo>
                    <a:pt x="5107205" y="8689199"/>
                  </a:lnTo>
                  <a:lnTo>
                    <a:pt x="5131568" y="8680282"/>
                  </a:lnTo>
                  <a:lnTo>
                    <a:pt x="5157887" y="8671016"/>
                  </a:lnTo>
                  <a:lnTo>
                    <a:pt x="5184202" y="8661757"/>
                  </a:lnTo>
                  <a:lnTo>
                    <a:pt x="5212618" y="8652254"/>
                  </a:lnTo>
                  <a:lnTo>
                    <a:pt x="5253341" y="8623836"/>
                  </a:lnTo>
                  <a:lnTo>
                    <a:pt x="5270206" y="8584900"/>
                  </a:lnTo>
                  <a:lnTo>
                    <a:pt x="5288460" y="8544519"/>
                  </a:lnTo>
                  <a:lnTo>
                    <a:pt x="5306727" y="8504139"/>
                  </a:lnTo>
                  <a:lnTo>
                    <a:pt x="5325985" y="8462591"/>
                  </a:lnTo>
                  <a:lnTo>
                    <a:pt x="5353756" y="8438420"/>
                  </a:lnTo>
                  <a:lnTo>
                    <a:pt x="5376396" y="8418708"/>
                  </a:lnTo>
                  <a:lnTo>
                    <a:pt x="5416118" y="8397658"/>
                  </a:lnTo>
                  <a:lnTo>
                    <a:pt x="5453049" y="8375855"/>
                  </a:lnTo>
                  <a:lnTo>
                    <a:pt x="5489980" y="8354052"/>
                  </a:lnTo>
                  <a:lnTo>
                    <a:pt x="5524748" y="8330766"/>
                  </a:lnTo>
                  <a:lnTo>
                    <a:pt x="5537378" y="8309206"/>
                  </a:lnTo>
                  <a:lnTo>
                    <a:pt x="5557208" y="8275355"/>
                  </a:lnTo>
                  <a:lnTo>
                    <a:pt x="5556410" y="8251574"/>
                  </a:lnTo>
                  <a:lnTo>
                    <a:pt x="5553700" y="8230312"/>
                  </a:lnTo>
                  <a:lnTo>
                    <a:pt x="5550996" y="8209057"/>
                  </a:lnTo>
                  <a:lnTo>
                    <a:pt x="5557776" y="8170463"/>
                  </a:lnTo>
                  <a:lnTo>
                    <a:pt x="5588851" y="8149399"/>
                  </a:lnTo>
                  <a:lnTo>
                    <a:pt x="5609467" y="8143259"/>
                  </a:lnTo>
                  <a:lnTo>
                    <a:pt x="5630075" y="8137119"/>
                  </a:lnTo>
                  <a:lnTo>
                    <a:pt x="5652095" y="8132028"/>
                  </a:lnTo>
                  <a:lnTo>
                    <a:pt x="5673398" y="8126937"/>
                  </a:lnTo>
                  <a:lnTo>
                    <a:pt x="5694693" y="8121846"/>
                  </a:lnTo>
                  <a:lnTo>
                    <a:pt x="5715426" y="8116003"/>
                  </a:lnTo>
                  <a:lnTo>
                    <a:pt x="5745618" y="8094351"/>
                  </a:lnTo>
                  <a:lnTo>
                    <a:pt x="5757726" y="8056206"/>
                  </a:lnTo>
                  <a:lnTo>
                    <a:pt x="5767250" y="7943309"/>
                  </a:lnTo>
                  <a:lnTo>
                    <a:pt x="5786321" y="7926729"/>
                  </a:lnTo>
                  <a:lnTo>
                    <a:pt x="5818907" y="7916368"/>
                  </a:lnTo>
                  <a:lnTo>
                    <a:pt x="5844780" y="7901147"/>
                  </a:lnTo>
                  <a:lnTo>
                    <a:pt x="5856063" y="7880670"/>
                  </a:lnTo>
                  <a:lnTo>
                    <a:pt x="5855911" y="7838496"/>
                  </a:lnTo>
                  <a:lnTo>
                    <a:pt x="5858385" y="7800489"/>
                  </a:lnTo>
                  <a:lnTo>
                    <a:pt x="5861352" y="7763913"/>
                  </a:lnTo>
                  <a:lnTo>
                    <a:pt x="5871739" y="7736413"/>
                  </a:lnTo>
                  <a:lnTo>
                    <a:pt x="5892388" y="7724318"/>
                  </a:lnTo>
                  <a:lnTo>
                    <a:pt x="5927347" y="7729112"/>
                  </a:lnTo>
                  <a:lnTo>
                    <a:pt x="5952638" y="7744010"/>
                  </a:lnTo>
                  <a:lnTo>
                    <a:pt x="5974000" y="7762403"/>
                  </a:lnTo>
                  <a:lnTo>
                    <a:pt x="5998665" y="7780190"/>
                  </a:lnTo>
                  <a:lnTo>
                    <a:pt x="6030947" y="7788144"/>
                  </a:lnTo>
                  <a:lnTo>
                    <a:pt x="6077375" y="7780084"/>
                  </a:lnTo>
                  <a:lnTo>
                    <a:pt x="6091481" y="7739704"/>
                  </a:lnTo>
                  <a:lnTo>
                    <a:pt x="6086898" y="7702555"/>
                  </a:lnTo>
                  <a:lnTo>
                    <a:pt x="6079882" y="7671124"/>
                  </a:lnTo>
                  <a:lnTo>
                    <a:pt x="6074870" y="7644210"/>
                  </a:lnTo>
                  <a:lnTo>
                    <a:pt x="6078733" y="7615502"/>
                  </a:lnTo>
                  <a:lnTo>
                    <a:pt x="6094482" y="7581921"/>
                  </a:lnTo>
                  <a:lnTo>
                    <a:pt x="6114101" y="7558370"/>
                  </a:lnTo>
                  <a:lnTo>
                    <a:pt x="6132739" y="7537524"/>
                  </a:lnTo>
                  <a:lnTo>
                    <a:pt x="6169017" y="7539205"/>
                  </a:lnTo>
                  <a:lnTo>
                    <a:pt x="6233562" y="7547620"/>
                  </a:lnTo>
                  <a:lnTo>
                    <a:pt x="6254198" y="7533890"/>
                  </a:lnTo>
                  <a:lnTo>
                    <a:pt x="6289567" y="7510300"/>
                  </a:lnTo>
                  <a:lnTo>
                    <a:pt x="6322402" y="7489639"/>
                  </a:lnTo>
                  <a:lnTo>
                    <a:pt x="6353498" y="7461801"/>
                  </a:lnTo>
                  <a:lnTo>
                    <a:pt x="6382442" y="7432882"/>
                  </a:lnTo>
                  <a:lnTo>
                    <a:pt x="6399740" y="7418275"/>
                  </a:lnTo>
                  <a:lnTo>
                    <a:pt x="6417039" y="7403660"/>
                  </a:lnTo>
                  <a:lnTo>
                    <a:pt x="6435148" y="7391697"/>
                  </a:lnTo>
                  <a:lnTo>
                    <a:pt x="6494582" y="7395681"/>
                  </a:lnTo>
                  <a:lnTo>
                    <a:pt x="6537139" y="7427383"/>
                  </a:lnTo>
                  <a:lnTo>
                    <a:pt x="6580645" y="7452278"/>
                  </a:lnTo>
                  <a:lnTo>
                    <a:pt x="6602402" y="7464723"/>
                  </a:lnTo>
                  <a:lnTo>
                    <a:pt x="6623605" y="7476066"/>
                  </a:lnTo>
                  <a:lnTo>
                    <a:pt x="6645934" y="7480841"/>
                  </a:lnTo>
                  <a:lnTo>
                    <a:pt x="6668264" y="7485616"/>
                  </a:lnTo>
                  <a:lnTo>
                    <a:pt x="6690945" y="7483835"/>
                  </a:lnTo>
                  <a:lnTo>
                    <a:pt x="6713948" y="7472683"/>
                  </a:lnTo>
                  <a:lnTo>
                    <a:pt x="6742742" y="7450141"/>
                  </a:lnTo>
                  <a:lnTo>
                    <a:pt x="6761319" y="7419046"/>
                  </a:lnTo>
                  <a:lnTo>
                    <a:pt x="6781955" y="7391071"/>
                  </a:lnTo>
                  <a:lnTo>
                    <a:pt x="6804701" y="7372269"/>
                  </a:lnTo>
                  <a:lnTo>
                    <a:pt x="6827222" y="7352742"/>
                  </a:lnTo>
                  <a:lnTo>
                    <a:pt x="6849968" y="7335298"/>
                  </a:lnTo>
                  <a:lnTo>
                    <a:pt x="6872601" y="7320321"/>
                  </a:lnTo>
                  <a:lnTo>
                    <a:pt x="6919696" y="7307289"/>
                  </a:lnTo>
                  <a:lnTo>
                    <a:pt x="6962867" y="7293137"/>
                  </a:lnTo>
                  <a:lnTo>
                    <a:pt x="7006030" y="7278977"/>
                  </a:lnTo>
                  <a:lnTo>
                    <a:pt x="7044517" y="7264231"/>
                  </a:lnTo>
                  <a:lnTo>
                    <a:pt x="7055194" y="7226185"/>
                  </a:lnTo>
                  <a:lnTo>
                    <a:pt x="7060081" y="7201038"/>
                  </a:lnTo>
                  <a:lnTo>
                    <a:pt x="7067600" y="7177515"/>
                  </a:lnTo>
                  <a:lnTo>
                    <a:pt x="7075117" y="7153991"/>
                  </a:lnTo>
                  <a:lnTo>
                    <a:pt x="7085565" y="7131640"/>
                  </a:lnTo>
                  <a:lnTo>
                    <a:pt x="7101602" y="7114949"/>
                  </a:lnTo>
                  <a:lnTo>
                    <a:pt x="7145300" y="7106580"/>
                  </a:lnTo>
                  <a:lnTo>
                    <a:pt x="7176415" y="7108150"/>
                  </a:lnTo>
                  <a:lnTo>
                    <a:pt x="7207523" y="7109719"/>
                  </a:lnTo>
                  <a:lnTo>
                    <a:pt x="7237036" y="7115417"/>
                  </a:lnTo>
                  <a:lnTo>
                    <a:pt x="7255976" y="7143947"/>
                  </a:lnTo>
                  <a:lnTo>
                    <a:pt x="7253622" y="7178412"/>
                  </a:lnTo>
                  <a:lnTo>
                    <a:pt x="7249863" y="7212883"/>
                  </a:lnTo>
                  <a:lnTo>
                    <a:pt x="7246104" y="7247355"/>
                  </a:lnTo>
                  <a:lnTo>
                    <a:pt x="7242095" y="7282380"/>
                  </a:lnTo>
                  <a:lnTo>
                    <a:pt x="7251578" y="7307295"/>
                  </a:lnTo>
                  <a:lnTo>
                    <a:pt x="7298152" y="7323038"/>
                  </a:lnTo>
                  <a:lnTo>
                    <a:pt x="7347797" y="7335298"/>
                  </a:lnTo>
                  <a:lnTo>
                    <a:pt x="7397451" y="7347564"/>
                  </a:lnTo>
                  <a:lnTo>
                    <a:pt x="7450024" y="7356105"/>
                  </a:lnTo>
                  <a:lnTo>
                    <a:pt x="7478911" y="7337593"/>
                  </a:lnTo>
                  <a:lnTo>
                    <a:pt x="7493585" y="7321857"/>
                  </a:lnTo>
                  <a:lnTo>
                    <a:pt x="7508305" y="7305377"/>
                  </a:lnTo>
                  <a:lnTo>
                    <a:pt x="7523025" y="7288890"/>
                  </a:lnTo>
                  <a:lnTo>
                    <a:pt x="7537988" y="7270786"/>
                  </a:lnTo>
                  <a:lnTo>
                    <a:pt x="7553189" y="7255051"/>
                  </a:lnTo>
                  <a:lnTo>
                    <a:pt x="7579325" y="7227992"/>
                  </a:lnTo>
                  <a:lnTo>
                    <a:pt x="7599439" y="7212883"/>
                  </a:lnTo>
                  <a:lnTo>
                    <a:pt x="7609602" y="7194430"/>
                  </a:lnTo>
                  <a:lnTo>
                    <a:pt x="7615762" y="7159834"/>
                  </a:lnTo>
                  <a:lnTo>
                    <a:pt x="7619764" y="7135050"/>
                  </a:lnTo>
                  <a:lnTo>
                    <a:pt x="7593358" y="7092335"/>
                  </a:lnTo>
                  <a:lnTo>
                    <a:pt x="7556190" y="7075669"/>
                  </a:lnTo>
                  <a:lnTo>
                    <a:pt x="7521910" y="7059182"/>
                  </a:lnTo>
                  <a:lnTo>
                    <a:pt x="7488143" y="7042128"/>
                  </a:lnTo>
                  <a:lnTo>
                    <a:pt x="7460452" y="7021828"/>
                  </a:lnTo>
                  <a:lnTo>
                    <a:pt x="7443014" y="6993893"/>
                  </a:lnTo>
                  <a:lnTo>
                    <a:pt x="7444333" y="6958036"/>
                  </a:lnTo>
                  <a:lnTo>
                    <a:pt x="7472618" y="6914768"/>
                  </a:lnTo>
                  <a:lnTo>
                    <a:pt x="7499651" y="6879695"/>
                  </a:lnTo>
                  <a:lnTo>
                    <a:pt x="7513745" y="6837468"/>
                  </a:lnTo>
                  <a:lnTo>
                    <a:pt x="7522457" y="6811306"/>
                  </a:lnTo>
                  <a:lnTo>
                    <a:pt x="7516673" y="6784439"/>
                  </a:lnTo>
                  <a:lnTo>
                    <a:pt x="7525986" y="6758573"/>
                  </a:lnTo>
                  <a:lnTo>
                    <a:pt x="7555272" y="6723930"/>
                  </a:lnTo>
                  <a:lnTo>
                    <a:pt x="7590041" y="6694497"/>
                  </a:lnTo>
                  <a:lnTo>
                    <a:pt x="7610320" y="6660639"/>
                  </a:lnTo>
                  <a:lnTo>
                    <a:pt x="7631102" y="6625911"/>
                  </a:lnTo>
                  <a:lnTo>
                    <a:pt x="7654975" y="6590443"/>
                  </a:lnTo>
                  <a:lnTo>
                    <a:pt x="7675611" y="6554547"/>
                  </a:lnTo>
                  <a:lnTo>
                    <a:pt x="7696239" y="6518651"/>
                  </a:lnTo>
                  <a:lnTo>
                    <a:pt x="7714382" y="6482240"/>
                  </a:lnTo>
                  <a:lnTo>
                    <a:pt x="7725936" y="6443007"/>
                  </a:lnTo>
                  <a:lnTo>
                    <a:pt x="7732906" y="6419378"/>
                  </a:lnTo>
                  <a:lnTo>
                    <a:pt x="7743300" y="6378892"/>
                  </a:lnTo>
                  <a:lnTo>
                    <a:pt x="7744975" y="6354596"/>
                  </a:lnTo>
                  <a:lnTo>
                    <a:pt x="7746676" y="6330050"/>
                  </a:lnTo>
                  <a:lnTo>
                    <a:pt x="7719368" y="6237834"/>
                  </a:lnTo>
                  <a:lnTo>
                    <a:pt x="7702814" y="6215859"/>
                  </a:lnTo>
                  <a:lnTo>
                    <a:pt x="7678414" y="6190350"/>
                  </a:lnTo>
                  <a:lnTo>
                    <a:pt x="7651177" y="6150834"/>
                  </a:lnTo>
                  <a:lnTo>
                    <a:pt x="7625020" y="6111079"/>
                  </a:lnTo>
                  <a:lnTo>
                    <a:pt x="7603514" y="6068958"/>
                  </a:lnTo>
                  <a:lnTo>
                    <a:pt x="7582015" y="6026836"/>
                  </a:lnTo>
                  <a:lnTo>
                    <a:pt x="7564216" y="5982861"/>
                  </a:lnTo>
                  <a:lnTo>
                    <a:pt x="7562712" y="5950619"/>
                  </a:lnTo>
                  <a:lnTo>
                    <a:pt x="7561433" y="5923171"/>
                  </a:lnTo>
                  <a:lnTo>
                    <a:pt x="7564968" y="5897859"/>
                  </a:lnTo>
                  <a:lnTo>
                    <a:pt x="7569512" y="5873089"/>
                  </a:lnTo>
                  <a:lnTo>
                    <a:pt x="7574062" y="5848319"/>
                  </a:lnTo>
                  <a:lnTo>
                    <a:pt x="7580750" y="5823640"/>
                  </a:lnTo>
                  <a:lnTo>
                    <a:pt x="7587193" y="5796918"/>
                  </a:lnTo>
                  <a:lnTo>
                    <a:pt x="7597012" y="5756220"/>
                  </a:lnTo>
                  <a:lnTo>
                    <a:pt x="7606206" y="5716117"/>
                  </a:lnTo>
                  <a:lnTo>
                    <a:pt x="7614396" y="5675856"/>
                  </a:lnTo>
                  <a:lnTo>
                    <a:pt x="7622594" y="5635600"/>
                  </a:lnTo>
                  <a:lnTo>
                    <a:pt x="7629697" y="5595575"/>
                  </a:lnTo>
                  <a:lnTo>
                    <a:pt x="7634801" y="5553441"/>
                  </a:lnTo>
                  <a:lnTo>
                    <a:pt x="7638086" y="5526329"/>
                  </a:lnTo>
                  <a:lnTo>
                    <a:pt x="7622977" y="5498156"/>
                  </a:lnTo>
                  <a:lnTo>
                    <a:pt x="7603514" y="5471828"/>
                  </a:lnTo>
                  <a:lnTo>
                    <a:pt x="7584060" y="5445495"/>
                  </a:lnTo>
                  <a:lnTo>
                    <a:pt x="7560035" y="5420395"/>
                  </a:lnTo>
                  <a:lnTo>
                    <a:pt x="7545031" y="5402457"/>
                  </a:lnTo>
                  <a:lnTo>
                    <a:pt x="7532297" y="5381373"/>
                  </a:lnTo>
                  <a:lnTo>
                    <a:pt x="7542301" y="5357566"/>
                  </a:lnTo>
                  <a:lnTo>
                    <a:pt x="7584607" y="5355218"/>
                  </a:lnTo>
                  <a:lnTo>
                    <a:pt x="7610928" y="5340372"/>
                  </a:lnTo>
                  <a:lnTo>
                    <a:pt x="7627079" y="5316420"/>
                  </a:lnTo>
                  <a:lnTo>
                    <a:pt x="7626629" y="5293641"/>
                  </a:lnTo>
                  <a:lnTo>
                    <a:pt x="7607175" y="5266041"/>
                  </a:lnTo>
                  <a:lnTo>
                    <a:pt x="7578079" y="5239622"/>
                  </a:lnTo>
                  <a:lnTo>
                    <a:pt x="7551817" y="5220187"/>
                  </a:lnTo>
                  <a:lnTo>
                    <a:pt x="7544840" y="5185023"/>
                  </a:lnTo>
                  <a:lnTo>
                    <a:pt x="7550637" y="5146535"/>
                  </a:lnTo>
                  <a:lnTo>
                    <a:pt x="7549101" y="5114094"/>
                  </a:lnTo>
                  <a:lnTo>
                    <a:pt x="7528398" y="5065846"/>
                  </a:lnTo>
                  <a:lnTo>
                    <a:pt x="7484872" y="5026554"/>
                  </a:lnTo>
                  <a:lnTo>
                    <a:pt x="7470205" y="4976716"/>
                  </a:lnTo>
                  <a:lnTo>
                    <a:pt x="7493366" y="4958805"/>
                  </a:lnTo>
                  <a:lnTo>
                    <a:pt x="7507275" y="4940642"/>
                  </a:lnTo>
                  <a:lnTo>
                    <a:pt x="7525635" y="4906685"/>
                  </a:lnTo>
                  <a:lnTo>
                    <a:pt x="7532778" y="4874700"/>
                  </a:lnTo>
                  <a:lnTo>
                    <a:pt x="7536622" y="4844778"/>
                  </a:lnTo>
                  <a:lnTo>
                    <a:pt x="7545256" y="4817568"/>
                  </a:lnTo>
                  <a:lnTo>
                    <a:pt x="7566782" y="4794447"/>
                  </a:lnTo>
                  <a:lnTo>
                    <a:pt x="7587608" y="4777155"/>
                  </a:lnTo>
                  <a:lnTo>
                    <a:pt x="7618017" y="4769102"/>
                  </a:lnTo>
                  <a:lnTo>
                    <a:pt x="7649752" y="4764519"/>
                  </a:lnTo>
                  <a:lnTo>
                    <a:pt x="7681499" y="4759942"/>
                  </a:lnTo>
                  <a:lnTo>
                    <a:pt x="7713677" y="4759052"/>
                  </a:lnTo>
                  <a:lnTo>
                    <a:pt x="7738170" y="4752279"/>
                  </a:lnTo>
                  <a:lnTo>
                    <a:pt x="7779038" y="4740995"/>
                  </a:lnTo>
                  <a:lnTo>
                    <a:pt x="7826093" y="4701485"/>
                  </a:lnTo>
                  <a:lnTo>
                    <a:pt x="7864666" y="4682913"/>
                  </a:lnTo>
                  <a:lnTo>
                    <a:pt x="7881735" y="4668906"/>
                  </a:lnTo>
                  <a:lnTo>
                    <a:pt x="7878800" y="4594245"/>
                  </a:lnTo>
                  <a:lnTo>
                    <a:pt x="7893228" y="4561851"/>
                  </a:lnTo>
                  <a:lnTo>
                    <a:pt x="7992305" y="4458957"/>
                  </a:lnTo>
                  <a:lnTo>
                    <a:pt x="8007485" y="4442153"/>
                  </a:lnTo>
                  <a:lnTo>
                    <a:pt x="8023352" y="4424617"/>
                  </a:lnTo>
                  <a:lnTo>
                    <a:pt x="8022363" y="4380089"/>
                  </a:lnTo>
                  <a:lnTo>
                    <a:pt x="8022450" y="4330621"/>
                  </a:lnTo>
                  <a:lnTo>
                    <a:pt x="8022515" y="4281145"/>
                  </a:lnTo>
                  <a:lnTo>
                    <a:pt x="8023273" y="4226242"/>
                  </a:lnTo>
                  <a:lnTo>
                    <a:pt x="8040137" y="4190518"/>
                  </a:lnTo>
                  <a:lnTo>
                    <a:pt x="8053228" y="4162780"/>
                  </a:lnTo>
                  <a:lnTo>
                    <a:pt x="8072788" y="4143635"/>
                  </a:lnTo>
                  <a:lnTo>
                    <a:pt x="8093179" y="4123870"/>
                  </a:lnTo>
                  <a:lnTo>
                    <a:pt x="8113572" y="4104105"/>
                  </a:lnTo>
                  <a:lnTo>
                    <a:pt x="8134603" y="4084637"/>
                  </a:lnTo>
                  <a:lnTo>
                    <a:pt x="8148946" y="4058581"/>
                  </a:lnTo>
                  <a:lnTo>
                    <a:pt x="8158285" y="4017290"/>
                  </a:lnTo>
                  <a:lnTo>
                    <a:pt x="8161193" y="3990569"/>
                  </a:lnTo>
                  <a:lnTo>
                    <a:pt x="8164094" y="3963848"/>
                  </a:lnTo>
                  <a:lnTo>
                    <a:pt x="8170043" y="3934481"/>
                  </a:lnTo>
                  <a:lnTo>
                    <a:pt x="8188396" y="3911678"/>
                  </a:lnTo>
                  <a:lnTo>
                    <a:pt x="8203400" y="3893033"/>
                  </a:lnTo>
                  <a:lnTo>
                    <a:pt x="8237364" y="3872232"/>
                  </a:lnTo>
                  <a:lnTo>
                    <a:pt x="8271005" y="3853859"/>
                  </a:lnTo>
                  <a:lnTo>
                    <a:pt x="8304375" y="3836196"/>
                  </a:lnTo>
                  <a:lnTo>
                    <a:pt x="8333933" y="3811022"/>
                  </a:lnTo>
                  <a:lnTo>
                    <a:pt x="8347861" y="3795217"/>
                  </a:lnTo>
                  <a:lnTo>
                    <a:pt x="8360536" y="3773713"/>
                  </a:lnTo>
                  <a:lnTo>
                    <a:pt x="8369302" y="3743012"/>
                  </a:lnTo>
                  <a:lnTo>
                    <a:pt x="8381351" y="3700815"/>
                  </a:lnTo>
                  <a:lnTo>
                    <a:pt x="8380526" y="3662609"/>
                  </a:lnTo>
                  <a:lnTo>
                    <a:pt x="8372019" y="3626035"/>
                  </a:lnTo>
                  <a:lnTo>
                    <a:pt x="8363518" y="3589462"/>
                  </a:lnTo>
                  <a:lnTo>
                    <a:pt x="8347044" y="3554967"/>
                  </a:lnTo>
                  <a:lnTo>
                    <a:pt x="8327134" y="3518580"/>
                  </a:lnTo>
                  <a:lnTo>
                    <a:pt x="8297991" y="3465321"/>
                  </a:lnTo>
                  <a:lnTo>
                    <a:pt x="8253661" y="3404514"/>
                  </a:lnTo>
                  <a:lnTo>
                    <a:pt x="8237358" y="3345834"/>
                  </a:lnTo>
                  <a:lnTo>
                    <a:pt x="8310521" y="3302287"/>
                  </a:lnTo>
                  <a:lnTo>
                    <a:pt x="8358499" y="3304296"/>
                  </a:lnTo>
                  <a:lnTo>
                    <a:pt x="8401940" y="3298228"/>
                  </a:lnTo>
                  <a:lnTo>
                    <a:pt x="8423663" y="3295194"/>
                  </a:lnTo>
                  <a:lnTo>
                    <a:pt x="8444661" y="3290546"/>
                  </a:lnTo>
                  <a:lnTo>
                    <a:pt x="8465871" y="3279185"/>
                  </a:lnTo>
                  <a:lnTo>
                    <a:pt x="8487087" y="3267824"/>
                  </a:lnTo>
                  <a:lnTo>
                    <a:pt x="8508785" y="3249461"/>
                  </a:lnTo>
                  <a:lnTo>
                    <a:pt x="8532520" y="3220697"/>
                  </a:lnTo>
                  <a:lnTo>
                    <a:pt x="8549204" y="3200482"/>
                  </a:lnTo>
                  <a:lnTo>
                    <a:pt x="8569246" y="3163568"/>
                  </a:lnTo>
                  <a:lnTo>
                    <a:pt x="8578176" y="3138065"/>
                  </a:lnTo>
                  <a:lnTo>
                    <a:pt x="8588972" y="3110945"/>
                  </a:lnTo>
                  <a:lnTo>
                    <a:pt x="8580128" y="3083316"/>
                  </a:lnTo>
                  <a:lnTo>
                    <a:pt x="8569595" y="3058747"/>
                  </a:lnTo>
                  <a:lnTo>
                    <a:pt x="8546830" y="3042245"/>
                  </a:lnTo>
                  <a:lnTo>
                    <a:pt x="8524360" y="3026188"/>
                  </a:lnTo>
                  <a:lnTo>
                    <a:pt x="8501892" y="3010131"/>
                  </a:lnTo>
                  <a:lnTo>
                    <a:pt x="8479555" y="2994117"/>
                  </a:lnTo>
                  <a:lnTo>
                    <a:pt x="8469953" y="2969060"/>
                  </a:lnTo>
                  <a:lnTo>
                    <a:pt x="8474477" y="2925682"/>
                  </a:lnTo>
                  <a:lnTo>
                    <a:pt x="8495139" y="2887809"/>
                  </a:lnTo>
                  <a:lnTo>
                    <a:pt x="8503957" y="2845282"/>
                  </a:lnTo>
                  <a:lnTo>
                    <a:pt x="8509865" y="2816823"/>
                  </a:lnTo>
                  <a:lnTo>
                    <a:pt x="8519091" y="2785135"/>
                  </a:lnTo>
                  <a:lnTo>
                    <a:pt x="8523002" y="2756869"/>
                  </a:lnTo>
                  <a:lnTo>
                    <a:pt x="8527104" y="2727242"/>
                  </a:lnTo>
                  <a:lnTo>
                    <a:pt x="8524044" y="2696637"/>
                  </a:lnTo>
                  <a:lnTo>
                    <a:pt x="8528436" y="2667095"/>
                  </a:lnTo>
                  <a:lnTo>
                    <a:pt x="8540722" y="2629093"/>
                  </a:lnTo>
                  <a:lnTo>
                    <a:pt x="8561913" y="2607692"/>
                  </a:lnTo>
                  <a:lnTo>
                    <a:pt x="8594524" y="2608628"/>
                  </a:lnTo>
                  <a:lnTo>
                    <a:pt x="8617421" y="2624910"/>
                  </a:lnTo>
                  <a:lnTo>
                    <a:pt x="8637259" y="2649413"/>
                  </a:lnTo>
                  <a:lnTo>
                    <a:pt x="8656061" y="2675528"/>
                  </a:lnTo>
                  <a:lnTo>
                    <a:pt x="8668803" y="2708072"/>
                  </a:lnTo>
                  <a:lnTo>
                    <a:pt x="8682110" y="2749355"/>
                  </a:lnTo>
                  <a:lnTo>
                    <a:pt x="8724021" y="2787450"/>
                  </a:lnTo>
                  <a:lnTo>
                    <a:pt x="8767839" y="2822158"/>
                  </a:lnTo>
                  <a:lnTo>
                    <a:pt x="8811648" y="2856867"/>
                  </a:lnTo>
                  <a:lnTo>
                    <a:pt x="8858115" y="2887597"/>
                  </a:lnTo>
                  <a:lnTo>
                    <a:pt x="8883453" y="2895609"/>
                  </a:lnTo>
                  <a:lnTo>
                    <a:pt x="8905824" y="2856173"/>
                  </a:lnTo>
                  <a:lnTo>
                    <a:pt x="8904861" y="2831962"/>
                  </a:lnTo>
                  <a:lnTo>
                    <a:pt x="8894691" y="2793311"/>
                  </a:lnTo>
                  <a:lnTo>
                    <a:pt x="8872572" y="2765030"/>
                  </a:lnTo>
                  <a:lnTo>
                    <a:pt x="8847531" y="2738753"/>
                  </a:lnTo>
                  <a:lnTo>
                    <a:pt x="8811352" y="2718156"/>
                  </a:lnTo>
                  <a:lnTo>
                    <a:pt x="8778720" y="2673896"/>
                  </a:lnTo>
                  <a:lnTo>
                    <a:pt x="8785684" y="2609024"/>
                  </a:lnTo>
                  <a:lnTo>
                    <a:pt x="8799117" y="2561000"/>
                  </a:lnTo>
                  <a:lnTo>
                    <a:pt x="8812558" y="2512976"/>
                  </a:lnTo>
                  <a:lnTo>
                    <a:pt x="8829309" y="2466062"/>
                  </a:lnTo>
                  <a:lnTo>
                    <a:pt x="8867916" y="2431228"/>
                  </a:lnTo>
                  <a:lnTo>
                    <a:pt x="8892950" y="2433226"/>
                  </a:lnTo>
                  <a:lnTo>
                    <a:pt x="8922897" y="2420899"/>
                  </a:lnTo>
                  <a:lnTo>
                    <a:pt x="8977305" y="2393695"/>
                  </a:lnTo>
                  <a:lnTo>
                    <a:pt x="9003151" y="2378733"/>
                  </a:lnTo>
                  <a:lnTo>
                    <a:pt x="9025593" y="2371549"/>
                  </a:lnTo>
                  <a:lnTo>
                    <a:pt x="9063402" y="2372149"/>
                  </a:lnTo>
                  <a:lnTo>
                    <a:pt x="9087480" y="2369212"/>
                  </a:lnTo>
                  <a:lnTo>
                    <a:pt x="9110424" y="2366413"/>
                  </a:lnTo>
                  <a:lnTo>
                    <a:pt x="9131449" y="2357180"/>
                  </a:lnTo>
                  <a:lnTo>
                    <a:pt x="9148687" y="2344728"/>
                  </a:lnTo>
                  <a:lnTo>
                    <a:pt x="9165419" y="2326117"/>
                  </a:lnTo>
                  <a:lnTo>
                    <a:pt x="9209802" y="2224812"/>
                  </a:lnTo>
                  <a:lnTo>
                    <a:pt x="9241926" y="2134322"/>
                  </a:lnTo>
                  <a:lnTo>
                    <a:pt x="9273833" y="2044124"/>
                  </a:lnTo>
                  <a:lnTo>
                    <a:pt x="9287497" y="2005529"/>
                  </a:lnTo>
                  <a:lnTo>
                    <a:pt x="9352528" y="1972353"/>
                  </a:lnTo>
                  <a:lnTo>
                    <a:pt x="9341839" y="1886341"/>
                  </a:lnTo>
                  <a:lnTo>
                    <a:pt x="9324264" y="1744711"/>
                  </a:lnTo>
                  <a:lnTo>
                    <a:pt x="9095750" y="1789236"/>
                  </a:lnTo>
                  <a:lnTo>
                    <a:pt x="9004509" y="1761203"/>
                  </a:lnTo>
                  <a:lnTo>
                    <a:pt x="8940347" y="1741501"/>
                  </a:lnTo>
                  <a:lnTo>
                    <a:pt x="8886236" y="1696487"/>
                  </a:lnTo>
                  <a:lnTo>
                    <a:pt x="8822246" y="1678231"/>
                  </a:lnTo>
                  <a:lnTo>
                    <a:pt x="8754318" y="1658869"/>
                  </a:lnTo>
                  <a:lnTo>
                    <a:pt x="8655025" y="1681931"/>
                  </a:lnTo>
                  <a:lnTo>
                    <a:pt x="8600533" y="1630624"/>
                  </a:lnTo>
                  <a:lnTo>
                    <a:pt x="8576046" y="1626546"/>
                  </a:lnTo>
                  <a:lnTo>
                    <a:pt x="8541660" y="1623081"/>
                  </a:lnTo>
                  <a:lnTo>
                    <a:pt x="8465362" y="1610287"/>
                  </a:lnTo>
                  <a:lnTo>
                    <a:pt x="8440026" y="1630624"/>
                  </a:lnTo>
                  <a:lnTo>
                    <a:pt x="8432375" y="1671387"/>
                  </a:lnTo>
                  <a:lnTo>
                    <a:pt x="8440618" y="1733999"/>
                  </a:lnTo>
                  <a:lnTo>
                    <a:pt x="8401940" y="1761203"/>
                  </a:lnTo>
                  <a:lnTo>
                    <a:pt x="8364065" y="1787854"/>
                  </a:lnTo>
                  <a:lnTo>
                    <a:pt x="8177020" y="1807173"/>
                  </a:lnTo>
                  <a:lnTo>
                    <a:pt x="8132623" y="1795208"/>
                  </a:lnTo>
                  <a:lnTo>
                    <a:pt x="8095876" y="1785304"/>
                  </a:lnTo>
                  <a:lnTo>
                    <a:pt x="8069458" y="1763392"/>
                  </a:lnTo>
                  <a:lnTo>
                    <a:pt x="8029248" y="1761203"/>
                  </a:lnTo>
                  <a:lnTo>
                    <a:pt x="7937883" y="1756230"/>
                  </a:lnTo>
                  <a:lnTo>
                    <a:pt x="7808260" y="1856162"/>
                  </a:lnTo>
                  <a:lnTo>
                    <a:pt x="7743603" y="1770724"/>
                  </a:lnTo>
                  <a:lnTo>
                    <a:pt x="7720825" y="1707114"/>
                  </a:lnTo>
                  <a:lnTo>
                    <a:pt x="7869487" y="1608266"/>
                  </a:lnTo>
                  <a:lnTo>
                    <a:pt x="7833379" y="1498684"/>
                  </a:lnTo>
                  <a:lnTo>
                    <a:pt x="7796594" y="1387063"/>
                  </a:lnTo>
                  <a:lnTo>
                    <a:pt x="7548651" y="1522956"/>
                  </a:lnTo>
                  <a:lnTo>
                    <a:pt x="7487886" y="1415712"/>
                  </a:lnTo>
                  <a:lnTo>
                    <a:pt x="7467614" y="1379965"/>
                  </a:lnTo>
                  <a:lnTo>
                    <a:pt x="7505297" y="1193171"/>
                  </a:lnTo>
                  <a:lnTo>
                    <a:pt x="7508291" y="1145032"/>
                  </a:lnTo>
                  <a:lnTo>
                    <a:pt x="7510520" y="1109030"/>
                  </a:lnTo>
                  <a:lnTo>
                    <a:pt x="7511008" y="1069478"/>
                  </a:lnTo>
                  <a:lnTo>
                    <a:pt x="7511008" y="1033496"/>
                  </a:lnTo>
                  <a:lnTo>
                    <a:pt x="7496558" y="978281"/>
                  </a:lnTo>
                  <a:lnTo>
                    <a:pt x="7458196" y="918007"/>
                  </a:lnTo>
                  <a:lnTo>
                    <a:pt x="7249936" y="907699"/>
                  </a:lnTo>
                  <a:lnTo>
                    <a:pt x="7195442" y="901557"/>
                  </a:lnTo>
                  <a:lnTo>
                    <a:pt x="7153723" y="896882"/>
                  </a:lnTo>
                  <a:lnTo>
                    <a:pt x="7112109" y="887890"/>
                  </a:lnTo>
                  <a:lnTo>
                    <a:pt x="7070303" y="885235"/>
                  </a:lnTo>
                  <a:lnTo>
                    <a:pt x="7016087" y="881792"/>
                  </a:lnTo>
                  <a:lnTo>
                    <a:pt x="6900729" y="889061"/>
                  </a:lnTo>
                  <a:lnTo>
                    <a:pt x="6847230" y="898837"/>
                  </a:lnTo>
                  <a:lnTo>
                    <a:pt x="6756585" y="915393"/>
                  </a:lnTo>
                  <a:lnTo>
                    <a:pt x="6704392" y="1002212"/>
                  </a:lnTo>
                  <a:lnTo>
                    <a:pt x="6605119" y="1002212"/>
                  </a:lnTo>
                  <a:lnTo>
                    <a:pt x="6462999" y="1002212"/>
                  </a:lnTo>
                  <a:lnTo>
                    <a:pt x="6130491" y="866511"/>
                  </a:lnTo>
                  <a:lnTo>
                    <a:pt x="5988951" y="807703"/>
                  </a:lnTo>
                  <a:lnTo>
                    <a:pt x="5954855" y="793549"/>
                  </a:lnTo>
                  <a:lnTo>
                    <a:pt x="5918662" y="771956"/>
                  </a:lnTo>
                  <a:lnTo>
                    <a:pt x="5885568" y="754656"/>
                  </a:lnTo>
                  <a:lnTo>
                    <a:pt x="5825680" y="723350"/>
                  </a:lnTo>
                  <a:lnTo>
                    <a:pt x="5760430" y="699143"/>
                  </a:lnTo>
                  <a:lnTo>
                    <a:pt x="5693783" y="679845"/>
                  </a:lnTo>
                  <a:lnTo>
                    <a:pt x="5650044" y="663416"/>
                  </a:lnTo>
                  <a:lnTo>
                    <a:pt x="5604013" y="638890"/>
                  </a:lnTo>
                  <a:lnTo>
                    <a:pt x="5559121" y="626797"/>
                  </a:lnTo>
                  <a:lnTo>
                    <a:pt x="5430817" y="592218"/>
                  </a:lnTo>
                  <a:lnTo>
                    <a:pt x="5176188" y="670323"/>
                  </a:lnTo>
                  <a:lnTo>
                    <a:pt x="5030005" y="670323"/>
                  </a:lnTo>
                  <a:lnTo>
                    <a:pt x="4968435" y="670323"/>
                  </a:lnTo>
                  <a:lnTo>
                    <a:pt x="4899934" y="672957"/>
                  </a:lnTo>
                  <a:lnTo>
                    <a:pt x="4840943" y="655362"/>
                  </a:lnTo>
                  <a:lnTo>
                    <a:pt x="4801050" y="613535"/>
                  </a:lnTo>
                  <a:lnTo>
                    <a:pt x="4821086" y="500193"/>
                  </a:lnTo>
                  <a:lnTo>
                    <a:pt x="4828696" y="445891"/>
                  </a:lnTo>
                  <a:lnTo>
                    <a:pt x="4808634" y="418772"/>
                  </a:lnTo>
                  <a:lnTo>
                    <a:pt x="4516572" y="426062"/>
                  </a:lnTo>
                  <a:lnTo>
                    <a:pt x="4469603" y="430929"/>
                  </a:lnTo>
                  <a:lnTo>
                    <a:pt x="4414219" y="436667"/>
                  </a:lnTo>
                  <a:lnTo>
                    <a:pt x="4355010" y="456006"/>
                  </a:lnTo>
                  <a:lnTo>
                    <a:pt x="4299580" y="454052"/>
                  </a:lnTo>
                  <a:lnTo>
                    <a:pt x="4258560" y="452607"/>
                  </a:lnTo>
                  <a:lnTo>
                    <a:pt x="4210997" y="427953"/>
                  </a:lnTo>
                  <a:lnTo>
                    <a:pt x="4170360" y="420047"/>
                  </a:lnTo>
                  <a:lnTo>
                    <a:pt x="4072939" y="401174"/>
                  </a:lnTo>
                  <a:lnTo>
                    <a:pt x="3977618" y="452820"/>
                  </a:lnTo>
                  <a:lnTo>
                    <a:pt x="3877915" y="394204"/>
                  </a:lnTo>
                  <a:lnTo>
                    <a:pt x="3847421" y="376266"/>
                  </a:lnTo>
                  <a:lnTo>
                    <a:pt x="3790612" y="330423"/>
                  </a:lnTo>
                  <a:lnTo>
                    <a:pt x="3770465" y="301710"/>
                  </a:lnTo>
                  <a:lnTo>
                    <a:pt x="3754650" y="269766"/>
                  </a:lnTo>
                  <a:lnTo>
                    <a:pt x="3727532" y="231149"/>
                  </a:lnTo>
                  <a:lnTo>
                    <a:pt x="3701199" y="212850"/>
                  </a:lnTo>
                  <a:lnTo>
                    <a:pt x="3683412" y="188813"/>
                  </a:lnTo>
                  <a:lnTo>
                    <a:pt x="3671548" y="153852"/>
                  </a:lnTo>
                  <a:lnTo>
                    <a:pt x="3656498" y="136956"/>
                  </a:lnTo>
                  <a:lnTo>
                    <a:pt x="3633298" y="124246"/>
                  </a:lnTo>
                  <a:lnTo>
                    <a:pt x="3612167" y="116511"/>
                  </a:lnTo>
                  <a:lnTo>
                    <a:pt x="3581395" y="118082"/>
                  </a:lnTo>
                  <a:lnTo>
                    <a:pt x="3545519" y="131302"/>
                  </a:lnTo>
                  <a:lnTo>
                    <a:pt x="3480230" y="151811"/>
                  </a:lnTo>
                  <a:lnTo>
                    <a:pt x="3332477" y="156041"/>
                  </a:lnTo>
                  <a:lnTo>
                    <a:pt x="3278070" y="149367"/>
                  </a:lnTo>
                  <a:lnTo>
                    <a:pt x="3221452" y="145924"/>
                  </a:lnTo>
                  <a:lnTo>
                    <a:pt x="3166728" y="136828"/>
                  </a:lnTo>
                  <a:lnTo>
                    <a:pt x="3110764" y="130324"/>
                  </a:lnTo>
                  <a:lnTo>
                    <a:pt x="3089191" y="132025"/>
                  </a:lnTo>
                  <a:lnTo>
                    <a:pt x="3035469" y="122546"/>
                  </a:lnTo>
                  <a:lnTo>
                    <a:pt x="2989813" y="107137"/>
                  </a:lnTo>
                  <a:lnTo>
                    <a:pt x="2946182" y="99039"/>
                  </a:lnTo>
                  <a:lnTo>
                    <a:pt x="2913430" y="92961"/>
                  </a:lnTo>
                  <a:lnTo>
                    <a:pt x="2878339" y="96851"/>
                  </a:lnTo>
                  <a:lnTo>
                    <a:pt x="2845529" y="88158"/>
                  </a:lnTo>
                  <a:lnTo>
                    <a:pt x="2735435" y="59020"/>
                  </a:lnTo>
                  <a:lnTo>
                    <a:pt x="2698133" y="25695"/>
                  </a:lnTo>
                  <a:lnTo>
                    <a:pt x="2570766" y="10627"/>
                  </a:lnTo>
                  <a:lnTo>
                    <a:pt x="2547302" y="7843"/>
                  </a:lnTo>
                  <a:lnTo>
                    <a:pt x="2520994" y="0"/>
                  </a:lnTo>
                  <a:lnTo>
                    <a:pt x="2497319" y="2466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62" name="Volyn¬0" descr="Volyn¬0">
              <a:extLst>
                <a:ext uri="{FF2B5EF4-FFF2-40B4-BE49-F238E27FC236}">
                  <a16:creationId xmlns:a16="http://schemas.microsoft.com/office/drawing/2014/main" id="{F1F153C8-D21B-4CB4-B499-50BC3F7B6177}"/>
                </a:ext>
              </a:extLst>
            </p:cNvPr>
            <p:cNvSpPr/>
            <p:nvPr/>
          </p:nvSpPr>
          <p:spPr>
            <a:xfrm>
              <a:off x="1377266" y="1370587"/>
              <a:ext cx="855751" cy="756853"/>
            </a:xfrm>
            <a:custGeom>
              <a:avLst/>
              <a:gdLst/>
              <a:ahLst/>
              <a:cxnLst/>
              <a:rect l="0" t="0" r="0" b="0"/>
              <a:pathLst>
                <a:path w="8732468" h="8767178">
                  <a:moveTo>
                    <a:pt x="5704370" y="14983"/>
                  </a:moveTo>
                  <a:lnTo>
                    <a:pt x="5671725" y="38276"/>
                  </a:lnTo>
                  <a:lnTo>
                    <a:pt x="5633449" y="54323"/>
                  </a:lnTo>
                  <a:lnTo>
                    <a:pt x="5609839" y="50199"/>
                  </a:lnTo>
                  <a:lnTo>
                    <a:pt x="5587693" y="52388"/>
                  </a:lnTo>
                  <a:lnTo>
                    <a:pt x="5514430" y="23782"/>
                  </a:lnTo>
                  <a:lnTo>
                    <a:pt x="5543633" y="0"/>
                  </a:lnTo>
                  <a:lnTo>
                    <a:pt x="5443508" y="33346"/>
                  </a:lnTo>
                  <a:lnTo>
                    <a:pt x="5406953" y="54705"/>
                  </a:lnTo>
                  <a:lnTo>
                    <a:pt x="5358626" y="72834"/>
                  </a:lnTo>
                  <a:lnTo>
                    <a:pt x="5321727" y="78105"/>
                  </a:lnTo>
                  <a:lnTo>
                    <a:pt x="5291167" y="86394"/>
                  </a:lnTo>
                  <a:lnTo>
                    <a:pt x="5246769" y="98423"/>
                  </a:lnTo>
                  <a:lnTo>
                    <a:pt x="5206772" y="115511"/>
                  </a:lnTo>
                  <a:lnTo>
                    <a:pt x="5164670" y="132640"/>
                  </a:lnTo>
                  <a:lnTo>
                    <a:pt x="5134471" y="144946"/>
                  </a:lnTo>
                  <a:lnTo>
                    <a:pt x="5101484" y="151407"/>
                  </a:lnTo>
                  <a:lnTo>
                    <a:pt x="5070817" y="162565"/>
                  </a:lnTo>
                  <a:lnTo>
                    <a:pt x="5004631" y="186666"/>
                  </a:lnTo>
                  <a:lnTo>
                    <a:pt x="4922281" y="249724"/>
                  </a:lnTo>
                  <a:lnTo>
                    <a:pt x="4859985" y="268660"/>
                  </a:lnTo>
                  <a:lnTo>
                    <a:pt x="4806428" y="284919"/>
                  </a:lnTo>
                  <a:lnTo>
                    <a:pt x="4749982" y="266599"/>
                  </a:lnTo>
                  <a:lnTo>
                    <a:pt x="4698120" y="275461"/>
                  </a:lnTo>
                  <a:lnTo>
                    <a:pt x="4668726" y="280478"/>
                  </a:lnTo>
                  <a:lnTo>
                    <a:pt x="4634235" y="295418"/>
                  </a:lnTo>
                  <a:lnTo>
                    <a:pt x="4606991" y="306746"/>
                  </a:lnTo>
                  <a:lnTo>
                    <a:pt x="4549411" y="330720"/>
                  </a:lnTo>
                  <a:lnTo>
                    <a:pt x="4436493" y="345384"/>
                  </a:lnTo>
                  <a:lnTo>
                    <a:pt x="4374395" y="343471"/>
                  </a:lnTo>
                  <a:lnTo>
                    <a:pt x="4341922" y="342451"/>
                  </a:lnTo>
                  <a:lnTo>
                    <a:pt x="4307444" y="340219"/>
                  </a:lnTo>
                  <a:lnTo>
                    <a:pt x="4275096" y="335310"/>
                  </a:lnTo>
                  <a:lnTo>
                    <a:pt x="4243625" y="330528"/>
                  </a:lnTo>
                  <a:lnTo>
                    <a:pt x="4218525" y="319413"/>
                  </a:lnTo>
                  <a:lnTo>
                    <a:pt x="4185326" y="321708"/>
                  </a:lnTo>
                  <a:lnTo>
                    <a:pt x="4098867" y="327659"/>
                  </a:lnTo>
                  <a:lnTo>
                    <a:pt x="4024187" y="383555"/>
                  </a:lnTo>
                  <a:lnTo>
                    <a:pt x="3937767" y="392438"/>
                  </a:lnTo>
                  <a:lnTo>
                    <a:pt x="3886887" y="397667"/>
                  </a:lnTo>
                  <a:lnTo>
                    <a:pt x="3827619" y="356754"/>
                  </a:lnTo>
                  <a:lnTo>
                    <a:pt x="3777267" y="344831"/>
                  </a:lnTo>
                  <a:lnTo>
                    <a:pt x="3744814" y="337138"/>
                  </a:lnTo>
                  <a:lnTo>
                    <a:pt x="3712637" y="333610"/>
                  </a:lnTo>
                  <a:lnTo>
                    <a:pt x="3679332" y="332589"/>
                  </a:lnTo>
                  <a:lnTo>
                    <a:pt x="3567687" y="329104"/>
                  </a:lnTo>
                  <a:lnTo>
                    <a:pt x="3456623" y="353397"/>
                  </a:lnTo>
                  <a:lnTo>
                    <a:pt x="3346085" y="363874"/>
                  </a:lnTo>
                  <a:lnTo>
                    <a:pt x="3311356" y="367168"/>
                  </a:lnTo>
                  <a:lnTo>
                    <a:pt x="3277373" y="381004"/>
                  </a:lnTo>
                  <a:lnTo>
                    <a:pt x="3242710" y="384277"/>
                  </a:lnTo>
                  <a:lnTo>
                    <a:pt x="3183772" y="389867"/>
                  </a:lnTo>
                  <a:lnTo>
                    <a:pt x="3120883" y="394564"/>
                  </a:lnTo>
                  <a:lnTo>
                    <a:pt x="3061799" y="396519"/>
                  </a:lnTo>
                  <a:lnTo>
                    <a:pt x="3008651" y="398262"/>
                  </a:lnTo>
                  <a:lnTo>
                    <a:pt x="2790294" y="388931"/>
                  </a:lnTo>
                  <a:lnTo>
                    <a:pt x="2755756" y="407400"/>
                  </a:lnTo>
                  <a:lnTo>
                    <a:pt x="2698650" y="437963"/>
                  </a:lnTo>
                  <a:lnTo>
                    <a:pt x="2684326" y="504867"/>
                  </a:lnTo>
                  <a:lnTo>
                    <a:pt x="2649663" y="554302"/>
                  </a:lnTo>
                  <a:lnTo>
                    <a:pt x="2636612" y="572877"/>
                  </a:lnTo>
                  <a:lnTo>
                    <a:pt x="2623713" y="595533"/>
                  </a:lnTo>
                  <a:lnTo>
                    <a:pt x="2607495" y="611430"/>
                  </a:lnTo>
                  <a:lnTo>
                    <a:pt x="2573980" y="644245"/>
                  </a:lnTo>
                  <a:lnTo>
                    <a:pt x="2500507" y="698738"/>
                  </a:lnTo>
                  <a:lnTo>
                    <a:pt x="2482357" y="739289"/>
                  </a:lnTo>
                  <a:lnTo>
                    <a:pt x="2459190" y="791189"/>
                  </a:lnTo>
                  <a:lnTo>
                    <a:pt x="2460786" y="833185"/>
                  </a:lnTo>
                  <a:lnTo>
                    <a:pt x="2452437" y="887550"/>
                  </a:lnTo>
                  <a:lnTo>
                    <a:pt x="2449132" y="908910"/>
                  </a:lnTo>
                  <a:lnTo>
                    <a:pt x="2441740" y="929420"/>
                  </a:lnTo>
                  <a:lnTo>
                    <a:pt x="2437473" y="950119"/>
                  </a:lnTo>
                  <a:lnTo>
                    <a:pt x="2423168" y="1019533"/>
                  </a:lnTo>
                  <a:lnTo>
                    <a:pt x="2431392" y="1040913"/>
                  </a:lnTo>
                  <a:lnTo>
                    <a:pt x="2402104" y="1121505"/>
                  </a:lnTo>
                  <a:lnTo>
                    <a:pt x="2373885" y="1201353"/>
                  </a:lnTo>
                  <a:lnTo>
                    <a:pt x="2270483" y="1253211"/>
                  </a:lnTo>
                  <a:lnTo>
                    <a:pt x="2203519" y="1298331"/>
                  </a:lnTo>
                  <a:lnTo>
                    <a:pt x="2170149" y="1320795"/>
                  </a:lnTo>
                  <a:lnTo>
                    <a:pt x="2139779" y="1351824"/>
                  </a:lnTo>
                  <a:lnTo>
                    <a:pt x="2108301" y="1377222"/>
                  </a:lnTo>
                  <a:lnTo>
                    <a:pt x="2081183" y="1399113"/>
                  </a:lnTo>
                  <a:lnTo>
                    <a:pt x="2048413" y="1417773"/>
                  </a:lnTo>
                  <a:lnTo>
                    <a:pt x="2019890" y="1438431"/>
                  </a:lnTo>
                  <a:lnTo>
                    <a:pt x="1995324" y="1456220"/>
                  </a:lnTo>
                  <a:lnTo>
                    <a:pt x="1963484" y="1466336"/>
                  </a:lnTo>
                  <a:lnTo>
                    <a:pt x="1938278" y="1483318"/>
                  </a:lnTo>
                  <a:lnTo>
                    <a:pt x="1901511" y="1508099"/>
                  </a:lnTo>
                  <a:lnTo>
                    <a:pt x="1857557" y="1537810"/>
                  </a:lnTo>
                  <a:lnTo>
                    <a:pt x="1825380" y="1569010"/>
                  </a:lnTo>
                  <a:lnTo>
                    <a:pt x="1779004" y="1614025"/>
                  </a:lnTo>
                  <a:lnTo>
                    <a:pt x="1743623" y="1673448"/>
                  </a:lnTo>
                  <a:lnTo>
                    <a:pt x="1697525" y="1718632"/>
                  </a:lnTo>
                  <a:lnTo>
                    <a:pt x="1651743" y="1763477"/>
                  </a:lnTo>
                  <a:lnTo>
                    <a:pt x="1589579" y="1820094"/>
                  </a:lnTo>
                  <a:lnTo>
                    <a:pt x="1535659" y="1854652"/>
                  </a:lnTo>
                  <a:lnTo>
                    <a:pt x="1503014" y="1875586"/>
                  </a:lnTo>
                  <a:lnTo>
                    <a:pt x="1468649" y="1892440"/>
                  </a:lnTo>
                  <a:lnTo>
                    <a:pt x="1435001" y="1911781"/>
                  </a:lnTo>
                  <a:lnTo>
                    <a:pt x="1351503" y="1959812"/>
                  </a:lnTo>
                  <a:lnTo>
                    <a:pt x="1326509" y="1979726"/>
                  </a:lnTo>
                  <a:lnTo>
                    <a:pt x="1222810" y="1986591"/>
                  </a:lnTo>
                  <a:lnTo>
                    <a:pt x="1184835" y="1971884"/>
                  </a:lnTo>
                  <a:lnTo>
                    <a:pt x="1168679" y="1946338"/>
                  </a:lnTo>
                  <a:lnTo>
                    <a:pt x="1165686" y="1919942"/>
                  </a:lnTo>
                  <a:lnTo>
                    <a:pt x="1153571" y="1876479"/>
                  </a:lnTo>
                  <a:lnTo>
                    <a:pt x="1104667" y="1776653"/>
                  </a:lnTo>
                  <a:lnTo>
                    <a:pt x="1071832" y="1747196"/>
                  </a:lnTo>
                  <a:lnTo>
                    <a:pt x="1020909" y="1701503"/>
                  </a:lnTo>
                  <a:lnTo>
                    <a:pt x="854518" y="1711916"/>
                  </a:lnTo>
                  <a:lnTo>
                    <a:pt x="782109" y="1707751"/>
                  </a:lnTo>
                  <a:lnTo>
                    <a:pt x="674717" y="1701566"/>
                  </a:lnTo>
                  <a:lnTo>
                    <a:pt x="624156" y="1628158"/>
                  </a:lnTo>
                  <a:lnTo>
                    <a:pt x="520951" y="1631579"/>
                  </a:lnTo>
                  <a:lnTo>
                    <a:pt x="480039" y="1632920"/>
                  </a:lnTo>
                  <a:lnTo>
                    <a:pt x="405143" y="1653831"/>
                  </a:lnTo>
                  <a:lnTo>
                    <a:pt x="375410" y="1683267"/>
                  </a:lnTo>
                  <a:lnTo>
                    <a:pt x="321937" y="1691725"/>
                  </a:lnTo>
                  <a:lnTo>
                    <a:pt x="270441" y="1684011"/>
                  </a:lnTo>
                  <a:lnTo>
                    <a:pt x="216266" y="1695509"/>
                  </a:lnTo>
                  <a:lnTo>
                    <a:pt x="134017" y="1712894"/>
                  </a:lnTo>
                  <a:lnTo>
                    <a:pt x="6456" y="1796163"/>
                  </a:lnTo>
                  <a:lnTo>
                    <a:pt x="10877" y="1891377"/>
                  </a:lnTo>
                  <a:lnTo>
                    <a:pt x="13046" y="1937475"/>
                  </a:lnTo>
                  <a:lnTo>
                    <a:pt x="49685" y="1944574"/>
                  </a:lnTo>
                  <a:lnTo>
                    <a:pt x="66644" y="1979790"/>
                  </a:lnTo>
                  <a:lnTo>
                    <a:pt x="95464" y="2039597"/>
                  </a:lnTo>
                  <a:lnTo>
                    <a:pt x="103880" y="2105099"/>
                  </a:lnTo>
                  <a:lnTo>
                    <a:pt x="123773" y="2167498"/>
                  </a:lnTo>
                  <a:lnTo>
                    <a:pt x="130275" y="2187837"/>
                  </a:lnTo>
                  <a:lnTo>
                    <a:pt x="144135" y="2211024"/>
                  </a:lnTo>
                  <a:lnTo>
                    <a:pt x="151890" y="2249343"/>
                  </a:lnTo>
                  <a:lnTo>
                    <a:pt x="146107" y="2303433"/>
                  </a:lnTo>
                  <a:lnTo>
                    <a:pt x="130579" y="2336162"/>
                  </a:lnTo>
                  <a:lnTo>
                    <a:pt x="84992" y="2343601"/>
                  </a:lnTo>
                  <a:lnTo>
                    <a:pt x="65756" y="2270935"/>
                  </a:lnTo>
                  <a:lnTo>
                    <a:pt x="0" y="2288555"/>
                  </a:lnTo>
                  <a:lnTo>
                    <a:pt x="11775" y="2333591"/>
                  </a:lnTo>
                  <a:lnTo>
                    <a:pt x="9351" y="2392186"/>
                  </a:lnTo>
                  <a:lnTo>
                    <a:pt x="28564" y="2434097"/>
                  </a:lnTo>
                  <a:lnTo>
                    <a:pt x="48754" y="2532988"/>
                  </a:lnTo>
                  <a:lnTo>
                    <a:pt x="118783" y="2484360"/>
                  </a:lnTo>
                  <a:lnTo>
                    <a:pt x="172745" y="2514348"/>
                  </a:lnTo>
                  <a:lnTo>
                    <a:pt x="237418" y="2603675"/>
                  </a:lnTo>
                  <a:lnTo>
                    <a:pt x="111282" y="2643716"/>
                  </a:lnTo>
                  <a:lnTo>
                    <a:pt x="121058" y="2703416"/>
                  </a:lnTo>
                  <a:lnTo>
                    <a:pt x="166858" y="2755167"/>
                  </a:lnTo>
                  <a:lnTo>
                    <a:pt x="171130" y="2732405"/>
                  </a:lnTo>
                  <a:lnTo>
                    <a:pt x="214911" y="2761905"/>
                  </a:lnTo>
                  <a:lnTo>
                    <a:pt x="244665" y="2781946"/>
                  </a:lnTo>
                  <a:lnTo>
                    <a:pt x="224348" y="2811191"/>
                  </a:lnTo>
                  <a:lnTo>
                    <a:pt x="238035" y="2833995"/>
                  </a:lnTo>
                  <a:lnTo>
                    <a:pt x="263666" y="2876714"/>
                  </a:lnTo>
                  <a:lnTo>
                    <a:pt x="341792" y="2904513"/>
                  </a:lnTo>
                  <a:lnTo>
                    <a:pt x="300604" y="2976816"/>
                  </a:lnTo>
                  <a:lnTo>
                    <a:pt x="252997" y="3004020"/>
                  </a:lnTo>
                  <a:lnTo>
                    <a:pt x="239881" y="3055325"/>
                  </a:lnTo>
                  <a:lnTo>
                    <a:pt x="270592" y="3081020"/>
                  </a:lnTo>
                  <a:lnTo>
                    <a:pt x="270680" y="3111476"/>
                  </a:lnTo>
                  <a:lnTo>
                    <a:pt x="248256" y="3134323"/>
                  </a:lnTo>
                  <a:lnTo>
                    <a:pt x="191573" y="3158912"/>
                  </a:lnTo>
                  <a:lnTo>
                    <a:pt x="147516" y="3194448"/>
                  </a:lnTo>
                  <a:lnTo>
                    <a:pt x="129153" y="3267644"/>
                  </a:lnTo>
                  <a:lnTo>
                    <a:pt x="112894" y="3304624"/>
                  </a:lnTo>
                  <a:lnTo>
                    <a:pt x="98846" y="3325218"/>
                  </a:lnTo>
                  <a:lnTo>
                    <a:pt x="88019" y="3397308"/>
                  </a:lnTo>
                  <a:lnTo>
                    <a:pt x="89452" y="3431717"/>
                  </a:lnTo>
                  <a:lnTo>
                    <a:pt x="110833" y="3491290"/>
                  </a:lnTo>
                  <a:lnTo>
                    <a:pt x="127857" y="3510014"/>
                  </a:lnTo>
                  <a:lnTo>
                    <a:pt x="168322" y="3554584"/>
                  </a:lnTo>
                  <a:lnTo>
                    <a:pt x="245663" y="3525231"/>
                  </a:lnTo>
                  <a:lnTo>
                    <a:pt x="293801" y="3553540"/>
                  </a:lnTo>
                  <a:lnTo>
                    <a:pt x="355031" y="3589544"/>
                  </a:lnTo>
                  <a:lnTo>
                    <a:pt x="366571" y="3683375"/>
                  </a:lnTo>
                  <a:lnTo>
                    <a:pt x="391735" y="3748049"/>
                  </a:lnTo>
                  <a:lnTo>
                    <a:pt x="413711" y="3852040"/>
                  </a:lnTo>
                  <a:lnTo>
                    <a:pt x="410587" y="3790003"/>
                  </a:lnTo>
                  <a:lnTo>
                    <a:pt x="458384" y="3850064"/>
                  </a:lnTo>
                  <a:lnTo>
                    <a:pt x="463423" y="3881306"/>
                  </a:lnTo>
                  <a:lnTo>
                    <a:pt x="447207" y="3903557"/>
                  </a:lnTo>
                  <a:lnTo>
                    <a:pt x="444783" y="3933036"/>
                  </a:lnTo>
                  <a:lnTo>
                    <a:pt x="480467" y="3946532"/>
                  </a:lnTo>
                  <a:lnTo>
                    <a:pt x="513473" y="3971292"/>
                  </a:lnTo>
                  <a:lnTo>
                    <a:pt x="516555" y="3997837"/>
                  </a:lnTo>
                  <a:lnTo>
                    <a:pt x="531835" y="4013288"/>
                  </a:lnTo>
                  <a:lnTo>
                    <a:pt x="546840" y="4028441"/>
                  </a:lnTo>
                  <a:lnTo>
                    <a:pt x="568816" y="4026125"/>
                  </a:lnTo>
                  <a:lnTo>
                    <a:pt x="629536" y="4057175"/>
                  </a:lnTo>
                  <a:lnTo>
                    <a:pt x="601099" y="4085846"/>
                  </a:lnTo>
                  <a:lnTo>
                    <a:pt x="689618" y="4109861"/>
                  </a:lnTo>
                  <a:lnTo>
                    <a:pt x="713167" y="4128819"/>
                  </a:lnTo>
                  <a:lnTo>
                    <a:pt x="707684" y="4171387"/>
                  </a:lnTo>
                  <a:lnTo>
                    <a:pt x="737226" y="4186034"/>
                  </a:lnTo>
                  <a:lnTo>
                    <a:pt x="757310" y="4195999"/>
                  </a:lnTo>
                  <a:lnTo>
                    <a:pt x="781921" y="4187821"/>
                  </a:lnTo>
                  <a:lnTo>
                    <a:pt x="803875" y="4194192"/>
                  </a:lnTo>
                  <a:lnTo>
                    <a:pt x="828359" y="4201315"/>
                  </a:lnTo>
                  <a:lnTo>
                    <a:pt x="842684" y="4221614"/>
                  </a:lnTo>
                  <a:lnTo>
                    <a:pt x="862364" y="4236360"/>
                  </a:lnTo>
                  <a:lnTo>
                    <a:pt x="933391" y="4289660"/>
                  </a:lnTo>
                  <a:lnTo>
                    <a:pt x="926292" y="4379179"/>
                  </a:lnTo>
                  <a:lnTo>
                    <a:pt x="895815" y="4398331"/>
                  </a:lnTo>
                  <a:lnTo>
                    <a:pt x="876241" y="4449019"/>
                  </a:lnTo>
                  <a:lnTo>
                    <a:pt x="888185" y="4505234"/>
                  </a:lnTo>
                  <a:lnTo>
                    <a:pt x="903170" y="4545126"/>
                  </a:lnTo>
                  <a:lnTo>
                    <a:pt x="912734" y="4570629"/>
                  </a:lnTo>
                  <a:lnTo>
                    <a:pt x="938407" y="4596046"/>
                  </a:lnTo>
                  <a:lnTo>
                    <a:pt x="950776" y="4621298"/>
                  </a:lnTo>
                  <a:lnTo>
                    <a:pt x="958194" y="4642230"/>
                  </a:lnTo>
                  <a:lnTo>
                    <a:pt x="994919" y="4670581"/>
                  </a:lnTo>
                  <a:lnTo>
                    <a:pt x="1050071" y="4696110"/>
                  </a:lnTo>
                  <a:lnTo>
                    <a:pt x="1053236" y="4783651"/>
                  </a:lnTo>
                  <a:lnTo>
                    <a:pt x="1064263" y="4814574"/>
                  </a:lnTo>
                  <a:lnTo>
                    <a:pt x="1085432" y="4843012"/>
                  </a:lnTo>
                  <a:lnTo>
                    <a:pt x="1093083" y="4862540"/>
                  </a:lnTo>
                  <a:lnTo>
                    <a:pt x="1084614" y="4905624"/>
                  </a:lnTo>
                  <a:lnTo>
                    <a:pt x="1063668" y="4915101"/>
                  </a:lnTo>
                  <a:lnTo>
                    <a:pt x="1062989" y="4949849"/>
                  </a:lnTo>
                  <a:lnTo>
                    <a:pt x="1085432" y="4979032"/>
                  </a:lnTo>
                  <a:lnTo>
                    <a:pt x="1083222" y="5007318"/>
                  </a:lnTo>
                  <a:lnTo>
                    <a:pt x="1063672" y="5022558"/>
                  </a:lnTo>
                  <a:lnTo>
                    <a:pt x="1085009" y="5050481"/>
                  </a:lnTo>
                  <a:lnTo>
                    <a:pt x="1133319" y="5086377"/>
                  </a:lnTo>
                  <a:lnTo>
                    <a:pt x="1173699" y="5105891"/>
                  </a:lnTo>
                  <a:lnTo>
                    <a:pt x="1205136" y="5134091"/>
                  </a:lnTo>
                  <a:lnTo>
                    <a:pt x="1221946" y="5149160"/>
                  </a:lnTo>
                  <a:lnTo>
                    <a:pt x="1232590" y="5169967"/>
                  </a:lnTo>
                  <a:lnTo>
                    <a:pt x="1250021" y="5185782"/>
                  </a:lnTo>
                  <a:lnTo>
                    <a:pt x="1258799" y="5227713"/>
                  </a:lnTo>
                  <a:lnTo>
                    <a:pt x="1248023" y="5275677"/>
                  </a:lnTo>
                  <a:lnTo>
                    <a:pt x="1258179" y="5314996"/>
                  </a:lnTo>
                  <a:lnTo>
                    <a:pt x="1264747" y="5340393"/>
                  </a:lnTo>
                  <a:lnTo>
                    <a:pt x="1311782" y="5368876"/>
                  </a:lnTo>
                  <a:lnTo>
                    <a:pt x="1328909" y="5391167"/>
                  </a:lnTo>
                  <a:lnTo>
                    <a:pt x="1337627" y="5413398"/>
                  </a:lnTo>
                  <a:lnTo>
                    <a:pt x="1351140" y="5435887"/>
                  </a:lnTo>
                  <a:lnTo>
                    <a:pt x="1371202" y="5452381"/>
                  </a:lnTo>
                  <a:lnTo>
                    <a:pt x="1457794" y="5513397"/>
                  </a:lnTo>
                  <a:lnTo>
                    <a:pt x="1456856" y="5555835"/>
                  </a:lnTo>
                  <a:lnTo>
                    <a:pt x="1509814" y="5603358"/>
                  </a:lnTo>
                  <a:lnTo>
                    <a:pt x="1566649" y="5654343"/>
                  </a:lnTo>
                  <a:lnTo>
                    <a:pt x="1634635" y="5650393"/>
                  </a:lnTo>
                  <a:lnTo>
                    <a:pt x="1697525" y="5680894"/>
                  </a:lnTo>
                  <a:lnTo>
                    <a:pt x="1725454" y="5694453"/>
                  </a:lnTo>
                  <a:lnTo>
                    <a:pt x="1729233" y="5724988"/>
                  </a:lnTo>
                  <a:lnTo>
                    <a:pt x="1754656" y="5740743"/>
                  </a:lnTo>
                  <a:lnTo>
                    <a:pt x="1796798" y="5766859"/>
                  </a:lnTo>
                  <a:lnTo>
                    <a:pt x="1838201" y="5772834"/>
                  </a:lnTo>
                  <a:lnTo>
                    <a:pt x="1882512" y="5792427"/>
                  </a:lnTo>
                  <a:lnTo>
                    <a:pt x="1893037" y="5817699"/>
                  </a:lnTo>
                  <a:lnTo>
                    <a:pt x="1889311" y="5865644"/>
                  </a:lnTo>
                  <a:lnTo>
                    <a:pt x="1870271" y="5883562"/>
                  </a:lnTo>
                  <a:lnTo>
                    <a:pt x="1863406" y="5908979"/>
                  </a:lnTo>
                  <a:lnTo>
                    <a:pt x="1829634" y="5950441"/>
                  </a:lnTo>
                  <a:lnTo>
                    <a:pt x="1694062" y="5958375"/>
                  </a:lnTo>
                  <a:lnTo>
                    <a:pt x="1653998" y="5958375"/>
                  </a:lnTo>
                  <a:lnTo>
                    <a:pt x="1625686" y="5958375"/>
                  </a:lnTo>
                  <a:lnTo>
                    <a:pt x="1595468" y="5941690"/>
                  </a:lnTo>
                  <a:lnTo>
                    <a:pt x="1568304" y="5947493"/>
                  </a:lnTo>
                  <a:lnTo>
                    <a:pt x="1549027" y="5963156"/>
                  </a:lnTo>
                  <a:lnTo>
                    <a:pt x="1488097" y="5938201"/>
                  </a:lnTo>
                  <a:lnTo>
                    <a:pt x="1420044" y="5952934"/>
                  </a:lnTo>
                  <a:lnTo>
                    <a:pt x="1353396" y="5957418"/>
                  </a:lnTo>
                  <a:lnTo>
                    <a:pt x="1275840" y="5936421"/>
                  </a:lnTo>
                  <a:lnTo>
                    <a:pt x="1240498" y="6015500"/>
                  </a:lnTo>
                  <a:lnTo>
                    <a:pt x="1234141" y="6051145"/>
                  </a:lnTo>
                  <a:lnTo>
                    <a:pt x="1215674" y="6110183"/>
                  </a:lnTo>
                  <a:lnTo>
                    <a:pt x="1213676" y="6159361"/>
                  </a:lnTo>
                  <a:lnTo>
                    <a:pt x="1236416" y="6199129"/>
                  </a:lnTo>
                  <a:lnTo>
                    <a:pt x="1257671" y="6225884"/>
                  </a:lnTo>
                  <a:lnTo>
                    <a:pt x="1278689" y="6241784"/>
                  </a:lnTo>
                  <a:lnTo>
                    <a:pt x="1301705" y="6253536"/>
                  </a:lnTo>
                  <a:lnTo>
                    <a:pt x="1320388" y="6282672"/>
                  </a:lnTo>
                  <a:lnTo>
                    <a:pt x="1382552" y="6315363"/>
                  </a:lnTo>
                  <a:lnTo>
                    <a:pt x="1399811" y="6268091"/>
                  </a:lnTo>
                  <a:lnTo>
                    <a:pt x="1455406" y="6298415"/>
                  </a:lnTo>
                  <a:lnTo>
                    <a:pt x="1468503" y="6325579"/>
                  </a:lnTo>
                  <a:lnTo>
                    <a:pt x="1454898" y="6357841"/>
                  </a:lnTo>
                  <a:lnTo>
                    <a:pt x="1437171" y="6382559"/>
                  </a:lnTo>
                  <a:lnTo>
                    <a:pt x="1435008" y="6407231"/>
                  </a:lnTo>
                  <a:lnTo>
                    <a:pt x="1429205" y="6473476"/>
                  </a:lnTo>
                  <a:lnTo>
                    <a:pt x="1487398" y="6564526"/>
                  </a:lnTo>
                  <a:lnTo>
                    <a:pt x="1551982" y="6582701"/>
                  </a:lnTo>
                  <a:lnTo>
                    <a:pt x="1586624" y="6592449"/>
                  </a:lnTo>
                  <a:lnTo>
                    <a:pt x="1619652" y="6576285"/>
                  </a:lnTo>
                  <a:lnTo>
                    <a:pt x="1655357" y="6596300"/>
                  </a:lnTo>
                  <a:lnTo>
                    <a:pt x="1664332" y="6632348"/>
                  </a:lnTo>
                  <a:lnTo>
                    <a:pt x="1637676" y="6660231"/>
                  </a:lnTo>
                  <a:lnTo>
                    <a:pt x="1614976" y="6806176"/>
                  </a:lnTo>
                  <a:lnTo>
                    <a:pt x="1668474" y="6772529"/>
                  </a:lnTo>
                  <a:lnTo>
                    <a:pt x="1694808" y="6816655"/>
                  </a:lnTo>
                  <a:lnTo>
                    <a:pt x="1705821" y="6835141"/>
                  </a:lnTo>
                  <a:lnTo>
                    <a:pt x="1700631" y="6856396"/>
                  </a:lnTo>
                  <a:lnTo>
                    <a:pt x="1718035" y="6920987"/>
                  </a:lnTo>
                  <a:lnTo>
                    <a:pt x="1759305" y="6955412"/>
                  </a:lnTo>
                  <a:lnTo>
                    <a:pt x="1764173" y="7007083"/>
                  </a:lnTo>
                  <a:lnTo>
                    <a:pt x="1760954" y="7028886"/>
                  </a:lnTo>
                  <a:lnTo>
                    <a:pt x="1787439" y="6989415"/>
                  </a:lnTo>
                  <a:lnTo>
                    <a:pt x="1807706" y="6975797"/>
                  </a:lnTo>
                  <a:lnTo>
                    <a:pt x="1829673" y="6961031"/>
                  </a:lnTo>
                  <a:lnTo>
                    <a:pt x="1855644" y="6954165"/>
                  </a:lnTo>
                  <a:lnTo>
                    <a:pt x="1879794" y="6954034"/>
                  </a:lnTo>
                  <a:lnTo>
                    <a:pt x="1903945" y="6953902"/>
                  </a:lnTo>
                  <a:lnTo>
                    <a:pt x="1926770" y="6961156"/>
                  </a:lnTo>
                  <a:lnTo>
                    <a:pt x="1945084" y="6971715"/>
                  </a:lnTo>
                  <a:lnTo>
                    <a:pt x="1963398" y="6982273"/>
                  </a:lnTo>
                  <a:lnTo>
                    <a:pt x="1981811" y="7013883"/>
                  </a:lnTo>
                  <a:lnTo>
                    <a:pt x="1977867" y="7042709"/>
                  </a:lnTo>
                  <a:lnTo>
                    <a:pt x="1987252" y="7076449"/>
                  </a:lnTo>
                  <a:lnTo>
                    <a:pt x="2006654" y="7098877"/>
                  </a:lnTo>
                  <a:lnTo>
                    <a:pt x="2033139" y="7111150"/>
                  </a:lnTo>
                  <a:lnTo>
                    <a:pt x="2062064" y="7119975"/>
                  </a:lnTo>
                  <a:lnTo>
                    <a:pt x="2088926" y="7132248"/>
                  </a:lnTo>
                  <a:lnTo>
                    <a:pt x="2117831" y="7164055"/>
                  </a:lnTo>
                  <a:lnTo>
                    <a:pt x="2132069" y="7224247"/>
                  </a:lnTo>
                  <a:lnTo>
                    <a:pt x="2179335" y="7239277"/>
                  </a:lnTo>
                  <a:lnTo>
                    <a:pt x="2209204" y="7254557"/>
                  </a:lnTo>
                  <a:lnTo>
                    <a:pt x="2234811" y="7268242"/>
                  </a:lnTo>
                  <a:lnTo>
                    <a:pt x="2260413" y="7281919"/>
                  </a:lnTo>
                  <a:lnTo>
                    <a:pt x="2282063" y="7294159"/>
                  </a:lnTo>
                  <a:lnTo>
                    <a:pt x="2307770" y="7272699"/>
                  </a:lnTo>
                  <a:lnTo>
                    <a:pt x="2329916" y="7255342"/>
                  </a:lnTo>
                  <a:lnTo>
                    <a:pt x="2370119" y="7232233"/>
                  </a:lnTo>
                  <a:lnTo>
                    <a:pt x="2403476" y="7220633"/>
                  </a:lnTo>
                  <a:lnTo>
                    <a:pt x="2432823" y="7214553"/>
                  </a:lnTo>
                  <a:lnTo>
                    <a:pt x="2458457" y="7213115"/>
                  </a:lnTo>
                  <a:lnTo>
                    <a:pt x="2483722" y="7211116"/>
                  </a:lnTo>
                  <a:lnTo>
                    <a:pt x="2511296" y="7205959"/>
                  </a:lnTo>
                  <a:lnTo>
                    <a:pt x="2545009" y="7192162"/>
                  </a:lnTo>
                  <a:lnTo>
                    <a:pt x="2563976" y="7160784"/>
                  </a:lnTo>
                  <a:lnTo>
                    <a:pt x="2580628" y="7126035"/>
                  </a:lnTo>
                  <a:lnTo>
                    <a:pt x="2606196" y="7107141"/>
                  </a:lnTo>
                  <a:lnTo>
                    <a:pt x="2649670" y="7114541"/>
                  </a:lnTo>
                  <a:lnTo>
                    <a:pt x="2672706" y="7120865"/>
                  </a:lnTo>
                  <a:lnTo>
                    <a:pt x="2698268" y="7132103"/>
                  </a:lnTo>
                  <a:lnTo>
                    <a:pt x="2723118" y="7145827"/>
                  </a:lnTo>
                  <a:lnTo>
                    <a:pt x="2772817" y="7173261"/>
                  </a:lnTo>
                  <a:lnTo>
                    <a:pt x="2817656" y="7209837"/>
                  </a:lnTo>
                  <a:lnTo>
                    <a:pt x="2820274" y="7246030"/>
                  </a:lnTo>
                  <a:lnTo>
                    <a:pt x="2804730" y="7273682"/>
                  </a:lnTo>
                  <a:lnTo>
                    <a:pt x="2789529" y="7303267"/>
                  </a:lnTo>
                  <a:lnTo>
                    <a:pt x="2798985" y="7339789"/>
                  </a:lnTo>
                  <a:lnTo>
                    <a:pt x="2834545" y="7373258"/>
                  </a:lnTo>
                  <a:lnTo>
                    <a:pt x="2872743" y="7404261"/>
                  </a:lnTo>
                  <a:lnTo>
                    <a:pt x="2910941" y="7435264"/>
                  </a:lnTo>
                  <a:lnTo>
                    <a:pt x="2952409" y="7463536"/>
                  </a:lnTo>
                  <a:lnTo>
                    <a:pt x="2991629" y="7466240"/>
                  </a:lnTo>
                  <a:lnTo>
                    <a:pt x="3018279" y="7436906"/>
                  </a:lnTo>
                  <a:lnTo>
                    <a:pt x="3045490" y="7421942"/>
                  </a:lnTo>
                  <a:lnTo>
                    <a:pt x="3072905" y="7420122"/>
                  </a:lnTo>
                  <a:lnTo>
                    <a:pt x="3093091" y="7426018"/>
                  </a:lnTo>
                  <a:lnTo>
                    <a:pt x="3134046" y="7437988"/>
                  </a:lnTo>
                  <a:lnTo>
                    <a:pt x="3158276" y="7460621"/>
                  </a:lnTo>
                  <a:lnTo>
                    <a:pt x="3185585" y="7492673"/>
                  </a:lnTo>
                  <a:lnTo>
                    <a:pt x="3211114" y="7522640"/>
                  </a:lnTo>
                  <a:lnTo>
                    <a:pt x="3247446" y="7556029"/>
                  </a:lnTo>
                  <a:lnTo>
                    <a:pt x="3263121" y="7593324"/>
                  </a:lnTo>
                  <a:lnTo>
                    <a:pt x="3273720" y="7628501"/>
                  </a:lnTo>
                  <a:lnTo>
                    <a:pt x="3271556" y="7661521"/>
                  </a:lnTo>
                  <a:lnTo>
                    <a:pt x="3257681" y="7695340"/>
                  </a:lnTo>
                  <a:lnTo>
                    <a:pt x="3244359" y="7719748"/>
                  </a:lnTo>
                  <a:lnTo>
                    <a:pt x="3226698" y="7736401"/>
                  </a:lnTo>
                  <a:lnTo>
                    <a:pt x="3207349" y="7748390"/>
                  </a:lnTo>
                  <a:lnTo>
                    <a:pt x="3188006" y="7760373"/>
                  </a:lnTo>
                  <a:lnTo>
                    <a:pt x="3166130" y="7767832"/>
                  </a:lnTo>
                  <a:lnTo>
                    <a:pt x="3143424" y="7772870"/>
                  </a:lnTo>
                  <a:lnTo>
                    <a:pt x="3098005" y="7782940"/>
                  </a:lnTo>
                  <a:lnTo>
                    <a:pt x="3048900" y="7784998"/>
                  </a:lnTo>
                  <a:lnTo>
                    <a:pt x="3006039" y="7800074"/>
                  </a:lnTo>
                  <a:lnTo>
                    <a:pt x="2968382" y="7826790"/>
                  </a:lnTo>
                  <a:lnTo>
                    <a:pt x="2957072" y="7849041"/>
                  </a:lnTo>
                  <a:lnTo>
                    <a:pt x="2964148" y="7877795"/>
                  </a:lnTo>
                  <a:lnTo>
                    <a:pt x="2993331" y="7904603"/>
                  </a:lnTo>
                  <a:lnTo>
                    <a:pt x="3026444" y="7927936"/>
                  </a:lnTo>
                  <a:lnTo>
                    <a:pt x="3059557" y="7951269"/>
                  </a:lnTo>
                  <a:lnTo>
                    <a:pt x="3095539" y="7971364"/>
                  </a:lnTo>
                  <a:lnTo>
                    <a:pt x="3117578" y="7985061"/>
                  </a:lnTo>
                  <a:lnTo>
                    <a:pt x="3135556" y="7996233"/>
                  </a:lnTo>
                  <a:lnTo>
                    <a:pt x="3151582" y="8024505"/>
                  </a:lnTo>
                  <a:lnTo>
                    <a:pt x="3158454" y="8054380"/>
                  </a:lnTo>
                  <a:lnTo>
                    <a:pt x="3154154" y="8099416"/>
                  </a:lnTo>
                  <a:lnTo>
                    <a:pt x="3142587" y="8127550"/>
                  </a:lnTo>
                  <a:lnTo>
                    <a:pt x="3143945" y="8154214"/>
                  </a:lnTo>
                  <a:lnTo>
                    <a:pt x="3161190" y="8183759"/>
                  </a:lnTo>
                  <a:lnTo>
                    <a:pt x="3181892" y="8203353"/>
                  </a:lnTo>
                  <a:lnTo>
                    <a:pt x="3222761" y="8202693"/>
                  </a:lnTo>
                  <a:lnTo>
                    <a:pt x="3264190" y="8184939"/>
                  </a:lnTo>
                  <a:lnTo>
                    <a:pt x="3287602" y="8160525"/>
                  </a:lnTo>
                  <a:lnTo>
                    <a:pt x="3298589" y="8133130"/>
                  </a:lnTo>
                  <a:lnTo>
                    <a:pt x="3298286" y="8088812"/>
                  </a:lnTo>
                  <a:lnTo>
                    <a:pt x="3288644" y="8056405"/>
                  </a:lnTo>
                  <a:lnTo>
                    <a:pt x="3303924" y="8021782"/>
                  </a:lnTo>
                  <a:lnTo>
                    <a:pt x="3329302" y="8005670"/>
                  </a:lnTo>
                  <a:lnTo>
                    <a:pt x="3355615" y="8010900"/>
                  </a:lnTo>
                  <a:lnTo>
                    <a:pt x="3379759" y="8022659"/>
                  </a:lnTo>
                  <a:lnTo>
                    <a:pt x="3387811" y="8045840"/>
                  </a:lnTo>
                  <a:lnTo>
                    <a:pt x="3395059" y="8072107"/>
                  </a:lnTo>
                  <a:lnTo>
                    <a:pt x="3403487" y="8096575"/>
                  </a:lnTo>
                  <a:lnTo>
                    <a:pt x="3416460" y="8120507"/>
                  </a:lnTo>
                  <a:lnTo>
                    <a:pt x="3445385" y="8133314"/>
                  </a:lnTo>
                  <a:lnTo>
                    <a:pt x="3481103" y="8136909"/>
                  </a:lnTo>
                  <a:lnTo>
                    <a:pt x="3521206" y="8135168"/>
                  </a:lnTo>
                  <a:lnTo>
                    <a:pt x="3561000" y="8131962"/>
                  </a:lnTo>
                  <a:lnTo>
                    <a:pt x="3596744" y="8132965"/>
                  </a:lnTo>
                  <a:lnTo>
                    <a:pt x="3618046" y="8150692"/>
                  </a:lnTo>
                  <a:lnTo>
                    <a:pt x="3623573" y="8172772"/>
                  </a:lnTo>
                  <a:lnTo>
                    <a:pt x="3622214" y="8201334"/>
                  </a:lnTo>
                  <a:lnTo>
                    <a:pt x="3620855" y="8225821"/>
                  </a:lnTo>
                  <a:lnTo>
                    <a:pt x="3629014" y="8247584"/>
                  </a:lnTo>
                  <a:lnTo>
                    <a:pt x="3652122" y="8259726"/>
                  </a:lnTo>
                  <a:lnTo>
                    <a:pt x="3690240" y="8265357"/>
                  </a:lnTo>
                  <a:lnTo>
                    <a:pt x="3713264" y="8267165"/>
                  </a:lnTo>
                  <a:lnTo>
                    <a:pt x="3736471" y="8270706"/>
                  </a:lnTo>
                  <a:lnTo>
                    <a:pt x="3759678" y="8274241"/>
                  </a:lnTo>
                  <a:lnTo>
                    <a:pt x="3783196" y="8279477"/>
                  </a:lnTo>
                  <a:lnTo>
                    <a:pt x="3803119" y="8289746"/>
                  </a:lnTo>
                  <a:lnTo>
                    <a:pt x="3823048" y="8300020"/>
                  </a:lnTo>
                  <a:lnTo>
                    <a:pt x="3838804" y="8315690"/>
                  </a:lnTo>
                  <a:lnTo>
                    <a:pt x="3848003" y="8338713"/>
                  </a:lnTo>
                  <a:lnTo>
                    <a:pt x="3850721" y="8367282"/>
                  </a:lnTo>
                  <a:lnTo>
                    <a:pt x="3849362" y="8393121"/>
                  </a:lnTo>
                  <a:lnTo>
                    <a:pt x="3844489" y="8425521"/>
                  </a:lnTo>
                  <a:lnTo>
                    <a:pt x="3841185" y="8460956"/>
                  </a:lnTo>
                  <a:lnTo>
                    <a:pt x="3853444" y="8482897"/>
                  </a:lnTo>
                  <a:lnTo>
                    <a:pt x="3872200" y="8498844"/>
                  </a:lnTo>
                  <a:lnTo>
                    <a:pt x="3909785" y="8516287"/>
                  </a:lnTo>
                  <a:lnTo>
                    <a:pt x="3940200" y="8522038"/>
                  </a:lnTo>
                  <a:lnTo>
                    <a:pt x="3996158" y="8542601"/>
                  </a:lnTo>
                  <a:lnTo>
                    <a:pt x="4032272" y="8560427"/>
                  </a:lnTo>
                  <a:lnTo>
                    <a:pt x="4068359" y="8575390"/>
                  </a:lnTo>
                  <a:lnTo>
                    <a:pt x="4118566" y="8562221"/>
                  </a:lnTo>
                  <a:lnTo>
                    <a:pt x="4152688" y="8538664"/>
                  </a:lnTo>
                  <a:lnTo>
                    <a:pt x="4186811" y="8515113"/>
                  </a:lnTo>
                  <a:lnTo>
                    <a:pt x="4221117" y="8487955"/>
                  </a:lnTo>
                  <a:lnTo>
                    <a:pt x="4260443" y="8471528"/>
                  </a:lnTo>
                  <a:lnTo>
                    <a:pt x="4293852" y="8463073"/>
                  </a:lnTo>
                  <a:lnTo>
                    <a:pt x="4315912" y="8458410"/>
                  </a:lnTo>
                  <a:lnTo>
                    <a:pt x="4347482" y="8451743"/>
                  </a:lnTo>
                  <a:lnTo>
                    <a:pt x="4374329" y="8449382"/>
                  </a:lnTo>
                  <a:lnTo>
                    <a:pt x="4400248" y="8454328"/>
                  </a:lnTo>
                  <a:lnTo>
                    <a:pt x="4426166" y="8459280"/>
                  </a:lnTo>
                  <a:lnTo>
                    <a:pt x="4450330" y="8471501"/>
                  </a:lnTo>
                  <a:lnTo>
                    <a:pt x="4475054" y="8492413"/>
                  </a:lnTo>
                  <a:lnTo>
                    <a:pt x="4510422" y="8522341"/>
                  </a:lnTo>
                  <a:lnTo>
                    <a:pt x="4599302" y="8540662"/>
                  </a:lnTo>
                  <a:lnTo>
                    <a:pt x="4620597" y="8540022"/>
                  </a:lnTo>
                  <a:lnTo>
                    <a:pt x="4650881" y="8507101"/>
                  </a:lnTo>
                  <a:lnTo>
                    <a:pt x="4647055" y="8476546"/>
                  </a:lnTo>
                  <a:lnTo>
                    <a:pt x="4642360" y="8446170"/>
                  </a:lnTo>
                  <a:lnTo>
                    <a:pt x="4637374" y="8416341"/>
                  </a:lnTo>
                  <a:lnTo>
                    <a:pt x="4636458" y="8388946"/>
                  </a:lnTo>
                  <a:lnTo>
                    <a:pt x="4643718" y="8365917"/>
                  </a:lnTo>
                  <a:lnTo>
                    <a:pt x="4671285" y="8360423"/>
                  </a:lnTo>
                  <a:lnTo>
                    <a:pt x="4693121" y="8367645"/>
                  </a:lnTo>
                  <a:lnTo>
                    <a:pt x="4713090" y="8380881"/>
                  </a:lnTo>
                  <a:lnTo>
                    <a:pt x="4733060" y="8394116"/>
                  </a:lnTo>
                  <a:lnTo>
                    <a:pt x="4750820" y="8412846"/>
                  </a:lnTo>
                  <a:lnTo>
                    <a:pt x="4767499" y="8432565"/>
                  </a:lnTo>
                  <a:lnTo>
                    <a:pt x="4784177" y="8452290"/>
                  </a:lnTo>
                  <a:lnTo>
                    <a:pt x="4800136" y="8473018"/>
                  </a:lnTo>
                  <a:lnTo>
                    <a:pt x="4817824" y="8486973"/>
                  </a:lnTo>
                  <a:lnTo>
                    <a:pt x="4836487" y="8498692"/>
                  </a:lnTo>
                  <a:lnTo>
                    <a:pt x="4866171" y="8506678"/>
                  </a:lnTo>
                  <a:lnTo>
                    <a:pt x="5019134" y="8480180"/>
                  </a:lnTo>
                  <a:lnTo>
                    <a:pt x="5049681" y="8485726"/>
                  </a:lnTo>
                  <a:lnTo>
                    <a:pt x="5086375" y="8509818"/>
                  </a:lnTo>
                  <a:lnTo>
                    <a:pt x="5101438" y="8529312"/>
                  </a:lnTo>
                  <a:lnTo>
                    <a:pt x="5110268" y="8550911"/>
                  </a:lnTo>
                  <a:lnTo>
                    <a:pt x="5119099" y="8572502"/>
                  </a:lnTo>
                  <a:lnTo>
                    <a:pt x="5122073" y="8596547"/>
                  </a:lnTo>
                  <a:lnTo>
                    <a:pt x="5122509" y="8621641"/>
                  </a:lnTo>
                  <a:lnTo>
                    <a:pt x="5122970" y="8646734"/>
                  </a:lnTo>
                  <a:lnTo>
                    <a:pt x="5119890" y="8672639"/>
                  </a:lnTo>
                  <a:lnTo>
                    <a:pt x="5117068" y="8697812"/>
                  </a:lnTo>
                  <a:lnTo>
                    <a:pt x="5114298" y="8722503"/>
                  </a:lnTo>
                  <a:lnTo>
                    <a:pt x="5111278" y="8745691"/>
                  </a:lnTo>
                  <a:lnTo>
                    <a:pt x="5110268" y="8767177"/>
                  </a:lnTo>
                  <a:lnTo>
                    <a:pt x="5129875" y="8737487"/>
                  </a:lnTo>
                  <a:lnTo>
                    <a:pt x="5149864" y="8722200"/>
                  </a:lnTo>
                  <a:lnTo>
                    <a:pt x="5174199" y="8703252"/>
                  </a:lnTo>
                  <a:lnTo>
                    <a:pt x="5198534" y="8684299"/>
                  </a:lnTo>
                  <a:lnTo>
                    <a:pt x="5227110" y="8661830"/>
                  </a:lnTo>
                  <a:lnTo>
                    <a:pt x="5254453" y="8639321"/>
                  </a:lnTo>
                  <a:lnTo>
                    <a:pt x="5281795" y="8616813"/>
                  </a:lnTo>
                  <a:lnTo>
                    <a:pt x="5307442" y="8593989"/>
                  </a:lnTo>
                  <a:lnTo>
                    <a:pt x="5329259" y="8572674"/>
                  </a:lnTo>
                  <a:lnTo>
                    <a:pt x="5351082" y="8551352"/>
                  </a:lnTo>
                  <a:lnTo>
                    <a:pt x="5369098" y="8532286"/>
                  </a:lnTo>
                  <a:lnTo>
                    <a:pt x="5381504" y="8507727"/>
                  </a:lnTo>
                  <a:lnTo>
                    <a:pt x="5390472" y="8486980"/>
                  </a:lnTo>
                  <a:lnTo>
                    <a:pt x="5404071" y="8458417"/>
                  </a:lnTo>
                  <a:lnTo>
                    <a:pt x="5415019" y="8439397"/>
                  </a:lnTo>
                  <a:lnTo>
                    <a:pt x="5428492" y="8423028"/>
                  </a:lnTo>
                  <a:lnTo>
                    <a:pt x="5444880" y="8409449"/>
                  </a:lnTo>
                  <a:lnTo>
                    <a:pt x="5467877" y="8403943"/>
                  </a:lnTo>
                  <a:lnTo>
                    <a:pt x="5498055" y="8406798"/>
                  </a:lnTo>
                  <a:lnTo>
                    <a:pt x="5530568" y="8412173"/>
                  </a:lnTo>
                  <a:lnTo>
                    <a:pt x="5561261" y="8414489"/>
                  </a:lnTo>
                  <a:lnTo>
                    <a:pt x="5584218" y="8407135"/>
                  </a:lnTo>
                  <a:lnTo>
                    <a:pt x="5594499" y="8383611"/>
                  </a:lnTo>
                  <a:lnTo>
                    <a:pt x="5605381" y="8289759"/>
                  </a:lnTo>
                  <a:lnTo>
                    <a:pt x="5590417" y="8258473"/>
                  </a:lnTo>
                  <a:lnTo>
                    <a:pt x="5550669" y="8251588"/>
                  </a:lnTo>
                  <a:lnTo>
                    <a:pt x="5527851" y="8247591"/>
                  </a:lnTo>
                  <a:lnTo>
                    <a:pt x="5505033" y="8243594"/>
                  </a:lnTo>
                  <a:lnTo>
                    <a:pt x="5484292" y="8237178"/>
                  </a:lnTo>
                  <a:lnTo>
                    <a:pt x="5453038" y="8185019"/>
                  </a:lnTo>
                  <a:lnTo>
                    <a:pt x="5431275" y="8146933"/>
                  </a:lnTo>
                  <a:lnTo>
                    <a:pt x="5409512" y="8108848"/>
                  </a:lnTo>
                  <a:lnTo>
                    <a:pt x="5387749" y="8070762"/>
                  </a:lnTo>
                  <a:lnTo>
                    <a:pt x="5362992" y="8038222"/>
                  </a:lnTo>
                  <a:lnTo>
                    <a:pt x="5344222" y="8021795"/>
                  </a:lnTo>
                  <a:lnTo>
                    <a:pt x="5325460" y="8005373"/>
                  </a:lnTo>
                  <a:lnTo>
                    <a:pt x="5303479" y="7988517"/>
                  </a:lnTo>
                  <a:lnTo>
                    <a:pt x="5283015" y="7972827"/>
                  </a:lnTo>
                  <a:lnTo>
                    <a:pt x="5262544" y="7957145"/>
                  </a:lnTo>
                  <a:lnTo>
                    <a:pt x="5243314" y="7942366"/>
                  </a:lnTo>
                  <a:lnTo>
                    <a:pt x="5213901" y="7913526"/>
                  </a:lnTo>
                  <a:lnTo>
                    <a:pt x="5201403" y="7887140"/>
                  </a:lnTo>
                  <a:lnTo>
                    <a:pt x="5230744" y="7857489"/>
                  </a:lnTo>
                  <a:lnTo>
                    <a:pt x="5259893" y="7861294"/>
                  </a:lnTo>
                  <a:lnTo>
                    <a:pt x="5286550" y="7870850"/>
                  </a:lnTo>
                  <a:lnTo>
                    <a:pt x="5312119" y="7878936"/>
                  </a:lnTo>
                  <a:lnTo>
                    <a:pt x="5342864" y="7872176"/>
                  </a:lnTo>
                  <a:lnTo>
                    <a:pt x="5381253" y="7844616"/>
                  </a:lnTo>
                  <a:lnTo>
                    <a:pt x="5409512" y="7809610"/>
                  </a:lnTo>
                  <a:lnTo>
                    <a:pt x="5436089" y="7776695"/>
                  </a:lnTo>
                  <a:lnTo>
                    <a:pt x="5465364" y="7734547"/>
                  </a:lnTo>
                  <a:lnTo>
                    <a:pt x="5478884" y="7693995"/>
                  </a:lnTo>
                  <a:lnTo>
                    <a:pt x="5455122" y="7646650"/>
                  </a:lnTo>
                  <a:lnTo>
                    <a:pt x="5414992" y="7621622"/>
                  </a:lnTo>
                  <a:lnTo>
                    <a:pt x="5378219" y="7597419"/>
                  </a:lnTo>
                  <a:lnTo>
                    <a:pt x="5341446" y="7573210"/>
                  </a:lnTo>
                  <a:lnTo>
                    <a:pt x="5307562" y="7550160"/>
                  </a:lnTo>
                  <a:lnTo>
                    <a:pt x="5296607" y="7529406"/>
                  </a:lnTo>
                  <a:lnTo>
                    <a:pt x="5307423" y="7491492"/>
                  </a:lnTo>
                  <a:lnTo>
                    <a:pt x="5350144" y="7424672"/>
                  </a:lnTo>
                  <a:lnTo>
                    <a:pt x="5370061" y="7412432"/>
                  </a:lnTo>
                  <a:lnTo>
                    <a:pt x="5402402" y="7408792"/>
                  </a:lnTo>
                  <a:lnTo>
                    <a:pt x="5435648" y="7418790"/>
                  </a:lnTo>
                  <a:lnTo>
                    <a:pt x="5465272" y="7430113"/>
                  </a:lnTo>
                  <a:lnTo>
                    <a:pt x="5508739" y="7441470"/>
                  </a:lnTo>
                  <a:lnTo>
                    <a:pt x="5590792" y="7458867"/>
                  </a:lnTo>
                  <a:lnTo>
                    <a:pt x="5673380" y="7470916"/>
                  </a:lnTo>
                  <a:lnTo>
                    <a:pt x="5714678" y="7476944"/>
                  </a:lnTo>
                  <a:lnTo>
                    <a:pt x="5756437" y="7480940"/>
                  </a:lnTo>
                  <a:lnTo>
                    <a:pt x="5793078" y="7483163"/>
                  </a:lnTo>
                  <a:lnTo>
                    <a:pt x="5829726" y="7485385"/>
                  </a:lnTo>
                  <a:lnTo>
                    <a:pt x="5860485" y="7486052"/>
                  </a:lnTo>
                  <a:lnTo>
                    <a:pt x="5882854" y="7481804"/>
                  </a:lnTo>
                  <a:lnTo>
                    <a:pt x="5915341" y="7469386"/>
                  </a:lnTo>
                  <a:lnTo>
                    <a:pt x="5937421" y="7445249"/>
                  </a:lnTo>
                  <a:lnTo>
                    <a:pt x="5950861" y="7412432"/>
                  </a:lnTo>
                  <a:lnTo>
                    <a:pt x="5962086" y="7378996"/>
                  </a:lnTo>
                  <a:lnTo>
                    <a:pt x="5963075" y="7340627"/>
                  </a:lnTo>
                  <a:lnTo>
                    <a:pt x="5959026" y="7313140"/>
                  </a:lnTo>
                  <a:lnTo>
                    <a:pt x="5951890" y="7264719"/>
                  </a:lnTo>
                  <a:lnTo>
                    <a:pt x="5926974" y="7221391"/>
                  </a:lnTo>
                  <a:lnTo>
                    <a:pt x="5903259" y="7179837"/>
                  </a:lnTo>
                  <a:lnTo>
                    <a:pt x="5887636" y="7152508"/>
                  </a:lnTo>
                  <a:lnTo>
                    <a:pt x="5878773" y="7111830"/>
                  </a:lnTo>
                  <a:lnTo>
                    <a:pt x="5904617" y="7075334"/>
                  </a:lnTo>
                  <a:lnTo>
                    <a:pt x="6017048" y="7093931"/>
                  </a:lnTo>
                  <a:lnTo>
                    <a:pt x="6120634" y="7097736"/>
                  </a:lnTo>
                  <a:lnTo>
                    <a:pt x="6214743" y="7128152"/>
                  </a:lnTo>
                  <a:lnTo>
                    <a:pt x="6246669" y="7108064"/>
                  </a:lnTo>
                  <a:lnTo>
                    <a:pt x="6240588" y="7081903"/>
                  </a:lnTo>
                  <a:lnTo>
                    <a:pt x="6219102" y="7059097"/>
                  </a:lnTo>
                  <a:lnTo>
                    <a:pt x="6201138" y="7047899"/>
                  </a:lnTo>
                  <a:lnTo>
                    <a:pt x="6165216" y="7025503"/>
                  </a:lnTo>
                  <a:lnTo>
                    <a:pt x="6118028" y="7003139"/>
                  </a:lnTo>
                  <a:lnTo>
                    <a:pt x="6101845" y="6973087"/>
                  </a:lnTo>
                  <a:lnTo>
                    <a:pt x="6102109" y="6943120"/>
                  </a:lnTo>
                  <a:lnTo>
                    <a:pt x="6132749" y="6925886"/>
                  </a:lnTo>
                  <a:lnTo>
                    <a:pt x="6152112" y="6913640"/>
                  </a:lnTo>
                  <a:lnTo>
                    <a:pt x="6167135" y="6894198"/>
                  </a:lnTo>
                  <a:lnTo>
                    <a:pt x="6174310" y="6873134"/>
                  </a:lnTo>
                  <a:lnTo>
                    <a:pt x="6167794" y="6848436"/>
                  </a:lnTo>
                  <a:lnTo>
                    <a:pt x="6157611" y="6823468"/>
                  </a:lnTo>
                  <a:lnTo>
                    <a:pt x="6147442" y="6798500"/>
                  </a:lnTo>
                  <a:lnTo>
                    <a:pt x="6133494" y="6773545"/>
                  </a:lnTo>
                  <a:lnTo>
                    <a:pt x="6129049" y="6751372"/>
                  </a:lnTo>
                  <a:lnTo>
                    <a:pt x="6164417" y="6741850"/>
                  </a:lnTo>
                  <a:lnTo>
                    <a:pt x="6190513" y="6774092"/>
                  </a:lnTo>
                  <a:lnTo>
                    <a:pt x="6215693" y="6797767"/>
                  </a:lnTo>
                  <a:lnTo>
                    <a:pt x="6241947" y="6815297"/>
                  </a:lnTo>
                  <a:lnTo>
                    <a:pt x="6268201" y="6832832"/>
                  </a:lnTo>
                  <a:lnTo>
                    <a:pt x="6295478" y="6844301"/>
                  </a:lnTo>
                  <a:lnTo>
                    <a:pt x="6323559" y="6853382"/>
                  </a:lnTo>
                  <a:lnTo>
                    <a:pt x="6379721" y="6871558"/>
                  </a:lnTo>
                  <a:lnTo>
                    <a:pt x="6440441" y="6878997"/>
                  </a:lnTo>
                  <a:lnTo>
                    <a:pt x="6513986" y="6900991"/>
                  </a:lnTo>
                  <a:lnTo>
                    <a:pt x="6541831" y="6865055"/>
                  </a:lnTo>
                  <a:lnTo>
                    <a:pt x="6554242" y="6837211"/>
                  </a:lnTo>
                  <a:lnTo>
                    <a:pt x="6577917" y="6815297"/>
                  </a:lnTo>
                  <a:lnTo>
                    <a:pt x="6604079" y="6803973"/>
                  </a:lnTo>
                  <a:lnTo>
                    <a:pt x="6647033" y="6791561"/>
                  </a:lnTo>
                  <a:lnTo>
                    <a:pt x="6687729" y="6777382"/>
                  </a:lnTo>
                  <a:lnTo>
                    <a:pt x="6720737" y="6762254"/>
                  </a:lnTo>
                  <a:lnTo>
                    <a:pt x="6741907" y="6752540"/>
                  </a:lnTo>
                  <a:lnTo>
                    <a:pt x="6763010" y="6737536"/>
                  </a:lnTo>
                  <a:lnTo>
                    <a:pt x="6784668" y="6729609"/>
                  </a:lnTo>
                  <a:lnTo>
                    <a:pt x="6820603" y="6716472"/>
                  </a:lnTo>
                  <a:lnTo>
                    <a:pt x="6861604" y="6713880"/>
                  </a:lnTo>
                  <a:lnTo>
                    <a:pt x="6898925" y="6699682"/>
                  </a:lnTo>
                  <a:lnTo>
                    <a:pt x="6926340" y="6674304"/>
                  </a:lnTo>
                  <a:lnTo>
                    <a:pt x="6935968" y="6636304"/>
                  </a:lnTo>
                  <a:lnTo>
                    <a:pt x="6961491" y="6611270"/>
                  </a:lnTo>
                  <a:lnTo>
                    <a:pt x="7012370" y="6595376"/>
                  </a:lnTo>
                  <a:lnTo>
                    <a:pt x="7069713" y="6599030"/>
                  </a:lnTo>
                  <a:lnTo>
                    <a:pt x="7121997" y="6599030"/>
                  </a:lnTo>
                  <a:lnTo>
                    <a:pt x="7165247" y="6599030"/>
                  </a:lnTo>
                  <a:lnTo>
                    <a:pt x="7190664" y="6597579"/>
                  </a:lnTo>
                  <a:lnTo>
                    <a:pt x="7213126" y="6603105"/>
                  </a:lnTo>
                  <a:lnTo>
                    <a:pt x="7235594" y="6608632"/>
                  </a:lnTo>
                  <a:lnTo>
                    <a:pt x="7254106" y="6621209"/>
                  </a:lnTo>
                  <a:lnTo>
                    <a:pt x="7283856" y="6650714"/>
                  </a:lnTo>
                  <a:lnTo>
                    <a:pt x="7317951" y="6684520"/>
                  </a:lnTo>
                  <a:lnTo>
                    <a:pt x="7351335" y="6722375"/>
                  </a:lnTo>
                  <a:lnTo>
                    <a:pt x="7381790" y="6759524"/>
                  </a:lnTo>
                  <a:lnTo>
                    <a:pt x="7368185" y="6813938"/>
                  </a:lnTo>
                  <a:lnTo>
                    <a:pt x="7388484" y="6834679"/>
                  </a:lnTo>
                  <a:lnTo>
                    <a:pt x="7435499" y="6840423"/>
                  </a:lnTo>
                  <a:lnTo>
                    <a:pt x="7525566" y="6844901"/>
                  </a:lnTo>
                  <a:lnTo>
                    <a:pt x="7559978" y="6861540"/>
                  </a:lnTo>
                  <a:lnTo>
                    <a:pt x="7602304" y="6890479"/>
                  </a:lnTo>
                  <a:lnTo>
                    <a:pt x="7628934" y="6914959"/>
                  </a:lnTo>
                  <a:lnTo>
                    <a:pt x="7656256" y="6950360"/>
                  </a:lnTo>
                  <a:lnTo>
                    <a:pt x="7687834" y="6977155"/>
                  </a:lnTo>
                  <a:lnTo>
                    <a:pt x="7720248" y="7002308"/>
                  </a:lnTo>
                  <a:lnTo>
                    <a:pt x="7756070" y="7014582"/>
                  </a:lnTo>
                  <a:lnTo>
                    <a:pt x="7795291" y="7008442"/>
                  </a:lnTo>
                  <a:lnTo>
                    <a:pt x="7821387" y="6985386"/>
                  </a:lnTo>
                  <a:lnTo>
                    <a:pt x="7829914" y="6921560"/>
                  </a:lnTo>
                  <a:lnTo>
                    <a:pt x="7829914" y="6849004"/>
                  </a:lnTo>
                  <a:lnTo>
                    <a:pt x="7849699" y="6796251"/>
                  </a:lnTo>
                  <a:lnTo>
                    <a:pt x="7860923" y="6766323"/>
                  </a:lnTo>
                  <a:lnTo>
                    <a:pt x="7872814" y="6747507"/>
                  </a:lnTo>
                  <a:lnTo>
                    <a:pt x="7897307" y="6717138"/>
                  </a:lnTo>
                  <a:lnTo>
                    <a:pt x="7919071" y="6692876"/>
                  </a:lnTo>
                  <a:lnTo>
                    <a:pt x="7936218" y="6666746"/>
                  </a:lnTo>
                  <a:lnTo>
                    <a:pt x="7939468" y="6645267"/>
                  </a:lnTo>
                  <a:lnTo>
                    <a:pt x="7942727" y="6623794"/>
                  </a:lnTo>
                  <a:lnTo>
                    <a:pt x="7942146" y="6595291"/>
                  </a:lnTo>
                  <a:lnTo>
                    <a:pt x="7935393" y="6552774"/>
                  </a:lnTo>
                  <a:lnTo>
                    <a:pt x="7919071" y="6454839"/>
                  </a:lnTo>
                  <a:lnTo>
                    <a:pt x="7910807" y="6402984"/>
                  </a:lnTo>
                  <a:lnTo>
                    <a:pt x="7934463" y="6295975"/>
                  </a:lnTo>
                  <a:lnTo>
                    <a:pt x="7928593" y="6234490"/>
                  </a:lnTo>
                  <a:lnTo>
                    <a:pt x="7925038" y="6198363"/>
                  </a:lnTo>
                  <a:lnTo>
                    <a:pt x="7943532" y="6150583"/>
                  </a:lnTo>
                  <a:lnTo>
                    <a:pt x="7963870" y="6124164"/>
                  </a:lnTo>
                  <a:lnTo>
                    <a:pt x="8050138" y="6099169"/>
                  </a:lnTo>
                  <a:lnTo>
                    <a:pt x="8085018" y="6068549"/>
                  </a:lnTo>
                  <a:lnTo>
                    <a:pt x="8104790" y="6051172"/>
                  </a:lnTo>
                  <a:lnTo>
                    <a:pt x="8121436" y="6028756"/>
                  </a:lnTo>
                  <a:lnTo>
                    <a:pt x="8140785" y="6010059"/>
                  </a:lnTo>
                  <a:lnTo>
                    <a:pt x="8160134" y="5991356"/>
                  </a:lnTo>
                  <a:lnTo>
                    <a:pt x="8182418" y="5976181"/>
                  </a:lnTo>
                  <a:lnTo>
                    <a:pt x="8210156" y="5971973"/>
                  </a:lnTo>
                  <a:lnTo>
                    <a:pt x="8248295" y="5966183"/>
                  </a:lnTo>
                  <a:lnTo>
                    <a:pt x="8270692" y="5973483"/>
                  </a:lnTo>
                  <a:lnTo>
                    <a:pt x="8290404" y="5982855"/>
                  </a:lnTo>
                  <a:lnTo>
                    <a:pt x="8310116" y="5992226"/>
                  </a:lnTo>
                  <a:lnTo>
                    <a:pt x="8350251" y="6003253"/>
                  </a:lnTo>
                  <a:lnTo>
                    <a:pt x="8374547" y="5985849"/>
                  </a:lnTo>
                  <a:lnTo>
                    <a:pt x="8400538" y="5943068"/>
                  </a:lnTo>
                  <a:lnTo>
                    <a:pt x="8414182" y="5917566"/>
                  </a:lnTo>
                  <a:lnTo>
                    <a:pt x="8403856" y="5895855"/>
                  </a:lnTo>
                  <a:lnTo>
                    <a:pt x="8378266" y="5879427"/>
                  </a:lnTo>
                  <a:lnTo>
                    <a:pt x="8343453" y="5864516"/>
                  </a:lnTo>
                  <a:lnTo>
                    <a:pt x="8307570" y="5849737"/>
                  </a:lnTo>
                  <a:lnTo>
                    <a:pt x="8275960" y="5830329"/>
                  </a:lnTo>
                  <a:lnTo>
                    <a:pt x="8255041" y="5803308"/>
                  </a:lnTo>
                  <a:lnTo>
                    <a:pt x="8255041" y="5781545"/>
                  </a:lnTo>
                  <a:lnTo>
                    <a:pt x="8270803" y="5751486"/>
                  </a:lnTo>
                  <a:lnTo>
                    <a:pt x="8287844" y="5729301"/>
                  </a:lnTo>
                  <a:lnTo>
                    <a:pt x="8305367" y="5712174"/>
                  </a:lnTo>
                  <a:lnTo>
                    <a:pt x="8322890" y="5695047"/>
                  </a:lnTo>
                  <a:lnTo>
                    <a:pt x="8340287" y="5682727"/>
                  </a:lnTo>
                  <a:lnTo>
                    <a:pt x="8390587" y="5652728"/>
                  </a:lnTo>
                  <a:lnTo>
                    <a:pt x="8420534" y="5641899"/>
                  </a:lnTo>
                  <a:lnTo>
                    <a:pt x="8435947" y="5615598"/>
                  </a:lnTo>
                  <a:lnTo>
                    <a:pt x="8444769" y="5555920"/>
                  </a:lnTo>
                  <a:lnTo>
                    <a:pt x="8447138" y="5532503"/>
                  </a:lnTo>
                  <a:lnTo>
                    <a:pt x="8442752" y="5508147"/>
                  </a:lnTo>
                  <a:lnTo>
                    <a:pt x="8429595" y="5489220"/>
                  </a:lnTo>
                  <a:lnTo>
                    <a:pt x="8409916" y="5466632"/>
                  </a:lnTo>
                  <a:lnTo>
                    <a:pt x="8382903" y="5441493"/>
                  </a:lnTo>
                  <a:lnTo>
                    <a:pt x="8347865" y="5419175"/>
                  </a:lnTo>
                  <a:lnTo>
                    <a:pt x="8314567" y="5395803"/>
                  </a:lnTo>
                  <a:lnTo>
                    <a:pt x="8294492" y="5368045"/>
                  </a:lnTo>
                  <a:lnTo>
                    <a:pt x="8289743" y="5336311"/>
                  </a:lnTo>
                  <a:lnTo>
                    <a:pt x="8305373" y="5314996"/>
                  </a:lnTo>
                  <a:lnTo>
                    <a:pt x="8319895" y="5295191"/>
                  </a:lnTo>
                  <a:lnTo>
                    <a:pt x="8351617" y="5278268"/>
                  </a:lnTo>
                  <a:lnTo>
                    <a:pt x="8393145" y="5269708"/>
                  </a:lnTo>
                  <a:lnTo>
                    <a:pt x="8441749" y="5263965"/>
                  </a:lnTo>
                  <a:lnTo>
                    <a:pt x="8470827" y="5263008"/>
                  </a:lnTo>
                  <a:lnTo>
                    <a:pt x="8499878" y="5260588"/>
                  </a:lnTo>
                  <a:lnTo>
                    <a:pt x="8564956" y="5255167"/>
                  </a:lnTo>
                  <a:lnTo>
                    <a:pt x="8640725" y="5229242"/>
                  </a:lnTo>
                  <a:lnTo>
                    <a:pt x="8705268" y="5227943"/>
                  </a:lnTo>
                  <a:lnTo>
                    <a:pt x="8724354" y="5214826"/>
                  </a:lnTo>
                  <a:lnTo>
                    <a:pt x="8732432" y="5194810"/>
                  </a:lnTo>
                  <a:lnTo>
                    <a:pt x="8732467" y="5170811"/>
                  </a:lnTo>
                  <a:lnTo>
                    <a:pt x="8731265" y="5146628"/>
                  </a:lnTo>
                  <a:lnTo>
                    <a:pt x="8722903" y="5120704"/>
                  </a:lnTo>
                  <a:lnTo>
                    <a:pt x="8716849" y="5080316"/>
                  </a:lnTo>
                  <a:lnTo>
                    <a:pt x="8720424" y="5017836"/>
                  </a:lnTo>
                  <a:lnTo>
                    <a:pt x="8697994" y="4989550"/>
                  </a:lnTo>
                  <a:lnTo>
                    <a:pt x="8671259" y="4965426"/>
                  </a:lnTo>
                  <a:lnTo>
                    <a:pt x="8670481" y="4936851"/>
                  </a:lnTo>
                  <a:lnTo>
                    <a:pt x="8664065" y="4907167"/>
                  </a:lnTo>
                  <a:lnTo>
                    <a:pt x="8653578" y="4878373"/>
                  </a:lnTo>
                  <a:lnTo>
                    <a:pt x="8643092" y="4849581"/>
                  </a:lnTo>
                  <a:lnTo>
                    <a:pt x="8627766" y="4821684"/>
                  </a:lnTo>
                  <a:lnTo>
                    <a:pt x="8610051" y="4795403"/>
                  </a:lnTo>
                  <a:lnTo>
                    <a:pt x="8592337" y="4769123"/>
                  </a:lnTo>
                  <a:lnTo>
                    <a:pt x="8572665" y="4744345"/>
                  </a:lnTo>
                  <a:lnTo>
                    <a:pt x="8550203" y="4723308"/>
                  </a:lnTo>
                  <a:lnTo>
                    <a:pt x="8527741" y="4702276"/>
                  </a:lnTo>
                  <a:lnTo>
                    <a:pt x="8502839" y="4684674"/>
                  </a:lnTo>
                  <a:lnTo>
                    <a:pt x="8478115" y="4671623"/>
                  </a:lnTo>
                  <a:lnTo>
                    <a:pt x="8449485" y="4672982"/>
                  </a:lnTo>
                  <a:lnTo>
                    <a:pt x="8428823" y="4678000"/>
                  </a:lnTo>
                  <a:lnTo>
                    <a:pt x="8396819" y="4689726"/>
                  </a:lnTo>
                  <a:lnTo>
                    <a:pt x="8376098" y="4704269"/>
                  </a:lnTo>
                  <a:lnTo>
                    <a:pt x="8357624" y="4718553"/>
                  </a:lnTo>
                  <a:lnTo>
                    <a:pt x="8320330" y="4731472"/>
                  </a:lnTo>
                  <a:lnTo>
                    <a:pt x="8283519" y="4709347"/>
                  </a:lnTo>
                  <a:lnTo>
                    <a:pt x="8238528" y="4688625"/>
                  </a:lnTo>
                  <a:lnTo>
                    <a:pt x="8196550" y="4678423"/>
                  </a:lnTo>
                  <a:lnTo>
                    <a:pt x="8208534" y="4633281"/>
                  </a:lnTo>
                  <a:lnTo>
                    <a:pt x="8221823" y="4546953"/>
                  </a:lnTo>
                  <a:lnTo>
                    <a:pt x="8216955" y="4502959"/>
                  </a:lnTo>
                  <a:lnTo>
                    <a:pt x="8209009" y="4459855"/>
                  </a:lnTo>
                  <a:lnTo>
                    <a:pt x="8289131" y="4450542"/>
                  </a:lnTo>
                  <a:lnTo>
                    <a:pt x="8366428" y="4438672"/>
                  </a:lnTo>
                  <a:lnTo>
                    <a:pt x="8435947" y="4419988"/>
                  </a:lnTo>
                  <a:lnTo>
                    <a:pt x="8480284" y="4408071"/>
                  </a:lnTo>
                  <a:lnTo>
                    <a:pt x="8518356" y="4397045"/>
                  </a:lnTo>
                  <a:lnTo>
                    <a:pt x="8547479" y="4376455"/>
                  </a:lnTo>
                  <a:lnTo>
                    <a:pt x="8574275" y="4353512"/>
                  </a:lnTo>
                  <a:lnTo>
                    <a:pt x="8594145" y="4320511"/>
                  </a:lnTo>
                  <a:lnTo>
                    <a:pt x="8602580" y="4299855"/>
                  </a:lnTo>
                  <a:lnTo>
                    <a:pt x="8607328" y="4274445"/>
                  </a:lnTo>
                  <a:lnTo>
                    <a:pt x="8605977" y="4231387"/>
                  </a:lnTo>
                  <a:lnTo>
                    <a:pt x="8608680" y="4192629"/>
                  </a:lnTo>
                  <a:lnTo>
                    <a:pt x="8614260" y="4171241"/>
                  </a:lnTo>
                  <a:lnTo>
                    <a:pt x="8614002" y="4130093"/>
                  </a:lnTo>
                  <a:lnTo>
                    <a:pt x="8591005" y="4094898"/>
                  </a:lnTo>
                  <a:lnTo>
                    <a:pt x="8551371" y="4060106"/>
                  </a:lnTo>
                  <a:lnTo>
                    <a:pt x="8509440" y="4026505"/>
                  </a:lnTo>
                  <a:lnTo>
                    <a:pt x="8471307" y="3990162"/>
                  </a:lnTo>
                  <a:lnTo>
                    <a:pt x="8450758" y="3970589"/>
                  </a:lnTo>
                  <a:lnTo>
                    <a:pt x="8436176" y="3941068"/>
                  </a:lnTo>
                  <a:lnTo>
                    <a:pt x="8411460" y="3926233"/>
                  </a:lnTo>
                  <a:lnTo>
                    <a:pt x="8389934" y="3913332"/>
                  </a:lnTo>
                  <a:lnTo>
                    <a:pt x="8366428" y="3907424"/>
                  </a:lnTo>
                  <a:lnTo>
                    <a:pt x="8344811" y="3896309"/>
                  </a:lnTo>
                  <a:lnTo>
                    <a:pt x="8319672" y="3877351"/>
                  </a:lnTo>
                  <a:lnTo>
                    <a:pt x="8140785" y="3805175"/>
                  </a:lnTo>
                  <a:lnTo>
                    <a:pt x="8112129" y="3759227"/>
                  </a:lnTo>
                  <a:lnTo>
                    <a:pt x="8058064" y="3687518"/>
                  </a:lnTo>
                  <a:lnTo>
                    <a:pt x="8005740" y="3647073"/>
                  </a:lnTo>
                  <a:lnTo>
                    <a:pt x="7947632" y="3602506"/>
                  </a:lnTo>
                  <a:lnTo>
                    <a:pt x="7916947" y="3578968"/>
                  </a:lnTo>
                  <a:lnTo>
                    <a:pt x="7898666" y="3549458"/>
                  </a:lnTo>
                  <a:lnTo>
                    <a:pt x="7895308" y="3511308"/>
                  </a:lnTo>
                  <a:lnTo>
                    <a:pt x="7891867" y="3469206"/>
                  </a:lnTo>
                  <a:lnTo>
                    <a:pt x="7863193" y="3440345"/>
                  </a:lnTo>
                  <a:lnTo>
                    <a:pt x="7833376" y="3427040"/>
                  </a:lnTo>
                  <a:lnTo>
                    <a:pt x="7803560" y="3413736"/>
                  </a:lnTo>
                  <a:lnTo>
                    <a:pt x="7770969" y="3402142"/>
                  </a:lnTo>
                  <a:lnTo>
                    <a:pt x="7740691" y="3380899"/>
                  </a:lnTo>
                  <a:lnTo>
                    <a:pt x="7731618" y="3354992"/>
                  </a:lnTo>
                  <a:lnTo>
                    <a:pt x="7723203" y="3334547"/>
                  </a:lnTo>
                  <a:lnTo>
                    <a:pt x="7707783" y="3297077"/>
                  </a:lnTo>
                  <a:lnTo>
                    <a:pt x="7710513" y="3265134"/>
                  </a:lnTo>
                  <a:lnTo>
                    <a:pt x="7720485" y="3233892"/>
                  </a:lnTo>
                  <a:lnTo>
                    <a:pt x="7730456" y="3202650"/>
                  </a:lnTo>
                  <a:lnTo>
                    <a:pt x="7747412" y="3172364"/>
                  </a:lnTo>
                  <a:lnTo>
                    <a:pt x="7759929" y="3138678"/>
                  </a:lnTo>
                  <a:lnTo>
                    <a:pt x="7771212" y="3108329"/>
                  </a:lnTo>
                  <a:lnTo>
                    <a:pt x="7788155" y="3074366"/>
                  </a:lnTo>
                  <a:lnTo>
                    <a:pt x="7792574" y="3042104"/>
                  </a:lnTo>
                  <a:lnTo>
                    <a:pt x="7755359" y="3037726"/>
                  </a:lnTo>
                  <a:lnTo>
                    <a:pt x="7701571" y="3097299"/>
                  </a:lnTo>
                  <a:lnTo>
                    <a:pt x="7664718" y="3115555"/>
                  </a:lnTo>
                  <a:lnTo>
                    <a:pt x="7632179" y="3119903"/>
                  </a:lnTo>
                  <a:lnTo>
                    <a:pt x="7592445" y="3119668"/>
                  </a:lnTo>
                  <a:lnTo>
                    <a:pt x="7561343" y="3107394"/>
                  </a:lnTo>
                  <a:lnTo>
                    <a:pt x="7532293" y="3092010"/>
                  </a:lnTo>
                  <a:lnTo>
                    <a:pt x="7514216" y="3065649"/>
                  </a:lnTo>
                  <a:lnTo>
                    <a:pt x="7511011" y="3027141"/>
                  </a:lnTo>
                  <a:lnTo>
                    <a:pt x="7481617" y="3011829"/>
                  </a:lnTo>
                  <a:lnTo>
                    <a:pt x="7460685" y="3018980"/>
                  </a:lnTo>
                  <a:lnTo>
                    <a:pt x="7445899" y="3034110"/>
                  </a:lnTo>
                  <a:lnTo>
                    <a:pt x="7429043" y="3066253"/>
                  </a:lnTo>
                  <a:lnTo>
                    <a:pt x="7422375" y="3093813"/>
                  </a:lnTo>
                  <a:lnTo>
                    <a:pt x="7369491" y="3149751"/>
                  </a:lnTo>
                  <a:lnTo>
                    <a:pt x="7334624" y="3165276"/>
                  </a:lnTo>
                  <a:lnTo>
                    <a:pt x="7305626" y="3160442"/>
                  </a:lnTo>
                  <a:lnTo>
                    <a:pt x="7278719" y="3144699"/>
                  </a:lnTo>
                  <a:lnTo>
                    <a:pt x="7252576" y="3134597"/>
                  </a:lnTo>
                  <a:lnTo>
                    <a:pt x="7216766" y="3120769"/>
                  </a:lnTo>
                  <a:lnTo>
                    <a:pt x="7173603" y="3121062"/>
                  </a:lnTo>
                  <a:lnTo>
                    <a:pt x="7131520" y="3129157"/>
                  </a:lnTo>
                  <a:lnTo>
                    <a:pt x="7089432" y="3137252"/>
                  </a:lnTo>
                  <a:lnTo>
                    <a:pt x="7047304" y="3153248"/>
                  </a:lnTo>
                  <a:lnTo>
                    <a:pt x="7015898" y="3172683"/>
                  </a:lnTo>
                  <a:lnTo>
                    <a:pt x="6996542" y="3193925"/>
                  </a:lnTo>
                  <a:lnTo>
                    <a:pt x="6987772" y="3226465"/>
                  </a:lnTo>
                  <a:lnTo>
                    <a:pt x="6977813" y="3255655"/>
                  </a:lnTo>
                  <a:lnTo>
                    <a:pt x="6968613" y="3283990"/>
                  </a:lnTo>
                  <a:lnTo>
                    <a:pt x="6954374" y="3306212"/>
                  </a:lnTo>
                  <a:lnTo>
                    <a:pt x="6932928" y="3318224"/>
                  </a:lnTo>
                  <a:lnTo>
                    <a:pt x="6895746" y="3307964"/>
                  </a:lnTo>
                  <a:lnTo>
                    <a:pt x="6866742" y="3284958"/>
                  </a:lnTo>
                  <a:lnTo>
                    <a:pt x="6845876" y="3252934"/>
                  </a:lnTo>
                  <a:lnTo>
                    <a:pt x="6827884" y="3218824"/>
                  </a:lnTo>
                  <a:lnTo>
                    <a:pt x="6821316" y="3176710"/>
                  </a:lnTo>
                  <a:lnTo>
                    <a:pt x="6828194" y="3141399"/>
                  </a:lnTo>
                  <a:lnTo>
                    <a:pt x="6838839" y="3086756"/>
                  </a:lnTo>
                  <a:lnTo>
                    <a:pt x="6860668" y="3019257"/>
                  </a:lnTo>
                  <a:lnTo>
                    <a:pt x="6858115" y="2963212"/>
                  </a:lnTo>
                  <a:lnTo>
                    <a:pt x="6855689" y="2910270"/>
                  </a:lnTo>
                  <a:lnTo>
                    <a:pt x="6846192" y="2877988"/>
                  </a:lnTo>
                  <a:lnTo>
                    <a:pt x="6849957" y="2816311"/>
                  </a:lnTo>
                  <a:lnTo>
                    <a:pt x="6853229" y="2763072"/>
                  </a:lnTo>
                  <a:lnTo>
                    <a:pt x="6874036" y="2708473"/>
                  </a:lnTo>
                  <a:lnTo>
                    <a:pt x="6873079" y="2655808"/>
                  </a:lnTo>
                  <a:lnTo>
                    <a:pt x="6872017" y="2596480"/>
                  </a:lnTo>
                  <a:lnTo>
                    <a:pt x="6852029" y="2539308"/>
                  </a:lnTo>
                  <a:lnTo>
                    <a:pt x="6834994" y="2481702"/>
                  </a:lnTo>
                  <a:lnTo>
                    <a:pt x="6826480" y="2452899"/>
                  </a:lnTo>
                  <a:lnTo>
                    <a:pt x="6819073" y="2424186"/>
                  </a:lnTo>
                  <a:lnTo>
                    <a:pt x="6814589" y="2394649"/>
                  </a:lnTo>
                  <a:lnTo>
                    <a:pt x="6810111" y="2365113"/>
                  </a:lnTo>
                  <a:lnTo>
                    <a:pt x="6809676" y="2334561"/>
                  </a:lnTo>
                  <a:lnTo>
                    <a:pt x="6814589" y="2303516"/>
                  </a:lnTo>
                  <a:lnTo>
                    <a:pt x="6820169" y="2268230"/>
                  </a:lnTo>
                  <a:lnTo>
                    <a:pt x="6839057" y="2241314"/>
                  </a:lnTo>
                  <a:lnTo>
                    <a:pt x="6863557" y="2216463"/>
                  </a:lnTo>
                  <a:lnTo>
                    <a:pt x="6888063" y="2191611"/>
                  </a:lnTo>
                  <a:lnTo>
                    <a:pt x="6917825" y="2169578"/>
                  </a:lnTo>
                  <a:lnTo>
                    <a:pt x="6943810" y="2147093"/>
                  </a:lnTo>
                  <a:lnTo>
                    <a:pt x="6969794" y="2124609"/>
                  </a:lnTo>
                  <a:lnTo>
                    <a:pt x="6992276" y="2100467"/>
                  </a:lnTo>
                  <a:lnTo>
                    <a:pt x="7002300" y="2072282"/>
                  </a:lnTo>
                  <a:lnTo>
                    <a:pt x="7008631" y="2043066"/>
                  </a:lnTo>
                  <a:lnTo>
                    <a:pt x="7004126" y="2009005"/>
                  </a:lnTo>
                  <a:lnTo>
                    <a:pt x="6985971" y="1970267"/>
                  </a:lnTo>
                  <a:lnTo>
                    <a:pt x="6961141" y="1949174"/>
                  </a:lnTo>
                  <a:lnTo>
                    <a:pt x="6937689" y="1943262"/>
                  </a:lnTo>
                  <a:lnTo>
                    <a:pt x="6898232" y="1937422"/>
                  </a:lnTo>
                  <a:lnTo>
                    <a:pt x="6871714" y="1926741"/>
                  </a:lnTo>
                  <a:lnTo>
                    <a:pt x="6860344" y="1898804"/>
                  </a:lnTo>
                  <a:lnTo>
                    <a:pt x="6858610" y="1862185"/>
                  </a:lnTo>
                  <a:lnTo>
                    <a:pt x="6847234" y="1835607"/>
                  </a:lnTo>
                  <a:lnTo>
                    <a:pt x="6827172" y="1849762"/>
                  </a:lnTo>
                  <a:lnTo>
                    <a:pt x="6791461" y="1855628"/>
                  </a:lnTo>
                  <a:lnTo>
                    <a:pt x="6768339" y="1853290"/>
                  </a:lnTo>
                  <a:lnTo>
                    <a:pt x="6740397" y="1850456"/>
                  </a:lnTo>
                  <a:lnTo>
                    <a:pt x="6705773" y="1836968"/>
                  </a:lnTo>
                  <a:lnTo>
                    <a:pt x="6680541" y="1820054"/>
                  </a:lnTo>
                  <a:lnTo>
                    <a:pt x="6662372" y="1781022"/>
                  </a:lnTo>
                  <a:lnTo>
                    <a:pt x="6664720" y="1744049"/>
                  </a:lnTo>
                  <a:lnTo>
                    <a:pt x="6663605" y="1694147"/>
                  </a:lnTo>
                  <a:lnTo>
                    <a:pt x="6654590" y="1600782"/>
                  </a:lnTo>
                  <a:lnTo>
                    <a:pt x="6658230" y="1538531"/>
                  </a:lnTo>
                  <a:lnTo>
                    <a:pt x="6666329" y="1453392"/>
                  </a:lnTo>
                  <a:lnTo>
                    <a:pt x="6673966" y="1373076"/>
                  </a:lnTo>
                  <a:lnTo>
                    <a:pt x="6680845" y="1332230"/>
                  </a:lnTo>
                  <a:lnTo>
                    <a:pt x="6698974" y="1294249"/>
                  </a:lnTo>
                  <a:lnTo>
                    <a:pt x="6717104" y="1256267"/>
                  </a:lnTo>
                  <a:lnTo>
                    <a:pt x="6746629" y="1219996"/>
                  </a:lnTo>
                  <a:lnTo>
                    <a:pt x="6796908" y="1151428"/>
                  </a:lnTo>
                  <a:lnTo>
                    <a:pt x="6835792" y="1098397"/>
                  </a:lnTo>
                  <a:lnTo>
                    <a:pt x="6871292" y="1043738"/>
                  </a:lnTo>
                  <a:lnTo>
                    <a:pt x="6920688" y="999085"/>
                  </a:lnTo>
                  <a:lnTo>
                    <a:pt x="6950992" y="971690"/>
                  </a:lnTo>
                  <a:lnTo>
                    <a:pt x="6986742" y="948715"/>
                  </a:lnTo>
                  <a:lnTo>
                    <a:pt x="7018622" y="922914"/>
                  </a:lnTo>
                  <a:lnTo>
                    <a:pt x="7040372" y="905317"/>
                  </a:lnTo>
                  <a:lnTo>
                    <a:pt x="7070016" y="866896"/>
                  </a:lnTo>
                  <a:lnTo>
                    <a:pt x="7094794" y="826340"/>
                  </a:lnTo>
                  <a:lnTo>
                    <a:pt x="7119570" y="785784"/>
                  </a:lnTo>
                  <a:lnTo>
                    <a:pt x="7140008" y="742305"/>
                  </a:lnTo>
                  <a:lnTo>
                    <a:pt x="7143760" y="714803"/>
                  </a:lnTo>
                  <a:lnTo>
                    <a:pt x="7147691" y="685921"/>
                  </a:lnTo>
                  <a:lnTo>
                    <a:pt x="7129245" y="667792"/>
                  </a:lnTo>
                  <a:lnTo>
                    <a:pt x="7121997" y="644073"/>
                  </a:lnTo>
                  <a:lnTo>
                    <a:pt x="7110687" y="607125"/>
                  </a:lnTo>
                  <a:lnTo>
                    <a:pt x="7093415" y="567876"/>
                  </a:lnTo>
                  <a:lnTo>
                    <a:pt x="7089353" y="531177"/>
                  </a:lnTo>
                  <a:lnTo>
                    <a:pt x="7088436" y="494820"/>
                  </a:lnTo>
                  <a:lnTo>
                    <a:pt x="7101151" y="461438"/>
                  </a:lnTo>
                  <a:lnTo>
                    <a:pt x="7132879" y="431882"/>
                  </a:lnTo>
                  <a:lnTo>
                    <a:pt x="7221778" y="391076"/>
                  </a:lnTo>
                  <a:lnTo>
                    <a:pt x="7209083" y="364999"/>
                  </a:lnTo>
                  <a:lnTo>
                    <a:pt x="7108887" y="360674"/>
                  </a:lnTo>
                  <a:lnTo>
                    <a:pt x="7009099" y="357072"/>
                  </a:lnTo>
                  <a:lnTo>
                    <a:pt x="6909312" y="353469"/>
                  </a:lnTo>
                  <a:lnTo>
                    <a:pt x="6809933" y="349484"/>
                  </a:lnTo>
                  <a:lnTo>
                    <a:pt x="6795550" y="333948"/>
                  </a:lnTo>
                  <a:lnTo>
                    <a:pt x="6791909" y="302353"/>
                  </a:lnTo>
                  <a:lnTo>
                    <a:pt x="6794191" y="278180"/>
                  </a:lnTo>
                  <a:lnTo>
                    <a:pt x="6800403" y="240129"/>
                  </a:lnTo>
                  <a:lnTo>
                    <a:pt x="6805073" y="214250"/>
                  </a:lnTo>
                  <a:lnTo>
                    <a:pt x="6772474" y="210557"/>
                  </a:lnTo>
                  <a:lnTo>
                    <a:pt x="6632965" y="184093"/>
                  </a:lnTo>
                  <a:lnTo>
                    <a:pt x="6542404" y="217715"/>
                  </a:lnTo>
                  <a:lnTo>
                    <a:pt x="6431016" y="214250"/>
                  </a:lnTo>
                  <a:lnTo>
                    <a:pt x="6376542" y="212550"/>
                  </a:lnTo>
                  <a:lnTo>
                    <a:pt x="6323348" y="189257"/>
                  </a:lnTo>
                  <a:lnTo>
                    <a:pt x="6269151" y="184326"/>
                  </a:lnTo>
                  <a:lnTo>
                    <a:pt x="6231429" y="180883"/>
                  </a:lnTo>
                  <a:lnTo>
                    <a:pt x="6191344" y="191956"/>
                  </a:lnTo>
                  <a:lnTo>
                    <a:pt x="6153536" y="189767"/>
                  </a:lnTo>
                  <a:lnTo>
                    <a:pt x="6115622" y="187556"/>
                  </a:lnTo>
                  <a:lnTo>
                    <a:pt x="6089671" y="167579"/>
                  </a:lnTo>
                  <a:lnTo>
                    <a:pt x="6058319" y="151681"/>
                  </a:lnTo>
                  <a:lnTo>
                    <a:pt x="6035434" y="140056"/>
                  </a:lnTo>
                  <a:lnTo>
                    <a:pt x="6006252" y="132448"/>
                  </a:lnTo>
                  <a:lnTo>
                    <a:pt x="5982148" y="123117"/>
                  </a:lnTo>
                  <a:lnTo>
                    <a:pt x="5922088" y="99823"/>
                  </a:lnTo>
                  <a:lnTo>
                    <a:pt x="5781649" y="12134"/>
                  </a:lnTo>
                  <a:lnTo>
                    <a:pt x="5722354" y="14301"/>
                  </a:lnTo>
                </a:path>
              </a:pathLst>
            </a:custGeom>
            <a:solidFill>
              <a:schemeClr val="tx2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63" name="Kherson¬0" descr="Kherson¬0">
              <a:extLst>
                <a:ext uri="{FF2B5EF4-FFF2-40B4-BE49-F238E27FC236}">
                  <a16:creationId xmlns:a16="http://schemas.microsoft.com/office/drawing/2014/main" id="{93E16E39-26AA-48CB-9DA1-0DF7E198A7B1}"/>
                </a:ext>
              </a:extLst>
            </p:cNvPr>
            <p:cNvSpPr/>
            <p:nvPr/>
          </p:nvSpPr>
          <p:spPr>
            <a:xfrm>
              <a:off x="4473453" y="4046980"/>
              <a:ext cx="154705" cy="26026"/>
            </a:xfrm>
            <a:custGeom>
              <a:avLst/>
              <a:gdLst/>
              <a:ahLst/>
              <a:cxnLst/>
              <a:rect l="0" t="0" r="0" b="0"/>
              <a:pathLst>
                <a:path w="1578683" h="301481">
                  <a:moveTo>
                    <a:pt x="1312934" y="144457"/>
                  </a:moveTo>
                  <a:lnTo>
                    <a:pt x="1328874" y="181651"/>
                  </a:lnTo>
                  <a:lnTo>
                    <a:pt x="1373712" y="177912"/>
                  </a:lnTo>
                  <a:lnTo>
                    <a:pt x="1422936" y="173791"/>
                  </a:lnTo>
                  <a:lnTo>
                    <a:pt x="1457626" y="129710"/>
                  </a:lnTo>
                  <a:lnTo>
                    <a:pt x="1513563" y="168648"/>
                  </a:lnTo>
                  <a:lnTo>
                    <a:pt x="1578682" y="214000"/>
                  </a:lnTo>
                  <a:lnTo>
                    <a:pt x="1498256" y="276526"/>
                  </a:lnTo>
                  <a:lnTo>
                    <a:pt x="1449803" y="282730"/>
                  </a:lnTo>
                  <a:lnTo>
                    <a:pt x="1303924" y="301480"/>
                  </a:lnTo>
                  <a:lnTo>
                    <a:pt x="1194767" y="250174"/>
                  </a:lnTo>
                  <a:lnTo>
                    <a:pt x="1053734" y="239034"/>
                  </a:lnTo>
                  <a:lnTo>
                    <a:pt x="986907" y="233766"/>
                  </a:lnTo>
                  <a:lnTo>
                    <a:pt x="904280" y="248004"/>
                  </a:lnTo>
                  <a:lnTo>
                    <a:pt x="845362" y="239567"/>
                  </a:lnTo>
                  <a:lnTo>
                    <a:pt x="779649" y="230169"/>
                  </a:lnTo>
                  <a:lnTo>
                    <a:pt x="722012" y="183288"/>
                  </a:lnTo>
                  <a:lnTo>
                    <a:pt x="652131" y="173295"/>
                  </a:lnTo>
                  <a:lnTo>
                    <a:pt x="612006" y="167559"/>
                  </a:lnTo>
                  <a:lnTo>
                    <a:pt x="471866" y="145499"/>
                  </a:lnTo>
                  <a:lnTo>
                    <a:pt x="441384" y="145499"/>
                  </a:lnTo>
                  <a:lnTo>
                    <a:pt x="397132" y="145499"/>
                  </a:lnTo>
                  <a:lnTo>
                    <a:pt x="349312" y="151790"/>
                  </a:lnTo>
                  <a:lnTo>
                    <a:pt x="305709" y="148605"/>
                  </a:lnTo>
                  <a:lnTo>
                    <a:pt x="269317" y="145967"/>
                  </a:lnTo>
                  <a:lnTo>
                    <a:pt x="110220" y="86079"/>
                  </a:lnTo>
                  <a:lnTo>
                    <a:pt x="66904" y="68945"/>
                  </a:lnTo>
                  <a:lnTo>
                    <a:pt x="0" y="44339"/>
                  </a:lnTo>
                  <a:lnTo>
                    <a:pt x="42887" y="0"/>
                  </a:lnTo>
                  <a:lnTo>
                    <a:pt x="289471" y="81995"/>
                  </a:lnTo>
                  <a:lnTo>
                    <a:pt x="349914" y="99256"/>
                  </a:lnTo>
                  <a:lnTo>
                    <a:pt x="593982" y="129518"/>
                  </a:lnTo>
                  <a:lnTo>
                    <a:pt x="756013" y="116381"/>
                  </a:lnTo>
                  <a:lnTo>
                    <a:pt x="736631" y="51052"/>
                  </a:lnTo>
                  <a:lnTo>
                    <a:pt x="799117" y="34519"/>
                  </a:lnTo>
                  <a:lnTo>
                    <a:pt x="835589" y="35753"/>
                  </a:lnTo>
                  <a:lnTo>
                    <a:pt x="935053" y="43613"/>
                  </a:lnTo>
                  <a:lnTo>
                    <a:pt x="980024" y="108521"/>
                  </a:lnTo>
                  <a:lnTo>
                    <a:pt x="1000302" y="127394"/>
                  </a:lnTo>
                  <a:lnTo>
                    <a:pt x="1066481" y="160502"/>
                  </a:lnTo>
                  <a:lnTo>
                    <a:pt x="1167048" y="39065"/>
                  </a:lnTo>
                  <a:lnTo>
                    <a:pt x="1249347" y="96702"/>
                  </a:lnTo>
                  <a:lnTo>
                    <a:pt x="1273739" y="114812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64" name="Kherson¬1" descr="Kherson¬1">
              <a:extLst>
                <a:ext uri="{FF2B5EF4-FFF2-40B4-BE49-F238E27FC236}">
                  <a16:creationId xmlns:a16="http://schemas.microsoft.com/office/drawing/2014/main" id="{9FB1FF85-D752-44FE-AEC9-964139F34DF9}"/>
                </a:ext>
              </a:extLst>
            </p:cNvPr>
            <p:cNvSpPr/>
            <p:nvPr/>
          </p:nvSpPr>
          <p:spPr>
            <a:xfrm>
              <a:off x="4449923" y="4047107"/>
              <a:ext cx="12392" cy="5075"/>
            </a:xfrm>
            <a:custGeom>
              <a:avLst/>
              <a:gdLst/>
              <a:ahLst/>
              <a:cxnLst/>
              <a:rect l="0" t="0" r="0" b="0"/>
              <a:pathLst>
                <a:path w="126452" h="58788">
                  <a:moveTo>
                    <a:pt x="126451" y="31496"/>
                  </a:moveTo>
                  <a:lnTo>
                    <a:pt x="72984" y="58787"/>
                  </a:lnTo>
                  <a:lnTo>
                    <a:pt x="37703" y="30811"/>
                  </a:lnTo>
                  <a:lnTo>
                    <a:pt x="0" y="20653"/>
                  </a:lnTo>
                  <a:lnTo>
                    <a:pt x="9521" y="726"/>
                  </a:lnTo>
                  <a:lnTo>
                    <a:pt x="40506" y="0"/>
                  </a:lnTo>
                  <a:lnTo>
                    <a:pt x="65757" y="9897"/>
                  </a:lnTo>
                  <a:lnTo>
                    <a:pt x="86456" y="13168"/>
                  </a:lnTo>
                  <a:lnTo>
                    <a:pt x="123350" y="14495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65" name="Kherson¬2" descr="Kherson¬2">
              <a:extLst>
                <a:ext uri="{FF2B5EF4-FFF2-40B4-BE49-F238E27FC236}">
                  <a16:creationId xmlns:a16="http://schemas.microsoft.com/office/drawing/2014/main" id="{92FBE9C7-7D41-451A-BCC9-3ADDF38BC89D}"/>
                </a:ext>
              </a:extLst>
            </p:cNvPr>
            <p:cNvSpPr/>
            <p:nvPr/>
          </p:nvSpPr>
          <p:spPr>
            <a:xfrm>
              <a:off x="4356300" y="3842306"/>
              <a:ext cx="7394" cy="5238"/>
            </a:xfrm>
            <a:custGeom>
              <a:avLst/>
              <a:gdLst/>
              <a:ahLst/>
              <a:cxnLst/>
              <a:rect l="0" t="0" r="0" b="0"/>
              <a:pathLst>
                <a:path w="75454" h="60673">
                  <a:moveTo>
                    <a:pt x="34550" y="2378"/>
                  </a:moveTo>
                  <a:lnTo>
                    <a:pt x="67196" y="9264"/>
                  </a:lnTo>
                  <a:lnTo>
                    <a:pt x="75453" y="40081"/>
                  </a:lnTo>
                  <a:lnTo>
                    <a:pt x="58701" y="57122"/>
                  </a:lnTo>
                  <a:lnTo>
                    <a:pt x="36392" y="60672"/>
                  </a:lnTo>
                  <a:lnTo>
                    <a:pt x="7609" y="52446"/>
                  </a:lnTo>
                  <a:lnTo>
                    <a:pt x="0" y="24566"/>
                  </a:lnTo>
                  <a:lnTo>
                    <a:pt x="17897" y="0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66" name="Kherson¬3" descr="Kherson¬3">
              <a:extLst>
                <a:ext uri="{FF2B5EF4-FFF2-40B4-BE49-F238E27FC236}">
                  <a16:creationId xmlns:a16="http://schemas.microsoft.com/office/drawing/2014/main" id="{E2930833-3033-4F27-8BF7-2E97A1B3C784}"/>
                </a:ext>
              </a:extLst>
            </p:cNvPr>
            <p:cNvSpPr/>
            <p:nvPr/>
          </p:nvSpPr>
          <p:spPr>
            <a:xfrm>
              <a:off x="4367421" y="3850423"/>
              <a:ext cx="18941" cy="8183"/>
            </a:xfrm>
            <a:custGeom>
              <a:avLst/>
              <a:gdLst/>
              <a:ahLst/>
              <a:cxnLst/>
              <a:rect l="0" t="0" r="0" b="0"/>
              <a:pathLst>
                <a:path w="193279" h="94789">
                  <a:moveTo>
                    <a:pt x="193278" y="94788"/>
                  </a:moveTo>
                  <a:lnTo>
                    <a:pt x="39998" y="88965"/>
                  </a:lnTo>
                  <a:lnTo>
                    <a:pt x="0" y="52449"/>
                  </a:lnTo>
                  <a:lnTo>
                    <a:pt x="10241" y="24736"/>
                  </a:lnTo>
                  <a:lnTo>
                    <a:pt x="53597" y="31365"/>
                  </a:lnTo>
                  <a:lnTo>
                    <a:pt x="96999" y="21803"/>
                  </a:lnTo>
                  <a:lnTo>
                    <a:pt x="130073" y="0"/>
                  </a:lnTo>
                  <a:lnTo>
                    <a:pt x="158291" y="15472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67" name="Kherson¬4" descr="Kherson¬4">
              <a:extLst>
                <a:ext uri="{FF2B5EF4-FFF2-40B4-BE49-F238E27FC236}">
                  <a16:creationId xmlns:a16="http://schemas.microsoft.com/office/drawing/2014/main" id="{51838E36-A711-4800-BEB8-F8BC060FDD35}"/>
                </a:ext>
              </a:extLst>
            </p:cNvPr>
            <p:cNvSpPr/>
            <p:nvPr/>
          </p:nvSpPr>
          <p:spPr>
            <a:xfrm>
              <a:off x="4378402" y="3836064"/>
              <a:ext cx="19240" cy="10777"/>
            </a:xfrm>
            <a:custGeom>
              <a:avLst/>
              <a:gdLst/>
              <a:ahLst/>
              <a:cxnLst/>
              <a:rect l="0" t="0" r="0" b="0"/>
              <a:pathLst>
                <a:path w="196336" h="124843">
                  <a:moveTo>
                    <a:pt x="196335" y="49185"/>
                  </a:moveTo>
                  <a:lnTo>
                    <a:pt x="178867" y="82206"/>
                  </a:lnTo>
                  <a:lnTo>
                    <a:pt x="138736" y="110861"/>
                  </a:lnTo>
                  <a:lnTo>
                    <a:pt x="114427" y="102056"/>
                  </a:lnTo>
                  <a:lnTo>
                    <a:pt x="74851" y="93979"/>
                  </a:lnTo>
                  <a:lnTo>
                    <a:pt x="25549" y="124842"/>
                  </a:lnTo>
                  <a:lnTo>
                    <a:pt x="0" y="106226"/>
                  </a:lnTo>
                  <a:lnTo>
                    <a:pt x="16157" y="76259"/>
                  </a:lnTo>
                  <a:lnTo>
                    <a:pt x="48332" y="64610"/>
                  </a:lnTo>
                  <a:lnTo>
                    <a:pt x="87310" y="42425"/>
                  </a:lnTo>
                  <a:lnTo>
                    <a:pt x="114598" y="0"/>
                  </a:lnTo>
                  <a:lnTo>
                    <a:pt x="167181" y="15776"/>
                  </a:lnTo>
                  <a:lnTo>
                    <a:pt x="187710" y="22405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68" name="Kherson¬5" descr="Kherson¬5">
              <a:extLst>
                <a:ext uri="{FF2B5EF4-FFF2-40B4-BE49-F238E27FC236}">
                  <a16:creationId xmlns:a16="http://schemas.microsoft.com/office/drawing/2014/main" id="{27FC609C-9904-47A2-A2ED-DE627745EAF5}"/>
                </a:ext>
              </a:extLst>
            </p:cNvPr>
            <p:cNvSpPr/>
            <p:nvPr/>
          </p:nvSpPr>
          <p:spPr>
            <a:xfrm>
              <a:off x="4366009" y="3835342"/>
              <a:ext cx="13296" cy="10414"/>
            </a:xfrm>
            <a:custGeom>
              <a:avLst/>
              <a:gdLst/>
              <a:ahLst/>
              <a:cxnLst/>
              <a:rect l="0" t="0" r="0" b="0"/>
              <a:pathLst>
                <a:path w="135682" h="120630">
                  <a:moveTo>
                    <a:pt x="67927" y="17767"/>
                  </a:moveTo>
                  <a:lnTo>
                    <a:pt x="115918" y="0"/>
                  </a:lnTo>
                  <a:lnTo>
                    <a:pt x="135681" y="14403"/>
                  </a:lnTo>
                  <a:lnTo>
                    <a:pt x="118712" y="68437"/>
                  </a:lnTo>
                  <a:lnTo>
                    <a:pt x="56108" y="120629"/>
                  </a:lnTo>
                  <a:lnTo>
                    <a:pt x="19552" y="80678"/>
                  </a:lnTo>
                  <a:lnTo>
                    <a:pt x="9521" y="61169"/>
                  </a:lnTo>
                  <a:lnTo>
                    <a:pt x="0" y="31366"/>
                  </a:lnTo>
                  <a:lnTo>
                    <a:pt x="29799" y="19041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69" name="Kherson¬6" descr="Kherson¬6">
              <a:extLst>
                <a:ext uri="{FF2B5EF4-FFF2-40B4-BE49-F238E27FC236}">
                  <a16:creationId xmlns:a16="http://schemas.microsoft.com/office/drawing/2014/main" id="{CDE2F69F-7814-48AB-9784-9E8ED5127D35}"/>
                </a:ext>
              </a:extLst>
            </p:cNvPr>
            <p:cNvSpPr/>
            <p:nvPr/>
          </p:nvSpPr>
          <p:spPr>
            <a:xfrm>
              <a:off x="4385249" y="3824336"/>
              <a:ext cx="13097" cy="6499"/>
            </a:xfrm>
            <a:custGeom>
              <a:avLst/>
              <a:gdLst/>
              <a:ahLst/>
              <a:cxnLst/>
              <a:rect l="0" t="0" r="0" b="0"/>
              <a:pathLst>
                <a:path w="133645" h="75283">
                  <a:moveTo>
                    <a:pt x="46552" y="25676"/>
                  </a:moveTo>
                  <a:lnTo>
                    <a:pt x="76693" y="17180"/>
                  </a:lnTo>
                  <a:lnTo>
                    <a:pt x="98707" y="0"/>
                  </a:lnTo>
                  <a:lnTo>
                    <a:pt x="125152" y="2849"/>
                  </a:lnTo>
                  <a:lnTo>
                    <a:pt x="133644" y="27759"/>
                  </a:lnTo>
                  <a:lnTo>
                    <a:pt x="117620" y="73369"/>
                  </a:lnTo>
                  <a:lnTo>
                    <a:pt x="43789" y="75282"/>
                  </a:lnTo>
                  <a:lnTo>
                    <a:pt x="5150" y="64784"/>
                  </a:lnTo>
                  <a:lnTo>
                    <a:pt x="0" y="33926"/>
                  </a:lnTo>
                  <a:lnTo>
                    <a:pt x="18492" y="23124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70" name="Kherson¬7" descr="Kherson¬7">
              <a:extLst>
                <a:ext uri="{FF2B5EF4-FFF2-40B4-BE49-F238E27FC236}">
                  <a16:creationId xmlns:a16="http://schemas.microsoft.com/office/drawing/2014/main" id="{C57454E4-0A8E-497C-ACB4-9B325871614A}"/>
                </a:ext>
              </a:extLst>
            </p:cNvPr>
            <p:cNvSpPr/>
            <p:nvPr/>
          </p:nvSpPr>
          <p:spPr>
            <a:xfrm>
              <a:off x="4358154" y="3824766"/>
              <a:ext cx="13700" cy="6565"/>
            </a:xfrm>
            <a:custGeom>
              <a:avLst/>
              <a:gdLst/>
              <a:ahLst/>
              <a:cxnLst/>
              <a:rect l="0" t="0" r="0" b="0"/>
              <a:pathLst>
                <a:path w="139800" h="76046">
                  <a:moveTo>
                    <a:pt x="67326" y="16325"/>
                  </a:moveTo>
                  <a:lnTo>
                    <a:pt x="123437" y="6887"/>
                  </a:lnTo>
                  <a:lnTo>
                    <a:pt x="139799" y="44379"/>
                  </a:lnTo>
                  <a:lnTo>
                    <a:pt x="88410" y="71707"/>
                  </a:lnTo>
                  <a:lnTo>
                    <a:pt x="12241" y="76045"/>
                  </a:lnTo>
                  <a:lnTo>
                    <a:pt x="0" y="19726"/>
                  </a:lnTo>
                  <a:lnTo>
                    <a:pt x="24479" y="0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71" name="Kherson¬8" descr="Kherson¬8">
              <a:extLst>
                <a:ext uri="{FF2B5EF4-FFF2-40B4-BE49-F238E27FC236}">
                  <a16:creationId xmlns:a16="http://schemas.microsoft.com/office/drawing/2014/main" id="{F1C3EDA3-008D-484F-B09E-8B6BBC110190}"/>
                </a:ext>
              </a:extLst>
            </p:cNvPr>
            <p:cNvSpPr/>
            <p:nvPr/>
          </p:nvSpPr>
          <p:spPr>
            <a:xfrm>
              <a:off x="4165895" y="3885301"/>
              <a:ext cx="11638" cy="18902"/>
            </a:xfrm>
            <a:custGeom>
              <a:avLst/>
              <a:gdLst/>
              <a:ahLst/>
              <a:cxnLst/>
              <a:rect l="0" t="0" r="0" b="0"/>
              <a:pathLst>
                <a:path w="118757" h="218952">
                  <a:moveTo>
                    <a:pt x="97210" y="218951"/>
                  </a:moveTo>
                  <a:lnTo>
                    <a:pt x="77782" y="205736"/>
                  </a:lnTo>
                  <a:lnTo>
                    <a:pt x="75211" y="159484"/>
                  </a:lnTo>
                  <a:lnTo>
                    <a:pt x="64328" y="138745"/>
                  </a:lnTo>
                  <a:lnTo>
                    <a:pt x="49709" y="110985"/>
                  </a:lnTo>
                  <a:lnTo>
                    <a:pt x="7225" y="68693"/>
                  </a:lnTo>
                  <a:lnTo>
                    <a:pt x="589" y="40090"/>
                  </a:lnTo>
                  <a:lnTo>
                    <a:pt x="0" y="13816"/>
                  </a:lnTo>
                  <a:lnTo>
                    <a:pt x="18058" y="0"/>
                  </a:lnTo>
                  <a:lnTo>
                    <a:pt x="51495" y="66907"/>
                  </a:lnTo>
                  <a:lnTo>
                    <a:pt x="118756" y="154130"/>
                  </a:lnTo>
                  <a:lnTo>
                    <a:pt x="110580" y="209732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72" name="Kherson¬9" descr="Kherson¬9">
              <a:extLst>
                <a:ext uri="{FF2B5EF4-FFF2-40B4-BE49-F238E27FC236}">
                  <a16:creationId xmlns:a16="http://schemas.microsoft.com/office/drawing/2014/main" id="{305D1B1A-0144-4861-A701-DA2A428D4B6D}"/>
                </a:ext>
              </a:extLst>
            </p:cNvPr>
            <p:cNvSpPr/>
            <p:nvPr/>
          </p:nvSpPr>
          <p:spPr>
            <a:xfrm>
              <a:off x="4087813" y="3907663"/>
              <a:ext cx="229844" cy="103451"/>
            </a:xfrm>
            <a:custGeom>
              <a:avLst/>
              <a:gdLst/>
              <a:ahLst/>
              <a:cxnLst/>
              <a:rect l="0" t="0" r="0" b="0"/>
              <a:pathLst>
                <a:path w="2345427" h="1198349">
                  <a:moveTo>
                    <a:pt x="618868" y="705008"/>
                  </a:moveTo>
                  <a:lnTo>
                    <a:pt x="665069" y="726734"/>
                  </a:lnTo>
                  <a:lnTo>
                    <a:pt x="723348" y="741651"/>
                  </a:lnTo>
                  <a:lnTo>
                    <a:pt x="778139" y="755678"/>
                  </a:lnTo>
                  <a:lnTo>
                    <a:pt x="842665" y="765755"/>
                  </a:lnTo>
                  <a:lnTo>
                    <a:pt x="899136" y="767879"/>
                  </a:lnTo>
                  <a:lnTo>
                    <a:pt x="941812" y="764480"/>
                  </a:lnTo>
                  <a:lnTo>
                    <a:pt x="979785" y="771618"/>
                  </a:lnTo>
                  <a:lnTo>
                    <a:pt x="998193" y="783856"/>
                  </a:lnTo>
                  <a:lnTo>
                    <a:pt x="1019401" y="786411"/>
                  </a:lnTo>
                  <a:lnTo>
                    <a:pt x="1059895" y="785136"/>
                  </a:lnTo>
                  <a:lnTo>
                    <a:pt x="1130263" y="794909"/>
                  </a:lnTo>
                  <a:lnTo>
                    <a:pt x="1184880" y="801287"/>
                  </a:lnTo>
                  <a:lnTo>
                    <a:pt x="1234232" y="811067"/>
                  </a:lnTo>
                  <a:lnTo>
                    <a:pt x="1263479" y="816852"/>
                  </a:lnTo>
                  <a:lnTo>
                    <a:pt x="1296801" y="851402"/>
                  </a:lnTo>
                  <a:lnTo>
                    <a:pt x="1331906" y="861947"/>
                  </a:lnTo>
                  <a:lnTo>
                    <a:pt x="1366168" y="872235"/>
                  </a:lnTo>
                  <a:lnTo>
                    <a:pt x="1405527" y="862081"/>
                  </a:lnTo>
                  <a:lnTo>
                    <a:pt x="1437748" y="871175"/>
                  </a:lnTo>
                  <a:lnTo>
                    <a:pt x="1473836" y="891611"/>
                  </a:lnTo>
                  <a:lnTo>
                    <a:pt x="1535940" y="905216"/>
                  </a:lnTo>
                  <a:lnTo>
                    <a:pt x="1581333" y="903219"/>
                  </a:lnTo>
                  <a:lnTo>
                    <a:pt x="1624865" y="914356"/>
                  </a:lnTo>
                  <a:lnTo>
                    <a:pt x="1703707" y="934591"/>
                  </a:lnTo>
                  <a:lnTo>
                    <a:pt x="1772019" y="981475"/>
                  </a:lnTo>
                  <a:lnTo>
                    <a:pt x="1848954" y="1000729"/>
                  </a:lnTo>
                  <a:lnTo>
                    <a:pt x="1925975" y="1019987"/>
                  </a:lnTo>
                  <a:lnTo>
                    <a:pt x="1998151" y="995586"/>
                  </a:lnTo>
                  <a:lnTo>
                    <a:pt x="2093618" y="1037707"/>
                  </a:lnTo>
                  <a:lnTo>
                    <a:pt x="2113852" y="1046677"/>
                  </a:lnTo>
                  <a:lnTo>
                    <a:pt x="2191429" y="1087785"/>
                  </a:lnTo>
                  <a:lnTo>
                    <a:pt x="2232704" y="1115495"/>
                  </a:lnTo>
                  <a:lnTo>
                    <a:pt x="2250597" y="1138281"/>
                  </a:lnTo>
                  <a:lnTo>
                    <a:pt x="2276568" y="1153371"/>
                  </a:lnTo>
                  <a:lnTo>
                    <a:pt x="2298753" y="1166251"/>
                  </a:lnTo>
                  <a:lnTo>
                    <a:pt x="2323663" y="1173603"/>
                  </a:lnTo>
                  <a:lnTo>
                    <a:pt x="2345426" y="1187289"/>
                  </a:lnTo>
                  <a:lnTo>
                    <a:pt x="2309726" y="1198348"/>
                  </a:lnTo>
                  <a:lnTo>
                    <a:pt x="2273210" y="1175516"/>
                  </a:lnTo>
                  <a:lnTo>
                    <a:pt x="2238530" y="1161061"/>
                  </a:lnTo>
                  <a:lnTo>
                    <a:pt x="2196657" y="1143635"/>
                  </a:lnTo>
                  <a:lnTo>
                    <a:pt x="2154662" y="1124635"/>
                  </a:lnTo>
                  <a:lnTo>
                    <a:pt x="2112116" y="1108648"/>
                  </a:lnTo>
                  <a:lnTo>
                    <a:pt x="2054516" y="1087019"/>
                  </a:lnTo>
                  <a:lnTo>
                    <a:pt x="1989181" y="1076902"/>
                  </a:lnTo>
                  <a:lnTo>
                    <a:pt x="1932229" y="1053142"/>
                  </a:lnTo>
                  <a:lnTo>
                    <a:pt x="1903620" y="1041236"/>
                  </a:lnTo>
                  <a:lnTo>
                    <a:pt x="1868087" y="1023385"/>
                  </a:lnTo>
                  <a:lnTo>
                    <a:pt x="1837652" y="1017687"/>
                  </a:lnTo>
                  <a:lnTo>
                    <a:pt x="1808832" y="1017553"/>
                  </a:lnTo>
                  <a:lnTo>
                    <a:pt x="1735252" y="1001021"/>
                  </a:lnTo>
                  <a:lnTo>
                    <a:pt x="1678251" y="971224"/>
                  </a:lnTo>
                  <a:lnTo>
                    <a:pt x="1618661" y="956010"/>
                  </a:lnTo>
                  <a:lnTo>
                    <a:pt x="1571051" y="943809"/>
                  </a:lnTo>
                  <a:lnTo>
                    <a:pt x="1514770" y="948103"/>
                  </a:lnTo>
                  <a:lnTo>
                    <a:pt x="1466531" y="939009"/>
                  </a:lnTo>
                  <a:lnTo>
                    <a:pt x="1396479" y="925919"/>
                  </a:lnTo>
                  <a:lnTo>
                    <a:pt x="1333444" y="890550"/>
                  </a:lnTo>
                  <a:lnTo>
                    <a:pt x="1260965" y="880433"/>
                  </a:lnTo>
                  <a:lnTo>
                    <a:pt x="1174083" y="868319"/>
                  </a:lnTo>
                  <a:lnTo>
                    <a:pt x="1086867" y="859262"/>
                  </a:lnTo>
                  <a:lnTo>
                    <a:pt x="999874" y="846516"/>
                  </a:lnTo>
                  <a:lnTo>
                    <a:pt x="949040" y="839077"/>
                  </a:lnTo>
                  <a:lnTo>
                    <a:pt x="897006" y="839031"/>
                  </a:lnTo>
                  <a:lnTo>
                    <a:pt x="846708" y="826455"/>
                  </a:lnTo>
                  <a:lnTo>
                    <a:pt x="787214" y="811615"/>
                  </a:lnTo>
                  <a:lnTo>
                    <a:pt x="723674" y="794652"/>
                  </a:lnTo>
                  <a:lnTo>
                    <a:pt x="666818" y="770976"/>
                  </a:lnTo>
                  <a:lnTo>
                    <a:pt x="613345" y="748661"/>
                  </a:lnTo>
                  <a:lnTo>
                    <a:pt x="563739" y="718824"/>
                  </a:lnTo>
                  <a:lnTo>
                    <a:pt x="509550" y="698506"/>
                  </a:lnTo>
                  <a:lnTo>
                    <a:pt x="407485" y="660211"/>
                  </a:lnTo>
                  <a:lnTo>
                    <a:pt x="294035" y="636191"/>
                  </a:lnTo>
                  <a:lnTo>
                    <a:pt x="212468" y="559724"/>
                  </a:lnTo>
                  <a:lnTo>
                    <a:pt x="140590" y="492348"/>
                  </a:lnTo>
                  <a:lnTo>
                    <a:pt x="100019" y="360325"/>
                  </a:lnTo>
                  <a:lnTo>
                    <a:pt x="58979" y="272424"/>
                  </a:lnTo>
                  <a:lnTo>
                    <a:pt x="47498" y="247858"/>
                  </a:lnTo>
                  <a:lnTo>
                    <a:pt x="34643" y="224814"/>
                  </a:lnTo>
                  <a:lnTo>
                    <a:pt x="26420" y="198890"/>
                  </a:lnTo>
                  <a:lnTo>
                    <a:pt x="17490" y="170796"/>
                  </a:lnTo>
                  <a:lnTo>
                    <a:pt x="0" y="51987"/>
                  </a:lnTo>
                  <a:lnTo>
                    <a:pt x="8951" y="26228"/>
                  </a:lnTo>
                  <a:lnTo>
                    <a:pt x="26631" y="2341"/>
                  </a:lnTo>
                  <a:lnTo>
                    <a:pt x="63416" y="0"/>
                  </a:lnTo>
                  <a:lnTo>
                    <a:pt x="87858" y="52363"/>
                  </a:lnTo>
                  <a:lnTo>
                    <a:pt x="120548" y="163224"/>
                  </a:lnTo>
                  <a:lnTo>
                    <a:pt x="122014" y="220483"/>
                  </a:lnTo>
                  <a:lnTo>
                    <a:pt x="122693" y="247303"/>
                  </a:lnTo>
                  <a:lnTo>
                    <a:pt x="120827" y="273912"/>
                  </a:lnTo>
                  <a:lnTo>
                    <a:pt x="125093" y="300689"/>
                  </a:lnTo>
                  <a:lnTo>
                    <a:pt x="131232" y="339071"/>
                  </a:lnTo>
                  <a:lnTo>
                    <a:pt x="150068" y="360747"/>
                  </a:lnTo>
                  <a:lnTo>
                    <a:pt x="168263" y="393182"/>
                  </a:lnTo>
                  <a:lnTo>
                    <a:pt x="220542" y="486268"/>
                  </a:lnTo>
                  <a:lnTo>
                    <a:pt x="277924" y="544674"/>
                  </a:lnTo>
                  <a:lnTo>
                    <a:pt x="372842" y="595170"/>
                  </a:lnTo>
                  <a:lnTo>
                    <a:pt x="394903" y="606902"/>
                  </a:lnTo>
                  <a:lnTo>
                    <a:pt x="412651" y="622250"/>
                  </a:lnTo>
                  <a:lnTo>
                    <a:pt x="436556" y="632194"/>
                  </a:lnTo>
                  <a:lnTo>
                    <a:pt x="527757" y="670195"/>
                  </a:lnTo>
                  <a:lnTo>
                    <a:pt x="573512" y="629899"/>
                  </a:lnTo>
                  <a:lnTo>
                    <a:pt x="607200" y="641421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73" name="Kherson¬10" descr="Kherson¬10">
              <a:extLst>
                <a:ext uri="{FF2B5EF4-FFF2-40B4-BE49-F238E27FC236}">
                  <a16:creationId xmlns:a16="http://schemas.microsoft.com/office/drawing/2014/main" id="{25880647-9B1B-4CF9-8DD2-8204056A5025}"/>
                </a:ext>
              </a:extLst>
            </p:cNvPr>
            <p:cNvSpPr/>
            <p:nvPr/>
          </p:nvSpPr>
          <p:spPr>
            <a:xfrm>
              <a:off x="4092077" y="3358150"/>
              <a:ext cx="1236044" cy="834056"/>
            </a:xfrm>
            <a:custGeom>
              <a:avLst/>
              <a:gdLst/>
              <a:ahLst/>
              <a:cxnLst/>
              <a:rect l="0" t="0" r="0" b="0"/>
              <a:pathLst>
                <a:path w="12613150" h="9661476">
                  <a:moveTo>
                    <a:pt x="5518847" y="62948"/>
                  </a:moveTo>
                  <a:lnTo>
                    <a:pt x="5521312" y="121650"/>
                  </a:lnTo>
                  <a:lnTo>
                    <a:pt x="5527854" y="185026"/>
                  </a:lnTo>
                  <a:lnTo>
                    <a:pt x="5557611" y="225321"/>
                  </a:lnTo>
                  <a:lnTo>
                    <a:pt x="5609552" y="248489"/>
                  </a:lnTo>
                  <a:lnTo>
                    <a:pt x="5632589" y="292485"/>
                  </a:lnTo>
                  <a:lnTo>
                    <a:pt x="5642877" y="312164"/>
                  </a:lnTo>
                  <a:lnTo>
                    <a:pt x="5625790" y="349610"/>
                  </a:lnTo>
                  <a:lnTo>
                    <a:pt x="5615691" y="368378"/>
                  </a:lnTo>
                  <a:lnTo>
                    <a:pt x="5603096" y="386290"/>
                  </a:lnTo>
                  <a:lnTo>
                    <a:pt x="5605338" y="432626"/>
                  </a:lnTo>
                  <a:lnTo>
                    <a:pt x="5616299" y="456645"/>
                  </a:lnTo>
                  <a:lnTo>
                    <a:pt x="5628506" y="480188"/>
                  </a:lnTo>
                  <a:lnTo>
                    <a:pt x="5640719" y="503732"/>
                  </a:lnTo>
                  <a:lnTo>
                    <a:pt x="5653757" y="527565"/>
                  </a:lnTo>
                  <a:lnTo>
                    <a:pt x="5657074" y="553644"/>
                  </a:lnTo>
                  <a:lnTo>
                    <a:pt x="5664469" y="611619"/>
                  </a:lnTo>
                  <a:lnTo>
                    <a:pt x="5635141" y="665519"/>
                  </a:lnTo>
                  <a:lnTo>
                    <a:pt x="5638028" y="723664"/>
                  </a:lnTo>
                  <a:lnTo>
                    <a:pt x="5654786" y="768688"/>
                  </a:lnTo>
                  <a:lnTo>
                    <a:pt x="5666599" y="799837"/>
                  </a:lnTo>
                  <a:lnTo>
                    <a:pt x="5678152" y="831056"/>
                  </a:lnTo>
                  <a:lnTo>
                    <a:pt x="5679523" y="858385"/>
                  </a:lnTo>
                  <a:lnTo>
                    <a:pt x="5665232" y="877367"/>
                  </a:lnTo>
                  <a:lnTo>
                    <a:pt x="5643088" y="884383"/>
                  </a:lnTo>
                  <a:lnTo>
                    <a:pt x="5616562" y="889223"/>
                  </a:lnTo>
                  <a:lnTo>
                    <a:pt x="5589069" y="890972"/>
                  </a:lnTo>
                  <a:lnTo>
                    <a:pt x="5561561" y="892711"/>
                  </a:lnTo>
                  <a:lnTo>
                    <a:pt x="5534105" y="890774"/>
                  </a:lnTo>
                  <a:lnTo>
                    <a:pt x="5511533" y="884172"/>
                  </a:lnTo>
                  <a:lnTo>
                    <a:pt x="5494377" y="840699"/>
                  </a:lnTo>
                  <a:lnTo>
                    <a:pt x="5478887" y="794395"/>
                  </a:lnTo>
                  <a:lnTo>
                    <a:pt x="5463396" y="748100"/>
                  </a:lnTo>
                  <a:lnTo>
                    <a:pt x="5443946" y="696975"/>
                  </a:lnTo>
                  <a:lnTo>
                    <a:pt x="5425839" y="676058"/>
                  </a:lnTo>
                  <a:lnTo>
                    <a:pt x="5394597" y="691741"/>
                  </a:lnTo>
                  <a:lnTo>
                    <a:pt x="5395918" y="731822"/>
                  </a:lnTo>
                  <a:lnTo>
                    <a:pt x="5401338" y="774883"/>
                  </a:lnTo>
                  <a:lnTo>
                    <a:pt x="5384843" y="806425"/>
                  </a:lnTo>
                  <a:lnTo>
                    <a:pt x="5351031" y="817516"/>
                  </a:lnTo>
                  <a:lnTo>
                    <a:pt x="5317477" y="831289"/>
                  </a:lnTo>
                  <a:lnTo>
                    <a:pt x="5307505" y="850162"/>
                  </a:lnTo>
                  <a:lnTo>
                    <a:pt x="5304888" y="872182"/>
                  </a:lnTo>
                  <a:lnTo>
                    <a:pt x="5308237" y="913547"/>
                  </a:lnTo>
                  <a:lnTo>
                    <a:pt x="5319752" y="950813"/>
                  </a:lnTo>
                  <a:lnTo>
                    <a:pt x="5333845" y="986684"/>
                  </a:lnTo>
                  <a:lnTo>
                    <a:pt x="5354618" y="1012884"/>
                  </a:lnTo>
                  <a:lnTo>
                    <a:pt x="5382319" y="1022908"/>
                  </a:lnTo>
                  <a:lnTo>
                    <a:pt x="5410203" y="1025243"/>
                  </a:lnTo>
                  <a:lnTo>
                    <a:pt x="5440130" y="1030802"/>
                  </a:lnTo>
                  <a:lnTo>
                    <a:pt x="5468013" y="1031066"/>
                  </a:lnTo>
                  <a:lnTo>
                    <a:pt x="5505775" y="1025587"/>
                  </a:lnTo>
                  <a:lnTo>
                    <a:pt x="5541782" y="1025665"/>
                  </a:lnTo>
                  <a:lnTo>
                    <a:pt x="5567306" y="1052829"/>
                  </a:lnTo>
                  <a:lnTo>
                    <a:pt x="5599633" y="1125460"/>
                  </a:lnTo>
                  <a:lnTo>
                    <a:pt x="5628921" y="1180362"/>
                  </a:lnTo>
                  <a:lnTo>
                    <a:pt x="5643475" y="1236458"/>
                  </a:lnTo>
                  <a:lnTo>
                    <a:pt x="5650759" y="1264506"/>
                  </a:lnTo>
                  <a:lnTo>
                    <a:pt x="5654851" y="1292622"/>
                  </a:lnTo>
                  <a:lnTo>
                    <a:pt x="5653000" y="1323510"/>
                  </a:lnTo>
                  <a:lnTo>
                    <a:pt x="5651146" y="1354395"/>
                  </a:lnTo>
                  <a:lnTo>
                    <a:pt x="5643984" y="1388498"/>
                  </a:lnTo>
                  <a:lnTo>
                    <a:pt x="5629870" y="1426887"/>
                  </a:lnTo>
                  <a:lnTo>
                    <a:pt x="5620084" y="1453530"/>
                  </a:lnTo>
                  <a:lnTo>
                    <a:pt x="5607474" y="1476831"/>
                  </a:lnTo>
                  <a:lnTo>
                    <a:pt x="5599949" y="1504417"/>
                  </a:lnTo>
                  <a:lnTo>
                    <a:pt x="5588006" y="1548067"/>
                  </a:lnTo>
                  <a:lnTo>
                    <a:pt x="5580481" y="1586880"/>
                  </a:lnTo>
                  <a:lnTo>
                    <a:pt x="5584986" y="1632273"/>
                  </a:lnTo>
                  <a:lnTo>
                    <a:pt x="5588905" y="1671569"/>
                  </a:lnTo>
                  <a:lnTo>
                    <a:pt x="5611505" y="1713251"/>
                  </a:lnTo>
                  <a:lnTo>
                    <a:pt x="5636676" y="1754693"/>
                  </a:lnTo>
                  <a:lnTo>
                    <a:pt x="5661849" y="1796135"/>
                  </a:lnTo>
                  <a:lnTo>
                    <a:pt x="5689727" y="1837345"/>
                  </a:lnTo>
                  <a:lnTo>
                    <a:pt x="5701968" y="1877107"/>
                  </a:lnTo>
                  <a:lnTo>
                    <a:pt x="5680118" y="1903124"/>
                  </a:lnTo>
                  <a:lnTo>
                    <a:pt x="5673917" y="1935497"/>
                  </a:lnTo>
                  <a:lnTo>
                    <a:pt x="5667958" y="1962801"/>
                  </a:lnTo>
                  <a:lnTo>
                    <a:pt x="5662007" y="1990105"/>
                  </a:lnTo>
                  <a:lnTo>
                    <a:pt x="5656634" y="2011787"/>
                  </a:lnTo>
                  <a:lnTo>
                    <a:pt x="5616274" y="2014491"/>
                  </a:lnTo>
                  <a:lnTo>
                    <a:pt x="5581563" y="1982744"/>
                  </a:lnTo>
                  <a:lnTo>
                    <a:pt x="5556172" y="1965679"/>
                  </a:lnTo>
                  <a:lnTo>
                    <a:pt x="5515871" y="1954492"/>
                  </a:lnTo>
                  <a:lnTo>
                    <a:pt x="5487051" y="1973690"/>
                  </a:lnTo>
                  <a:lnTo>
                    <a:pt x="5459797" y="1999087"/>
                  </a:lnTo>
                  <a:lnTo>
                    <a:pt x="5437088" y="2052883"/>
                  </a:lnTo>
                  <a:lnTo>
                    <a:pt x="5387758" y="2104269"/>
                  </a:lnTo>
                  <a:lnTo>
                    <a:pt x="5364419" y="2132065"/>
                  </a:lnTo>
                  <a:lnTo>
                    <a:pt x="5322977" y="2147029"/>
                  </a:lnTo>
                  <a:lnTo>
                    <a:pt x="5294548" y="2144055"/>
                  </a:lnTo>
                  <a:lnTo>
                    <a:pt x="5268063" y="2140989"/>
                  </a:lnTo>
                  <a:lnTo>
                    <a:pt x="5241577" y="2137922"/>
                  </a:lnTo>
                  <a:lnTo>
                    <a:pt x="5217247" y="2134803"/>
                  </a:lnTo>
                  <a:lnTo>
                    <a:pt x="5183054" y="2116370"/>
                  </a:lnTo>
                  <a:lnTo>
                    <a:pt x="5176248" y="2084068"/>
                  </a:lnTo>
                  <a:lnTo>
                    <a:pt x="5153806" y="2067536"/>
                  </a:lnTo>
                  <a:lnTo>
                    <a:pt x="5106789" y="2100734"/>
                  </a:lnTo>
                  <a:lnTo>
                    <a:pt x="5103775" y="2157906"/>
                  </a:lnTo>
                  <a:lnTo>
                    <a:pt x="5085791" y="2200839"/>
                  </a:lnTo>
                  <a:lnTo>
                    <a:pt x="5073256" y="2230807"/>
                  </a:lnTo>
                  <a:lnTo>
                    <a:pt x="5057446" y="2259791"/>
                  </a:lnTo>
                  <a:lnTo>
                    <a:pt x="5043630" y="2289249"/>
                  </a:lnTo>
                  <a:lnTo>
                    <a:pt x="5032452" y="2312966"/>
                  </a:lnTo>
                  <a:lnTo>
                    <a:pt x="5026496" y="2340130"/>
                  </a:lnTo>
                  <a:lnTo>
                    <a:pt x="5013703" y="2364060"/>
                  </a:lnTo>
                  <a:lnTo>
                    <a:pt x="5001719" y="2386437"/>
                  </a:lnTo>
                  <a:lnTo>
                    <a:pt x="4979693" y="2413611"/>
                  </a:lnTo>
                  <a:lnTo>
                    <a:pt x="4959294" y="2441591"/>
                  </a:lnTo>
                  <a:lnTo>
                    <a:pt x="4938898" y="2469567"/>
                  </a:lnTo>
                  <a:lnTo>
                    <a:pt x="4919535" y="2498610"/>
                  </a:lnTo>
                  <a:lnTo>
                    <a:pt x="4915768" y="2520485"/>
                  </a:lnTo>
                  <a:lnTo>
                    <a:pt x="4918236" y="2544412"/>
                  </a:lnTo>
                  <a:lnTo>
                    <a:pt x="4928905" y="2564302"/>
                  </a:lnTo>
                  <a:lnTo>
                    <a:pt x="4933450" y="2587135"/>
                  </a:lnTo>
                  <a:lnTo>
                    <a:pt x="4934142" y="2618045"/>
                  </a:lnTo>
                  <a:lnTo>
                    <a:pt x="4935487" y="2648710"/>
                  </a:lnTo>
                  <a:lnTo>
                    <a:pt x="4952494" y="2671465"/>
                  </a:lnTo>
                  <a:lnTo>
                    <a:pt x="4982930" y="2679964"/>
                  </a:lnTo>
                  <a:lnTo>
                    <a:pt x="5015231" y="2657264"/>
                  </a:lnTo>
                  <a:lnTo>
                    <a:pt x="5046346" y="2661940"/>
                  </a:lnTo>
                  <a:lnTo>
                    <a:pt x="5242725" y="2780069"/>
                  </a:lnTo>
                  <a:lnTo>
                    <a:pt x="5265337" y="2793885"/>
                  </a:lnTo>
                  <a:lnTo>
                    <a:pt x="5294672" y="2811739"/>
                  </a:lnTo>
                  <a:lnTo>
                    <a:pt x="5427923" y="2942230"/>
                  </a:lnTo>
                  <a:lnTo>
                    <a:pt x="5436725" y="2963909"/>
                  </a:lnTo>
                  <a:lnTo>
                    <a:pt x="5437584" y="2993005"/>
                  </a:lnTo>
                  <a:lnTo>
                    <a:pt x="5427203" y="3011515"/>
                  </a:lnTo>
                  <a:lnTo>
                    <a:pt x="5416822" y="3030023"/>
                  </a:lnTo>
                  <a:lnTo>
                    <a:pt x="5400495" y="3050822"/>
                  </a:lnTo>
                  <a:lnTo>
                    <a:pt x="5383677" y="3071366"/>
                  </a:lnTo>
                  <a:lnTo>
                    <a:pt x="5350036" y="3112446"/>
                  </a:lnTo>
                  <a:lnTo>
                    <a:pt x="5311945" y="3153761"/>
                  </a:lnTo>
                  <a:lnTo>
                    <a:pt x="5306147" y="3180181"/>
                  </a:lnTo>
                  <a:lnTo>
                    <a:pt x="5315663" y="3235948"/>
                  </a:lnTo>
                  <a:lnTo>
                    <a:pt x="5269718" y="3198964"/>
                  </a:lnTo>
                  <a:lnTo>
                    <a:pt x="5231888" y="3175840"/>
                  </a:lnTo>
                  <a:lnTo>
                    <a:pt x="5200048" y="3150254"/>
                  </a:lnTo>
                  <a:lnTo>
                    <a:pt x="5168044" y="3124541"/>
                  </a:lnTo>
                  <a:lnTo>
                    <a:pt x="5159496" y="3081226"/>
                  </a:lnTo>
                  <a:lnTo>
                    <a:pt x="5127959" y="3059125"/>
                  </a:lnTo>
                  <a:lnTo>
                    <a:pt x="5096513" y="3061283"/>
                  </a:lnTo>
                  <a:lnTo>
                    <a:pt x="5064193" y="3081443"/>
                  </a:lnTo>
                  <a:lnTo>
                    <a:pt x="5042265" y="3104009"/>
                  </a:lnTo>
                  <a:lnTo>
                    <a:pt x="5035156" y="3168120"/>
                  </a:lnTo>
                  <a:lnTo>
                    <a:pt x="5040907" y="3215543"/>
                  </a:lnTo>
                  <a:lnTo>
                    <a:pt x="5046656" y="3262973"/>
                  </a:lnTo>
                  <a:lnTo>
                    <a:pt x="5059483" y="3309969"/>
                  </a:lnTo>
                  <a:lnTo>
                    <a:pt x="5077634" y="3321642"/>
                  </a:lnTo>
                  <a:lnTo>
                    <a:pt x="5128176" y="3330392"/>
                  </a:lnTo>
                  <a:lnTo>
                    <a:pt x="5185261" y="3316160"/>
                  </a:lnTo>
                  <a:lnTo>
                    <a:pt x="5238133" y="3321642"/>
                  </a:lnTo>
                  <a:lnTo>
                    <a:pt x="5265728" y="3344835"/>
                  </a:lnTo>
                  <a:lnTo>
                    <a:pt x="5275830" y="3382777"/>
                  </a:lnTo>
                  <a:lnTo>
                    <a:pt x="5274226" y="3404078"/>
                  </a:lnTo>
                  <a:lnTo>
                    <a:pt x="5243112" y="3421825"/>
                  </a:lnTo>
                  <a:lnTo>
                    <a:pt x="5199961" y="3417822"/>
                  </a:lnTo>
                  <a:lnTo>
                    <a:pt x="5160565" y="3426823"/>
                  </a:lnTo>
                  <a:lnTo>
                    <a:pt x="5130663" y="3431065"/>
                  </a:lnTo>
                  <a:lnTo>
                    <a:pt x="5102113" y="3438615"/>
                  </a:lnTo>
                  <a:lnTo>
                    <a:pt x="5073572" y="3446168"/>
                  </a:lnTo>
                  <a:lnTo>
                    <a:pt x="5047217" y="3457187"/>
                  </a:lnTo>
                  <a:lnTo>
                    <a:pt x="5028666" y="3478061"/>
                  </a:lnTo>
                  <a:lnTo>
                    <a:pt x="5000274" y="3517209"/>
                  </a:lnTo>
                  <a:lnTo>
                    <a:pt x="4981057" y="3543350"/>
                  </a:lnTo>
                  <a:lnTo>
                    <a:pt x="4961839" y="3569491"/>
                  </a:lnTo>
                  <a:lnTo>
                    <a:pt x="4942129" y="3593852"/>
                  </a:lnTo>
                  <a:lnTo>
                    <a:pt x="4865079" y="3599737"/>
                  </a:lnTo>
                  <a:lnTo>
                    <a:pt x="4804801" y="3611990"/>
                  </a:lnTo>
                  <a:lnTo>
                    <a:pt x="4744380" y="3623602"/>
                  </a:lnTo>
                  <a:lnTo>
                    <a:pt x="4683959" y="3635217"/>
                  </a:lnTo>
                  <a:lnTo>
                    <a:pt x="4622539" y="3645405"/>
                  </a:lnTo>
                  <a:lnTo>
                    <a:pt x="4560757" y="3645365"/>
                  </a:lnTo>
                  <a:lnTo>
                    <a:pt x="4543077" y="3664406"/>
                  </a:lnTo>
                  <a:lnTo>
                    <a:pt x="4529472" y="3687527"/>
                  </a:lnTo>
                  <a:lnTo>
                    <a:pt x="4537716" y="3716564"/>
                  </a:lnTo>
                  <a:lnTo>
                    <a:pt x="4556596" y="3737384"/>
                  </a:lnTo>
                  <a:lnTo>
                    <a:pt x="4583881" y="3751458"/>
                  </a:lnTo>
                  <a:lnTo>
                    <a:pt x="4612661" y="3763330"/>
                  </a:lnTo>
                  <a:lnTo>
                    <a:pt x="4650007" y="3766164"/>
                  </a:lnTo>
                  <a:lnTo>
                    <a:pt x="4688619" y="3765063"/>
                  </a:lnTo>
                  <a:lnTo>
                    <a:pt x="4765839" y="3762853"/>
                  </a:lnTo>
                  <a:lnTo>
                    <a:pt x="4848904" y="3741579"/>
                  </a:lnTo>
                  <a:lnTo>
                    <a:pt x="4885847" y="3726979"/>
                  </a:lnTo>
                  <a:lnTo>
                    <a:pt x="4912075" y="3751802"/>
                  </a:lnTo>
                  <a:lnTo>
                    <a:pt x="4935236" y="3779177"/>
                  </a:lnTo>
                  <a:lnTo>
                    <a:pt x="4964735" y="3775946"/>
                  </a:lnTo>
                  <a:lnTo>
                    <a:pt x="4991624" y="3766421"/>
                  </a:lnTo>
                  <a:lnTo>
                    <a:pt x="5015061" y="3784104"/>
                  </a:lnTo>
                  <a:lnTo>
                    <a:pt x="5005545" y="3828994"/>
                  </a:lnTo>
                  <a:lnTo>
                    <a:pt x="4971752" y="3850909"/>
                  </a:lnTo>
                  <a:lnTo>
                    <a:pt x="4948414" y="3856199"/>
                  </a:lnTo>
                  <a:lnTo>
                    <a:pt x="4925066" y="3861488"/>
                  </a:lnTo>
                  <a:lnTo>
                    <a:pt x="4898141" y="3864434"/>
                  </a:lnTo>
                  <a:lnTo>
                    <a:pt x="4869526" y="3867079"/>
                  </a:lnTo>
                  <a:lnTo>
                    <a:pt x="4840904" y="3869724"/>
                  </a:lnTo>
                  <a:lnTo>
                    <a:pt x="4810763" y="3871261"/>
                  </a:lnTo>
                  <a:lnTo>
                    <a:pt x="4781106" y="3876604"/>
                  </a:lnTo>
                  <a:lnTo>
                    <a:pt x="4751449" y="3881946"/>
                  </a:lnTo>
                  <a:lnTo>
                    <a:pt x="4721873" y="3890414"/>
                  </a:lnTo>
                  <a:lnTo>
                    <a:pt x="4695418" y="3903808"/>
                  </a:lnTo>
                  <a:lnTo>
                    <a:pt x="4660124" y="3931617"/>
                  </a:lnTo>
                  <a:lnTo>
                    <a:pt x="4641006" y="3948692"/>
                  </a:lnTo>
                  <a:lnTo>
                    <a:pt x="4621894" y="3965767"/>
                  </a:lnTo>
                  <a:lnTo>
                    <a:pt x="4601607" y="3980876"/>
                  </a:lnTo>
                  <a:lnTo>
                    <a:pt x="4534696" y="3977478"/>
                  </a:lnTo>
                  <a:lnTo>
                    <a:pt x="4482628" y="3954686"/>
                  </a:lnTo>
                  <a:lnTo>
                    <a:pt x="4432895" y="3962292"/>
                  </a:lnTo>
                  <a:lnTo>
                    <a:pt x="4231586" y="3993576"/>
                  </a:lnTo>
                  <a:lnTo>
                    <a:pt x="4209631" y="3996934"/>
                  </a:lnTo>
                  <a:lnTo>
                    <a:pt x="4179903" y="3985419"/>
                  </a:lnTo>
                  <a:lnTo>
                    <a:pt x="4157209" y="3966400"/>
                  </a:lnTo>
                  <a:lnTo>
                    <a:pt x="4131422" y="3925525"/>
                  </a:lnTo>
                  <a:lnTo>
                    <a:pt x="4119171" y="3890234"/>
                  </a:lnTo>
                  <a:lnTo>
                    <a:pt x="4095567" y="3868440"/>
                  </a:lnTo>
                  <a:lnTo>
                    <a:pt x="4078210" y="3852413"/>
                  </a:lnTo>
                  <a:lnTo>
                    <a:pt x="4047173" y="3849446"/>
                  </a:lnTo>
                  <a:lnTo>
                    <a:pt x="4019395" y="3842593"/>
                  </a:lnTo>
                  <a:lnTo>
                    <a:pt x="3993102" y="3834197"/>
                  </a:lnTo>
                  <a:lnTo>
                    <a:pt x="3972241" y="3821075"/>
                  </a:lnTo>
                  <a:lnTo>
                    <a:pt x="3960905" y="3799067"/>
                  </a:lnTo>
                  <a:lnTo>
                    <a:pt x="3935245" y="3786265"/>
                  </a:lnTo>
                  <a:lnTo>
                    <a:pt x="3896797" y="3792823"/>
                  </a:lnTo>
                  <a:lnTo>
                    <a:pt x="3874672" y="3800841"/>
                  </a:lnTo>
                  <a:lnTo>
                    <a:pt x="3852090" y="3808589"/>
                  </a:lnTo>
                  <a:lnTo>
                    <a:pt x="3829515" y="3816338"/>
                  </a:lnTo>
                  <a:lnTo>
                    <a:pt x="3806480" y="3823664"/>
                  </a:lnTo>
                  <a:lnTo>
                    <a:pt x="3767122" y="3828876"/>
                  </a:lnTo>
                  <a:lnTo>
                    <a:pt x="3740556" y="3815389"/>
                  </a:lnTo>
                  <a:lnTo>
                    <a:pt x="3736131" y="3772675"/>
                  </a:lnTo>
                  <a:lnTo>
                    <a:pt x="3713689" y="3766000"/>
                  </a:lnTo>
                  <a:lnTo>
                    <a:pt x="3689678" y="3771652"/>
                  </a:lnTo>
                  <a:lnTo>
                    <a:pt x="3661668" y="3762341"/>
                  </a:lnTo>
                  <a:lnTo>
                    <a:pt x="3653504" y="3726979"/>
                  </a:lnTo>
                  <a:lnTo>
                    <a:pt x="3610065" y="3719413"/>
                  </a:lnTo>
                  <a:lnTo>
                    <a:pt x="3585833" y="3737518"/>
                  </a:lnTo>
                  <a:lnTo>
                    <a:pt x="3593610" y="3759451"/>
                  </a:lnTo>
                  <a:lnTo>
                    <a:pt x="3597671" y="3810608"/>
                  </a:lnTo>
                  <a:lnTo>
                    <a:pt x="3597349" y="3837093"/>
                  </a:lnTo>
                  <a:lnTo>
                    <a:pt x="3595014" y="3858915"/>
                  </a:lnTo>
                  <a:lnTo>
                    <a:pt x="3592680" y="3880737"/>
                  </a:lnTo>
                  <a:lnTo>
                    <a:pt x="3578690" y="3911966"/>
                  </a:lnTo>
                  <a:lnTo>
                    <a:pt x="3554390" y="3935450"/>
                  </a:lnTo>
                  <a:lnTo>
                    <a:pt x="3535164" y="3944609"/>
                  </a:lnTo>
                  <a:lnTo>
                    <a:pt x="3515934" y="3953771"/>
                  </a:lnTo>
                  <a:lnTo>
                    <a:pt x="3491486" y="3961116"/>
                  </a:lnTo>
                  <a:lnTo>
                    <a:pt x="3460353" y="3969097"/>
                  </a:lnTo>
                  <a:lnTo>
                    <a:pt x="3421949" y="3978929"/>
                  </a:lnTo>
                  <a:lnTo>
                    <a:pt x="3396633" y="3982101"/>
                  </a:lnTo>
                  <a:lnTo>
                    <a:pt x="3360855" y="3975125"/>
                  </a:lnTo>
                  <a:lnTo>
                    <a:pt x="3343377" y="3954134"/>
                  </a:lnTo>
                  <a:lnTo>
                    <a:pt x="3330261" y="3931202"/>
                  </a:lnTo>
                  <a:lnTo>
                    <a:pt x="3330940" y="3898088"/>
                  </a:lnTo>
                  <a:lnTo>
                    <a:pt x="3308009" y="3875236"/>
                  </a:lnTo>
                  <a:lnTo>
                    <a:pt x="3280165" y="3864707"/>
                  </a:lnTo>
                  <a:lnTo>
                    <a:pt x="3257683" y="3865721"/>
                  </a:lnTo>
                  <a:lnTo>
                    <a:pt x="3235204" y="3866731"/>
                  </a:lnTo>
                  <a:lnTo>
                    <a:pt x="3207965" y="3871116"/>
                  </a:lnTo>
                  <a:lnTo>
                    <a:pt x="3181514" y="3876604"/>
                  </a:lnTo>
                  <a:lnTo>
                    <a:pt x="3128596" y="3887571"/>
                  </a:lnTo>
                  <a:lnTo>
                    <a:pt x="3076007" y="3903194"/>
                  </a:lnTo>
                  <a:lnTo>
                    <a:pt x="3045882" y="3910924"/>
                  </a:lnTo>
                  <a:lnTo>
                    <a:pt x="3027805" y="3933729"/>
                  </a:lnTo>
                  <a:lnTo>
                    <a:pt x="3011940" y="3965048"/>
                  </a:lnTo>
                  <a:lnTo>
                    <a:pt x="2994263" y="4017997"/>
                  </a:lnTo>
                  <a:lnTo>
                    <a:pt x="2986989" y="4055722"/>
                  </a:lnTo>
                  <a:lnTo>
                    <a:pt x="2970246" y="4111579"/>
                  </a:lnTo>
                  <a:lnTo>
                    <a:pt x="2963493" y="4133831"/>
                  </a:lnTo>
                  <a:lnTo>
                    <a:pt x="2937067" y="4155284"/>
                  </a:lnTo>
                  <a:lnTo>
                    <a:pt x="2882270" y="4145918"/>
                  </a:lnTo>
                  <a:lnTo>
                    <a:pt x="2861270" y="4141164"/>
                  </a:lnTo>
                  <a:lnTo>
                    <a:pt x="2839079" y="4140563"/>
                  </a:lnTo>
                  <a:lnTo>
                    <a:pt x="2818339" y="4135038"/>
                  </a:lnTo>
                  <a:lnTo>
                    <a:pt x="2793172" y="4128362"/>
                  </a:lnTo>
                  <a:lnTo>
                    <a:pt x="2763679" y="4117522"/>
                  </a:lnTo>
                  <a:lnTo>
                    <a:pt x="2739445" y="4107833"/>
                  </a:lnTo>
                  <a:lnTo>
                    <a:pt x="2703404" y="4093378"/>
                  </a:lnTo>
                  <a:lnTo>
                    <a:pt x="2667446" y="4076198"/>
                  </a:lnTo>
                  <a:lnTo>
                    <a:pt x="2631994" y="4060224"/>
                  </a:lnTo>
                  <a:lnTo>
                    <a:pt x="2582378" y="4054897"/>
                  </a:lnTo>
                  <a:lnTo>
                    <a:pt x="2550380" y="4061585"/>
                  </a:lnTo>
                  <a:lnTo>
                    <a:pt x="2518382" y="4068270"/>
                  </a:lnTo>
                  <a:lnTo>
                    <a:pt x="2486325" y="4078672"/>
                  </a:lnTo>
                  <a:lnTo>
                    <a:pt x="2459964" y="4105176"/>
                  </a:lnTo>
                  <a:lnTo>
                    <a:pt x="2452064" y="4125844"/>
                  </a:lnTo>
                  <a:lnTo>
                    <a:pt x="2445649" y="4145918"/>
                  </a:lnTo>
                  <a:lnTo>
                    <a:pt x="2439224" y="4165994"/>
                  </a:lnTo>
                  <a:lnTo>
                    <a:pt x="2433987" y="4186492"/>
                  </a:lnTo>
                  <a:lnTo>
                    <a:pt x="2406420" y="4274632"/>
                  </a:lnTo>
                  <a:lnTo>
                    <a:pt x="2385488" y="4323460"/>
                  </a:lnTo>
                  <a:lnTo>
                    <a:pt x="2351788" y="4360828"/>
                  </a:lnTo>
                  <a:lnTo>
                    <a:pt x="2334939" y="4379509"/>
                  </a:lnTo>
                  <a:lnTo>
                    <a:pt x="2315148" y="4394941"/>
                  </a:lnTo>
                  <a:lnTo>
                    <a:pt x="2290582" y="4408435"/>
                  </a:lnTo>
                  <a:lnTo>
                    <a:pt x="2266023" y="4421929"/>
                  </a:lnTo>
                  <a:lnTo>
                    <a:pt x="2236207" y="4433714"/>
                  </a:lnTo>
                  <a:lnTo>
                    <a:pt x="2200811" y="4443797"/>
                  </a:lnTo>
                  <a:lnTo>
                    <a:pt x="2160953" y="4456782"/>
                  </a:lnTo>
                  <a:lnTo>
                    <a:pt x="2134158" y="4462844"/>
                  </a:lnTo>
                  <a:lnTo>
                    <a:pt x="2107369" y="4468906"/>
                  </a:lnTo>
                  <a:lnTo>
                    <a:pt x="2080645" y="4471609"/>
                  </a:lnTo>
                  <a:lnTo>
                    <a:pt x="2060544" y="4456044"/>
                  </a:lnTo>
                  <a:lnTo>
                    <a:pt x="2037587" y="4428834"/>
                  </a:lnTo>
                  <a:lnTo>
                    <a:pt x="2015238" y="4403536"/>
                  </a:lnTo>
                  <a:lnTo>
                    <a:pt x="1991649" y="4393378"/>
                  </a:lnTo>
                  <a:lnTo>
                    <a:pt x="1966587" y="4390873"/>
                  </a:lnTo>
                  <a:lnTo>
                    <a:pt x="1942371" y="4393471"/>
                  </a:lnTo>
                  <a:lnTo>
                    <a:pt x="1918146" y="4396070"/>
                  </a:lnTo>
                  <a:lnTo>
                    <a:pt x="1893481" y="4404097"/>
                  </a:lnTo>
                  <a:lnTo>
                    <a:pt x="1869107" y="4426369"/>
                  </a:lnTo>
                  <a:lnTo>
                    <a:pt x="1854652" y="4447285"/>
                  </a:lnTo>
                  <a:lnTo>
                    <a:pt x="1840352" y="4466927"/>
                  </a:lnTo>
                  <a:lnTo>
                    <a:pt x="1826056" y="4486560"/>
                  </a:lnTo>
                  <a:lnTo>
                    <a:pt x="1812267" y="4505421"/>
                  </a:lnTo>
                  <a:lnTo>
                    <a:pt x="1766893" y="4522087"/>
                  </a:lnTo>
                  <a:lnTo>
                    <a:pt x="1732328" y="4518974"/>
                  </a:lnTo>
                  <a:lnTo>
                    <a:pt x="1697533" y="4513163"/>
                  </a:lnTo>
                  <a:lnTo>
                    <a:pt x="1666341" y="4507961"/>
                  </a:lnTo>
                  <a:lnTo>
                    <a:pt x="1625293" y="4500811"/>
                  </a:lnTo>
                  <a:lnTo>
                    <a:pt x="1591444" y="4499564"/>
                  </a:lnTo>
                  <a:lnTo>
                    <a:pt x="1606401" y="4518605"/>
                  </a:lnTo>
                  <a:lnTo>
                    <a:pt x="1617374" y="4565783"/>
                  </a:lnTo>
                  <a:lnTo>
                    <a:pt x="1603387" y="4615349"/>
                  </a:lnTo>
                  <a:lnTo>
                    <a:pt x="1610481" y="4664146"/>
                  </a:lnTo>
                  <a:lnTo>
                    <a:pt x="1674025" y="4853722"/>
                  </a:lnTo>
                  <a:lnTo>
                    <a:pt x="1699744" y="4906048"/>
                  </a:lnTo>
                  <a:lnTo>
                    <a:pt x="1736721" y="4959651"/>
                  </a:lnTo>
                  <a:lnTo>
                    <a:pt x="1770983" y="4998759"/>
                  </a:lnTo>
                  <a:lnTo>
                    <a:pt x="1894544" y="5139962"/>
                  </a:lnTo>
                  <a:lnTo>
                    <a:pt x="1972549" y="5015675"/>
                  </a:lnTo>
                  <a:lnTo>
                    <a:pt x="2101512" y="5119815"/>
                  </a:lnTo>
                  <a:lnTo>
                    <a:pt x="2193450" y="5194027"/>
                  </a:lnTo>
                  <a:lnTo>
                    <a:pt x="2140449" y="5349860"/>
                  </a:lnTo>
                  <a:lnTo>
                    <a:pt x="2200805" y="5379616"/>
                  </a:lnTo>
                  <a:lnTo>
                    <a:pt x="2259124" y="5352917"/>
                  </a:lnTo>
                  <a:lnTo>
                    <a:pt x="2275572" y="5307822"/>
                  </a:lnTo>
                  <a:lnTo>
                    <a:pt x="2317777" y="5284397"/>
                  </a:lnTo>
                  <a:lnTo>
                    <a:pt x="2362965" y="5259322"/>
                  </a:lnTo>
                  <a:lnTo>
                    <a:pt x="2441215" y="5259450"/>
                  </a:lnTo>
                  <a:lnTo>
                    <a:pt x="2466038" y="5240871"/>
                  </a:lnTo>
                  <a:lnTo>
                    <a:pt x="2494864" y="5219238"/>
                  </a:lnTo>
                  <a:lnTo>
                    <a:pt x="2498005" y="5175495"/>
                  </a:lnTo>
                  <a:lnTo>
                    <a:pt x="2525895" y="5153819"/>
                  </a:lnTo>
                  <a:lnTo>
                    <a:pt x="2567548" y="5149525"/>
                  </a:lnTo>
                  <a:lnTo>
                    <a:pt x="2586502" y="5160532"/>
                  </a:lnTo>
                  <a:lnTo>
                    <a:pt x="2686605" y="5262423"/>
                  </a:lnTo>
                  <a:lnTo>
                    <a:pt x="2701357" y="5280317"/>
                  </a:lnTo>
                  <a:lnTo>
                    <a:pt x="2728053" y="5312702"/>
                  </a:lnTo>
                  <a:lnTo>
                    <a:pt x="2770175" y="5372426"/>
                  </a:lnTo>
                  <a:lnTo>
                    <a:pt x="2811533" y="5386406"/>
                  </a:lnTo>
                  <a:lnTo>
                    <a:pt x="2856715" y="5401627"/>
                  </a:lnTo>
                  <a:lnTo>
                    <a:pt x="2906579" y="5393807"/>
                  </a:lnTo>
                  <a:lnTo>
                    <a:pt x="2952995" y="5391848"/>
                  </a:lnTo>
                  <a:lnTo>
                    <a:pt x="3174965" y="5382583"/>
                  </a:lnTo>
                  <a:lnTo>
                    <a:pt x="3196980" y="5309642"/>
                  </a:lnTo>
                  <a:lnTo>
                    <a:pt x="3370575" y="5210944"/>
                  </a:lnTo>
                  <a:lnTo>
                    <a:pt x="3402580" y="5192669"/>
                  </a:lnTo>
                  <a:lnTo>
                    <a:pt x="3451510" y="5175449"/>
                  </a:lnTo>
                  <a:lnTo>
                    <a:pt x="3476674" y="5160618"/>
                  </a:lnTo>
                  <a:lnTo>
                    <a:pt x="3495160" y="5149695"/>
                  </a:lnTo>
                  <a:lnTo>
                    <a:pt x="3512247" y="5131243"/>
                  </a:lnTo>
                  <a:lnTo>
                    <a:pt x="3531083" y="5121173"/>
                  </a:lnTo>
                  <a:lnTo>
                    <a:pt x="3558834" y="5110504"/>
                  </a:lnTo>
                  <a:lnTo>
                    <a:pt x="3619410" y="5078028"/>
                  </a:lnTo>
                  <a:lnTo>
                    <a:pt x="3646611" y="5099701"/>
                  </a:lnTo>
                  <a:lnTo>
                    <a:pt x="3686140" y="5087162"/>
                  </a:lnTo>
                  <a:lnTo>
                    <a:pt x="3745610" y="5068209"/>
                  </a:lnTo>
                  <a:lnTo>
                    <a:pt x="3905727" y="4928062"/>
                  </a:lnTo>
                  <a:lnTo>
                    <a:pt x="3937778" y="4923938"/>
                  </a:lnTo>
                  <a:lnTo>
                    <a:pt x="3975270" y="4931463"/>
                  </a:lnTo>
                  <a:lnTo>
                    <a:pt x="3973655" y="4973297"/>
                  </a:lnTo>
                  <a:lnTo>
                    <a:pt x="3952186" y="4985662"/>
                  </a:lnTo>
                  <a:lnTo>
                    <a:pt x="3937778" y="5004194"/>
                  </a:lnTo>
                  <a:lnTo>
                    <a:pt x="3910403" y="5039345"/>
                  </a:lnTo>
                  <a:lnTo>
                    <a:pt x="3861482" y="5111056"/>
                  </a:lnTo>
                  <a:lnTo>
                    <a:pt x="3824879" y="5133414"/>
                  </a:lnTo>
                  <a:lnTo>
                    <a:pt x="3781142" y="5160110"/>
                  </a:lnTo>
                  <a:lnTo>
                    <a:pt x="3738379" y="5157471"/>
                  </a:lnTo>
                  <a:lnTo>
                    <a:pt x="3691582" y="5172856"/>
                  </a:lnTo>
                  <a:lnTo>
                    <a:pt x="3647330" y="5187355"/>
                  </a:lnTo>
                  <a:lnTo>
                    <a:pt x="3615918" y="5220723"/>
                  </a:lnTo>
                  <a:lnTo>
                    <a:pt x="3575967" y="5238149"/>
                  </a:lnTo>
                  <a:lnTo>
                    <a:pt x="3530482" y="5257912"/>
                  </a:lnTo>
                  <a:lnTo>
                    <a:pt x="3477012" y="5268075"/>
                  </a:lnTo>
                  <a:lnTo>
                    <a:pt x="3433142" y="5293919"/>
                  </a:lnTo>
                  <a:lnTo>
                    <a:pt x="3381201" y="5324568"/>
                  </a:lnTo>
                  <a:lnTo>
                    <a:pt x="3363729" y="5386921"/>
                  </a:lnTo>
                  <a:lnTo>
                    <a:pt x="3317527" y="5417694"/>
                  </a:lnTo>
                  <a:lnTo>
                    <a:pt x="3241994" y="5468066"/>
                  </a:lnTo>
                  <a:lnTo>
                    <a:pt x="3170584" y="5481836"/>
                  </a:lnTo>
                  <a:lnTo>
                    <a:pt x="3147504" y="5582276"/>
                  </a:lnTo>
                  <a:lnTo>
                    <a:pt x="3142530" y="5603959"/>
                  </a:lnTo>
                  <a:lnTo>
                    <a:pt x="3133560" y="5623210"/>
                  </a:lnTo>
                  <a:lnTo>
                    <a:pt x="3136621" y="5646207"/>
                  </a:lnTo>
                  <a:lnTo>
                    <a:pt x="3142571" y="5690840"/>
                  </a:lnTo>
                  <a:lnTo>
                    <a:pt x="3190561" y="5683824"/>
                  </a:lnTo>
                  <a:lnTo>
                    <a:pt x="3201913" y="5722379"/>
                  </a:lnTo>
                  <a:lnTo>
                    <a:pt x="3183334" y="5757701"/>
                  </a:lnTo>
                  <a:lnTo>
                    <a:pt x="3145420" y="5785076"/>
                  </a:lnTo>
                  <a:lnTo>
                    <a:pt x="3109543" y="5794598"/>
                  </a:lnTo>
                  <a:lnTo>
                    <a:pt x="3080857" y="5809432"/>
                  </a:lnTo>
                  <a:lnTo>
                    <a:pt x="3039240" y="5830943"/>
                  </a:lnTo>
                  <a:lnTo>
                    <a:pt x="2999541" y="5876382"/>
                  </a:lnTo>
                  <a:lnTo>
                    <a:pt x="2963874" y="5907364"/>
                  </a:lnTo>
                  <a:lnTo>
                    <a:pt x="2913338" y="5909317"/>
                  </a:lnTo>
                  <a:lnTo>
                    <a:pt x="2666888" y="5857804"/>
                  </a:lnTo>
                  <a:lnTo>
                    <a:pt x="2630627" y="5832559"/>
                  </a:lnTo>
                  <a:lnTo>
                    <a:pt x="2555946" y="5780531"/>
                  </a:lnTo>
                  <a:lnTo>
                    <a:pt x="2587913" y="5745671"/>
                  </a:lnTo>
                  <a:lnTo>
                    <a:pt x="2475569" y="5716938"/>
                  </a:lnTo>
                  <a:lnTo>
                    <a:pt x="2399438" y="5697429"/>
                  </a:lnTo>
                  <a:lnTo>
                    <a:pt x="2361015" y="5746694"/>
                  </a:lnTo>
                  <a:lnTo>
                    <a:pt x="2310978" y="5737343"/>
                  </a:lnTo>
                  <a:lnTo>
                    <a:pt x="2232341" y="5722550"/>
                  </a:lnTo>
                  <a:lnTo>
                    <a:pt x="2123696" y="5635287"/>
                  </a:lnTo>
                  <a:lnTo>
                    <a:pt x="2055263" y="5638050"/>
                  </a:lnTo>
                  <a:lnTo>
                    <a:pt x="2030440" y="5639026"/>
                  </a:lnTo>
                  <a:lnTo>
                    <a:pt x="2014500" y="5655137"/>
                  </a:lnTo>
                  <a:lnTo>
                    <a:pt x="1992697" y="5662529"/>
                  </a:lnTo>
                  <a:lnTo>
                    <a:pt x="1960857" y="5673325"/>
                  </a:lnTo>
                  <a:lnTo>
                    <a:pt x="1841540" y="5692707"/>
                  </a:lnTo>
                  <a:lnTo>
                    <a:pt x="1810426" y="5688375"/>
                  </a:lnTo>
                  <a:lnTo>
                    <a:pt x="1731788" y="5677409"/>
                  </a:lnTo>
                  <a:lnTo>
                    <a:pt x="1665141" y="5632779"/>
                  </a:lnTo>
                  <a:lnTo>
                    <a:pt x="1585996" y="5621725"/>
                  </a:lnTo>
                  <a:lnTo>
                    <a:pt x="1531078" y="5614076"/>
                  </a:lnTo>
                  <a:lnTo>
                    <a:pt x="1471184" y="5620237"/>
                  </a:lnTo>
                  <a:lnTo>
                    <a:pt x="1417330" y="5608120"/>
                  </a:lnTo>
                  <a:lnTo>
                    <a:pt x="1395607" y="5603274"/>
                  </a:lnTo>
                  <a:lnTo>
                    <a:pt x="1373634" y="5594772"/>
                  </a:lnTo>
                  <a:lnTo>
                    <a:pt x="1350683" y="5593163"/>
                  </a:lnTo>
                  <a:lnTo>
                    <a:pt x="1306853" y="5590019"/>
                  </a:lnTo>
                  <a:lnTo>
                    <a:pt x="1285307" y="5617136"/>
                  </a:lnTo>
                  <a:lnTo>
                    <a:pt x="1237785" y="5604039"/>
                  </a:lnTo>
                  <a:lnTo>
                    <a:pt x="1169435" y="5585126"/>
                  </a:lnTo>
                  <a:lnTo>
                    <a:pt x="1237983" y="5548700"/>
                  </a:lnTo>
                  <a:lnTo>
                    <a:pt x="1101765" y="5529232"/>
                  </a:lnTo>
                  <a:lnTo>
                    <a:pt x="996410" y="5514184"/>
                  </a:lnTo>
                  <a:lnTo>
                    <a:pt x="948763" y="5405453"/>
                  </a:lnTo>
                  <a:lnTo>
                    <a:pt x="833800" y="5405453"/>
                  </a:lnTo>
                  <a:lnTo>
                    <a:pt x="807600" y="5405453"/>
                  </a:lnTo>
                  <a:lnTo>
                    <a:pt x="786600" y="5413440"/>
                  </a:lnTo>
                  <a:lnTo>
                    <a:pt x="761711" y="5417694"/>
                  </a:lnTo>
                  <a:lnTo>
                    <a:pt x="734764" y="5422330"/>
                  </a:lnTo>
                  <a:lnTo>
                    <a:pt x="704738" y="5420370"/>
                  </a:lnTo>
                  <a:lnTo>
                    <a:pt x="677382" y="5420410"/>
                  </a:lnTo>
                  <a:lnTo>
                    <a:pt x="652896" y="5423126"/>
                  </a:lnTo>
                  <a:lnTo>
                    <a:pt x="629775" y="5428568"/>
                  </a:lnTo>
                  <a:lnTo>
                    <a:pt x="598410" y="5438856"/>
                  </a:lnTo>
                  <a:lnTo>
                    <a:pt x="565844" y="5456920"/>
                  </a:lnTo>
                  <a:lnTo>
                    <a:pt x="533198" y="5465294"/>
                  </a:lnTo>
                  <a:lnTo>
                    <a:pt x="503231" y="5472993"/>
                  </a:lnTo>
                  <a:lnTo>
                    <a:pt x="466892" y="5466950"/>
                  </a:lnTo>
                  <a:lnTo>
                    <a:pt x="436627" y="5469372"/>
                  </a:lnTo>
                  <a:lnTo>
                    <a:pt x="362582" y="5475405"/>
                  </a:lnTo>
                  <a:lnTo>
                    <a:pt x="291402" y="5488409"/>
                  </a:lnTo>
                  <a:lnTo>
                    <a:pt x="217633" y="5458489"/>
                  </a:lnTo>
                  <a:lnTo>
                    <a:pt x="94307" y="5408461"/>
                  </a:lnTo>
                  <a:lnTo>
                    <a:pt x="84822" y="5296669"/>
                  </a:lnTo>
                  <a:lnTo>
                    <a:pt x="0" y="5262621"/>
                  </a:lnTo>
                  <a:lnTo>
                    <a:pt x="26333" y="5310017"/>
                  </a:lnTo>
                  <a:lnTo>
                    <a:pt x="39703" y="5375052"/>
                  </a:lnTo>
                  <a:lnTo>
                    <a:pt x="74814" y="5417688"/>
                  </a:lnTo>
                  <a:lnTo>
                    <a:pt x="116743" y="5468646"/>
                  </a:lnTo>
                  <a:lnTo>
                    <a:pt x="192025" y="5483569"/>
                  </a:lnTo>
                  <a:lnTo>
                    <a:pt x="231238" y="5530577"/>
                  </a:lnTo>
                  <a:lnTo>
                    <a:pt x="302924" y="5616609"/>
                  </a:lnTo>
                  <a:lnTo>
                    <a:pt x="320011" y="5697032"/>
                  </a:lnTo>
                  <a:lnTo>
                    <a:pt x="420306" y="5767257"/>
                  </a:lnTo>
                  <a:lnTo>
                    <a:pt x="466808" y="5799770"/>
                  </a:lnTo>
                  <a:lnTo>
                    <a:pt x="507228" y="5815499"/>
                  </a:lnTo>
                  <a:lnTo>
                    <a:pt x="535920" y="5869273"/>
                  </a:lnTo>
                  <a:lnTo>
                    <a:pt x="557004" y="5908802"/>
                  </a:lnTo>
                  <a:lnTo>
                    <a:pt x="584677" y="6052769"/>
                  </a:lnTo>
                  <a:lnTo>
                    <a:pt x="605293" y="6066501"/>
                  </a:lnTo>
                  <a:lnTo>
                    <a:pt x="640885" y="6004480"/>
                  </a:lnTo>
                  <a:lnTo>
                    <a:pt x="606059" y="5865363"/>
                  </a:lnTo>
                  <a:lnTo>
                    <a:pt x="642019" y="5786295"/>
                  </a:lnTo>
                  <a:lnTo>
                    <a:pt x="655981" y="5755608"/>
                  </a:lnTo>
                  <a:lnTo>
                    <a:pt x="681081" y="5751271"/>
                  </a:lnTo>
                  <a:lnTo>
                    <a:pt x="700503" y="5730528"/>
                  </a:lnTo>
                  <a:lnTo>
                    <a:pt x="742481" y="5723474"/>
                  </a:lnTo>
                  <a:lnTo>
                    <a:pt x="785558" y="5739836"/>
                  </a:lnTo>
                  <a:lnTo>
                    <a:pt x="827006" y="5740053"/>
                  </a:lnTo>
                  <a:lnTo>
                    <a:pt x="857885" y="5723006"/>
                  </a:lnTo>
                  <a:lnTo>
                    <a:pt x="902558" y="5716674"/>
                  </a:lnTo>
                  <a:lnTo>
                    <a:pt x="937183" y="5725089"/>
                  </a:lnTo>
                  <a:lnTo>
                    <a:pt x="966548" y="5732230"/>
                  </a:lnTo>
                  <a:lnTo>
                    <a:pt x="994730" y="5756756"/>
                  </a:lnTo>
                  <a:lnTo>
                    <a:pt x="1024235" y="5765896"/>
                  </a:lnTo>
                  <a:lnTo>
                    <a:pt x="1093282" y="5787107"/>
                  </a:lnTo>
                  <a:lnTo>
                    <a:pt x="1159489" y="5815583"/>
                  </a:lnTo>
                  <a:lnTo>
                    <a:pt x="1221463" y="5851584"/>
                  </a:lnTo>
                  <a:lnTo>
                    <a:pt x="1262012" y="5875136"/>
                  </a:lnTo>
                  <a:lnTo>
                    <a:pt x="1310810" y="5881895"/>
                  </a:lnTo>
                  <a:lnTo>
                    <a:pt x="1352041" y="5901919"/>
                  </a:lnTo>
                  <a:lnTo>
                    <a:pt x="1394764" y="5922612"/>
                  </a:lnTo>
                  <a:lnTo>
                    <a:pt x="1438752" y="5957553"/>
                  </a:lnTo>
                  <a:lnTo>
                    <a:pt x="1482619" y="5974008"/>
                  </a:lnTo>
                  <a:lnTo>
                    <a:pt x="1543617" y="5996831"/>
                  </a:lnTo>
                  <a:lnTo>
                    <a:pt x="1563889" y="5942893"/>
                  </a:lnTo>
                  <a:lnTo>
                    <a:pt x="1596876" y="5938639"/>
                  </a:lnTo>
                  <a:lnTo>
                    <a:pt x="1622084" y="5935405"/>
                  </a:lnTo>
                  <a:lnTo>
                    <a:pt x="1689369" y="5944078"/>
                  </a:lnTo>
                  <a:lnTo>
                    <a:pt x="1716019" y="5943188"/>
                  </a:lnTo>
                  <a:lnTo>
                    <a:pt x="1762224" y="5982928"/>
                  </a:lnTo>
                  <a:lnTo>
                    <a:pt x="1765752" y="6006263"/>
                  </a:lnTo>
                  <a:lnTo>
                    <a:pt x="1790021" y="6044729"/>
                  </a:lnTo>
                  <a:lnTo>
                    <a:pt x="1839035" y="6122346"/>
                  </a:lnTo>
                  <a:lnTo>
                    <a:pt x="1913207" y="6177728"/>
                  </a:lnTo>
                  <a:lnTo>
                    <a:pt x="1928766" y="6274603"/>
                  </a:lnTo>
                  <a:lnTo>
                    <a:pt x="1918602" y="6300276"/>
                  </a:lnTo>
                  <a:lnTo>
                    <a:pt x="1882220" y="6304741"/>
                  </a:lnTo>
                  <a:lnTo>
                    <a:pt x="1852938" y="6297982"/>
                  </a:lnTo>
                  <a:lnTo>
                    <a:pt x="1825389" y="6299088"/>
                  </a:lnTo>
                  <a:lnTo>
                    <a:pt x="1724859" y="6303166"/>
                  </a:lnTo>
                  <a:lnTo>
                    <a:pt x="1767672" y="6374833"/>
                  </a:lnTo>
                  <a:lnTo>
                    <a:pt x="1727457" y="6418787"/>
                  </a:lnTo>
                  <a:lnTo>
                    <a:pt x="1705396" y="6442844"/>
                  </a:lnTo>
                  <a:lnTo>
                    <a:pt x="1614986" y="6486792"/>
                  </a:lnTo>
                  <a:lnTo>
                    <a:pt x="1581912" y="6497675"/>
                  </a:lnTo>
                  <a:lnTo>
                    <a:pt x="1499372" y="6524752"/>
                  </a:lnTo>
                  <a:lnTo>
                    <a:pt x="1388854" y="6539843"/>
                  </a:lnTo>
                  <a:lnTo>
                    <a:pt x="1303074" y="6527602"/>
                  </a:lnTo>
                  <a:lnTo>
                    <a:pt x="1234303" y="6517736"/>
                  </a:lnTo>
                  <a:lnTo>
                    <a:pt x="1168412" y="6505029"/>
                  </a:lnTo>
                  <a:lnTo>
                    <a:pt x="1099046" y="6520796"/>
                  </a:lnTo>
                  <a:lnTo>
                    <a:pt x="1075918" y="6528960"/>
                  </a:lnTo>
                  <a:lnTo>
                    <a:pt x="1051948" y="6542395"/>
                  </a:lnTo>
                  <a:lnTo>
                    <a:pt x="1032222" y="6560288"/>
                  </a:lnTo>
                  <a:lnTo>
                    <a:pt x="1009271" y="6573847"/>
                  </a:lnTo>
                  <a:lnTo>
                    <a:pt x="981493" y="6590215"/>
                  </a:lnTo>
                  <a:lnTo>
                    <a:pt x="945464" y="6599396"/>
                  </a:lnTo>
                  <a:lnTo>
                    <a:pt x="919494" y="6617373"/>
                  </a:lnTo>
                  <a:lnTo>
                    <a:pt x="897328" y="6641133"/>
                  </a:lnTo>
                  <a:lnTo>
                    <a:pt x="876120" y="6659414"/>
                  </a:lnTo>
                  <a:lnTo>
                    <a:pt x="870526" y="6684020"/>
                  </a:lnTo>
                  <a:lnTo>
                    <a:pt x="885173" y="6716796"/>
                  </a:lnTo>
                  <a:lnTo>
                    <a:pt x="917686" y="6734820"/>
                  </a:lnTo>
                  <a:lnTo>
                    <a:pt x="939899" y="6760192"/>
                  </a:lnTo>
                  <a:lnTo>
                    <a:pt x="957482" y="6780299"/>
                  </a:lnTo>
                  <a:lnTo>
                    <a:pt x="965975" y="6818852"/>
                  </a:lnTo>
                  <a:lnTo>
                    <a:pt x="984783" y="6830929"/>
                  </a:lnTo>
                  <a:lnTo>
                    <a:pt x="1033078" y="6861956"/>
                  </a:lnTo>
                  <a:lnTo>
                    <a:pt x="1121950" y="6867736"/>
                  </a:lnTo>
                  <a:lnTo>
                    <a:pt x="1177934" y="6858133"/>
                  </a:lnTo>
                  <a:lnTo>
                    <a:pt x="1213296" y="6849966"/>
                  </a:lnTo>
                  <a:lnTo>
                    <a:pt x="1280163" y="6849966"/>
                  </a:lnTo>
                  <a:lnTo>
                    <a:pt x="1330278" y="6849966"/>
                  </a:lnTo>
                  <a:lnTo>
                    <a:pt x="1343198" y="6826886"/>
                  </a:lnTo>
                  <a:lnTo>
                    <a:pt x="1328787" y="6768309"/>
                  </a:lnTo>
                  <a:lnTo>
                    <a:pt x="1268133" y="6729763"/>
                  </a:lnTo>
                  <a:lnTo>
                    <a:pt x="1286752" y="6675862"/>
                  </a:lnTo>
                  <a:lnTo>
                    <a:pt x="1345539" y="6662428"/>
                  </a:lnTo>
                  <a:lnTo>
                    <a:pt x="1414146" y="6716585"/>
                  </a:lnTo>
                  <a:lnTo>
                    <a:pt x="1448615" y="6739793"/>
                  </a:lnTo>
                  <a:lnTo>
                    <a:pt x="1474542" y="6757219"/>
                  </a:lnTo>
                  <a:lnTo>
                    <a:pt x="1502426" y="6766021"/>
                  </a:lnTo>
                  <a:lnTo>
                    <a:pt x="1523429" y="6791477"/>
                  </a:lnTo>
                  <a:lnTo>
                    <a:pt x="1549908" y="6823661"/>
                  </a:lnTo>
                  <a:lnTo>
                    <a:pt x="1559002" y="6886907"/>
                  </a:lnTo>
                  <a:lnTo>
                    <a:pt x="1598234" y="6901659"/>
                  </a:lnTo>
                  <a:lnTo>
                    <a:pt x="1624502" y="6911519"/>
                  </a:lnTo>
                  <a:lnTo>
                    <a:pt x="1658168" y="6907138"/>
                  </a:lnTo>
                  <a:lnTo>
                    <a:pt x="1682564" y="6919339"/>
                  </a:lnTo>
                  <a:lnTo>
                    <a:pt x="1723888" y="6939995"/>
                  </a:lnTo>
                  <a:lnTo>
                    <a:pt x="1777398" y="6972384"/>
                  </a:lnTo>
                  <a:lnTo>
                    <a:pt x="1825389" y="6972384"/>
                  </a:lnTo>
                  <a:lnTo>
                    <a:pt x="1868493" y="6972384"/>
                  </a:lnTo>
                  <a:lnTo>
                    <a:pt x="1904919" y="6942203"/>
                  </a:lnTo>
                  <a:lnTo>
                    <a:pt x="1946445" y="6976458"/>
                  </a:lnTo>
                  <a:lnTo>
                    <a:pt x="1979770" y="7003966"/>
                  </a:lnTo>
                  <a:lnTo>
                    <a:pt x="2046972" y="7091651"/>
                  </a:lnTo>
                  <a:lnTo>
                    <a:pt x="2067508" y="7130166"/>
                  </a:lnTo>
                  <a:lnTo>
                    <a:pt x="2077752" y="7149331"/>
                  </a:lnTo>
                  <a:lnTo>
                    <a:pt x="2083910" y="7173137"/>
                  </a:lnTo>
                  <a:lnTo>
                    <a:pt x="2096070" y="7191372"/>
                  </a:lnTo>
                  <a:lnTo>
                    <a:pt x="2135048" y="7225978"/>
                  </a:lnTo>
                  <a:lnTo>
                    <a:pt x="2157155" y="7237707"/>
                  </a:lnTo>
                  <a:lnTo>
                    <a:pt x="2368150" y="7323950"/>
                  </a:lnTo>
                  <a:lnTo>
                    <a:pt x="2444492" y="7344479"/>
                  </a:lnTo>
                  <a:lnTo>
                    <a:pt x="2434760" y="7293133"/>
                  </a:lnTo>
                  <a:lnTo>
                    <a:pt x="2523170" y="7338275"/>
                  </a:lnTo>
                  <a:lnTo>
                    <a:pt x="2557220" y="7336783"/>
                  </a:lnTo>
                  <a:lnTo>
                    <a:pt x="2617880" y="7279618"/>
                  </a:lnTo>
                  <a:lnTo>
                    <a:pt x="2644232" y="7283866"/>
                  </a:lnTo>
                  <a:lnTo>
                    <a:pt x="2647246" y="7331429"/>
                  </a:lnTo>
                  <a:lnTo>
                    <a:pt x="2595221" y="7366456"/>
                  </a:lnTo>
                  <a:lnTo>
                    <a:pt x="2572137" y="7388600"/>
                  </a:lnTo>
                  <a:lnTo>
                    <a:pt x="2566696" y="7409005"/>
                  </a:lnTo>
                  <a:lnTo>
                    <a:pt x="2575625" y="7448113"/>
                  </a:lnTo>
                  <a:lnTo>
                    <a:pt x="2607375" y="7480499"/>
                  </a:lnTo>
                  <a:lnTo>
                    <a:pt x="2612947" y="7520536"/>
                  </a:lnTo>
                  <a:lnTo>
                    <a:pt x="2618730" y="7562236"/>
                  </a:lnTo>
                  <a:lnTo>
                    <a:pt x="2608349" y="7608143"/>
                  </a:lnTo>
                  <a:lnTo>
                    <a:pt x="2633346" y="7645682"/>
                  </a:lnTo>
                  <a:lnTo>
                    <a:pt x="2661868" y="7676877"/>
                  </a:lnTo>
                  <a:lnTo>
                    <a:pt x="2701397" y="7669399"/>
                  </a:lnTo>
                  <a:lnTo>
                    <a:pt x="2732645" y="7682402"/>
                  </a:lnTo>
                  <a:lnTo>
                    <a:pt x="2786747" y="7704931"/>
                  </a:lnTo>
                  <a:lnTo>
                    <a:pt x="2842350" y="7732306"/>
                  </a:lnTo>
                  <a:lnTo>
                    <a:pt x="2897227" y="7751775"/>
                  </a:lnTo>
                  <a:lnTo>
                    <a:pt x="2926258" y="7756364"/>
                  </a:lnTo>
                  <a:lnTo>
                    <a:pt x="2990062" y="7780297"/>
                  </a:lnTo>
                  <a:lnTo>
                    <a:pt x="3042512" y="7795341"/>
                  </a:lnTo>
                  <a:lnTo>
                    <a:pt x="3093095" y="7814348"/>
                  </a:lnTo>
                  <a:lnTo>
                    <a:pt x="3131346" y="7832325"/>
                  </a:lnTo>
                  <a:lnTo>
                    <a:pt x="3207094" y="7851707"/>
                  </a:lnTo>
                  <a:lnTo>
                    <a:pt x="3264523" y="7862627"/>
                  </a:lnTo>
                  <a:lnTo>
                    <a:pt x="3320250" y="7876912"/>
                  </a:lnTo>
                  <a:lnTo>
                    <a:pt x="3396078" y="7896334"/>
                  </a:lnTo>
                  <a:lnTo>
                    <a:pt x="3480875" y="7935060"/>
                  </a:lnTo>
                  <a:lnTo>
                    <a:pt x="3561004" y="7928598"/>
                  </a:lnTo>
                  <a:lnTo>
                    <a:pt x="3648651" y="7921461"/>
                  </a:lnTo>
                  <a:lnTo>
                    <a:pt x="3607122" y="7844603"/>
                  </a:lnTo>
                  <a:lnTo>
                    <a:pt x="3722864" y="7821147"/>
                  </a:lnTo>
                  <a:lnTo>
                    <a:pt x="3745266" y="7831600"/>
                  </a:lnTo>
                  <a:lnTo>
                    <a:pt x="3802397" y="7789525"/>
                  </a:lnTo>
                  <a:lnTo>
                    <a:pt x="3824879" y="7784421"/>
                  </a:lnTo>
                  <a:lnTo>
                    <a:pt x="3849833" y="7782976"/>
                  </a:lnTo>
                  <a:lnTo>
                    <a:pt x="3904540" y="7764444"/>
                  </a:lnTo>
                  <a:lnTo>
                    <a:pt x="3943303" y="7734641"/>
                  </a:lnTo>
                  <a:lnTo>
                    <a:pt x="3992184" y="7738176"/>
                  </a:lnTo>
                  <a:lnTo>
                    <a:pt x="4027084" y="7740768"/>
                  </a:lnTo>
                  <a:lnTo>
                    <a:pt x="4060111" y="7766357"/>
                  </a:lnTo>
                  <a:lnTo>
                    <a:pt x="4095560" y="7759933"/>
                  </a:lnTo>
                  <a:lnTo>
                    <a:pt x="4123317" y="7740681"/>
                  </a:lnTo>
                  <a:lnTo>
                    <a:pt x="4163318" y="7731581"/>
                  </a:lnTo>
                  <a:lnTo>
                    <a:pt x="4189716" y="7735023"/>
                  </a:lnTo>
                  <a:lnTo>
                    <a:pt x="4212539" y="7727287"/>
                  </a:lnTo>
                  <a:lnTo>
                    <a:pt x="4255129" y="7712838"/>
                  </a:lnTo>
                  <a:lnTo>
                    <a:pt x="4284628" y="7673777"/>
                  </a:lnTo>
                  <a:lnTo>
                    <a:pt x="4324074" y="7656559"/>
                  </a:lnTo>
                  <a:lnTo>
                    <a:pt x="4364415" y="7639000"/>
                  </a:lnTo>
                  <a:lnTo>
                    <a:pt x="4529128" y="7629057"/>
                  </a:lnTo>
                  <a:lnTo>
                    <a:pt x="4568908" y="7641602"/>
                  </a:lnTo>
                  <a:lnTo>
                    <a:pt x="4605381" y="7653161"/>
                  </a:lnTo>
                  <a:lnTo>
                    <a:pt x="4642575" y="7677516"/>
                  </a:lnTo>
                  <a:lnTo>
                    <a:pt x="4679085" y="7687844"/>
                  </a:lnTo>
                  <a:lnTo>
                    <a:pt x="4710838" y="7696860"/>
                  </a:lnTo>
                  <a:lnTo>
                    <a:pt x="4738979" y="7668251"/>
                  </a:lnTo>
                  <a:lnTo>
                    <a:pt x="4772942" y="7682402"/>
                  </a:lnTo>
                  <a:lnTo>
                    <a:pt x="4804909" y="7703189"/>
                  </a:lnTo>
                  <a:lnTo>
                    <a:pt x="4828710" y="7725928"/>
                  </a:lnTo>
                  <a:lnTo>
                    <a:pt x="4898885" y="7767207"/>
                  </a:lnTo>
                  <a:lnTo>
                    <a:pt x="4944916" y="7692098"/>
                  </a:lnTo>
                  <a:lnTo>
                    <a:pt x="5009613" y="7683761"/>
                  </a:lnTo>
                  <a:lnTo>
                    <a:pt x="5076049" y="7675222"/>
                  </a:lnTo>
                  <a:lnTo>
                    <a:pt x="5303462" y="7724992"/>
                  </a:lnTo>
                  <a:lnTo>
                    <a:pt x="5322456" y="7626635"/>
                  </a:lnTo>
                  <a:lnTo>
                    <a:pt x="5349667" y="7503068"/>
                  </a:lnTo>
                  <a:lnTo>
                    <a:pt x="5320208" y="7550848"/>
                  </a:lnTo>
                  <a:lnTo>
                    <a:pt x="5297977" y="7478378"/>
                  </a:lnTo>
                  <a:lnTo>
                    <a:pt x="5318382" y="7456615"/>
                  </a:lnTo>
                  <a:lnTo>
                    <a:pt x="5352978" y="7474124"/>
                  </a:lnTo>
                  <a:lnTo>
                    <a:pt x="5398079" y="7486917"/>
                  </a:lnTo>
                  <a:lnTo>
                    <a:pt x="5433231" y="7488151"/>
                  </a:lnTo>
                  <a:lnTo>
                    <a:pt x="5454402" y="7502857"/>
                  </a:lnTo>
                  <a:lnTo>
                    <a:pt x="5509229" y="7541028"/>
                  </a:lnTo>
                  <a:lnTo>
                    <a:pt x="5539243" y="7629268"/>
                  </a:lnTo>
                  <a:lnTo>
                    <a:pt x="5612184" y="7637518"/>
                  </a:lnTo>
                  <a:lnTo>
                    <a:pt x="5676115" y="7644699"/>
                  </a:lnTo>
                  <a:lnTo>
                    <a:pt x="5777024" y="7531339"/>
                  </a:lnTo>
                  <a:lnTo>
                    <a:pt x="5835256" y="7500141"/>
                  </a:lnTo>
                  <a:lnTo>
                    <a:pt x="5879548" y="7483984"/>
                  </a:lnTo>
                  <a:lnTo>
                    <a:pt x="5914870" y="7438551"/>
                  </a:lnTo>
                  <a:lnTo>
                    <a:pt x="5890601" y="7371045"/>
                  </a:lnTo>
                  <a:lnTo>
                    <a:pt x="5908709" y="7330117"/>
                  </a:lnTo>
                  <a:lnTo>
                    <a:pt x="5929030" y="7315833"/>
                  </a:lnTo>
                  <a:lnTo>
                    <a:pt x="5990744" y="7284631"/>
                  </a:lnTo>
                  <a:lnTo>
                    <a:pt x="5978714" y="7199365"/>
                  </a:lnTo>
                  <a:lnTo>
                    <a:pt x="6020243" y="7168251"/>
                  </a:lnTo>
                  <a:lnTo>
                    <a:pt x="6038729" y="7232520"/>
                  </a:lnTo>
                  <a:lnTo>
                    <a:pt x="5996310" y="7270518"/>
                  </a:lnTo>
                  <a:lnTo>
                    <a:pt x="5999838" y="7336917"/>
                  </a:lnTo>
                  <a:lnTo>
                    <a:pt x="6002774" y="7391323"/>
                  </a:lnTo>
                  <a:lnTo>
                    <a:pt x="6035293" y="7468980"/>
                  </a:lnTo>
                  <a:lnTo>
                    <a:pt x="6028407" y="7520536"/>
                  </a:lnTo>
                  <a:lnTo>
                    <a:pt x="6021939" y="7568999"/>
                  </a:lnTo>
                  <a:lnTo>
                    <a:pt x="5972252" y="7599049"/>
                  </a:lnTo>
                  <a:lnTo>
                    <a:pt x="5967195" y="7629361"/>
                  </a:lnTo>
                  <a:lnTo>
                    <a:pt x="5975781" y="7654565"/>
                  </a:lnTo>
                  <a:lnTo>
                    <a:pt x="6035715" y="7654051"/>
                  </a:lnTo>
                  <a:lnTo>
                    <a:pt x="6084298" y="7561520"/>
                  </a:lnTo>
                  <a:lnTo>
                    <a:pt x="6160346" y="7573587"/>
                  </a:lnTo>
                  <a:lnTo>
                    <a:pt x="6207401" y="7605381"/>
                  </a:lnTo>
                  <a:lnTo>
                    <a:pt x="6251389" y="7635729"/>
                  </a:lnTo>
                  <a:lnTo>
                    <a:pt x="6304523" y="7657923"/>
                  </a:lnTo>
                  <a:lnTo>
                    <a:pt x="6328497" y="7664425"/>
                  </a:lnTo>
                  <a:lnTo>
                    <a:pt x="6354895" y="7694135"/>
                  </a:lnTo>
                  <a:lnTo>
                    <a:pt x="6349032" y="7729200"/>
                  </a:lnTo>
                  <a:lnTo>
                    <a:pt x="6338527" y="7751775"/>
                  </a:lnTo>
                  <a:lnTo>
                    <a:pt x="6318504" y="7795003"/>
                  </a:lnTo>
                  <a:lnTo>
                    <a:pt x="6254706" y="7797301"/>
                  </a:lnTo>
                  <a:lnTo>
                    <a:pt x="6244676" y="7841552"/>
                  </a:lnTo>
                  <a:lnTo>
                    <a:pt x="6279185" y="7858249"/>
                  </a:lnTo>
                  <a:lnTo>
                    <a:pt x="6345919" y="7846523"/>
                  </a:lnTo>
                  <a:lnTo>
                    <a:pt x="6335256" y="7772561"/>
                  </a:lnTo>
                  <a:lnTo>
                    <a:pt x="6387495" y="7761297"/>
                  </a:lnTo>
                  <a:lnTo>
                    <a:pt x="6427787" y="7783826"/>
                  </a:lnTo>
                  <a:lnTo>
                    <a:pt x="6466560" y="7786207"/>
                  </a:lnTo>
                  <a:lnTo>
                    <a:pt x="6508548" y="7800743"/>
                  </a:lnTo>
                  <a:lnTo>
                    <a:pt x="6529806" y="7812429"/>
                  </a:lnTo>
                  <a:lnTo>
                    <a:pt x="6596670" y="7879714"/>
                  </a:lnTo>
                  <a:lnTo>
                    <a:pt x="6560539" y="7893915"/>
                  </a:lnTo>
                  <a:lnTo>
                    <a:pt x="6580646" y="7934046"/>
                  </a:lnTo>
                  <a:lnTo>
                    <a:pt x="6590121" y="7953000"/>
                  </a:lnTo>
                  <a:lnTo>
                    <a:pt x="6617583" y="7962943"/>
                  </a:lnTo>
                  <a:lnTo>
                    <a:pt x="6673264" y="8013058"/>
                  </a:lnTo>
                  <a:lnTo>
                    <a:pt x="6670120" y="8082180"/>
                  </a:lnTo>
                  <a:lnTo>
                    <a:pt x="6743870" y="8085023"/>
                  </a:lnTo>
                  <a:lnTo>
                    <a:pt x="6789263" y="8086762"/>
                  </a:lnTo>
                  <a:lnTo>
                    <a:pt x="6810939" y="8022410"/>
                  </a:lnTo>
                  <a:lnTo>
                    <a:pt x="6867642" y="8033336"/>
                  </a:lnTo>
                  <a:lnTo>
                    <a:pt x="6897991" y="8036741"/>
                  </a:lnTo>
                  <a:lnTo>
                    <a:pt x="6964812" y="8121873"/>
                  </a:lnTo>
                  <a:lnTo>
                    <a:pt x="7006384" y="8102709"/>
                  </a:lnTo>
                  <a:lnTo>
                    <a:pt x="6994481" y="8015142"/>
                  </a:lnTo>
                  <a:lnTo>
                    <a:pt x="6919419" y="7995041"/>
                  </a:lnTo>
                  <a:lnTo>
                    <a:pt x="6976464" y="7909558"/>
                  </a:lnTo>
                  <a:lnTo>
                    <a:pt x="7005575" y="7873727"/>
                  </a:lnTo>
                  <a:lnTo>
                    <a:pt x="7057392" y="7867008"/>
                  </a:lnTo>
                  <a:lnTo>
                    <a:pt x="7137260" y="7903992"/>
                  </a:lnTo>
                  <a:lnTo>
                    <a:pt x="7165528" y="7879631"/>
                  </a:lnTo>
                  <a:lnTo>
                    <a:pt x="7153960" y="7812388"/>
                  </a:lnTo>
                  <a:lnTo>
                    <a:pt x="7080724" y="7817151"/>
                  </a:lnTo>
                  <a:lnTo>
                    <a:pt x="7056710" y="7778980"/>
                  </a:lnTo>
                  <a:lnTo>
                    <a:pt x="7048673" y="7745952"/>
                  </a:lnTo>
                  <a:lnTo>
                    <a:pt x="7080426" y="7650780"/>
                  </a:lnTo>
                  <a:lnTo>
                    <a:pt x="7104828" y="7681131"/>
                  </a:lnTo>
                  <a:lnTo>
                    <a:pt x="7146481" y="7651118"/>
                  </a:lnTo>
                  <a:lnTo>
                    <a:pt x="7184823" y="7623532"/>
                  </a:lnTo>
                  <a:lnTo>
                    <a:pt x="7151163" y="7579199"/>
                  </a:lnTo>
                  <a:lnTo>
                    <a:pt x="7225376" y="7561346"/>
                  </a:lnTo>
                  <a:lnTo>
                    <a:pt x="7250028" y="7543878"/>
                  </a:lnTo>
                  <a:lnTo>
                    <a:pt x="7240590" y="7492107"/>
                  </a:lnTo>
                  <a:lnTo>
                    <a:pt x="7275701" y="7485177"/>
                  </a:lnTo>
                  <a:lnTo>
                    <a:pt x="7299207" y="7485704"/>
                  </a:lnTo>
                  <a:lnTo>
                    <a:pt x="7326284" y="7500990"/>
                  </a:lnTo>
                  <a:lnTo>
                    <a:pt x="7342358" y="7517820"/>
                  </a:lnTo>
                  <a:lnTo>
                    <a:pt x="7377165" y="7554119"/>
                  </a:lnTo>
                  <a:lnTo>
                    <a:pt x="7379038" y="7616692"/>
                  </a:lnTo>
                  <a:lnTo>
                    <a:pt x="7398115" y="7660639"/>
                  </a:lnTo>
                  <a:lnTo>
                    <a:pt x="7423782" y="7662915"/>
                  </a:lnTo>
                  <a:lnTo>
                    <a:pt x="7456599" y="7640234"/>
                  </a:lnTo>
                  <a:lnTo>
                    <a:pt x="7483937" y="7612562"/>
                  </a:lnTo>
                  <a:lnTo>
                    <a:pt x="7497409" y="7574945"/>
                  </a:lnTo>
                  <a:lnTo>
                    <a:pt x="7493986" y="7533140"/>
                  </a:lnTo>
                  <a:lnTo>
                    <a:pt x="7490603" y="7500135"/>
                  </a:lnTo>
                  <a:lnTo>
                    <a:pt x="7491843" y="7458097"/>
                  </a:lnTo>
                  <a:lnTo>
                    <a:pt x="7483341" y="7419628"/>
                  </a:lnTo>
                  <a:lnTo>
                    <a:pt x="7469900" y="7398076"/>
                  </a:lnTo>
                  <a:lnTo>
                    <a:pt x="7463398" y="7377717"/>
                  </a:lnTo>
                  <a:lnTo>
                    <a:pt x="7454431" y="7349663"/>
                  </a:lnTo>
                  <a:lnTo>
                    <a:pt x="7448013" y="7320462"/>
                  </a:lnTo>
                  <a:lnTo>
                    <a:pt x="7440277" y="7292023"/>
                  </a:lnTo>
                  <a:lnTo>
                    <a:pt x="7430095" y="7254360"/>
                  </a:lnTo>
                  <a:lnTo>
                    <a:pt x="7424049" y="7215088"/>
                  </a:lnTo>
                  <a:lnTo>
                    <a:pt x="7429397" y="7179125"/>
                  </a:lnTo>
                  <a:lnTo>
                    <a:pt x="7437239" y="7142860"/>
                  </a:lnTo>
                  <a:lnTo>
                    <a:pt x="7456915" y="7112016"/>
                  </a:lnTo>
                  <a:lnTo>
                    <a:pt x="7490603" y="7087992"/>
                  </a:lnTo>
                  <a:lnTo>
                    <a:pt x="7530048" y="7089350"/>
                  </a:lnTo>
                  <a:lnTo>
                    <a:pt x="7553610" y="7104822"/>
                  </a:lnTo>
                  <a:lnTo>
                    <a:pt x="7576067" y="7143573"/>
                  </a:lnTo>
                  <a:lnTo>
                    <a:pt x="7598060" y="7154639"/>
                  </a:lnTo>
                  <a:lnTo>
                    <a:pt x="7621671" y="7152686"/>
                  </a:lnTo>
                  <a:lnTo>
                    <a:pt x="7729320" y="7205604"/>
                  </a:lnTo>
                  <a:lnTo>
                    <a:pt x="7750804" y="7187013"/>
                  </a:lnTo>
                  <a:lnTo>
                    <a:pt x="7761833" y="7158760"/>
                  </a:lnTo>
                  <a:lnTo>
                    <a:pt x="7773525" y="7131524"/>
                  </a:lnTo>
                  <a:lnTo>
                    <a:pt x="7785217" y="7104280"/>
                  </a:lnTo>
                  <a:lnTo>
                    <a:pt x="7797753" y="7078684"/>
                  </a:lnTo>
                  <a:lnTo>
                    <a:pt x="7846990" y="7065891"/>
                  </a:lnTo>
                  <a:lnTo>
                    <a:pt x="7872818" y="7056710"/>
                  </a:lnTo>
                  <a:lnTo>
                    <a:pt x="7891540" y="7038727"/>
                  </a:lnTo>
                  <a:lnTo>
                    <a:pt x="7914986" y="7014542"/>
                  </a:lnTo>
                  <a:lnTo>
                    <a:pt x="7945679" y="7013733"/>
                  </a:lnTo>
                  <a:lnTo>
                    <a:pt x="7968350" y="7019364"/>
                  </a:lnTo>
                  <a:lnTo>
                    <a:pt x="7990792" y="7050289"/>
                  </a:lnTo>
                  <a:lnTo>
                    <a:pt x="8018360" y="7082551"/>
                  </a:lnTo>
                  <a:lnTo>
                    <a:pt x="8032145" y="7098680"/>
                  </a:lnTo>
                  <a:lnTo>
                    <a:pt x="8047412" y="7114642"/>
                  </a:lnTo>
                  <a:lnTo>
                    <a:pt x="8064605" y="7128799"/>
                  </a:lnTo>
                  <a:lnTo>
                    <a:pt x="8081804" y="7142959"/>
                  </a:lnTo>
                  <a:lnTo>
                    <a:pt x="8100215" y="7155142"/>
                  </a:lnTo>
                  <a:lnTo>
                    <a:pt x="8121736" y="7161445"/>
                  </a:lnTo>
                  <a:lnTo>
                    <a:pt x="8149791" y="7169655"/>
                  </a:lnTo>
                  <a:lnTo>
                    <a:pt x="8172378" y="7169386"/>
                  </a:lnTo>
                  <a:lnTo>
                    <a:pt x="8209836" y="7161662"/>
                  </a:lnTo>
                  <a:lnTo>
                    <a:pt x="8237351" y="7143756"/>
                  </a:lnTo>
                  <a:lnTo>
                    <a:pt x="8262457" y="7124685"/>
                  </a:lnTo>
                  <a:lnTo>
                    <a:pt x="8277922" y="7100891"/>
                  </a:lnTo>
                  <a:lnTo>
                    <a:pt x="8318962" y="7104314"/>
                  </a:lnTo>
                  <a:lnTo>
                    <a:pt x="8333075" y="7120973"/>
                  </a:lnTo>
                  <a:lnTo>
                    <a:pt x="8343450" y="7144054"/>
                  </a:lnTo>
                  <a:lnTo>
                    <a:pt x="8359771" y="7157355"/>
                  </a:lnTo>
                  <a:lnTo>
                    <a:pt x="8377454" y="7171727"/>
                  </a:lnTo>
                  <a:lnTo>
                    <a:pt x="8398749" y="7177782"/>
                  </a:lnTo>
                  <a:lnTo>
                    <a:pt x="8422338" y="7180486"/>
                  </a:lnTo>
                  <a:lnTo>
                    <a:pt x="8445993" y="7183183"/>
                  </a:lnTo>
                  <a:lnTo>
                    <a:pt x="8471892" y="7182706"/>
                  </a:lnTo>
                  <a:lnTo>
                    <a:pt x="8497155" y="7183202"/>
                  </a:lnTo>
                  <a:lnTo>
                    <a:pt x="8522416" y="7183729"/>
                  </a:lnTo>
                  <a:lnTo>
                    <a:pt x="8546777" y="7186321"/>
                  </a:lnTo>
                  <a:lnTo>
                    <a:pt x="8569238" y="7194082"/>
                  </a:lnTo>
                  <a:lnTo>
                    <a:pt x="8591760" y="7201846"/>
                  </a:lnTo>
                  <a:lnTo>
                    <a:pt x="8612317" y="7214474"/>
                  </a:lnTo>
                  <a:lnTo>
                    <a:pt x="8627730" y="7238969"/>
                  </a:lnTo>
                  <a:lnTo>
                    <a:pt x="8658423" y="7287763"/>
                  </a:lnTo>
                  <a:lnTo>
                    <a:pt x="8658990" y="7353734"/>
                  </a:lnTo>
                  <a:lnTo>
                    <a:pt x="8683494" y="7406274"/>
                  </a:lnTo>
                  <a:lnTo>
                    <a:pt x="8697866" y="7437072"/>
                  </a:lnTo>
                  <a:lnTo>
                    <a:pt x="8722695" y="7462093"/>
                  </a:lnTo>
                  <a:lnTo>
                    <a:pt x="8747425" y="7486529"/>
                  </a:lnTo>
                  <a:lnTo>
                    <a:pt x="8772159" y="7510956"/>
                  </a:lnTo>
                  <a:lnTo>
                    <a:pt x="8796210" y="7535087"/>
                  </a:lnTo>
                  <a:lnTo>
                    <a:pt x="8811366" y="7565417"/>
                  </a:lnTo>
                  <a:lnTo>
                    <a:pt x="8826190" y="7607833"/>
                  </a:lnTo>
                  <a:lnTo>
                    <a:pt x="8848086" y="7625265"/>
                  </a:lnTo>
                  <a:lnTo>
                    <a:pt x="8882608" y="7618419"/>
                  </a:lnTo>
                  <a:lnTo>
                    <a:pt x="8888381" y="7596240"/>
                  </a:lnTo>
                  <a:lnTo>
                    <a:pt x="8894328" y="7573575"/>
                  </a:lnTo>
                  <a:lnTo>
                    <a:pt x="8900278" y="7550907"/>
                  </a:lnTo>
                  <a:lnTo>
                    <a:pt x="8906299" y="7528564"/>
                  </a:lnTo>
                  <a:lnTo>
                    <a:pt x="8926974" y="7517808"/>
                  </a:lnTo>
                  <a:lnTo>
                    <a:pt x="8959750" y="7519383"/>
                  </a:lnTo>
                  <a:lnTo>
                    <a:pt x="8978478" y="7546160"/>
                  </a:lnTo>
                  <a:lnTo>
                    <a:pt x="8989547" y="7585813"/>
                  </a:lnTo>
                  <a:lnTo>
                    <a:pt x="8995237" y="7605982"/>
                  </a:lnTo>
                  <a:lnTo>
                    <a:pt x="9001118" y="7626387"/>
                  </a:lnTo>
                  <a:lnTo>
                    <a:pt x="9018826" y="7656782"/>
                  </a:lnTo>
                  <a:lnTo>
                    <a:pt x="9050759" y="7664707"/>
                  </a:lnTo>
                  <a:lnTo>
                    <a:pt x="9070953" y="7656503"/>
                  </a:lnTo>
                  <a:lnTo>
                    <a:pt x="9101078" y="7653821"/>
                  </a:lnTo>
                  <a:lnTo>
                    <a:pt x="9124333" y="7680852"/>
                  </a:lnTo>
                  <a:lnTo>
                    <a:pt x="9143076" y="7706060"/>
                  </a:lnTo>
                  <a:lnTo>
                    <a:pt x="9164752" y="7711545"/>
                  </a:lnTo>
                  <a:lnTo>
                    <a:pt x="9190248" y="7698839"/>
                  </a:lnTo>
                  <a:lnTo>
                    <a:pt x="9203103" y="7676949"/>
                  </a:lnTo>
                  <a:lnTo>
                    <a:pt x="9202061" y="7649468"/>
                  </a:lnTo>
                  <a:lnTo>
                    <a:pt x="9187888" y="7622812"/>
                  </a:lnTo>
                  <a:lnTo>
                    <a:pt x="9174531" y="7595338"/>
                  </a:lnTo>
                  <a:lnTo>
                    <a:pt x="9170351" y="7556909"/>
                  </a:lnTo>
                  <a:lnTo>
                    <a:pt x="9173313" y="7519501"/>
                  </a:lnTo>
                  <a:lnTo>
                    <a:pt x="9165037" y="7481075"/>
                  </a:lnTo>
                  <a:lnTo>
                    <a:pt x="9152309" y="7453830"/>
                  </a:lnTo>
                  <a:lnTo>
                    <a:pt x="9113344" y="7441630"/>
                  </a:lnTo>
                  <a:lnTo>
                    <a:pt x="9092849" y="7436492"/>
                  </a:lnTo>
                  <a:lnTo>
                    <a:pt x="9069917" y="7433912"/>
                  </a:lnTo>
                  <a:lnTo>
                    <a:pt x="9050780" y="7418508"/>
                  </a:lnTo>
                  <a:lnTo>
                    <a:pt x="9021833" y="7395254"/>
                  </a:lnTo>
                  <a:lnTo>
                    <a:pt x="8997729" y="7351858"/>
                  </a:lnTo>
                  <a:lnTo>
                    <a:pt x="9023086" y="7334008"/>
                  </a:lnTo>
                  <a:lnTo>
                    <a:pt x="9053497" y="7350494"/>
                  </a:lnTo>
                  <a:lnTo>
                    <a:pt x="9083241" y="7366288"/>
                  </a:lnTo>
                  <a:lnTo>
                    <a:pt x="9119955" y="7347586"/>
                  </a:lnTo>
                  <a:lnTo>
                    <a:pt x="9128618" y="7325020"/>
                  </a:lnTo>
                  <a:lnTo>
                    <a:pt x="9136474" y="7301526"/>
                  </a:lnTo>
                  <a:lnTo>
                    <a:pt x="9144322" y="7278043"/>
                  </a:lnTo>
                  <a:lnTo>
                    <a:pt x="9150480" y="7253753"/>
                  </a:lnTo>
                  <a:lnTo>
                    <a:pt x="9169111" y="7234879"/>
                  </a:lnTo>
                  <a:lnTo>
                    <a:pt x="9206259" y="7245254"/>
                  </a:lnTo>
                  <a:lnTo>
                    <a:pt x="9223527" y="7271606"/>
                  </a:lnTo>
                  <a:lnTo>
                    <a:pt x="9245835" y="7297452"/>
                  </a:lnTo>
                  <a:lnTo>
                    <a:pt x="9263220" y="7334706"/>
                  </a:lnTo>
                  <a:lnTo>
                    <a:pt x="9266625" y="7355591"/>
                  </a:lnTo>
                  <a:lnTo>
                    <a:pt x="9264817" y="7397087"/>
                  </a:lnTo>
                  <a:lnTo>
                    <a:pt x="9260135" y="7417994"/>
                  </a:lnTo>
                  <a:lnTo>
                    <a:pt x="9244207" y="7476663"/>
                  </a:lnTo>
                  <a:lnTo>
                    <a:pt x="9230134" y="7512599"/>
                  </a:lnTo>
                  <a:lnTo>
                    <a:pt x="9239848" y="7540929"/>
                  </a:lnTo>
                  <a:lnTo>
                    <a:pt x="9269769" y="7550445"/>
                  </a:lnTo>
                  <a:lnTo>
                    <a:pt x="9295609" y="7515098"/>
                  </a:lnTo>
                  <a:lnTo>
                    <a:pt x="9322035" y="7503378"/>
                  </a:lnTo>
                  <a:lnTo>
                    <a:pt x="9345941" y="7485156"/>
                  </a:lnTo>
                  <a:lnTo>
                    <a:pt x="9369400" y="7464961"/>
                  </a:lnTo>
                  <a:lnTo>
                    <a:pt x="9390543" y="7434619"/>
                  </a:lnTo>
                  <a:lnTo>
                    <a:pt x="9399848" y="7415349"/>
                  </a:lnTo>
                  <a:lnTo>
                    <a:pt x="9408514" y="7387220"/>
                  </a:lnTo>
                  <a:lnTo>
                    <a:pt x="9418609" y="7353384"/>
                  </a:lnTo>
                  <a:lnTo>
                    <a:pt x="9405435" y="7324716"/>
                  </a:lnTo>
                  <a:lnTo>
                    <a:pt x="9377241" y="7317851"/>
                  </a:lnTo>
                  <a:lnTo>
                    <a:pt x="9347609" y="7307945"/>
                  </a:lnTo>
                  <a:lnTo>
                    <a:pt x="9337789" y="7289288"/>
                  </a:lnTo>
                  <a:lnTo>
                    <a:pt x="9309906" y="7236237"/>
                  </a:lnTo>
                  <a:lnTo>
                    <a:pt x="9274882" y="7214732"/>
                  </a:lnTo>
                  <a:lnTo>
                    <a:pt x="9248021" y="7166865"/>
                  </a:lnTo>
                  <a:lnTo>
                    <a:pt x="9234670" y="7129066"/>
                  </a:lnTo>
                  <a:lnTo>
                    <a:pt x="9233048" y="7101576"/>
                  </a:lnTo>
                  <a:lnTo>
                    <a:pt x="9231480" y="7074089"/>
                  </a:lnTo>
                  <a:lnTo>
                    <a:pt x="9233048" y="7042454"/>
                  </a:lnTo>
                  <a:lnTo>
                    <a:pt x="9235799" y="7010450"/>
                  </a:lnTo>
                  <a:lnTo>
                    <a:pt x="9240912" y="6946426"/>
                  </a:lnTo>
                  <a:lnTo>
                    <a:pt x="9251903" y="6880206"/>
                  </a:lnTo>
                  <a:lnTo>
                    <a:pt x="9257555" y="6844500"/>
                  </a:lnTo>
                  <a:lnTo>
                    <a:pt x="9278903" y="6833242"/>
                  </a:lnTo>
                  <a:lnTo>
                    <a:pt x="9310138" y="6842556"/>
                  </a:lnTo>
                  <a:lnTo>
                    <a:pt x="9361286" y="6869640"/>
                  </a:lnTo>
                  <a:lnTo>
                    <a:pt x="9390840" y="6895650"/>
                  </a:lnTo>
                  <a:lnTo>
                    <a:pt x="9416705" y="6926114"/>
                  </a:lnTo>
                  <a:lnTo>
                    <a:pt x="9442555" y="6956574"/>
                  </a:lnTo>
                  <a:lnTo>
                    <a:pt x="9464873" y="6990807"/>
                  </a:lnTo>
                  <a:lnTo>
                    <a:pt x="9488788" y="7026771"/>
                  </a:lnTo>
                  <a:lnTo>
                    <a:pt x="9504477" y="7059197"/>
                  </a:lnTo>
                  <a:lnTo>
                    <a:pt x="9544943" y="7103325"/>
                  </a:lnTo>
                  <a:lnTo>
                    <a:pt x="9564963" y="7122496"/>
                  </a:lnTo>
                  <a:lnTo>
                    <a:pt x="9585368" y="7164149"/>
                  </a:lnTo>
                  <a:lnTo>
                    <a:pt x="9610356" y="7214943"/>
                  </a:lnTo>
                  <a:lnTo>
                    <a:pt x="9637495" y="7372642"/>
                  </a:lnTo>
                  <a:lnTo>
                    <a:pt x="9657450" y="7398104"/>
                  </a:lnTo>
                  <a:lnTo>
                    <a:pt x="9673313" y="7418375"/>
                  </a:lnTo>
                  <a:lnTo>
                    <a:pt x="9726032" y="7441037"/>
                  </a:lnTo>
                  <a:lnTo>
                    <a:pt x="9749950" y="7455229"/>
                  </a:lnTo>
                  <a:lnTo>
                    <a:pt x="9762315" y="7482709"/>
                  </a:lnTo>
                  <a:lnTo>
                    <a:pt x="9761723" y="7566313"/>
                  </a:lnTo>
                  <a:lnTo>
                    <a:pt x="9763556" y="7645664"/>
                  </a:lnTo>
                  <a:lnTo>
                    <a:pt x="9764421" y="7685333"/>
                  </a:lnTo>
                  <a:lnTo>
                    <a:pt x="9765252" y="7724037"/>
                  </a:lnTo>
                  <a:lnTo>
                    <a:pt x="9768991" y="7754472"/>
                  </a:lnTo>
                  <a:lnTo>
                    <a:pt x="9772643" y="7784914"/>
                  </a:lnTo>
                  <a:lnTo>
                    <a:pt x="9779207" y="7806559"/>
                  </a:lnTo>
                  <a:lnTo>
                    <a:pt x="9809463" y="7813622"/>
                  </a:lnTo>
                  <a:lnTo>
                    <a:pt x="9832916" y="7781683"/>
                  </a:lnTo>
                  <a:lnTo>
                    <a:pt x="9842214" y="7761929"/>
                  </a:lnTo>
                  <a:lnTo>
                    <a:pt x="9846546" y="7734278"/>
                  </a:lnTo>
                  <a:lnTo>
                    <a:pt x="9849237" y="7705511"/>
                  </a:lnTo>
                  <a:lnTo>
                    <a:pt x="9854632" y="7647970"/>
                  </a:lnTo>
                  <a:lnTo>
                    <a:pt x="9850589" y="7584114"/>
                  </a:lnTo>
                  <a:lnTo>
                    <a:pt x="9854679" y="7558602"/>
                  </a:lnTo>
                  <a:lnTo>
                    <a:pt x="9858858" y="7532765"/>
                  </a:lnTo>
                  <a:lnTo>
                    <a:pt x="9884646" y="7444098"/>
                  </a:lnTo>
                  <a:lnTo>
                    <a:pt x="9857553" y="7402376"/>
                  </a:lnTo>
                  <a:lnTo>
                    <a:pt x="9836404" y="7394184"/>
                  </a:lnTo>
                  <a:lnTo>
                    <a:pt x="9815233" y="7388582"/>
                  </a:lnTo>
                  <a:lnTo>
                    <a:pt x="9794118" y="7382982"/>
                  </a:lnTo>
                  <a:lnTo>
                    <a:pt x="9773428" y="7379078"/>
                  </a:lnTo>
                  <a:lnTo>
                    <a:pt x="9756744" y="7362735"/>
                  </a:lnTo>
                  <a:lnTo>
                    <a:pt x="9745244" y="7338433"/>
                  </a:lnTo>
                  <a:lnTo>
                    <a:pt x="9751938" y="7302708"/>
                  </a:lnTo>
                  <a:lnTo>
                    <a:pt x="9760706" y="7282852"/>
                  </a:lnTo>
                  <a:lnTo>
                    <a:pt x="9771707" y="7263442"/>
                  </a:lnTo>
                  <a:lnTo>
                    <a:pt x="9793814" y="7224626"/>
                  </a:lnTo>
                  <a:lnTo>
                    <a:pt x="9826373" y="7189440"/>
                  </a:lnTo>
                  <a:lnTo>
                    <a:pt x="9849237" y="7187270"/>
                  </a:lnTo>
                  <a:lnTo>
                    <a:pt x="9884330" y="7215206"/>
                  </a:lnTo>
                  <a:lnTo>
                    <a:pt x="9900927" y="7238963"/>
                  </a:lnTo>
                  <a:lnTo>
                    <a:pt x="9917521" y="7262716"/>
                  </a:lnTo>
                  <a:lnTo>
                    <a:pt x="9933018" y="7288352"/>
                  </a:lnTo>
                  <a:lnTo>
                    <a:pt x="9948543" y="7302885"/>
                  </a:lnTo>
                  <a:lnTo>
                    <a:pt x="9974436" y="7327221"/>
                  </a:lnTo>
                  <a:lnTo>
                    <a:pt x="9995703" y="7328964"/>
                  </a:lnTo>
                  <a:lnTo>
                    <a:pt x="10034658" y="7325782"/>
                  </a:lnTo>
                  <a:lnTo>
                    <a:pt x="10070945" y="7334173"/>
                  </a:lnTo>
                  <a:lnTo>
                    <a:pt x="10091542" y="7348516"/>
                  </a:lnTo>
                  <a:lnTo>
                    <a:pt x="10100431" y="7368071"/>
                  </a:lnTo>
                  <a:lnTo>
                    <a:pt x="10109029" y="7388582"/>
                  </a:lnTo>
                  <a:lnTo>
                    <a:pt x="10117695" y="7409089"/>
                  </a:lnTo>
                  <a:lnTo>
                    <a:pt x="10126994" y="7429751"/>
                  </a:lnTo>
                  <a:lnTo>
                    <a:pt x="10145765" y="7444352"/>
                  </a:lnTo>
                  <a:lnTo>
                    <a:pt x="10176120" y="7467981"/>
                  </a:lnTo>
                  <a:lnTo>
                    <a:pt x="10227428" y="7467513"/>
                  </a:lnTo>
                  <a:lnTo>
                    <a:pt x="10261373" y="7487872"/>
                  </a:lnTo>
                  <a:lnTo>
                    <a:pt x="10291874" y="7506174"/>
                  </a:lnTo>
                  <a:lnTo>
                    <a:pt x="10315813" y="7542352"/>
                  </a:lnTo>
                  <a:lnTo>
                    <a:pt x="10347073" y="7565408"/>
                  </a:lnTo>
                  <a:lnTo>
                    <a:pt x="10380938" y="7584858"/>
                  </a:lnTo>
                  <a:lnTo>
                    <a:pt x="10422024" y="7586765"/>
                  </a:lnTo>
                  <a:lnTo>
                    <a:pt x="10445015" y="7581522"/>
                  </a:lnTo>
                  <a:lnTo>
                    <a:pt x="10473571" y="7564044"/>
                  </a:lnTo>
                  <a:lnTo>
                    <a:pt x="10492261" y="7552621"/>
                  </a:lnTo>
                  <a:lnTo>
                    <a:pt x="10506816" y="7536445"/>
                  </a:lnTo>
                  <a:lnTo>
                    <a:pt x="10517091" y="7517802"/>
                  </a:lnTo>
                  <a:lnTo>
                    <a:pt x="10527425" y="7499158"/>
                  </a:lnTo>
                  <a:lnTo>
                    <a:pt x="10533775" y="7476834"/>
                  </a:lnTo>
                  <a:lnTo>
                    <a:pt x="10540218" y="7455229"/>
                  </a:lnTo>
                  <a:lnTo>
                    <a:pt x="10553110" y="7412025"/>
                  </a:lnTo>
                  <a:lnTo>
                    <a:pt x="10562298" y="7367733"/>
                  </a:lnTo>
                  <a:lnTo>
                    <a:pt x="10586470" y="7338256"/>
                  </a:lnTo>
                  <a:lnTo>
                    <a:pt x="10613547" y="7331410"/>
                  </a:lnTo>
                  <a:lnTo>
                    <a:pt x="10645626" y="7348035"/>
                  </a:lnTo>
                  <a:lnTo>
                    <a:pt x="10734470" y="7496129"/>
                  </a:lnTo>
                  <a:lnTo>
                    <a:pt x="10737453" y="7521888"/>
                  </a:lnTo>
                  <a:lnTo>
                    <a:pt x="10740280" y="7547220"/>
                  </a:lnTo>
                  <a:lnTo>
                    <a:pt x="10722489" y="7579013"/>
                  </a:lnTo>
                  <a:lnTo>
                    <a:pt x="10710797" y="7622859"/>
                  </a:lnTo>
                  <a:lnTo>
                    <a:pt x="10716651" y="7653905"/>
                  </a:lnTo>
                  <a:lnTo>
                    <a:pt x="10717048" y="7687832"/>
                  </a:lnTo>
                  <a:lnTo>
                    <a:pt x="10716521" y="7721597"/>
                  </a:lnTo>
                  <a:lnTo>
                    <a:pt x="10711600" y="7742238"/>
                  </a:lnTo>
                  <a:lnTo>
                    <a:pt x="10706673" y="7762887"/>
                  </a:lnTo>
                  <a:lnTo>
                    <a:pt x="10697182" y="7787255"/>
                  </a:lnTo>
                  <a:lnTo>
                    <a:pt x="10681679" y="7815687"/>
                  </a:lnTo>
                  <a:lnTo>
                    <a:pt x="10659209" y="7849524"/>
                  </a:lnTo>
                  <a:lnTo>
                    <a:pt x="10635785" y="7864066"/>
                  </a:lnTo>
                  <a:lnTo>
                    <a:pt x="10610651" y="7862906"/>
                  </a:lnTo>
                  <a:lnTo>
                    <a:pt x="10594627" y="7845614"/>
                  </a:lnTo>
                  <a:lnTo>
                    <a:pt x="10581410" y="7810481"/>
                  </a:lnTo>
                  <a:lnTo>
                    <a:pt x="10580560" y="7769213"/>
                  </a:lnTo>
                  <a:lnTo>
                    <a:pt x="10582814" y="7748166"/>
                  </a:lnTo>
                  <a:lnTo>
                    <a:pt x="10581918" y="7714394"/>
                  </a:lnTo>
                  <a:lnTo>
                    <a:pt x="10575580" y="7693996"/>
                  </a:lnTo>
                  <a:lnTo>
                    <a:pt x="10555175" y="7670149"/>
                  </a:lnTo>
                  <a:lnTo>
                    <a:pt x="10514735" y="7702445"/>
                  </a:lnTo>
                  <a:lnTo>
                    <a:pt x="10498050" y="7736799"/>
                  </a:lnTo>
                  <a:lnTo>
                    <a:pt x="10481307" y="7771151"/>
                  </a:lnTo>
                  <a:lnTo>
                    <a:pt x="10468412" y="7808420"/>
                  </a:lnTo>
                  <a:lnTo>
                    <a:pt x="10443641" y="7833373"/>
                  </a:lnTo>
                  <a:lnTo>
                    <a:pt x="10421004" y="7814565"/>
                  </a:lnTo>
                  <a:lnTo>
                    <a:pt x="10421878" y="7792563"/>
                  </a:lnTo>
                  <a:lnTo>
                    <a:pt x="10430749" y="7769039"/>
                  </a:lnTo>
                  <a:lnTo>
                    <a:pt x="10442925" y="7745357"/>
                  </a:lnTo>
                  <a:lnTo>
                    <a:pt x="10453160" y="7720475"/>
                  </a:lnTo>
                  <a:lnTo>
                    <a:pt x="10456642" y="7692368"/>
                  </a:lnTo>
                  <a:lnTo>
                    <a:pt x="10438209" y="7666069"/>
                  </a:lnTo>
                  <a:lnTo>
                    <a:pt x="10415299" y="7666726"/>
                  </a:lnTo>
                  <a:lnTo>
                    <a:pt x="10390804" y="7683202"/>
                  </a:lnTo>
                  <a:lnTo>
                    <a:pt x="10373875" y="7709337"/>
                  </a:lnTo>
                  <a:lnTo>
                    <a:pt x="10366672" y="7731079"/>
                  </a:lnTo>
                  <a:lnTo>
                    <a:pt x="10335400" y="7761746"/>
                  </a:lnTo>
                  <a:lnTo>
                    <a:pt x="10304524" y="7770168"/>
                  </a:lnTo>
                  <a:lnTo>
                    <a:pt x="10287226" y="7791205"/>
                  </a:lnTo>
                  <a:lnTo>
                    <a:pt x="10267770" y="7823882"/>
                  </a:lnTo>
                  <a:lnTo>
                    <a:pt x="10262744" y="7844256"/>
                  </a:lnTo>
                  <a:lnTo>
                    <a:pt x="10257718" y="7864621"/>
                  </a:lnTo>
                  <a:lnTo>
                    <a:pt x="10255352" y="7886964"/>
                  </a:lnTo>
                  <a:lnTo>
                    <a:pt x="10255938" y="7909545"/>
                  </a:lnTo>
                  <a:lnTo>
                    <a:pt x="10257243" y="7954699"/>
                  </a:lnTo>
                  <a:lnTo>
                    <a:pt x="10269057" y="8000547"/>
                  </a:lnTo>
                  <a:lnTo>
                    <a:pt x="10287226" y="8030601"/>
                  </a:lnTo>
                  <a:lnTo>
                    <a:pt x="10308440" y="8038759"/>
                  </a:lnTo>
                  <a:lnTo>
                    <a:pt x="10356558" y="8098061"/>
                  </a:lnTo>
                  <a:lnTo>
                    <a:pt x="10363395" y="8120370"/>
                  </a:lnTo>
                  <a:lnTo>
                    <a:pt x="10351157" y="8148938"/>
                  </a:lnTo>
                  <a:lnTo>
                    <a:pt x="10325224" y="8156972"/>
                  </a:lnTo>
                  <a:lnTo>
                    <a:pt x="10291188" y="8131001"/>
                  </a:lnTo>
                  <a:lnTo>
                    <a:pt x="10271627" y="8098014"/>
                  </a:lnTo>
                  <a:lnTo>
                    <a:pt x="10238258" y="8086368"/>
                  </a:lnTo>
                  <a:lnTo>
                    <a:pt x="10204598" y="8101158"/>
                  </a:lnTo>
                  <a:lnTo>
                    <a:pt x="10193381" y="8135333"/>
                  </a:lnTo>
                  <a:lnTo>
                    <a:pt x="10179267" y="8161266"/>
                  </a:lnTo>
                  <a:lnTo>
                    <a:pt x="10152642" y="8176822"/>
                  </a:lnTo>
                  <a:lnTo>
                    <a:pt x="10138971" y="8204705"/>
                  </a:lnTo>
                  <a:lnTo>
                    <a:pt x="10129304" y="8224338"/>
                  </a:lnTo>
                  <a:lnTo>
                    <a:pt x="10126678" y="8249934"/>
                  </a:lnTo>
                  <a:lnTo>
                    <a:pt x="10132166" y="8271356"/>
                  </a:lnTo>
                  <a:lnTo>
                    <a:pt x="10137660" y="8292775"/>
                  </a:lnTo>
                  <a:lnTo>
                    <a:pt x="10150974" y="8310541"/>
                  </a:lnTo>
                  <a:lnTo>
                    <a:pt x="10175692" y="8316240"/>
                  </a:lnTo>
                  <a:lnTo>
                    <a:pt x="10207736" y="8323638"/>
                  </a:lnTo>
                  <a:lnTo>
                    <a:pt x="10238810" y="8315778"/>
                  </a:lnTo>
                  <a:lnTo>
                    <a:pt x="10269549" y="8309440"/>
                  </a:lnTo>
                  <a:lnTo>
                    <a:pt x="10300230" y="8303134"/>
                  </a:lnTo>
                  <a:lnTo>
                    <a:pt x="10331332" y="8297602"/>
                  </a:lnTo>
                  <a:lnTo>
                    <a:pt x="10363395" y="8310798"/>
                  </a:lnTo>
                  <a:lnTo>
                    <a:pt x="10378346" y="8327867"/>
                  </a:lnTo>
                  <a:lnTo>
                    <a:pt x="10381078" y="8366565"/>
                  </a:lnTo>
                  <a:lnTo>
                    <a:pt x="10371956" y="8406470"/>
                  </a:lnTo>
                  <a:lnTo>
                    <a:pt x="10364753" y="8426413"/>
                  </a:lnTo>
                  <a:lnTo>
                    <a:pt x="10357612" y="8446356"/>
                  </a:lnTo>
                  <a:lnTo>
                    <a:pt x="10350906" y="8466761"/>
                  </a:lnTo>
                  <a:lnTo>
                    <a:pt x="10346044" y="8503047"/>
                  </a:lnTo>
                  <a:lnTo>
                    <a:pt x="10360679" y="8533870"/>
                  </a:lnTo>
                  <a:lnTo>
                    <a:pt x="10381078" y="8540669"/>
                  </a:lnTo>
                  <a:lnTo>
                    <a:pt x="10404958" y="8535284"/>
                  </a:lnTo>
                  <a:lnTo>
                    <a:pt x="10430051" y="8509391"/>
                  </a:lnTo>
                  <a:lnTo>
                    <a:pt x="10444215" y="8476686"/>
                  </a:lnTo>
                  <a:lnTo>
                    <a:pt x="10453910" y="8441429"/>
                  </a:lnTo>
                  <a:lnTo>
                    <a:pt x="10468130" y="8410091"/>
                  </a:lnTo>
                  <a:lnTo>
                    <a:pt x="10490600" y="8383870"/>
                  </a:lnTo>
                  <a:lnTo>
                    <a:pt x="10513020" y="8378806"/>
                  </a:lnTo>
                  <a:lnTo>
                    <a:pt x="10559061" y="8392409"/>
                  </a:lnTo>
                  <a:lnTo>
                    <a:pt x="10588373" y="8402328"/>
                  </a:lnTo>
                  <a:lnTo>
                    <a:pt x="10617761" y="8404650"/>
                  </a:lnTo>
                  <a:lnTo>
                    <a:pt x="10647089" y="8406978"/>
                  </a:lnTo>
                  <a:lnTo>
                    <a:pt x="10676765" y="8402011"/>
                  </a:lnTo>
                  <a:lnTo>
                    <a:pt x="10723854" y="8388328"/>
                  </a:lnTo>
                  <a:lnTo>
                    <a:pt x="10744720" y="8365570"/>
                  </a:lnTo>
                  <a:lnTo>
                    <a:pt x="10759247" y="8340015"/>
                  </a:lnTo>
                  <a:lnTo>
                    <a:pt x="10770105" y="8313514"/>
                  </a:lnTo>
                  <a:lnTo>
                    <a:pt x="10780914" y="8287023"/>
                  </a:lnTo>
                  <a:lnTo>
                    <a:pt x="10788036" y="8260110"/>
                  </a:lnTo>
                  <a:lnTo>
                    <a:pt x="10794584" y="8231910"/>
                  </a:lnTo>
                  <a:lnTo>
                    <a:pt x="10807799" y="8175504"/>
                  </a:lnTo>
                  <a:lnTo>
                    <a:pt x="10818248" y="8117052"/>
                  </a:lnTo>
                  <a:lnTo>
                    <a:pt x="10848993" y="8065964"/>
                  </a:lnTo>
                  <a:lnTo>
                    <a:pt x="10866443" y="8037057"/>
                  </a:lnTo>
                  <a:lnTo>
                    <a:pt x="10889887" y="8009558"/>
                  </a:lnTo>
                  <a:lnTo>
                    <a:pt x="10908841" y="7980270"/>
                  </a:lnTo>
                  <a:lnTo>
                    <a:pt x="10927854" y="7950988"/>
                  </a:lnTo>
                  <a:lnTo>
                    <a:pt x="10942442" y="7919569"/>
                  </a:lnTo>
                  <a:lnTo>
                    <a:pt x="10941487" y="7883699"/>
                  </a:lnTo>
                  <a:lnTo>
                    <a:pt x="10940891" y="7860999"/>
                  </a:lnTo>
                  <a:lnTo>
                    <a:pt x="10933242" y="7793797"/>
                  </a:lnTo>
                  <a:lnTo>
                    <a:pt x="10923804" y="7774884"/>
                  </a:lnTo>
                  <a:lnTo>
                    <a:pt x="10907560" y="7745977"/>
                  </a:lnTo>
                  <a:lnTo>
                    <a:pt x="10896721" y="7700901"/>
                  </a:lnTo>
                  <a:lnTo>
                    <a:pt x="10891257" y="7649211"/>
                  </a:lnTo>
                  <a:lnTo>
                    <a:pt x="10889800" y="7598054"/>
                  </a:lnTo>
                  <a:lnTo>
                    <a:pt x="10888278" y="7546898"/>
                  </a:lnTo>
                  <a:lnTo>
                    <a:pt x="10890395" y="7495512"/>
                  </a:lnTo>
                  <a:lnTo>
                    <a:pt x="10897958" y="7468834"/>
                  </a:lnTo>
                  <a:lnTo>
                    <a:pt x="10919625" y="7444684"/>
                  </a:lnTo>
                  <a:lnTo>
                    <a:pt x="10937245" y="7429726"/>
                  </a:lnTo>
                  <a:lnTo>
                    <a:pt x="10957808" y="7417150"/>
                  </a:lnTo>
                  <a:lnTo>
                    <a:pt x="10978424" y="7404571"/>
                  </a:lnTo>
                  <a:lnTo>
                    <a:pt x="11001750" y="7394119"/>
                  </a:lnTo>
                  <a:lnTo>
                    <a:pt x="11025820" y="7387220"/>
                  </a:lnTo>
                  <a:lnTo>
                    <a:pt x="11049834" y="7380325"/>
                  </a:lnTo>
                  <a:lnTo>
                    <a:pt x="11075389" y="7376663"/>
                  </a:lnTo>
                  <a:lnTo>
                    <a:pt x="11099269" y="7376341"/>
                  </a:lnTo>
                  <a:lnTo>
                    <a:pt x="11123194" y="7376012"/>
                  </a:lnTo>
                  <a:lnTo>
                    <a:pt x="11145722" y="7378700"/>
                  </a:lnTo>
                  <a:lnTo>
                    <a:pt x="11165923" y="7385862"/>
                  </a:lnTo>
                  <a:lnTo>
                    <a:pt x="11197031" y="7406605"/>
                  </a:lnTo>
                  <a:lnTo>
                    <a:pt x="11222704" y="7424542"/>
                  </a:lnTo>
                  <a:lnTo>
                    <a:pt x="11246169" y="7433472"/>
                  </a:lnTo>
                  <a:lnTo>
                    <a:pt x="11293351" y="7461737"/>
                  </a:lnTo>
                  <a:lnTo>
                    <a:pt x="11328263" y="7496209"/>
                  </a:lnTo>
                  <a:lnTo>
                    <a:pt x="11365867" y="7535487"/>
                  </a:lnTo>
                  <a:lnTo>
                    <a:pt x="11393664" y="7564472"/>
                  </a:lnTo>
                  <a:lnTo>
                    <a:pt x="11427714" y="7582371"/>
                  </a:lnTo>
                  <a:lnTo>
                    <a:pt x="11446120" y="7619817"/>
                  </a:lnTo>
                  <a:lnTo>
                    <a:pt x="11460615" y="7649316"/>
                  </a:lnTo>
                  <a:lnTo>
                    <a:pt x="11486759" y="7819637"/>
                  </a:lnTo>
                  <a:lnTo>
                    <a:pt x="11486929" y="7856494"/>
                  </a:lnTo>
                  <a:lnTo>
                    <a:pt x="11467033" y="7878257"/>
                  </a:lnTo>
                  <a:lnTo>
                    <a:pt x="11432765" y="7878245"/>
                  </a:lnTo>
                  <a:lnTo>
                    <a:pt x="11401235" y="7859213"/>
                  </a:lnTo>
                  <a:lnTo>
                    <a:pt x="11374930" y="7832477"/>
                  </a:lnTo>
                  <a:lnTo>
                    <a:pt x="11354088" y="7801620"/>
                  </a:lnTo>
                  <a:lnTo>
                    <a:pt x="11334588" y="7773519"/>
                  </a:lnTo>
                  <a:lnTo>
                    <a:pt x="11314828" y="7752671"/>
                  </a:lnTo>
                  <a:lnTo>
                    <a:pt x="11284638" y="7747357"/>
                  </a:lnTo>
                  <a:lnTo>
                    <a:pt x="11251248" y="7761133"/>
                  </a:lnTo>
                  <a:lnTo>
                    <a:pt x="11217606" y="7777600"/>
                  </a:lnTo>
                  <a:lnTo>
                    <a:pt x="11183968" y="7794067"/>
                  </a:lnTo>
                  <a:lnTo>
                    <a:pt x="11150321" y="7812205"/>
                  </a:lnTo>
                  <a:lnTo>
                    <a:pt x="11114785" y="7818450"/>
                  </a:lnTo>
                  <a:lnTo>
                    <a:pt x="11089667" y="7819082"/>
                  </a:lnTo>
                  <a:lnTo>
                    <a:pt x="11055697" y="7825250"/>
                  </a:lnTo>
                  <a:lnTo>
                    <a:pt x="11045784" y="7844585"/>
                  </a:lnTo>
                  <a:lnTo>
                    <a:pt x="11045673" y="7872599"/>
                  </a:lnTo>
                  <a:lnTo>
                    <a:pt x="11057101" y="7893214"/>
                  </a:lnTo>
                  <a:lnTo>
                    <a:pt x="11080821" y="7903927"/>
                  </a:lnTo>
                  <a:lnTo>
                    <a:pt x="11107644" y="7913402"/>
                  </a:lnTo>
                  <a:lnTo>
                    <a:pt x="11130554" y="7924502"/>
                  </a:lnTo>
                  <a:lnTo>
                    <a:pt x="11155616" y="7942966"/>
                  </a:lnTo>
                  <a:lnTo>
                    <a:pt x="11168012" y="7968602"/>
                  </a:lnTo>
                  <a:lnTo>
                    <a:pt x="11171358" y="7997949"/>
                  </a:lnTo>
                  <a:lnTo>
                    <a:pt x="11173711" y="8027572"/>
                  </a:lnTo>
                  <a:lnTo>
                    <a:pt x="11169755" y="8057865"/>
                  </a:lnTo>
                  <a:lnTo>
                    <a:pt x="11180592" y="8085001"/>
                  </a:lnTo>
                  <a:lnTo>
                    <a:pt x="11238659" y="8162959"/>
                  </a:lnTo>
                  <a:lnTo>
                    <a:pt x="11264531" y="8184722"/>
                  </a:lnTo>
                  <a:lnTo>
                    <a:pt x="11289438" y="8192415"/>
                  </a:lnTo>
                  <a:lnTo>
                    <a:pt x="11308742" y="8207425"/>
                  </a:lnTo>
                  <a:lnTo>
                    <a:pt x="11331816" y="8258383"/>
                  </a:lnTo>
                  <a:lnTo>
                    <a:pt x="11359061" y="8271346"/>
                  </a:lnTo>
                  <a:lnTo>
                    <a:pt x="11387922" y="8252268"/>
                  </a:lnTo>
                  <a:lnTo>
                    <a:pt x="11400938" y="8225138"/>
                  </a:lnTo>
                  <a:lnTo>
                    <a:pt x="11405313" y="8193819"/>
                  </a:lnTo>
                  <a:lnTo>
                    <a:pt x="11407139" y="8163396"/>
                  </a:lnTo>
                  <a:lnTo>
                    <a:pt x="11414366" y="8137187"/>
                  </a:lnTo>
                  <a:lnTo>
                    <a:pt x="11432514" y="8120370"/>
                  </a:lnTo>
                  <a:lnTo>
                    <a:pt x="11463458" y="8129333"/>
                  </a:lnTo>
                  <a:lnTo>
                    <a:pt x="11480117" y="8161173"/>
                  </a:lnTo>
                  <a:lnTo>
                    <a:pt x="11493723" y="8196554"/>
                  </a:lnTo>
                  <a:lnTo>
                    <a:pt x="11529730" y="8268525"/>
                  </a:lnTo>
                  <a:lnTo>
                    <a:pt x="11544517" y="8315737"/>
                  </a:lnTo>
                  <a:lnTo>
                    <a:pt x="11552212" y="8365201"/>
                  </a:lnTo>
                  <a:lnTo>
                    <a:pt x="11559908" y="8414668"/>
                  </a:lnTo>
                  <a:lnTo>
                    <a:pt x="11561458" y="8465322"/>
                  </a:lnTo>
                  <a:lnTo>
                    <a:pt x="11563095" y="8529783"/>
                  </a:lnTo>
                  <a:lnTo>
                    <a:pt x="11564354" y="8577219"/>
                  </a:lnTo>
                  <a:lnTo>
                    <a:pt x="11558255" y="8633969"/>
                  </a:lnTo>
                  <a:lnTo>
                    <a:pt x="11572611" y="8679408"/>
                  </a:lnTo>
                  <a:lnTo>
                    <a:pt x="11589633" y="8713192"/>
                  </a:lnTo>
                  <a:lnTo>
                    <a:pt x="11615399" y="8738115"/>
                  </a:lnTo>
                  <a:lnTo>
                    <a:pt x="11643342" y="8759661"/>
                  </a:lnTo>
                  <a:lnTo>
                    <a:pt x="11668311" y="8780171"/>
                  </a:lnTo>
                  <a:lnTo>
                    <a:pt x="11680946" y="8807159"/>
                  </a:lnTo>
                  <a:lnTo>
                    <a:pt x="11674627" y="8845355"/>
                  </a:lnTo>
                  <a:lnTo>
                    <a:pt x="11646969" y="8855202"/>
                  </a:lnTo>
                  <a:lnTo>
                    <a:pt x="11626127" y="8876305"/>
                  </a:lnTo>
                  <a:lnTo>
                    <a:pt x="11614779" y="8903838"/>
                  </a:lnTo>
                  <a:lnTo>
                    <a:pt x="11617477" y="8945187"/>
                  </a:lnTo>
                  <a:lnTo>
                    <a:pt x="11625668" y="8970485"/>
                  </a:lnTo>
                  <a:lnTo>
                    <a:pt x="11633826" y="8995792"/>
                  </a:lnTo>
                  <a:lnTo>
                    <a:pt x="11643236" y="9022225"/>
                  </a:lnTo>
                  <a:lnTo>
                    <a:pt x="11639264" y="9048021"/>
                  </a:lnTo>
                  <a:lnTo>
                    <a:pt x="11634914" y="9076203"/>
                  </a:lnTo>
                  <a:lnTo>
                    <a:pt x="11604485" y="9130742"/>
                  </a:lnTo>
                  <a:lnTo>
                    <a:pt x="11583491" y="9184044"/>
                  </a:lnTo>
                  <a:lnTo>
                    <a:pt x="11573061" y="9210694"/>
                  </a:lnTo>
                  <a:lnTo>
                    <a:pt x="11564736" y="9237520"/>
                  </a:lnTo>
                  <a:lnTo>
                    <a:pt x="11563095" y="9260213"/>
                  </a:lnTo>
                  <a:lnTo>
                    <a:pt x="11561440" y="9282900"/>
                  </a:lnTo>
                  <a:lnTo>
                    <a:pt x="11582133" y="9313258"/>
                  </a:lnTo>
                  <a:lnTo>
                    <a:pt x="11609706" y="9325391"/>
                  </a:lnTo>
                  <a:lnTo>
                    <a:pt x="11638843" y="9317450"/>
                  </a:lnTo>
                  <a:lnTo>
                    <a:pt x="11667836" y="9295575"/>
                  </a:lnTo>
                  <a:lnTo>
                    <a:pt x="11694728" y="9271354"/>
                  </a:lnTo>
                  <a:lnTo>
                    <a:pt x="11716658" y="9237111"/>
                  </a:lnTo>
                  <a:lnTo>
                    <a:pt x="11724958" y="9215329"/>
                  </a:lnTo>
                  <a:lnTo>
                    <a:pt x="11734781" y="9189867"/>
                  </a:lnTo>
                  <a:lnTo>
                    <a:pt x="11738790" y="9154545"/>
                  </a:lnTo>
                  <a:lnTo>
                    <a:pt x="11752163" y="9130993"/>
                  </a:lnTo>
                  <a:lnTo>
                    <a:pt x="11771765" y="9114796"/>
                  </a:lnTo>
                  <a:lnTo>
                    <a:pt x="11805115" y="9107404"/>
                  </a:lnTo>
                  <a:lnTo>
                    <a:pt x="11833776" y="9133715"/>
                  </a:lnTo>
                  <a:lnTo>
                    <a:pt x="11867706" y="9155534"/>
                  </a:lnTo>
                  <a:lnTo>
                    <a:pt x="11890737" y="9182044"/>
                  </a:lnTo>
                  <a:lnTo>
                    <a:pt x="11907229" y="9212607"/>
                  </a:lnTo>
                  <a:lnTo>
                    <a:pt x="11923666" y="9243166"/>
                  </a:lnTo>
                  <a:lnTo>
                    <a:pt x="11933727" y="9276755"/>
                  </a:lnTo>
                  <a:lnTo>
                    <a:pt x="11941227" y="9311897"/>
                  </a:lnTo>
                  <a:lnTo>
                    <a:pt x="11956237" y="9382193"/>
                  </a:lnTo>
                  <a:lnTo>
                    <a:pt x="11961880" y="9457677"/>
                  </a:lnTo>
                  <a:lnTo>
                    <a:pt x="11991553" y="9521372"/>
                  </a:lnTo>
                  <a:lnTo>
                    <a:pt x="12014832" y="9571248"/>
                  </a:lnTo>
                  <a:lnTo>
                    <a:pt x="12045174" y="9615990"/>
                  </a:lnTo>
                  <a:lnTo>
                    <a:pt x="12074528" y="9661475"/>
                  </a:lnTo>
                  <a:lnTo>
                    <a:pt x="12158857" y="9624746"/>
                  </a:lnTo>
                  <a:lnTo>
                    <a:pt x="12148681" y="9594205"/>
                  </a:lnTo>
                  <a:lnTo>
                    <a:pt x="12138257" y="9563764"/>
                  </a:lnTo>
                  <a:lnTo>
                    <a:pt x="12124863" y="9534972"/>
                  </a:lnTo>
                  <a:lnTo>
                    <a:pt x="12103304" y="9488813"/>
                  </a:lnTo>
                  <a:lnTo>
                    <a:pt x="12075129" y="9447833"/>
                  </a:lnTo>
                  <a:lnTo>
                    <a:pt x="12055484" y="9400316"/>
                  </a:lnTo>
                  <a:lnTo>
                    <a:pt x="12035218" y="9351091"/>
                  </a:lnTo>
                  <a:lnTo>
                    <a:pt x="12025049" y="9300251"/>
                  </a:lnTo>
                  <a:lnTo>
                    <a:pt x="12007874" y="9250691"/>
                  </a:lnTo>
                  <a:lnTo>
                    <a:pt x="11926270" y="8982391"/>
                  </a:lnTo>
                  <a:lnTo>
                    <a:pt x="11909939" y="8951447"/>
                  </a:lnTo>
                  <a:lnTo>
                    <a:pt x="11897035" y="8926748"/>
                  </a:lnTo>
                  <a:lnTo>
                    <a:pt x="11879380" y="8905243"/>
                  </a:lnTo>
                  <a:lnTo>
                    <a:pt x="11862339" y="8884800"/>
                  </a:lnTo>
                  <a:lnTo>
                    <a:pt x="11841209" y="8859422"/>
                  </a:lnTo>
                  <a:lnTo>
                    <a:pt x="11791444" y="8749116"/>
                  </a:lnTo>
                  <a:lnTo>
                    <a:pt x="11783445" y="8716135"/>
                  </a:lnTo>
                  <a:lnTo>
                    <a:pt x="11756839" y="8606210"/>
                  </a:lnTo>
                  <a:lnTo>
                    <a:pt x="11753735" y="8491274"/>
                  </a:lnTo>
                  <a:lnTo>
                    <a:pt x="11731758" y="8378806"/>
                  </a:lnTo>
                  <a:lnTo>
                    <a:pt x="11717554" y="8337699"/>
                  </a:lnTo>
                  <a:lnTo>
                    <a:pt x="11711362" y="8314875"/>
                  </a:lnTo>
                  <a:lnTo>
                    <a:pt x="11653921" y="8154374"/>
                  </a:lnTo>
                  <a:lnTo>
                    <a:pt x="11615551" y="8016990"/>
                  </a:lnTo>
                  <a:lnTo>
                    <a:pt x="11618180" y="7844544"/>
                  </a:lnTo>
                  <a:lnTo>
                    <a:pt x="11614779" y="7717746"/>
                  </a:lnTo>
                  <a:lnTo>
                    <a:pt x="11619086" y="7688715"/>
                  </a:lnTo>
                  <a:lnTo>
                    <a:pt x="11608507" y="7589931"/>
                  </a:lnTo>
                  <a:lnTo>
                    <a:pt x="11565291" y="7513718"/>
                  </a:lnTo>
                  <a:lnTo>
                    <a:pt x="11563074" y="7429382"/>
                  </a:lnTo>
                  <a:lnTo>
                    <a:pt x="11561933" y="7383264"/>
                  </a:lnTo>
                  <a:lnTo>
                    <a:pt x="11572986" y="7353554"/>
                  </a:lnTo>
                  <a:lnTo>
                    <a:pt x="11594355" y="7313768"/>
                  </a:lnTo>
                  <a:lnTo>
                    <a:pt x="11649614" y="7211454"/>
                  </a:lnTo>
                  <a:lnTo>
                    <a:pt x="11772543" y="7230883"/>
                  </a:lnTo>
                  <a:lnTo>
                    <a:pt x="11818791" y="7141022"/>
                  </a:lnTo>
                  <a:lnTo>
                    <a:pt x="11837324" y="7105058"/>
                  </a:lnTo>
                  <a:lnTo>
                    <a:pt x="11832729" y="6976188"/>
                  </a:lnTo>
                  <a:lnTo>
                    <a:pt x="11878633" y="6972356"/>
                  </a:lnTo>
                  <a:lnTo>
                    <a:pt x="11944933" y="7023320"/>
                  </a:lnTo>
                  <a:lnTo>
                    <a:pt x="11914854" y="7099405"/>
                  </a:lnTo>
                  <a:lnTo>
                    <a:pt x="11950731" y="7121981"/>
                  </a:lnTo>
                  <a:lnTo>
                    <a:pt x="12022001" y="7144634"/>
                  </a:lnTo>
                  <a:lnTo>
                    <a:pt x="12065334" y="7082365"/>
                  </a:lnTo>
                  <a:lnTo>
                    <a:pt x="12127551" y="7064849"/>
                  </a:lnTo>
                  <a:lnTo>
                    <a:pt x="12265704" y="7025999"/>
                  </a:lnTo>
                  <a:lnTo>
                    <a:pt x="12318488" y="7018099"/>
                  </a:lnTo>
                  <a:lnTo>
                    <a:pt x="12362873" y="6994119"/>
                  </a:lnTo>
                  <a:lnTo>
                    <a:pt x="12406867" y="6970278"/>
                  </a:lnTo>
                  <a:lnTo>
                    <a:pt x="12441383" y="6931084"/>
                  </a:lnTo>
                  <a:lnTo>
                    <a:pt x="12543783" y="6830895"/>
                  </a:lnTo>
                  <a:lnTo>
                    <a:pt x="12567062" y="6808102"/>
                  </a:lnTo>
                  <a:lnTo>
                    <a:pt x="12590645" y="6791319"/>
                  </a:lnTo>
                  <a:lnTo>
                    <a:pt x="12613149" y="6772411"/>
                  </a:lnTo>
                  <a:lnTo>
                    <a:pt x="12574429" y="6770064"/>
                  </a:lnTo>
                  <a:lnTo>
                    <a:pt x="12537340" y="6767677"/>
                  </a:lnTo>
                  <a:lnTo>
                    <a:pt x="12490719" y="6765693"/>
                  </a:lnTo>
                  <a:lnTo>
                    <a:pt x="12462578" y="6764055"/>
                  </a:lnTo>
                  <a:lnTo>
                    <a:pt x="12442294" y="6753299"/>
                  </a:lnTo>
                  <a:lnTo>
                    <a:pt x="12436320" y="6726163"/>
                  </a:lnTo>
                  <a:lnTo>
                    <a:pt x="12434189" y="6696999"/>
                  </a:lnTo>
                  <a:lnTo>
                    <a:pt x="12438760" y="6644872"/>
                  </a:lnTo>
                  <a:lnTo>
                    <a:pt x="12431926" y="6605039"/>
                  </a:lnTo>
                  <a:lnTo>
                    <a:pt x="12424085" y="6567019"/>
                  </a:lnTo>
                  <a:lnTo>
                    <a:pt x="12416225" y="6529000"/>
                  </a:lnTo>
                  <a:lnTo>
                    <a:pt x="12407382" y="6492103"/>
                  </a:lnTo>
                  <a:lnTo>
                    <a:pt x="12407763" y="6452763"/>
                  </a:lnTo>
                  <a:lnTo>
                    <a:pt x="12408231" y="6408176"/>
                  </a:lnTo>
                  <a:lnTo>
                    <a:pt x="12438971" y="6369878"/>
                  </a:lnTo>
                  <a:lnTo>
                    <a:pt x="12443125" y="6326268"/>
                  </a:lnTo>
                  <a:lnTo>
                    <a:pt x="12447221" y="6283505"/>
                  </a:lnTo>
                  <a:lnTo>
                    <a:pt x="12410479" y="6190841"/>
                  </a:lnTo>
                  <a:lnTo>
                    <a:pt x="12398241" y="6145355"/>
                  </a:lnTo>
                  <a:lnTo>
                    <a:pt x="12394679" y="6107699"/>
                  </a:lnTo>
                  <a:lnTo>
                    <a:pt x="12385836" y="6058281"/>
                  </a:lnTo>
                  <a:lnTo>
                    <a:pt x="12380745" y="6016141"/>
                  </a:lnTo>
                  <a:lnTo>
                    <a:pt x="12373759" y="5973973"/>
                  </a:lnTo>
                  <a:lnTo>
                    <a:pt x="12366777" y="5931805"/>
                  </a:lnTo>
                  <a:lnTo>
                    <a:pt x="12356600" y="5889024"/>
                  </a:lnTo>
                  <a:lnTo>
                    <a:pt x="12342480" y="5858359"/>
                  </a:lnTo>
                  <a:lnTo>
                    <a:pt x="12212442" y="5851857"/>
                  </a:lnTo>
                  <a:lnTo>
                    <a:pt x="12190139" y="5851553"/>
                  </a:lnTo>
                  <a:lnTo>
                    <a:pt x="12162380" y="5840698"/>
                  </a:lnTo>
                  <a:lnTo>
                    <a:pt x="12141705" y="5816163"/>
                  </a:lnTo>
                  <a:lnTo>
                    <a:pt x="12119402" y="5797144"/>
                  </a:lnTo>
                  <a:lnTo>
                    <a:pt x="12085491" y="5791181"/>
                  </a:lnTo>
                  <a:lnTo>
                    <a:pt x="12055378" y="5786791"/>
                  </a:lnTo>
                  <a:lnTo>
                    <a:pt x="12022825" y="5768581"/>
                  </a:lnTo>
                  <a:lnTo>
                    <a:pt x="11997791" y="5748862"/>
                  </a:lnTo>
                  <a:lnTo>
                    <a:pt x="11981259" y="5700858"/>
                  </a:lnTo>
                  <a:lnTo>
                    <a:pt x="11958894" y="5689693"/>
                  </a:lnTo>
                  <a:lnTo>
                    <a:pt x="11936570" y="5678540"/>
                  </a:lnTo>
                  <a:lnTo>
                    <a:pt x="11891779" y="5686515"/>
                  </a:lnTo>
                  <a:lnTo>
                    <a:pt x="11844638" y="5695135"/>
                  </a:lnTo>
                  <a:lnTo>
                    <a:pt x="11797509" y="5703742"/>
                  </a:lnTo>
                  <a:lnTo>
                    <a:pt x="11748293" y="5713493"/>
                  </a:lnTo>
                  <a:lnTo>
                    <a:pt x="11716788" y="5701934"/>
                  </a:lnTo>
                  <a:lnTo>
                    <a:pt x="11709269" y="5667958"/>
                  </a:lnTo>
                  <a:lnTo>
                    <a:pt x="11708618" y="5643445"/>
                  </a:lnTo>
                  <a:lnTo>
                    <a:pt x="11707958" y="5618938"/>
                  </a:lnTo>
                  <a:lnTo>
                    <a:pt x="11709080" y="5594524"/>
                  </a:lnTo>
                  <a:lnTo>
                    <a:pt x="11729498" y="5579024"/>
                  </a:lnTo>
                  <a:lnTo>
                    <a:pt x="11754873" y="5550951"/>
                  </a:lnTo>
                  <a:lnTo>
                    <a:pt x="11772580" y="5516987"/>
                  </a:lnTo>
                  <a:lnTo>
                    <a:pt x="11765756" y="5484301"/>
                  </a:lnTo>
                  <a:lnTo>
                    <a:pt x="11697320" y="5464457"/>
                  </a:lnTo>
                  <a:lnTo>
                    <a:pt x="11639258" y="5459816"/>
                  </a:lnTo>
                  <a:lnTo>
                    <a:pt x="11581190" y="5455171"/>
                  </a:lnTo>
                  <a:lnTo>
                    <a:pt x="11522068" y="5454058"/>
                  </a:lnTo>
                  <a:lnTo>
                    <a:pt x="11488526" y="5457059"/>
                  </a:lnTo>
                  <a:lnTo>
                    <a:pt x="11448833" y="5466621"/>
                  </a:lnTo>
                  <a:lnTo>
                    <a:pt x="11409210" y="5469998"/>
                  </a:lnTo>
                  <a:lnTo>
                    <a:pt x="11377851" y="5426029"/>
                  </a:lnTo>
                  <a:lnTo>
                    <a:pt x="11376266" y="5391941"/>
                  </a:lnTo>
                  <a:lnTo>
                    <a:pt x="11360413" y="5360529"/>
                  </a:lnTo>
                  <a:lnTo>
                    <a:pt x="11349880" y="5339615"/>
                  </a:lnTo>
                  <a:lnTo>
                    <a:pt x="11329134" y="5300681"/>
                  </a:lnTo>
                  <a:lnTo>
                    <a:pt x="11309474" y="5275284"/>
                  </a:lnTo>
                  <a:lnTo>
                    <a:pt x="11295124" y="5258513"/>
                  </a:lnTo>
                  <a:lnTo>
                    <a:pt x="11280787" y="5241742"/>
                  </a:lnTo>
                  <a:lnTo>
                    <a:pt x="11265374" y="5217471"/>
                  </a:lnTo>
                  <a:lnTo>
                    <a:pt x="11250240" y="5172819"/>
                  </a:lnTo>
                  <a:lnTo>
                    <a:pt x="11245623" y="5143621"/>
                  </a:lnTo>
                  <a:lnTo>
                    <a:pt x="11254857" y="5117685"/>
                  </a:lnTo>
                  <a:lnTo>
                    <a:pt x="11273361" y="5093931"/>
                  </a:lnTo>
                  <a:lnTo>
                    <a:pt x="11292386" y="5070770"/>
                  </a:lnTo>
                  <a:lnTo>
                    <a:pt x="11316472" y="5050727"/>
                  </a:lnTo>
                  <a:lnTo>
                    <a:pt x="11326415" y="5030000"/>
                  </a:lnTo>
                  <a:lnTo>
                    <a:pt x="11335708" y="5010624"/>
                  </a:lnTo>
                  <a:lnTo>
                    <a:pt x="11332037" y="4972934"/>
                  </a:lnTo>
                  <a:lnTo>
                    <a:pt x="11325057" y="4936145"/>
                  </a:lnTo>
                  <a:lnTo>
                    <a:pt x="11318205" y="4899354"/>
                  </a:lnTo>
                  <a:lnTo>
                    <a:pt x="11307781" y="4863464"/>
                  </a:lnTo>
                  <a:lnTo>
                    <a:pt x="11300572" y="4843652"/>
                  </a:lnTo>
                  <a:lnTo>
                    <a:pt x="11290693" y="4820341"/>
                  </a:lnTo>
                  <a:lnTo>
                    <a:pt x="11264847" y="4803208"/>
                  </a:lnTo>
                  <a:lnTo>
                    <a:pt x="11235478" y="4799744"/>
                  </a:lnTo>
                  <a:lnTo>
                    <a:pt x="11200665" y="4798966"/>
                  </a:lnTo>
                  <a:lnTo>
                    <a:pt x="11167275" y="4794687"/>
                  </a:lnTo>
                  <a:lnTo>
                    <a:pt x="11133878" y="4790405"/>
                  </a:lnTo>
                  <a:lnTo>
                    <a:pt x="11101003" y="4783336"/>
                  </a:lnTo>
                  <a:lnTo>
                    <a:pt x="11085320" y="4759279"/>
                  </a:lnTo>
                  <a:lnTo>
                    <a:pt x="11069209" y="4720000"/>
                  </a:lnTo>
                  <a:lnTo>
                    <a:pt x="11036703" y="4710358"/>
                  </a:lnTo>
                  <a:lnTo>
                    <a:pt x="11006438" y="4735584"/>
                  </a:lnTo>
                  <a:lnTo>
                    <a:pt x="10974458" y="4744972"/>
                  </a:lnTo>
                  <a:lnTo>
                    <a:pt x="10938761" y="4730762"/>
                  </a:lnTo>
                  <a:lnTo>
                    <a:pt x="10926074" y="4690309"/>
                  </a:lnTo>
                  <a:lnTo>
                    <a:pt x="10922440" y="4658668"/>
                  </a:lnTo>
                  <a:lnTo>
                    <a:pt x="10918784" y="4627029"/>
                  </a:lnTo>
                  <a:lnTo>
                    <a:pt x="10917736" y="4594504"/>
                  </a:lnTo>
                  <a:lnTo>
                    <a:pt x="10931249" y="4560757"/>
                  </a:lnTo>
                  <a:lnTo>
                    <a:pt x="10960524" y="4541692"/>
                  </a:lnTo>
                  <a:lnTo>
                    <a:pt x="10992358" y="4533264"/>
                  </a:lnTo>
                  <a:lnTo>
                    <a:pt x="11043732" y="4534055"/>
                  </a:lnTo>
                  <a:lnTo>
                    <a:pt x="11080626" y="4542265"/>
                  </a:lnTo>
                  <a:lnTo>
                    <a:pt x="11118301" y="4528086"/>
                  </a:lnTo>
                  <a:lnTo>
                    <a:pt x="11148184" y="4467222"/>
                  </a:lnTo>
                  <a:lnTo>
                    <a:pt x="11165910" y="4447840"/>
                  </a:lnTo>
                  <a:lnTo>
                    <a:pt x="11187540" y="4424204"/>
                  </a:lnTo>
                  <a:lnTo>
                    <a:pt x="11227969" y="4421098"/>
                  </a:lnTo>
                  <a:lnTo>
                    <a:pt x="11268264" y="4371240"/>
                  </a:lnTo>
                  <a:lnTo>
                    <a:pt x="11260447" y="4324865"/>
                  </a:lnTo>
                  <a:lnTo>
                    <a:pt x="11284247" y="4290051"/>
                  </a:lnTo>
                  <a:lnTo>
                    <a:pt x="11299502" y="4267693"/>
                  </a:lnTo>
                  <a:lnTo>
                    <a:pt x="11329175" y="4240020"/>
                  </a:lnTo>
                  <a:lnTo>
                    <a:pt x="11331851" y="4211163"/>
                  </a:lnTo>
                  <a:lnTo>
                    <a:pt x="11336613" y="4159182"/>
                  </a:lnTo>
                  <a:lnTo>
                    <a:pt x="11321141" y="4101495"/>
                  </a:lnTo>
                  <a:lnTo>
                    <a:pt x="11337292" y="4050661"/>
                  </a:lnTo>
                  <a:lnTo>
                    <a:pt x="11355217" y="4033707"/>
                  </a:lnTo>
                  <a:lnTo>
                    <a:pt x="11376505" y="4029525"/>
                  </a:lnTo>
                  <a:lnTo>
                    <a:pt x="11399865" y="4024818"/>
                  </a:lnTo>
                  <a:lnTo>
                    <a:pt x="11433082" y="4009845"/>
                  </a:lnTo>
                  <a:lnTo>
                    <a:pt x="11461071" y="3996255"/>
                  </a:lnTo>
                  <a:lnTo>
                    <a:pt x="11489053" y="3982656"/>
                  </a:lnTo>
                  <a:lnTo>
                    <a:pt x="11516884" y="3968623"/>
                  </a:lnTo>
                  <a:lnTo>
                    <a:pt x="11527200" y="3948159"/>
                  </a:lnTo>
                  <a:lnTo>
                    <a:pt x="11522279" y="3906478"/>
                  </a:lnTo>
                  <a:lnTo>
                    <a:pt x="11519055" y="3885623"/>
                  </a:lnTo>
                  <a:lnTo>
                    <a:pt x="11510038" y="3849353"/>
                  </a:lnTo>
                  <a:lnTo>
                    <a:pt x="11500733" y="3806782"/>
                  </a:lnTo>
                  <a:lnTo>
                    <a:pt x="11488585" y="3779552"/>
                  </a:lnTo>
                  <a:lnTo>
                    <a:pt x="11474664" y="3762294"/>
                  </a:lnTo>
                  <a:lnTo>
                    <a:pt x="11460754" y="3745043"/>
                  </a:lnTo>
                  <a:lnTo>
                    <a:pt x="11429779" y="3735096"/>
                  </a:lnTo>
                  <a:lnTo>
                    <a:pt x="11398637" y="3729233"/>
                  </a:lnTo>
                  <a:lnTo>
                    <a:pt x="11366757" y="3740063"/>
                  </a:lnTo>
                  <a:lnTo>
                    <a:pt x="11346808" y="3725574"/>
                  </a:lnTo>
                  <a:lnTo>
                    <a:pt x="11327063" y="3709975"/>
                  </a:lnTo>
                  <a:lnTo>
                    <a:pt x="11311473" y="3657315"/>
                  </a:lnTo>
                  <a:lnTo>
                    <a:pt x="11299204" y="3603151"/>
                  </a:lnTo>
                  <a:lnTo>
                    <a:pt x="11286932" y="3548987"/>
                  </a:lnTo>
                  <a:lnTo>
                    <a:pt x="11277990" y="3493018"/>
                  </a:lnTo>
                  <a:lnTo>
                    <a:pt x="11274719" y="3471215"/>
                  </a:lnTo>
                  <a:lnTo>
                    <a:pt x="11252916" y="3441588"/>
                  </a:lnTo>
                  <a:lnTo>
                    <a:pt x="11217014" y="3425189"/>
                  </a:lnTo>
                  <a:lnTo>
                    <a:pt x="11178142" y="3412725"/>
                  </a:lnTo>
                  <a:lnTo>
                    <a:pt x="11139267" y="3400267"/>
                  </a:lnTo>
                  <a:lnTo>
                    <a:pt x="11097192" y="3392373"/>
                  </a:lnTo>
                  <a:lnTo>
                    <a:pt x="11065247" y="3382804"/>
                  </a:lnTo>
                  <a:lnTo>
                    <a:pt x="11026750" y="3371267"/>
                  </a:lnTo>
                  <a:lnTo>
                    <a:pt x="11020142" y="3351089"/>
                  </a:lnTo>
                  <a:lnTo>
                    <a:pt x="10999955" y="3332479"/>
                  </a:lnTo>
                  <a:lnTo>
                    <a:pt x="10977289" y="3313748"/>
                  </a:lnTo>
                  <a:lnTo>
                    <a:pt x="10955077" y="3306632"/>
                  </a:lnTo>
                  <a:lnTo>
                    <a:pt x="10932845" y="3299510"/>
                  </a:lnTo>
                  <a:lnTo>
                    <a:pt x="10901269" y="3293963"/>
                  </a:lnTo>
                  <a:lnTo>
                    <a:pt x="10855777" y="3291669"/>
                  </a:lnTo>
                  <a:lnTo>
                    <a:pt x="10838045" y="3266436"/>
                  </a:lnTo>
                  <a:lnTo>
                    <a:pt x="10832675" y="3227124"/>
                  </a:lnTo>
                  <a:lnTo>
                    <a:pt x="10832417" y="3203876"/>
                  </a:lnTo>
                  <a:lnTo>
                    <a:pt x="10831292" y="3180135"/>
                  </a:lnTo>
                  <a:lnTo>
                    <a:pt x="10830157" y="3156387"/>
                  </a:lnTo>
                  <a:lnTo>
                    <a:pt x="10829029" y="3132184"/>
                  </a:lnTo>
                  <a:lnTo>
                    <a:pt x="10821767" y="3110762"/>
                  </a:lnTo>
                  <a:lnTo>
                    <a:pt x="10814499" y="3089343"/>
                  </a:lnTo>
                  <a:lnTo>
                    <a:pt x="10802029" y="3071754"/>
                  </a:lnTo>
                  <a:lnTo>
                    <a:pt x="10780960" y="3059072"/>
                  </a:lnTo>
                  <a:lnTo>
                    <a:pt x="10753780" y="3054350"/>
                  </a:lnTo>
                  <a:lnTo>
                    <a:pt x="10726532" y="3055655"/>
                  </a:lnTo>
                  <a:lnTo>
                    <a:pt x="10700705" y="3050921"/>
                  </a:lnTo>
                  <a:lnTo>
                    <a:pt x="10680052" y="3023189"/>
                  </a:lnTo>
                  <a:lnTo>
                    <a:pt x="10674477" y="2973927"/>
                  </a:lnTo>
                  <a:lnTo>
                    <a:pt x="10673500" y="2923065"/>
                  </a:lnTo>
                  <a:lnTo>
                    <a:pt x="10672545" y="2872206"/>
                  </a:lnTo>
                  <a:lnTo>
                    <a:pt x="10676033" y="2820091"/>
                  </a:lnTo>
                  <a:lnTo>
                    <a:pt x="10673500" y="2787045"/>
                  </a:lnTo>
                  <a:lnTo>
                    <a:pt x="10671633" y="2764135"/>
                  </a:lnTo>
                  <a:lnTo>
                    <a:pt x="10664235" y="2737697"/>
                  </a:lnTo>
                  <a:lnTo>
                    <a:pt x="10659904" y="2714951"/>
                  </a:lnTo>
                  <a:lnTo>
                    <a:pt x="10653526" y="2681374"/>
                  </a:lnTo>
                  <a:lnTo>
                    <a:pt x="10638305" y="2646732"/>
                  </a:lnTo>
                  <a:lnTo>
                    <a:pt x="10631332" y="2612941"/>
                  </a:lnTo>
                  <a:lnTo>
                    <a:pt x="10625261" y="2583480"/>
                  </a:lnTo>
                  <a:lnTo>
                    <a:pt x="10622192" y="2552961"/>
                  </a:lnTo>
                  <a:lnTo>
                    <a:pt x="10617742" y="2523164"/>
                  </a:lnTo>
                  <a:lnTo>
                    <a:pt x="10500760" y="2482360"/>
                  </a:lnTo>
                  <a:lnTo>
                    <a:pt x="10486780" y="2442747"/>
                  </a:lnTo>
                  <a:lnTo>
                    <a:pt x="10490776" y="2415496"/>
                  </a:lnTo>
                  <a:lnTo>
                    <a:pt x="10485797" y="2389867"/>
                  </a:lnTo>
                  <a:lnTo>
                    <a:pt x="10478740" y="2354030"/>
                  </a:lnTo>
                  <a:lnTo>
                    <a:pt x="10468195" y="2320621"/>
                  </a:lnTo>
                  <a:lnTo>
                    <a:pt x="10465398" y="2283768"/>
                  </a:lnTo>
                  <a:lnTo>
                    <a:pt x="10460006" y="2213000"/>
                  </a:lnTo>
                  <a:lnTo>
                    <a:pt x="10482216" y="2144353"/>
                  </a:lnTo>
                  <a:lnTo>
                    <a:pt x="10476275" y="2074301"/>
                  </a:lnTo>
                  <a:lnTo>
                    <a:pt x="10468920" y="2053131"/>
                  </a:lnTo>
                  <a:lnTo>
                    <a:pt x="10443635" y="1915154"/>
                  </a:lnTo>
                  <a:lnTo>
                    <a:pt x="10442457" y="1884586"/>
                  </a:lnTo>
                  <a:lnTo>
                    <a:pt x="10452962" y="1864116"/>
                  </a:lnTo>
                  <a:lnTo>
                    <a:pt x="10469488" y="1848504"/>
                  </a:lnTo>
                  <a:lnTo>
                    <a:pt x="10487229" y="1833705"/>
                  </a:lnTo>
                  <a:lnTo>
                    <a:pt x="10500707" y="1814345"/>
                  </a:lnTo>
                  <a:lnTo>
                    <a:pt x="10504850" y="1785941"/>
                  </a:lnTo>
                  <a:lnTo>
                    <a:pt x="10504152" y="1756163"/>
                  </a:lnTo>
                  <a:lnTo>
                    <a:pt x="10477645" y="1727448"/>
                  </a:lnTo>
                  <a:lnTo>
                    <a:pt x="10443142" y="1709769"/>
                  </a:lnTo>
                  <a:lnTo>
                    <a:pt x="10408775" y="1687999"/>
                  </a:lnTo>
                  <a:lnTo>
                    <a:pt x="10392816" y="1672065"/>
                  </a:lnTo>
                  <a:lnTo>
                    <a:pt x="10386510" y="1644480"/>
                  </a:lnTo>
                  <a:lnTo>
                    <a:pt x="10380219" y="1616884"/>
                  </a:lnTo>
                  <a:lnTo>
                    <a:pt x="10382811" y="1576986"/>
                  </a:lnTo>
                  <a:lnTo>
                    <a:pt x="10400115" y="1515260"/>
                  </a:lnTo>
                  <a:lnTo>
                    <a:pt x="10429304" y="1489590"/>
                  </a:lnTo>
                  <a:lnTo>
                    <a:pt x="10454524" y="1479897"/>
                  </a:lnTo>
                  <a:lnTo>
                    <a:pt x="10479735" y="1470196"/>
                  </a:lnTo>
                  <a:lnTo>
                    <a:pt x="10505213" y="1459427"/>
                  </a:lnTo>
                  <a:lnTo>
                    <a:pt x="10511649" y="1421405"/>
                  </a:lnTo>
                  <a:lnTo>
                    <a:pt x="10475007" y="1391906"/>
                  </a:lnTo>
                  <a:lnTo>
                    <a:pt x="10258654" y="1410525"/>
                  </a:lnTo>
                  <a:lnTo>
                    <a:pt x="10231747" y="1412779"/>
                  </a:lnTo>
                  <a:lnTo>
                    <a:pt x="10199861" y="1425231"/>
                  </a:lnTo>
                  <a:lnTo>
                    <a:pt x="10177044" y="1439087"/>
                  </a:lnTo>
                  <a:lnTo>
                    <a:pt x="10167481" y="1513387"/>
                  </a:lnTo>
                  <a:lnTo>
                    <a:pt x="10145185" y="1544718"/>
                  </a:lnTo>
                  <a:lnTo>
                    <a:pt x="10129434" y="1558786"/>
                  </a:lnTo>
                  <a:lnTo>
                    <a:pt x="10117484" y="1579553"/>
                  </a:lnTo>
                  <a:lnTo>
                    <a:pt x="10114471" y="1610469"/>
                  </a:lnTo>
                  <a:lnTo>
                    <a:pt x="10091350" y="1625433"/>
                  </a:lnTo>
                  <a:lnTo>
                    <a:pt x="10065677" y="1633339"/>
                  </a:lnTo>
                  <a:lnTo>
                    <a:pt x="10026060" y="1621358"/>
                  </a:lnTo>
                  <a:lnTo>
                    <a:pt x="10006598" y="1612640"/>
                  </a:lnTo>
                  <a:lnTo>
                    <a:pt x="9988336" y="1597766"/>
                  </a:lnTo>
                  <a:lnTo>
                    <a:pt x="9967571" y="1581913"/>
                  </a:lnTo>
                  <a:lnTo>
                    <a:pt x="9924941" y="1592966"/>
                  </a:lnTo>
                  <a:lnTo>
                    <a:pt x="9896267" y="1606736"/>
                  </a:lnTo>
                  <a:lnTo>
                    <a:pt x="9872107" y="1625150"/>
                  </a:lnTo>
                  <a:lnTo>
                    <a:pt x="9846515" y="1637680"/>
                  </a:lnTo>
                  <a:lnTo>
                    <a:pt x="9820920" y="1650216"/>
                  </a:lnTo>
                  <a:lnTo>
                    <a:pt x="9793160" y="1657090"/>
                  </a:lnTo>
                  <a:lnTo>
                    <a:pt x="9768985" y="1647202"/>
                  </a:lnTo>
                  <a:lnTo>
                    <a:pt x="9752741" y="1626626"/>
                  </a:lnTo>
                  <a:lnTo>
                    <a:pt x="9752201" y="1585401"/>
                  </a:lnTo>
                  <a:lnTo>
                    <a:pt x="9753255" y="1551143"/>
                  </a:lnTo>
                  <a:lnTo>
                    <a:pt x="9751308" y="1517982"/>
                  </a:lnTo>
                  <a:lnTo>
                    <a:pt x="9748698" y="1472543"/>
                  </a:lnTo>
                  <a:lnTo>
                    <a:pt x="9718408" y="1430759"/>
                  </a:lnTo>
                  <a:lnTo>
                    <a:pt x="9703708" y="1388768"/>
                  </a:lnTo>
                  <a:lnTo>
                    <a:pt x="9688360" y="1344814"/>
                  </a:lnTo>
                  <a:lnTo>
                    <a:pt x="9680528" y="1296656"/>
                  </a:lnTo>
                  <a:lnTo>
                    <a:pt x="9665624" y="1252748"/>
                  </a:lnTo>
                  <a:lnTo>
                    <a:pt x="9654607" y="1220335"/>
                  </a:lnTo>
                  <a:lnTo>
                    <a:pt x="9642884" y="1187044"/>
                  </a:lnTo>
                  <a:lnTo>
                    <a:pt x="9631613" y="1153449"/>
                  </a:lnTo>
                  <a:lnTo>
                    <a:pt x="9620343" y="1119854"/>
                  </a:lnTo>
                  <a:lnTo>
                    <a:pt x="9609770" y="1086036"/>
                  </a:lnTo>
                  <a:lnTo>
                    <a:pt x="9601693" y="1052798"/>
                  </a:lnTo>
                  <a:lnTo>
                    <a:pt x="9596130" y="1029912"/>
                  </a:lnTo>
                  <a:lnTo>
                    <a:pt x="9585427" y="991115"/>
                  </a:lnTo>
                  <a:lnTo>
                    <a:pt x="9573121" y="945341"/>
                  </a:lnTo>
                  <a:lnTo>
                    <a:pt x="9560808" y="899564"/>
                  </a:lnTo>
                  <a:lnTo>
                    <a:pt x="9546874" y="847037"/>
                  </a:lnTo>
                  <a:lnTo>
                    <a:pt x="9530953" y="794358"/>
                  </a:lnTo>
                  <a:lnTo>
                    <a:pt x="9515047" y="741682"/>
                  </a:lnTo>
                  <a:lnTo>
                    <a:pt x="9497011" y="689682"/>
                  </a:lnTo>
                  <a:lnTo>
                    <a:pt x="9480636" y="646097"/>
                  </a:lnTo>
                  <a:lnTo>
                    <a:pt x="9470091" y="618049"/>
                  </a:lnTo>
                  <a:lnTo>
                    <a:pt x="9452672" y="583186"/>
                  </a:lnTo>
                  <a:lnTo>
                    <a:pt x="9435743" y="548162"/>
                  </a:lnTo>
                  <a:lnTo>
                    <a:pt x="9292316" y="577537"/>
                  </a:lnTo>
                  <a:lnTo>
                    <a:pt x="9257562" y="578083"/>
                  </a:lnTo>
                  <a:lnTo>
                    <a:pt x="9203618" y="578941"/>
                  </a:lnTo>
                  <a:lnTo>
                    <a:pt x="9145720" y="570517"/>
                  </a:lnTo>
                  <a:lnTo>
                    <a:pt x="9091615" y="567203"/>
                  </a:lnTo>
                  <a:lnTo>
                    <a:pt x="9071210" y="560403"/>
                  </a:lnTo>
                  <a:lnTo>
                    <a:pt x="8943652" y="544804"/>
                  </a:lnTo>
                  <a:lnTo>
                    <a:pt x="8823737" y="517852"/>
                  </a:lnTo>
                  <a:lnTo>
                    <a:pt x="8701236" y="477431"/>
                  </a:lnTo>
                  <a:lnTo>
                    <a:pt x="8545707" y="419410"/>
                  </a:lnTo>
                  <a:lnTo>
                    <a:pt x="8511139" y="402005"/>
                  </a:lnTo>
                  <a:lnTo>
                    <a:pt x="8495450" y="387984"/>
                  </a:lnTo>
                  <a:lnTo>
                    <a:pt x="8460879" y="365562"/>
                  </a:lnTo>
                  <a:lnTo>
                    <a:pt x="8416949" y="357735"/>
                  </a:lnTo>
                  <a:lnTo>
                    <a:pt x="8378660" y="359178"/>
                  </a:lnTo>
                  <a:lnTo>
                    <a:pt x="8337974" y="357932"/>
                  </a:lnTo>
                  <a:lnTo>
                    <a:pt x="8299977" y="361809"/>
                  </a:lnTo>
                  <a:lnTo>
                    <a:pt x="8250454" y="366821"/>
                  </a:lnTo>
                  <a:lnTo>
                    <a:pt x="8149604" y="393624"/>
                  </a:lnTo>
                  <a:lnTo>
                    <a:pt x="8049700" y="423018"/>
                  </a:lnTo>
                  <a:lnTo>
                    <a:pt x="7949793" y="452417"/>
                  </a:lnTo>
                  <a:lnTo>
                    <a:pt x="7850196" y="484521"/>
                  </a:lnTo>
                  <a:lnTo>
                    <a:pt x="7804863" y="499188"/>
                  </a:lnTo>
                  <a:lnTo>
                    <a:pt x="7758931" y="514052"/>
                  </a:lnTo>
                  <a:lnTo>
                    <a:pt x="7706370" y="518657"/>
                  </a:lnTo>
                  <a:lnTo>
                    <a:pt x="7652522" y="519593"/>
                  </a:lnTo>
                  <a:lnTo>
                    <a:pt x="7598674" y="520530"/>
                  </a:lnTo>
                  <a:lnTo>
                    <a:pt x="7543322" y="517838"/>
                  </a:lnTo>
                  <a:lnTo>
                    <a:pt x="7496097" y="518234"/>
                  </a:lnTo>
                  <a:lnTo>
                    <a:pt x="7471618" y="499194"/>
                  </a:lnTo>
                  <a:lnTo>
                    <a:pt x="7457200" y="472439"/>
                  </a:lnTo>
                  <a:lnTo>
                    <a:pt x="7439242" y="422120"/>
                  </a:lnTo>
                  <a:lnTo>
                    <a:pt x="7429410" y="383659"/>
                  </a:lnTo>
                  <a:lnTo>
                    <a:pt x="7403604" y="361809"/>
                  </a:lnTo>
                  <a:lnTo>
                    <a:pt x="7382650" y="367336"/>
                  </a:lnTo>
                  <a:lnTo>
                    <a:pt x="7295982" y="393604"/>
                  </a:lnTo>
                  <a:lnTo>
                    <a:pt x="7270861" y="378817"/>
                  </a:lnTo>
                  <a:lnTo>
                    <a:pt x="7262657" y="347571"/>
                  </a:lnTo>
                  <a:lnTo>
                    <a:pt x="7256617" y="315606"/>
                  </a:lnTo>
                  <a:lnTo>
                    <a:pt x="7247179" y="287004"/>
                  </a:lnTo>
                  <a:lnTo>
                    <a:pt x="7234346" y="268762"/>
                  </a:lnTo>
                  <a:lnTo>
                    <a:pt x="7225738" y="243002"/>
                  </a:lnTo>
                  <a:lnTo>
                    <a:pt x="7235955" y="217982"/>
                  </a:lnTo>
                  <a:lnTo>
                    <a:pt x="7248543" y="194511"/>
                  </a:lnTo>
                  <a:lnTo>
                    <a:pt x="7261125" y="171033"/>
                  </a:lnTo>
                  <a:lnTo>
                    <a:pt x="7276554" y="149236"/>
                  </a:lnTo>
                  <a:lnTo>
                    <a:pt x="7291477" y="125178"/>
                  </a:lnTo>
                  <a:lnTo>
                    <a:pt x="7264465" y="68633"/>
                  </a:lnTo>
                  <a:lnTo>
                    <a:pt x="7254639" y="43552"/>
                  </a:lnTo>
                  <a:lnTo>
                    <a:pt x="7232420" y="37770"/>
                  </a:lnTo>
                  <a:lnTo>
                    <a:pt x="7202295" y="38086"/>
                  </a:lnTo>
                  <a:lnTo>
                    <a:pt x="7172176" y="38415"/>
                  </a:lnTo>
                  <a:lnTo>
                    <a:pt x="7134485" y="43994"/>
                  </a:lnTo>
                  <a:lnTo>
                    <a:pt x="7096202" y="51684"/>
                  </a:lnTo>
                  <a:lnTo>
                    <a:pt x="7019627" y="67070"/>
                  </a:lnTo>
                  <a:lnTo>
                    <a:pt x="6943411" y="92025"/>
                  </a:lnTo>
                  <a:lnTo>
                    <a:pt x="6935939" y="124968"/>
                  </a:lnTo>
                  <a:lnTo>
                    <a:pt x="6943858" y="163224"/>
                  </a:lnTo>
                  <a:lnTo>
                    <a:pt x="6952230" y="200966"/>
                  </a:lnTo>
                  <a:lnTo>
                    <a:pt x="6949154" y="238835"/>
                  </a:lnTo>
                  <a:lnTo>
                    <a:pt x="6933697" y="253864"/>
                  </a:lnTo>
                  <a:lnTo>
                    <a:pt x="6911215" y="266599"/>
                  </a:lnTo>
                  <a:lnTo>
                    <a:pt x="6888726" y="279333"/>
                  </a:lnTo>
                  <a:lnTo>
                    <a:pt x="6859234" y="289826"/>
                  </a:lnTo>
                  <a:lnTo>
                    <a:pt x="6828243" y="297878"/>
                  </a:lnTo>
                  <a:lnTo>
                    <a:pt x="6766244" y="313996"/>
                  </a:lnTo>
                  <a:lnTo>
                    <a:pt x="6699848" y="321304"/>
                  </a:lnTo>
                  <a:lnTo>
                    <a:pt x="6678618" y="325083"/>
                  </a:lnTo>
                  <a:lnTo>
                    <a:pt x="6497715" y="357727"/>
                  </a:lnTo>
                  <a:lnTo>
                    <a:pt x="6468129" y="386594"/>
                  </a:lnTo>
                  <a:lnTo>
                    <a:pt x="6461205" y="434921"/>
                  </a:lnTo>
                  <a:lnTo>
                    <a:pt x="6460988" y="459744"/>
                  </a:lnTo>
                  <a:lnTo>
                    <a:pt x="6430447" y="473370"/>
                  </a:lnTo>
                  <a:lnTo>
                    <a:pt x="6398421" y="463826"/>
                  </a:lnTo>
                  <a:lnTo>
                    <a:pt x="6367816" y="447274"/>
                  </a:lnTo>
                  <a:lnTo>
                    <a:pt x="6337464" y="425444"/>
                  </a:lnTo>
                  <a:lnTo>
                    <a:pt x="6290813" y="384121"/>
                  </a:lnTo>
                  <a:lnTo>
                    <a:pt x="6281439" y="364533"/>
                  </a:lnTo>
                  <a:lnTo>
                    <a:pt x="6264671" y="329475"/>
                  </a:lnTo>
                  <a:lnTo>
                    <a:pt x="6257481" y="278529"/>
                  </a:lnTo>
                  <a:lnTo>
                    <a:pt x="6239275" y="236671"/>
                  </a:lnTo>
                  <a:lnTo>
                    <a:pt x="6230171" y="215745"/>
                  </a:lnTo>
                  <a:lnTo>
                    <a:pt x="6217543" y="196673"/>
                  </a:lnTo>
                  <a:lnTo>
                    <a:pt x="6184838" y="170577"/>
                  </a:lnTo>
                  <a:lnTo>
                    <a:pt x="6164104" y="163368"/>
                  </a:lnTo>
                  <a:lnTo>
                    <a:pt x="6135898" y="164582"/>
                  </a:lnTo>
                  <a:lnTo>
                    <a:pt x="6097838" y="166218"/>
                  </a:lnTo>
                  <a:lnTo>
                    <a:pt x="6046068" y="172509"/>
                  </a:lnTo>
                  <a:lnTo>
                    <a:pt x="5995801" y="171382"/>
                  </a:lnTo>
                  <a:lnTo>
                    <a:pt x="5970662" y="170788"/>
                  </a:lnTo>
                  <a:lnTo>
                    <a:pt x="5946263" y="169225"/>
                  </a:lnTo>
                  <a:lnTo>
                    <a:pt x="5923706" y="163224"/>
                  </a:lnTo>
                  <a:lnTo>
                    <a:pt x="5901159" y="157223"/>
                  </a:lnTo>
                  <a:lnTo>
                    <a:pt x="5880075" y="147910"/>
                  </a:lnTo>
                  <a:lnTo>
                    <a:pt x="5863859" y="133296"/>
                  </a:lnTo>
                  <a:lnTo>
                    <a:pt x="5844279" y="111474"/>
                  </a:lnTo>
                  <a:lnTo>
                    <a:pt x="5823598" y="89836"/>
                  </a:lnTo>
                  <a:lnTo>
                    <a:pt x="5798570" y="74813"/>
                  </a:lnTo>
                  <a:lnTo>
                    <a:pt x="5755127" y="58108"/>
                  </a:lnTo>
                  <a:lnTo>
                    <a:pt x="5711220" y="43566"/>
                  </a:lnTo>
                  <a:lnTo>
                    <a:pt x="5666630" y="31287"/>
                  </a:lnTo>
                  <a:lnTo>
                    <a:pt x="5622044" y="19000"/>
                  </a:lnTo>
                  <a:lnTo>
                    <a:pt x="5576385" y="9055"/>
                  </a:lnTo>
                  <a:lnTo>
                    <a:pt x="5530611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74" name="Zaporizhia¬0" descr="Zaporizhia¬0">
              <a:extLst>
                <a:ext uri="{FF2B5EF4-FFF2-40B4-BE49-F238E27FC236}">
                  <a16:creationId xmlns:a16="http://schemas.microsoft.com/office/drawing/2014/main" id="{489BB086-B6FF-4C2D-A36B-F22E3284CCE0}"/>
                </a:ext>
              </a:extLst>
            </p:cNvPr>
            <p:cNvSpPr/>
            <p:nvPr/>
          </p:nvSpPr>
          <p:spPr>
            <a:xfrm>
              <a:off x="5673909" y="3811692"/>
              <a:ext cx="46206" cy="39399"/>
            </a:xfrm>
            <a:custGeom>
              <a:avLst/>
              <a:gdLst/>
              <a:ahLst/>
              <a:cxnLst/>
              <a:rect l="0" t="0" r="0" b="0"/>
              <a:pathLst>
                <a:path w="471510" h="456389">
                  <a:moveTo>
                    <a:pt x="447722" y="51982"/>
                  </a:moveTo>
                  <a:lnTo>
                    <a:pt x="435654" y="71069"/>
                  </a:lnTo>
                  <a:lnTo>
                    <a:pt x="316424" y="182817"/>
                  </a:lnTo>
                  <a:lnTo>
                    <a:pt x="351833" y="285000"/>
                  </a:lnTo>
                  <a:lnTo>
                    <a:pt x="300484" y="354630"/>
                  </a:lnTo>
                  <a:lnTo>
                    <a:pt x="238513" y="438746"/>
                  </a:lnTo>
                  <a:lnTo>
                    <a:pt x="177468" y="398367"/>
                  </a:lnTo>
                  <a:lnTo>
                    <a:pt x="119571" y="408608"/>
                  </a:lnTo>
                  <a:lnTo>
                    <a:pt x="92875" y="425571"/>
                  </a:lnTo>
                  <a:lnTo>
                    <a:pt x="67553" y="445334"/>
                  </a:lnTo>
                  <a:lnTo>
                    <a:pt x="42807" y="447371"/>
                  </a:lnTo>
                  <a:lnTo>
                    <a:pt x="13692" y="456388"/>
                  </a:lnTo>
                  <a:lnTo>
                    <a:pt x="0" y="415491"/>
                  </a:lnTo>
                  <a:lnTo>
                    <a:pt x="79707" y="381490"/>
                  </a:lnTo>
                  <a:lnTo>
                    <a:pt x="97982" y="299114"/>
                  </a:lnTo>
                  <a:lnTo>
                    <a:pt x="106403" y="256778"/>
                  </a:lnTo>
                  <a:lnTo>
                    <a:pt x="142193" y="251340"/>
                  </a:lnTo>
                  <a:lnTo>
                    <a:pt x="154729" y="272976"/>
                  </a:lnTo>
                  <a:lnTo>
                    <a:pt x="145232" y="308384"/>
                  </a:lnTo>
                  <a:lnTo>
                    <a:pt x="154967" y="335713"/>
                  </a:lnTo>
                  <a:lnTo>
                    <a:pt x="181025" y="352847"/>
                  </a:lnTo>
                  <a:lnTo>
                    <a:pt x="237642" y="330064"/>
                  </a:lnTo>
                  <a:lnTo>
                    <a:pt x="258685" y="227155"/>
                  </a:lnTo>
                  <a:lnTo>
                    <a:pt x="286101" y="188094"/>
                  </a:lnTo>
                  <a:lnTo>
                    <a:pt x="298255" y="170749"/>
                  </a:lnTo>
                  <a:lnTo>
                    <a:pt x="321125" y="156887"/>
                  </a:lnTo>
                  <a:lnTo>
                    <a:pt x="335409" y="140314"/>
                  </a:lnTo>
                  <a:lnTo>
                    <a:pt x="367283" y="103414"/>
                  </a:lnTo>
                  <a:lnTo>
                    <a:pt x="408561" y="3653"/>
                  </a:lnTo>
                  <a:lnTo>
                    <a:pt x="459823" y="0"/>
                  </a:lnTo>
                  <a:lnTo>
                    <a:pt x="471509" y="20101"/>
                  </a:lnTo>
                  <a:lnTo>
                    <a:pt x="459823" y="47821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75" name="Zaporizhia¬1" descr="Zaporizhia¬1">
              <a:extLst>
                <a:ext uri="{FF2B5EF4-FFF2-40B4-BE49-F238E27FC236}">
                  <a16:creationId xmlns:a16="http://schemas.microsoft.com/office/drawing/2014/main" id="{EB9FFEDA-7407-44B2-B590-10A35D743F8F}"/>
                </a:ext>
              </a:extLst>
            </p:cNvPr>
            <p:cNvSpPr/>
            <p:nvPr/>
          </p:nvSpPr>
          <p:spPr>
            <a:xfrm>
              <a:off x="5016745" y="3109428"/>
              <a:ext cx="1037168" cy="934006"/>
            </a:xfrm>
            <a:custGeom>
              <a:avLst/>
              <a:gdLst/>
              <a:ahLst/>
              <a:cxnLst/>
              <a:rect l="0" t="0" r="0" b="0"/>
              <a:pathLst>
                <a:path w="10583731" h="10819271">
                  <a:moveTo>
                    <a:pt x="16914" y="3464348"/>
                  </a:moveTo>
                  <a:lnTo>
                    <a:pt x="34327" y="3499208"/>
                  </a:lnTo>
                  <a:lnTo>
                    <a:pt x="44872" y="3527256"/>
                  </a:lnTo>
                  <a:lnTo>
                    <a:pt x="61259" y="3570844"/>
                  </a:lnTo>
                  <a:lnTo>
                    <a:pt x="79282" y="3622844"/>
                  </a:lnTo>
                  <a:lnTo>
                    <a:pt x="95204" y="3675517"/>
                  </a:lnTo>
                  <a:lnTo>
                    <a:pt x="111116" y="3728199"/>
                  </a:lnTo>
                  <a:lnTo>
                    <a:pt x="125059" y="3780726"/>
                  </a:lnTo>
                  <a:lnTo>
                    <a:pt x="137372" y="3826500"/>
                  </a:lnTo>
                  <a:lnTo>
                    <a:pt x="149672" y="3872271"/>
                  </a:lnTo>
                  <a:lnTo>
                    <a:pt x="160369" y="3911075"/>
                  </a:lnTo>
                  <a:lnTo>
                    <a:pt x="165934" y="3933951"/>
                  </a:lnTo>
                  <a:lnTo>
                    <a:pt x="174012" y="3967189"/>
                  </a:lnTo>
                  <a:lnTo>
                    <a:pt x="184578" y="4001016"/>
                  </a:lnTo>
                  <a:lnTo>
                    <a:pt x="195855" y="4034611"/>
                  </a:lnTo>
                  <a:lnTo>
                    <a:pt x="207132" y="4068206"/>
                  </a:lnTo>
                  <a:lnTo>
                    <a:pt x="218852" y="4101497"/>
                  </a:lnTo>
                  <a:lnTo>
                    <a:pt x="229859" y="4133905"/>
                  </a:lnTo>
                  <a:lnTo>
                    <a:pt x="244776" y="4177812"/>
                  </a:lnTo>
                  <a:lnTo>
                    <a:pt x="252605" y="4225973"/>
                  </a:lnTo>
                  <a:lnTo>
                    <a:pt x="267944" y="4269924"/>
                  </a:lnTo>
                  <a:lnTo>
                    <a:pt x="282650" y="4311918"/>
                  </a:lnTo>
                  <a:lnTo>
                    <a:pt x="312943" y="4353705"/>
                  </a:lnTo>
                  <a:lnTo>
                    <a:pt x="315553" y="4399144"/>
                  </a:lnTo>
                  <a:lnTo>
                    <a:pt x="317466" y="4432296"/>
                  </a:lnTo>
                  <a:lnTo>
                    <a:pt x="316468" y="4466557"/>
                  </a:lnTo>
                  <a:lnTo>
                    <a:pt x="316905" y="4499802"/>
                  </a:lnTo>
                  <a:lnTo>
                    <a:pt x="326508" y="4524157"/>
                  </a:lnTo>
                  <a:lnTo>
                    <a:pt x="357411" y="4538243"/>
                  </a:lnTo>
                  <a:lnTo>
                    <a:pt x="385161" y="4531378"/>
                  </a:lnTo>
                  <a:lnTo>
                    <a:pt x="410757" y="4518842"/>
                  </a:lnTo>
                  <a:lnTo>
                    <a:pt x="436352" y="4506310"/>
                  </a:lnTo>
                  <a:lnTo>
                    <a:pt x="460515" y="4487898"/>
                  </a:lnTo>
                  <a:lnTo>
                    <a:pt x="476046" y="4471233"/>
                  </a:lnTo>
                  <a:lnTo>
                    <a:pt x="519277" y="4466424"/>
                  </a:lnTo>
                  <a:lnTo>
                    <a:pt x="552581" y="4478928"/>
                  </a:lnTo>
                  <a:lnTo>
                    <a:pt x="570840" y="4493793"/>
                  </a:lnTo>
                  <a:lnTo>
                    <a:pt x="590302" y="4502518"/>
                  </a:lnTo>
                  <a:lnTo>
                    <a:pt x="609765" y="4511243"/>
                  </a:lnTo>
                  <a:lnTo>
                    <a:pt x="655591" y="4506595"/>
                  </a:lnTo>
                  <a:lnTo>
                    <a:pt x="678716" y="4491632"/>
                  </a:lnTo>
                  <a:lnTo>
                    <a:pt x="681714" y="4460706"/>
                  </a:lnTo>
                  <a:lnTo>
                    <a:pt x="693679" y="4439945"/>
                  </a:lnTo>
                  <a:lnTo>
                    <a:pt x="709427" y="4425880"/>
                  </a:lnTo>
                  <a:lnTo>
                    <a:pt x="723600" y="4405938"/>
                  </a:lnTo>
                  <a:lnTo>
                    <a:pt x="734402" y="4338782"/>
                  </a:lnTo>
                  <a:lnTo>
                    <a:pt x="764106" y="4306393"/>
                  </a:lnTo>
                  <a:lnTo>
                    <a:pt x="795992" y="4293935"/>
                  </a:lnTo>
                  <a:lnTo>
                    <a:pt x="822899" y="4291687"/>
                  </a:lnTo>
                  <a:lnTo>
                    <a:pt x="1028285" y="4273998"/>
                  </a:lnTo>
                  <a:lnTo>
                    <a:pt x="1069265" y="4295253"/>
                  </a:lnTo>
                  <a:lnTo>
                    <a:pt x="1075891" y="4322966"/>
                  </a:lnTo>
                  <a:lnTo>
                    <a:pt x="1043986" y="4351358"/>
                  </a:lnTo>
                  <a:lnTo>
                    <a:pt x="1018766" y="4361050"/>
                  </a:lnTo>
                  <a:lnTo>
                    <a:pt x="993549" y="4370752"/>
                  </a:lnTo>
                  <a:lnTo>
                    <a:pt x="969014" y="4379840"/>
                  </a:lnTo>
                  <a:lnTo>
                    <a:pt x="947034" y="4458148"/>
                  </a:lnTo>
                  <a:lnTo>
                    <a:pt x="944464" y="4498047"/>
                  </a:lnTo>
                  <a:lnTo>
                    <a:pt x="950755" y="4525642"/>
                  </a:lnTo>
                  <a:lnTo>
                    <a:pt x="957058" y="4553228"/>
                  </a:lnTo>
                  <a:lnTo>
                    <a:pt x="973011" y="4569162"/>
                  </a:lnTo>
                  <a:lnTo>
                    <a:pt x="1007384" y="4590931"/>
                  </a:lnTo>
                  <a:lnTo>
                    <a:pt x="1041890" y="4608610"/>
                  </a:lnTo>
                  <a:lnTo>
                    <a:pt x="1068376" y="4637325"/>
                  </a:lnTo>
                  <a:lnTo>
                    <a:pt x="1069092" y="4667100"/>
                  </a:lnTo>
                  <a:lnTo>
                    <a:pt x="1064959" y="4695504"/>
                  </a:lnTo>
                  <a:lnTo>
                    <a:pt x="1051471" y="4714861"/>
                  </a:lnTo>
                  <a:lnTo>
                    <a:pt x="1033723" y="4729667"/>
                  </a:lnTo>
                  <a:lnTo>
                    <a:pt x="1017197" y="4745278"/>
                  </a:lnTo>
                  <a:lnTo>
                    <a:pt x="1006733" y="4765748"/>
                  </a:lnTo>
                  <a:lnTo>
                    <a:pt x="1007880" y="4796314"/>
                  </a:lnTo>
                  <a:lnTo>
                    <a:pt x="1031001" y="4922818"/>
                  </a:lnTo>
                  <a:lnTo>
                    <a:pt x="1039428" y="4942497"/>
                  </a:lnTo>
                  <a:lnTo>
                    <a:pt x="1046461" y="5025509"/>
                  </a:lnTo>
                  <a:lnTo>
                    <a:pt x="1024242" y="5094162"/>
                  </a:lnTo>
                  <a:lnTo>
                    <a:pt x="1029637" y="5164930"/>
                  </a:lnTo>
                  <a:lnTo>
                    <a:pt x="1032424" y="5201784"/>
                  </a:lnTo>
                  <a:lnTo>
                    <a:pt x="1042985" y="5235192"/>
                  </a:lnTo>
                  <a:lnTo>
                    <a:pt x="1050042" y="5271029"/>
                  </a:lnTo>
                  <a:lnTo>
                    <a:pt x="1055117" y="5296658"/>
                  </a:lnTo>
                  <a:lnTo>
                    <a:pt x="1051043" y="5323906"/>
                  </a:lnTo>
                  <a:lnTo>
                    <a:pt x="1055480" y="5348559"/>
                  </a:lnTo>
                  <a:lnTo>
                    <a:pt x="1172456" y="5389363"/>
                  </a:lnTo>
                  <a:lnTo>
                    <a:pt x="1186437" y="5434123"/>
                  </a:lnTo>
                  <a:lnTo>
                    <a:pt x="1189503" y="5464642"/>
                  </a:lnTo>
                  <a:lnTo>
                    <a:pt x="1195577" y="5494094"/>
                  </a:lnTo>
                  <a:lnTo>
                    <a:pt x="1202547" y="5527888"/>
                  </a:lnTo>
                  <a:lnTo>
                    <a:pt x="1217768" y="5562537"/>
                  </a:lnTo>
                  <a:lnTo>
                    <a:pt x="1224146" y="5596113"/>
                  </a:lnTo>
                  <a:lnTo>
                    <a:pt x="1228499" y="5618859"/>
                  </a:lnTo>
                  <a:lnTo>
                    <a:pt x="1235878" y="5645298"/>
                  </a:lnTo>
                  <a:lnTo>
                    <a:pt x="1237745" y="5668208"/>
                  </a:lnTo>
                  <a:lnTo>
                    <a:pt x="1240269" y="5701254"/>
                  </a:lnTo>
                  <a:lnTo>
                    <a:pt x="1236787" y="5753368"/>
                  </a:lnTo>
                  <a:lnTo>
                    <a:pt x="1237745" y="5804227"/>
                  </a:lnTo>
                  <a:lnTo>
                    <a:pt x="1238700" y="5855080"/>
                  </a:lnTo>
                  <a:lnTo>
                    <a:pt x="1244293" y="5904351"/>
                  </a:lnTo>
                  <a:lnTo>
                    <a:pt x="1264950" y="5932083"/>
                  </a:lnTo>
                  <a:lnTo>
                    <a:pt x="1290768" y="5936805"/>
                  </a:lnTo>
                  <a:lnTo>
                    <a:pt x="1318025" y="5935500"/>
                  </a:lnTo>
                  <a:lnTo>
                    <a:pt x="1345208" y="5940235"/>
                  </a:lnTo>
                  <a:lnTo>
                    <a:pt x="1366274" y="5952910"/>
                  </a:lnTo>
                  <a:lnTo>
                    <a:pt x="1378744" y="5970506"/>
                  </a:lnTo>
                  <a:lnTo>
                    <a:pt x="1386006" y="5991924"/>
                  </a:lnTo>
                  <a:lnTo>
                    <a:pt x="1393274" y="6013346"/>
                  </a:lnTo>
                  <a:lnTo>
                    <a:pt x="1394399" y="6037550"/>
                  </a:lnTo>
                  <a:lnTo>
                    <a:pt x="1395528" y="6061291"/>
                  </a:lnTo>
                  <a:lnTo>
                    <a:pt x="1396662" y="6085038"/>
                  </a:lnTo>
                  <a:lnTo>
                    <a:pt x="1396920" y="6108286"/>
                  </a:lnTo>
                  <a:lnTo>
                    <a:pt x="1402275" y="6147599"/>
                  </a:lnTo>
                  <a:lnTo>
                    <a:pt x="1420022" y="6172828"/>
                  </a:lnTo>
                  <a:lnTo>
                    <a:pt x="1465505" y="6175126"/>
                  </a:lnTo>
                  <a:lnTo>
                    <a:pt x="1497097" y="6180670"/>
                  </a:lnTo>
                  <a:lnTo>
                    <a:pt x="1519312" y="6187795"/>
                  </a:lnTo>
                  <a:lnTo>
                    <a:pt x="1541531" y="6194910"/>
                  </a:lnTo>
                  <a:lnTo>
                    <a:pt x="1564200" y="6213632"/>
                  </a:lnTo>
                  <a:lnTo>
                    <a:pt x="1584384" y="6232251"/>
                  </a:lnTo>
                  <a:lnTo>
                    <a:pt x="1590995" y="6252429"/>
                  </a:lnTo>
                  <a:lnTo>
                    <a:pt x="1629489" y="6263964"/>
                  </a:lnTo>
                  <a:lnTo>
                    <a:pt x="1661434" y="6273526"/>
                  </a:lnTo>
                  <a:lnTo>
                    <a:pt x="1703509" y="6281420"/>
                  </a:lnTo>
                  <a:lnTo>
                    <a:pt x="1742387" y="6293884"/>
                  </a:lnTo>
                  <a:lnTo>
                    <a:pt x="1781262" y="6306349"/>
                  </a:lnTo>
                  <a:lnTo>
                    <a:pt x="1817152" y="6322751"/>
                  </a:lnTo>
                  <a:lnTo>
                    <a:pt x="1838961" y="6352377"/>
                  </a:lnTo>
                  <a:lnTo>
                    <a:pt x="1842226" y="6374177"/>
                  </a:lnTo>
                  <a:lnTo>
                    <a:pt x="1851177" y="6430149"/>
                  </a:lnTo>
                  <a:lnTo>
                    <a:pt x="1863443" y="6484313"/>
                  </a:lnTo>
                  <a:lnTo>
                    <a:pt x="1875709" y="6538477"/>
                  </a:lnTo>
                  <a:lnTo>
                    <a:pt x="1891305" y="6591131"/>
                  </a:lnTo>
                  <a:lnTo>
                    <a:pt x="1911050" y="6606733"/>
                  </a:lnTo>
                  <a:lnTo>
                    <a:pt x="1931008" y="6621222"/>
                  </a:lnTo>
                  <a:lnTo>
                    <a:pt x="1962879" y="6610389"/>
                  </a:lnTo>
                  <a:lnTo>
                    <a:pt x="1994021" y="6616258"/>
                  </a:lnTo>
                  <a:lnTo>
                    <a:pt x="2024990" y="6626196"/>
                  </a:lnTo>
                  <a:lnTo>
                    <a:pt x="2038905" y="6643454"/>
                  </a:lnTo>
                  <a:lnTo>
                    <a:pt x="2052827" y="6660715"/>
                  </a:lnTo>
                  <a:lnTo>
                    <a:pt x="2064975" y="6687944"/>
                  </a:lnTo>
                  <a:lnTo>
                    <a:pt x="2074274" y="6730509"/>
                  </a:lnTo>
                  <a:lnTo>
                    <a:pt x="2083297" y="6766786"/>
                  </a:lnTo>
                  <a:lnTo>
                    <a:pt x="2086515" y="6787640"/>
                  </a:lnTo>
                  <a:lnTo>
                    <a:pt x="2089733" y="6808492"/>
                  </a:lnTo>
                  <a:lnTo>
                    <a:pt x="2085163" y="6846123"/>
                  </a:lnTo>
                  <a:lnTo>
                    <a:pt x="2053305" y="6863819"/>
                  </a:lnTo>
                  <a:lnTo>
                    <a:pt x="2025316" y="6877408"/>
                  </a:lnTo>
                  <a:lnTo>
                    <a:pt x="1997327" y="6891008"/>
                  </a:lnTo>
                  <a:lnTo>
                    <a:pt x="1968863" y="6904120"/>
                  </a:lnTo>
                  <a:lnTo>
                    <a:pt x="1940747" y="6910693"/>
                  </a:lnTo>
                  <a:lnTo>
                    <a:pt x="1919452" y="6914870"/>
                  </a:lnTo>
                  <a:lnTo>
                    <a:pt x="1901534" y="6931824"/>
                  </a:lnTo>
                  <a:lnTo>
                    <a:pt x="1885383" y="6982658"/>
                  </a:lnTo>
                  <a:lnTo>
                    <a:pt x="1900836" y="7040335"/>
                  </a:lnTo>
                  <a:lnTo>
                    <a:pt x="1896092" y="7092325"/>
                  </a:lnTo>
                  <a:lnTo>
                    <a:pt x="1893395" y="7121183"/>
                  </a:lnTo>
                  <a:lnTo>
                    <a:pt x="1863738" y="7148855"/>
                  </a:lnTo>
                  <a:lnTo>
                    <a:pt x="1848486" y="7171214"/>
                  </a:lnTo>
                  <a:lnTo>
                    <a:pt x="1824683" y="7206027"/>
                  </a:lnTo>
                  <a:lnTo>
                    <a:pt x="1832506" y="7252403"/>
                  </a:lnTo>
                  <a:lnTo>
                    <a:pt x="1803599" y="7288193"/>
                  </a:lnTo>
                  <a:lnTo>
                    <a:pt x="1751791" y="7305367"/>
                  </a:lnTo>
                  <a:lnTo>
                    <a:pt x="1730146" y="7328996"/>
                  </a:lnTo>
                  <a:lnTo>
                    <a:pt x="1712426" y="7348378"/>
                  </a:lnTo>
                  <a:lnTo>
                    <a:pt x="1698272" y="7400623"/>
                  </a:lnTo>
                  <a:lnTo>
                    <a:pt x="1644867" y="7423428"/>
                  </a:lnTo>
                  <a:lnTo>
                    <a:pt x="1607983" y="7415224"/>
                  </a:lnTo>
                  <a:lnTo>
                    <a:pt x="1573728" y="7414690"/>
                  </a:lnTo>
                  <a:lnTo>
                    <a:pt x="1540086" y="7415785"/>
                  </a:lnTo>
                  <a:lnTo>
                    <a:pt x="1509434" y="7429917"/>
                  </a:lnTo>
                  <a:lnTo>
                    <a:pt x="1482592" y="7463658"/>
                  </a:lnTo>
                  <a:lnTo>
                    <a:pt x="1483054" y="7508185"/>
                  </a:lnTo>
                  <a:lnTo>
                    <a:pt x="1486682" y="7539827"/>
                  </a:lnTo>
                  <a:lnTo>
                    <a:pt x="1490297" y="7571471"/>
                  </a:lnTo>
                  <a:lnTo>
                    <a:pt x="1495525" y="7603079"/>
                  </a:lnTo>
                  <a:lnTo>
                    <a:pt x="1521700" y="7624910"/>
                  </a:lnTo>
                  <a:lnTo>
                    <a:pt x="1554690" y="7621440"/>
                  </a:lnTo>
                  <a:lnTo>
                    <a:pt x="1586279" y="7606120"/>
                  </a:lnTo>
                  <a:lnTo>
                    <a:pt x="1621337" y="7594236"/>
                  </a:lnTo>
                  <a:lnTo>
                    <a:pt x="1649562" y="7640441"/>
                  </a:lnTo>
                  <a:lnTo>
                    <a:pt x="1665245" y="7664498"/>
                  </a:lnTo>
                  <a:lnTo>
                    <a:pt x="1698120" y="7671561"/>
                  </a:lnTo>
                  <a:lnTo>
                    <a:pt x="1731516" y="7675846"/>
                  </a:lnTo>
                  <a:lnTo>
                    <a:pt x="1764907" y="7680135"/>
                  </a:lnTo>
                  <a:lnTo>
                    <a:pt x="1799717" y="7680907"/>
                  </a:lnTo>
                  <a:lnTo>
                    <a:pt x="1829089" y="7684367"/>
                  </a:lnTo>
                  <a:lnTo>
                    <a:pt x="1854935" y="7701501"/>
                  </a:lnTo>
                  <a:lnTo>
                    <a:pt x="1864814" y="7724808"/>
                  </a:lnTo>
                  <a:lnTo>
                    <a:pt x="1872016" y="7744621"/>
                  </a:lnTo>
                  <a:lnTo>
                    <a:pt x="1882450" y="7780516"/>
                  </a:lnTo>
                  <a:lnTo>
                    <a:pt x="1889302" y="7817308"/>
                  </a:lnTo>
                  <a:lnTo>
                    <a:pt x="1896291" y="7854096"/>
                  </a:lnTo>
                  <a:lnTo>
                    <a:pt x="1899959" y="7891777"/>
                  </a:lnTo>
                  <a:lnTo>
                    <a:pt x="1890654" y="7911159"/>
                  </a:lnTo>
                  <a:lnTo>
                    <a:pt x="1880714" y="7931880"/>
                  </a:lnTo>
                  <a:lnTo>
                    <a:pt x="1856631" y="7951929"/>
                  </a:lnTo>
                  <a:lnTo>
                    <a:pt x="1837603" y="7975090"/>
                  </a:lnTo>
                  <a:lnTo>
                    <a:pt x="1819099" y="7998847"/>
                  </a:lnTo>
                  <a:lnTo>
                    <a:pt x="1809865" y="8024783"/>
                  </a:lnTo>
                  <a:lnTo>
                    <a:pt x="1814482" y="8053978"/>
                  </a:lnTo>
                  <a:lnTo>
                    <a:pt x="1829616" y="8098633"/>
                  </a:lnTo>
                  <a:lnTo>
                    <a:pt x="1845023" y="8122895"/>
                  </a:lnTo>
                  <a:lnTo>
                    <a:pt x="1859366" y="8139672"/>
                  </a:lnTo>
                  <a:lnTo>
                    <a:pt x="1873709" y="8156443"/>
                  </a:lnTo>
                  <a:lnTo>
                    <a:pt x="1893376" y="8181840"/>
                  </a:lnTo>
                  <a:lnTo>
                    <a:pt x="1902973" y="8203777"/>
                  </a:lnTo>
                  <a:lnTo>
                    <a:pt x="1924655" y="8241691"/>
                  </a:lnTo>
                  <a:lnTo>
                    <a:pt x="1940511" y="8273103"/>
                  </a:lnTo>
                  <a:lnTo>
                    <a:pt x="1942087" y="8307191"/>
                  </a:lnTo>
                  <a:lnTo>
                    <a:pt x="1960023" y="8339626"/>
                  </a:lnTo>
                  <a:lnTo>
                    <a:pt x="1993349" y="8351073"/>
                  </a:lnTo>
                  <a:lnTo>
                    <a:pt x="2032794" y="8344491"/>
                  </a:lnTo>
                  <a:lnTo>
                    <a:pt x="2067484" y="8336901"/>
                  </a:lnTo>
                  <a:lnTo>
                    <a:pt x="2145435" y="8336308"/>
                  </a:lnTo>
                  <a:lnTo>
                    <a:pt x="2203503" y="8340978"/>
                  </a:lnTo>
                  <a:lnTo>
                    <a:pt x="2261565" y="8345620"/>
                  </a:lnTo>
                  <a:lnTo>
                    <a:pt x="2318265" y="8354555"/>
                  </a:lnTo>
                  <a:lnTo>
                    <a:pt x="2338155" y="8379062"/>
                  </a:lnTo>
                  <a:lnTo>
                    <a:pt x="2329908" y="8416772"/>
                  </a:lnTo>
                  <a:lnTo>
                    <a:pt x="2308328" y="8447452"/>
                  </a:lnTo>
                  <a:lnTo>
                    <a:pt x="2276950" y="8468831"/>
                  </a:lnTo>
                  <a:lnTo>
                    <a:pt x="2272221" y="8500091"/>
                  </a:lnTo>
                  <a:lnTo>
                    <a:pt x="2272860" y="8524604"/>
                  </a:lnTo>
                  <a:lnTo>
                    <a:pt x="2273521" y="8549111"/>
                  </a:lnTo>
                  <a:lnTo>
                    <a:pt x="2275992" y="8574145"/>
                  </a:lnTo>
                  <a:lnTo>
                    <a:pt x="2312541" y="8594655"/>
                  </a:lnTo>
                  <a:lnTo>
                    <a:pt x="2361748" y="8584901"/>
                  </a:lnTo>
                  <a:lnTo>
                    <a:pt x="2408880" y="8576291"/>
                  </a:lnTo>
                  <a:lnTo>
                    <a:pt x="2456021" y="8567683"/>
                  </a:lnTo>
                  <a:lnTo>
                    <a:pt x="2500812" y="8559703"/>
                  </a:lnTo>
                  <a:lnTo>
                    <a:pt x="2523136" y="8570855"/>
                  </a:lnTo>
                  <a:lnTo>
                    <a:pt x="2545501" y="8582021"/>
                  </a:lnTo>
                  <a:lnTo>
                    <a:pt x="2562033" y="8630018"/>
                  </a:lnTo>
                  <a:lnTo>
                    <a:pt x="2587067" y="8649744"/>
                  </a:lnTo>
                  <a:lnTo>
                    <a:pt x="2604961" y="8663857"/>
                  </a:lnTo>
                  <a:lnTo>
                    <a:pt x="2634677" y="8670149"/>
                  </a:lnTo>
                  <a:lnTo>
                    <a:pt x="2665410" y="8671969"/>
                  </a:lnTo>
                  <a:lnTo>
                    <a:pt x="2697185" y="8683000"/>
                  </a:lnTo>
                  <a:lnTo>
                    <a:pt x="2716297" y="8709591"/>
                  </a:lnTo>
                  <a:lnTo>
                    <a:pt x="2738202" y="8732542"/>
                  </a:lnTo>
                  <a:lnTo>
                    <a:pt x="2776684" y="8733044"/>
                  </a:lnTo>
                  <a:lnTo>
                    <a:pt x="2894007" y="8728843"/>
                  </a:lnTo>
                  <a:lnTo>
                    <a:pt x="2920842" y="8770186"/>
                  </a:lnTo>
                  <a:lnTo>
                    <a:pt x="2931012" y="8812968"/>
                  </a:lnTo>
                  <a:lnTo>
                    <a:pt x="2938004" y="8855136"/>
                  </a:lnTo>
                  <a:lnTo>
                    <a:pt x="2944987" y="8897297"/>
                  </a:lnTo>
                  <a:lnTo>
                    <a:pt x="2950078" y="8939444"/>
                  </a:lnTo>
                  <a:lnTo>
                    <a:pt x="2955690" y="8970750"/>
                  </a:lnTo>
                  <a:lnTo>
                    <a:pt x="2957386" y="9007647"/>
                  </a:lnTo>
                  <a:lnTo>
                    <a:pt x="2974724" y="9072003"/>
                  </a:lnTo>
                  <a:lnTo>
                    <a:pt x="3011463" y="9164661"/>
                  </a:lnTo>
                  <a:lnTo>
                    <a:pt x="3007367" y="9207421"/>
                  </a:lnTo>
                  <a:lnTo>
                    <a:pt x="3003188" y="9251034"/>
                  </a:lnTo>
                  <a:lnTo>
                    <a:pt x="2972442" y="9289336"/>
                  </a:lnTo>
                  <a:lnTo>
                    <a:pt x="2972011" y="9333925"/>
                  </a:lnTo>
                  <a:lnTo>
                    <a:pt x="2971543" y="9373262"/>
                  </a:lnTo>
                  <a:lnTo>
                    <a:pt x="2980467" y="9410156"/>
                  </a:lnTo>
                  <a:lnTo>
                    <a:pt x="2988336" y="9448182"/>
                  </a:lnTo>
                  <a:lnTo>
                    <a:pt x="2996190" y="9486201"/>
                  </a:lnTo>
                  <a:lnTo>
                    <a:pt x="3002989" y="9526028"/>
                  </a:lnTo>
                  <a:lnTo>
                    <a:pt x="2999210" y="9569238"/>
                  </a:lnTo>
                  <a:lnTo>
                    <a:pt x="2998748" y="9593308"/>
                  </a:lnTo>
                  <a:lnTo>
                    <a:pt x="3002394" y="9621331"/>
                  </a:lnTo>
                  <a:lnTo>
                    <a:pt x="3015531" y="9639968"/>
                  </a:lnTo>
                  <a:lnTo>
                    <a:pt x="3054964" y="9646861"/>
                  </a:lnTo>
                  <a:lnTo>
                    <a:pt x="3084897" y="9648126"/>
                  </a:lnTo>
                  <a:lnTo>
                    <a:pt x="3138674" y="9651220"/>
                  </a:lnTo>
                  <a:lnTo>
                    <a:pt x="3177391" y="9653568"/>
                  </a:lnTo>
                  <a:lnTo>
                    <a:pt x="3200844" y="9633860"/>
                  </a:lnTo>
                  <a:lnTo>
                    <a:pt x="3223100" y="9611914"/>
                  </a:lnTo>
                  <a:lnTo>
                    <a:pt x="3241316" y="9581479"/>
                  </a:lnTo>
                  <a:lnTo>
                    <a:pt x="3283016" y="9511979"/>
                  </a:lnTo>
                  <a:lnTo>
                    <a:pt x="3297985" y="9436021"/>
                  </a:lnTo>
                  <a:lnTo>
                    <a:pt x="3344689" y="9369287"/>
                  </a:lnTo>
                  <a:lnTo>
                    <a:pt x="3364800" y="9340554"/>
                  </a:lnTo>
                  <a:lnTo>
                    <a:pt x="3393031" y="9321895"/>
                  </a:lnTo>
                  <a:lnTo>
                    <a:pt x="3415420" y="9295841"/>
                  </a:lnTo>
                  <a:lnTo>
                    <a:pt x="3465966" y="9237264"/>
                  </a:lnTo>
                  <a:lnTo>
                    <a:pt x="3514384" y="9171637"/>
                  </a:lnTo>
                  <a:lnTo>
                    <a:pt x="3540560" y="9098612"/>
                  </a:lnTo>
                  <a:lnTo>
                    <a:pt x="3567426" y="9023755"/>
                  </a:lnTo>
                  <a:lnTo>
                    <a:pt x="3518117" y="8987627"/>
                  </a:lnTo>
                  <a:lnTo>
                    <a:pt x="3499756" y="8923141"/>
                  </a:lnTo>
                  <a:lnTo>
                    <a:pt x="3491176" y="8893220"/>
                  </a:lnTo>
                  <a:lnTo>
                    <a:pt x="3487040" y="8868437"/>
                  </a:lnTo>
                  <a:lnTo>
                    <a:pt x="3467113" y="8842895"/>
                  </a:lnTo>
                  <a:lnTo>
                    <a:pt x="3451256" y="8822700"/>
                  </a:lnTo>
                  <a:lnTo>
                    <a:pt x="3415420" y="8796646"/>
                  </a:lnTo>
                  <a:lnTo>
                    <a:pt x="3367444" y="8755071"/>
                  </a:lnTo>
                  <a:lnTo>
                    <a:pt x="3371730" y="8663811"/>
                  </a:lnTo>
                  <a:lnTo>
                    <a:pt x="3390941" y="8610298"/>
                  </a:lnTo>
                  <a:lnTo>
                    <a:pt x="3401309" y="8581261"/>
                  </a:lnTo>
                  <a:lnTo>
                    <a:pt x="3418666" y="8534206"/>
                  </a:lnTo>
                  <a:lnTo>
                    <a:pt x="3458946" y="8543645"/>
                  </a:lnTo>
                  <a:lnTo>
                    <a:pt x="3457991" y="8581605"/>
                  </a:lnTo>
                  <a:lnTo>
                    <a:pt x="3457510" y="8679922"/>
                  </a:lnTo>
                  <a:lnTo>
                    <a:pt x="3483434" y="8708233"/>
                  </a:lnTo>
                  <a:lnTo>
                    <a:pt x="3498351" y="8724511"/>
                  </a:lnTo>
                  <a:lnTo>
                    <a:pt x="3523134" y="8735351"/>
                  </a:lnTo>
                  <a:lnTo>
                    <a:pt x="3539201" y="8750401"/>
                  </a:lnTo>
                  <a:lnTo>
                    <a:pt x="3552556" y="8767739"/>
                  </a:lnTo>
                  <a:lnTo>
                    <a:pt x="3564670" y="8790439"/>
                  </a:lnTo>
                  <a:lnTo>
                    <a:pt x="3582734" y="8815684"/>
                  </a:lnTo>
                  <a:lnTo>
                    <a:pt x="3593186" y="8835239"/>
                  </a:lnTo>
                  <a:lnTo>
                    <a:pt x="3605387" y="8864143"/>
                  </a:lnTo>
                  <a:lnTo>
                    <a:pt x="3626253" y="8875534"/>
                  </a:lnTo>
                  <a:lnTo>
                    <a:pt x="3657244" y="8892448"/>
                  </a:lnTo>
                  <a:lnTo>
                    <a:pt x="3736904" y="8904227"/>
                  </a:lnTo>
                  <a:lnTo>
                    <a:pt x="3773156" y="8905461"/>
                  </a:lnTo>
                  <a:lnTo>
                    <a:pt x="3788138" y="8936740"/>
                  </a:lnTo>
                  <a:lnTo>
                    <a:pt x="3767656" y="8969095"/>
                  </a:lnTo>
                  <a:lnTo>
                    <a:pt x="3725692" y="9003012"/>
                  </a:lnTo>
                  <a:lnTo>
                    <a:pt x="3714685" y="9037397"/>
                  </a:lnTo>
                  <a:lnTo>
                    <a:pt x="3710109" y="9065709"/>
                  </a:lnTo>
                  <a:lnTo>
                    <a:pt x="3722288" y="9139032"/>
                  </a:lnTo>
                  <a:lnTo>
                    <a:pt x="3726957" y="9196079"/>
                  </a:lnTo>
                  <a:lnTo>
                    <a:pt x="3724213" y="9250953"/>
                  </a:lnTo>
                  <a:lnTo>
                    <a:pt x="3722821" y="9277730"/>
                  </a:lnTo>
                  <a:lnTo>
                    <a:pt x="3716676" y="9307353"/>
                  </a:lnTo>
                  <a:lnTo>
                    <a:pt x="3717414" y="9333925"/>
                  </a:lnTo>
                  <a:lnTo>
                    <a:pt x="3725342" y="9379318"/>
                  </a:lnTo>
                  <a:lnTo>
                    <a:pt x="3746866" y="9406482"/>
                  </a:lnTo>
                  <a:lnTo>
                    <a:pt x="3781841" y="9421104"/>
                  </a:lnTo>
                  <a:lnTo>
                    <a:pt x="3811734" y="9419994"/>
                  </a:lnTo>
                  <a:lnTo>
                    <a:pt x="3837112" y="9435934"/>
                  </a:lnTo>
                  <a:lnTo>
                    <a:pt x="3855393" y="9453530"/>
                  </a:lnTo>
                  <a:lnTo>
                    <a:pt x="3882973" y="9456339"/>
                  </a:lnTo>
                  <a:lnTo>
                    <a:pt x="3912003" y="9445800"/>
                  </a:lnTo>
                  <a:lnTo>
                    <a:pt x="3956178" y="9362230"/>
                  </a:lnTo>
                  <a:lnTo>
                    <a:pt x="3989456" y="9337999"/>
                  </a:lnTo>
                  <a:lnTo>
                    <a:pt x="4020775" y="9357474"/>
                  </a:lnTo>
                  <a:lnTo>
                    <a:pt x="4008779" y="9390501"/>
                  </a:lnTo>
                  <a:lnTo>
                    <a:pt x="4000336" y="9414178"/>
                  </a:lnTo>
                  <a:lnTo>
                    <a:pt x="3962041" y="9520745"/>
                  </a:lnTo>
                  <a:lnTo>
                    <a:pt x="3926539" y="9577144"/>
                  </a:lnTo>
                  <a:lnTo>
                    <a:pt x="3820790" y="9626369"/>
                  </a:lnTo>
                  <a:lnTo>
                    <a:pt x="3785171" y="9682183"/>
                  </a:lnTo>
                  <a:lnTo>
                    <a:pt x="3814360" y="9713000"/>
                  </a:lnTo>
                  <a:lnTo>
                    <a:pt x="3793586" y="9765105"/>
                  </a:lnTo>
                  <a:lnTo>
                    <a:pt x="3721789" y="9824704"/>
                  </a:lnTo>
                  <a:lnTo>
                    <a:pt x="3711076" y="9854461"/>
                  </a:lnTo>
                  <a:lnTo>
                    <a:pt x="3701765" y="9879876"/>
                  </a:lnTo>
                  <a:lnTo>
                    <a:pt x="3668152" y="9973691"/>
                  </a:lnTo>
                  <a:lnTo>
                    <a:pt x="3614580" y="10021080"/>
                  </a:lnTo>
                  <a:lnTo>
                    <a:pt x="3575953" y="10088837"/>
                  </a:lnTo>
                  <a:lnTo>
                    <a:pt x="3536721" y="10157444"/>
                  </a:lnTo>
                  <a:lnTo>
                    <a:pt x="3527112" y="10228509"/>
                  </a:lnTo>
                  <a:lnTo>
                    <a:pt x="3460338" y="10280624"/>
                  </a:lnTo>
                  <a:lnTo>
                    <a:pt x="3397765" y="10329427"/>
                  </a:lnTo>
                  <a:lnTo>
                    <a:pt x="3354782" y="10325220"/>
                  </a:lnTo>
                  <a:lnTo>
                    <a:pt x="3287592" y="10347277"/>
                  </a:lnTo>
                  <a:lnTo>
                    <a:pt x="3208019" y="10373375"/>
                  </a:lnTo>
                  <a:lnTo>
                    <a:pt x="2994298" y="10428460"/>
                  </a:lnTo>
                  <a:lnTo>
                    <a:pt x="2943458" y="10481933"/>
                  </a:lnTo>
                  <a:lnTo>
                    <a:pt x="2953414" y="10513900"/>
                  </a:lnTo>
                  <a:lnTo>
                    <a:pt x="2974749" y="10541780"/>
                  </a:lnTo>
                  <a:lnTo>
                    <a:pt x="2923369" y="10588500"/>
                  </a:lnTo>
                  <a:lnTo>
                    <a:pt x="2890084" y="10572389"/>
                  </a:lnTo>
                  <a:lnTo>
                    <a:pt x="2840094" y="10607078"/>
                  </a:lnTo>
                  <a:lnTo>
                    <a:pt x="2827729" y="10654040"/>
                  </a:lnTo>
                  <a:lnTo>
                    <a:pt x="2814151" y="10670659"/>
                  </a:lnTo>
                  <a:lnTo>
                    <a:pt x="2793852" y="10677803"/>
                  </a:lnTo>
                  <a:lnTo>
                    <a:pt x="2763844" y="10689790"/>
                  </a:lnTo>
                  <a:lnTo>
                    <a:pt x="2747430" y="10712272"/>
                  </a:lnTo>
                  <a:lnTo>
                    <a:pt x="2723121" y="10730851"/>
                  </a:lnTo>
                  <a:lnTo>
                    <a:pt x="2717779" y="10760309"/>
                  </a:lnTo>
                  <a:lnTo>
                    <a:pt x="2737095" y="10811190"/>
                  </a:lnTo>
                  <a:lnTo>
                    <a:pt x="2758350" y="10814759"/>
                  </a:lnTo>
                  <a:lnTo>
                    <a:pt x="2796562" y="10819270"/>
                  </a:lnTo>
                  <a:lnTo>
                    <a:pt x="2838426" y="10801925"/>
                  </a:lnTo>
                  <a:lnTo>
                    <a:pt x="2870867" y="10771958"/>
                  </a:lnTo>
                  <a:lnTo>
                    <a:pt x="2910818" y="10753972"/>
                  </a:lnTo>
                  <a:lnTo>
                    <a:pt x="2930631" y="10745048"/>
                  </a:lnTo>
                  <a:lnTo>
                    <a:pt x="2953243" y="10740928"/>
                  </a:lnTo>
                  <a:lnTo>
                    <a:pt x="2973391" y="10729493"/>
                  </a:lnTo>
                  <a:lnTo>
                    <a:pt x="3000425" y="10710743"/>
                  </a:lnTo>
                  <a:lnTo>
                    <a:pt x="3082504" y="10668284"/>
                  </a:lnTo>
                  <a:lnTo>
                    <a:pt x="3159144" y="10645795"/>
                  </a:lnTo>
                  <a:lnTo>
                    <a:pt x="3226383" y="10609795"/>
                  </a:lnTo>
                  <a:lnTo>
                    <a:pt x="3349867" y="10543656"/>
                  </a:lnTo>
                  <a:lnTo>
                    <a:pt x="3450150" y="10448273"/>
                  </a:lnTo>
                  <a:lnTo>
                    <a:pt x="3518831" y="10325514"/>
                  </a:lnTo>
                  <a:lnTo>
                    <a:pt x="3782712" y="9853524"/>
                  </a:lnTo>
                  <a:lnTo>
                    <a:pt x="3794218" y="9832868"/>
                  </a:lnTo>
                  <a:lnTo>
                    <a:pt x="3812844" y="9815477"/>
                  </a:lnTo>
                  <a:lnTo>
                    <a:pt x="3826238" y="9796393"/>
                  </a:lnTo>
                  <a:lnTo>
                    <a:pt x="3853895" y="9756910"/>
                  </a:lnTo>
                  <a:lnTo>
                    <a:pt x="3877460" y="9709939"/>
                  </a:lnTo>
                  <a:lnTo>
                    <a:pt x="3902407" y="9668537"/>
                  </a:lnTo>
                  <a:lnTo>
                    <a:pt x="3967011" y="9561378"/>
                  </a:lnTo>
                  <a:lnTo>
                    <a:pt x="4077739" y="9342300"/>
                  </a:lnTo>
                  <a:lnTo>
                    <a:pt x="4154045" y="9257753"/>
                  </a:lnTo>
                  <a:lnTo>
                    <a:pt x="4214652" y="9190597"/>
                  </a:lnTo>
                  <a:lnTo>
                    <a:pt x="4293084" y="9142988"/>
                  </a:lnTo>
                  <a:lnTo>
                    <a:pt x="4353995" y="9075491"/>
                  </a:lnTo>
                  <a:lnTo>
                    <a:pt x="4417148" y="9005399"/>
                  </a:lnTo>
                  <a:lnTo>
                    <a:pt x="4448268" y="8899558"/>
                  </a:lnTo>
                  <a:lnTo>
                    <a:pt x="4522658" y="8841537"/>
                  </a:lnTo>
                  <a:lnTo>
                    <a:pt x="4568342" y="8805830"/>
                  </a:lnTo>
                  <a:lnTo>
                    <a:pt x="4627988" y="8804512"/>
                  </a:lnTo>
                  <a:lnTo>
                    <a:pt x="4681801" y="8789847"/>
                  </a:lnTo>
                  <a:lnTo>
                    <a:pt x="4722097" y="8778877"/>
                  </a:lnTo>
                  <a:lnTo>
                    <a:pt x="4769492" y="8757334"/>
                  </a:lnTo>
                  <a:lnTo>
                    <a:pt x="4805580" y="8736796"/>
                  </a:lnTo>
                  <a:lnTo>
                    <a:pt x="4831625" y="8721966"/>
                  </a:lnTo>
                  <a:lnTo>
                    <a:pt x="4977259" y="8631171"/>
                  </a:lnTo>
                  <a:lnTo>
                    <a:pt x="4996635" y="8615957"/>
                  </a:lnTo>
                  <a:lnTo>
                    <a:pt x="5017772" y="8599418"/>
                  </a:lnTo>
                  <a:lnTo>
                    <a:pt x="5069105" y="8566391"/>
                  </a:lnTo>
                  <a:lnTo>
                    <a:pt x="5098151" y="8529202"/>
                  </a:lnTo>
                  <a:lnTo>
                    <a:pt x="5132028" y="8478362"/>
                  </a:lnTo>
                  <a:lnTo>
                    <a:pt x="5152632" y="8447418"/>
                  </a:lnTo>
                  <a:lnTo>
                    <a:pt x="5169855" y="8414561"/>
                  </a:lnTo>
                  <a:lnTo>
                    <a:pt x="5194589" y="8385868"/>
                  </a:lnTo>
                  <a:lnTo>
                    <a:pt x="5210067" y="8367891"/>
                  </a:lnTo>
                  <a:lnTo>
                    <a:pt x="5229672" y="8351653"/>
                  </a:lnTo>
                  <a:lnTo>
                    <a:pt x="5243563" y="8332817"/>
                  </a:lnTo>
                  <a:lnTo>
                    <a:pt x="5306805" y="8247467"/>
                  </a:lnTo>
                  <a:lnTo>
                    <a:pt x="5335548" y="8192255"/>
                  </a:lnTo>
                  <a:lnTo>
                    <a:pt x="5416309" y="8116545"/>
                  </a:lnTo>
                  <a:lnTo>
                    <a:pt x="5434419" y="8099545"/>
                  </a:lnTo>
                  <a:lnTo>
                    <a:pt x="5460976" y="8075400"/>
                  </a:lnTo>
                  <a:lnTo>
                    <a:pt x="5481598" y="8062145"/>
                  </a:lnTo>
                  <a:lnTo>
                    <a:pt x="5499996" y="8050279"/>
                  </a:lnTo>
                  <a:lnTo>
                    <a:pt x="5523812" y="8050577"/>
                  </a:lnTo>
                  <a:lnTo>
                    <a:pt x="5542806" y="8036299"/>
                  </a:lnTo>
                  <a:lnTo>
                    <a:pt x="5569198" y="8016486"/>
                  </a:lnTo>
                  <a:lnTo>
                    <a:pt x="5586794" y="7982569"/>
                  </a:lnTo>
                  <a:lnTo>
                    <a:pt x="5614895" y="7961485"/>
                  </a:lnTo>
                  <a:lnTo>
                    <a:pt x="5657742" y="7929350"/>
                  </a:lnTo>
                  <a:lnTo>
                    <a:pt x="5703727" y="7919574"/>
                  </a:lnTo>
                  <a:lnTo>
                    <a:pt x="5750915" y="7897554"/>
                  </a:lnTo>
                  <a:lnTo>
                    <a:pt x="5775527" y="7886165"/>
                  </a:lnTo>
                  <a:lnTo>
                    <a:pt x="5799842" y="7871289"/>
                  </a:lnTo>
                  <a:lnTo>
                    <a:pt x="5824367" y="7859469"/>
                  </a:lnTo>
                  <a:lnTo>
                    <a:pt x="5873422" y="7835840"/>
                  </a:lnTo>
                  <a:lnTo>
                    <a:pt x="5917456" y="7797544"/>
                  </a:lnTo>
                  <a:lnTo>
                    <a:pt x="5969912" y="7779223"/>
                  </a:lnTo>
                  <a:lnTo>
                    <a:pt x="6002502" y="7767788"/>
                  </a:lnTo>
                  <a:lnTo>
                    <a:pt x="6050335" y="7776507"/>
                  </a:lnTo>
                  <a:lnTo>
                    <a:pt x="6084169" y="7776507"/>
                  </a:lnTo>
                  <a:lnTo>
                    <a:pt x="6130615" y="7776507"/>
                  </a:lnTo>
                  <a:lnTo>
                    <a:pt x="6184820" y="7763407"/>
                  </a:lnTo>
                  <a:lnTo>
                    <a:pt x="6231068" y="7757460"/>
                  </a:lnTo>
                  <a:lnTo>
                    <a:pt x="6268889" y="7752574"/>
                  </a:lnTo>
                  <a:lnTo>
                    <a:pt x="6306133" y="7756570"/>
                  </a:lnTo>
                  <a:lnTo>
                    <a:pt x="6343960" y="7753383"/>
                  </a:lnTo>
                  <a:lnTo>
                    <a:pt x="6411544" y="7747771"/>
                  </a:lnTo>
                  <a:lnTo>
                    <a:pt x="6467866" y="7682652"/>
                  </a:lnTo>
                  <a:lnTo>
                    <a:pt x="6531664" y="7677214"/>
                  </a:lnTo>
                  <a:lnTo>
                    <a:pt x="6568821" y="7673980"/>
                  </a:lnTo>
                  <a:lnTo>
                    <a:pt x="6642953" y="7750660"/>
                  </a:lnTo>
                  <a:lnTo>
                    <a:pt x="6746578" y="7750660"/>
                  </a:lnTo>
                  <a:lnTo>
                    <a:pt x="6845366" y="7750660"/>
                  </a:lnTo>
                  <a:lnTo>
                    <a:pt x="6943729" y="7634199"/>
                  </a:lnTo>
                  <a:lnTo>
                    <a:pt x="7041747" y="7726181"/>
                  </a:lnTo>
                  <a:lnTo>
                    <a:pt x="7055347" y="7745225"/>
                  </a:lnTo>
                  <a:lnTo>
                    <a:pt x="7070645" y="7768176"/>
                  </a:lnTo>
                  <a:lnTo>
                    <a:pt x="7075026" y="7793170"/>
                  </a:lnTo>
                  <a:lnTo>
                    <a:pt x="7089351" y="7815956"/>
                  </a:lnTo>
                  <a:lnTo>
                    <a:pt x="7101973" y="7835933"/>
                  </a:lnTo>
                  <a:lnTo>
                    <a:pt x="7121274" y="7848087"/>
                  </a:lnTo>
                  <a:lnTo>
                    <a:pt x="7132877" y="7867639"/>
                  </a:lnTo>
                  <a:lnTo>
                    <a:pt x="7142364" y="7887874"/>
                  </a:lnTo>
                  <a:lnTo>
                    <a:pt x="7148643" y="7944366"/>
                  </a:lnTo>
                  <a:lnTo>
                    <a:pt x="7123668" y="7978882"/>
                  </a:lnTo>
                  <a:lnTo>
                    <a:pt x="7139667" y="8022700"/>
                  </a:lnTo>
                  <a:lnTo>
                    <a:pt x="7180347" y="8013395"/>
                  </a:lnTo>
                  <a:lnTo>
                    <a:pt x="7171969" y="7951296"/>
                  </a:lnTo>
                  <a:lnTo>
                    <a:pt x="7209039" y="7919332"/>
                  </a:lnTo>
                  <a:lnTo>
                    <a:pt x="7244402" y="7924771"/>
                  </a:lnTo>
                  <a:lnTo>
                    <a:pt x="7259024" y="7967150"/>
                  </a:lnTo>
                  <a:lnTo>
                    <a:pt x="7238197" y="7988110"/>
                  </a:lnTo>
                  <a:lnTo>
                    <a:pt x="7233522" y="8026789"/>
                  </a:lnTo>
                  <a:lnTo>
                    <a:pt x="7281168" y="7974160"/>
                  </a:lnTo>
                  <a:lnTo>
                    <a:pt x="7266720" y="7911761"/>
                  </a:lnTo>
                  <a:lnTo>
                    <a:pt x="7301527" y="7854034"/>
                  </a:lnTo>
                  <a:lnTo>
                    <a:pt x="7325460" y="7814381"/>
                  </a:lnTo>
                  <a:lnTo>
                    <a:pt x="7352835" y="7769456"/>
                  </a:lnTo>
                  <a:lnTo>
                    <a:pt x="7383147" y="7734339"/>
                  </a:lnTo>
                  <a:lnTo>
                    <a:pt x="7408398" y="7705057"/>
                  </a:lnTo>
                  <a:lnTo>
                    <a:pt x="7456938" y="7660765"/>
                  </a:lnTo>
                  <a:lnTo>
                    <a:pt x="7475634" y="7629604"/>
                  </a:lnTo>
                  <a:lnTo>
                    <a:pt x="7494963" y="7601891"/>
                  </a:lnTo>
                  <a:lnTo>
                    <a:pt x="7511554" y="7577021"/>
                  </a:lnTo>
                  <a:lnTo>
                    <a:pt x="7532936" y="7545402"/>
                  </a:lnTo>
                  <a:lnTo>
                    <a:pt x="7551809" y="7528953"/>
                  </a:lnTo>
                  <a:lnTo>
                    <a:pt x="7619690" y="7469487"/>
                  </a:lnTo>
                  <a:lnTo>
                    <a:pt x="7686083" y="7421409"/>
                  </a:lnTo>
                  <a:lnTo>
                    <a:pt x="7770801" y="7387492"/>
                  </a:lnTo>
                  <a:lnTo>
                    <a:pt x="7820060" y="7367766"/>
                  </a:lnTo>
                  <a:lnTo>
                    <a:pt x="7896111" y="7354802"/>
                  </a:lnTo>
                  <a:lnTo>
                    <a:pt x="7934025" y="7337166"/>
                  </a:lnTo>
                  <a:lnTo>
                    <a:pt x="7986294" y="7312805"/>
                  </a:lnTo>
                  <a:lnTo>
                    <a:pt x="8078124" y="7240589"/>
                  </a:lnTo>
                  <a:lnTo>
                    <a:pt x="8124453" y="7232425"/>
                  </a:lnTo>
                  <a:lnTo>
                    <a:pt x="8184161" y="7221887"/>
                  </a:lnTo>
                  <a:lnTo>
                    <a:pt x="8285175" y="7260911"/>
                  </a:lnTo>
                  <a:lnTo>
                    <a:pt x="8339361" y="7239231"/>
                  </a:lnTo>
                  <a:lnTo>
                    <a:pt x="8376720" y="7224268"/>
                  </a:lnTo>
                  <a:lnTo>
                    <a:pt x="8379489" y="7179976"/>
                  </a:lnTo>
                  <a:lnTo>
                    <a:pt x="8403292" y="7153537"/>
                  </a:lnTo>
                  <a:lnTo>
                    <a:pt x="8431253" y="7134196"/>
                  </a:lnTo>
                  <a:lnTo>
                    <a:pt x="8465608" y="7129480"/>
                  </a:lnTo>
                  <a:lnTo>
                    <a:pt x="8487079" y="7126454"/>
                  </a:lnTo>
                  <a:lnTo>
                    <a:pt x="8508024" y="7134490"/>
                  </a:lnTo>
                  <a:lnTo>
                    <a:pt x="8546328" y="7154638"/>
                  </a:lnTo>
                  <a:lnTo>
                    <a:pt x="8609528" y="7169267"/>
                  </a:lnTo>
                  <a:lnTo>
                    <a:pt x="8710402" y="7119279"/>
                  </a:lnTo>
                  <a:lnTo>
                    <a:pt x="8812709" y="7152179"/>
                  </a:lnTo>
                  <a:lnTo>
                    <a:pt x="8929136" y="7189585"/>
                  </a:lnTo>
                  <a:lnTo>
                    <a:pt x="8942865" y="7209983"/>
                  </a:lnTo>
                  <a:lnTo>
                    <a:pt x="9011302" y="7307239"/>
                  </a:lnTo>
                  <a:lnTo>
                    <a:pt x="9027781" y="7330742"/>
                  </a:lnTo>
                  <a:lnTo>
                    <a:pt x="9057472" y="7342391"/>
                  </a:lnTo>
                  <a:lnTo>
                    <a:pt x="9073868" y="7367087"/>
                  </a:lnTo>
                  <a:lnTo>
                    <a:pt x="9140475" y="7466935"/>
                  </a:lnTo>
                  <a:lnTo>
                    <a:pt x="9120185" y="7563931"/>
                  </a:lnTo>
                  <a:lnTo>
                    <a:pt x="9072516" y="7669056"/>
                  </a:lnTo>
                  <a:lnTo>
                    <a:pt x="9062610" y="7690984"/>
                  </a:lnTo>
                  <a:lnTo>
                    <a:pt x="9044416" y="7712027"/>
                  </a:lnTo>
                  <a:lnTo>
                    <a:pt x="9033071" y="7732978"/>
                  </a:lnTo>
                  <a:lnTo>
                    <a:pt x="9012120" y="7771363"/>
                  </a:lnTo>
                  <a:lnTo>
                    <a:pt x="9023167" y="7814551"/>
                  </a:lnTo>
                  <a:lnTo>
                    <a:pt x="8997702" y="7849960"/>
                  </a:lnTo>
                  <a:lnTo>
                    <a:pt x="8961754" y="7876439"/>
                  </a:lnTo>
                  <a:lnTo>
                    <a:pt x="8922553" y="7817658"/>
                  </a:lnTo>
                  <a:lnTo>
                    <a:pt x="8910399" y="7840438"/>
                  </a:lnTo>
                  <a:lnTo>
                    <a:pt x="8934624" y="7877586"/>
                  </a:lnTo>
                  <a:lnTo>
                    <a:pt x="8958260" y="7888044"/>
                  </a:lnTo>
                  <a:lnTo>
                    <a:pt x="9006502" y="7896593"/>
                  </a:lnTo>
                  <a:lnTo>
                    <a:pt x="9050964" y="7853107"/>
                  </a:lnTo>
                  <a:lnTo>
                    <a:pt x="9155283" y="7543315"/>
                  </a:lnTo>
                  <a:lnTo>
                    <a:pt x="9184048" y="7475902"/>
                  </a:lnTo>
                  <a:lnTo>
                    <a:pt x="9201650" y="7434674"/>
                  </a:lnTo>
                  <a:lnTo>
                    <a:pt x="9202291" y="7386345"/>
                  </a:lnTo>
                  <a:lnTo>
                    <a:pt x="9218058" y="7345324"/>
                  </a:lnTo>
                  <a:lnTo>
                    <a:pt x="9246444" y="7271449"/>
                  </a:lnTo>
                  <a:lnTo>
                    <a:pt x="9315618" y="7178829"/>
                  </a:lnTo>
                  <a:lnTo>
                    <a:pt x="9324151" y="7105928"/>
                  </a:lnTo>
                  <a:lnTo>
                    <a:pt x="9313829" y="7075244"/>
                  </a:lnTo>
                  <a:lnTo>
                    <a:pt x="9289390" y="7060616"/>
                  </a:lnTo>
                  <a:lnTo>
                    <a:pt x="9294230" y="7025675"/>
                  </a:lnTo>
                  <a:lnTo>
                    <a:pt x="9332910" y="6996561"/>
                  </a:lnTo>
                  <a:lnTo>
                    <a:pt x="9365342" y="7019307"/>
                  </a:lnTo>
                  <a:lnTo>
                    <a:pt x="9397604" y="7005277"/>
                  </a:lnTo>
                  <a:lnTo>
                    <a:pt x="9440109" y="6986738"/>
                  </a:lnTo>
                  <a:lnTo>
                    <a:pt x="9468381" y="6887619"/>
                  </a:lnTo>
                  <a:lnTo>
                    <a:pt x="9520018" y="6848852"/>
                  </a:lnTo>
                  <a:lnTo>
                    <a:pt x="9572982" y="6809152"/>
                  </a:lnTo>
                  <a:lnTo>
                    <a:pt x="9623912" y="6813025"/>
                  </a:lnTo>
                  <a:lnTo>
                    <a:pt x="9658763" y="6791721"/>
                  </a:lnTo>
                  <a:lnTo>
                    <a:pt x="9702965" y="6764690"/>
                  </a:lnTo>
                  <a:lnTo>
                    <a:pt x="9724427" y="6718782"/>
                  </a:lnTo>
                  <a:lnTo>
                    <a:pt x="9774377" y="6693789"/>
                  </a:lnTo>
                  <a:lnTo>
                    <a:pt x="9804509" y="6678745"/>
                  </a:lnTo>
                  <a:lnTo>
                    <a:pt x="9836185" y="6668885"/>
                  </a:lnTo>
                  <a:lnTo>
                    <a:pt x="9865516" y="6651627"/>
                  </a:lnTo>
                  <a:lnTo>
                    <a:pt x="9891115" y="6636490"/>
                  </a:lnTo>
                  <a:lnTo>
                    <a:pt x="9914543" y="6618429"/>
                  </a:lnTo>
                  <a:lnTo>
                    <a:pt x="9940327" y="6604017"/>
                  </a:lnTo>
                  <a:lnTo>
                    <a:pt x="9885918" y="6504724"/>
                  </a:lnTo>
                  <a:lnTo>
                    <a:pt x="9836953" y="6408150"/>
                  </a:lnTo>
                  <a:lnTo>
                    <a:pt x="9816620" y="6355778"/>
                  </a:lnTo>
                  <a:lnTo>
                    <a:pt x="9826027" y="6319269"/>
                  </a:lnTo>
                  <a:lnTo>
                    <a:pt x="9912571" y="6233147"/>
                  </a:lnTo>
                  <a:lnTo>
                    <a:pt x="9931695" y="6214174"/>
                  </a:lnTo>
                  <a:lnTo>
                    <a:pt x="9952568" y="6200039"/>
                  </a:lnTo>
                  <a:lnTo>
                    <a:pt x="9970124" y="6184437"/>
                  </a:lnTo>
                  <a:lnTo>
                    <a:pt x="9984014" y="6165607"/>
                  </a:lnTo>
                  <a:lnTo>
                    <a:pt x="10004974" y="6154001"/>
                  </a:lnTo>
                  <a:lnTo>
                    <a:pt x="10032352" y="6139419"/>
                  </a:lnTo>
                  <a:lnTo>
                    <a:pt x="10086675" y="6174664"/>
                  </a:lnTo>
                  <a:lnTo>
                    <a:pt x="10119863" y="6185075"/>
                  </a:lnTo>
                  <a:lnTo>
                    <a:pt x="10144191" y="6168965"/>
                  </a:lnTo>
                  <a:lnTo>
                    <a:pt x="10208112" y="6126884"/>
                  </a:lnTo>
                  <a:lnTo>
                    <a:pt x="10223243" y="6099381"/>
                  </a:lnTo>
                  <a:lnTo>
                    <a:pt x="10216726" y="6066097"/>
                  </a:lnTo>
                  <a:lnTo>
                    <a:pt x="10196274" y="6040594"/>
                  </a:lnTo>
                  <a:lnTo>
                    <a:pt x="10175637" y="6016413"/>
                  </a:lnTo>
                  <a:lnTo>
                    <a:pt x="10154981" y="5992222"/>
                  </a:lnTo>
                  <a:lnTo>
                    <a:pt x="10134455" y="5969225"/>
                  </a:lnTo>
                  <a:lnTo>
                    <a:pt x="10125314" y="5941599"/>
                  </a:lnTo>
                  <a:lnTo>
                    <a:pt x="10133090" y="5914844"/>
                  </a:lnTo>
                  <a:lnTo>
                    <a:pt x="10161002" y="5892507"/>
                  </a:lnTo>
                  <a:lnTo>
                    <a:pt x="10186520" y="5870868"/>
                  </a:lnTo>
                  <a:lnTo>
                    <a:pt x="10211151" y="5849146"/>
                  </a:lnTo>
                  <a:lnTo>
                    <a:pt x="10227156" y="5827302"/>
                  </a:lnTo>
                  <a:lnTo>
                    <a:pt x="10228688" y="5804221"/>
                  </a:lnTo>
                  <a:lnTo>
                    <a:pt x="10215634" y="5781522"/>
                  </a:lnTo>
                  <a:lnTo>
                    <a:pt x="10197378" y="5766552"/>
                  </a:lnTo>
                  <a:lnTo>
                    <a:pt x="10176995" y="5753889"/>
                  </a:lnTo>
                  <a:lnTo>
                    <a:pt x="10156618" y="5741239"/>
                  </a:lnTo>
                  <a:lnTo>
                    <a:pt x="10134089" y="5730306"/>
                  </a:lnTo>
                  <a:lnTo>
                    <a:pt x="10115789" y="5714444"/>
                  </a:lnTo>
                  <a:lnTo>
                    <a:pt x="10092070" y="5693961"/>
                  </a:lnTo>
                  <a:lnTo>
                    <a:pt x="10068815" y="5660800"/>
                  </a:lnTo>
                  <a:lnTo>
                    <a:pt x="10047775" y="5636914"/>
                  </a:lnTo>
                  <a:lnTo>
                    <a:pt x="10012546" y="5651964"/>
                  </a:lnTo>
                  <a:lnTo>
                    <a:pt x="9989887" y="5685841"/>
                  </a:lnTo>
                  <a:lnTo>
                    <a:pt x="9983847" y="5714444"/>
                  </a:lnTo>
                  <a:lnTo>
                    <a:pt x="9932966" y="5665774"/>
                  </a:lnTo>
                  <a:lnTo>
                    <a:pt x="9872145" y="5624502"/>
                  </a:lnTo>
                  <a:lnTo>
                    <a:pt x="9820626" y="5590665"/>
                  </a:lnTo>
                  <a:lnTo>
                    <a:pt x="9789899" y="5458602"/>
                  </a:lnTo>
                  <a:lnTo>
                    <a:pt x="9782544" y="5435605"/>
                  </a:lnTo>
                  <a:lnTo>
                    <a:pt x="9770657" y="5398627"/>
                  </a:lnTo>
                  <a:lnTo>
                    <a:pt x="9758292" y="5360720"/>
                  </a:lnTo>
                  <a:lnTo>
                    <a:pt x="9741734" y="5324064"/>
                  </a:lnTo>
                  <a:lnTo>
                    <a:pt x="9725171" y="5287419"/>
                  </a:lnTo>
                  <a:lnTo>
                    <a:pt x="9704565" y="5253077"/>
                  </a:lnTo>
                  <a:lnTo>
                    <a:pt x="9680529" y="5222055"/>
                  </a:lnTo>
                  <a:lnTo>
                    <a:pt x="9659947" y="5195486"/>
                  </a:lnTo>
                  <a:lnTo>
                    <a:pt x="9553517" y="5136699"/>
                  </a:lnTo>
                  <a:lnTo>
                    <a:pt x="9518660" y="5122756"/>
                  </a:lnTo>
                  <a:lnTo>
                    <a:pt x="9485936" y="5109625"/>
                  </a:lnTo>
                  <a:lnTo>
                    <a:pt x="9451374" y="5104645"/>
                  </a:lnTo>
                  <a:lnTo>
                    <a:pt x="9422086" y="5083313"/>
                  </a:lnTo>
                  <a:lnTo>
                    <a:pt x="9401957" y="5068567"/>
                  </a:lnTo>
                  <a:lnTo>
                    <a:pt x="9389393" y="5049098"/>
                  </a:lnTo>
                  <a:lnTo>
                    <a:pt x="9373118" y="5032988"/>
                  </a:lnTo>
                  <a:lnTo>
                    <a:pt x="9338916" y="4999148"/>
                  </a:lnTo>
                  <a:lnTo>
                    <a:pt x="9307228" y="4975137"/>
                  </a:lnTo>
                  <a:lnTo>
                    <a:pt x="9286066" y="4929611"/>
                  </a:lnTo>
                  <a:lnTo>
                    <a:pt x="9292872" y="4909206"/>
                  </a:lnTo>
                  <a:lnTo>
                    <a:pt x="9326268" y="4892423"/>
                  </a:lnTo>
                  <a:lnTo>
                    <a:pt x="9351355" y="4890168"/>
                  </a:lnTo>
                  <a:lnTo>
                    <a:pt x="9376461" y="4887905"/>
                  </a:lnTo>
                  <a:lnTo>
                    <a:pt x="9406059" y="4889186"/>
                  </a:lnTo>
                  <a:lnTo>
                    <a:pt x="9435691" y="4888807"/>
                  </a:lnTo>
                  <a:lnTo>
                    <a:pt x="9465302" y="4888407"/>
                  </a:lnTo>
                  <a:lnTo>
                    <a:pt x="9494940" y="4887409"/>
                  </a:lnTo>
                  <a:lnTo>
                    <a:pt x="9521376" y="4882001"/>
                  </a:lnTo>
                  <a:lnTo>
                    <a:pt x="9547824" y="4876594"/>
                  </a:lnTo>
                  <a:lnTo>
                    <a:pt x="9571115" y="4866716"/>
                  </a:lnTo>
                  <a:lnTo>
                    <a:pt x="9586674" y="4849359"/>
                  </a:lnTo>
                  <a:lnTo>
                    <a:pt x="9596850" y="4821521"/>
                  </a:lnTo>
                  <a:lnTo>
                    <a:pt x="9593216" y="4758006"/>
                  </a:lnTo>
                  <a:lnTo>
                    <a:pt x="9583970" y="4694298"/>
                  </a:lnTo>
                  <a:lnTo>
                    <a:pt x="9574706" y="4630590"/>
                  </a:lnTo>
                  <a:lnTo>
                    <a:pt x="9558918" y="4566139"/>
                  </a:lnTo>
                  <a:lnTo>
                    <a:pt x="9545889" y="4539232"/>
                  </a:lnTo>
                  <a:lnTo>
                    <a:pt x="9530095" y="4506567"/>
                  </a:lnTo>
                  <a:lnTo>
                    <a:pt x="9504242" y="4488512"/>
                  </a:lnTo>
                  <a:lnTo>
                    <a:pt x="9488758" y="4467143"/>
                  </a:lnTo>
                  <a:lnTo>
                    <a:pt x="9476554" y="4444273"/>
                  </a:lnTo>
                  <a:lnTo>
                    <a:pt x="9476492" y="4416566"/>
                  </a:lnTo>
                  <a:lnTo>
                    <a:pt x="9494202" y="4380091"/>
                  </a:lnTo>
                  <a:lnTo>
                    <a:pt x="9506784" y="4359388"/>
                  </a:lnTo>
                  <a:lnTo>
                    <a:pt x="9551923" y="4337883"/>
                  </a:lnTo>
                  <a:lnTo>
                    <a:pt x="9577174" y="4335207"/>
                  </a:lnTo>
                  <a:lnTo>
                    <a:pt x="9608459" y="4374650"/>
                  </a:lnTo>
                  <a:lnTo>
                    <a:pt x="9632941" y="4382854"/>
                  </a:lnTo>
                  <a:lnTo>
                    <a:pt x="9662707" y="4364238"/>
                  </a:lnTo>
                  <a:lnTo>
                    <a:pt x="9683264" y="4376008"/>
                  </a:lnTo>
                  <a:lnTo>
                    <a:pt x="9699430" y="4396202"/>
                  </a:lnTo>
                  <a:lnTo>
                    <a:pt x="9710921" y="4420690"/>
                  </a:lnTo>
                  <a:lnTo>
                    <a:pt x="9753901" y="4428637"/>
                  </a:lnTo>
                  <a:lnTo>
                    <a:pt x="9797520" y="4433139"/>
                  </a:lnTo>
                  <a:lnTo>
                    <a:pt x="9841164" y="4437632"/>
                  </a:lnTo>
                  <a:lnTo>
                    <a:pt x="9885906" y="4438047"/>
                  </a:lnTo>
                  <a:lnTo>
                    <a:pt x="9926567" y="4428380"/>
                  </a:lnTo>
                  <a:lnTo>
                    <a:pt x="10038026" y="4391138"/>
                  </a:lnTo>
                  <a:lnTo>
                    <a:pt x="10055960" y="4369202"/>
                  </a:lnTo>
                  <a:lnTo>
                    <a:pt x="10068022" y="4346847"/>
                  </a:lnTo>
                  <a:lnTo>
                    <a:pt x="10056748" y="4295116"/>
                  </a:lnTo>
                  <a:lnTo>
                    <a:pt x="10055960" y="4269909"/>
                  </a:lnTo>
                  <a:lnTo>
                    <a:pt x="10055229" y="4246195"/>
                  </a:lnTo>
                  <a:lnTo>
                    <a:pt x="10065082" y="4223744"/>
                  </a:lnTo>
                  <a:lnTo>
                    <a:pt x="10077733" y="4203262"/>
                  </a:lnTo>
                  <a:lnTo>
                    <a:pt x="10090358" y="4182779"/>
                  </a:lnTo>
                  <a:lnTo>
                    <a:pt x="10105917" y="4163289"/>
                  </a:lnTo>
                  <a:lnTo>
                    <a:pt x="10114450" y="4143414"/>
                  </a:lnTo>
                  <a:lnTo>
                    <a:pt x="10129475" y="4108433"/>
                  </a:lnTo>
                  <a:lnTo>
                    <a:pt x="10133314" y="4075862"/>
                  </a:lnTo>
                  <a:lnTo>
                    <a:pt x="10144370" y="4048195"/>
                  </a:lnTo>
                  <a:lnTo>
                    <a:pt x="10157784" y="4022206"/>
                  </a:lnTo>
                  <a:lnTo>
                    <a:pt x="10179934" y="4000747"/>
                  </a:lnTo>
                  <a:lnTo>
                    <a:pt x="10215101" y="3984270"/>
                  </a:lnTo>
                  <a:lnTo>
                    <a:pt x="10236328" y="3983743"/>
                  </a:lnTo>
                  <a:lnTo>
                    <a:pt x="10272232" y="3997869"/>
                  </a:lnTo>
                  <a:lnTo>
                    <a:pt x="10302041" y="4017462"/>
                  </a:lnTo>
                  <a:lnTo>
                    <a:pt x="10339124" y="4060712"/>
                  </a:lnTo>
                  <a:lnTo>
                    <a:pt x="10356413" y="4099141"/>
                  </a:lnTo>
                  <a:lnTo>
                    <a:pt x="10368809" y="4135256"/>
                  </a:lnTo>
                  <a:lnTo>
                    <a:pt x="10393713" y="4123056"/>
                  </a:lnTo>
                  <a:lnTo>
                    <a:pt x="10433798" y="4100229"/>
                  </a:lnTo>
                  <a:lnTo>
                    <a:pt x="10451781" y="4078125"/>
                  </a:lnTo>
                  <a:lnTo>
                    <a:pt x="10456370" y="4054573"/>
                  </a:lnTo>
                  <a:lnTo>
                    <a:pt x="10441617" y="4031325"/>
                  </a:lnTo>
                  <a:lnTo>
                    <a:pt x="10438176" y="4008752"/>
                  </a:lnTo>
                  <a:lnTo>
                    <a:pt x="10433376" y="3977254"/>
                  </a:lnTo>
                  <a:lnTo>
                    <a:pt x="10436005" y="3935033"/>
                  </a:lnTo>
                  <a:lnTo>
                    <a:pt x="10446343" y="3895860"/>
                  </a:lnTo>
                  <a:lnTo>
                    <a:pt x="10456686" y="3856681"/>
                  </a:lnTo>
                  <a:lnTo>
                    <a:pt x="10474248" y="3819939"/>
                  </a:lnTo>
                  <a:lnTo>
                    <a:pt x="10498029" y="3797919"/>
                  </a:lnTo>
                  <a:lnTo>
                    <a:pt x="10506779" y="3773229"/>
                  </a:lnTo>
                  <a:lnTo>
                    <a:pt x="10491096" y="3737820"/>
                  </a:lnTo>
                  <a:lnTo>
                    <a:pt x="10496678" y="3709509"/>
                  </a:lnTo>
                  <a:lnTo>
                    <a:pt x="10502730" y="3678630"/>
                  </a:lnTo>
                  <a:lnTo>
                    <a:pt x="10523138" y="3649773"/>
                  </a:lnTo>
                  <a:lnTo>
                    <a:pt x="10542913" y="3621096"/>
                  </a:lnTo>
                  <a:lnTo>
                    <a:pt x="10562714" y="3592421"/>
                  </a:lnTo>
                  <a:lnTo>
                    <a:pt x="10582359" y="3563927"/>
                  </a:lnTo>
                  <a:lnTo>
                    <a:pt x="10583730" y="3531327"/>
                  </a:lnTo>
                  <a:lnTo>
                    <a:pt x="10539050" y="3514147"/>
                  </a:lnTo>
                  <a:lnTo>
                    <a:pt x="10508218" y="3535612"/>
                  </a:lnTo>
                  <a:lnTo>
                    <a:pt x="10480356" y="3534043"/>
                  </a:lnTo>
                  <a:lnTo>
                    <a:pt x="10431472" y="3531281"/>
                  </a:lnTo>
                  <a:lnTo>
                    <a:pt x="10379568" y="3502080"/>
                  </a:lnTo>
                  <a:lnTo>
                    <a:pt x="10310326" y="3504117"/>
                  </a:lnTo>
                  <a:lnTo>
                    <a:pt x="10295381" y="3557165"/>
                  </a:lnTo>
                  <a:lnTo>
                    <a:pt x="10267377" y="3584456"/>
                  </a:lnTo>
                  <a:lnTo>
                    <a:pt x="10234176" y="3578928"/>
                  </a:lnTo>
                  <a:lnTo>
                    <a:pt x="10226226" y="3557211"/>
                  </a:lnTo>
                  <a:lnTo>
                    <a:pt x="10207548" y="3525582"/>
                  </a:lnTo>
                  <a:lnTo>
                    <a:pt x="10193657" y="3498576"/>
                  </a:lnTo>
                  <a:lnTo>
                    <a:pt x="10178402" y="3472838"/>
                  </a:lnTo>
                  <a:lnTo>
                    <a:pt x="10163160" y="3447091"/>
                  </a:lnTo>
                  <a:lnTo>
                    <a:pt x="10145710" y="3422742"/>
                  </a:lnTo>
                  <a:lnTo>
                    <a:pt x="10125358" y="3406188"/>
                  </a:lnTo>
                  <a:lnTo>
                    <a:pt x="10092076" y="3379196"/>
                  </a:lnTo>
                  <a:lnTo>
                    <a:pt x="10052891" y="3359346"/>
                  </a:lnTo>
                  <a:lnTo>
                    <a:pt x="10019262" y="3332735"/>
                  </a:lnTo>
                  <a:lnTo>
                    <a:pt x="9991970" y="3311057"/>
                  </a:lnTo>
                  <a:lnTo>
                    <a:pt x="9975227" y="3278240"/>
                  </a:lnTo>
                  <a:lnTo>
                    <a:pt x="9951253" y="3256563"/>
                  </a:lnTo>
                  <a:lnTo>
                    <a:pt x="9928470" y="3235908"/>
                  </a:lnTo>
                  <a:lnTo>
                    <a:pt x="9900460" y="3220179"/>
                  </a:lnTo>
                  <a:lnTo>
                    <a:pt x="9877801" y="3199439"/>
                  </a:lnTo>
                  <a:lnTo>
                    <a:pt x="9834492" y="3159691"/>
                  </a:lnTo>
                  <a:lnTo>
                    <a:pt x="9812434" y="3081521"/>
                  </a:lnTo>
                  <a:lnTo>
                    <a:pt x="9771705" y="3045731"/>
                  </a:lnTo>
                  <a:lnTo>
                    <a:pt x="9737406" y="3015599"/>
                  </a:lnTo>
                  <a:lnTo>
                    <a:pt x="9715411" y="3014933"/>
                  </a:lnTo>
                  <a:lnTo>
                    <a:pt x="9694171" y="3006287"/>
                  </a:lnTo>
                  <a:lnTo>
                    <a:pt x="9673825" y="2995920"/>
                  </a:lnTo>
                  <a:lnTo>
                    <a:pt x="9649244" y="2970403"/>
                  </a:lnTo>
                  <a:lnTo>
                    <a:pt x="9635273" y="2950995"/>
                  </a:lnTo>
                  <a:lnTo>
                    <a:pt x="9618002" y="2920593"/>
                  </a:lnTo>
                  <a:lnTo>
                    <a:pt x="9571593" y="2929950"/>
                  </a:lnTo>
                  <a:lnTo>
                    <a:pt x="9493973" y="2983000"/>
                  </a:lnTo>
                  <a:lnTo>
                    <a:pt x="9475180" y="3002211"/>
                  </a:lnTo>
                  <a:lnTo>
                    <a:pt x="9452236" y="3028005"/>
                  </a:lnTo>
                  <a:lnTo>
                    <a:pt x="9424690" y="3052589"/>
                  </a:lnTo>
                  <a:lnTo>
                    <a:pt x="9392212" y="3056618"/>
                  </a:lnTo>
                  <a:lnTo>
                    <a:pt x="9373295" y="3014920"/>
                  </a:lnTo>
                  <a:lnTo>
                    <a:pt x="9342776" y="2976220"/>
                  </a:lnTo>
                  <a:lnTo>
                    <a:pt x="9310598" y="2938280"/>
                  </a:lnTo>
                  <a:lnTo>
                    <a:pt x="9278408" y="2900346"/>
                  </a:lnTo>
                  <a:lnTo>
                    <a:pt x="9245473" y="2862709"/>
                  </a:lnTo>
                  <a:lnTo>
                    <a:pt x="9220821" y="2824023"/>
                  </a:lnTo>
                  <a:lnTo>
                    <a:pt x="9205963" y="2800691"/>
                  </a:lnTo>
                  <a:lnTo>
                    <a:pt x="9192766" y="2774806"/>
                  </a:lnTo>
                  <a:lnTo>
                    <a:pt x="9177295" y="2751935"/>
                  </a:lnTo>
                  <a:lnTo>
                    <a:pt x="9151240" y="2721546"/>
                  </a:lnTo>
                  <a:lnTo>
                    <a:pt x="9120197" y="2716104"/>
                  </a:lnTo>
                  <a:lnTo>
                    <a:pt x="9079691" y="2739028"/>
                  </a:lnTo>
                  <a:lnTo>
                    <a:pt x="9037201" y="2760092"/>
                  </a:lnTo>
                  <a:lnTo>
                    <a:pt x="9015952" y="2770631"/>
                  </a:lnTo>
                  <a:lnTo>
                    <a:pt x="8993879" y="2779679"/>
                  </a:lnTo>
                  <a:lnTo>
                    <a:pt x="8955376" y="2792196"/>
                  </a:lnTo>
                  <a:lnTo>
                    <a:pt x="8927018" y="2790013"/>
                  </a:lnTo>
                  <a:lnTo>
                    <a:pt x="8906899" y="2746381"/>
                  </a:lnTo>
                  <a:lnTo>
                    <a:pt x="8917075" y="2708052"/>
                  </a:lnTo>
                  <a:lnTo>
                    <a:pt x="8925660" y="2674398"/>
                  </a:lnTo>
                  <a:lnTo>
                    <a:pt x="8934255" y="2640744"/>
                  </a:lnTo>
                  <a:lnTo>
                    <a:pt x="8941858" y="2610830"/>
                  </a:lnTo>
                  <a:lnTo>
                    <a:pt x="8931102" y="2592786"/>
                  </a:lnTo>
                  <a:lnTo>
                    <a:pt x="8874854" y="2588532"/>
                  </a:lnTo>
                  <a:lnTo>
                    <a:pt x="8841430" y="2585163"/>
                  </a:lnTo>
                  <a:lnTo>
                    <a:pt x="8826717" y="2563196"/>
                  </a:lnTo>
                  <a:lnTo>
                    <a:pt x="8815487" y="2538379"/>
                  </a:lnTo>
                  <a:lnTo>
                    <a:pt x="8804241" y="2513568"/>
                  </a:lnTo>
                  <a:lnTo>
                    <a:pt x="8795997" y="2485862"/>
                  </a:lnTo>
                  <a:lnTo>
                    <a:pt x="8801379" y="2460678"/>
                  </a:lnTo>
                  <a:lnTo>
                    <a:pt x="8888636" y="2448992"/>
                  </a:lnTo>
                  <a:lnTo>
                    <a:pt x="8920219" y="2425486"/>
                  </a:lnTo>
                  <a:lnTo>
                    <a:pt x="8926925" y="2402193"/>
                  </a:lnTo>
                  <a:lnTo>
                    <a:pt x="8883294" y="2380846"/>
                  </a:lnTo>
                  <a:lnTo>
                    <a:pt x="8848130" y="2375154"/>
                  </a:lnTo>
                  <a:lnTo>
                    <a:pt x="8812954" y="2369470"/>
                  </a:lnTo>
                  <a:lnTo>
                    <a:pt x="8776274" y="2361918"/>
                  </a:lnTo>
                  <a:lnTo>
                    <a:pt x="8741879" y="2319711"/>
                  </a:lnTo>
                  <a:lnTo>
                    <a:pt x="8733638" y="2277622"/>
                  </a:lnTo>
                  <a:lnTo>
                    <a:pt x="8724352" y="2235059"/>
                  </a:lnTo>
                  <a:lnTo>
                    <a:pt x="8715072" y="2192496"/>
                  </a:lnTo>
                  <a:lnTo>
                    <a:pt x="8705503" y="2149959"/>
                  </a:lnTo>
                  <a:lnTo>
                    <a:pt x="8680826" y="2120803"/>
                  </a:lnTo>
                  <a:lnTo>
                    <a:pt x="8662464" y="2099078"/>
                  </a:lnTo>
                  <a:lnTo>
                    <a:pt x="8639371" y="2078760"/>
                  </a:lnTo>
                  <a:lnTo>
                    <a:pt x="8619617" y="2058230"/>
                  </a:lnTo>
                  <a:lnTo>
                    <a:pt x="8606244" y="1984307"/>
                  </a:lnTo>
                  <a:lnTo>
                    <a:pt x="8601937" y="1922210"/>
                  </a:lnTo>
                  <a:lnTo>
                    <a:pt x="8597631" y="1860113"/>
                  </a:lnTo>
                  <a:lnTo>
                    <a:pt x="8591907" y="1798410"/>
                  </a:lnTo>
                  <a:lnTo>
                    <a:pt x="8558166" y="1781640"/>
                  </a:lnTo>
                  <a:lnTo>
                    <a:pt x="8500598" y="1805955"/>
                  </a:lnTo>
                  <a:lnTo>
                    <a:pt x="8475433" y="1809312"/>
                  </a:lnTo>
                  <a:lnTo>
                    <a:pt x="8443891" y="1813553"/>
                  </a:lnTo>
                  <a:lnTo>
                    <a:pt x="8406920" y="1812451"/>
                  </a:lnTo>
                  <a:lnTo>
                    <a:pt x="8374782" y="1802512"/>
                  </a:lnTo>
                  <a:lnTo>
                    <a:pt x="8344148" y="1790682"/>
                  </a:lnTo>
                  <a:lnTo>
                    <a:pt x="8318348" y="1770818"/>
                  </a:lnTo>
                  <a:lnTo>
                    <a:pt x="8299968" y="1742664"/>
                  </a:lnTo>
                  <a:lnTo>
                    <a:pt x="8291786" y="1721666"/>
                  </a:lnTo>
                  <a:lnTo>
                    <a:pt x="8303946" y="1683073"/>
                  </a:lnTo>
                  <a:lnTo>
                    <a:pt x="8318705" y="1647269"/>
                  </a:lnTo>
                  <a:lnTo>
                    <a:pt x="8325815" y="1610727"/>
                  </a:lnTo>
                  <a:lnTo>
                    <a:pt x="8331380" y="1573841"/>
                  </a:lnTo>
                  <a:lnTo>
                    <a:pt x="8328425" y="1538796"/>
                  </a:lnTo>
                  <a:lnTo>
                    <a:pt x="8313580" y="1507352"/>
                  </a:lnTo>
                  <a:lnTo>
                    <a:pt x="8288446" y="1514585"/>
                  </a:lnTo>
                  <a:lnTo>
                    <a:pt x="8258092" y="1522743"/>
                  </a:lnTo>
                  <a:lnTo>
                    <a:pt x="8213840" y="1531105"/>
                  </a:lnTo>
                  <a:lnTo>
                    <a:pt x="8188905" y="1534542"/>
                  </a:lnTo>
                  <a:lnTo>
                    <a:pt x="8163961" y="1537272"/>
                  </a:lnTo>
                  <a:lnTo>
                    <a:pt x="8114085" y="1542746"/>
                  </a:lnTo>
                  <a:lnTo>
                    <a:pt x="8064221" y="1545397"/>
                  </a:lnTo>
                  <a:lnTo>
                    <a:pt x="8012978" y="1553594"/>
                  </a:lnTo>
                  <a:lnTo>
                    <a:pt x="7981671" y="1558600"/>
                  </a:lnTo>
                  <a:lnTo>
                    <a:pt x="7950200" y="1567260"/>
                  </a:lnTo>
                  <a:lnTo>
                    <a:pt x="7919126" y="1575365"/>
                  </a:lnTo>
                  <a:lnTo>
                    <a:pt x="7888046" y="1583463"/>
                  </a:lnTo>
                  <a:lnTo>
                    <a:pt x="7856553" y="1590881"/>
                  </a:lnTo>
                  <a:lnTo>
                    <a:pt x="7825275" y="1595762"/>
                  </a:lnTo>
                  <a:lnTo>
                    <a:pt x="7797624" y="1600068"/>
                  </a:lnTo>
                  <a:lnTo>
                    <a:pt x="7771052" y="1600610"/>
                  </a:lnTo>
                  <a:lnTo>
                    <a:pt x="7743664" y="1601203"/>
                  </a:lnTo>
                  <a:lnTo>
                    <a:pt x="7716261" y="1601797"/>
                  </a:lnTo>
                  <a:lnTo>
                    <a:pt x="7688911" y="1602839"/>
                  </a:lnTo>
                  <a:lnTo>
                    <a:pt x="7660686" y="1610727"/>
                  </a:lnTo>
                  <a:lnTo>
                    <a:pt x="7632716" y="1590024"/>
                  </a:lnTo>
                  <a:lnTo>
                    <a:pt x="7630304" y="1569080"/>
                  </a:lnTo>
                  <a:lnTo>
                    <a:pt x="7616717" y="1545859"/>
                  </a:lnTo>
                  <a:lnTo>
                    <a:pt x="7598120" y="1535914"/>
                  </a:lnTo>
                  <a:lnTo>
                    <a:pt x="7568404" y="1529081"/>
                  </a:lnTo>
                  <a:lnTo>
                    <a:pt x="7540988" y="1530473"/>
                  </a:lnTo>
                  <a:lnTo>
                    <a:pt x="7512215" y="1534548"/>
                  </a:lnTo>
                  <a:lnTo>
                    <a:pt x="7485426" y="1545450"/>
                  </a:lnTo>
                  <a:lnTo>
                    <a:pt x="7462100" y="1564483"/>
                  </a:lnTo>
                  <a:lnTo>
                    <a:pt x="7454978" y="1597497"/>
                  </a:lnTo>
                  <a:lnTo>
                    <a:pt x="7442017" y="1634837"/>
                  </a:lnTo>
                  <a:lnTo>
                    <a:pt x="7425374" y="1663776"/>
                  </a:lnTo>
                  <a:lnTo>
                    <a:pt x="7391298" y="1672039"/>
                  </a:lnTo>
                  <a:lnTo>
                    <a:pt x="7356072" y="1679992"/>
                  </a:lnTo>
                  <a:lnTo>
                    <a:pt x="7323355" y="1685539"/>
                  </a:lnTo>
                  <a:lnTo>
                    <a:pt x="7296336" y="1685736"/>
                  </a:lnTo>
                  <a:lnTo>
                    <a:pt x="7259433" y="1673292"/>
                  </a:lnTo>
                  <a:lnTo>
                    <a:pt x="7229286" y="1655236"/>
                  </a:lnTo>
                  <a:lnTo>
                    <a:pt x="7197301" y="1623718"/>
                  </a:lnTo>
                  <a:lnTo>
                    <a:pt x="7184743" y="1600841"/>
                  </a:lnTo>
                  <a:lnTo>
                    <a:pt x="7161498" y="1598486"/>
                  </a:lnTo>
                  <a:lnTo>
                    <a:pt x="7122390" y="1594529"/>
                  </a:lnTo>
                  <a:lnTo>
                    <a:pt x="7078433" y="1603076"/>
                  </a:lnTo>
                  <a:lnTo>
                    <a:pt x="7041800" y="1584880"/>
                  </a:lnTo>
                  <a:lnTo>
                    <a:pt x="7039670" y="1546583"/>
                  </a:lnTo>
                  <a:lnTo>
                    <a:pt x="7033878" y="1491325"/>
                  </a:lnTo>
                  <a:lnTo>
                    <a:pt x="7027931" y="1453879"/>
                  </a:lnTo>
                  <a:lnTo>
                    <a:pt x="7022747" y="1417574"/>
                  </a:lnTo>
                  <a:lnTo>
                    <a:pt x="6981556" y="1404161"/>
                  </a:lnTo>
                  <a:lnTo>
                    <a:pt x="6927181" y="1404153"/>
                  </a:lnTo>
                  <a:lnTo>
                    <a:pt x="6900280" y="1417588"/>
                  </a:lnTo>
                  <a:lnTo>
                    <a:pt x="6891812" y="1454975"/>
                  </a:lnTo>
                  <a:lnTo>
                    <a:pt x="6883959" y="1478795"/>
                  </a:lnTo>
                  <a:lnTo>
                    <a:pt x="6876089" y="1502616"/>
                  </a:lnTo>
                  <a:lnTo>
                    <a:pt x="6865888" y="1525315"/>
                  </a:lnTo>
                  <a:lnTo>
                    <a:pt x="6836098" y="1545081"/>
                  </a:lnTo>
                  <a:lnTo>
                    <a:pt x="6791806" y="1552599"/>
                  </a:lnTo>
                  <a:lnTo>
                    <a:pt x="6746578" y="1556325"/>
                  </a:lnTo>
                  <a:lnTo>
                    <a:pt x="6701343" y="1560051"/>
                  </a:lnTo>
                  <a:lnTo>
                    <a:pt x="6655920" y="1559814"/>
                  </a:lnTo>
                  <a:lnTo>
                    <a:pt x="6633682" y="1557683"/>
                  </a:lnTo>
                  <a:lnTo>
                    <a:pt x="6624157" y="1523679"/>
                  </a:lnTo>
                  <a:lnTo>
                    <a:pt x="6578290" y="1507780"/>
                  </a:lnTo>
                  <a:lnTo>
                    <a:pt x="6555510" y="1496562"/>
                  </a:lnTo>
                  <a:lnTo>
                    <a:pt x="6559687" y="1462215"/>
                  </a:lnTo>
                  <a:lnTo>
                    <a:pt x="6552081" y="1436627"/>
                  </a:lnTo>
                  <a:lnTo>
                    <a:pt x="6508555" y="1424388"/>
                  </a:lnTo>
                  <a:lnTo>
                    <a:pt x="6504469" y="1348216"/>
                  </a:lnTo>
                  <a:lnTo>
                    <a:pt x="6519925" y="1325899"/>
                  </a:lnTo>
                  <a:lnTo>
                    <a:pt x="6542553" y="1337334"/>
                  </a:lnTo>
                  <a:lnTo>
                    <a:pt x="6562211" y="1355866"/>
                  </a:lnTo>
                  <a:lnTo>
                    <a:pt x="6580024" y="1378639"/>
                  </a:lnTo>
                  <a:lnTo>
                    <a:pt x="6598320" y="1395825"/>
                  </a:lnTo>
                  <a:lnTo>
                    <a:pt x="6619562" y="1400791"/>
                  </a:lnTo>
                  <a:lnTo>
                    <a:pt x="6642550" y="1375716"/>
                  </a:lnTo>
                  <a:lnTo>
                    <a:pt x="6659783" y="1294362"/>
                  </a:lnTo>
                  <a:lnTo>
                    <a:pt x="6677934" y="1237660"/>
                  </a:lnTo>
                  <a:lnTo>
                    <a:pt x="6709858" y="1164588"/>
                  </a:lnTo>
                  <a:lnTo>
                    <a:pt x="6704156" y="1136863"/>
                  </a:lnTo>
                  <a:lnTo>
                    <a:pt x="6696252" y="1116979"/>
                  </a:lnTo>
                  <a:lnTo>
                    <a:pt x="6689546" y="1094378"/>
                  </a:lnTo>
                  <a:lnTo>
                    <a:pt x="6692066" y="1063414"/>
                  </a:lnTo>
                  <a:lnTo>
                    <a:pt x="6709858" y="1020403"/>
                  </a:lnTo>
                  <a:lnTo>
                    <a:pt x="6657470" y="1001127"/>
                  </a:lnTo>
                  <a:lnTo>
                    <a:pt x="6632303" y="1019045"/>
                  </a:lnTo>
                  <a:lnTo>
                    <a:pt x="6619488" y="1042529"/>
                  </a:lnTo>
                  <a:lnTo>
                    <a:pt x="6596940" y="1050331"/>
                  </a:lnTo>
                  <a:lnTo>
                    <a:pt x="6580743" y="1015517"/>
                  </a:lnTo>
                  <a:lnTo>
                    <a:pt x="6572455" y="991840"/>
                  </a:lnTo>
                  <a:lnTo>
                    <a:pt x="6561401" y="969543"/>
                  </a:lnTo>
                  <a:lnTo>
                    <a:pt x="6537270" y="954295"/>
                  </a:lnTo>
                  <a:lnTo>
                    <a:pt x="6493567" y="952396"/>
                  </a:lnTo>
                  <a:lnTo>
                    <a:pt x="6498677" y="925832"/>
                  </a:lnTo>
                  <a:lnTo>
                    <a:pt x="6503024" y="889468"/>
                  </a:lnTo>
                  <a:lnTo>
                    <a:pt x="6502106" y="847491"/>
                  </a:lnTo>
                  <a:lnTo>
                    <a:pt x="6497669" y="806853"/>
                  </a:lnTo>
                  <a:lnTo>
                    <a:pt x="6493204" y="766222"/>
                  </a:lnTo>
                  <a:lnTo>
                    <a:pt x="6486008" y="727148"/>
                  </a:lnTo>
                  <a:lnTo>
                    <a:pt x="6468570" y="695704"/>
                  </a:lnTo>
                  <a:lnTo>
                    <a:pt x="6444348" y="692524"/>
                  </a:lnTo>
                  <a:lnTo>
                    <a:pt x="6420133" y="689879"/>
                  </a:lnTo>
                  <a:lnTo>
                    <a:pt x="6395914" y="687236"/>
                  </a:lnTo>
                  <a:lnTo>
                    <a:pt x="6371394" y="685013"/>
                  </a:lnTo>
                  <a:lnTo>
                    <a:pt x="6360732" y="652157"/>
                  </a:lnTo>
                  <a:lnTo>
                    <a:pt x="6375245" y="621866"/>
                  </a:lnTo>
                  <a:lnTo>
                    <a:pt x="6396444" y="594181"/>
                  </a:lnTo>
                  <a:lnTo>
                    <a:pt x="6422058" y="567947"/>
                  </a:lnTo>
                  <a:lnTo>
                    <a:pt x="6445976" y="540254"/>
                  </a:lnTo>
                  <a:lnTo>
                    <a:pt x="6464614" y="509958"/>
                  </a:lnTo>
                  <a:lnTo>
                    <a:pt x="6463290" y="479515"/>
                  </a:lnTo>
                  <a:lnTo>
                    <a:pt x="6452611" y="452523"/>
                  </a:lnTo>
                  <a:lnTo>
                    <a:pt x="6413212" y="445440"/>
                  </a:lnTo>
                  <a:lnTo>
                    <a:pt x="6388482" y="468879"/>
                  </a:lnTo>
                  <a:lnTo>
                    <a:pt x="6353194" y="503982"/>
                  </a:lnTo>
                  <a:lnTo>
                    <a:pt x="6314040" y="530738"/>
                  </a:lnTo>
                  <a:lnTo>
                    <a:pt x="6294460" y="544113"/>
                  </a:lnTo>
                  <a:lnTo>
                    <a:pt x="6273534" y="555021"/>
                  </a:lnTo>
                  <a:lnTo>
                    <a:pt x="6234848" y="566297"/>
                  </a:lnTo>
                  <a:lnTo>
                    <a:pt x="6201135" y="557941"/>
                  </a:lnTo>
                  <a:lnTo>
                    <a:pt x="6195272" y="526630"/>
                  </a:lnTo>
                  <a:lnTo>
                    <a:pt x="6196156" y="491321"/>
                  </a:lnTo>
                  <a:lnTo>
                    <a:pt x="6199783" y="460008"/>
                  </a:lnTo>
                  <a:lnTo>
                    <a:pt x="6176365" y="424705"/>
                  </a:lnTo>
                  <a:lnTo>
                    <a:pt x="6171425" y="395206"/>
                  </a:lnTo>
                  <a:lnTo>
                    <a:pt x="6173937" y="364797"/>
                  </a:lnTo>
                  <a:lnTo>
                    <a:pt x="6176470" y="334381"/>
                  </a:lnTo>
                  <a:lnTo>
                    <a:pt x="6187220" y="302931"/>
                  </a:lnTo>
                  <a:lnTo>
                    <a:pt x="6195700" y="262781"/>
                  </a:lnTo>
                  <a:lnTo>
                    <a:pt x="6188696" y="234350"/>
                  </a:lnTo>
                  <a:lnTo>
                    <a:pt x="6161900" y="215034"/>
                  </a:lnTo>
                  <a:lnTo>
                    <a:pt x="6133142" y="208372"/>
                  </a:lnTo>
                  <a:lnTo>
                    <a:pt x="6098044" y="205906"/>
                  </a:lnTo>
                  <a:lnTo>
                    <a:pt x="6062043" y="207549"/>
                  </a:lnTo>
                  <a:lnTo>
                    <a:pt x="6027043" y="213814"/>
                  </a:lnTo>
                  <a:lnTo>
                    <a:pt x="5992044" y="220058"/>
                  </a:lnTo>
                  <a:lnTo>
                    <a:pt x="5957764" y="229971"/>
                  </a:lnTo>
                  <a:lnTo>
                    <a:pt x="5923661" y="242376"/>
                  </a:lnTo>
                  <a:lnTo>
                    <a:pt x="5889579" y="254782"/>
                  </a:lnTo>
                  <a:lnTo>
                    <a:pt x="5855376" y="269889"/>
                  </a:lnTo>
                  <a:lnTo>
                    <a:pt x="5823016" y="285902"/>
                  </a:lnTo>
                  <a:lnTo>
                    <a:pt x="5790642" y="301915"/>
                  </a:lnTo>
                  <a:lnTo>
                    <a:pt x="5760337" y="319167"/>
                  </a:lnTo>
                  <a:lnTo>
                    <a:pt x="5730522" y="336228"/>
                  </a:lnTo>
                  <a:lnTo>
                    <a:pt x="5709484" y="348264"/>
                  </a:lnTo>
                  <a:lnTo>
                    <a:pt x="5670674" y="368872"/>
                  </a:lnTo>
                  <a:lnTo>
                    <a:pt x="5638835" y="356817"/>
                  </a:lnTo>
                  <a:lnTo>
                    <a:pt x="5615447" y="329250"/>
                  </a:lnTo>
                  <a:lnTo>
                    <a:pt x="5597212" y="294068"/>
                  </a:lnTo>
                  <a:lnTo>
                    <a:pt x="5579164" y="257913"/>
                  </a:lnTo>
                  <a:lnTo>
                    <a:pt x="5558145" y="229561"/>
                  </a:lnTo>
                  <a:lnTo>
                    <a:pt x="5529207" y="216531"/>
                  </a:lnTo>
                  <a:lnTo>
                    <a:pt x="5473849" y="208708"/>
                  </a:lnTo>
                  <a:lnTo>
                    <a:pt x="5431278" y="201566"/>
                  </a:lnTo>
                  <a:lnTo>
                    <a:pt x="5388695" y="194432"/>
                  </a:lnTo>
                  <a:lnTo>
                    <a:pt x="5347538" y="186096"/>
                  </a:lnTo>
                  <a:lnTo>
                    <a:pt x="5307590" y="150535"/>
                  </a:lnTo>
                  <a:lnTo>
                    <a:pt x="5287436" y="124658"/>
                  </a:lnTo>
                  <a:lnTo>
                    <a:pt x="5272131" y="102275"/>
                  </a:lnTo>
                  <a:lnTo>
                    <a:pt x="5256818" y="79891"/>
                  </a:lnTo>
                  <a:lnTo>
                    <a:pt x="5245454" y="61023"/>
                  </a:lnTo>
                  <a:lnTo>
                    <a:pt x="5217189" y="31992"/>
                  </a:lnTo>
                  <a:lnTo>
                    <a:pt x="5174196" y="19303"/>
                  </a:lnTo>
                  <a:lnTo>
                    <a:pt x="5147888" y="16368"/>
                  </a:lnTo>
                  <a:lnTo>
                    <a:pt x="5111775" y="20557"/>
                  </a:lnTo>
                  <a:lnTo>
                    <a:pt x="5059940" y="32908"/>
                  </a:lnTo>
                  <a:lnTo>
                    <a:pt x="5005189" y="45946"/>
                  </a:lnTo>
                  <a:lnTo>
                    <a:pt x="4960522" y="57032"/>
                  </a:lnTo>
                  <a:lnTo>
                    <a:pt x="4918478" y="73712"/>
                  </a:lnTo>
                  <a:lnTo>
                    <a:pt x="4876438" y="90390"/>
                  </a:lnTo>
                  <a:lnTo>
                    <a:pt x="4838087" y="112852"/>
                  </a:lnTo>
                  <a:lnTo>
                    <a:pt x="4793339" y="148525"/>
                  </a:lnTo>
                  <a:lnTo>
                    <a:pt x="4766975" y="182646"/>
                  </a:lnTo>
                  <a:lnTo>
                    <a:pt x="4756619" y="202932"/>
                  </a:lnTo>
                  <a:lnTo>
                    <a:pt x="4746253" y="223218"/>
                  </a:lnTo>
                  <a:lnTo>
                    <a:pt x="4734849" y="242548"/>
                  </a:lnTo>
                  <a:lnTo>
                    <a:pt x="4680369" y="261515"/>
                  </a:lnTo>
                  <a:lnTo>
                    <a:pt x="4656522" y="272106"/>
                  </a:lnTo>
                  <a:lnTo>
                    <a:pt x="4632834" y="275021"/>
                  </a:lnTo>
                  <a:lnTo>
                    <a:pt x="4609152" y="277935"/>
                  </a:lnTo>
                  <a:lnTo>
                    <a:pt x="4585879" y="272812"/>
                  </a:lnTo>
                  <a:lnTo>
                    <a:pt x="4552588" y="253258"/>
                  </a:lnTo>
                  <a:lnTo>
                    <a:pt x="4532902" y="237060"/>
                  </a:lnTo>
                  <a:lnTo>
                    <a:pt x="4448023" y="221720"/>
                  </a:lnTo>
                  <a:lnTo>
                    <a:pt x="4379364" y="204588"/>
                  </a:lnTo>
                  <a:lnTo>
                    <a:pt x="4310475" y="192051"/>
                  </a:lnTo>
                  <a:lnTo>
                    <a:pt x="4250284" y="181123"/>
                  </a:lnTo>
                  <a:lnTo>
                    <a:pt x="4021045" y="163059"/>
                  </a:lnTo>
                  <a:lnTo>
                    <a:pt x="3979944" y="144441"/>
                  </a:lnTo>
                  <a:lnTo>
                    <a:pt x="3903768" y="109930"/>
                  </a:lnTo>
                  <a:lnTo>
                    <a:pt x="3828406" y="64914"/>
                  </a:lnTo>
                  <a:lnTo>
                    <a:pt x="3754150" y="26103"/>
                  </a:lnTo>
                  <a:lnTo>
                    <a:pt x="3734039" y="15610"/>
                  </a:lnTo>
                  <a:lnTo>
                    <a:pt x="3702677" y="7321"/>
                  </a:lnTo>
                  <a:lnTo>
                    <a:pt x="3680694" y="5698"/>
                  </a:lnTo>
                  <a:lnTo>
                    <a:pt x="3654757" y="0"/>
                  </a:lnTo>
                  <a:lnTo>
                    <a:pt x="3456270" y="36984"/>
                  </a:lnTo>
                  <a:lnTo>
                    <a:pt x="3437434" y="47233"/>
                  </a:lnTo>
                  <a:lnTo>
                    <a:pt x="3372356" y="57561"/>
                  </a:lnTo>
                  <a:lnTo>
                    <a:pt x="3321773" y="56795"/>
                  </a:lnTo>
                  <a:lnTo>
                    <a:pt x="3268551" y="56031"/>
                  </a:lnTo>
                  <a:lnTo>
                    <a:pt x="3236851" y="51988"/>
                  </a:lnTo>
                  <a:lnTo>
                    <a:pt x="3184956" y="45828"/>
                  </a:lnTo>
                  <a:lnTo>
                    <a:pt x="3140314" y="36305"/>
                  </a:lnTo>
                  <a:lnTo>
                    <a:pt x="3099889" y="42426"/>
                  </a:lnTo>
                  <a:lnTo>
                    <a:pt x="3049126" y="50141"/>
                  </a:lnTo>
                  <a:lnTo>
                    <a:pt x="3010849" y="61096"/>
                  </a:lnTo>
                  <a:lnTo>
                    <a:pt x="2973397" y="65547"/>
                  </a:lnTo>
                  <a:lnTo>
                    <a:pt x="2935939" y="70011"/>
                  </a:lnTo>
                  <a:lnTo>
                    <a:pt x="2898202" y="67498"/>
                  </a:lnTo>
                  <a:lnTo>
                    <a:pt x="2849619" y="47873"/>
                  </a:lnTo>
                  <a:lnTo>
                    <a:pt x="2791219" y="104391"/>
                  </a:lnTo>
                  <a:lnTo>
                    <a:pt x="2759497" y="146342"/>
                  </a:lnTo>
                  <a:lnTo>
                    <a:pt x="2738084" y="177087"/>
                  </a:lnTo>
                  <a:lnTo>
                    <a:pt x="2716659" y="207833"/>
                  </a:lnTo>
                  <a:lnTo>
                    <a:pt x="2705817" y="228144"/>
                  </a:lnTo>
                  <a:lnTo>
                    <a:pt x="2689111" y="241018"/>
                  </a:lnTo>
                  <a:lnTo>
                    <a:pt x="2672405" y="253890"/>
                  </a:lnTo>
                  <a:lnTo>
                    <a:pt x="2650394" y="259873"/>
                  </a:lnTo>
                  <a:lnTo>
                    <a:pt x="2606142" y="262781"/>
                  </a:lnTo>
                  <a:lnTo>
                    <a:pt x="2561887" y="265682"/>
                  </a:lnTo>
                  <a:lnTo>
                    <a:pt x="2495293" y="264660"/>
                  </a:lnTo>
                  <a:lnTo>
                    <a:pt x="2391225" y="265497"/>
                  </a:lnTo>
                  <a:lnTo>
                    <a:pt x="2360495" y="257676"/>
                  </a:lnTo>
                  <a:lnTo>
                    <a:pt x="2345715" y="220587"/>
                  </a:lnTo>
                  <a:lnTo>
                    <a:pt x="2338512" y="186953"/>
                  </a:lnTo>
                  <a:lnTo>
                    <a:pt x="2335467" y="153964"/>
                  </a:lnTo>
                  <a:lnTo>
                    <a:pt x="2332419" y="120971"/>
                  </a:lnTo>
                  <a:lnTo>
                    <a:pt x="2333508" y="88207"/>
                  </a:lnTo>
                  <a:lnTo>
                    <a:pt x="2339554" y="57389"/>
                  </a:lnTo>
                  <a:lnTo>
                    <a:pt x="2315155" y="41700"/>
                  </a:lnTo>
                  <a:lnTo>
                    <a:pt x="2288062" y="40810"/>
                  </a:lnTo>
                  <a:lnTo>
                    <a:pt x="2262017" y="42426"/>
                  </a:lnTo>
                  <a:lnTo>
                    <a:pt x="2235988" y="44041"/>
                  </a:lnTo>
                  <a:lnTo>
                    <a:pt x="2210433" y="48545"/>
                  </a:lnTo>
                  <a:lnTo>
                    <a:pt x="2191953" y="97149"/>
                  </a:lnTo>
                  <a:lnTo>
                    <a:pt x="2201568" y="134022"/>
                  </a:lnTo>
                  <a:lnTo>
                    <a:pt x="2214411" y="170288"/>
                  </a:lnTo>
                  <a:lnTo>
                    <a:pt x="2227263" y="206546"/>
                  </a:lnTo>
                  <a:lnTo>
                    <a:pt x="2244620" y="242204"/>
                  </a:lnTo>
                  <a:lnTo>
                    <a:pt x="2253866" y="277738"/>
                  </a:lnTo>
                  <a:lnTo>
                    <a:pt x="2240775" y="310046"/>
                  </a:lnTo>
                  <a:lnTo>
                    <a:pt x="2239120" y="338293"/>
                  </a:lnTo>
                  <a:lnTo>
                    <a:pt x="2238949" y="382386"/>
                  </a:lnTo>
                  <a:lnTo>
                    <a:pt x="2236168" y="424646"/>
                  </a:lnTo>
                  <a:lnTo>
                    <a:pt x="2233424" y="466899"/>
                  </a:lnTo>
                  <a:lnTo>
                    <a:pt x="2226742" y="507062"/>
                  </a:lnTo>
                  <a:lnTo>
                    <a:pt x="2142307" y="537538"/>
                  </a:lnTo>
                  <a:lnTo>
                    <a:pt x="2129123" y="573500"/>
                  </a:lnTo>
                  <a:lnTo>
                    <a:pt x="2132131" y="622381"/>
                  </a:lnTo>
                  <a:lnTo>
                    <a:pt x="2147748" y="639553"/>
                  </a:lnTo>
                  <a:lnTo>
                    <a:pt x="2228010" y="639553"/>
                  </a:lnTo>
                  <a:lnTo>
                    <a:pt x="2247386" y="686523"/>
                  </a:lnTo>
                  <a:lnTo>
                    <a:pt x="2244667" y="749550"/>
                  </a:lnTo>
                  <a:lnTo>
                    <a:pt x="2263369" y="778291"/>
                  </a:lnTo>
                  <a:lnTo>
                    <a:pt x="2279988" y="803854"/>
                  </a:lnTo>
                  <a:lnTo>
                    <a:pt x="2303981" y="817557"/>
                  </a:lnTo>
                  <a:lnTo>
                    <a:pt x="2331384" y="825900"/>
                  </a:lnTo>
                  <a:lnTo>
                    <a:pt x="2358780" y="834242"/>
                  </a:lnTo>
                  <a:lnTo>
                    <a:pt x="2388661" y="837797"/>
                  </a:lnTo>
                  <a:lnTo>
                    <a:pt x="2415713" y="843581"/>
                  </a:lnTo>
                  <a:lnTo>
                    <a:pt x="2442766" y="849372"/>
                  </a:lnTo>
                  <a:lnTo>
                    <a:pt x="2466796" y="856956"/>
                  </a:lnTo>
                  <a:lnTo>
                    <a:pt x="2482367" y="874866"/>
                  </a:lnTo>
                  <a:lnTo>
                    <a:pt x="2495860" y="895496"/>
                  </a:lnTo>
                  <a:lnTo>
                    <a:pt x="2501513" y="924969"/>
                  </a:lnTo>
                  <a:lnTo>
                    <a:pt x="2498691" y="966002"/>
                  </a:lnTo>
                  <a:lnTo>
                    <a:pt x="2493706" y="992844"/>
                  </a:lnTo>
                  <a:lnTo>
                    <a:pt x="2484624" y="1028930"/>
                  </a:lnTo>
                  <a:lnTo>
                    <a:pt x="2472845" y="1051696"/>
                  </a:lnTo>
                  <a:lnTo>
                    <a:pt x="2435582" y="1053648"/>
                  </a:lnTo>
                  <a:lnTo>
                    <a:pt x="2398335" y="1057486"/>
                  </a:lnTo>
                  <a:lnTo>
                    <a:pt x="2362669" y="1063937"/>
                  </a:lnTo>
                  <a:lnTo>
                    <a:pt x="2326999" y="1070386"/>
                  </a:lnTo>
                  <a:lnTo>
                    <a:pt x="2291749" y="1079500"/>
                  </a:lnTo>
                  <a:lnTo>
                    <a:pt x="2256570" y="1091140"/>
                  </a:lnTo>
                  <a:lnTo>
                    <a:pt x="2236310" y="1109632"/>
                  </a:lnTo>
                  <a:lnTo>
                    <a:pt x="2219691" y="1140661"/>
                  </a:lnTo>
                  <a:lnTo>
                    <a:pt x="2204886" y="1165952"/>
                  </a:lnTo>
                  <a:lnTo>
                    <a:pt x="2166801" y="1170028"/>
                  </a:lnTo>
                  <a:lnTo>
                    <a:pt x="2143792" y="1184564"/>
                  </a:lnTo>
                  <a:lnTo>
                    <a:pt x="2127350" y="1212190"/>
                  </a:lnTo>
                  <a:lnTo>
                    <a:pt x="2120913" y="1246028"/>
                  </a:lnTo>
                  <a:lnTo>
                    <a:pt x="2117834" y="1272039"/>
                  </a:lnTo>
                  <a:lnTo>
                    <a:pt x="2114743" y="1298180"/>
                  </a:lnTo>
                  <a:lnTo>
                    <a:pt x="2117834" y="1334610"/>
                  </a:lnTo>
                  <a:lnTo>
                    <a:pt x="2126571" y="1363278"/>
                  </a:lnTo>
                  <a:lnTo>
                    <a:pt x="2153255" y="1395607"/>
                  </a:lnTo>
                  <a:lnTo>
                    <a:pt x="2182630" y="1410920"/>
                  </a:lnTo>
                  <a:lnTo>
                    <a:pt x="2223927" y="1439345"/>
                  </a:lnTo>
                  <a:lnTo>
                    <a:pt x="2278407" y="1476843"/>
                  </a:lnTo>
                  <a:lnTo>
                    <a:pt x="2338013" y="1503955"/>
                  </a:lnTo>
                  <a:lnTo>
                    <a:pt x="2396673" y="1534555"/>
                  </a:lnTo>
                  <a:lnTo>
                    <a:pt x="2418476" y="1545904"/>
                  </a:lnTo>
                  <a:lnTo>
                    <a:pt x="2441175" y="1570438"/>
                  </a:lnTo>
                  <a:lnTo>
                    <a:pt x="2455162" y="1590328"/>
                  </a:lnTo>
                  <a:lnTo>
                    <a:pt x="2457813" y="1614511"/>
                  </a:lnTo>
                  <a:lnTo>
                    <a:pt x="2449308" y="1640647"/>
                  </a:lnTo>
                  <a:lnTo>
                    <a:pt x="2436112" y="1665140"/>
                  </a:lnTo>
                  <a:lnTo>
                    <a:pt x="2422935" y="1689634"/>
                  </a:lnTo>
                  <a:lnTo>
                    <a:pt x="2405761" y="1712361"/>
                  </a:lnTo>
                  <a:lnTo>
                    <a:pt x="2392592" y="1730430"/>
                  </a:lnTo>
                  <a:lnTo>
                    <a:pt x="2385408" y="1776205"/>
                  </a:lnTo>
                  <a:lnTo>
                    <a:pt x="2402155" y="1799630"/>
                  </a:lnTo>
                  <a:lnTo>
                    <a:pt x="2410272" y="1840604"/>
                  </a:lnTo>
                  <a:lnTo>
                    <a:pt x="2400031" y="1899563"/>
                  </a:lnTo>
                  <a:lnTo>
                    <a:pt x="2394940" y="1922427"/>
                  </a:lnTo>
                  <a:lnTo>
                    <a:pt x="2384435" y="1952137"/>
                  </a:lnTo>
                  <a:lnTo>
                    <a:pt x="2422129" y="1975180"/>
                  </a:lnTo>
                  <a:lnTo>
                    <a:pt x="2452393" y="1985679"/>
                  </a:lnTo>
                  <a:lnTo>
                    <a:pt x="2481002" y="1991589"/>
                  </a:lnTo>
                  <a:lnTo>
                    <a:pt x="2522141" y="1995170"/>
                  </a:lnTo>
                  <a:lnTo>
                    <a:pt x="2543569" y="1997029"/>
                  </a:lnTo>
                  <a:lnTo>
                    <a:pt x="2565000" y="1998889"/>
                  </a:lnTo>
                  <a:lnTo>
                    <a:pt x="2586125" y="2003875"/>
                  </a:lnTo>
                  <a:lnTo>
                    <a:pt x="2602065" y="2018786"/>
                  </a:lnTo>
                  <a:lnTo>
                    <a:pt x="2602657" y="2104566"/>
                  </a:lnTo>
                  <a:lnTo>
                    <a:pt x="2583526" y="2224903"/>
                  </a:lnTo>
                  <a:lnTo>
                    <a:pt x="2559891" y="2307148"/>
                  </a:lnTo>
                  <a:lnTo>
                    <a:pt x="2552499" y="2332743"/>
                  </a:lnTo>
                  <a:lnTo>
                    <a:pt x="2535455" y="2361134"/>
                  </a:lnTo>
                  <a:lnTo>
                    <a:pt x="2529970" y="2386042"/>
                  </a:lnTo>
                  <a:lnTo>
                    <a:pt x="2512077" y="2466381"/>
                  </a:lnTo>
                  <a:lnTo>
                    <a:pt x="2512632" y="2553816"/>
                  </a:lnTo>
                  <a:lnTo>
                    <a:pt x="2483725" y="2632236"/>
                  </a:lnTo>
                  <a:lnTo>
                    <a:pt x="2462728" y="2689197"/>
                  </a:lnTo>
                  <a:lnTo>
                    <a:pt x="2428975" y="2747602"/>
                  </a:lnTo>
                  <a:lnTo>
                    <a:pt x="2418436" y="2807708"/>
                  </a:lnTo>
                  <a:lnTo>
                    <a:pt x="2438900" y="2834337"/>
                  </a:lnTo>
                  <a:lnTo>
                    <a:pt x="2464712" y="2851722"/>
                  </a:lnTo>
                  <a:lnTo>
                    <a:pt x="2487808" y="2870273"/>
                  </a:lnTo>
                  <a:lnTo>
                    <a:pt x="2510889" y="2888825"/>
                  </a:lnTo>
                  <a:lnTo>
                    <a:pt x="2532423" y="2908379"/>
                  </a:lnTo>
                  <a:lnTo>
                    <a:pt x="2548363" y="2941788"/>
                  </a:lnTo>
                  <a:lnTo>
                    <a:pt x="2544115" y="2989714"/>
                  </a:lnTo>
                  <a:lnTo>
                    <a:pt x="2535412" y="3037579"/>
                  </a:lnTo>
                  <a:lnTo>
                    <a:pt x="2526724" y="3085446"/>
                  </a:lnTo>
                  <a:lnTo>
                    <a:pt x="2512498" y="3132837"/>
                  </a:lnTo>
                  <a:lnTo>
                    <a:pt x="2501811" y="3152212"/>
                  </a:lnTo>
                  <a:lnTo>
                    <a:pt x="2471065" y="3187923"/>
                  </a:lnTo>
                  <a:lnTo>
                    <a:pt x="2421279" y="3200844"/>
                  </a:lnTo>
                  <a:lnTo>
                    <a:pt x="2335036" y="3199952"/>
                  </a:lnTo>
                  <a:lnTo>
                    <a:pt x="2230329" y="3188965"/>
                  </a:lnTo>
                  <a:lnTo>
                    <a:pt x="2125985" y="3172241"/>
                  </a:lnTo>
                  <a:lnTo>
                    <a:pt x="2021654" y="3155510"/>
                  </a:lnTo>
                  <a:lnTo>
                    <a:pt x="1918773" y="3133686"/>
                  </a:lnTo>
                  <a:lnTo>
                    <a:pt x="1843063" y="3112392"/>
                  </a:lnTo>
                  <a:lnTo>
                    <a:pt x="1773542" y="3092793"/>
                  </a:lnTo>
                  <a:lnTo>
                    <a:pt x="1709806" y="3047565"/>
                  </a:lnTo>
                  <a:lnTo>
                    <a:pt x="1644486" y="3018534"/>
                  </a:lnTo>
                  <a:lnTo>
                    <a:pt x="1596731" y="2997318"/>
                  </a:lnTo>
                  <a:lnTo>
                    <a:pt x="1544843" y="2980336"/>
                  </a:lnTo>
                  <a:lnTo>
                    <a:pt x="1490778" y="2969566"/>
                  </a:lnTo>
                  <a:lnTo>
                    <a:pt x="1436719" y="2958804"/>
                  </a:lnTo>
                  <a:lnTo>
                    <a:pt x="1381277" y="2954609"/>
                  </a:lnTo>
                  <a:lnTo>
                    <a:pt x="1328912" y="2954609"/>
                  </a:lnTo>
                  <a:lnTo>
                    <a:pt x="1302442" y="2954609"/>
                  </a:lnTo>
                  <a:lnTo>
                    <a:pt x="1263616" y="2973510"/>
                  </a:lnTo>
                  <a:lnTo>
                    <a:pt x="1226902" y="2995411"/>
                  </a:lnTo>
                  <a:lnTo>
                    <a:pt x="1190188" y="3017314"/>
                  </a:lnTo>
                  <a:lnTo>
                    <a:pt x="1155322" y="3042184"/>
                  </a:lnTo>
                  <a:lnTo>
                    <a:pt x="1133051" y="3053902"/>
                  </a:lnTo>
                  <a:lnTo>
                    <a:pt x="1068196" y="3088004"/>
                  </a:lnTo>
                  <a:lnTo>
                    <a:pt x="995533" y="3107420"/>
                  </a:lnTo>
                  <a:lnTo>
                    <a:pt x="931742" y="3145038"/>
                  </a:lnTo>
                  <a:lnTo>
                    <a:pt x="880269" y="3175427"/>
                  </a:lnTo>
                  <a:lnTo>
                    <a:pt x="813402" y="3211685"/>
                  </a:lnTo>
                  <a:lnTo>
                    <a:pt x="767132" y="3228430"/>
                  </a:lnTo>
                  <a:lnTo>
                    <a:pt x="719656" y="3236119"/>
                  </a:lnTo>
                  <a:lnTo>
                    <a:pt x="671935" y="3242965"/>
                  </a:lnTo>
                  <a:lnTo>
                    <a:pt x="624220" y="3249817"/>
                  </a:lnTo>
                  <a:lnTo>
                    <a:pt x="577147" y="3255020"/>
                  </a:lnTo>
                  <a:lnTo>
                    <a:pt x="529115" y="3263370"/>
                  </a:lnTo>
                  <a:lnTo>
                    <a:pt x="494603" y="3269363"/>
                  </a:lnTo>
                  <a:lnTo>
                    <a:pt x="458518" y="3279692"/>
                  </a:lnTo>
                  <a:lnTo>
                    <a:pt x="424381" y="3287857"/>
                  </a:lnTo>
                  <a:lnTo>
                    <a:pt x="401861" y="3293212"/>
                  </a:lnTo>
                  <a:lnTo>
                    <a:pt x="374734" y="3292657"/>
                  </a:lnTo>
                  <a:lnTo>
                    <a:pt x="350928" y="3298738"/>
                  </a:lnTo>
                  <a:lnTo>
                    <a:pt x="250019" y="3324411"/>
                  </a:lnTo>
                  <a:lnTo>
                    <a:pt x="128882" y="3380138"/>
                  </a:lnTo>
                  <a:lnTo>
                    <a:pt x="27205" y="3415713"/>
                  </a:lnTo>
                  <a:lnTo>
                    <a:pt x="0" y="342931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76" name="Sevastopol¬0" descr="Sevastopol¬0">
              <a:extLst>
                <a:ext uri="{FF2B5EF4-FFF2-40B4-BE49-F238E27FC236}">
                  <a16:creationId xmlns:a16="http://schemas.microsoft.com/office/drawing/2014/main" id="{5B42004F-A657-4BA5-9111-1B7951F91D96}"/>
                </a:ext>
              </a:extLst>
            </p:cNvPr>
            <p:cNvSpPr/>
            <p:nvPr/>
          </p:nvSpPr>
          <p:spPr>
            <a:xfrm>
              <a:off x="4728902" y="4598378"/>
              <a:ext cx="188404" cy="208305"/>
            </a:xfrm>
            <a:custGeom>
              <a:avLst/>
              <a:gdLst/>
              <a:ahLst/>
              <a:cxnLst/>
              <a:rect l="0" t="0" r="0" b="0"/>
              <a:pathLst>
                <a:path w="1922554" h="2412945">
                  <a:moveTo>
                    <a:pt x="1317266" y="2380338"/>
                  </a:moveTo>
                  <a:lnTo>
                    <a:pt x="1318624" y="2354504"/>
                  </a:lnTo>
                  <a:lnTo>
                    <a:pt x="1351270" y="2332735"/>
                  </a:lnTo>
                  <a:lnTo>
                    <a:pt x="1397512" y="2332735"/>
                  </a:lnTo>
                  <a:lnTo>
                    <a:pt x="1389354" y="2253847"/>
                  </a:lnTo>
                  <a:lnTo>
                    <a:pt x="1441038" y="2232084"/>
                  </a:lnTo>
                  <a:lnTo>
                    <a:pt x="1492731" y="2272887"/>
                  </a:lnTo>
                  <a:lnTo>
                    <a:pt x="1615145" y="2204879"/>
                  </a:lnTo>
                  <a:lnTo>
                    <a:pt x="1892626" y="2291934"/>
                  </a:lnTo>
                  <a:lnTo>
                    <a:pt x="1922553" y="2259288"/>
                  </a:lnTo>
                  <a:lnTo>
                    <a:pt x="1821895" y="2030775"/>
                  </a:lnTo>
                  <a:lnTo>
                    <a:pt x="1857264" y="1973644"/>
                  </a:lnTo>
                  <a:lnTo>
                    <a:pt x="1819179" y="1949164"/>
                  </a:lnTo>
                  <a:lnTo>
                    <a:pt x="1756606" y="1984524"/>
                  </a:lnTo>
                  <a:lnTo>
                    <a:pt x="1745723" y="1902913"/>
                  </a:lnTo>
                  <a:lnTo>
                    <a:pt x="1704923" y="1867551"/>
                  </a:lnTo>
                  <a:lnTo>
                    <a:pt x="1743007" y="1826747"/>
                  </a:lnTo>
                  <a:lnTo>
                    <a:pt x="1710361" y="1799536"/>
                  </a:lnTo>
                  <a:lnTo>
                    <a:pt x="1685876" y="1807703"/>
                  </a:lnTo>
                  <a:lnTo>
                    <a:pt x="1620587" y="1753294"/>
                  </a:lnTo>
                  <a:lnTo>
                    <a:pt x="1626034" y="1647195"/>
                  </a:lnTo>
                  <a:lnTo>
                    <a:pt x="1582499" y="1576465"/>
                  </a:lnTo>
                  <a:lnTo>
                    <a:pt x="1560736" y="1543822"/>
                  </a:lnTo>
                  <a:lnTo>
                    <a:pt x="1558020" y="1483971"/>
                  </a:lnTo>
                  <a:lnTo>
                    <a:pt x="1574341" y="1456767"/>
                  </a:lnTo>
                  <a:lnTo>
                    <a:pt x="1571619" y="1424124"/>
                  </a:lnTo>
                  <a:lnTo>
                    <a:pt x="1490012" y="1396919"/>
                  </a:lnTo>
                  <a:lnTo>
                    <a:pt x="1490012" y="1361557"/>
                  </a:lnTo>
                  <a:lnTo>
                    <a:pt x="1451921" y="1312589"/>
                  </a:lnTo>
                  <a:lnTo>
                    <a:pt x="1397512" y="1358835"/>
                  </a:lnTo>
                  <a:lnTo>
                    <a:pt x="1367591" y="1337072"/>
                  </a:lnTo>
                  <a:lnTo>
                    <a:pt x="1332223" y="1366998"/>
                  </a:lnTo>
                  <a:lnTo>
                    <a:pt x="1288697" y="1356115"/>
                  </a:lnTo>
                  <a:lnTo>
                    <a:pt x="1231572" y="1228253"/>
                  </a:lnTo>
                  <a:lnTo>
                    <a:pt x="1261492" y="1187453"/>
                  </a:lnTo>
                  <a:lnTo>
                    <a:pt x="1237013" y="1173847"/>
                  </a:lnTo>
                  <a:lnTo>
                    <a:pt x="1283262" y="1097682"/>
                  </a:lnTo>
                  <a:lnTo>
                    <a:pt x="1307744" y="1114003"/>
                  </a:lnTo>
                  <a:lnTo>
                    <a:pt x="1405679" y="969820"/>
                  </a:lnTo>
                  <a:lnTo>
                    <a:pt x="1402960" y="915410"/>
                  </a:lnTo>
                  <a:lnTo>
                    <a:pt x="1481848" y="850121"/>
                  </a:lnTo>
                  <a:lnTo>
                    <a:pt x="1476406" y="784832"/>
                  </a:lnTo>
                  <a:lnTo>
                    <a:pt x="1405679" y="757628"/>
                  </a:lnTo>
                  <a:lnTo>
                    <a:pt x="1383922" y="746748"/>
                  </a:lnTo>
                  <a:lnTo>
                    <a:pt x="1362150" y="735865"/>
                  </a:lnTo>
                  <a:lnTo>
                    <a:pt x="1326791" y="676017"/>
                  </a:lnTo>
                  <a:lnTo>
                    <a:pt x="1299586" y="656970"/>
                  </a:lnTo>
                  <a:lnTo>
                    <a:pt x="1264224" y="714102"/>
                  </a:lnTo>
                  <a:lnTo>
                    <a:pt x="1217973" y="673292"/>
                  </a:lnTo>
                  <a:lnTo>
                    <a:pt x="1226130" y="635207"/>
                  </a:lnTo>
                  <a:lnTo>
                    <a:pt x="1160841" y="640649"/>
                  </a:lnTo>
                  <a:lnTo>
                    <a:pt x="1155400" y="692339"/>
                  </a:lnTo>
                  <a:lnTo>
                    <a:pt x="1134998" y="703222"/>
                  </a:lnTo>
                  <a:lnTo>
                    <a:pt x="891524" y="673292"/>
                  </a:lnTo>
                  <a:lnTo>
                    <a:pt x="886086" y="493746"/>
                  </a:lnTo>
                  <a:lnTo>
                    <a:pt x="1174446" y="414858"/>
                  </a:lnTo>
                  <a:lnTo>
                    <a:pt x="1169005" y="303318"/>
                  </a:lnTo>
                  <a:lnTo>
                    <a:pt x="820797" y="186345"/>
                  </a:lnTo>
                  <a:lnTo>
                    <a:pt x="799031" y="175465"/>
                  </a:lnTo>
                  <a:lnTo>
                    <a:pt x="779987" y="150977"/>
                  </a:lnTo>
                  <a:lnTo>
                    <a:pt x="760946" y="126497"/>
                  </a:lnTo>
                  <a:lnTo>
                    <a:pt x="744625" y="93851"/>
                  </a:lnTo>
                  <a:lnTo>
                    <a:pt x="740178" y="67196"/>
                  </a:lnTo>
                  <a:lnTo>
                    <a:pt x="735655" y="32395"/>
                  </a:lnTo>
                  <a:lnTo>
                    <a:pt x="731019" y="0"/>
                  </a:lnTo>
                  <a:lnTo>
                    <a:pt x="699688" y="4096"/>
                  </a:lnTo>
                  <a:lnTo>
                    <a:pt x="665333" y="19245"/>
                  </a:lnTo>
                  <a:lnTo>
                    <a:pt x="629010" y="89771"/>
                  </a:lnTo>
                  <a:lnTo>
                    <a:pt x="608307" y="130026"/>
                  </a:lnTo>
                  <a:lnTo>
                    <a:pt x="607622" y="173636"/>
                  </a:lnTo>
                  <a:lnTo>
                    <a:pt x="595000" y="216266"/>
                  </a:lnTo>
                  <a:lnTo>
                    <a:pt x="585310" y="249082"/>
                  </a:lnTo>
                  <a:lnTo>
                    <a:pt x="571879" y="281517"/>
                  </a:lnTo>
                  <a:lnTo>
                    <a:pt x="558273" y="312843"/>
                  </a:lnTo>
                  <a:lnTo>
                    <a:pt x="538888" y="349188"/>
                  </a:lnTo>
                  <a:lnTo>
                    <a:pt x="542674" y="394791"/>
                  </a:lnTo>
                  <a:lnTo>
                    <a:pt x="561377" y="425524"/>
                  </a:lnTo>
                  <a:lnTo>
                    <a:pt x="566437" y="451585"/>
                  </a:lnTo>
                  <a:lnTo>
                    <a:pt x="574976" y="495495"/>
                  </a:lnTo>
                  <a:lnTo>
                    <a:pt x="570942" y="542035"/>
                  </a:lnTo>
                  <a:lnTo>
                    <a:pt x="578675" y="586246"/>
                  </a:lnTo>
                  <a:lnTo>
                    <a:pt x="590495" y="654338"/>
                  </a:lnTo>
                  <a:lnTo>
                    <a:pt x="639422" y="712356"/>
                  </a:lnTo>
                  <a:lnTo>
                    <a:pt x="641248" y="784832"/>
                  </a:lnTo>
                  <a:lnTo>
                    <a:pt x="642138" y="819134"/>
                  </a:lnTo>
                  <a:lnTo>
                    <a:pt x="615488" y="917621"/>
                  </a:lnTo>
                  <a:lnTo>
                    <a:pt x="599080" y="948057"/>
                  </a:lnTo>
                  <a:lnTo>
                    <a:pt x="572517" y="997281"/>
                  </a:lnTo>
                  <a:lnTo>
                    <a:pt x="507228" y="1052962"/>
                  </a:lnTo>
                  <a:lnTo>
                    <a:pt x="524269" y="1115364"/>
                  </a:lnTo>
                  <a:lnTo>
                    <a:pt x="547945" y="1202205"/>
                  </a:lnTo>
                  <a:lnTo>
                    <a:pt x="630619" y="1147620"/>
                  </a:lnTo>
                  <a:lnTo>
                    <a:pt x="706537" y="1216015"/>
                  </a:lnTo>
                  <a:lnTo>
                    <a:pt x="682356" y="1276799"/>
                  </a:lnTo>
                  <a:lnTo>
                    <a:pt x="589816" y="1264043"/>
                  </a:lnTo>
                  <a:lnTo>
                    <a:pt x="546032" y="1267705"/>
                  </a:lnTo>
                  <a:lnTo>
                    <a:pt x="504292" y="1271187"/>
                  </a:lnTo>
                  <a:lnTo>
                    <a:pt x="473950" y="1291422"/>
                  </a:lnTo>
                  <a:lnTo>
                    <a:pt x="430417" y="1273141"/>
                  </a:lnTo>
                  <a:lnTo>
                    <a:pt x="407076" y="1277770"/>
                  </a:lnTo>
                  <a:lnTo>
                    <a:pt x="378179" y="1283050"/>
                  </a:lnTo>
                  <a:lnTo>
                    <a:pt x="347446" y="1294910"/>
                  </a:lnTo>
                  <a:lnTo>
                    <a:pt x="315225" y="1299164"/>
                  </a:lnTo>
                  <a:lnTo>
                    <a:pt x="284327" y="1292265"/>
                  </a:lnTo>
                  <a:lnTo>
                    <a:pt x="252230" y="1293542"/>
                  </a:lnTo>
                  <a:lnTo>
                    <a:pt x="243009" y="1329466"/>
                  </a:lnTo>
                  <a:lnTo>
                    <a:pt x="211473" y="1340473"/>
                  </a:lnTo>
                  <a:lnTo>
                    <a:pt x="189539" y="1334439"/>
                  </a:lnTo>
                  <a:lnTo>
                    <a:pt x="156847" y="1367296"/>
                  </a:lnTo>
                  <a:lnTo>
                    <a:pt x="145458" y="1397855"/>
                  </a:lnTo>
                  <a:lnTo>
                    <a:pt x="124374" y="1418682"/>
                  </a:lnTo>
                  <a:lnTo>
                    <a:pt x="103461" y="1424164"/>
                  </a:lnTo>
                  <a:lnTo>
                    <a:pt x="64868" y="1401508"/>
                  </a:lnTo>
                  <a:lnTo>
                    <a:pt x="77701" y="1359340"/>
                  </a:lnTo>
                  <a:lnTo>
                    <a:pt x="11476" y="1366992"/>
                  </a:lnTo>
                  <a:lnTo>
                    <a:pt x="0" y="1392963"/>
                  </a:lnTo>
                  <a:lnTo>
                    <a:pt x="36603" y="1516016"/>
                  </a:lnTo>
                  <a:lnTo>
                    <a:pt x="171342" y="1615479"/>
                  </a:lnTo>
                  <a:lnTo>
                    <a:pt x="254952" y="1690715"/>
                  </a:lnTo>
                  <a:lnTo>
                    <a:pt x="275270" y="1708996"/>
                  </a:lnTo>
                  <a:lnTo>
                    <a:pt x="290876" y="1734328"/>
                  </a:lnTo>
                  <a:lnTo>
                    <a:pt x="309361" y="1753288"/>
                  </a:lnTo>
                  <a:lnTo>
                    <a:pt x="324449" y="1768673"/>
                  </a:lnTo>
                  <a:lnTo>
                    <a:pt x="577147" y="1911539"/>
                  </a:lnTo>
                  <a:lnTo>
                    <a:pt x="635980" y="1922546"/>
                  </a:lnTo>
                  <a:lnTo>
                    <a:pt x="706367" y="1847608"/>
                  </a:lnTo>
                  <a:lnTo>
                    <a:pt x="751424" y="1872986"/>
                  </a:lnTo>
                  <a:lnTo>
                    <a:pt x="801750" y="1917870"/>
                  </a:lnTo>
                  <a:lnTo>
                    <a:pt x="911752" y="2101881"/>
                  </a:lnTo>
                  <a:lnTo>
                    <a:pt x="915076" y="2143199"/>
                  </a:lnTo>
                  <a:lnTo>
                    <a:pt x="884852" y="2174735"/>
                  </a:lnTo>
                  <a:lnTo>
                    <a:pt x="922812" y="2214392"/>
                  </a:lnTo>
                  <a:lnTo>
                    <a:pt x="953669" y="2246526"/>
                  </a:lnTo>
                  <a:lnTo>
                    <a:pt x="1045912" y="2250166"/>
                  </a:lnTo>
                  <a:lnTo>
                    <a:pt x="1087394" y="2271523"/>
                  </a:lnTo>
                  <a:lnTo>
                    <a:pt x="1135252" y="2296219"/>
                  </a:lnTo>
                  <a:lnTo>
                    <a:pt x="1146774" y="2349165"/>
                  </a:lnTo>
                  <a:lnTo>
                    <a:pt x="1183971" y="2380338"/>
                  </a:lnTo>
                  <a:lnTo>
                    <a:pt x="1222313" y="2403044"/>
                  </a:lnTo>
                  <a:lnTo>
                    <a:pt x="1259995" y="2412944"/>
                  </a:lnTo>
                  <a:lnTo>
                    <a:pt x="1288222" y="2408966"/>
                  </a:lnTo>
                  <a:lnTo>
                    <a:pt x="1315908" y="2407536"/>
                  </a:lnTo>
                  <a:close/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77" name="Republic of Crimea¬0" descr="Republic of Crimea¬0">
              <a:extLst>
                <a:ext uri="{FF2B5EF4-FFF2-40B4-BE49-F238E27FC236}">
                  <a16:creationId xmlns:a16="http://schemas.microsoft.com/office/drawing/2014/main" id="{C74E4912-DE3A-461F-A13E-B2F1A9AAD508}"/>
                </a:ext>
              </a:extLst>
            </p:cNvPr>
            <p:cNvSpPr/>
            <p:nvPr/>
          </p:nvSpPr>
          <p:spPr>
            <a:xfrm>
              <a:off x="4424915" y="3970046"/>
              <a:ext cx="1427504" cy="841689"/>
            </a:xfrm>
            <a:custGeom>
              <a:avLst/>
              <a:gdLst/>
              <a:ahLst/>
              <a:cxnLst/>
              <a:rect l="0" t="0" r="0" b="0"/>
              <a:pathLst>
                <a:path w="14566889" h="9749892">
                  <a:moveTo>
                    <a:pt x="4074998" y="11441"/>
                  </a:moveTo>
                  <a:lnTo>
                    <a:pt x="4050667" y="39442"/>
                  </a:lnTo>
                  <a:lnTo>
                    <a:pt x="4035657" y="73149"/>
                  </a:lnTo>
                  <a:lnTo>
                    <a:pt x="4027646" y="127096"/>
                  </a:lnTo>
                  <a:lnTo>
                    <a:pt x="4033695" y="166368"/>
                  </a:lnTo>
                  <a:lnTo>
                    <a:pt x="4043868" y="204024"/>
                  </a:lnTo>
                  <a:lnTo>
                    <a:pt x="4051604" y="232463"/>
                  </a:lnTo>
                  <a:lnTo>
                    <a:pt x="4058022" y="261664"/>
                  </a:lnTo>
                  <a:lnTo>
                    <a:pt x="4066992" y="289718"/>
                  </a:lnTo>
                  <a:lnTo>
                    <a:pt x="4073494" y="310077"/>
                  </a:lnTo>
                  <a:lnTo>
                    <a:pt x="4086935" y="331629"/>
                  </a:lnTo>
                  <a:lnTo>
                    <a:pt x="4091477" y="352291"/>
                  </a:lnTo>
                  <a:lnTo>
                    <a:pt x="4092330" y="393610"/>
                  </a:lnTo>
                  <a:lnTo>
                    <a:pt x="4097573" y="445142"/>
                  </a:lnTo>
                  <a:lnTo>
                    <a:pt x="4103678" y="467208"/>
                  </a:lnTo>
                  <a:lnTo>
                    <a:pt x="4098311" y="506685"/>
                  </a:lnTo>
                  <a:lnTo>
                    <a:pt x="4060192" y="552236"/>
                  </a:lnTo>
                  <a:lnTo>
                    <a:pt x="4027370" y="574923"/>
                  </a:lnTo>
                  <a:lnTo>
                    <a:pt x="4038302" y="643343"/>
                  </a:lnTo>
                  <a:lnTo>
                    <a:pt x="4106041" y="724759"/>
                  </a:lnTo>
                  <a:lnTo>
                    <a:pt x="4095555" y="792996"/>
                  </a:lnTo>
                  <a:lnTo>
                    <a:pt x="4089307" y="833586"/>
                  </a:lnTo>
                  <a:lnTo>
                    <a:pt x="4042674" y="833673"/>
                  </a:lnTo>
                  <a:lnTo>
                    <a:pt x="4028904" y="869168"/>
                  </a:lnTo>
                  <a:lnTo>
                    <a:pt x="4022483" y="996001"/>
                  </a:lnTo>
                  <a:lnTo>
                    <a:pt x="4027205" y="1084371"/>
                  </a:lnTo>
                  <a:lnTo>
                    <a:pt x="4089264" y="1098823"/>
                  </a:lnTo>
                  <a:lnTo>
                    <a:pt x="4098271" y="1126244"/>
                  </a:lnTo>
                  <a:lnTo>
                    <a:pt x="4082501" y="1181540"/>
                  </a:lnTo>
                  <a:lnTo>
                    <a:pt x="4034768" y="1173041"/>
                  </a:lnTo>
                  <a:lnTo>
                    <a:pt x="4013941" y="1232343"/>
                  </a:lnTo>
                  <a:lnTo>
                    <a:pt x="4029540" y="1287298"/>
                  </a:lnTo>
                  <a:lnTo>
                    <a:pt x="4092665" y="1315944"/>
                  </a:lnTo>
                  <a:lnTo>
                    <a:pt x="4086036" y="1383320"/>
                  </a:lnTo>
                  <a:lnTo>
                    <a:pt x="4081441" y="1429398"/>
                  </a:lnTo>
                  <a:lnTo>
                    <a:pt x="3961702" y="1506506"/>
                  </a:lnTo>
                  <a:lnTo>
                    <a:pt x="4013941" y="1556066"/>
                  </a:lnTo>
                  <a:lnTo>
                    <a:pt x="4074554" y="1573284"/>
                  </a:lnTo>
                  <a:lnTo>
                    <a:pt x="4084337" y="1477085"/>
                  </a:lnTo>
                  <a:lnTo>
                    <a:pt x="4126840" y="1459489"/>
                  </a:lnTo>
                  <a:lnTo>
                    <a:pt x="4179208" y="1437813"/>
                  </a:lnTo>
                  <a:lnTo>
                    <a:pt x="4234461" y="1475516"/>
                  </a:lnTo>
                  <a:lnTo>
                    <a:pt x="4281900" y="1489419"/>
                  </a:lnTo>
                  <a:lnTo>
                    <a:pt x="4373721" y="1516239"/>
                  </a:lnTo>
                  <a:lnTo>
                    <a:pt x="4424381" y="1490433"/>
                  </a:lnTo>
                  <a:lnTo>
                    <a:pt x="4500897" y="1566946"/>
                  </a:lnTo>
                  <a:lnTo>
                    <a:pt x="4518366" y="1584458"/>
                  </a:lnTo>
                  <a:lnTo>
                    <a:pt x="4533925" y="1606094"/>
                  </a:lnTo>
                  <a:lnTo>
                    <a:pt x="4534898" y="1632238"/>
                  </a:lnTo>
                  <a:lnTo>
                    <a:pt x="4522229" y="1655015"/>
                  </a:lnTo>
                  <a:lnTo>
                    <a:pt x="4433475" y="1673594"/>
                  </a:lnTo>
                  <a:lnTo>
                    <a:pt x="4438197" y="1632784"/>
                  </a:lnTo>
                  <a:lnTo>
                    <a:pt x="4355353" y="1688002"/>
                  </a:lnTo>
                  <a:lnTo>
                    <a:pt x="4329506" y="1707049"/>
                  </a:lnTo>
                  <a:lnTo>
                    <a:pt x="4307368" y="1719330"/>
                  </a:lnTo>
                  <a:lnTo>
                    <a:pt x="4274124" y="1696504"/>
                  </a:lnTo>
                  <a:lnTo>
                    <a:pt x="4239738" y="1716565"/>
                  </a:lnTo>
                  <a:lnTo>
                    <a:pt x="4193239" y="1763151"/>
                  </a:lnTo>
                  <a:lnTo>
                    <a:pt x="4293294" y="1916729"/>
                  </a:lnTo>
                  <a:lnTo>
                    <a:pt x="4237022" y="1979088"/>
                  </a:lnTo>
                  <a:lnTo>
                    <a:pt x="4214323" y="1990901"/>
                  </a:lnTo>
                  <a:lnTo>
                    <a:pt x="4098199" y="2023544"/>
                  </a:lnTo>
                  <a:lnTo>
                    <a:pt x="4092922" y="1875715"/>
                  </a:lnTo>
                  <a:lnTo>
                    <a:pt x="4004425" y="1875715"/>
                  </a:lnTo>
                  <a:lnTo>
                    <a:pt x="3976712" y="1875715"/>
                  </a:lnTo>
                  <a:lnTo>
                    <a:pt x="3822241" y="1938663"/>
                  </a:lnTo>
                  <a:lnTo>
                    <a:pt x="3804475" y="1958683"/>
                  </a:lnTo>
                  <a:lnTo>
                    <a:pt x="3770815" y="1996514"/>
                  </a:lnTo>
                  <a:lnTo>
                    <a:pt x="3810561" y="2051896"/>
                  </a:lnTo>
                  <a:lnTo>
                    <a:pt x="3724228" y="2081101"/>
                  </a:lnTo>
                  <a:lnTo>
                    <a:pt x="3579661" y="2130065"/>
                  </a:lnTo>
                  <a:lnTo>
                    <a:pt x="3560576" y="2021929"/>
                  </a:lnTo>
                  <a:lnTo>
                    <a:pt x="3505237" y="2029414"/>
                  </a:lnTo>
                  <a:lnTo>
                    <a:pt x="3465702" y="2042551"/>
                  </a:lnTo>
                  <a:lnTo>
                    <a:pt x="3476668" y="2080124"/>
                  </a:lnTo>
                  <a:lnTo>
                    <a:pt x="3448106" y="2094706"/>
                  </a:lnTo>
                  <a:lnTo>
                    <a:pt x="3426640" y="2095556"/>
                  </a:lnTo>
                  <a:lnTo>
                    <a:pt x="3386897" y="2087897"/>
                  </a:lnTo>
                  <a:lnTo>
                    <a:pt x="3291681" y="2117483"/>
                  </a:lnTo>
                  <a:lnTo>
                    <a:pt x="3252660" y="2150259"/>
                  </a:lnTo>
                  <a:lnTo>
                    <a:pt x="3184565" y="2252572"/>
                  </a:lnTo>
                  <a:lnTo>
                    <a:pt x="3146137" y="2291931"/>
                  </a:lnTo>
                  <a:lnTo>
                    <a:pt x="3082683" y="2356799"/>
                  </a:lnTo>
                  <a:lnTo>
                    <a:pt x="2728602" y="2577914"/>
                  </a:lnTo>
                  <a:lnTo>
                    <a:pt x="2648310" y="2584375"/>
                  </a:lnTo>
                  <a:lnTo>
                    <a:pt x="2605118" y="2577703"/>
                  </a:lnTo>
                  <a:lnTo>
                    <a:pt x="2582338" y="2555385"/>
                  </a:lnTo>
                  <a:lnTo>
                    <a:pt x="2576001" y="2535026"/>
                  </a:lnTo>
                  <a:lnTo>
                    <a:pt x="2536645" y="2491373"/>
                  </a:lnTo>
                  <a:lnTo>
                    <a:pt x="2482065" y="2492858"/>
                  </a:lnTo>
                  <a:lnTo>
                    <a:pt x="2457881" y="2456520"/>
                  </a:lnTo>
                  <a:lnTo>
                    <a:pt x="2439600" y="2429144"/>
                  </a:lnTo>
                  <a:lnTo>
                    <a:pt x="2453673" y="2375582"/>
                  </a:lnTo>
                  <a:lnTo>
                    <a:pt x="2417077" y="2364020"/>
                  </a:lnTo>
                  <a:lnTo>
                    <a:pt x="2397268" y="2372739"/>
                  </a:lnTo>
                  <a:lnTo>
                    <a:pt x="2388508" y="2408913"/>
                  </a:lnTo>
                  <a:lnTo>
                    <a:pt x="2351915" y="2522990"/>
                  </a:lnTo>
                  <a:lnTo>
                    <a:pt x="2519344" y="2534599"/>
                  </a:lnTo>
                  <a:lnTo>
                    <a:pt x="2467403" y="2604780"/>
                  </a:lnTo>
                  <a:lnTo>
                    <a:pt x="2428171" y="2629433"/>
                  </a:lnTo>
                  <a:lnTo>
                    <a:pt x="2376863" y="2624116"/>
                  </a:lnTo>
                  <a:lnTo>
                    <a:pt x="2336819" y="2645584"/>
                  </a:lnTo>
                  <a:lnTo>
                    <a:pt x="2269703" y="2681498"/>
                  </a:lnTo>
                  <a:lnTo>
                    <a:pt x="2208712" y="2730208"/>
                  </a:lnTo>
                  <a:lnTo>
                    <a:pt x="2140955" y="2765282"/>
                  </a:lnTo>
                  <a:lnTo>
                    <a:pt x="2063248" y="2805491"/>
                  </a:lnTo>
                  <a:lnTo>
                    <a:pt x="1978918" y="2832701"/>
                  </a:lnTo>
                  <a:lnTo>
                    <a:pt x="1901561" y="2872739"/>
                  </a:lnTo>
                  <a:lnTo>
                    <a:pt x="1818670" y="2915586"/>
                  </a:lnTo>
                  <a:lnTo>
                    <a:pt x="1734083" y="2962086"/>
                  </a:lnTo>
                  <a:lnTo>
                    <a:pt x="1648560" y="3000601"/>
                  </a:lnTo>
                  <a:lnTo>
                    <a:pt x="1622887" y="3012114"/>
                  </a:lnTo>
                  <a:lnTo>
                    <a:pt x="1597127" y="3019977"/>
                  </a:lnTo>
                  <a:lnTo>
                    <a:pt x="1572391" y="3033238"/>
                  </a:lnTo>
                  <a:lnTo>
                    <a:pt x="1486399" y="3079316"/>
                  </a:lnTo>
                  <a:lnTo>
                    <a:pt x="1426806" y="3156424"/>
                  </a:lnTo>
                  <a:lnTo>
                    <a:pt x="1354758" y="3218225"/>
                  </a:lnTo>
                  <a:lnTo>
                    <a:pt x="1315011" y="3252276"/>
                  </a:lnTo>
                  <a:lnTo>
                    <a:pt x="1265879" y="3280838"/>
                  </a:lnTo>
                  <a:lnTo>
                    <a:pt x="1230979" y="3318882"/>
                  </a:lnTo>
                  <a:lnTo>
                    <a:pt x="1216778" y="3334395"/>
                  </a:lnTo>
                  <a:lnTo>
                    <a:pt x="1195490" y="3355141"/>
                  </a:lnTo>
                  <a:lnTo>
                    <a:pt x="1187453" y="3374650"/>
                  </a:lnTo>
                  <a:lnTo>
                    <a:pt x="1160373" y="3440236"/>
                  </a:lnTo>
                  <a:lnTo>
                    <a:pt x="1293552" y="3462123"/>
                  </a:lnTo>
                  <a:lnTo>
                    <a:pt x="1209216" y="3550115"/>
                  </a:lnTo>
                  <a:lnTo>
                    <a:pt x="1153536" y="3608260"/>
                  </a:lnTo>
                  <a:lnTo>
                    <a:pt x="1003315" y="3486993"/>
                  </a:lnTo>
                  <a:lnTo>
                    <a:pt x="945341" y="3525633"/>
                  </a:lnTo>
                  <a:lnTo>
                    <a:pt x="891012" y="3561847"/>
                  </a:lnTo>
                  <a:lnTo>
                    <a:pt x="893945" y="3667047"/>
                  </a:lnTo>
                  <a:lnTo>
                    <a:pt x="798438" y="3720139"/>
                  </a:lnTo>
                  <a:lnTo>
                    <a:pt x="717888" y="3764858"/>
                  </a:lnTo>
                  <a:lnTo>
                    <a:pt x="629478" y="3746624"/>
                  </a:lnTo>
                  <a:lnTo>
                    <a:pt x="567203" y="3779992"/>
                  </a:lnTo>
                  <a:lnTo>
                    <a:pt x="517382" y="3806682"/>
                  </a:lnTo>
                  <a:lnTo>
                    <a:pt x="485254" y="3852934"/>
                  </a:lnTo>
                  <a:lnTo>
                    <a:pt x="439347" y="3884727"/>
                  </a:lnTo>
                  <a:lnTo>
                    <a:pt x="369084" y="3933397"/>
                  </a:lnTo>
                  <a:lnTo>
                    <a:pt x="285514" y="3969311"/>
                  </a:lnTo>
                  <a:lnTo>
                    <a:pt x="221714" y="4027546"/>
                  </a:lnTo>
                  <a:lnTo>
                    <a:pt x="155832" y="4087651"/>
                  </a:lnTo>
                  <a:lnTo>
                    <a:pt x="78637" y="4205092"/>
                  </a:lnTo>
                  <a:lnTo>
                    <a:pt x="39452" y="4285986"/>
                  </a:lnTo>
                  <a:lnTo>
                    <a:pt x="28141" y="4328703"/>
                  </a:lnTo>
                  <a:lnTo>
                    <a:pt x="16917" y="4363687"/>
                  </a:lnTo>
                  <a:lnTo>
                    <a:pt x="2037" y="4392928"/>
                  </a:lnTo>
                  <a:lnTo>
                    <a:pt x="0" y="4432678"/>
                  </a:lnTo>
                  <a:lnTo>
                    <a:pt x="51129" y="4485844"/>
                  </a:lnTo>
                  <a:lnTo>
                    <a:pt x="62567" y="4514499"/>
                  </a:lnTo>
                  <a:lnTo>
                    <a:pt x="86116" y="4573327"/>
                  </a:lnTo>
                  <a:lnTo>
                    <a:pt x="40934" y="4658162"/>
                  </a:lnTo>
                  <a:lnTo>
                    <a:pt x="100657" y="4704928"/>
                  </a:lnTo>
                  <a:lnTo>
                    <a:pt x="150468" y="4711892"/>
                  </a:lnTo>
                  <a:lnTo>
                    <a:pt x="198586" y="4718868"/>
                  </a:lnTo>
                  <a:lnTo>
                    <a:pt x="238035" y="4748454"/>
                  </a:lnTo>
                  <a:lnTo>
                    <a:pt x="280284" y="4780164"/>
                  </a:lnTo>
                  <a:lnTo>
                    <a:pt x="283006" y="4804392"/>
                  </a:lnTo>
                  <a:lnTo>
                    <a:pt x="341412" y="4817820"/>
                  </a:lnTo>
                  <a:lnTo>
                    <a:pt x="394032" y="4829981"/>
                  </a:lnTo>
                  <a:lnTo>
                    <a:pt x="437387" y="4795462"/>
                  </a:lnTo>
                  <a:lnTo>
                    <a:pt x="493753" y="4813743"/>
                  </a:lnTo>
                  <a:lnTo>
                    <a:pt x="531840" y="4826077"/>
                  </a:lnTo>
                  <a:lnTo>
                    <a:pt x="543526" y="4859440"/>
                  </a:lnTo>
                  <a:lnTo>
                    <a:pt x="594404" y="4857269"/>
                  </a:lnTo>
                  <a:lnTo>
                    <a:pt x="629047" y="4849198"/>
                  </a:lnTo>
                  <a:lnTo>
                    <a:pt x="661014" y="4819271"/>
                  </a:lnTo>
                  <a:lnTo>
                    <a:pt x="666883" y="4783441"/>
                  </a:lnTo>
                  <a:lnTo>
                    <a:pt x="685539" y="4760695"/>
                  </a:lnTo>
                  <a:lnTo>
                    <a:pt x="719503" y="4719464"/>
                  </a:lnTo>
                  <a:lnTo>
                    <a:pt x="757675" y="4701359"/>
                  </a:lnTo>
                  <a:lnTo>
                    <a:pt x="797080" y="4669566"/>
                  </a:lnTo>
                  <a:lnTo>
                    <a:pt x="816034" y="4654218"/>
                  </a:lnTo>
                  <a:lnTo>
                    <a:pt x="829422" y="4635562"/>
                  </a:lnTo>
                  <a:lnTo>
                    <a:pt x="851489" y="4623314"/>
                  </a:lnTo>
                  <a:lnTo>
                    <a:pt x="897223" y="4597939"/>
                  </a:lnTo>
                  <a:lnTo>
                    <a:pt x="996938" y="4626806"/>
                  </a:lnTo>
                  <a:lnTo>
                    <a:pt x="1048714" y="4628756"/>
                  </a:lnTo>
                  <a:lnTo>
                    <a:pt x="1099167" y="4630669"/>
                  </a:lnTo>
                  <a:lnTo>
                    <a:pt x="1166242" y="4604488"/>
                  </a:lnTo>
                  <a:lnTo>
                    <a:pt x="1224179" y="4597477"/>
                  </a:lnTo>
                  <a:lnTo>
                    <a:pt x="1253762" y="4593815"/>
                  </a:lnTo>
                  <a:lnTo>
                    <a:pt x="1295332" y="4597009"/>
                  </a:lnTo>
                  <a:lnTo>
                    <a:pt x="1324837" y="4601545"/>
                  </a:lnTo>
                  <a:lnTo>
                    <a:pt x="1348597" y="4605201"/>
                  </a:lnTo>
                  <a:lnTo>
                    <a:pt x="1588033" y="4680613"/>
                  </a:lnTo>
                  <a:lnTo>
                    <a:pt x="1642185" y="4719715"/>
                  </a:lnTo>
                  <a:lnTo>
                    <a:pt x="1677420" y="4755294"/>
                  </a:lnTo>
                  <a:lnTo>
                    <a:pt x="1715210" y="4789258"/>
                  </a:lnTo>
                  <a:lnTo>
                    <a:pt x="1753254" y="4823516"/>
                  </a:lnTo>
                  <a:lnTo>
                    <a:pt x="1803285" y="4850848"/>
                  </a:lnTo>
                  <a:lnTo>
                    <a:pt x="1847146" y="4876310"/>
                  </a:lnTo>
                  <a:lnTo>
                    <a:pt x="1879581" y="4895137"/>
                  </a:lnTo>
                  <a:lnTo>
                    <a:pt x="2076261" y="5072645"/>
                  </a:lnTo>
                  <a:lnTo>
                    <a:pt x="2101506" y="5104823"/>
                  </a:lnTo>
                  <a:lnTo>
                    <a:pt x="2144697" y="5159911"/>
                  </a:lnTo>
                  <a:lnTo>
                    <a:pt x="2190003" y="5222943"/>
                  </a:lnTo>
                  <a:lnTo>
                    <a:pt x="2241609" y="5269405"/>
                  </a:lnTo>
                  <a:lnTo>
                    <a:pt x="2264011" y="5289599"/>
                  </a:lnTo>
                  <a:lnTo>
                    <a:pt x="2283947" y="5324242"/>
                  </a:lnTo>
                  <a:lnTo>
                    <a:pt x="2302814" y="5348293"/>
                  </a:lnTo>
                  <a:lnTo>
                    <a:pt x="2340518" y="5396418"/>
                  </a:lnTo>
                  <a:lnTo>
                    <a:pt x="2384003" y="5440747"/>
                  </a:lnTo>
                  <a:lnTo>
                    <a:pt x="2429318" y="5481597"/>
                  </a:lnTo>
                  <a:lnTo>
                    <a:pt x="2459834" y="5509059"/>
                  </a:lnTo>
                  <a:lnTo>
                    <a:pt x="2525254" y="5495748"/>
                  </a:lnTo>
                  <a:lnTo>
                    <a:pt x="2565338" y="5508801"/>
                  </a:lnTo>
                  <a:lnTo>
                    <a:pt x="2678060" y="5545354"/>
                  </a:lnTo>
                  <a:lnTo>
                    <a:pt x="2674832" y="5667691"/>
                  </a:lnTo>
                  <a:lnTo>
                    <a:pt x="2787045" y="5676106"/>
                  </a:lnTo>
                  <a:lnTo>
                    <a:pt x="2844304" y="5680360"/>
                  </a:lnTo>
                  <a:lnTo>
                    <a:pt x="2863301" y="5633898"/>
                  </a:lnTo>
                  <a:lnTo>
                    <a:pt x="2891786" y="5597218"/>
                  </a:lnTo>
                  <a:lnTo>
                    <a:pt x="2912191" y="5571371"/>
                  </a:lnTo>
                  <a:lnTo>
                    <a:pt x="2952651" y="5555512"/>
                  </a:lnTo>
                  <a:lnTo>
                    <a:pt x="2977598" y="5578686"/>
                  </a:lnTo>
                  <a:lnTo>
                    <a:pt x="3008759" y="5571371"/>
                  </a:lnTo>
                  <a:lnTo>
                    <a:pt x="3037238" y="5564699"/>
                  </a:lnTo>
                  <a:lnTo>
                    <a:pt x="3050880" y="5547010"/>
                  </a:lnTo>
                  <a:lnTo>
                    <a:pt x="3072690" y="5531929"/>
                  </a:lnTo>
                  <a:lnTo>
                    <a:pt x="3119019" y="5499872"/>
                  </a:lnTo>
                  <a:lnTo>
                    <a:pt x="3189455" y="5497708"/>
                  </a:lnTo>
                  <a:lnTo>
                    <a:pt x="3239991" y="5523765"/>
                  </a:lnTo>
                  <a:lnTo>
                    <a:pt x="3260651" y="5534388"/>
                  </a:lnTo>
                  <a:lnTo>
                    <a:pt x="3276467" y="5550842"/>
                  </a:lnTo>
                  <a:lnTo>
                    <a:pt x="3295765" y="5563207"/>
                  </a:lnTo>
                  <a:lnTo>
                    <a:pt x="3322755" y="5576298"/>
                  </a:lnTo>
                  <a:lnTo>
                    <a:pt x="3458604" y="5710023"/>
                  </a:lnTo>
                  <a:lnTo>
                    <a:pt x="3488916" y="5737315"/>
                  </a:lnTo>
                  <a:lnTo>
                    <a:pt x="3515987" y="5761670"/>
                  </a:lnTo>
                  <a:lnTo>
                    <a:pt x="3560192" y="5767663"/>
                  </a:lnTo>
                  <a:lnTo>
                    <a:pt x="3592289" y="5786282"/>
                  </a:lnTo>
                  <a:lnTo>
                    <a:pt x="3613882" y="5798824"/>
                  </a:lnTo>
                  <a:lnTo>
                    <a:pt x="3625357" y="5817521"/>
                  </a:lnTo>
                  <a:lnTo>
                    <a:pt x="3643973" y="5832531"/>
                  </a:lnTo>
                  <a:lnTo>
                    <a:pt x="3710918" y="5886642"/>
                  </a:lnTo>
                  <a:lnTo>
                    <a:pt x="3801538" y="5979511"/>
                  </a:lnTo>
                  <a:lnTo>
                    <a:pt x="3824880" y="6065121"/>
                  </a:lnTo>
                  <a:lnTo>
                    <a:pt x="3832699" y="6093727"/>
                  </a:lnTo>
                  <a:lnTo>
                    <a:pt x="3853058" y="6211301"/>
                  </a:lnTo>
                  <a:lnTo>
                    <a:pt x="3857523" y="6244673"/>
                  </a:lnTo>
                  <a:lnTo>
                    <a:pt x="3864198" y="6294828"/>
                  </a:lnTo>
                  <a:lnTo>
                    <a:pt x="3841840" y="6432971"/>
                  </a:lnTo>
                  <a:lnTo>
                    <a:pt x="3886085" y="6460939"/>
                  </a:lnTo>
                  <a:lnTo>
                    <a:pt x="3905851" y="6501110"/>
                  </a:lnTo>
                  <a:lnTo>
                    <a:pt x="3920598" y="6526104"/>
                  </a:lnTo>
                  <a:lnTo>
                    <a:pt x="3933695" y="6558874"/>
                  </a:lnTo>
                  <a:lnTo>
                    <a:pt x="3962850" y="6631648"/>
                  </a:lnTo>
                  <a:lnTo>
                    <a:pt x="4010372" y="6893821"/>
                  </a:lnTo>
                  <a:lnTo>
                    <a:pt x="3998984" y="6966933"/>
                  </a:lnTo>
                  <a:lnTo>
                    <a:pt x="3991288" y="7016328"/>
                  </a:lnTo>
                  <a:lnTo>
                    <a:pt x="3964294" y="7063807"/>
                  </a:lnTo>
                  <a:lnTo>
                    <a:pt x="3956816" y="7112477"/>
                  </a:lnTo>
                  <a:lnTo>
                    <a:pt x="3950267" y="7154980"/>
                  </a:lnTo>
                  <a:lnTo>
                    <a:pt x="3959368" y="7219847"/>
                  </a:lnTo>
                  <a:lnTo>
                    <a:pt x="3926889" y="7255296"/>
                  </a:lnTo>
                  <a:lnTo>
                    <a:pt x="3900503" y="7284088"/>
                  </a:lnTo>
                  <a:lnTo>
                    <a:pt x="3868722" y="7273754"/>
                  </a:lnTo>
                  <a:lnTo>
                    <a:pt x="3833037" y="7278424"/>
                  </a:lnTo>
                  <a:lnTo>
                    <a:pt x="3837666" y="7310819"/>
                  </a:lnTo>
                  <a:lnTo>
                    <a:pt x="3842196" y="7345620"/>
                  </a:lnTo>
                  <a:lnTo>
                    <a:pt x="3846636" y="7372269"/>
                  </a:lnTo>
                  <a:lnTo>
                    <a:pt x="3862964" y="7404915"/>
                  </a:lnTo>
                  <a:lnTo>
                    <a:pt x="3882005" y="7429401"/>
                  </a:lnTo>
                  <a:lnTo>
                    <a:pt x="3901042" y="7453889"/>
                  </a:lnTo>
                  <a:lnTo>
                    <a:pt x="3922805" y="7464769"/>
                  </a:lnTo>
                  <a:lnTo>
                    <a:pt x="4271023" y="7581742"/>
                  </a:lnTo>
                  <a:lnTo>
                    <a:pt x="4276458" y="7693282"/>
                  </a:lnTo>
                  <a:lnTo>
                    <a:pt x="3988098" y="7772170"/>
                  </a:lnTo>
                  <a:lnTo>
                    <a:pt x="3993536" y="7951716"/>
                  </a:lnTo>
                  <a:lnTo>
                    <a:pt x="4224775" y="7968041"/>
                  </a:lnTo>
                  <a:lnTo>
                    <a:pt x="4244156" y="7986399"/>
                  </a:lnTo>
                  <a:lnTo>
                    <a:pt x="4265575" y="7938120"/>
                  </a:lnTo>
                  <a:lnTo>
                    <a:pt x="4328148" y="7913631"/>
                  </a:lnTo>
                  <a:lnTo>
                    <a:pt x="4319991" y="7951716"/>
                  </a:lnTo>
                  <a:lnTo>
                    <a:pt x="4366236" y="7992526"/>
                  </a:lnTo>
                  <a:lnTo>
                    <a:pt x="4401598" y="7935394"/>
                  </a:lnTo>
                  <a:lnTo>
                    <a:pt x="4428799" y="7954441"/>
                  </a:lnTo>
                  <a:lnTo>
                    <a:pt x="4464168" y="8014289"/>
                  </a:lnTo>
                  <a:lnTo>
                    <a:pt x="4485931" y="8025172"/>
                  </a:lnTo>
                  <a:lnTo>
                    <a:pt x="4507697" y="8036046"/>
                  </a:lnTo>
                  <a:lnTo>
                    <a:pt x="4578424" y="8063256"/>
                  </a:lnTo>
                  <a:lnTo>
                    <a:pt x="4583866" y="8128545"/>
                  </a:lnTo>
                  <a:lnTo>
                    <a:pt x="4504978" y="8193834"/>
                  </a:lnTo>
                  <a:lnTo>
                    <a:pt x="4507697" y="8248244"/>
                  </a:lnTo>
                  <a:lnTo>
                    <a:pt x="4409762" y="8392421"/>
                  </a:lnTo>
                  <a:lnTo>
                    <a:pt x="4385273" y="8376099"/>
                  </a:lnTo>
                  <a:lnTo>
                    <a:pt x="4339031" y="8452271"/>
                  </a:lnTo>
                  <a:lnTo>
                    <a:pt x="4363510" y="8465877"/>
                  </a:lnTo>
                  <a:lnTo>
                    <a:pt x="4333583" y="8506677"/>
                  </a:lnTo>
                  <a:lnTo>
                    <a:pt x="4390715" y="8634539"/>
                  </a:lnTo>
                  <a:lnTo>
                    <a:pt x="4434241" y="8645422"/>
                  </a:lnTo>
                  <a:lnTo>
                    <a:pt x="4469603" y="8615496"/>
                  </a:lnTo>
                  <a:lnTo>
                    <a:pt x="4499530" y="8637259"/>
                  </a:lnTo>
                  <a:lnTo>
                    <a:pt x="4553939" y="8591013"/>
                  </a:lnTo>
                  <a:lnTo>
                    <a:pt x="4592024" y="8639981"/>
                  </a:lnTo>
                  <a:lnTo>
                    <a:pt x="4592024" y="8675343"/>
                  </a:lnTo>
                  <a:lnTo>
                    <a:pt x="4673637" y="8702548"/>
                  </a:lnTo>
                  <a:lnTo>
                    <a:pt x="4676353" y="8735191"/>
                  </a:lnTo>
                  <a:lnTo>
                    <a:pt x="4660032" y="8762395"/>
                  </a:lnTo>
                  <a:lnTo>
                    <a:pt x="4662754" y="8822246"/>
                  </a:lnTo>
                  <a:lnTo>
                    <a:pt x="4684517" y="8854889"/>
                  </a:lnTo>
                  <a:lnTo>
                    <a:pt x="4728043" y="8925619"/>
                  </a:lnTo>
                  <a:lnTo>
                    <a:pt x="4722605" y="9031718"/>
                  </a:lnTo>
                  <a:lnTo>
                    <a:pt x="4787894" y="9086127"/>
                  </a:lnTo>
                  <a:lnTo>
                    <a:pt x="4812373" y="9077960"/>
                  </a:lnTo>
                  <a:lnTo>
                    <a:pt x="4845019" y="9105165"/>
                  </a:lnTo>
                  <a:lnTo>
                    <a:pt x="4806931" y="9145975"/>
                  </a:lnTo>
                  <a:lnTo>
                    <a:pt x="4847741" y="9181337"/>
                  </a:lnTo>
                  <a:lnTo>
                    <a:pt x="4858624" y="9262948"/>
                  </a:lnTo>
                  <a:lnTo>
                    <a:pt x="4921197" y="9227588"/>
                  </a:lnTo>
                  <a:lnTo>
                    <a:pt x="4959276" y="9252068"/>
                  </a:lnTo>
                  <a:lnTo>
                    <a:pt x="4923913" y="9309193"/>
                  </a:lnTo>
                  <a:lnTo>
                    <a:pt x="5024565" y="9537712"/>
                  </a:lnTo>
                  <a:lnTo>
                    <a:pt x="4994644" y="9570358"/>
                  </a:lnTo>
                  <a:lnTo>
                    <a:pt x="4717163" y="9483303"/>
                  </a:lnTo>
                  <a:lnTo>
                    <a:pt x="4594749" y="9551311"/>
                  </a:lnTo>
                  <a:lnTo>
                    <a:pt x="4543056" y="9510508"/>
                  </a:lnTo>
                  <a:lnTo>
                    <a:pt x="4491372" y="9532264"/>
                  </a:lnTo>
                  <a:lnTo>
                    <a:pt x="4499530" y="9611159"/>
                  </a:lnTo>
                  <a:lnTo>
                    <a:pt x="4453282" y="9611159"/>
                  </a:lnTo>
                  <a:lnTo>
                    <a:pt x="4420636" y="9632922"/>
                  </a:lnTo>
                  <a:lnTo>
                    <a:pt x="4419284" y="9658762"/>
                  </a:lnTo>
                  <a:lnTo>
                    <a:pt x="4417919" y="9685973"/>
                  </a:lnTo>
                  <a:lnTo>
                    <a:pt x="4444761" y="9686429"/>
                  </a:lnTo>
                  <a:lnTo>
                    <a:pt x="4488017" y="9689672"/>
                  </a:lnTo>
                  <a:lnTo>
                    <a:pt x="4519771" y="9703646"/>
                  </a:lnTo>
                  <a:lnTo>
                    <a:pt x="4549862" y="9710446"/>
                  </a:lnTo>
                  <a:lnTo>
                    <a:pt x="4573749" y="9716290"/>
                  </a:lnTo>
                  <a:lnTo>
                    <a:pt x="4650944" y="9713103"/>
                  </a:lnTo>
                  <a:lnTo>
                    <a:pt x="4696039" y="9639321"/>
                  </a:lnTo>
                  <a:lnTo>
                    <a:pt x="4770211" y="9647873"/>
                  </a:lnTo>
                  <a:lnTo>
                    <a:pt x="4877584" y="9660244"/>
                  </a:lnTo>
                  <a:lnTo>
                    <a:pt x="4969780" y="9749891"/>
                  </a:lnTo>
                  <a:lnTo>
                    <a:pt x="5081696" y="9749891"/>
                  </a:lnTo>
                  <a:lnTo>
                    <a:pt x="5117092" y="9745972"/>
                  </a:lnTo>
                  <a:lnTo>
                    <a:pt x="5146768" y="9743408"/>
                  </a:lnTo>
                  <a:lnTo>
                    <a:pt x="5170115" y="9740360"/>
                  </a:lnTo>
                  <a:lnTo>
                    <a:pt x="5211483" y="9727983"/>
                  </a:lnTo>
                  <a:lnTo>
                    <a:pt x="5248284" y="9696366"/>
                  </a:lnTo>
                  <a:lnTo>
                    <a:pt x="5288446" y="9679155"/>
                  </a:lnTo>
                  <a:lnTo>
                    <a:pt x="5374695" y="9642214"/>
                  </a:lnTo>
                  <a:lnTo>
                    <a:pt x="5368265" y="9692388"/>
                  </a:lnTo>
                  <a:lnTo>
                    <a:pt x="5439429" y="9596183"/>
                  </a:lnTo>
                  <a:lnTo>
                    <a:pt x="5482661" y="9583086"/>
                  </a:lnTo>
                  <a:lnTo>
                    <a:pt x="5512581" y="9568721"/>
                  </a:lnTo>
                  <a:lnTo>
                    <a:pt x="5541448" y="9552663"/>
                  </a:lnTo>
                  <a:lnTo>
                    <a:pt x="5568519" y="9544583"/>
                  </a:lnTo>
                  <a:lnTo>
                    <a:pt x="5598216" y="9544887"/>
                  </a:lnTo>
                  <a:lnTo>
                    <a:pt x="5624416" y="9536342"/>
                  </a:lnTo>
                  <a:lnTo>
                    <a:pt x="5662324" y="9523837"/>
                  </a:lnTo>
                  <a:lnTo>
                    <a:pt x="5782841" y="9464669"/>
                  </a:lnTo>
                  <a:lnTo>
                    <a:pt x="5806687" y="9435675"/>
                  </a:lnTo>
                  <a:lnTo>
                    <a:pt x="5840961" y="9394068"/>
                  </a:lnTo>
                  <a:lnTo>
                    <a:pt x="5863468" y="9331793"/>
                  </a:lnTo>
                  <a:lnTo>
                    <a:pt x="5886934" y="9283340"/>
                  </a:lnTo>
                  <a:lnTo>
                    <a:pt x="5905506" y="9245122"/>
                  </a:lnTo>
                  <a:lnTo>
                    <a:pt x="5930460" y="9199723"/>
                  </a:lnTo>
                  <a:lnTo>
                    <a:pt x="5964470" y="9173161"/>
                  </a:lnTo>
                  <a:lnTo>
                    <a:pt x="5995665" y="9166445"/>
                  </a:lnTo>
                  <a:lnTo>
                    <a:pt x="6022398" y="9157431"/>
                  </a:lnTo>
                  <a:lnTo>
                    <a:pt x="6042000" y="9147320"/>
                  </a:lnTo>
                  <a:lnTo>
                    <a:pt x="6083191" y="9137963"/>
                  </a:lnTo>
                  <a:lnTo>
                    <a:pt x="6124885" y="9154542"/>
                  </a:lnTo>
                  <a:lnTo>
                    <a:pt x="6167137" y="9137789"/>
                  </a:lnTo>
                  <a:lnTo>
                    <a:pt x="6179722" y="9114926"/>
                  </a:lnTo>
                  <a:lnTo>
                    <a:pt x="6192251" y="9095668"/>
                  </a:lnTo>
                  <a:lnTo>
                    <a:pt x="6202499" y="9071142"/>
                  </a:lnTo>
                  <a:lnTo>
                    <a:pt x="6216700" y="9037054"/>
                  </a:lnTo>
                  <a:lnTo>
                    <a:pt x="6248434" y="8895851"/>
                  </a:lnTo>
                  <a:lnTo>
                    <a:pt x="6277313" y="8883439"/>
                  </a:lnTo>
                  <a:lnTo>
                    <a:pt x="6336515" y="8858061"/>
                  </a:lnTo>
                  <a:lnTo>
                    <a:pt x="6446596" y="8957571"/>
                  </a:lnTo>
                  <a:lnTo>
                    <a:pt x="6500385" y="8872556"/>
                  </a:lnTo>
                  <a:lnTo>
                    <a:pt x="6516067" y="8847779"/>
                  </a:lnTo>
                  <a:lnTo>
                    <a:pt x="6527040" y="8750901"/>
                  </a:lnTo>
                  <a:lnTo>
                    <a:pt x="6542553" y="8707974"/>
                  </a:lnTo>
                  <a:lnTo>
                    <a:pt x="6557469" y="8666736"/>
                  </a:lnTo>
                  <a:lnTo>
                    <a:pt x="6587647" y="8633287"/>
                  </a:lnTo>
                  <a:lnTo>
                    <a:pt x="6606484" y="8595075"/>
                  </a:lnTo>
                  <a:lnTo>
                    <a:pt x="6635948" y="8535141"/>
                  </a:lnTo>
                  <a:lnTo>
                    <a:pt x="6650651" y="8460885"/>
                  </a:lnTo>
                  <a:lnTo>
                    <a:pt x="6675850" y="8397850"/>
                  </a:lnTo>
                  <a:lnTo>
                    <a:pt x="6699954" y="8337612"/>
                  </a:lnTo>
                  <a:lnTo>
                    <a:pt x="6756394" y="8294179"/>
                  </a:lnTo>
                  <a:lnTo>
                    <a:pt x="6783307" y="8235984"/>
                  </a:lnTo>
                  <a:lnTo>
                    <a:pt x="6820033" y="8156879"/>
                  </a:lnTo>
                  <a:lnTo>
                    <a:pt x="6881068" y="7950807"/>
                  </a:lnTo>
                  <a:lnTo>
                    <a:pt x="6985974" y="7935382"/>
                  </a:lnTo>
                  <a:lnTo>
                    <a:pt x="7014074" y="7926880"/>
                  </a:lnTo>
                  <a:lnTo>
                    <a:pt x="7074219" y="7883519"/>
                  </a:lnTo>
                  <a:lnTo>
                    <a:pt x="7160930" y="7807139"/>
                  </a:lnTo>
                  <a:lnTo>
                    <a:pt x="7215860" y="7791199"/>
                  </a:lnTo>
                  <a:lnTo>
                    <a:pt x="7245477" y="7790005"/>
                  </a:lnTo>
                  <a:lnTo>
                    <a:pt x="7325103" y="7773522"/>
                  </a:lnTo>
                  <a:lnTo>
                    <a:pt x="7387704" y="7747679"/>
                  </a:lnTo>
                  <a:lnTo>
                    <a:pt x="7451167" y="7728632"/>
                  </a:lnTo>
                  <a:lnTo>
                    <a:pt x="7498392" y="7714431"/>
                  </a:lnTo>
                  <a:lnTo>
                    <a:pt x="7558280" y="7717749"/>
                  </a:lnTo>
                  <a:lnTo>
                    <a:pt x="7602150" y="7697344"/>
                  </a:lnTo>
                  <a:lnTo>
                    <a:pt x="7663588" y="7668744"/>
                  </a:lnTo>
                  <a:lnTo>
                    <a:pt x="7693878" y="7626623"/>
                  </a:lnTo>
                  <a:lnTo>
                    <a:pt x="7734086" y="7574930"/>
                  </a:lnTo>
                  <a:lnTo>
                    <a:pt x="7747865" y="7557250"/>
                  </a:lnTo>
                  <a:lnTo>
                    <a:pt x="7769166" y="7547477"/>
                  </a:lnTo>
                  <a:lnTo>
                    <a:pt x="7787137" y="7535487"/>
                  </a:lnTo>
                  <a:lnTo>
                    <a:pt x="7840793" y="7499657"/>
                  </a:lnTo>
                  <a:lnTo>
                    <a:pt x="7886167" y="7472065"/>
                  </a:lnTo>
                  <a:lnTo>
                    <a:pt x="7953077" y="7466115"/>
                  </a:lnTo>
                  <a:lnTo>
                    <a:pt x="8014119" y="7460760"/>
                  </a:lnTo>
                  <a:lnTo>
                    <a:pt x="8085485" y="7451027"/>
                  </a:lnTo>
                  <a:lnTo>
                    <a:pt x="8144870" y="7468831"/>
                  </a:lnTo>
                  <a:lnTo>
                    <a:pt x="8180825" y="7479627"/>
                  </a:lnTo>
                  <a:lnTo>
                    <a:pt x="8209651" y="7514481"/>
                  </a:lnTo>
                  <a:lnTo>
                    <a:pt x="8250963" y="7497393"/>
                  </a:lnTo>
                  <a:lnTo>
                    <a:pt x="8272983" y="7488299"/>
                  </a:lnTo>
                  <a:lnTo>
                    <a:pt x="8282973" y="7461861"/>
                  </a:lnTo>
                  <a:lnTo>
                    <a:pt x="8297211" y="7444345"/>
                  </a:lnTo>
                  <a:lnTo>
                    <a:pt x="8379802" y="7406056"/>
                  </a:lnTo>
                  <a:lnTo>
                    <a:pt x="8389903" y="7509557"/>
                  </a:lnTo>
                  <a:lnTo>
                    <a:pt x="8464513" y="7487878"/>
                  </a:lnTo>
                  <a:lnTo>
                    <a:pt x="8522838" y="7470955"/>
                  </a:lnTo>
                  <a:lnTo>
                    <a:pt x="8520153" y="7387775"/>
                  </a:lnTo>
                  <a:lnTo>
                    <a:pt x="8571970" y="7360016"/>
                  </a:lnTo>
                  <a:lnTo>
                    <a:pt x="8592716" y="7348878"/>
                  </a:lnTo>
                  <a:lnTo>
                    <a:pt x="8616503" y="7354193"/>
                  </a:lnTo>
                  <a:lnTo>
                    <a:pt x="8638617" y="7347774"/>
                  </a:lnTo>
                  <a:lnTo>
                    <a:pt x="8693751" y="7331751"/>
                  </a:lnTo>
                  <a:lnTo>
                    <a:pt x="8727194" y="7326139"/>
                  </a:lnTo>
                  <a:lnTo>
                    <a:pt x="8785519" y="7339617"/>
                  </a:lnTo>
                  <a:lnTo>
                    <a:pt x="8822826" y="7355855"/>
                  </a:lnTo>
                  <a:lnTo>
                    <a:pt x="8848216" y="7379701"/>
                  </a:lnTo>
                  <a:lnTo>
                    <a:pt x="8937650" y="7500500"/>
                  </a:lnTo>
                  <a:lnTo>
                    <a:pt x="8955549" y="7524604"/>
                  </a:lnTo>
                  <a:lnTo>
                    <a:pt x="8970811" y="7555033"/>
                  </a:lnTo>
                  <a:lnTo>
                    <a:pt x="9008340" y="7608342"/>
                  </a:lnTo>
                  <a:lnTo>
                    <a:pt x="9072187" y="7616031"/>
                  </a:lnTo>
                  <a:lnTo>
                    <a:pt x="9113332" y="7593970"/>
                  </a:lnTo>
                  <a:lnTo>
                    <a:pt x="9225372" y="7533949"/>
                  </a:lnTo>
                  <a:lnTo>
                    <a:pt x="9232990" y="7343524"/>
                  </a:lnTo>
                  <a:lnTo>
                    <a:pt x="9262957" y="7234879"/>
                  </a:lnTo>
                  <a:lnTo>
                    <a:pt x="9274262" y="7193905"/>
                  </a:lnTo>
                  <a:lnTo>
                    <a:pt x="9289805" y="7159854"/>
                  </a:lnTo>
                  <a:lnTo>
                    <a:pt x="9307835" y="7121981"/>
                  </a:lnTo>
                  <a:lnTo>
                    <a:pt x="9318209" y="7100137"/>
                  </a:lnTo>
                  <a:lnTo>
                    <a:pt x="9338909" y="7063534"/>
                  </a:lnTo>
                  <a:lnTo>
                    <a:pt x="9358167" y="7048531"/>
                  </a:lnTo>
                  <a:lnTo>
                    <a:pt x="9475946" y="6932786"/>
                  </a:lnTo>
                  <a:lnTo>
                    <a:pt x="9575403" y="6973422"/>
                  </a:lnTo>
                  <a:lnTo>
                    <a:pt x="9623400" y="6930194"/>
                  </a:lnTo>
                  <a:lnTo>
                    <a:pt x="9664970" y="6892748"/>
                  </a:lnTo>
                  <a:lnTo>
                    <a:pt x="9650527" y="6743340"/>
                  </a:lnTo>
                  <a:lnTo>
                    <a:pt x="9730860" y="6700323"/>
                  </a:lnTo>
                  <a:lnTo>
                    <a:pt x="9786624" y="6670439"/>
                  </a:lnTo>
                  <a:lnTo>
                    <a:pt x="9846611" y="6728243"/>
                  </a:lnTo>
                  <a:lnTo>
                    <a:pt x="9881849" y="6718002"/>
                  </a:lnTo>
                  <a:lnTo>
                    <a:pt x="9938578" y="6683446"/>
                  </a:lnTo>
                  <a:lnTo>
                    <a:pt x="9993374" y="6686420"/>
                  </a:lnTo>
                  <a:lnTo>
                    <a:pt x="10043833" y="6755361"/>
                  </a:lnTo>
                  <a:lnTo>
                    <a:pt x="10079078" y="6787375"/>
                  </a:lnTo>
                  <a:lnTo>
                    <a:pt x="10102193" y="6792816"/>
                  </a:lnTo>
                  <a:lnTo>
                    <a:pt x="10118802" y="6776702"/>
                  </a:lnTo>
                  <a:lnTo>
                    <a:pt x="10132454" y="6687185"/>
                  </a:lnTo>
                  <a:lnTo>
                    <a:pt x="10035542" y="6655389"/>
                  </a:lnTo>
                  <a:lnTo>
                    <a:pt x="10098115" y="6561578"/>
                  </a:lnTo>
                  <a:lnTo>
                    <a:pt x="10161749" y="6466117"/>
                  </a:lnTo>
                  <a:lnTo>
                    <a:pt x="10321906" y="6564046"/>
                  </a:lnTo>
                  <a:lnTo>
                    <a:pt x="10351117" y="6474525"/>
                  </a:lnTo>
                  <a:lnTo>
                    <a:pt x="10310874" y="6418079"/>
                  </a:lnTo>
                  <a:lnTo>
                    <a:pt x="10234064" y="6420631"/>
                  </a:lnTo>
                  <a:lnTo>
                    <a:pt x="10213730" y="6367075"/>
                  </a:lnTo>
                  <a:lnTo>
                    <a:pt x="10205058" y="6344329"/>
                  </a:lnTo>
                  <a:lnTo>
                    <a:pt x="10214390" y="6298679"/>
                  </a:lnTo>
                  <a:lnTo>
                    <a:pt x="10220530" y="6275939"/>
                  </a:lnTo>
                  <a:lnTo>
                    <a:pt x="10258530" y="6133371"/>
                  </a:lnTo>
                  <a:lnTo>
                    <a:pt x="10352422" y="6080711"/>
                  </a:lnTo>
                  <a:lnTo>
                    <a:pt x="10465358" y="6002542"/>
                  </a:lnTo>
                  <a:lnTo>
                    <a:pt x="10487124" y="5987445"/>
                  </a:lnTo>
                  <a:lnTo>
                    <a:pt x="10513864" y="5976695"/>
                  </a:lnTo>
                  <a:lnTo>
                    <a:pt x="10534737" y="5960374"/>
                  </a:lnTo>
                  <a:lnTo>
                    <a:pt x="10563526" y="5937892"/>
                  </a:lnTo>
                  <a:lnTo>
                    <a:pt x="10619364" y="5881861"/>
                  </a:lnTo>
                  <a:lnTo>
                    <a:pt x="10650355" y="5870596"/>
                  </a:lnTo>
                  <a:lnTo>
                    <a:pt x="10701179" y="5852191"/>
                  </a:lnTo>
                  <a:lnTo>
                    <a:pt x="10851775" y="5850877"/>
                  </a:lnTo>
                  <a:lnTo>
                    <a:pt x="10907421" y="5861081"/>
                  </a:lnTo>
                  <a:lnTo>
                    <a:pt x="11002764" y="5878503"/>
                  </a:lnTo>
                  <a:lnTo>
                    <a:pt x="11120465" y="5907028"/>
                  </a:lnTo>
                  <a:lnTo>
                    <a:pt x="11202591" y="5960374"/>
                  </a:lnTo>
                  <a:lnTo>
                    <a:pt x="11227795" y="5976782"/>
                  </a:lnTo>
                  <a:lnTo>
                    <a:pt x="11252225" y="5996462"/>
                  </a:lnTo>
                  <a:lnTo>
                    <a:pt x="11277395" y="6012064"/>
                  </a:lnTo>
                  <a:lnTo>
                    <a:pt x="11299800" y="6025998"/>
                  </a:lnTo>
                  <a:lnTo>
                    <a:pt x="11324437" y="6033523"/>
                  </a:lnTo>
                  <a:lnTo>
                    <a:pt x="11348126" y="6044710"/>
                  </a:lnTo>
                  <a:lnTo>
                    <a:pt x="11369725" y="6054905"/>
                  </a:lnTo>
                  <a:lnTo>
                    <a:pt x="11391019" y="6070975"/>
                  </a:lnTo>
                  <a:lnTo>
                    <a:pt x="11412063" y="6082788"/>
                  </a:lnTo>
                  <a:lnTo>
                    <a:pt x="11444920" y="6101280"/>
                  </a:lnTo>
                  <a:lnTo>
                    <a:pt x="11475740" y="6137538"/>
                  </a:lnTo>
                  <a:lnTo>
                    <a:pt x="11507276" y="6160324"/>
                  </a:lnTo>
                  <a:lnTo>
                    <a:pt x="11535962" y="6181064"/>
                  </a:lnTo>
                  <a:lnTo>
                    <a:pt x="11572987" y="6191182"/>
                  </a:lnTo>
                  <a:lnTo>
                    <a:pt x="11594328" y="6221530"/>
                  </a:lnTo>
                  <a:lnTo>
                    <a:pt x="11607378" y="6240062"/>
                  </a:lnTo>
                  <a:lnTo>
                    <a:pt x="11615313" y="6261695"/>
                  </a:lnTo>
                  <a:lnTo>
                    <a:pt x="11625613" y="6281381"/>
                  </a:lnTo>
                  <a:lnTo>
                    <a:pt x="11644402" y="6308288"/>
                  </a:lnTo>
                  <a:lnTo>
                    <a:pt x="11686518" y="6368089"/>
                  </a:lnTo>
                  <a:lnTo>
                    <a:pt x="11705208" y="6420671"/>
                  </a:lnTo>
                  <a:lnTo>
                    <a:pt x="11723542" y="6473167"/>
                  </a:lnTo>
                  <a:lnTo>
                    <a:pt x="11730645" y="6493486"/>
                  </a:lnTo>
                  <a:lnTo>
                    <a:pt x="11736849" y="6519034"/>
                  </a:lnTo>
                  <a:lnTo>
                    <a:pt x="11754836" y="6533015"/>
                  </a:lnTo>
                  <a:lnTo>
                    <a:pt x="11772767" y="6546955"/>
                  </a:lnTo>
                  <a:lnTo>
                    <a:pt x="11809989" y="6557972"/>
                  </a:lnTo>
                  <a:lnTo>
                    <a:pt x="11832357" y="6558861"/>
                  </a:lnTo>
                  <a:lnTo>
                    <a:pt x="12018795" y="6518355"/>
                  </a:lnTo>
                  <a:lnTo>
                    <a:pt x="12049996" y="6501690"/>
                  </a:lnTo>
                  <a:lnTo>
                    <a:pt x="12092871" y="6468662"/>
                  </a:lnTo>
                  <a:lnTo>
                    <a:pt x="12115279" y="6467726"/>
                  </a:lnTo>
                  <a:lnTo>
                    <a:pt x="12178866" y="6465087"/>
                  </a:lnTo>
                  <a:lnTo>
                    <a:pt x="12234258" y="6541049"/>
                  </a:lnTo>
                  <a:lnTo>
                    <a:pt x="12302998" y="6512610"/>
                  </a:lnTo>
                  <a:lnTo>
                    <a:pt x="12384574" y="6478863"/>
                  </a:lnTo>
                  <a:lnTo>
                    <a:pt x="12357736" y="6307943"/>
                  </a:lnTo>
                  <a:lnTo>
                    <a:pt x="12467580" y="6281381"/>
                  </a:lnTo>
                  <a:lnTo>
                    <a:pt x="12498087" y="6273980"/>
                  </a:lnTo>
                  <a:lnTo>
                    <a:pt x="12669006" y="6281579"/>
                  </a:lnTo>
                  <a:lnTo>
                    <a:pt x="12690652" y="6299060"/>
                  </a:lnTo>
                  <a:lnTo>
                    <a:pt x="12729753" y="6330683"/>
                  </a:lnTo>
                  <a:lnTo>
                    <a:pt x="12751774" y="6367841"/>
                  </a:lnTo>
                  <a:lnTo>
                    <a:pt x="12803544" y="6383396"/>
                  </a:lnTo>
                  <a:lnTo>
                    <a:pt x="12878581" y="6405878"/>
                  </a:lnTo>
                  <a:lnTo>
                    <a:pt x="12960474" y="6411156"/>
                  </a:lnTo>
                  <a:lnTo>
                    <a:pt x="13036138" y="6429641"/>
                  </a:lnTo>
                  <a:lnTo>
                    <a:pt x="13067636" y="6437337"/>
                  </a:lnTo>
                  <a:lnTo>
                    <a:pt x="13100993" y="6461050"/>
                  </a:lnTo>
                  <a:lnTo>
                    <a:pt x="13134073" y="6458204"/>
                  </a:lnTo>
                  <a:lnTo>
                    <a:pt x="13222306" y="6450639"/>
                  </a:lnTo>
                  <a:lnTo>
                    <a:pt x="13203399" y="6308077"/>
                  </a:lnTo>
                  <a:lnTo>
                    <a:pt x="13283698" y="6275939"/>
                  </a:lnTo>
                  <a:lnTo>
                    <a:pt x="13345077" y="6251327"/>
                  </a:lnTo>
                  <a:lnTo>
                    <a:pt x="13442621" y="6272076"/>
                  </a:lnTo>
                  <a:lnTo>
                    <a:pt x="13506769" y="6277297"/>
                  </a:lnTo>
                  <a:lnTo>
                    <a:pt x="13531462" y="6279297"/>
                  </a:lnTo>
                  <a:lnTo>
                    <a:pt x="13555256" y="6272153"/>
                  </a:lnTo>
                  <a:lnTo>
                    <a:pt x="13578852" y="6273223"/>
                  </a:lnTo>
                  <a:lnTo>
                    <a:pt x="13604428" y="6277812"/>
                  </a:lnTo>
                  <a:lnTo>
                    <a:pt x="13649582" y="6275939"/>
                  </a:lnTo>
                  <a:lnTo>
                    <a:pt x="13756019" y="6190667"/>
                  </a:lnTo>
                  <a:lnTo>
                    <a:pt x="13797849" y="6171198"/>
                  </a:lnTo>
                  <a:lnTo>
                    <a:pt x="13835552" y="6153649"/>
                  </a:lnTo>
                  <a:lnTo>
                    <a:pt x="13883794" y="6145736"/>
                  </a:lnTo>
                  <a:lnTo>
                    <a:pt x="13914831" y="6115431"/>
                  </a:lnTo>
                  <a:lnTo>
                    <a:pt x="13931844" y="6098775"/>
                  </a:lnTo>
                  <a:lnTo>
                    <a:pt x="13939602" y="6064389"/>
                  </a:lnTo>
                  <a:lnTo>
                    <a:pt x="13932505" y="6041984"/>
                  </a:lnTo>
                  <a:lnTo>
                    <a:pt x="13923646" y="6013977"/>
                  </a:lnTo>
                  <a:lnTo>
                    <a:pt x="13881639" y="5975204"/>
                  </a:lnTo>
                  <a:lnTo>
                    <a:pt x="13864499" y="5950849"/>
                  </a:lnTo>
                  <a:lnTo>
                    <a:pt x="13836529" y="5911062"/>
                  </a:lnTo>
                  <a:lnTo>
                    <a:pt x="13763002" y="5772069"/>
                  </a:lnTo>
                  <a:lnTo>
                    <a:pt x="13755681" y="5727777"/>
                  </a:lnTo>
                  <a:lnTo>
                    <a:pt x="13741912" y="5645230"/>
                  </a:lnTo>
                  <a:lnTo>
                    <a:pt x="13775534" y="5404008"/>
                  </a:lnTo>
                  <a:lnTo>
                    <a:pt x="13799207" y="5321076"/>
                  </a:lnTo>
                  <a:lnTo>
                    <a:pt x="13811296" y="5278611"/>
                  </a:lnTo>
                  <a:lnTo>
                    <a:pt x="13835850" y="5246483"/>
                  </a:lnTo>
                  <a:lnTo>
                    <a:pt x="13841369" y="5200020"/>
                  </a:lnTo>
                  <a:lnTo>
                    <a:pt x="13846897" y="5153856"/>
                  </a:lnTo>
                  <a:lnTo>
                    <a:pt x="13830402" y="5109353"/>
                  </a:lnTo>
                  <a:lnTo>
                    <a:pt x="13844067" y="5061275"/>
                  </a:lnTo>
                  <a:lnTo>
                    <a:pt x="13871910" y="4963858"/>
                  </a:lnTo>
                  <a:lnTo>
                    <a:pt x="14026403" y="5013207"/>
                  </a:lnTo>
                  <a:lnTo>
                    <a:pt x="14068499" y="4961985"/>
                  </a:lnTo>
                  <a:lnTo>
                    <a:pt x="14079807" y="4923132"/>
                  </a:lnTo>
                  <a:lnTo>
                    <a:pt x="14060934" y="4863706"/>
                  </a:lnTo>
                  <a:lnTo>
                    <a:pt x="13983193" y="4806416"/>
                  </a:lnTo>
                  <a:lnTo>
                    <a:pt x="14034495" y="4729395"/>
                  </a:lnTo>
                  <a:lnTo>
                    <a:pt x="14047164" y="4710388"/>
                  </a:lnTo>
                  <a:lnTo>
                    <a:pt x="14069231" y="4692154"/>
                  </a:lnTo>
                  <a:lnTo>
                    <a:pt x="14091627" y="4685863"/>
                  </a:lnTo>
                  <a:lnTo>
                    <a:pt x="14113858" y="4679624"/>
                  </a:lnTo>
                  <a:lnTo>
                    <a:pt x="14200107" y="4683401"/>
                  </a:lnTo>
                  <a:lnTo>
                    <a:pt x="14223563" y="4688579"/>
                  </a:lnTo>
                  <a:lnTo>
                    <a:pt x="14253803" y="4695214"/>
                  </a:lnTo>
                  <a:lnTo>
                    <a:pt x="14280775" y="4721395"/>
                  </a:lnTo>
                  <a:lnTo>
                    <a:pt x="14309251" y="4734830"/>
                  </a:lnTo>
                  <a:lnTo>
                    <a:pt x="14349084" y="4753573"/>
                  </a:lnTo>
                  <a:lnTo>
                    <a:pt x="14487637" y="4757998"/>
                  </a:lnTo>
                  <a:lnTo>
                    <a:pt x="14525526" y="4734830"/>
                  </a:lnTo>
                  <a:lnTo>
                    <a:pt x="14560841" y="4686244"/>
                  </a:lnTo>
                  <a:lnTo>
                    <a:pt x="14566888" y="4661802"/>
                  </a:lnTo>
                  <a:lnTo>
                    <a:pt x="14565436" y="4497645"/>
                  </a:lnTo>
                  <a:lnTo>
                    <a:pt x="14553877" y="4463470"/>
                  </a:lnTo>
                  <a:lnTo>
                    <a:pt x="14526871" y="4428319"/>
                  </a:lnTo>
                  <a:lnTo>
                    <a:pt x="14511939" y="4400218"/>
                  </a:lnTo>
                  <a:lnTo>
                    <a:pt x="14482142" y="4344324"/>
                  </a:lnTo>
                  <a:lnTo>
                    <a:pt x="14470959" y="4251957"/>
                  </a:lnTo>
                  <a:lnTo>
                    <a:pt x="14388160" y="4251957"/>
                  </a:lnTo>
                  <a:lnTo>
                    <a:pt x="14328356" y="4251957"/>
                  </a:lnTo>
                  <a:lnTo>
                    <a:pt x="14274964" y="4382833"/>
                  </a:lnTo>
                  <a:lnTo>
                    <a:pt x="14197732" y="4343093"/>
                  </a:lnTo>
                  <a:lnTo>
                    <a:pt x="14169334" y="4318775"/>
                  </a:lnTo>
                  <a:lnTo>
                    <a:pt x="14120797" y="4263305"/>
                  </a:lnTo>
                  <a:lnTo>
                    <a:pt x="14060407" y="4151641"/>
                  </a:lnTo>
                  <a:lnTo>
                    <a:pt x="13995065" y="4163544"/>
                  </a:lnTo>
                  <a:lnTo>
                    <a:pt x="13974145" y="4167330"/>
                  </a:lnTo>
                  <a:lnTo>
                    <a:pt x="13952723" y="4178253"/>
                  </a:lnTo>
                  <a:lnTo>
                    <a:pt x="13932492" y="4185307"/>
                  </a:lnTo>
                  <a:lnTo>
                    <a:pt x="13912159" y="4192451"/>
                  </a:lnTo>
                  <a:lnTo>
                    <a:pt x="13887943" y="4197846"/>
                  </a:lnTo>
                  <a:lnTo>
                    <a:pt x="13868561" y="4207073"/>
                  </a:lnTo>
                  <a:lnTo>
                    <a:pt x="13837044" y="4209702"/>
                  </a:lnTo>
                  <a:lnTo>
                    <a:pt x="13636656" y="4227391"/>
                  </a:lnTo>
                  <a:lnTo>
                    <a:pt x="13638522" y="4109730"/>
                  </a:lnTo>
                  <a:lnTo>
                    <a:pt x="13553002" y="4096897"/>
                  </a:lnTo>
                  <a:lnTo>
                    <a:pt x="13479031" y="4085843"/>
                  </a:lnTo>
                  <a:lnTo>
                    <a:pt x="13459392" y="4215829"/>
                  </a:lnTo>
                  <a:lnTo>
                    <a:pt x="13382972" y="4188032"/>
                  </a:lnTo>
                  <a:lnTo>
                    <a:pt x="13358940" y="4112626"/>
                  </a:lnTo>
                  <a:lnTo>
                    <a:pt x="13441006" y="4132135"/>
                  </a:lnTo>
                  <a:lnTo>
                    <a:pt x="13434662" y="4052013"/>
                  </a:lnTo>
                  <a:lnTo>
                    <a:pt x="13402763" y="4026083"/>
                  </a:lnTo>
                  <a:lnTo>
                    <a:pt x="13377503" y="4040358"/>
                  </a:lnTo>
                  <a:lnTo>
                    <a:pt x="13353052" y="4042482"/>
                  </a:lnTo>
                  <a:lnTo>
                    <a:pt x="13311522" y="4046010"/>
                  </a:lnTo>
                  <a:lnTo>
                    <a:pt x="13270799" y="4051154"/>
                  </a:lnTo>
                  <a:lnTo>
                    <a:pt x="13229270" y="4054729"/>
                  </a:lnTo>
                  <a:lnTo>
                    <a:pt x="13180343" y="4058890"/>
                  </a:lnTo>
                  <a:lnTo>
                    <a:pt x="13129983" y="4050990"/>
                  </a:lnTo>
                  <a:lnTo>
                    <a:pt x="13081009" y="4057445"/>
                  </a:lnTo>
                  <a:lnTo>
                    <a:pt x="13020991" y="4065401"/>
                  </a:lnTo>
                  <a:lnTo>
                    <a:pt x="12999476" y="4088138"/>
                  </a:lnTo>
                  <a:lnTo>
                    <a:pt x="12921862" y="4079211"/>
                  </a:lnTo>
                  <a:lnTo>
                    <a:pt x="12889895" y="4075509"/>
                  </a:lnTo>
                  <a:lnTo>
                    <a:pt x="12855643" y="4056261"/>
                  </a:lnTo>
                  <a:lnTo>
                    <a:pt x="12823927" y="4066970"/>
                  </a:lnTo>
                  <a:lnTo>
                    <a:pt x="12588497" y="4226585"/>
                  </a:lnTo>
                  <a:lnTo>
                    <a:pt x="12541005" y="4281580"/>
                  </a:lnTo>
                  <a:lnTo>
                    <a:pt x="12509212" y="4524037"/>
                  </a:lnTo>
                  <a:lnTo>
                    <a:pt x="12409069" y="4585205"/>
                  </a:lnTo>
                  <a:lnTo>
                    <a:pt x="12337138" y="4629199"/>
                  </a:lnTo>
                  <a:lnTo>
                    <a:pt x="12160789" y="4590823"/>
                  </a:lnTo>
                  <a:lnTo>
                    <a:pt x="12097584" y="4541676"/>
                  </a:lnTo>
                  <a:lnTo>
                    <a:pt x="12069617" y="4519913"/>
                  </a:lnTo>
                  <a:lnTo>
                    <a:pt x="12048235" y="4494457"/>
                  </a:lnTo>
                  <a:lnTo>
                    <a:pt x="12017332" y="4473671"/>
                  </a:lnTo>
                  <a:lnTo>
                    <a:pt x="11958538" y="4434095"/>
                  </a:lnTo>
                  <a:lnTo>
                    <a:pt x="11891131" y="4403660"/>
                  </a:lnTo>
                  <a:lnTo>
                    <a:pt x="11841866" y="4349892"/>
                  </a:lnTo>
                  <a:lnTo>
                    <a:pt x="11798257" y="4302370"/>
                  </a:lnTo>
                  <a:lnTo>
                    <a:pt x="11783377" y="4232535"/>
                  </a:lnTo>
                  <a:lnTo>
                    <a:pt x="11783377" y="4170344"/>
                  </a:lnTo>
                  <a:lnTo>
                    <a:pt x="11820401" y="4139018"/>
                  </a:lnTo>
                  <a:lnTo>
                    <a:pt x="11843423" y="4158995"/>
                  </a:lnTo>
                  <a:lnTo>
                    <a:pt x="11864990" y="4115938"/>
                  </a:lnTo>
                  <a:lnTo>
                    <a:pt x="11856430" y="4045799"/>
                  </a:lnTo>
                  <a:lnTo>
                    <a:pt x="11735473" y="3996497"/>
                  </a:lnTo>
                  <a:lnTo>
                    <a:pt x="11692241" y="4046565"/>
                  </a:lnTo>
                  <a:lnTo>
                    <a:pt x="11642430" y="4104335"/>
                  </a:lnTo>
                  <a:lnTo>
                    <a:pt x="11640979" y="4277630"/>
                  </a:lnTo>
                  <a:lnTo>
                    <a:pt x="11586152" y="4368936"/>
                  </a:lnTo>
                  <a:lnTo>
                    <a:pt x="11566596" y="4401582"/>
                  </a:lnTo>
                  <a:lnTo>
                    <a:pt x="11539234" y="4440299"/>
                  </a:lnTo>
                  <a:lnTo>
                    <a:pt x="11508621" y="4464149"/>
                  </a:lnTo>
                  <a:lnTo>
                    <a:pt x="11482431" y="4484638"/>
                  </a:lnTo>
                  <a:lnTo>
                    <a:pt x="11453012" y="4492157"/>
                  </a:lnTo>
                  <a:lnTo>
                    <a:pt x="11440607" y="4526719"/>
                  </a:lnTo>
                  <a:lnTo>
                    <a:pt x="11437475" y="4557836"/>
                  </a:lnTo>
                  <a:lnTo>
                    <a:pt x="11434855" y="4600339"/>
                  </a:lnTo>
                  <a:lnTo>
                    <a:pt x="11411958" y="4601316"/>
                  </a:lnTo>
                  <a:lnTo>
                    <a:pt x="11398439" y="4620574"/>
                  </a:lnTo>
                  <a:lnTo>
                    <a:pt x="11379870" y="4647049"/>
                  </a:lnTo>
                  <a:lnTo>
                    <a:pt x="11374059" y="4686371"/>
                  </a:lnTo>
                  <a:lnTo>
                    <a:pt x="11356277" y="4711706"/>
                  </a:lnTo>
                  <a:lnTo>
                    <a:pt x="11309434" y="4778480"/>
                  </a:lnTo>
                  <a:lnTo>
                    <a:pt x="11060946" y="4809260"/>
                  </a:lnTo>
                  <a:lnTo>
                    <a:pt x="10979497" y="4836839"/>
                  </a:lnTo>
                  <a:lnTo>
                    <a:pt x="10949577" y="4847003"/>
                  </a:lnTo>
                  <a:lnTo>
                    <a:pt x="10917994" y="4862646"/>
                  </a:lnTo>
                  <a:lnTo>
                    <a:pt x="10889729" y="4876288"/>
                  </a:lnTo>
                  <a:lnTo>
                    <a:pt x="10865920" y="4887763"/>
                  </a:lnTo>
                  <a:lnTo>
                    <a:pt x="10840901" y="4903235"/>
                  </a:lnTo>
                  <a:lnTo>
                    <a:pt x="10817640" y="4915734"/>
                  </a:lnTo>
                  <a:lnTo>
                    <a:pt x="10763396" y="4944765"/>
                  </a:lnTo>
                  <a:lnTo>
                    <a:pt x="10587934" y="4994966"/>
                  </a:lnTo>
                  <a:lnTo>
                    <a:pt x="10531996" y="4972859"/>
                  </a:lnTo>
                  <a:lnTo>
                    <a:pt x="10474902" y="4950336"/>
                  </a:lnTo>
                  <a:lnTo>
                    <a:pt x="10409969" y="4907747"/>
                  </a:lnTo>
                  <a:lnTo>
                    <a:pt x="10371494" y="4858609"/>
                  </a:lnTo>
                  <a:lnTo>
                    <a:pt x="10355898" y="4838712"/>
                  </a:lnTo>
                  <a:lnTo>
                    <a:pt x="10345353" y="4806240"/>
                  </a:lnTo>
                  <a:lnTo>
                    <a:pt x="10325246" y="4790594"/>
                  </a:lnTo>
                  <a:lnTo>
                    <a:pt x="10299300" y="4770403"/>
                  </a:lnTo>
                  <a:lnTo>
                    <a:pt x="10258214" y="4766748"/>
                  </a:lnTo>
                  <a:lnTo>
                    <a:pt x="10228675" y="4748435"/>
                  </a:lnTo>
                  <a:lnTo>
                    <a:pt x="10143917" y="4695806"/>
                  </a:lnTo>
                  <a:lnTo>
                    <a:pt x="10049340" y="4607988"/>
                  </a:lnTo>
                  <a:lnTo>
                    <a:pt x="9975676" y="4538960"/>
                  </a:lnTo>
                  <a:lnTo>
                    <a:pt x="9914086" y="4481196"/>
                  </a:lnTo>
                  <a:lnTo>
                    <a:pt x="9854915" y="4362645"/>
                  </a:lnTo>
                  <a:lnTo>
                    <a:pt x="9808369" y="4288684"/>
                  </a:lnTo>
                  <a:lnTo>
                    <a:pt x="9794686" y="4257225"/>
                  </a:lnTo>
                  <a:lnTo>
                    <a:pt x="9753116" y="4198190"/>
                  </a:lnTo>
                  <a:lnTo>
                    <a:pt x="9715540" y="4157761"/>
                  </a:lnTo>
                  <a:lnTo>
                    <a:pt x="9683229" y="4111854"/>
                  </a:lnTo>
                  <a:lnTo>
                    <a:pt x="9645941" y="4058853"/>
                  </a:lnTo>
                  <a:lnTo>
                    <a:pt x="9608424" y="3997433"/>
                  </a:lnTo>
                  <a:lnTo>
                    <a:pt x="9581220" y="3939108"/>
                  </a:lnTo>
                  <a:lnTo>
                    <a:pt x="9556818" y="3886829"/>
                  </a:lnTo>
                  <a:lnTo>
                    <a:pt x="9480832" y="3781456"/>
                  </a:lnTo>
                  <a:lnTo>
                    <a:pt x="9446564" y="3726923"/>
                  </a:lnTo>
                  <a:lnTo>
                    <a:pt x="9422671" y="3688962"/>
                  </a:lnTo>
                  <a:lnTo>
                    <a:pt x="9388497" y="3610496"/>
                  </a:lnTo>
                  <a:lnTo>
                    <a:pt x="9362232" y="3563692"/>
                  </a:lnTo>
                  <a:lnTo>
                    <a:pt x="9336621" y="3518002"/>
                  </a:lnTo>
                  <a:lnTo>
                    <a:pt x="9293123" y="3474135"/>
                  </a:lnTo>
                  <a:lnTo>
                    <a:pt x="9261577" y="3431756"/>
                  </a:lnTo>
                  <a:lnTo>
                    <a:pt x="9228934" y="3387932"/>
                  </a:lnTo>
                  <a:lnTo>
                    <a:pt x="9184642" y="3309553"/>
                  </a:lnTo>
                  <a:lnTo>
                    <a:pt x="9155481" y="3260374"/>
                  </a:lnTo>
                  <a:lnTo>
                    <a:pt x="9136171" y="3227775"/>
                  </a:lnTo>
                  <a:lnTo>
                    <a:pt x="9107760" y="3200183"/>
                  </a:lnTo>
                  <a:lnTo>
                    <a:pt x="9087473" y="3167881"/>
                  </a:lnTo>
                  <a:lnTo>
                    <a:pt x="9064430" y="3131325"/>
                  </a:lnTo>
                  <a:lnTo>
                    <a:pt x="9036211" y="3089665"/>
                  </a:lnTo>
                  <a:lnTo>
                    <a:pt x="9018094" y="3050905"/>
                  </a:lnTo>
                  <a:lnTo>
                    <a:pt x="8998713" y="3009373"/>
                  </a:lnTo>
                  <a:lnTo>
                    <a:pt x="8988478" y="2961763"/>
                  </a:lnTo>
                  <a:lnTo>
                    <a:pt x="8969127" y="2920321"/>
                  </a:lnTo>
                  <a:lnTo>
                    <a:pt x="8957311" y="2894989"/>
                  </a:lnTo>
                  <a:lnTo>
                    <a:pt x="8940353" y="2872587"/>
                  </a:lnTo>
                  <a:lnTo>
                    <a:pt x="8928326" y="2846874"/>
                  </a:lnTo>
                  <a:lnTo>
                    <a:pt x="8918076" y="2814439"/>
                  </a:lnTo>
                  <a:lnTo>
                    <a:pt x="8880618" y="2738143"/>
                  </a:lnTo>
                  <a:lnTo>
                    <a:pt x="8825709" y="2691978"/>
                  </a:lnTo>
                  <a:lnTo>
                    <a:pt x="8797745" y="2631957"/>
                  </a:lnTo>
                  <a:lnTo>
                    <a:pt x="8785380" y="2605518"/>
                  </a:lnTo>
                  <a:lnTo>
                    <a:pt x="8775846" y="2577219"/>
                  </a:lnTo>
                  <a:lnTo>
                    <a:pt x="8766466" y="2548988"/>
                  </a:lnTo>
                  <a:lnTo>
                    <a:pt x="8682137" y="2580273"/>
                  </a:lnTo>
                  <a:lnTo>
                    <a:pt x="8700412" y="2608098"/>
                  </a:lnTo>
                  <a:lnTo>
                    <a:pt x="8716417" y="2635343"/>
                  </a:lnTo>
                  <a:lnTo>
                    <a:pt x="8731092" y="2663251"/>
                  </a:lnTo>
                  <a:lnTo>
                    <a:pt x="8744486" y="2688713"/>
                  </a:lnTo>
                  <a:lnTo>
                    <a:pt x="8736322" y="2712212"/>
                  </a:lnTo>
                  <a:lnTo>
                    <a:pt x="8740620" y="2738065"/>
                  </a:lnTo>
                  <a:lnTo>
                    <a:pt x="8755366" y="2783244"/>
                  </a:lnTo>
                  <a:lnTo>
                    <a:pt x="8762377" y="2803348"/>
                  </a:lnTo>
                  <a:lnTo>
                    <a:pt x="8771902" y="2823750"/>
                  </a:lnTo>
                  <a:lnTo>
                    <a:pt x="8784378" y="2847169"/>
                  </a:lnTo>
                  <a:lnTo>
                    <a:pt x="8801150" y="2868894"/>
                  </a:lnTo>
                  <a:lnTo>
                    <a:pt x="8814070" y="2891764"/>
                  </a:lnTo>
                  <a:lnTo>
                    <a:pt x="8828859" y="2917822"/>
                  </a:lnTo>
                  <a:lnTo>
                    <a:pt x="8833622" y="2948040"/>
                  </a:lnTo>
                  <a:lnTo>
                    <a:pt x="8849429" y="2974736"/>
                  </a:lnTo>
                  <a:lnTo>
                    <a:pt x="8863034" y="2999215"/>
                  </a:lnTo>
                  <a:lnTo>
                    <a:pt x="8888967" y="3021995"/>
                  </a:lnTo>
                  <a:lnTo>
                    <a:pt x="8921452" y="3044450"/>
                  </a:lnTo>
                  <a:lnTo>
                    <a:pt x="8939119" y="3059425"/>
                  </a:lnTo>
                  <a:lnTo>
                    <a:pt x="8958253" y="3091709"/>
                  </a:lnTo>
                  <a:lnTo>
                    <a:pt x="8974224" y="3118702"/>
                  </a:lnTo>
                  <a:lnTo>
                    <a:pt x="8990936" y="3154492"/>
                  </a:lnTo>
                  <a:lnTo>
                    <a:pt x="8996338" y="3185560"/>
                  </a:lnTo>
                  <a:lnTo>
                    <a:pt x="9000830" y="3211537"/>
                  </a:lnTo>
                  <a:lnTo>
                    <a:pt x="8992369" y="3234745"/>
                  </a:lnTo>
                  <a:lnTo>
                    <a:pt x="9005863" y="3260374"/>
                  </a:lnTo>
                  <a:lnTo>
                    <a:pt x="9030863" y="3307897"/>
                  </a:lnTo>
                  <a:lnTo>
                    <a:pt x="9117183" y="3386705"/>
                  </a:lnTo>
                  <a:lnTo>
                    <a:pt x="9156839" y="3439920"/>
                  </a:lnTo>
                  <a:lnTo>
                    <a:pt x="9187275" y="3480776"/>
                  </a:lnTo>
                  <a:lnTo>
                    <a:pt x="9223831" y="3561702"/>
                  </a:lnTo>
                  <a:lnTo>
                    <a:pt x="9252055" y="3597703"/>
                  </a:lnTo>
                  <a:lnTo>
                    <a:pt x="9383985" y="3769091"/>
                  </a:lnTo>
                  <a:lnTo>
                    <a:pt x="9404437" y="3795188"/>
                  </a:lnTo>
                  <a:lnTo>
                    <a:pt x="9417146" y="3828089"/>
                  </a:lnTo>
                  <a:lnTo>
                    <a:pt x="9437043" y="3854785"/>
                  </a:lnTo>
                  <a:lnTo>
                    <a:pt x="9487579" y="3922619"/>
                  </a:lnTo>
                  <a:lnTo>
                    <a:pt x="9526516" y="3995223"/>
                  </a:lnTo>
                  <a:lnTo>
                    <a:pt x="9571698" y="4066976"/>
                  </a:lnTo>
                  <a:lnTo>
                    <a:pt x="9591694" y="4098810"/>
                  </a:lnTo>
                  <a:lnTo>
                    <a:pt x="9621217" y="4129199"/>
                  </a:lnTo>
                  <a:lnTo>
                    <a:pt x="9643793" y="4159470"/>
                  </a:lnTo>
                  <a:lnTo>
                    <a:pt x="9674135" y="4200212"/>
                  </a:lnTo>
                  <a:lnTo>
                    <a:pt x="9692556" y="4246082"/>
                  </a:lnTo>
                  <a:lnTo>
                    <a:pt x="9711801" y="4292767"/>
                  </a:lnTo>
                  <a:lnTo>
                    <a:pt x="9731043" y="4339453"/>
                  </a:lnTo>
                  <a:lnTo>
                    <a:pt x="9750794" y="4386625"/>
                  </a:lnTo>
                  <a:lnTo>
                    <a:pt x="9781164" y="4427429"/>
                  </a:lnTo>
                  <a:lnTo>
                    <a:pt x="9804964" y="4459306"/>
                  </a:lnTo>
                  <a:lnTo>
                    <a:pt x="9826392" y="4491571"/>
                  </a:lnTo>
                  <a:lnTo>
                    <a:pt x="9858701" y="4515839"/>
                  </a:lnTo>
                  <a:lnTo>
                    <a:pt x="9886327" y="4536541"/>
                  </a:lnTo>
                  <a:lnTo>
                    <a:pt x="9924157" y="4546829"/>
                  </a:lnTo>
                  <a:lnTo>
                    <a:pt x="9943030" y="4578406"/>
                  </a:lnTo>
                  <a:lnTo>
                    <a:pt x="9962545" y="4611142"/>
                  </a:lnTo>
                  <a:lnTo>
                    <a:pt x="9984327" y="4695425"/>
                  </a:lnTo>
                  <a:lnTo>
                    <a:pt x="10004236" y="4717147"/>
                  </a:lnTo>
                  <a:lnTo>
                    <a:pt x="10028969" y="4744181"/>
                  </a:lnTo>
                  <a:lnTo>
                    <a:pt x="10059668" y="4748389"/>
                  </a:lnTo>
                  <a:lnTo>
                    <a:pt x="10092655" y="4759315"/>
                  </a:lnTo>
                  <a:lnTo>
                    <a:pt x="10114418" y="4776998"/>
                  </a:lnTo>
                  <a:lnTo>
                    <a:pt x="10138429" y="4806497"/>
                  </a:lnTo>
                  <a:lnTo>
                    <a:pt x="10145362" y="4847853"/>
                  </a:lnTo>
                  <a:lnTo>
                    <a:pt x="10170185" y="4874930"/>
                  </a:lnTo>
                  <a:lnTo>
                    <a:pt x="10187812" y="4886750"/>
                  </a:lnTo>
                  <a:lnTo>
                    <a:pt x="10225233" y="4912720"/>
                  </a:lnTo>
                  <a:lnTo>
                    <a:pt x="10260431" y="4898184"/>
                  </a:lnTo>
                  <a:lnTo>
                    <a:pt x="10289883" y="4910298"/>
                  </a:lnTo>
                  <a:lnTo>
                    <a:pt x="10305135" y="4930486"/>
                  </a:lnTo>
                  <a:lnTo>
                    <a:pt x="10331884" y="4943366"/>
                  </a:lnTo>
                  <a:lnTo>
                    <a:pt x="10356537" y="4957902"/>
                  </a:lnTo>
                  <a:lnTo>
                    <a:pt x="10381183" y="4972444"/>
                  </a:lnTo>
                  <a:lnTo>
                    <a:pt x="10403498" y="4988892"/>
                  </a:lnTo>
                  <a:lnTo>
                    <a:pt x="10410946" y="5012311"/>
                  </a:lnTo>
                  <a:lnTo>
                    <a:pt x="10418462" y="5036030"/>
                  </a:lnTo>
                  <a:lnTo>
                    <a:pt x="10410484" y="5061743"/>
                  </a:lnTo>
                  <a:lnTo>
                    <a:pt x="10400057" y="5083038"/>
                  </a:lnTo>
                  <a:lnTo>
                    <a:pt x="10388674" y="5105794"/>
                  </a:lnTo>
                  <a:lnTo>
                    <a:pt x="10373131" y="5123907"/>
                  </a:lnTo>
                  <a:lnTo>
                    <a:pt x="10355173" y="5137454"/>
                  </a:lnTo>
                  <a:lnTo>
                    <a:pt x="10337189" y="5150988"/>
                  </a:lnTo>
                  <a:lnTo>
                    <a:pt x="10315879" y="5159527"/>
                  </a:lnTo>
                  <a:lnTo>
                    <a:pt x="10293964" y="5164652"/>
                  </a:lnTo>
                  <a:lnTo>
                    <a:pt x="10272049" y="5169777"/>
                  </a:lnTo>
                  <a:lnTo>
                    <a:pt x="10249120" y="5171234"/>
                  </a:lnTo>
                  <a:lnTo>
                    <a:pt x="10225953" y="5168735"/>
                  </a:lnTo>
                  <a:lnTo>
                    <a:pt x="10202776" y="5166233"/>
                  </a:lnTo>
                  <a:lnTo>
                    <a:pt x="10179695" y="5160364"/>
                  </a:lnTo>
                  <a:lnTo>
                    <a:pt x="10157944" y="5151047"/>
                  </a:lnTo>
                  <a:lnTo>
                    <a:pt x="10138007" y="5142508"/>
                  </a:lnTo>
                  <a:lnTo>
                    <a:pt x="10114418" y="5115684"/>
                  </a:lnTo>
                  <a:lnTo>
                    <a:pt x="10094574" y="5083621"/>
                  </a:lnTo>
                  <a:lnTo>
                    <a:pt x="10077165" y="5049809"/>
                  </a:lnTo>
                  <a:lnTo>
                    <a:pt x="10054571" y="5017749"/>
                  </a:lnTo>
                  <a:lnTo>
                    <a:pt x="10023667" y="4985956"/>
                  </a:lnTo>
                  <a:lnTo>
                    <a:pt x="9998797" y="4974223"/>
                  </a:lnTo>
                  <a:lnTo>
                    <a:pt x="9958356" y="4955139"/>
                  </a:lnTo>
                  <a:lnTo>
                    <a:pt x="9914976" y="4962103"/>
                  </a:lnTo>
                  <a:lnTo>
                    <a:pt x="9873652" y="4947019"/>
                  </a:lnTo>
                  <a:lnTo>
                    <a:pt x="9838243" y="4934095"/>
                  </a:lnTo>
                  <a:lnTo>
                    <a:pt x="9811612" y="4905533"/>
                  </a:lnTo>
                  <a:lnTo>
                    <a:pt x="9778448" y="4889887"/>
                  </a:lnTo>
                  <a:lnTo>
                    <a:pt x="9737046" y="4870335"/>
                  </a:lnTo>
                  <a:lnTo>
                    <a:pt x="9688454" y="4866642"/>
                  </a:lnTo>
                  <a:lnTo>
                    <a:pt x="9639703" y="4842287"/>
                  </a:lnTo>
                  <a:lnTo>
                    <a:pt x="9580779" y="4812782"/>
                  </a:lnTo>
                  <a:lnTo>
                    <a:pt x="9538301" y="4762797"/>
                  </a:lnTo>
                  <a:lnTo>
                    <a:pt x="9484646" y="4726663"/>
                  </a:lnTo>
                  <a:lnTo>
                    <a:pt x="9454486" y="4706385"/>
                  </a:lnTo>
                  <a:lnTo>
                    <a:pt x="9428851" y="4704478"/>
                  </a:lnTo>
                  <a:lnTo>
                    <a:pt x="9407109" y="4711700"/>
                  </a:lnTo>
                  <a:lnTo>
                    <a:pt x="9385371" y="4718927"/>
                  </a:lnTo>
                  <a:lnTo>
                    <a:pt x="9366517" y="4735125"/>
                  </a:lnTo>
                  <a:lnTo>
                    <a:pt x="9348626" y="4749787"/>
                  </a:lnTo>
                  <a:lnTo>
                    <a:pt x="9330699" y="4764453"/>
                  </a:lnTo>
                  <a:lnTo>
                    <a:pt x="9314284" y="4777677"/>
                  </a:lnTo>
                  <a:lnTo>
                    <a:pt x="9276866" y="4781745"/>
                  </a:lnTo>
                  <a:lnTo>
                    <a:pt x="9255748" y="4772288"/>
                  </a:lnTo>
                  <a:lnTo>
                    <a:pt x="9231644" y="4741630"/>
                  </a:lnTo>
                  <a:lnTo>
                    <a:pt x="9211351" y="4720208"/>
                  </a:lnTo>
                  <a:lnTo>
                    <a:pt x="9198669" y="4686752"/>
                  </a:lnTo>
                  <a:lnTo>
                    <a:pt x="9174519" y="4664093"/>
                  </a:lnTo>
                  <a:lnTo>
                    <a:pt x="9131033" y="4623376"/>
                  </a:lnTo>
                  <a:lnTo>
                    <a:pt x="9076243" y="4608419"/>
                  </a:lnTo>
                  <a:lnTo>
                    <a:pt x="9039857" y="4574322"/>
                  </a:lnTo>
                  <a:lnTo>
                    <a:pt x="9020342" y="4556047"/>
                  </a:lnTo>
                  <a:lnTo>
                    <a:pt x="9003131" y="4517197"/>
                  </a:lnTo>
                  <a:lnTo>
                    <a:pt x="9004133" y="4477655"/>
                  </a:lnTo>
                  <a:lnTo>
                    <a:pt x="8995665" y="4445710"/>
                  </a:lnTo>
                  <a:lnTo>
                    <a:pt x="8982726" y="4419262"/>
                  </a:lnTo>
                  <a:lnTo>
                    <a:pt x="8969787" y="4392811"/>
                  </a:lnTo>
                  <a:lnTo>
                    <a:pt x="8952483" y="4371879"/>
                  </a:lnTo>
                  <a:lnTo>
                    <a:pt x="8935126" y="4353973"/>
                  </a:lnTo>
                  <a:lnTo>
                    <a:pt x="8917735" y="4336061"/>
                  </a:lnTo>
                  <a:lnTo>
                    <a:pt x="8899841" y="4320288"/>
                  </a:lnTo>
                  <a:lnTo>
                    <a:pt x="8875182" y="4292442"/>
                  </a:lnTo>
                  <a:lnTo>
                    <a:pt x="8869834" y="4265563"/>
                  </a:lnTo>
                  <a:lnTo>
                    <a:pt x="8885901" y="4227432"/>
                  </a:lnTo>
                  <a:lnTo>
                    <a:pt x="8914891" y="4211960"/>
                  </a:lnTo>
                  <a:lnTo>
                    <a:pt x="8949832" y="4210428"/>
                  </a:lnTo>
                  <a:lnTo>
                    <a:pt x="9002703" y="4192510"/>
                  </a:lnTo>
                  <a:lnTo>
                    <a:pt x="9044673" y="4172120"/>
                  </a:lnTo>
                  <a:lnTo>
                    <a:pt x="9080667" y="4145865"/>
                  </a:lnTo>
                  <a:lnTo>
                    <a:pt x="9116650" y="4119603"/>
                  </a:lnTo>
                  <a:lnTo>
                    <a:pt x="9146617" y="4086417"/>
                  </a:lnTo>
                  <a:lnTo>
                    <a:pt x="9160914" y="4050649"/>
                  </a:lnTo>
                  <a:lnTo>
                    <a:pt x="9172008" y="4022908"/>
                  </a:lnTo>
                  <a:lnTo>
                    <a:pt x="9165893" y="3998819"/>
                  </a:lnTo>
                  <a:lnTo>
                    <a:pt x="9155472" y="3974477"/>
                  </a:lnTo>
                  <a:lnTo>
                    <a:pt x="9145079" y="3950128"/>
                  </a:lnTo>
                  <a:lnTo>
                    <a:pt x="9130243" y="3925661"/>
                  </a:lnTo>
                  <a:lnTo>
                    <a:pt x="9122829" y="3899662"/>
                  </a:lnTo>
                  <a:lnTo>
                    <a:pt x="9122004" y="3848652"/>
                  </a:lnTo>
                  <a:lnTo>
                    <a:pt x="9125573" y="3812610"/>
                  </a:lnTo>
                  <a:lnTo>
                    <a:pt x="9129102" y="3776569"/>
                  </a:lnTo>
                  <a:lnTo>
                    <a:pt x="9131170" y="3736590"/>
                  </a:lnTo>
                  <a:lnTo>
                    <a:pt x="9121483" y="3701079"/>
                  </a:lnTo>
                  <a:lnTo>
                    <a:pt x="9105029" y="3640714"/>
                  </a:lnTo>
                  <a:lnTo>
                    <a:pt x="9076847" y="3584736"/>
                  </a:lnTo>
                  <a:lnTo>
                    <a:pt x="9039870" y="3535130"/>
                  </a:lnTo>
                  <a:lnTo>
                    <a:pt x="9021083" y="3509885"/>
                  </a:lnTo>
                  <a:lnTo>
                    <a:pt x="8988239" y="3487232"/>
                  </a:lnTo>
                  <a:lnTo>
                    <a:pt x="8973223" y="3460319"/>
                  </a:lnTo>
                  <a:lnTo>
                    <a:pt x="8960752" y="3438112"/>
                  </a:lnTo>
                  <a:lnTo>
                    <a:pt x="8963602" y="3411516"/>
                  </a:lnTo>
                  <a:lnTo>
                    <a:pt x="8965059" y="3385511"/>
                  </a:lnTo>
                  <a:lnTo>
                    <a:pt x="8966535" y="3359500"/>
                  </a:lnTo>
                  <a:lnTo>
                    <a:pt x="8967189" y="3334798"/>
                  </a:lnTo>
                  <a:lnTo>
                    <a:pt x="8950095" y="3316138"/>
                  </a:lnTo>
                  <a:lnTo>
                    <a:pt x="8922680" y="3286258"/>
                  </a:lnTo>
                  <a:lnTo>
                    <a:pt x="8875790" y="3271465"/>
                  </a:lnTo>
                  <a:lnTo>
                    <a:pt x="8845361" y="3244050"/>
                  </a:lnTo>
                  <a:lnTo>
                    <a:pt x="8817353" y="3203538"/>
                  </a:lnTo>
                  <a:lnTo>
                    <a:pt x="8776736" y="3161590"/>
                  </a:lnTo>
                  <a:lnTo>
                    <a:pt x="8775951" y="3124807"/>
                  </a:lnTo>
                  <a:lnTo>
                    <a:pt x="8770550" y="3088986"/>
                  </a:lnTo>
                  <a:lnTo>
                    <a:pt x="8763505" y="3054182"/>
                  </a:lnTo>
                  <a:lnTo>
                    <a:pt x="8747646" y="3020417"/>
                  </a:lnTo>
                  <a:lnTo>
                    <a:pt x="8735430" y="3003336"/>
                  </a:lnTo>
                  <a:lnTo>
                    <a:pt x="8716141" y="2988335"/>
                  </a:lnTo>
                  <a:lnTo>
                    <a:pt x="8684016" y="2972547"/>
                  </a:lnTo>
                  <a:lnTo>
                    <a:pt x="8650331" y="2974193"/>
                  </a:lnTo>
                  <a:lnTo>
                    <a:pt x="8615490" y="2985610"/>
                  </a:lnTo>
                  <a:lnTo>
                    <a:pt x="8582462" y="3000263"/>
                  </a:lnTo>
                  <a:lnTo>
                    <a:pt x="8550576" y="3009035"/>
                  </a:lnTo>
                  <a:lnTo>
                    <a:pt x="8521638" y="3004657"/>
                  </a:lnTo>
                  <a:lnTo>
                    <a:pt x="8488800" y="2992323"/>
                  </a:lnTo>
                  <a:lnTo>
                    <a:pt x="8470512" y="2976733"/>
                  </a:lnTo>
                  <a:lnTo>
                    <a:pt x="8447642" y="2942803"/>
                  </a:lnTo>
                  <a:lnTo>
                    <a:pt x="8433225" y="2905363"/>
                  </a:lnTo>
                  <a:lnTo>
                    <a:pt x="8410501" y="2869356"/>
                  </a:lnTo>
                  <a:lnTo>
                    <a:pt x="8384257" y="2852312"/>
                  </a:lnTo>
                  <a:lnTo>
                    <a:pt x="8358011" y="2835272"/>
                  </a:lnTo>
                  <a:lnTo>
                    <a:pt x="8318826" y="2819914"/>
                  </a:lnTo>
                  <a:lnTo>
                    <a:pt x="8256395" y="2807422"/>
                  </a:lnTo>
                  <a:lnTo>
                    <a:pt x="8271743" y="2762668"/>
                  </a:lnTo>
                  <a:lnTo>
                    <a:pt x="8304349" y="2738651"/>
                  </a:lnTo>
                  <a:lnTo>
                    <a:pt x="8332595" y="2713571"/>
                  </a:lnTo>
                  <a:lnTo>
                    <a:pt x="8360141" y="2688115"/>
                  </a:lnTo>
                  <a:lnTo>
                    <a:pt x="8378468" y="2660138"/>
                  </a:lnTo>
                  <a:lnTo>
                    <a:pt x="8382921" y="2629241"/>
                  </a:lnTo>
                  <a:lnTo>
                    <a:pt x="8359778" y="2613518"/>
                  </a:lnTo>
                  <a:lnTo>
                    <a:pt x="8339367" y="2619744"/>
                  </a:lnTo>
                  <a:lnTo>
                    <a:pt x="8320611" y="2631762"/>
                  </a:lnTo>
                  <a:lnTo>
                    <a:pt x="8295314" y="2656920"/>
                  </a:lnTo>
                  <a:lnTo>
                    <a:pt x="8279802" y="2677101"/>
                  </a:lnTo>
                  <a:lnTo>
                    <a:pt x="8226602" y="2704628"/>
                  </a:lnTo>
                  <a:lnTo>
                    <a:pt x="8192300" y="2696508"/>
                  </a:lnTo>
                  <a:lnTo>
                    <a:pt x="8159827" y="2709515"/>
                  </a:lnTo>
                  <a:lnTo>
                    <a:pt x="8133466" y="2732555"/>
                  </a:lnTo>
                  <a:lnTo>
                    <a:pt x="8092309" y="2736065"/>
                  </a:lnTo>
                  <a:lnTo>
                    <a:pt x="8066134" y="2717245"/>
                  </a:lnTo>
                  <a:lnTo>
                    <a:pt x="8036049" y="2698632"/>
                  </a:lnTo>
                  <a:lnTo>
                    <a:pt x="8005961" y="2680022"/>
                  </a:lnTo>
                  <a:lnTo>
                    <a:pt x="7971944" y="2661781"/>
                  </a:lnTo>
                  <a:lnTo>
                    <a:pt x="7935398" y="2663270"/>
                  </a:lnTo>
                  <a:lnTo>
                    <a:pt x="7902838" y="2664538"/>
                  </a:lnTo>
                  <a:lnTo>
                    <a:pt x="7873135" y="2688819"/>
                  </a:lnTo>
                  <a:lnTo>
                    <a:pt x="7841543" y="2695916"/>
                  </a:lnTo>
                  <a:lnTo>
                    <a:pt x="7826223" y="2667756"/>
                  </a:lnTo>
                  <a:lnTo>
                    <a:pt x="7860444" y="2629579"/>
                  </a:lnTo>
                  <a:lnTo>
                    <a:pt x="7897310" y="2589817"/>
                  </a:lnTo>
                  <a:lnTo>
                    <a:pt x="7934170" y="2550055"/>
                  </a:lnTo>
                  <a:lnTo>
                    <a:pt x="7972868" y="2508799"/>
                  </a:lnTo>
                  <a:lnTo>
                    <a:pt x="7985714" y="2481002"/>
                  </a:lnTo>
                  <a:lnTo>
                    <a:pt x="7998020" y="2454482"/>
                  </a:lnTo>
                  <a:lnTo>
                    <a:pt x="7991162" y="2415713"/>
                  </a:lnTo>
                  <a:lnTo>
                    <a:pt x="7974260" y="2380093"/>
                  </a:lnTo>
                  <a:lnTo>
                    <a:pt x="7968041" y="2357220"/>
                  </a:lnTo>
                  <a:lnTo>
                    <a:pt x="7958776" y="2323303"/>
                  </a:lnTo>
                  <a:lnTo>
                    <a:pt x="7962342" y="2283733"/>
                  </a:lnTo>
                  <a:lnTo>
                    <a:pt x="7947630" y="2249763"/>
                  </a:lnTo>
                  <a:lnTo>
                    <a:pt x="7927035" y="2225712"/>
                  </a:lnTo>
                  <a:lnTo>
                    <a:pt x="7895378" y="2213170"/>
                  </a:lnTo>
                  <a:lnTo>
                    <a:pt x="7868748" y="2217126"/>
                  </a:lnTo>
                  <a:lnTo>
                    <a:pt x="7846070" y="2227256"/>
                  </a:lnTo>
                  <a:lnTo>
                    <a:pt x="7816103" y="2253999"/>
                  </a:lnTo>
                  <a:lnTo>
                    <a:pt x="7798882" y="2278444"/>
                  </a:lnTo>
                  <a:lnTo>
                    <a:pt x="7777612" y="2291937"/>
                  </a:lnTo>
                  <a:lnTo>
                    <a:pt x="7758317" y="2304178"/>
                  </a:lnTo>
                  <a:lnTo>
                    <a:pt x="7737273" y="2308684"/>
                  </a:lnTo>
                  <a:lnTo>
                    <a:pt x="7717758" y="2319142"/>
                  </a:lnTo>
                  <a:lnTo>
                    <a:pt x="7693995" y="2331851"/>
                  </a:lnTo>
                  <a:lnTo>
                    <a:pt x="7672577" y="2351403"/>
                  </a:lnTo>
                  <a:lnTo>
                    <a:pt x="7648392" y="2362668"/>
                  </a:lnTo>
                  <a:lnTo>
                    <a:pt x="7619746" y="2368578"/>
                  </a:lnTo>
                  <a:lnTo>
                    <a:pt x="7600786" y="2358588"/>
                  </a:lnTo>
                  <a:lnTo>
                    <a:pt x="7598172" y="2326983"/>
                  </a:lnTo>
                  <a:lnTo>
                    <a:pt x="7606100" y="2303143"/>
                  </a:lnTo>
                  <a:lnTo>
                    <a:pt x="7621175" y="2283774"/>
                  </a:lnTo>
                  <a:lnTo>
                    <a:pt x="7636774" y="2266007"/>
                  </a:lnTo>
                  <a:lnTo>
                    <a:pt x="7656035" y="2252343"/>
                  </a:lnTo>
                  <a:lnTo>
                    <a:pt x="7666068" y="2230726"/>
                  </a:lnTo>
                  <a:lnTo>
                    <a:pt x="7676818" y="2207496"/>
                  </a:lnTo>
                  <a:lnTo>
                    <a:pt x="7676428" y="2181842"/>
                  </a:lnTo>
                  <a:lnTo>
                    <a:pt x="7674226" y="2157276"/>
                  </a:lnTo>
                  <a:lnTo>
                    <a:pt x="7672003" y="2132710"/>
                  </a:lnTo>
                  <a:lnTo>
                    <a:pt x="7668323" y="2108454"/>
                  </a:lnTo>
                  <a:lnTo>
                    <a:pt x="7675578" y="2086545"/>
                  </a:lnTo>
                  <a:lnTo>
                    <a:pt x="7726508" y="2042157"/>
                  </a:lnTo>
                  <a:lnTo>
                    <a:pt x="7776235" y="2013099"/>
                  </a:lnTo>
                  <a:lnTo>
                    <a:pt x="7825935" y="1984037"/>
                  </a:lnTo>
                  <a:lnTo>
                    <a:pt x="7879801" y="1956113"/>
                  </a:lnTo>
                  <a:lnTo>
                    <a:pt x="7912255" y="1957331"/>
                  </a:lnTo>
                  <a:lnTo>
                    <a:pt x="7923445" y="1975312"/>
                  </a:lnTo>
                  <a:lnTo>
                    <a:pt x="7931215" y="2002687"/>
                  </a:lnTo>
                  <a:lnTo>
                    <a:pt x="7951698" y="2011734"/>
                  </a:lnTo>
                  <a:lnTo>
                    <a:pt x="7970726" y="1987299"/>
                  </a:lnTo>
                  <a:lnTo>
                    <a:pt x="7978955" y="1946405"/>
                  </a:lnTo>
                  <a:lnTo>
                    <a:pt x="7980610" y="1921126"/>
                  </a:lnTo>
                  <a:lnTo>
                    <a:pt x="7978908" y="1896120"/>
                  </a:lnTo>
                  <a:lnTo>
                    <a:pt x="7975513" y="1846110"/>
                  </a:lnTo>
                  <a:lnTo>
                    <a:pt x="7961843" y="1795189"/>
                  </a:lnTo>
                  <a:lnTo>
                    <a:pt x="7943540" y="1775063"/>
                  </a:lnTo>
                  <a:lnTo>
                    <a:pt x="7902144" y="1807880"/>
                  </a:lnTo>
                  <a:lnTo>
                    <a:pt x="7897719" y="1848814"/>
                  </a:lnTo>
                  <a:lnTo>
                    <a:pt x="7870093" y="1877079"/>
                  </a:lnTo>
                  <a:lnTo>
                    <a:pt x="7852175" y="1895400"/>
                  </a:lnTo>
                  <a:lnTo>
                    <a:pt x="7800590" y="1915700"/>
                  </a:lnTo>
                  <a:lnTo>
                    <a:pt x="7746315" y="1934204"/>
                  </a:lnTo>
                  <a:lnTo>
                    <a:pt x="7692070" y="1952708"/>
                  </a:lnTo>
                  <a:lnTo>
                    <a:pt x="7635376" y="1969507"/>
                  </a:lnTo>
                  <a:lnTo>
                    <a:pt x="7606212" y="1980456"/>
                  </a:lnTo>
                  <a:lnTo>
                    <a:pt x="7582080" y="1989317"/>
                  </a:lnTo>
                  <a:lnTo>
                    <a:pt x="7551803" y="2010376"/>
                  </a:lnTo>
                  <a:lnTo>
                    <a:pt x="7529376" y="2035277"/>
                  </a:lnTo>
                  <a:lnTo>
                    <a:pt x="7506887" y="2074834"/>
                  </a:lnTo>
                  <a:lnTo>
                    <a:pt x="7498311" y="2103357"/>
                  </a:lnTo>
                  <a:lnTo>
                    <a:pt x="7472914" y="2132797"/>
                  </a:lnTo>
                  <a:lnTo>
                    <a:pt x="7437165" y="2174239"/>
                  </a:lnTo>
                  <a:lnTo>
                    <a:pt x="7340972" y="2236040"/>
                  </a:lnTo>
                  <a:lnTo>
                    <a:pt x="7321931" y="2266094"/>
                  </a:lnTo>
                  <a:lnTo>
                    <a:pt x="7304680" y="2302265"/>
                  </a:lnTo>
                  <a:lnTo>
                    <a:pt x="7266508" y="2333169"/>
                  </a:lnTo>
                  <a:lnTo>
                    <a:pt x="7235434" y="2314209"/>
                  </a:lnTo>
                  <a:lnTo>
                    <a:pt x="7206317" y="2327306"/>
                  </a:lnTo>
                  <a:lnTo>
                    <a:pt x="7184982" y="2336908"/>
                  </a:lnTo>
                  <a:lnTo>
                    <a:pt x="7165507" y="2365393"/>
                  </a:lnTo>
                  <a:lnTo>
                    <a:pt x="7150525" y="2392148"/>
                  </a:lnTo>
                  <a:lnTo>
                    <a:pt x="7105479" y="2420776"/>
                  </a:lnTo>
                  <a:lnTo>
                    <a:pt x="7069320" y="2416866"/>
                  </a:lnTo>
                  <a:lnTo>
                    <a:pt x="7034935" y="2426599"/>
                  </a:lnTo>
                  <a:lnTo>
                    <a:pt x="7013718" y="2432549"/>
                  </a:lnTo>
                  <a:lnTo>
                    <a:pt x="6996903" y="2447847"/>
                  </a:lnTo>
                  <a:lnTo>
                    <a:pt x="6976445" y="2453803"/>
                  </a:lnTo>
                  <a:lnTo>
                    <a:pt x="6951411" y="2457456"/>
                  </a:lnTo>
                  <a:lnTo>
                    <a:pt x="6932919" y="2438840"/>
                  </a:lnTo>
                  <a:lnTo>
                    <a:pt x="6939493" y="2413378"/>
                  </a:lnTo>
                  <a:lnTo>
                    <a:pt x="6965305" y="2398545"/>
                  </a:lnTo>
                  <a:lnTo>
                    <a:pt x="6980994" y="2375331"/>
                  </a:lnTo>
                  <a:lnTo>
                    <a:pt x="6999566" y="2365387"/>
                  </a:lnTo>
                  <a:lnTo>
                    <a:pt x="7042705" y="2342278"/>
                  </a:lnTo>
                  <a:lnTo>
                    <a:pt x="7067165" y="2325256"/>
                  </a:lnTo>
                  <a:lnTo>
                    <a:pt x="7095192" y="2296706"/>
                  </a:lnTo>
                  <a:lnTo>
                    <a:pt x="7098860" y="2274258"/>
                  </a:lnTo>
                  <a:lnTo>
                    <a:pt x="7095899" y="2252752"/>
                  </a:lnTo>
                  <a:lnTo>
                    <a:pt x="7099117" y="2225027"/>
                  </a:lnTo>
                  <a:lnTo>
                    <a:pt x="7123354" y="2185838"/>
                  </a:lnTo>
                  <a:lnTo>
                    <a:pt x="7156220" y="2145841"/>
                  </a:lnTo>
                  <a:lnTo>
                    <a:pt x="7203858" y="2124211"/>
                  </a:lnTo>
                  <a:lnTo>
                    <a:pt x="7230802" y="2077023"/>
                  </a:lnTo>
                  <a:lnTo>
                    <a:pt x="7241304" y="2058665"/>
                  </a:lnTo>
                  <a:lnTo>
                    <a:pt x="7238969" y="2018540"/>
                  </a:lnTo>
                  <a:lnTo>
                    <a:pt x="7238011" y="1977817"/>
                  </a:lnTo>
                  <a:lnTo>
                    <a:pt x="7249849" y="1960051"/>
                  </a:lnTo>
                  <a:lnTo>
                    <a:pt x="7276539" y="1936861"/>
                  </a:lnTo>
                  <a:lnTo>
                    <a:pt x="7315659" y="1926105"/>
                  </a:lnTo>
                  <a:lnTo>
                    <a:pt x="7338662" y="1922921"/>
                  </a:lnTo>
                  <a:lnTo>
                    <a:pt x="7361383" y="1917883"/>
                  </a:lnTo>
                  <a:lnTo>
                    <a:pt x="7384107" y="1912844"/>
                  </a:lnTo>
                  <a:lnTo>
                    <a:pt x="7406869" y="1906525"/>
                  </a:lnTo>
                  <a:lnTo>
                    <a:pt x="7426672" y="1892036"/>
                  </a:lnTo>
                  <a:lnTo>
                    <a:pt x="7446476" y="1877553"/>
                  </a:lnTo>
                  <a:lnTo>
                    <a:pt x="7463485" y="1855024"/>
                  </a:lnTo>
                  <a:lnTo>
                    <a:pt x="7474282" y="1821306"/>
                  </a:lnTo>
                  <a:lnTo>
                    <a:pt x="7480784" y="1801080"/>
                  </a:lnTo>
                  <a:lnTo>
                    <a:pt x="7475851" y="1780629"/>
                  </a:lnTo>
                  <a:lnTo>
                    <a:pt x="7494395" y="1745518"/>
                  </a:lnTo>
                  <a:lnTo>
                    <a:pt x="7513337" y="1726394"/>
                  </a:lnTo>
                  <a:lnTo>
                    <a:pt x="7523255" y="1707049"/>
                  </a:lnTo>
                  <a:lnTo>
                    <a:pt x="7546711" y="1654990"/>
                  </a:lnTo>
                  <a:lnTo>
                    <a:pt x="7554540" y="1619997"/>
                  </a:lnTo>
                  <a:lnTo>
                    <a:pt x="7560996" y="1585599"/>
                  </a:lnTo>
                  <a:lnTo>
                    <a:pt x="7558980" y="1556469"/>
                  </a:lnTo>
                  <a:lnTo>
                    <a:pt x="7545018" y="1538383"/>
                  </a:lnTo>
                  <a:lnTo>
                    <a:pt x="7514782" y="1516537"/>
                  </a:lnTo>
                  <a:lnTo>
                    <a:pt x="7474886" y="1510165"/>
                  </a:lnTo>
                  <a:lnTo>
                    <a:pt x="7448448" y="1481261"/>
                  </a:lnTo>
                  <a:lnTo>
                    <a:pt x="7419668" y="1475352"/>
                  </a:lnTo>
                  <a:lnTo>
                    <a:pt x="7391019" y="1470465"/>
                  </a:lnTo>
                  <a:lnTo>
                    <a:pt x="7364112" y="1458137"/>
                  </a:lnTo>
                  <a:lnTo>
                    <a:pt x="7320970" y="1434002"/>
                  </a:lnTo>
                  <a:lnTo>
                    <a:pt x="7293381" y="1421411"/>
                  </a:lnTo>
                  <a:lnTo>
                    <a:pt x="7265789" y="1408822"/>
                  </a:lnTo>
                  <a:lnTo>
                    <a:pt x="7239167" y="1400795"/>
                  </a:lnTo>
                  <a:lnTo>
                    <a:pt x="7226756" y="1428210"/>
                  </a:lnTo>
                  <a:lnTo>
                    <a:pt x="7245027" y="1455883"/>
                  </a:lnTo>
                  <a:lnTo>
                    <a:pt x="7275168" y="1494305"/>
                  </a:lnTo>
                  <a:lnTo>
                    <a:pt x="7308137" y="1531435"/>
                  </a:lnTo>
                  <a:lnTo>
                    <a:pt x="7327407" y="1569671"/>
                  </a:lnTo>
                  <a:lnTo>
                    <a:pt x="7337053" y="1588790"/>
                  </a:lnTo>
                  <a:lnTo>
                    <a:pt x="7342370" y="1625439"/>
                  </a:lnTo>
                  <a:lnTo>
                    <a:pt x="7334712" y="1662165"/>
                  </a:lnTo>
                  <a:lnTo>
                    <a:pt x="7316518" y="1677128"/>
                  </a:lnTo>
                  <a:lnTo>
                    <a:pt x="7270319" y="1676741"/>
                  </a:lnTo>
                  <a:lnTo>
                    <a:pt x="7249322" y="1655399"/>
                  </a:lnTo>
                  <a:lnTo>
                    <a:pt x="7218583" y="1658081"/>
                  </a:lnTo>
                  <a:lnTo>
                    <a:pt x="7182820" y="1680275"/>
                  </a:lnTo>
                  <a:lnTo>
                    <a:pt x="7168263" y="1708407"/>
                  </a:lnTo>
                  <a:lnTo>
                    <a:pt x="7153703" y="1736542"/>
                  </a:lnTo>
                  <a:lnTo>
                    <a:pt x="7139670" y="1771740"/>
                  </a:lnTo>
                  <a:lnTo>
                    <a:pt x="7126095" y="1804984"/>
                  </a:lnTo>
                  <a:lnTo>
                    <a:pt x="7112552" y="1838222"/>
                  </a:lnTo>
                  <a:lnTo>
                    <a:pt x="7099474" y="1869588"/>
                  </a:lnTo>
                  <a:lnTo>
                    <a:pt x="7082563" y="1886588"/>
                  </a:lnTo>
                  <a:lnTo>
                    <a:pt x="7064099" y="1899754"/>
                  </a:lnTo>
                  <a:lnTo>
                    <a:pt x="7033636" y="1896870"/>
                  </a:lnTo>
                  <a:lnTo>
                    <a:pt x="7007079" y="1862280"/>
                  </a:lnTo>
                  <a:lnTo>
                    <a:pt x="6984966" y="1827913"/>
                  </a:lnTo>
                  <a:lnTo>
                    <a:pt x="6969671" y="1792737"/>
                  </a:lnTo>
                  <a:lnTo>
                    <a:pt x="6956186" y="1756841"/>
                  </a:lnTo>
                  <a:lnTo>
                    <a:pt x="6950521" y="1722540"/>
                  </a:lnTo>
                  <a:lnTo>
                    <a:pt x="6956047" y="1692079"/>
                  </a:lnTo>
                  <a:lnTo>
                    <a:pt x="6965531" y="1666155"/>
                  </a:lnTo>
                  <a:lnTo>
                    <a:pt x="6998683" y="1662370"/>
                  </a:lnTo>
                  <a:lnTo>
                    <a:pt x="7013178" y="1634954"/>
                  </a:lnTo>
                  <a:lnTo>
                    <a:pt x="6999408" y="1601418"/>
                  </a:lnTo>
                  <a:lnTo>
                    <a:pt x="6972836" y="1590966"/>
                  </a:lnTo>
                  <a:lnTo>
                    <a:pt x="6945164" y="1587351"/>
                  </a:lnTo>
                  <a:lnTo>
                    <a:pt x="6895616" y="1607756"/>
                  </a:lnTo>
                  <a:lnTo>
                    <a:pt x="6870945" y="1619278"/>
                  </a:lnTo>
                  <a:lnTo>
                    <a:pt x="6848676" y="1624462"/>
                  </a:lnTo>
                  <a:lnTo>
                    <a:pt x="6821087" y="1654600"/>
                  </a:lnTo>
                  <a:lnTo>
                    <a:pt x="6814499" y="1687580"/>
                  </a:lnTo>
                  <a:lnTo>
                    <a:pt x="6809144" y="1712491"/>
                  </a:lnTo>
                  <a:lnTo>
                    <a:pt x="6802689" y="1742588"/>
                  </a:lnTo>
                  <a:lnTo>
                    <a:pt x="6795548" y="1769833"/>
                  </a:lnTo>
                  <a:lnTo>
                    <a:pt x="6795548" y="1800901"/>
                  </a:lnTo>
                  <a:lnTo>
                    <a:pt x="6795548" y="1824853"/>
                  </a:lnTo>
                  <a:lnTo>
                    <a:pt x="6801799" y="1859424"/>
                  </a:lnTo>
                  <a:lnTo>
                    <a:pt x="6805064" y="1892036"/>
                  </a:lnTo>
                  <a:lnTo>
                    <a:pt x="6808375" y="1924648"/>
                  </a:lnTo>
                  <a:lnTo>
                    <a:pt x="6809727" y="1956541"/>
                  </a:lnTo>
                  <a:lnTo>
                    <a:pt x="6799622" y="1976372"/>
                  </a:lnTo>
                  <a:lnTo>
                    <a:pt x="6777227" y="1983593"/>
                  </a:lnTo>
                  <a:lnTo>
                    <a:pt x="6756406" y="1970310"/>
                  </a:lnTo>
                  <a:lnTo>
                    <a:pt x="6747938" y="1942362"/>
                  </a:lnTo>
                  <a:lnTo>
                    <a:pt x="6747938" y="1913232"/>
                  </a:lnTo>
                  <a:lnTo>
                    <a:pt x="6755820" y="1865973"/>
                  </a:lnTo>
                  <a:lnTo>
                    <a:pt x="6765261" y="1833277"/>
                  </a:lnTo>
                  <a:lnTo>
                    <a:pt x="6760158" y="1804984"/>
                  </a:lnTo>
                  <a:lnTo>
                    <a:pt x="6720464" y="1814680"/>
                  </a:lnTo>
                  <a:lnTo>
                    <a:pt x="6704050" y="1857269"/>
                  </a:lnTo>
                  <a:lnTo>
                    <a:pt x="6690785" y="1877079"/>
                  </a:lnTo>
                  <a:lnTo>
                    <a:pt x="6664948" y="1878431"/>
                  </a:lnTo>
                  <a:lnTo>
                    <a:pt x="6673931" y="1843221"/>
                  </a:lnTo>
                  <a:lnTo>
                    <a:pt x="6680405" y="1802116"/>
                  </a:lnTo>
                  <a:lnTo>
                    <a:pt x="6669022" y="1772338"/>
                  </a:lnTo>
                  <a:lnTo>
                    <a:pt x="6643362" y="1800770"/>
                  </a:lnTo>
                  <a:lnTo>
                    <a:pt x="6630938" y="1818590"/>
                  </a:lnTo>
                  <a:lnTo>
                    <a:pt x="6618551" y="1836402"/>
                  </a:lnTo>
                  <a:lnTo>
                    <a:pt x="6604598" y="1852125"/>
                  </a:lnTo>
                  <a:lnTo>
                    <a:pt x="6576535" y="1840353"/>
                  </a:lnTo>
                  <a:lnTo>
                    <a:pt x="6587412" y="1809706"/>
                  </a:lnTo>
                  <a:lnTo>
                    <a:pt x="6621884" y="1763160"/>
                  </a:lnTo>
                  <a:lnTo>
                    <a:pt x="6629493" y="1712109"/>
                  </a:lnTo>
                  <a:lnTo>
                    <a:pt x="6635028" y="1671687"/>
                  </a:lnTo>
                  <a:lnTo>
                    <a:pt x="6654065" y="1644476"/>
                  </a:lnTo>
                  <a:lnTo>
                    <a:pt x="6696742" y="1636129"/>
                  </a:lnTo>
                  <a:lnTo>
                    <a:pt x="6723431" y="1628155"/>
                  </a:lnTo>
                  <a:lnTo>
                    <a:pt x="6742602" y="1606035"/>
                  </a:lnTo>
                  <a:lnTo>
                    <a:pt x="6752000" y="1581912"/>
                  </a:lnTo>
                  <a:lnTo>
                    <a:pt x="6772932" y="1544439"/>
                  </a:lnTo>
                  <a:lnTo>
                    <a:pt x="6780569" y="1524778"/>
                  </a:lnTo>
                  <a:lnTo>
                    <a:pt x="6786004" y="1494857"/>
                  </a:lnTo>
                  <a:lnTo>
                    <a:pt x="6779843" y="1474211"/>
                  </a:lnTo>
                  <a:lnTo>
                    <a:pt x="6745154" y="1438005"/>
                  </a:lnTo>
                  <a:lnTo>
                    <a:pt x="6706304" y="1420744"/>
                  </a:lnTo>
                  <a:lnTo>
                    <a:pt x="6670390" y="1403725"/>
                  </a:lnTo>
                  <a:lnTo>
                    <a:pt x="6634472" y="1386703"/>
                  </a:lnTo>
                  <a:lnTo>
                    <a:pt x="6601526" y="1370313"/>
                  </a:lnTo>
                  <a:lnTo>
                    <a:pt x="6584696" y="1345239"/>
                  </a:lnTo>
                  <a:lnTo>
                    <a:pt x="6596419" y="1314651"/>
                  </a:lnTo>
                  <a:lnTo>
                    <a:pt x="6625496" y="1312596"/>
                  </a:lnTo>
                  <a:lnTo>
                    <a:pt x="6655584" y="1311777"/>
                  </a:lnTo>
                  <a:lnTo>
                    <a:pt x="6671503" y="1288920"/>
                  </a:lnTo>
                  <a:lnTo>
                    <a:pt x="6656791" y="1266344"/>
                  </a:lnTo>
                  <a:lnTo>
                    <a:pt x="6639669" y="1243924"/>
                  </a:lnTo>
                  <a:lnTo>
                    <a:pt x="6622523" y="1207089"/>
                  </a:lnTo>
                  <a:lnTo>
                    <a:pt x="6606852" y="1171727"/>
                  </a:lnTo>
                  <a:lnTo>
                    <a:pt x="6586060" y="1145288"/>
                  </a:lnTo>
                  <a:lnTo>
                    <a:pt x="6564198" y="1121739"/>
                  </a:lnTo>
                  <a:lnTo>
                    <a:pt x="6537185" y="1108983"/>
                  </a:lnTo>
                  <a:lnTo>
                    <a:pt x="6504440" y="1112639"/>
                  </a:lnTo>
                  <a:lnTo>
                    <a:pt x="6484782" y="1128365"/>
                  </a:lnTo>
                  <a:lnTo>
                    <a:pt x="6479242" y="1153328"/>
                  </a:lnTo>
                  <a:lnTo>
                    <a:pt x="6475884" y="1179286"/>
                  </a:lnTo>
                  <a:lnTo>
                    <a:pt x="6472489" y="1205250"/>
                  </a:lnTo>
                  <a:lnTo>
                    <a:pt x="6471915" y="1232163"/>
                  </a:lnTo>
                  <a:lnTo>
                    <a:pt x="6460914" y="1251375"/>
                  </a:lnTo>
                  <a:lnTo>
                    <a:pt x="6440280" y="1269702"/>
                  </a:lnTo>
                  <a:lnTo>
                    <a:pt x="6410827" y="1271141"/>
                  </a:lnTo>
                  <a:lnTo>
                    <a:pt x="6377946" y="1259538"/>
                  </a:lnTo>
                  <a:lnTo>
                    <a:pt x="6344475" y="1245366"/>
                  </a:lnTo>
                  <a:lnTo>
                    <a:pt x="6312160" y="1221221"/>
                  </a:lnTo>
                  <a:lnTo>
                    <a:pt x="6293476" y="1189850"/>
                  </a:lnTo>
                  <a:lnTo>
                    <a:pt x="6293610" y="1156165"/>
                  </a:lnTo>
                  <a:lnTo>
                    <a:pt x="6300592" y="1122570"/>
                  </a:lnTo>
                  <a:lnTo>
                    <a:pt x="6311119" y="1086383"/>
                  </a:lnTo>
                  <a:lnTo>
                    <a:pt x="6318101" y="1050072"/>
                  </a:lnTo>
                  <a:lnTo>
                    <a:pt x="6318563" y="1015237"/>
                  </a:lnTo>
                  <a:lnTo>
                    <a:pt x="6296332" y="990225"/>
                  </a:lnTo>
                  <a:lnTo>
                    <a:pt x="6273462" y="998506"/>
                  </a:lnTo>
                  <a:lnTo>
                    <a:pt x="6224513" y="1113191"/>
                  </a:lnTo>
                  <a:lnTo>
                    <a:pt x="6214721" y="1134402"/>
                  </a:lnTo>
                  <a:lnTo>
                    <a:pt x="6203007" y="1159625"/>
                  </a:lnTo>
                  <a:lnTo>
                    <a:pt x="6187523" y="1188808"/>
                  </a:lnTo>
                  <a:lnTo>
                    <a:pt x="6164473" y="1214205"/>
                  </a:lnTo>
                  <a:lnTo>
                    <a:pt x="6137191" y="1226895"/>
                  </a:lnTo>
                  <a:lnTo>
                    <a:pt x="6109385" y="1222431"/>
                  </a:lnTo>
                  <a:lnTo>
                    <a:pt x="6083443" y="1203877"/>
                  </a:lnTo>
                  <a:lnTo>
                    <a:pt x="6086859" y="1175202"/>
                  </a:lnTo>
                  <a:lnTo>
                    <a:pt x="6100933" y="1145521"/>
                  </a:lnTo>
                  <a:lnTo>
                    <a:pt x="6119040" y="1117842"/>
                  </a:lnTo>
                  <a:lnTo>
                    <a:pt x="6129034" y="1092234"/>
                  </a:lnTo>
                  <a:lnTo>
                    <a:pt x="6124218" y="1066434"/>
                  </a:lnTo>
                  <a:lnTo>
                    <a:pt x="6104545" y="1054146"/>
                  </a:lnTo>
                  <a:lnTo>
                    <a:pt x="6083588" y="1053132"/>
                  </a:lnTo>
                  <a:lnTo>
                    <a:pt x="5855937" y="1018958"/>
                  </a:lnTo>
                  <a:lnTo>
                    <a:pt x="5834286" y="1007138"/>
                  </a:lnTo>
                  <a:lnTo>
                    <a:pt x="5817087" y="986476"/>
                  </a:lnTo>
                  <a:lnTo>
                    <a:pt x="5798496" y="969820"/>
                  </a:lnTo>
                  <a:lnTo>
                    <a:pt x="5779945" y="953154"/>
                  </a:lnTo>
                  <a:lnTo>
                    <a:pt x="5760219" y="939719"/>
                  </a:lnTo>
                  <a:lnTo>
                    <a:pt x="5730490" y="943973"/>
                  </a:lnTo>
                  <a:lnTo>
                    <a:pt x="5718249" y="975258"/>
                  </a:lnTo>
                  <a:lnTo>
                    <a:pt x="5731849" y="992941"/>
                  </a:lnTo>
                  <a:lnTo>
                    <a:pt x="5750511" y="1013299"/>
                  </a:lnTo>
                  <a:lnTo>
                    <a:pt x="5772953" y="1029965"/>
                  </a:lnTo>
                  <a:lnTo>
                    <a:pt x="5788980" y="1052788"/>
                  </a:lnTo>
                  <a:lnTo>
                    <a:pt x="5804861" y="1082715"/>
                  </a:lnTo>
                  <a:lnTo>
                    <a:pt x="5822553" y="1102094"/>
                  </a:lnTo>
                  <a:lnTo>
                    <a:pt x="5844753" y="1112639"/>
                  </a:lnTo>
                  <a:lnTo>
                    <a:pt x="5875446" y="1122840"/>
                  </a:lnTo>
                  <a:lnTo>
                    <a:pt x="5989985" y="1200627"/>
                  </a:lnTo>
                  <a:lnTo>
                    <a:pt x="6006610" y="1226895"/>
                  </a:lnTo>
                  <a:lnTo>
                    <a:pt x="6028178" y="1305117"/>
                  </a:lnTo>
                  <a:lnTo>
                    <a:pt x="6033815" y="1365631"/>
                  </a:lnTo>
                  <a:lnTo>
                    <a:pt x="6039455" y="1426151"/>
                  </a:lnTo>
                  <a:lnTo>
                    <a:pt x="6040701" y="1486523"/>
                  </a:lnTo>
                  <a:lnTo>
                    <a:pt x="6014954" y="1525162"/>
                  </a:lnTo>
                  <a:lnTo>
                    <a:pt x="5982763" y="1534911"/>
                  </a:lnTo>
                  <a:lnTo>
                    <a:pt x="5949472" y="1542461"/>
                  </a:lnTo>
                  <a:lnTo>
                    <a:pt x="5916175" y="1550004"/>
                  </a:lnTo>
                  <a:lnTo>
                    <a:pt x="5881356" y="1554720"/>
                  </a:lnTo>
                  <a:lnTo>
                    <a:pt x="5859698" y="1565582"/>
                  </a:lnTo>
                  <a:lnTo>
                    <a:pt x="5837340" y="1558869"/>
                  </a:lnTo>
                  <a:lnTo>
                    <a:pt x="5810504" y="1544755"/>
                  </a:lnTo>
                  <a:lnTo>
                    <a:pt x="5780295" y="1501592"/>
                  </a:lnTo>
                  <a:lnTo>
                    <a:pt x="5756321" y="1456767"/>
                  </a:lnTo>
                  <a:lnTo>
                    <a:pt x="5732357" y="1411941"/>
                  </a:lnTo>
                  <a:lnTo>
                    <a:pt x="5714076" y="1365678"/>
                  </a:lnTo>
                  <a:lnTo>
                    <a:pt x="5740000" y="1343868"/>
                  </a:lnTo>
                  <a:lnTo>
                    <a:pt x="5773443" y="1361079"/>
                  </a:lnTo>
                  <a:lnTo>
                    <a:pt x="5807190" y="1378347"/>
                  </a:lnTo>
                  <a:lnTo>
                    <a:pt x="5843373" y="1373789"/>
                  </a:lnTo>
                  <a:lnTo>
                    <a:pt x="5861186" y="1359123"/>
                  </a:lnTo>
                  <a:lnTo>
                    <a:pt x="5908876" y="1285636"/>
                  </a:lnTo>
                  <a:lnTo>
                    <a:pt x="5907298" y="1263616"/>
                  </a:lnTo>
                  <a:lnTo>
                    <a:pt x="5860483" y="1226743"/>
                  </a:lnTo>
                  <a:lnTo>
                    <a:pt x="5807044" y="1179965"/>
                  </a:lnTo>
                  <a:lnTo>
                    <a:pt x="5754957" y="1130312"/>
                  </a:lnTo>
                  <a:lnTo>
                    <a:pt x="5702917" y="1080659"/>
                  </a:lnTo>
                  <a:lnTo>
                    <a:pt x="5651897" y="1029146"/>
                  </a:lnTo>
                  <a:lnTo>
                    <a:pt x="5616225" y="997015"/>
                  </a:lnTo>
                  <a:lnTo>
                    <a:pt x="5587070" y="970787"/>
                  </a:lnTo>
                  <a:lnTo>
                    <a:pt x="5550846" y="947836"/>
                  </a:lnTo>
                  <a:lnTo>
                    <a:pt x="5526450" y="916762"/>
                  </a:lnTo>
                  <a:lnTo>
                    <a:pt x="5499568" y="882417"/>
                  </a:lnTo>
                  <a:lnTo>
                    <a:pt x="5474146" y="841964"/>
                  </a:lnTo>
                  <a:lnTo>
                    <a:pt x="5446198" y="805222"/>
                  </a:lnTo>
                  <a:lnTo>
                    <a:pt x="5418252" y="768489"/>
                  </a:lnTo>
                  <a:lnTo>
                    <a:pt x="5387411" y="735006"/>
                  </a:lnTo>
                  <a:lnTo>
                    <a:pt x="5348263" y="712728"/>
                  </a:lnTo>
                  <a:lnTo>
                    <a:pt x="5324435" y="699197"/>
                  </a:lnTo>
                  <a:lnTo>
                    <a:pt x="5254675" y="693164"/>
                  </a:lnTo>
                  <a:lnTo>
                    <a:pt x="5195918" y="703213"/>
                  </a:lnTo>
                  <a:lnTo>
                    <a:pt x="5166547" y="708239"/>
                  </a:lnTo>
                  <a:lnTo>
                    <a:pt x="5140365" y="717128"/>
                  </a:lnTo>
                  <a:lnTo>
                    <a:pt x="5123824" y="731775"/>
                  </a:lnTo>
                  <a:lnTo>
                    <a:pt x="5109868" y="747424"/>
                  </a:lnTo>
                  <a:lnTo>
                    <a:pt x="5106243" y="779608"/>
                  </a:lnTo>
                  <a:lnTo>
                    <a:pt x="5118732" y="810849"/>
                  </a:lnTo>
                  <a:lnTo>
                    <a:pt x="5149683" y="826991"/>
                  </a:lnTo>
                  <a:lnTo>
                    <a:pt x="5189820" y="834082"/>
                  </a:lnTo>
                  <a:lnTo>
                    <a:pt x="5210891" y="835152"/>
                  </a:lnTo>
                  <a:lnTo>
                    <a:pt x="5231988" y="836218"/>
                  </a:lnTo>
                  <a:lnTo>
                    <a:pt x="5269381" y="840590"/>
                  </a:lnTo>
                  <a:lnTo>
                    <a:pt x="5299980" y="849799"/>
                  </a:lnTo>
                  <a:lnTo>
                    <a:pt x="5307412" y="880451"/>
                  </a:lnTo>
                  <a:lnTo>
                    <a:pt x="5293860" y="901799"/>
                  </a:lnTo>
                  <a:lnTo>
                    <a:pt x="5271768" y="916201"/>
                  </a:lnTo>
                  <a:lnTo>
                    <a:pt x="5247974" y="928204"/>
                  </a:lnTo>
                  <a:lnTo>
                    <a:pt x="5228571" y="943967"/>
                  </a:lnTo>
                  <a:lnTo>
                    <a:pt x="5218143" y="966561"/>
                  </a:lnTo>
                  <a:lnTo>
                    <a:pt x="5241240" y="1018905"/>
                  </a:lnTo>
                  <a:lnTo>
                    <a:pt x="5281740" y="1043812"/>
                  </a:lnTo>
                  <a:lnTo>
                    <a:pt x="5292502" y="1079987"/>
                  </a:lnTo>
                  <a:lnTo>
                    <a:pt x="5287054" y="1101750"/>
                  </a:lnTo>
                  <a:lnTo>
                    <a:pt x="5263347" y="1128780"/>
                  </a:lnTo>
                  <a:lnTo>
                    <a:pt x="5224949" y="1153433"/>
                  </a:lnTo>
                  <a:lnTo>
                    <a:pt x="5203555" y="1152571"/>
                  </a:lnTo>
                  <a:lnTo>
                    <a:pt x="5185045" y="1142559"/>
                  </a:lnTo>
                  <a:lnTo>
                    <a:pt x="5166540" y="1132541"/>
                  </a:lnTo>
                  <a:lnTo>
                    <a:pt x="5150699" y="1112676"/>
                  </a:lnTo>
                  <a:lnTo>
                    <a:pt x="5137441" y="1089508"/>
                  </a:lnTo>
                  <a:lnTo>
                    <a:pt x="5110872" y="1043167"/>
                  </a:lnTo>
                  <a:lnTo>
                    <a:pt x="5093205" y="984309"/>
                  </a:lnTo>
                  <a:lnTo>
                    <a:pt x="5077594" y="964372"/>
                  </a:lnTo>
                  <a:lnTo>
                    <a:pt x="5049196" y="939759"/>
                  </a:lnTo>
                  <a:lnTo>
                    <a:pt x="5007397" y="947942"/>
                  </a:lnTo>
                  <a:lnTo>
                    <a:pt x="4995974" y="982051"/>
                  </a:lnTo>
                  <a:lnTo>
                    <a:pt x="4988793" y="1014552"/>
                  </a:lnTo>
                  <a:lnTo>
                    <a:pt x="4943013" y="1037943"/>
                  </a:lnTo>
                  <a:lnTo>
                    <a:pt x="4907564" y="1043260"/>
                  </a:lnTo>
                  <a:lnTo>
                    <a:pt x="4890734" y="1058177"/>
                  </a:lnTo>
                  <a:lnTo>
                    <a:pt x="4868121" y="1066387"/>
                  </a:lnTo>
                  <a:lnTo>
                    <a:pt x="4862764" y="1036163"/>
                  </a:lnTo>
                  <a:lnTo>
                    <a:pt x="4875600" y="1009209"/>
                  </a:lnTo>
                  <a:lnTo>
                    <a:pt x="4851797" y="965730"/>
                  </a:lnTo>
                  <a:lnTo>
                    <a:pt x="4881680" y="937828"/>
                  </a:lnTo>
                  <a:lnTo>
                    <a:pt x="4900764" y="920846"/>
                  </a:lnTo>
                  <a:lnTo>
                    <a:pt x="4919653" y="902202"/>
                  </a:lnTo>
                  <a:lnTo>
                    <a:pt x="4928121" y="874191"/>
                  </a:lnTo>
                  <a:lnTo>
                    <a:pt x="4921169" y="833791"/>
                  </a:lnTo>
                  <a:lnTo>
                    <a:pt x="4914646" y="811265"/>
                  </a:lnTo>
                  <a:lnTo>
                    <a:pt x="4885801" y="784826"/>
                  </a:lnTo>
                  <a:lnTo>
                    <a:pt x="4851164" y="763060"/>
                  </a:lnTo>
                  <a:lnTo>
                    <a:pt x="4824487" y="739961"/>
                  </a:lnTo>
                  <a:lnTo>
                    <a:pt x="4804907" y="718836"/>
                  </a:lnTo>
                  <a:lnTo>
                    <a:pt x="4789233" y="696407"/>
                  </a:lnTo>
                  <a:lnTo>
                    <a:pt x="4773557" y="673983"/>
                  </a:lnTo>
                  <a:lnTo>
                    <a:pt x="4761982" y="650078"/>
                  </a:lnTo>
                  <a:lnTo>
                    <a:pt x="4768062" y="617643"/>
                  </a:lnTo>
                  <a:lnTo>
                    <a:pt x="4795010" y="594264"/>
                  </a:lnTo>
                  <a:lnTo>
                    <a:pt x="4817371" y="558626"/>
                  </a:lnTo>
                  <a:lnTo>
                    <a:pt x="4816081" y="523239"/>
                  </a:lnTo>
                  <a:lnTo>
                    <a:pt x="4810996" y="488299"/>
                  </a:lnTo>
                  <a:lnTo>
                    <a:pt x="4805911" y="453358"/>
                  </a:lnTo>
                  <a:lnTo>
                    <a:pt x="4798175" y="417931"/>
                  </a:lnTo>
                  <a:lnTo>
                    <a:pt x="4791949" y="393089"/>
                  </a:lnTo>
                  <a:lnTo>
                    <a:pt x="4773287" y="368734"/>
                  </a:lnTo>
                  <a:lnTo>
                    <a:pt x="4729931" y="367624"/>
                  </a:lnTo>
                  <a:lnTo>
                    <a:pt x="4703539" y="353637"/>
                  </a:lnTo>
                  <a:lnTo>
                    <a:pt x="4663532" y="315215"/>
                  </a:lnTo>
                  <a:lnTo>
                    <a:pt x="4632827" y="321007"/>
                  </a:lnTo>
                  <a:lnTo>
                    <a:pt x="4627407" y="359255"/>
                  </a:lnTo>
                  <a:lnTo>
                    <a:pt x="4634917" y="418690"/>
                  </a:lnTo>
                  <a:lnTo>
                    <a:pt x="4634185" y="474706"/>
                  </a:lnTo>
                  <a:lnTo>
                    <a:pt x="4633857" y="502713"/>
                  </a:lnTo>
                  <a:lnTo>
                    <a:pt x="4631705" y="530386"/>
                  </a:lnTo>
                  <a:lnTo>
                    <a:pt x="4624663" y="553594"/>
                  </a:lnTo>
                  <a:lnTo>
                    <a:pt x="4617619" y="576808"/>
                  </a:lnTo>
                  <a:lnTo>
                    <a:pt x="4605536" y="595749"/>
                  </a:lnTo>
                  <a:lnTo>
                    <a:pt x="4586576" y="608003"/>
                  </a:lnTo>
                  <a:lnTo>
                    <a:pt x="4561588" y="608201"/>
                  </a:lnTo>
                  <a:lnTo>
                    <a:pt x="4525792" y="585645"/>
                  </a:lnTo>
                  <a:lnTo>
                    <a:pt x="4523755" y="553219"/>
                  </a:lnTo>
                  <a:lnTo>
                    <a:pt x="4500882" y="537279"/>
                  </a:lnTo>
                  <a:lnTo>
                    <a:pt x="4476660" y="520442"/>
                  </a:lnTo>
                  <a:lnTo>
                    <a:pt x="4439034" y="511386"/>
                  </a:lnTo>
                  <a:lnTo>
                    <a:pt x="4412472" y="496469"/>
                  </a:lnTo>
                  <a:lnTo>
                    <a:pt x="4391775" y="484823"/>
                  </a:lnTo>
                  <a:lnTo>
                    <a:pt x="4357557" y="450034"/>
                  </a:lnTo>
                  <a:lnTo>
                    <a:pt x="4328142" y="412139"/>
                  </a:lnTo>
                  <a:lnTo>
                    <a:pt x="4298730" y="374240"/>
                  </a:lnTo>
                  <a:lnTo>
                    <a:pt x="4274204" y="333483"/>
                  </a:lnTo>
                  <a:lnTo>
                    <a:pt x="4269653" y="310123"/>
                  </a:lnTo>
                  <a:lnTo>
                    <a:pt x="4264211" y="282029"/>
                  </a:lnTo>
                  <a:lnTo>
                    <a:pt x="4272883" y="254694"/>
                  </a:lnTo>
                  <a:lnTo>
                    <a:pt x="4281894" y="228513"/>
                  </a:lnTo>
                  <a:lnTo>
                    <a:pt x="4266936" y="199817"/>
                  </a:lnTo>
                  <a:lnTo>
                    <a:pt x="4242448" y="178318"/>
                  </a:lnTo>
                  <a:lnTo>
                    <a:pt x="4213885" y="160498"/>
                  </a:lnTo>
                  <a:lnTo>
                    <a:pt x="4187499" y="140971"/>
                  </a:lnTo>
                  <a:lnTo>
                    <a:pt x="4169535" y="117459"/>
                  </a:lnTo>
                  <a:lnTo>
                    <a:pt x="4166276" y="85694"/>
                  </a:lnTo>
                  <a:lnTo>
                    <a:pt x="4183999" y="66210"/>
                  </a:lnTo>
                  <a:lnTo>
                    <a:pt x="4157197" y="16820"/>
                  </a:lnTo>
                  <a:lnTo>
                    <a:pt x="4133633" y="1358"/>
                  </a:lnTo>
                  <a:lnTo>
                    <a:pt x="4094187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78" name="Sumy¬0" descr="Sumy¬0">
              <a:extLst>
                <a:ext uri="{FF2B5EF4-FFF2-40B4-BE49-F238E27FC236}">
                  <a16:creationId xmlns:a16="http://schemas.microsoft.com/office/drawing/2014/main" id="{A35C5A02-FE60-4201-9A1C-29B012C8AA4A}"/>
                </a:ext>
              </a:extLst>
            </p:cNvPr>
            <p:cNvSpPr/>
            <p:nvPr/>
          </p:nvSpPr>
          <p:spPr>
            <a:xfrm>
              <a:off x="4583875" y="1185785"/>
              <a:ext cx="946434" cy="1026829"/>
            </a:xfrm>
            <a:custGeom>
              <a:avLst/>
              <a:gdLst/>
              <a:ahLst/>
              <a:cxnLst/>
              <a:rect l="0" t="0" r="0" b="0"/>
              <a:pathLst>
                <a:path w="9657839" h="11894505">
                  <a:moveTo>
                    <a:pt x="2838530" y="7354"/>
                  </a:moveTo>
                  <a:lnTo>
                    <a:pt x="2811999" y="18257"/>
                  </a:lnTo>
                  <a:lnTo>
                    <a:pt x="2785693" y="20978"/>
                  </a:lnTo>
                  <a:lnTo>
                    <a:pt x="2667781" y="33220"/>
                  </a:lnTo>
                  <a:lnTo>
                    <a:pt x="2602235" y="69137"/>
                  </a:lnTo>
                  <a:lnTo>
                    <a:pt x="2498697" y="118912"/>
                  </a:lnTo>
                  <a:lnTo>
                    <a:pt x="2445515" y="144479"/>
                  </a:lnTo>
                  <a:lnTo>
                    <a:pt x="2381457" y="160653"/>
                  </a:lnTo>
                  <a:lnTo>
                    <a:pt x="2334105" y="197804"/>
                  </a:lnTo>
                  <a:lnTo>
                    <a:pt x="2261759" y="254549"/>
                  </a:lnTo>
                  <a:lnTo>
                    <a:pt x="2218233" y="345236"/>
                  </a:lnTo>
                  <a:lnTo>
                    <a:pt x="2140960" y="396392"/>
                  </a:lnTo>
                  <a:lnTo>
                    <a:pt x="2096585" y="403236"/>
                  </a:lnTo>
                  <a:lnTo>
                    <a:pt x="2056625" y="366469"/>
                  </a:lnTo>
                  <a:lnTo>
                    <a:pt x="2002476" y="305748"/>
                  </a:lnTo>
                  <a:lnTo>
                    <a:pt x="2020453" y="257057"/>
                  </a:lnTo>
                  <a:lnTo>
                    <a:pt x="2036223" y="180121"/>
                  </a:lnTo>
                  <a:lnTo>
                    <a:pt x="2074484" y="136361"/>
                  </a:lnTo>
                  <a:lnTo>
                    <a:pt x="2068906" y="104949"/>
                  </a:lnTo>
                  <a:lnTo>
                    <a:pt x="1988238" y="32008"/>
                  </a:lnTo>
                  <a:lnTo>
                    <a:pt x="1970940" y="15537"/>
                  </a:lnTo>
                  <a:lnTo>
                    <a:pt x="1901270" y="16281"/>
                  </a:lnTo>
                  <a:lnTo>
                    <a:pt x="1867603" y="249109"/>
                  </a:lnTo>
                  <a:lnTo>
                    <a:pt x="1692092" y="72665"/>
                  </a:lnTo>
                  <a:lnTo>
                    <a:pt x="1667005" y="88070"/>
                  </a:lnTo>
                  <a:lnTo>
                    <a:pt x="1647973" y="109570"/>
                  </a:lnTo>
                  <a:lnTo>
                    <a:pt x="1632684" y="147606"/>
                  </a:lnTo>
                  <a:lnTo>
                    <a:pt x="1624859" y="177640"/>
                  </a:lnTo>
                  <a:lnTo>
                    <a:pt x="1617281" y="208685"/>
                  </a:lnTo>
                  <a:lnTo>
                    <a:pt x="1609703" y="239731"/>
                  </a:lnTo>
                  <a:lnTo>
                    <a:pt x="1602448" y="272362"/>
                  </a:lnTo>
                  <a:lnTo>
                    <a:pt x="1595518" y="301179"/>
                  </a:lnTo>
                  <a:lnTo>
                    <a:pt x="1588585" y="329995"/>
                  </a:lnTo>
                  <a:lnTo>
                    <a:pt x="1582253" y="355342"/>
                  </a:lnTo>
                  <a:lnTo>
                    <a:pt x="1573755" y="374629"/>
                  </a:lnTo>
                  <a:lnTo>
                    <a:pt x="1561771" y="401832"/>
                  </a:lnTo>
                  <a:lnTo>
                    <a:pt x="1535583" y="428528"/>
                  </a:lnTo>
                  <a:lnTo>
                    <a:pt x="1520704" y="454881"/>
                  </a:lnTo>
                  <a:lnTo>
                    <a:pt x="1504218" y="484040"/>
                  </a:lnTo>
                  <a:lnTo>
                    <a:pt x="1490532" y="517195"/>
                  </a:lnTo>
                  <a:lnTo>
                    <a:pt x="1475820" y="547375"/>
                  </a:lnTo>
                  <a:lnTo>
                    <a:pt x="1465836" y="567884"/>
                  </a:lnTo>
                  <a:lnTo>
                    <a:pt x="1471073" y="590383"/>
                  </a:lnTo>
                  <a:lnTo>
                    <a:pt x="1477178" y="614024"/>
                  </a:lnTo>
                  <a:lnTo>
                    <a:pt x="1483292" y="637666"/>
                  </a:lnTo>
                  <a:lnTo>
                    <a:pt x="1490439" y="661195"/>
                  </a:lnTo>
                  <a:lnTo>
                    <a:pt x="1486700" y="683395"/>
                  </a:lnTo>
                  <a:lnTo>
                    <a:pt x="1465321" y="722670"/>
                  </a:lnTo>
                  <a:lnTo>
                    <a:pt x="1402860" y="757228"/>
                  </a:lnTo>
                  <a:lnTo>
                    <a:pt x="1371060" y="774932"/>
                  </a:lnTo>
                  <a:lnTo>
                    <a:pt x="1352047" y="800372"/>
                  </a:lnTo>
                  <a:lnTo>
                    <a:pt x="1333025" y="825811"/>
                  </a:lnTo>
                  <a:lnTo>
                    <a:pt x="1326756" y="858477"/>
                  </a:lnTo>
                  <a:lnTo>
                    <a:pt x="1330275" y="915988"/>
                  </a:lnTo>
                  <a:lnTo>
                    <a:pt x="1331683" y="938453"/>
                  </a:lnTo>
                  <a:lnTo>
                    <a:pt x="1326201" y="963489"/>
                  </a:lnTo>
                  <a:lnTo>
                    <a:pt x="1330275" y="985359"/>
                  </a:lnTo>
                  <a:lnTo>
                    <a:pt x="1336079" y="1016473"/>
                  </a:lnTo>
                  <a:lnTo>
                    <a:pt x="1346488" y="1040601"/>
                  </a:lnTo>
                  <a:lnTo>
                    <a:pt x="1352047" y="1065611"/>
                  </a:lnTo>
                  <a:lnTo>
                    <a:pt x="1357601" y="1090620"/>
                  </a:lnTo>
                  <a:lnTo>
                    <a:pt x="1359163" y="1116384"/>
                  </a:lnTo>
                  <a:lnTo>
                    <a:pt x="1350680" y="1149943"/>
                  </a:lnTo>
                  <a:lnTo>
                    <a:pt x="1389552" y="1155118"/>
                  </a:lnTo>
                  <a:lnTo>
                    <a:pt x="1421575" y="1162583"/>
                  </a:lnTo>
                  <a:lnTo>
                    <a:pt x="1452699" y="1168985"/>
                  </a:lnTo>
                  <a:lnTo>
                    <a:pt x="1483819" y="1175388"/>
                  </a:lnTo>
                  <a:lnTo>
                    <a:pt x="1513693" y="1181047"/>
                  </a:lnTo>
                  <a:lnTo>
                    <a:pt x="1539751" y="1194829"/>
                  </a:lnTo>
                  <a:lnTo>
                    <a:pt x="1558875" y="1212384"/>
                  </a:lnTo>
                  <a:lnTo>
                    <a:pt x="1633602" y="1279162"/>
                  </a:lnTo>
                  <a:lnTo>
                    <a:pt x="1656686" y="1304622"/>
                  </a:lnTo>
                  <a:lnTo>
                    <a:pt x="1672329" y="1340052"/>
                  </a:lnTo>
                  <a:lnTo>
                    <a:pt x="1694817" y="1366214"/>
                  </a:lnTo>
                  <a:lnTo>
                    <a:pt x="1708757" y="1382431"/>
                  </a:lnTo>
                  <a:lnTo>
                    <a:pt x="1738852" y="1393567"/>
                  </a:lnTo>
                  <a:lnTo>
                    <a:pt x="1747859" y="1413821"/>
                  </a:lnTo>
                  <a:lnTo>
                    <a:pt x="1757852" y="1436350"/>
                  </a:lnTo>
                  <a:lnTo>
                    <a:pt x="1776421" y="1477751"/>
                  </a:lnTo>
                  <a:lnTo>
                    <a:pt x="1794445" y="1490014"/>
                  </a:lnTo>
                  <a:lnTo>
                    <a:pt x="1905558" y="1489121"/>
                  </a:lnTo>
                  <a:lnTo>
                    <a:pt x="1931488" y="1489993"/>
                  </a:lnTo>
                  <a:lnTo>
                    <a:pt x="1935398" y="1521776"/>
                  </a:lnTo>
                  <a:lnTo>
                    <a:pt x="1931950" y="1550219"/>
                  </a:lnTo>
                  <a:lnTo>
                    <a:pt x="1926046" y="1578405"/>
                  </a:lnTo>
                  <a:lnTo>
                    <a:pt x="1920146" y="1606592"/>
                  </a:lnTo>
                  <a:lnTo>
                    <a:pt x="1911235" y="1634800"/>
                  </a:lnTo>
                  <a:lnTo>
                    <a:pt x="1905641" y="1665458"/>
                  </a:lnTo>
                  <a:lnTo>
                    <a:pt x="1878694" y="1685255"/>
                  </a:lnTo>
                  <a:lnTo>
                    <a:pt x="1827643" y="1698807"/>
                  </a:lnTo>
                  <a:lnTo>
                    <a:pt x="1773705" y="1706264"/>
                  </a:lnTo>
                  <a:lnTo>
                    <a:pt x="1719771" y="1713722"/>
                  </a:lnTo>
                  <a:lnTo>
                    <a:pt x="1662872" y="1714829"/>
                  </a:lnTo>
                  <a:lnTo>
                    <a:pt x="1628161" y="1708984"/>
                  </a:lnTo>
                  <a:lnTo>
                    <a:pt x="1613073" y="1674108"/>
                  </a:lnTo>
                  <a:lnTo>
                    <a:pt x="1603337" y="1646820"/>
                  </a:lnTo>
                  <a:lnTo>
                    <a:pt x="1590076" y="1630093"/>
                  </a:lnTo>
                  <a:lnTo>
                    <a:pt x="1550336" y="1642632"/>
                  </a:lnTo>
                  <a:lnTo>
                    <a:pt x="1521963" y="1670750"/>
                  </a:lnTo>
                  <a:lnTo>
                    <a:pt x="1524871" y="1721492"/>
                  </a:lnTo>
                  <a:lnTo>
                    <a:pt x="1528868" y="1776994"/>
                  </a:lnTo>
                  <a:lnTo>
                    <a:pt x="1532864" y="1832497"/>
                  </a:lnTo>
                  <a:lnTo>
                    <a:pt x="1537608" y="1892463"/>
                  </a:lnTo>
                  <a:lnTo>
                    <a:pt x="1528868" y="1933418"/>
                  </a:lnTo>
                  <a:lnTo>
                    <a:pt x="1512633" y="1955967"/>
                  </a:lnTo>
                  <a:lnTo>
                    <a:pt x="1482415" y="1976773"/>
                  </a:lnTo>
                  <a:lnTo>
                    <a:pt x="1458137" y="1989185"/>
                  </a:lnTo>
                  <a:lnTo>
                    <a:pt x="1470635" y="2015837"/>
                  </a:lnTo>
                  <a:lnTo>
                    <a:pt x="1503787" y="2071945"/>
                  </a:lnTo>
                  <a:lnTo>
                    <a:pt x="1526520" y="2100039"/>
                  </a:lnTo>
                  <a:lnTo>
                    <a:pt x="1541109" y="2129286"/>
                  </a:lnTo>
                  <a:lnTo>
                    <a:pt x="1555703" y="2158533"/>
                  </a:lnTo>
                  <a:lnTo>
                    <a:pt x="1561638" y="2188869"/>
                  </a:lnTo>
                  <a:lnTo>
                    <a:pt x="1551992" y="2234021"/>
                  </a:lnTo>
                  <a:lnTo>
                    <a:pt x="1527215" y="2253278"/>
                  </a:lnTo>
                  <a:lnTo>
                    <a:pt x="1440346" y="2250471"/>
                  </a:lnTo>
                  <a:lnTo>
                    <a:pt x="1419057" y="2252296"/>
                  </a:lnTo>
                  <a:lnTo>
                    <a:pt x="1385686" y="2267434"/>
                  </a:lnTo>
                  <a:lnTo>
                    <a:pt x="1313954" y="2303392"/>
                  </a:lnTo>
                  <a:lnTo>
                    <a:pt x="1272855" y="2318353"/>
                  </a:lnTo>
                  <a:lnTo>
                    <a:pt x="1229118" y="2330659"/>
                  </a:lnTo>
                  <a:lnTo>
                    <a:pt x="1187456" y="2344197"/>
                  </a:lnTo>
                  <a:lnTo>
                    <a:pt x="1165693" y="2372762"/>
                  </a:lnTo>
                  <a:lnTo>
                    <a:pt x="1141301" y="2385088"/>
                  </a:lnTo>
                  <a:lnTo>
                    <a:pt x="1092584" y="2370253"/>
                  </a:lnTo>
                  <a:lnTo>
                    <a:pt x="1059603" y="2379563"/>
                  </a:lnTo>
                  <a:lnTo>
                    <a:pt x="1040767" y="2424917"/>
                  </a:lnTo>
                  <a:lnTo>
                    <a:pt x="1031289" y="2449167"/>
                  </a:lnTo>
                  <a:lnTo>
                    <a:pt x="992339" y="2443986"/>
                  </a:lnTo>
                  <a:lnTo>
                    <a:pt x="946705" y="2439412"/>
                  </a:lnTo>
                  <a:lnTo>
                    <a:pt x="901067" y="2434837"/>
                  </a:lnTo>
                  <a:lnTo>
                    <a:pt x="849390" y="2430783"/>
                  </a:lnTo>
                  <a:lnTo>
                    <a:pt x="817485" y="2442132"/>
                  </a:lnTo>
                  <a:lnTo>
                    <a:pt x="793511" y="2486423"/>
                  </a:lnTo>
                  <a:lnTo>
                    <a:pt x="793167" y="2513861"/>
                  </a:lnTo>
                  <a:lnTo>
                    <a:pt x="805368" y="2535199"/>
                  </a:lnTo>
                  <a:lnTo>
                    <a:pt x="809324" y="2565910"/>
                  </a:lnTo>
                  <a:lnTo>
                    <a:pt x="774511" y="2585229"/>
                  </a:lnTo>
                  <a:lnTo>
                    <a:pt x="736432" y="2577876"/>
                  </a:lnTo>
                  <a:lnTo>
                    <a:pt x="701873" y="2599915"/>
                  </a:lnTo>
                  <a:lnTo>
                    <a:pt x="683422" y="2611690"/>
                  </a:lnTo>
                  <a:lnTo>
                    <a:pt x="678371" y="2635347"/>
                  </a:lnTo>
                  <a:lnTo>
                    <a:pt x="674672" y="2661124"/>
                  </a:lnTo>
                  <a:lnTo>
                    <a:pt x="670963" y="2686901"/>
                  </a:lnTo>
                  <a:lnTo>
                    <a:pt x="668486" y="2715117"/>
                  </a:lnTo>
                  <a:lnTo>
                    <a:pt x="656983" y="2734574"/>
                  </a:lnTo>
                  <a:lnTo>
                    <a:pt x="639303" y="2764521"/>
                  </a:lnTo>
                  <a:lnTo>
                    <a:pt x="615922" y="2768431"/>
                  </a:lnTo>
                  <a:lnTo>
                    <a:pt x="590336" y="2787622"/>
                  </a:lnTo>
                  <a:lnTo>
                    <a:pt x="555950" y="2813402"/>
                  </a:lnTo>
                  <a:lnTo>
                    <a:pt x="530829" y="2849405"/>
                  </a:lnTo>
                  <a:lnTo>
                    <a:pt x="504642" y="2882836"/>
                  </a:lnTo>
                  <a:lnTo>
                    <a:pt x="481446" y="2912436"/>
                  </a:lnTo>
                  <a:lnTo>
                    <a:pt x="467063" y="2941317"/>
                  </a:lnTo>
                  <a:lnTo>
                    <a:pt x="458396" y="2969889"/>
                  </a:lnTo>
                  <a:lnTo>
                    <a:pt x="449730" y="2998461"/>
                  </a:lnTo>
                  <a:lnTo>
                    <a:pt x="446189" y="3026752"/>
                  </a:lnTo>
                  <a:lnTo>
                    <a:pt x="447517" y="3055582"/>
                  </a:lnTo>
                  <a:lnTo>
                    <a:pt x="450168" y="3113241"/>
                  </a:lnTo>
                  <a:lnTo>
                    <a:pt x="468895" y="3172803"/>
                  </a:lnTo>
                  <a:lnTo>
                    <a:pt x="484243" y="3239208"/>
                  </a:lnTo>
                  <a:lnTo>
                    <a:pt x="493331" y="3278489"/>
                  </a:lnTo>
                  <a:lnTo>
                    <a:pt x="502753" y="3308756"/>
                  </a:lnTo>
                  <a:lnTo>
                    <a:pt x="514170" y="3333062"/>
                  </a:lnTo>
                  <a:lnTo>
                    <a:pt x="525574" y="3357369"/>
                  </a:lnTo>
                  <a:lnTo>
                    <a:pt x="539192" y="3375092"/>
                  </a:lnTo>
                  <a:lnTo>
                    <a:pt x="554974" y="3391551"/>
                  </a:lnTo>
                  <a:lnTo>
                    <a:pt x="586528" y="3424469"/>
                  </a:lnTo>
                  <a:lnTo>
                    <a:pt x="628343" y="3449274"/>
                  </a:lnTo>
                  <a:lnTo>
                    <a:pt x="689629" y="3493566"/>
                  </a:lnTo>
                  <a:lnTo>
                    <a:pt x="721084" y="3516285"/>
                  </a:lnTo>
                  <a:lnTo>
                    <a:pt x="752707" y="3538835"/>
                  </a:lnTo>
                  <a:lnTo>
                    <a:pt x="776681" y="3569736"/>
                  </a:lnTo>
                  <a:lnTo>
                    <a:pt x="781177" y="3594589"/>
                  </a:lnTo>
                  <a:lnTo>
                    <a:pt x="774907" y="3618336"/>
                  </a:lnTo>
                  <a:lnTo>
                    <a:pt x="760366" y="3640467"/>
                  </a:lnTo>
                  <a:lnTo>
                    <a:pt x="744708" y="3661938"/>
                  </a:lnTo>
                  <a:lnTo>
                    <a:pt x="723335" y="3680540"/>
                  </a:lnTo>
                  <a:lnTo>
                    <a:pt x="708673" y="3697596"/>
                  </a:lnTo>
                  <a:lnTo>
                    <a:pt x="691502" y="3710369"/>
                  </a:lnTo>
                  <a:lnTo>
                    <a:pt x="688051" y="3732046"/>
                  </a:lnTo>
                  <a:lnTo>
                    <a:pt x="688271" y="3769686"/>
                  </a:lnTo>
                  <a:lnTo>
                    <a:pt x="694686" y="3807070"/>
                  </a:lnTo>
                  <a:lnTo>
                    <a:pt x="719900" y="3819232"/>
                  </a:lnTo>
                  <a:lnTo>
                    <a:pt x="753854" y="3819102"/>
                  </a:lnTo>
                  <a:lnTo>
                    <a:pt x="783657" y="3848833"/>
                  </a:lnTo>
                  <a:lnTo>
                    <a:pt x="786435" y="3901304"/>
                  </a:lnTo>
                  <a:lnTo>
                    <a:pt x="786209" y="3954673"/>
                  </a:lnTo>
                  <a:lnTo>
                    <a:pt x="786004" y="4008042"/>
                  </a:lnTo>
                  <a:lnTo>
                    <a:pt x="783288" y="4062246"/>
                  </a:lnTo>
                  <a:lnTo>
                    <a:pt x="788928" y="4097494"/>
                  </a:lnTo>
                  <a:lnTo>
                    <a:pt x="812424" y="4106081"/>
                  </a:lnTo>
                  <a:lnTo>
                    <a:pt x="837207" y="4120256"/>
                  </a:lnTo>
                  <a:lnTo>
                    <a:pt x="856933" y="4135579"/>
                  </a:lnTo>
                  <a:lnTo>
                    <a:pt x="869432" y="4170052"/>
                  </a:lnTo>
                  <a:lnTo>
                    <a:pt x="832361" y="4199870"/>
                  </a:lnTo>
                  <a:lnTo>
                    <a:pt x="777062" y="4200933"/>
                  </a:lnTo>
                  <a:lnTo>
                    <a:pt x="745393" y="4226713"/>
                  </a:lnTo>
                  <a:lnTo>
                    <a:pt x="737573" y="4265075"/>
                  </a:lnTo>
                  <a:lnTo>
                    <a:pt x="752623" y="4320523"/>
                  </a:lnTo>
                  <a:lnTo>
                    <a:pt x="758998" y="4358652"/>
                  </a:lnTo>
                  <a:lnTo>
                    <a:pt x="840308" y="4426917"/>
                  </a:lnTo>
                  <a:lnTo>
                    <a:pt x="855575" y="4441624"/>
                  </a:lnTo>
                  <a:lnTo>
                    <a:pt x="874061" y="4475077"/>
                  </a:lnTo>
                  <a:lnTo>
                    <a:pt x="888510" y="4494906"/>
                  </a:lnTo>
                  <a:lnTo>
                    <a:pt x="821143" y="4571629"/>
                  </a:lnTo>
                  <a:lnTo>
                    <a:pt x="753513" y="4564063"/>
                  </a:lnTo>
                  <a:lnTo>
                    <a:pt x="704676" y="4527062"/>
                  </a:lnTo>
                  <a:lnTo>
                    <a:pt x="647461" y="4506914"/>
                  </a:lnTo>
                  <a:lnTo>
                    <a:pt x="650354" y="4531311"/>
                  </a:lnTo>
                  <a:lnTo>
                    <a:pt x="664403" y="4566271"/>
                  </a:lnTo>
                  <a:lnTo>
                    <a:pt x="676030" y="4602128"/>
                  </a:lnTo>
                  <a:lnTo>
                    <a:pt x="687663" y="4637984"/>
                  </a:lnTo>
                  <a:lnTo>
                    <a:pt x="696580" y="4675079"/>
                  </a:lnTo>
                  <a:lnTo>
                    <a:pt x="680836" y="4714238"/>
                  </a:lnTo>
                  <a:lnTo>
                    <a:pt x="625577" y="4739380"/>
                  </a:lnTo>
                  <a:lnTo>
                    <a:pt x="602583" y="4747669"/>
                  </a:lnTo>
                  <a:lnTo>
                    <a:pt x="590336" y="4765351"/>
                  </a:lnTo>
                  <a:lnTo>
                    <a:pt x="593601" y="4792784"/>
                  </a:lnTo>
                  <a:lnTo>
                    <a:pt x="597141" y="4817039"/>
                  </a:lnTo>
                  <a:lnTo>
                    <a:pt x="600676" y="4841294"/>
                  </a:lnTo>
                  <a:lnTo>
                    <a:pt x="602158" y="4872043"/>
                  </a:lnTo>
                  <a:lnTo>
                    <a:pt x="595783" y="4905452"/>
                  </a:lnTo>
                  <a:lnTo>
                    <a:pt x="631356" y="4926705"/>
                  </a:lnTo>
                  <a:lnTo>
                    <a:pt x="664040" y="4949489"/>
                  </a:lnTo>
                  <a:lnTo>
                    <a:pt x="685552" y="4969381"/>
                  </a:lnTo>
                  <a:lnTo>
                    <a:pt x="685750" y="5003790"/>
                  </a:lnTo>
                  <a:lnTo>
                    <a:pt x="661060" y="5026510"/>
                  </a:lnTo>
                  <a:lnTo>
                    <a:pt x="638531" y="5049612"/>
                  </a:lnTo>
                  <a:lnTo>
                    <a:pt x="637099" y="5095125"/>
                  </a:lnTo>
                  <a:lnTo>
                    <a:pt x="647169" y="5116070"/>
                  </a:lnTo>
                  <a:lnTo>
                    <a:pt x="655619" y="5138046"/>
                  </a:lnTo>
                  <a:lnTo>
                    <a:pt x="664065" y="5160021"/>
                  </a:lnTo>
                  <a:lnTo>
                    <a:pt x="669686" y="5182369"/>
                  </a:lnTo>
                  <a:lnTo>
                    <a:pt x="659693" y="5214217"/>
                  </a:lnTo>
                  <a:lnTo>
                    <a:pt x="638209" y="5233738"/>
                  </a:lnTo>
                  <a:lnTo>
                    <a:pt x="615237" y="5246549"/>
                  </a:lnTo>
                  <a:lnTo>
                    <a:pt x="590323" y="5255023"/>
                  </a:lnTo>
                  <a:lnTo>
                    <a:pt x="565407" y="5263498"/>
                  </a:lnTo>
                  <a:lnTo>
                    <a:pt x="539192" y="5267382"/>
                  </a:lnTo>
                  <a:lnTo>
                    <a:pt x="511435" y="5271345"/>
                  </a:lnTo>
                  <a:lnTo>
                    <a:pt x="472774" y="5276866"/>
                  </a:lnTo>
                  <a:lnTo>
                    <a:pt x="446791" y="5275333"/>
                  </a:lnTo>
                  <a:lnTo>
                    <a:pt x="410130" y="5259200"/>
                  </a:lnTo>
                  <a:lnTo>
                    <a:pt x="391737" y="5229182"/>
                  </a:lnTo>
                  <a:lnTo>
                    <a:pt x="376600" y="5196917"/>
                  </a:lnTo>
                  <a:lnTo>
                    <a:pt x="373645" y="5154477"/>
                  </a:lnTo>
                  <a:lnTo>
                    <a:pt x="344127" y="5123086"/>
                  </a:lnTo>
                  <a:lnTo>
                    <a:pt x="294013" y="5110655"/>
                  </a:lnTo>
                  <a:lnTo>
                    <a:pt x="262858" y="5128473"/>
                  </a:lnTo>
                  <a:lnTo>
                    <a:pt x="249339" y="5149729"/>
                  </a:lnTo>
                  <a:lnTo>
                    <a:pt x="239393" y="5172053"/>
                  </a:lnTo>
                  <a:lnTo>
                    <a:pt x="229443" y="5194377"/>
                  </a:lnTo>
                  <a:lnTo>
                    <a:pt x="222984" y="5218300"/>
                  </a:lnTo>
                  <a:lnTo>
                    <a:pt x="223071" y="5241424"/>
                  </a:lnTo>
                  <a:lnTo>
                    <a:pt x="234401" y="5268138"/>
                  </a:lnTo>
                  <a:lnTo>
                    <a:pt x="253131" y="5287242"/>
                  </a:lnTo>
                  <a:lnTo>
                    <a:pt x="267955" y="5308073"/>
                  </a:lnTo>
                  <a:lnTo>
                    <a:pt x="282789" y="5328904"/>
                  </a:lnTo>
                  <a:lnTo>
                    <a:pt x="293631" y="5351185"/>
                  </a:lnTo>
                  <a:lnTo>
                    <a:pt x="291080" y="5384244"/>
                  </a:lnTo>
                  <a:lnTo>
                    <a:pt x="310672" y="5405157"/>
                  </a:lnTo>
                  <a:lnTo>
                    <a:pt x="336134" y="5403903"/>
                  </a:lnTo>
                  <a:lnTo>
                    <a:pt x="386888" y="5395083"/>
                  </a:lnTo>
                  <a:lnTo>
                    <a:pt x="416895" y="5418996"/>
                  </a:lnTo>
                  <a:lnTo>
                    <a:pt x="428457" y="5448176"/>
                  </a:lnTo>
                  <a:lnTo>
                    <a:pt x="430026" y="5477490"/>
                  </a:lnTo>
                  <a:lnTo>
                    <a:pt x="417180" y="5520126"/>
                  </a:lnTo>
                  <a:lnTo>
                    <a:pt x="397941" y="5547311"/>
                  </a:lnTo>
                  <a:lnTo>
                    <a:pt x="386302" y="5577394"/>
                  </a:lnTo>
                  <a:lnTo>
                    <a:pt x="389018" y="5600518"/>
                  </a:lnTo>
                  <a:lnTo>
                    <a:pt x="400878" y="5619412"/>
                  </a:lnTo>
                  <a:lnTo>
                    <a:pt x="424690" y="5631511"/>
                  </a:lnTo>
                  <a:lnTo>
                    <a:pt x="446143" y="5645404"/>
                  </a:lnTo>
                  <a:lnTo>
                    <a:pt x="467590" y="5659299"/>
                  </a:lnTo>
                  <a:lnTo>
                    <a:pt x="487269" y="5675095"/>
                  </a:lnTo>
                  <a:lnTo>
                    <a:pt x="493746" y="5698453"/>
                  </a:lnTo>
                  <a:lnTo>
                    <a:pt x="446143" y="5754518"/>
                  </a:lnTo>
                  <a:lnTo>
                    <a:pt x="439191" y="5790277"/>
                  </a:lnTo>
                  <a:lnTo>
                    <a:pt x="450022" y="5810390"/>
                  </a:lnTo>
                  <a:lnTo>
                    <a:pt x="461100" y="5830391"/>
                  </a:lnTo>
                  <a:lnTo>
                    <a:pt x="472188" y="5850394"/>
                  </a:lnTo>
                  <a:lnTo>
                    <a:pt x="483483" y="5870475"/>
                  </a:lnTo>
                  <a:lnTo>
                    <a:pt x="475980" y="5903433"/>
                  </a:lnTo>
                  <a:lnTo>
                    <a:pt x="447504" y="5922886"/>
                  </a:lnTo>
                  <a:lnTo>
                    <a:pt x="413903" y="5937889"/>
                  </a:lnTo>
                  <a:lnTo>
                    <a:pt x="377722" y="5951408"/>
                  </a:lnTo>
                  <a:lnTo>
                    <a:pt x="346844" y="5967772"/>
                  </a:lnTo>
                  <a:lnTo>
                    <a:pt x="322535" y="5987154"/>
                  </a:lnTo>
                  <a:lnTo>
                    <a:pt x="334863" y="6028407"/>
                  </a:lnTo>
                  <a:lnTo>
                    <a:pt x="346251" y="6127171"/>
                  </a:lnTo>
                  <a:lnTo>
                    <a:pt x="335970" y="6158200"/>
                  </a:lnTo>
                  <a:lnTo>
                    <a:pt x="306716" y="6185827"/>
                  </a:lnTo>
                  <a:lnTo>
                    <a:pt x="282919" y="6194925"/>
                  </a:lnTo>
                  <a:lnTo>
                    <a:pt x="259125" y="6204023"/>
                  </a:lnTo>
                  <a:lnTo>
                    <a:pt x="230063" y="6210758"/>
                  </a:lnTo>
                  <a:lnTo>
                    <a:pt x="202666" y="6216688"/>
                  </a:lnTo>
                  <a:lnTo>
                    <a:pt x="175273" y="6222618"/>
                  </a:lnTo>
                  <a:lnTo>
                    <a:pt x="149029" y="6227733"/>
                  </a:lnTo>
                  <a:lnTo>
                    <a:pt x="127855" y="6234371"/>
                  </a:lnTo>
                  <a:lnTo>
                    <a:pt x="106685" y="6241009"/>
                  </a:lnTo>
                  <a:lnTo>
                    <a:pt x="85687" y="6260215"/>
                  </a:lnTo>
                  <a:lnTo>
                    <a:pt x="104942" y="6277163"/>
                  </a:lnTo>
                  <a:lnTo>
                    <a:pt x="109553" y="6300311"/>
                  </a:lnTo>
                  <a:lnTo>
                    <a:pt x="106092" y="6324145"/>
                  </a:lnTo>
                  <a:lnTo>
                    <a:pt x="102629" y="6347973"/>
                  </a:lnTo>
                  <a:lnTo>
                    <a:pt x="91873" y="6371741"/>
                  </a:lnTo>
                  <a:lnTo>
                    <a:pt x="125136" y="6438402"/>
                  </a:lnTo>
                  <a:lnTo>
                    <a:pt x="133678" y="6467519"/>
                  </a:lnTo>
                  <a:lnTo>
                    <a:pt x="113999" y="6515701"/>
                  </a:lnTo>
                  <a:lnTo>
                    <a:pt x="79737" y="6549513"/>
                  </a:lnTo>
                  <a:lnTo>
                    <a:pt x="57125" y="6586662"/>
                  </a:lnTo>
                  <a:lnTo>
                    <a:pt x="36897" y="6619841"/>
                  </a:lnTo>
                  <a:lnTo>
                    <a:pt x="19037" y="6654781"/>
                  </a:lnTo>
                  <a:lnTo>
                    <a:pt x="0" y="6688679"/>
                  </a:lnTo>
                  <a:lnTo>
                    <a:pt x="59723" y="6707844"/>
                  </a:lnTo>
                  <a:lnTo>
                    <a:pt x="117363" y="6719596"/>
                  </a:lnTo>
                  <a:lnTo>
                    <a:pt x="167304" y="6738998"/>
                  </a:lnTo>
                  <a:lnTo>
                    <a:pt x="190559" y="6748033"/>
                  </a:lnTo>
                  <a:lnTo>
                    <a:pt x="222070" y="6765720"/>
                  </a:lnTo>
                  <a:lnTo>
                    <a:pt x="254356" y="6781166"/>
                  </a:lnTo>
                  <a:lnTo>
                    <a:pt x="286652" y="6796617"/>
                  </a:lnTo>
                  <a:lnTo>
                    <a:pt x="319391" y="6809016"/>
                  </a:lnTo>
                  <a:lnTo>
                    <a:pt x="344127" y="6809728"/>
                  </a:lnTo>
                  <a:lnTo>
                    <a:pt x="417152" y="6778105"/>
                  </a:lnTo>
                  <a:lnTo>
                    <a:pt x="447510" y="6796129"/>
                  </a:lnTo>
                  <a:lnTo>
                    <a:pt x="470715" y="6843395"/>
                  </a:lnTo>
                  <a:lnTo>
                    <a:pt x="459748" y="6864136"/>
                  </a:lnTo>
                  <a:lnTo>
                    <a:pt x="431834" y="6883439"/>
                  </a:lnTo>
                  <a:lnTo>
                    <a:pt x="412142" y="6891340"/>
                  </a:lnTo>
                  <a:lnTo>
                    <a:pt x="392447" y="6899247"/>
                  </a:lnTo>
                  <a:lnTo>
                    <a:pt x="369980" y="6918544"/>
                  </a:lnTo>
                  <a:lnTo>
                    <a:pt x="368613" y="6940307"/>
                  </a:lnTo>
                  <a:lnTo>
                    <a:pt x="400757" y="6972741"/>
                  </a:lnTo>
                  <a:lnTo>
                    <a:pt x="432544" y="6989275"/>
                  </a:lnTo>
                  <a:lnTo>
                    <a:pt x="464334" y="7005815"/>
                  </a:lnTo>
                  <a:lnTo>
                    <a:pt x="504034" y="7021945"/>
                  </a:lnTo>
                  <a:lnTo>
                    <a:pt x="544084" y="7035524"/>
                  </a:lnTo>
                  <a:lnTo>
                    <a:pt x="624172" y="7062682"/>
                  </a:lnTo>
                  <a:lnTo>
                    <a:pt x="706353" y="7078668"/>
                  </a:lnTo>
                  <a:lnTo>
                    <a:pt x="727707" y="7068169"/>
                  </a:lnTo>
                  <a:lnTo>
                    <a:pt x="762338" y="7020303"/>
                  </a:lnTo>
                  <a:lnTo>
                    <a:pt x="782116" y="6978393"/>
                  </a:lnTo>
                  <a:lnTo>
                    <a:pt x="801898" y="6936489"/>
                  </a:lnTo>
                  <a:lnTo>
                    <a:pt x="821224" y="6892679"/>
                  </a:lnTo>
                  <a:lnTo>
                    <a:pt x="863516" y="6881032"/>
                  </a:lnTo>
                  <a:lnTo>
                    <a:pt x="935605" y="6915609"/>
                  </a:lnTo>
                  <a:lnTo>
                    <a:pt x="967100" y="6929425"/>
                  </a:lnTo>
                  <a:lnTo>
                    <a:pt x="871680" y="7102278"/>
                  </a:lnTo>
                  <a:lnTo>
                    <a:pt x="852211" y="7123692"/>
                  </a:lnTo>
                  <a:lnTo>
                    <a:pt x="823180" y="7145606"/>
                  </a:lnTo>
                  <a:lnTo>
                    <a:pt x="799802" y="7170186"/>
                  </a:lnTo>
                  <a:lnTo>
                    <a:pt x="778330" y="7195688"/>
                  </a:lnTo>
                  <a:lnTo>
                    <a:pt x="764151" y="7223571"/>
                  </a:lnTo>
                  <a:lnTo>
                    <a:pt x="761717" y="7254515"/>
                  </a:lnTo>
                  <a:lnTo>
                    <a:pt x="789474" y="7294743"/>
                  </a:lnTo>
                  <a:lnTo>
                    <a:pt x="820207" y="7319804"/>
                  </a:lnTo>
                  <a:lnTo>
                    <a:pt x="850924" y="7344864"/>
                  </a:lnTo>
                  <a:lnTo>
                    <a:pt x="884110" y="7368548"/>
                  </a:lnTo>
                  <a:lnTo>
                    <a:pt x="883750" y="7398079"/>
                  </a:lnTo>
                  <a:lnTo>
                    <a:pt x="865172" y="7429814"/>
                  </a:lnTo>
                  <a:lnTo>
                    <a:pt x="859643" y="7453107"/>
                  </a:lnTo>
                  <a:lnTo>
                    <a:pt x="853321" y="7479671"/>
                  </a:lnTo>
                  <a:lnTo>
                    <a:pt x="863550" y="7549531"/>
                  </a:lnTo>
                  <a:lnTo>
                    <a:pt x="867810" y="7617690"/>
                  </a:lnTo>
                  <a:lnTo>
                    <a:pt x="869940" y="7651765"/>
                  </a:lnTo>
                  <a:lnTo>
                    <a:pt x="870480" y="7685689"/>
                  </a:lnTo>
                  <a:lnTo>
                    <a:pt x="866449" y="7712900"/>
                  </a:lnTo>
                  <a:lnTo>
                    <a:pt x="862415" y="7740117"/>
                  </a:lnTo>
                  <a:lnTo>
                    <a:pt x="853966" y="7761195"/>
                  </a:lnTo>
                  <a:lnTo>
                    <a:pt x="823391" y="7775901"/>
                  </a:lnTo>
                  <a:lnTo>
                    <a:pt x="787859" y="7767460"/>
                  </a:lnTo>
                  <a:lnTo>
                    <a:pt x="731242" y="7842589"/>
                  </a:lnTo>
                  <a:lnTo>
                    <a:pt x="723630" y="7876123"/>
                  </a:lnTo>
                  <a:lnTo>
                    <a:pt x="716613" y="7906922"/>
                  </a:lnTo>
                  <a:lnTo>
                    <a:pt x="722436" y="7948707"/>
                  </a:lnTo>
                  <a:lnTo>
                    <a:pt x="711392" y="7976782"/>
                  </a:lnTo>
                  <a:lnTo>
                    <a:pt x="659693" y="8108719"/>
                  </a:lnTo>
                  <a:lnTo>
                    <a:pt x="649259" y="8135284"/>
                  </a:lnTo>
                  <a:lnTo>
                    <a:pt x="647566" y="8187601"/>
                  </a:lnTo>
                  <a:lnTo>
                    <a:pt x="648813" y="8240657"/>
                  </a:lnTo>
                  <a:lnTo>
                    <a:pt x="650065" y="8293714"/>
                  </a:lnTo>
                  <a:lnTo>
                    <a:pt x="654260" y="8346895"/>
                  </a:lnTo>
                  <a:lnTo>
                    <a:pt x="659693" y="8375319"/>
                  </a:lnTo>
                  <a:lnTo>
                    <a:pt x="676148" y="8390949"/>
                  </a:lnTo>
                  <a:lnTo>
                    <a:pt x="688395" y="8408880"/>
                  </a:lnTo>
                  <a:lnTo>
                    <a:pt x="701861" y="8425644"/>
                  </a:lnTo>
                  <a:lnTo>
                    <a:pt x="715330" y="8442408"/>
                  </a:lnTo>
                  <a:lnTo>
                    <a:pt x="731003" y="8458454"/>
                  </a:lnTo>
                  <a:lnTo>
                    <a:pt x="752186" y="8469170"/>
                  </a:lnTo>
                  <a:lnTo>
                    <a:pt x="784916" y="8468089"/>
                  </a:lnTo>
                  <a:lnTo>
                    <a:pt x="807960" y="8489575"/>
                  </a:lnTo>
                  <a:lnTo>
                    <a:pt x="815649" y="8511002"/>
                  </a:lnTo>
                  <a:lnTo>
                    <a:pt x="815823" y="8535291"/>
                  </a:lnTo>
                  <a:lnTo>
                    <a:pt x="817475" y="8557588"/>
                  </a:lnTo>
                  <a:lnTo>
                    <a:pt x="819041" y="8578738"/>
                  </a:lnTo>
                  <a:lnTo>
                    <a:pt x="805237" y="8606556"/>
                  </a:lnTo>
                  <a:lnTo>
                    <a:pt x="782076" y="8629117"/>
                  </a:lnTo>
                  <a:lnTo>
                    <a:pt x="737310" y="8655285"/>
                  </a:lnTo>
                  <a:lnTo>
                    <a:pt x="701610" y="8670592"/>
                  </a:lnTo>
                  <a:lnTo>
                    <a:pt x="677375" y="8704490"/>
                  </a:lnTo>
                  <a:lnTo>
                    <a:pt x="677375" y="8734200"/>
                  </a:lnTo>
                  <a:lnTo>
                    <a:pt x="676275" y="8910640"/>
                  </a:lnTo>
                  <a:lnTo>
                    <a:pt x="652645" y="8931058"/>
                  </a:lnTo>
                  <a:lnTo>
                    <a:pt x="632141" y="8935575"/>
                  </a:lnTo>
                  <a:lnTo>
                    <a:pt x="594766" y="8949464"/>
                  </a:lnTo>
                  <a:lnTo>
                    <a:pt x="573999" y="8973806"/>
                  </a:lnTo>
                  <a:lnTo>
                    <a:pt x="577661" y="9010085"/>
                  </a:lnTo>
                  <a:lnTo>
                    <a:pt x="588714" y="9044259"/>
                  </a:lnTo>
                  <a:lnTo>
                    <a:pt x="601209" y="9078539"/>
                  </a:lnTo>
                  <a:lnTo>
                    <a:pt x="602977" y="9133739"/>
                  </a:lnTo>
                  <a:lnTo>
                    <a:pt x="592249" y="9201620"/>
                  </a:lnTo>
                  <a:lnTo>
                    <a:pt x="575366" y="9266250"/>
                  </a:lnTo>
                  <a:lnTo>
                    <a:pt x="558474" y="9330880"/>
                  </a:lnTo>
                  <a:lnTo>
                    <a:pt x="534451" y="9393426"/>
                  </a:lnTo>
                  <a:lnTo>
                    <a:pt x="508716" y="9440356"/>
                  </a:lnTo>
                  <a:lnTo>
                    <a:pt x="479468" y="9493702"/>
                  </a:lnTo>
                  <a:lnTo>
                    <a:pt x="444785" y="9564135"/>
                  </a:lnTo>
                  <a:lnTo>
                    <a:pt x="437433" y="9586063"/>
                  </a:lnTo>
                  <a:lnTo>
                    <a:pt x="440711" y="9623984"/>
                  </a:lnTo>
                  <a:lnTo>
                    <a:pt x="463364" y="9632617"/>
                  </a:lnTo>
                  <a:lnTo>
                    <a:pt x="488953" y="9642793"/>
                  </a:lnTo>
                  <a:lnTo>
                    <a:pt x="512905" y="9654420"/>
                  </a:lnTo>
                  <a:lnTo>
                    <a:pt x="532287" y="9671949"/>
                  </a:lnTo>
                  <a:lnTo>
                    <a:pt x="552242" y="9687909"/>
                  </a:lnTo>
                  <a:lnTo>
                    <a:pt x="572207" y="9703875"/>
                  </a:lnTo>
                  <a:lnTo>
                    <a:pt x="592525" y="9718898"/>
                  </a:lnTo>
                  <a:lnTo>
                    <a:pt x="626969" y="9703809"/>
                  </a:lnTo>
                  <a:lnTo>
                    <a:pt x="652617" y="9690210"/>
                  </a:lnTo>
                  <a:lnTo>
                    <a:pt x="678740" y="9683833"/>
                  </a:lnTo>
                  <a:lnTo>
                    <a:pt x="704874" y="9677455"/>
                  </a:lnTo>
                  <a:lnTo>
                    <a:pt x="732212" y="9677357"/>
                  </a:lnTo>
                  <a:lnTo>
                    <a:pt x="756276" y="9690632"/>
                  </a:lnTo>
                  <a:lnTo>
                    <a:pt x="775469" y="9705405"/>
                  </a:lnTo>
                  <a:lnTo>
                    <a:pt x="794218" y="9722110"/>
                  </a:lnTo>
                  <a:lnTo>
                    <a:pt x="813407" y="9736876"/>
                  </a:lnTo>
                  <a:lnTo>
                    <a:pt x="858208" y="9740299"/>
                  </a:lnTo>
                  <a:lnTo>
                    <a:pt x="902754" y="9741954"/>
                  </a:lnTo>
                  <a:lnTo>
                    <a:pt x="924808" y="9747539"/>
                  </a:lnTo>
                  <a:lnTo>
                    <a:pt x="950779" y="9734152"/>
                  </a:lnTo>
                  <a:lnTo>
                    <a:pt x="974542" y="9693027"/>
                  </a:lnTo>
                  <a:lnTo>
                    <a:pt x="983431" y="9662063"/>
                  </a:lnTo>
                  <a:lnTo>
                    <a:pt x="992320" y="9631094"/>
                  </a:lnTo>
                  <a:lnTo>
                    <a:pt x="998218" y="9599451"/>
                  </a:lnTo>
                  <a:lnTo>
                    <a:pt x="1011994" y="9568211"/>
                  </a:lnTo>
                  <a:lnTo>
                    <a:pt x="1182017" y="9569570"/>
                  </a:lnTo>
                  <a:lnTo>
                    <a:pt x="1213005" y="9574417"/>
                  </a:lnTo>
                  <a:lnTo>
                    <a:pt x="1235363" y="9589203"/>
                  </a:lnTo>
                  <a:lnTo>
                    <a:pt x="1251387" y="9611731"/>
                  </a:lnTo>
                  <a:lnTo>
                    <a:pt x="1265733" y="9635262"/>
                  </a:lnTo>
                  <a:lnTo>
                    <a:pt x="1274874" y="9664062"/>
                  </a:lnTo>
                  <a:lnTo>
                    <a:pt x="1286758" y="9687902"/>
                  </a:lnTo>
                  <a:lnTo>
                    <a:pt x="1326681" y="9686260"/>
                  </a:lnTo>
                  <a:lnTo>
                    <a:pt x="1349322" y="9681102"/>
                  </a:lnTo>
                  <a:lnTo>
                    <a:pt x="1371962" y="9675945"/>
                  </a:lnTo>
                  <a:lnTo>
                    <a:pt x="1394274" y="9672272"/>
                  </a:lnTo>
                  <a:lnTo>
                    <a:pt x="1436098" y="9707278"/>
                  </a:lnTo>
                  <a:lnTo>
                    <a:pt x="1454379" y="9729740"/>
                  </a:lnTo>
                  <a:lnTo>
                    <a:pt x="1475820" y="9747751"/>
                  </a:lnTo>
                  <a:lnTo>
                    <a:pt x="1497260" y="9765768"/>
                  </a:lnTo>
                  <a:lnTo>
                    <a:pt x="1520586" y="9779090"/>
                  </a:lnTo>
                  <a:lnTo>
                    <a:pt x="1562872" y="9785836"/>
                  </a:lnTo>
                  <a:lnTo>
                    <a:pt x="1629547" y="9796468"/>
                  </a:lnTo>
                  <a:lnTo>
                    <a:pt x="1697685" y="9796421"/>
                  </a:lnTo>
                  <a:lnTo>
                    <a:pt x="1765548" y="9796718"/>
                  </a:lnTo>
                  <a:lnTo>
                    <a:pt x="1833395" y="9797047"/>
                  </a:lnTo>
                  <a:lnTo>
                    <a:pt x="1901006" y="9797312"/>
                  </a:lnTo>
                  <a:lnTo>
                    <a:pt x="1966856" y="9810323"/>
                  </a:lnTo>
                  <a:lnTo>
                    <a:pt x="2040514" y="9824878"/>
                  </a:lnTo>
                  <a:lnTo>
                    <a:pt x="2115920" y="9841755"/>
                  </a:lnTo>
                  <a:lnTo>
                    <a:pt x="2189928" y="9853849"/>
                  </a:lnTo>
                  <a:lnTo>
                    <a:pt x="2274896" y="9867765"/>
                  </a:lnTo>
                  <a:lnTo>
                    <a:pt x="2361607" y="9869658"/>
                  </a:lnTo>
                  <a:lnTo>
                    <a:pt x="2446998" y="9886495"/>
                  </a:lnTo>
                  <a:lnTo>
                    <a:pt x="2473570" y="9891724"/>
                  </a:lnTo>
                  <a:lnTo>
                    <a:pt x="2509571" y="9915947"/>
                  </a:lnTo>
                  <a:lnTo>
                    <a:pt x="2532698" y="9928663"/>
                  </a:lnTo>
                  <a:lnTo>
                    <a:pt x="2554417" y="9940579"/>
                  </a:lnTo>
                  <a:lnTo>
                    <a:pt x="2575508" y="9945156"/>
                  </a:lnTo>
                  <a:lnTo>
                    <a:pt x="2596623" y="9955859"/>
                  </a:lnTo>
                  <a:lnTo>
                    <a:pt x="2627752" y="9971641"/>
                  </a:lnTo>
                  <a:lnTo>
                    <a:pt x="2656662" y="9991004"/>
                  </a:lnTo>
                  <a:lnTo>
                    <a:pt x="2686394" y="10007551"/>
                  </a:lnTo>
                  <a:lnTo>
                    <a:pt x="2716128" y="10024097"/>
                  </a:lnTo>
                  <a:lnTo>
                    <a:pt x="2747522" y="10037399"/>
                  </a:lnTo>
                  <a:lnTo>
                    <a:pt x="2784335" y="10041554"/>
                  </a:lnTo>
                  <a:lnTo>
                    <a:pt x="2809406" y="10037366"/>
                  </a:lnTo>
                  <a:lnTo>
                    <a:pt x="2826547" y="10009655"/>
                  </a:lnTo>
                  <a:lnTo>
                    <a:pt x="2848266" y="9983070"/>
                  </a:lnTo>
                  <a:lnTo>
                    <a:pt x="2870370" y="9955846"/>
                  </a:lnTo>
                  <a:lnTo>
                    <a:pt x="2899599" y="9936833"/>
                  </a:lnTo>
                  <a:lnTo>
                    <a:pt x="2939392" y="9931379"/>
                  </a:lnTo>
                  <a:lnTo>
                    <a:pt x="3029170" y="9939537"/>
                  </a:lnTo>
                  <a:lnTo>
                    <a:pt x="3073843" y="9943362"/>
                  </a:lnTo>
                  <a:lnTo>
                    <a:pt x="3122045" y="9950505"/>
                  </a:lnTo>
                  <a:lnTo>
                    <a:pt x="3165189" y="9964024"/>
                  </a:lnTo>
                  <a:lnTo>
                    <a:pt x="3181768" y="9915631"/>
                  </a:lnTo>
                  <a:lnTo>
                    <a:pt x="3168805" y="9886066"/>
                  </a:lnTo>
                  <a:lnTo>
                    <a:pt x="3071840" y="9840482"/>
                  </a:lnTo>
                  <a:lnTo>
                    <a:pt x="3045491" y="9821205"/>
                  </a:lnTo>
                  <a:lnTo>
                    <a:pt x="3041873" y="9792642"/>
                  </a:lnTo>
                  <a:lnTo>
                    <a:pt x="3062619" y="9768050"/>
                  </a:lnTo>
                  <a:lnTo>
                    <a:pt x="3097606" y="9749498"/>
                  </a:lnTo>
                  <a:lnTo>
                    <a:pt x="3167915" y="9719808"/>
                  </a:lnTo>
                  <a:lnTo>
                    <a:pt x="3237278" y="9693343"/>
                  </a:lnTo>
                  <a:lnTo>
                    <a:pt x="3306644" y="9666884"/>
                  </a:lnTo>
                  <a:lnTo>
                    <a:pt x="3376042" y="9643604"/>
                  </a:lnTo>
                  <a:lnTo>
                    <a:pt x="3397786" y="9644376"/>
                  </a:lnTo>
                  <a:lnTo>
                    <a:pt x="3430990" y="9678201"/>
                  </a:lnTo>
                  <a:lnTo>
                    <a:pt x="3449978" y="9705636"/>
                  </a:lnTo>
                  <a:lnTo>
                    <a:pt x="3471233" y="9731428"/>
                  </a:lnTo>
                  <a:lnTo>
                    <a:pt x="3492475" y="9757228"/>
                  </a:lnTo>
                  <a:lnTo>
                    <a:pt x="3515419" y="9782196"/>
                  </a:lnTo>
                  <a:lnTo>
                    <a:pt x="3537880" y="9800801"/>
                  </a:lnTo>
                  <a:lnTo>
                    <a:pt x="3581815" y="9837184"/>
                  </a:lnTo>
                  <a:lnTo>
                    <a:pt x="3623806" y="9859218"/>
                  </a:lnTo>
                  <a:lnTo>
                    <a:pt x="3667100" y="9878330"/>
                  </a:lnTo>
                  <a:lnTo>
                    <a:pt x="3710390" y="9897442"/>
                  </a:lnTo>
                  <a:lnTo>
                    <a:pt x="3756245" y="9913830"/>
                  </a:lnTo>
                  <a:lnTo>
                    <a:pt x="3805839" y="9936820"/>
                  </a:lnTo>
                  <a:lnTo>
                    <a:pt x="3846707" y="9964103"/>
                  </a:lnTo>
                  <a:lnTo>
                    <a:pt x="3872486" y="9977623"/>
                  </a:lnTo>
                  <a:lnTo>
                    <a:pt x="3898273" y="9988643"/>
                  </a:lnTo>
                  <a:lnTo>
                    <a:pt x="3922880" y="9991096"/>
                  </a:lnTo>
                  <a:lnTo>
                    <a:pt x="3944581" y="9980346"/>
                  </a:lnTo>
                  <a:lnTo>
                    <a:pt x="3948956" y="9948770"/>
                  </a:lnTo>
                  <a:lnTo>
                    <a:pt x="3937474" y="9913988"/>
                  </a:lnTo>
                  <a:lnTo>
                    <a:pt x="3940531" y="9881054"/>
                  </a:lnTo>
                  <a:lnTo>
                    <a:pt x="3996940" y="9828473"/>
                  </a:lnTo>
                  <a:lnTo>
                    <a:pt x="4052447" y="9838055"/>
                  </a:lnTo>
                  <a:lnTo>
                    <a:pt x="4086451" y="9871570"/>
                  </a:lnTo>
                  <a:lnTo>
                    <a:pt x="4125518" y="9883771"/>
                  </a:lnTo>
                  <a:lnTo>
                    <a:pt x="4140358" y="9860293"/>
                  </a:lnTo>
                  <a:lnTo>
                    <a:pt x="4143319" y="9833801"/>
                  </a:lnTo>
                  <a:lnTo>
                    <a:pt x="4139145" y="9806241"/>
                  </a:lnTo>
                  <a:lnTo>
                    <a:pt x="4133564" y="9778232"/>
                  </a:lnTo>
                  <a:lnTo>
                    <a:pt x="4124188" y="9749782"/>
                  </a:lnTo>
                  <a:lnTo>
                    <a:pt x="4130982" y="9728711"/>
                  </a:lnTo>
                  <a:lnTo>
                    <a:pt x="4164731" y="9727748"/>
                  </a:lnTo>
                  <a:lnTo>
                    <a:pt x="4188113" y="9732787"/>
                  </a:lnTo>
                  <a:lnTo>
                    <a:pt x="4211498" y="9737832"/>
                  </a:lnTo>
                  <a:lnTo>
                    <a:pt x="4237673" y="9743649"/>
                  </a:lnTo>
                  <a:lnTo>
                    <a:pt x="4258844" y="9736863"/>
                  </a:lnTo>
                  <a:lnTo>
                    <a:pt x="4269724" y="9687895"/>
                  </a:lnTo>
                  <a:lnTo>
                    <a:pt x="4322911" y="9665724"/>
                  </a:lnTo>
                  <a:lnTo>
                    <a:pt x="4349198" y="9668744"/>
                  </a:lnTo>
                  <a:lnTo>
                    <a:pt x="4388836" y="9679843"/>
                  </a:lnTo>
                  <a:lnTo>
                    <a:pt x="4419342" y="9685178"/>
                  </a:lnTo>
                  <a:lnTo>
                    <a:pt x="4435884" y="9656273"/>
                  </a:lnTo>
                  <a:lnTo>
                    <a:pt x="4432697" y="9613934"/>
                  </a:lnTo>
                  <a:lnTo>
                    <a:pt x="4450637" y="9589962"/>
                  </a:lnTo>
                  <a:lnTo>
                    <a:pt x="4499892" y="9617805"/>
                  </a:lnTo>
                  <a:lnTo>
                    <a:pt x="4585469" y="9634998"/>
                  </a:lnTo>
                  <a:lnTo>
                    <a:pt x="4612500" y="9652534"/>
                  </a:lnTo>
                  <a:lnTo>
                    <a:pt x="4607396" y="9731910"/>
                  </a:lnTo>
                  <a:lnTo>
                    <a:pt x="4602463" y="9798301"/>
                  </a:lnTo>
                  <a:lnTo>
                    <a:pt x="4601613" y="9864725"/>
                  </a:lnTo>
                  <a:lnTo>
                    <a:pt x="4600795" y="9931148"/>
                  </a:lnTo>
                  <a:lnTo>
                    <a:pt x="4603089" y="9997948"/>
                  </a:lnTo>
                  <a:lnTo>
                    <a:pt x="4605709" y="10061952"/>
                  </a:lnTo>
                  <a:lnTo>
                    <a:pt x="4607139" y="10096634"/>
                  </a:lnTo>
                  <a:lnTo>
                    <a:pt x="4618338" y="10126496"/>
                  </a:lnTo>
                  <a:lnTo>
                    <a:pt x="4632911" y="10154446"/>
                  </a:lnTo>
                  <a:lnTo>
                    <a:pt x="4647493" y="10182394"/>
                  </a:lnTo>
                  <a:lnTo>
                    <a:pt x="4665913" y="10208840"/>
                  </a:lnTo>
                  <a:lnTo>
                    <a:pt x="4685962" y="10236057"/>
                  </a:lnTo>
                  <a:lnTo>
                    <a:pt x="4713718" y="10273741"/>
                  </a:lnTo>
                  <a:lnTo>
                    <a:pt x="4749508" y="10303431"/>
                  </a:lnTo>
                  <a:lnTo>
                    <a:pt x="4781171" y="10338074"/>
                  </a:lnTo>
                  <a:lnTo>
                    <a:pt x="4799663" y="10358327"/>
                  </a:lnTo>
                  <a:lnTo>
                    <a:pt x="4814924" y="10387509"/>
                  </a:lnTo>
                  <a:lnTo>
                    <a:pt x="4835580" y="10406081"/>
                  </a:lnTo>
                  <a:lnTo>
                    <a:pt x="4884374" y="10449969"/>
                  </a:lnTo>
                  <a:lnTo>
                    <a:pt x="4946612" y="10486097"/>
                  </a:lnTo>
                  <a:lnTo>
                    <a:pt x="4991999" y="10532578"/>
                  </a:lnTo>
                  <a:lnTo>
                    <a:pt x="5019644" y="10565697"/>
                  </a:lnTo>
                  <a:lnTo>
                    <a:pt x="5032815" y="10588350"/>
                  </a:lnTo>
                  <a:lnTo>
                    <a:pt x="5045977" y="10611004"/>
                  </a:lnTo>
                  <a:lnTo>
                    <a:pt x="5056851" y="10635405"/>
                  </a:lnTo>
                  <a:lnTo>
                    <a:pt x="5057985" y="10682539"/>
                  </a:lnTo>
                  <a:lnTo>
                    <a:pt x="5042628" y="10706755"/>
                  </a:lnTo>
                  <a:lnTo>
                    <a:pt x="5027373" y="10731169"/>
                  </a:lnTo>
                  <a:lnTo>
                    <a:pt x="5012112" y="10755584"/>
                  </a:lnTo>
                  <a:lnTo>
                    <a:pt x="4996085" y="10779055"/>
                  </a:lnTo>
                  <a:lnTo>
                    <a:pt x="4996085" y="10808700"/>
                  </a:lnTo>
                  <a:lnTo>
                    <a:pt x="4998091" y="10835422"/>
                  </a:lnTo>
                  <a:lnTo>
                    <a:pt x="5002265" y="10860872"/>
                  </a:lnTo>
                  <a:lnTo>
                    <a:pt x="5005617" y="10884870"/>
                  </a:lnTo>
                  <a:lnTo>
                    <a:pt x="5006922" y="10921149"/>
                  </a:lnTo>
                  <a:lnTo>
                    <a:pt x="5005155" y="10960923"/>
                  </a:lnTo>
                  <a:lnTo>
                    <a:pt x="5012410" y="10996410"/>
                  </a:lnTo>
                  <a:lnTo>
                    <a:pt x="5022236" y="11030249"/>
                  </a:lnTo>
                  <a:lnTo>
                    <a:pt x="5040675" y="11060500"/>
                  </a:lnTo>
                  <a:lnTo>
                    <a:pt x="5070899" y="11084821"/>
                  </a:lnTo>
                  <a:lnTo>
                    <a:pt x="5106835" y="11072634"/>
                  </a:lnTo>
                  <a:lnTo>
                    <a:pt x="5112078" y="11045496"/>
                  </a:lnTo>
                  <a:lnTo>
                    <a:pt x="5122583" y="11023614"/>
                  </a:lnTo>
                  <a:lnTo>
                    <a:pt x="5134970" y="11003031"/>
                  </a:lnTo>
                  <a:lnTo>
                    <a:pt x="5153732" y="10992506"/>
                  </a:lnTo>
                  <a:lnTo>
                    <a:pt x="5182431" y="10997769"/>
                  </a:lnTo>
                  <a:lnTo>
                    <a:pt x="5217294" y="11011117"/>
                  </a:lnTo>
                  <a:lnTo>
                    <a:pt x="5232124" y="11032583"/>
                  </a:lnTo>
                  <a:lnTo>
                    <a:pt x="5245940" y="11059569"/>
                  </a:lnTo>
                  <a:lnTo>
                    <a:pt x="5249059" y="11150110"/>
                  </a:lnTo>
                  <a:lnTo>
                    <a:pt x="5288130" y="11174552"/>
                  </a:lnTo>
                  <a:lnTo>
                    <a:pt x="5310162" y="11185604"/>
                  </a:lnTo>
                  <a:lnTo>
                    <a:pt x="5308473" y="11209749"/>
                  </a:lnTo>
                  <a:lnTo>
                    <a:pt x="5306184" y="11234440"/>
                  </a:lnTo>
                  <a:lnTo>
                    <a:pt x="5303884" y="11259138"/>
                  </a:lnTo>
                  <a:lnTo>
                    <a:pt x="5300857" y="11284634"/>
                  </a:lnTo>
                  <a:lnTo>
                    <a:pt x="5322962" y="11296571"/>
                  </a:lnTo>
                  <a:lnTo>
                    <a:pt x="5351084" y="11303812"/>
                  </a:lnTo>
                  <a:lnTo>
                    <a:pt x="5379371" y="11312339"/>
                  </a:lnTo>
                  <a:lnTo>
                    <a:pt x="5407133" y="11322495"/>
                  </a:lnTo>
                  <a:lnTo>
                    <a:pt x="5432688" y="11335098"/>
                  </a:lnTo>
                  <a:lnTo>
                    <a:pt x="5457434" y="11348716"/>
                  </a:lnTo>
                  <a:lnTo>
                    <a:pt x="5486852" y="11371257"/>
                  </a:lnTo>
                  <a:lnTo>
                    <a:pt x="5500932" y="11395105"/>
                  </a:lnTo>
                  <a:lnTo>
                    <a:pt x="5507502" y="11422150"/>
                  </a:lnTo>
                  <a:lnTo>
                    <a:pt x="5514075" y="11449196"/>
                  </a:lnTo>
                  <a:lnTo>
                    <a:pt x="5513880" y="11479289"/>
                  </a:lnTo>
                  <a:lnTo>
                    <a:pt x="5506150" y="11506479"/>
                  </a:lnTo>
                  <a:lnTo>
                    <a:pt x="5498393" y="11533677"/>
                  </a:lnTo>
                  <a:lnTo>
                    <a:pt x="5482750" y="11558289"/>
                  </a:lnTo>
                  <a:lnTo>
                    <a:pt x="5458541" y="11573134"/>
                  </a:lnTo>
                  <a:lnTo>
                    <a:pt x="5434338" y="11587973"/>
                  </a:lnTo>
                  <a:lnTo>
                    <a:pt x="5402008" y="11592669"/>
                  </a:lnTo>
                  <a:lnTo>
                    <a:pt x="5359254" y="11582651"/>
                  </a:lnTo>
                  <a:lnTo>
                    <a:pt x="5337063" y="11614022"/>
                  </a:lnTo>
                  <a:lnTo>
                    <a:pt x="5315002" y="11763220"/>
                  </a:lnTo>
                  <a:lnTo>
                    <a:pt x="5337661" y="11771786"/>
                  </a:lnTo>
                  <a:lnTo>
                    <a:pt x="5361986" y="11773124"/>
                  </a:lnTo>
                  <a:lnTo>
                    <a:pt x="5386108" y="11787205"/>
                  </a:lnTo>
                  <a:lnTo>
                    <a:pt x="5387792" y="11811138"/>
                  </a:lnTo>
                  <a:lnTo>
                    <a:pt x="5380939" y="11837320"/>
                  </a:lnTo>
                  <a:lnTo>
                    <a:pt x="5371027" y="11861662"/>
                  </a:lnTo>
                  <a:lnTo>
                    <a:pt x="5372841" y="11894141"/>
                  </a:lnTo>
                  <a:lnTo>
                    <a:pt x="5424022" y="11894504"/>
                  </a:lnTo>
                  <a:lnTo>
                    <a:pt x="5441534" y="11860738"/>
                  </a:lnTo>
                  <a:lnTo>
                    <a:pt x="5469415" y="11841092"/>
                  </a:lnTo>
                  <a:lnTo>
                    <a:pt x="5496021" y="11828093"/>
                  </a:lnTo>
                  <a:lnTo>
                    <a:pt x="5535311" y="11816012"/>
                  </a:lnTo>
                  <a:lnTo>
                    <a:pt x="5559158" y="11810524"/>
                  </a:lnTo>
                  <a:lnTo>
                    <a:pt x="5582313" y="11805730"/>
                  </a:lnTo>
                  <a:lnTo>
                    <a:pt x="5605468" y="11800929"/>
                  </a:lnTo>
                  <a:lnTo>
                    <a:pt x="5627957" y="11795778"/>
                  </a:lnTo>
                  <a:lnTo>
                    <a:pt x="5648970" y="11792125"/>
                  </a:lnTo>
                  <a:lnTo>
                    <a:pt x="5669967" y="11788471"/>
                  </a:lnTo>
                  <a:lnTo>
                    <a:pt x="5702011" y="11782608"/>
                  </a:lnTo>
                  <a:lnTo>
                    <a:pt x="5733306" y="11781639"/>
                  </a:lnTo>
                  <a:lnTo>
                    <a:pt x="5757772" y="11791729"/>
                  </a:lnTo>
                  <a:lnTo>
                    <a:pt x="5778190" y="11808447"/>
                  </a:lnTo>
                  <a:lnTo>
                    <a:pt x="5797788" y="11826775"/>
                  </a:lnTo>
                  <a:lnTo>
                    <a:pt x="5818438" y="11841804"/>
                  </a:lnTo>
                  <a:lnTo>
                    <a:pt x="5843479" y="11849250"/>
                  </a:lnTo>
                  <a:lnTo>
                    <a:pt x="5882131" y="11851142"/>
                  </a:lnTo>
                  <a:lnTo>
                    <a:pt x="5921787" y="11850081"/>
                  </a:lnTo>
                  <a:lnTo>
                    <a:pt x="5961812" y="11847891"/>
                  </a:lnTo>
                  <a:lnTo>
                    <a:pt x="6000867" y="11846183"/>
                  </a:lnTo>
                  <a:lnTo>
                    <a:pt x="6039736" y="11846863"/>
                  </a:lnTo>
                  <a:lnTo>
                    <a:pt x="6077433" y="11851973"/>
                  </a:lnTo>
                  <a:lnTo>
                    <a:pt x="6100139" y="11843960"/>
                  </a:lnTo>
                  <a:lnTo>
                    <a:pt x="6123669" y="11811171"/>
                  </a:lnTo>
                  <a:lnTo>
                    <a:pt x="6138896" y="11771503"/>
                  </a:lnTo>
                  <a:lnTo>
                    <a:pt x="6142716" y="11749957"/>
                  </a:lnTo>
                  <a:lnTo>
                    <a:pt x="6146549" y="11728418"/>
                  </a:lnTo>
                  <a:lnTo>
                    <a:pt x="6148936" y="11706905"/>
                  </a:lnTo>
                  <a:lnTo>
                    <a:pt x="6160991" y="11670593"/>
                  </a:lnTo>
                  <a:lnTo>
                    <a:pt x="6186248" y="11647947"/>
                  </a:lnTo>
                  <a:lnTo>
                    <a:pt x="6208005" y="11650664"/>
                  </a:lnTo>
                  <a:lnTo>
                    <a:pt x="6240137" y="11674293"/>
                  </a:lnTo>
                  <a:lnTo>
                    <a:pt x="6279117" y="11701030"/>
                  </a:lnTo>
                  <a:lnTo>
                    <a:pt x="6304582" y="11732276"/>
                  </a:lnTo>
                  <a:lnTo>
                    <a:pt x="6354734" y="11727633"/>
                  </a:lnTo>
                  <a:lnTo>
                    <a:pt x="6380230" y="11713520"/>
                  </a:lnTo>
                  <a:lnTo>
                    <a:pt x="6403882" y="11696901"/>
                  </a:lnTo>
                  <a:lnTo>
                    <a:pt x="6427517" y="11680288"/>
                  </a:lnTo>
                  <a:lnTo>
                    <a:pt x="6449194" y="11660840"/>
                  </a:lnTo>
                  <a:lnTo>
                    <a:pt x="6471887" y="11641134"/>
                  </a:lnTo>
                  <a:lnTo>
                    <a:pt x="6497048" y="11624086"/>
                  </a:lnTo>
                  <a:lnTo>
                    <a:pt x="6512123" y="11606069"/>
                  </a:lnTo>
                  <a:lnTo>
                    <a:pt x="6530376" y="11592173"/>
                  </a:lnTo>
                  <a:lnTo>
                    <a:pt x="6548626" y="11578278"/>
                  </a:lnTo>
                  <a:lnTo>
                    <a:pt x="6569803" y="11568617"/>
                  </a:lnTo>
                  <a:lnTo>
                    <a:pt x="6606623" y="11576755"/>
                  </a:lnTo>
                  <a:lnTo>
                    <a:pt x="6633040" y="11582604"/>
                  </a:lnTo>
                  <a:lnTo>
                    <a:pt x="6663674" y="11590815"/>
                  </a:lnTo>
                  <a:lnTo>
                    <a:pt x="6694307" y="11599026"/>
                  </a:lnTo>
                  <a:lnTo>
                    <a:pt x="6728885" y="11609690"/>
                  </a:lnTo>
                  <a:lnTo>
                    <a:pt x="6762973" y="11620736"/>
                  </a:lnTo>
                  <a:lnTo>
                    <a:pt x="6797042" y="11631783"/>
                  </a:lnTo>
                  <a:lnTo>
                    <a:pt x="6830070" y="11643963"/>
                  </a:lnTo>
                  <a:lnTo>
                    <a:pt x="6856825" y="11656104"/>
                  </a:lnTo>
                  <a:lnTo>
                    <a:pt x="6882817" y="11667897"/>
                  </a:lnTo>
                  <a:lnTo>
                    <a:pt x="6902192" y="11678936"/>
                  </a:lnTo>
                  <a:lnTo>
                    <a:pt x="6928696" y="11681245"/>
                  </a:lnTo>
                  <a:lnTo>
                    <a:pt x="6957476" y="11668345"/>
                  </a:lnTo>
                  <a:lnTo>
                    <a:pt x="6992977" y="11654205"/>
                  </a:lnTo>
                  <a:lnTo>
                    <a:pt x="7028061" y="11638958"/>
                  </a:lnTo>
                  <a:lnTo>
                    <a:pt x="7058133" y="11620736"/>
                  </a:lnTo>
                  <a:lnTo>
                    <a:pt x="7081146" y="11596072"/>
                  </a:lnTo>
                  <a:lnTo>
                    <a:pt x="7087121" y="11573002"/>
                  </a:lnTo>
                  <a:lnTo>
                    <a:pt x="7093495" y="11550006"/>
                  </a:lnTo>
                  <a:lnTo>
                    <a:pt x="7100264" y="11522386"/>
                  </a:lnTo>
                  <a:lnTo>
                    <a:pt x="7112607" y="11478742"/>
                  </a:lnTo>
                  <a:lnTo>
                    <a:pt x="7122384" y="11449809"/>
                  </a:lnTo>
                  <a:lnTo>
                    <a:pt x="7150621" y="11434397"/>
                  </a:lnTo>
                  <a:lnTo>
                    <a:pt x="7172477" y="11459445"/>
                  </a:lnTo>
                  <a:lnTo>
                    <a:pt x="7187269" y="11480845"/>
                  </a:lnTo>
                  <a:lnTo>
                    <a:pt x="7217336" y="11506486"/>
                  </a:lnTo>
                  <a:lnTo>
                    <a:pt x="7249914" y="11529608"/>
                  </a:lnTo>
                  <a:lnTo>
                    <a:pt x="7282507" y="11552729"/>
                  </a:lnTo>
                  <a:lnTo>
                    <a:pt x="7318127" y="11572606"/>
                  </a:lnTo>
                  <a:lnTo>
                    <a:pt x="7341517" y="11566308"/>
                  </a:lnTo>
                  <a:lnTo>
                    <a:pt x="7354655" y="11536407"/>
                  </a:lnTo>
                  <a:lnTo>
                    <a:pt x="7366598" y="11505101"/>
                  </a:lnTo>
                  <a:lnTo>
                    <a:pt x="7363538" y="11481162"/>
                  </a:lnTo>
                  <a:lnTo>
                    <a:pt x="7345133" y="11450720"/>
                  </a:lnTo>
                  <a:lnTo>
                    <a:pt x="7328064" y="11421643"/>
                  </a:lnTo>
                  <a:lnTo>
                    <a:pt x="7324418" y="11391972"/>
                  </a:lnTo>
                  <a:lnTo>
                    <a:pt x="7343775" y="11377266"/>
                  </a:lnTo>
                  <a:lnTo>
                    <a:pt x="7365854" y="11366444"/>
                  </a:lnTo>
                  <a:lnTo>
                    <a:pt x="7397099" y="11352397"/>
                  </a:lnTo>
                  <a:lnTo>
                    <a:pt x="7424027" y="11333740"/>
                  </a:lnTo>
                  <a:lnTo>
                    <a:pt x="7445111" y="11319171"/>
                  </a:lnTo>
                  <a:lnTo>
                    <a:pt x="7470923" y="11318195"/>
                  </a:lnTo>
                  <a:lnTo>
                    <a:pt x="7496820" y="11338402"/>
                  </a:lnTo>
                  <a:lnTo>
                    <a:pt x="7514087" y="11355562"/>
                  </a:lnTo>
                  <a:lnTo>
                    <a:pt x="7538278" y="11382706"/>
                  </a:lnTo>
                  <a:lnTo>
                    <a:pt x="7567156" y="11364380"/>
                  </a:lnTo>
                  <a:lnTo>
                    <a:pt x="7581804" y="11325588"/>
                  </a:lnTo>
                  <a:lnTo>
                    <a:pt x="7591642" y="11284977"/>
                  </a:lnTo>
                  <a:lnTo>
                    <a:pt x="7596767" y="11264374"/>
                  </a:lnTo>
                  <a:lnTo>
                    <a:pt x="7601892" y="11243771"/>
                  </a:lnTo>
                  <a:lnTo>
                    <a:pt x="7607786" y="11223539"/>
                  </a:lnTo>
                  <a:lnTo>
                    <a:pt x="7629280" y="11190953"/>
                  </a:lnTo>
                  <a:lnTo>
                    <a:pt x="7667498" y="11170522"/>
                  </a:lnTo>
                  <a:lnTo>
                    <a:pt x="7690963" y="11163406"/>
                  </a:lnTo>
                  <a:lnTo>
                    <a:pt x="7714639" y="11165800"/>
                  </a:lnTo>
                  <a:lnTo>
                    <a:pt x="7738234" y="11169164"/>
                  </a:lnTo>
                  <a:lnTo>
                    <a:pt x="7800801" y="11178686"/>
                  </a:lnTo>
                  <a:lnTo>
                    <a:pt x="7845691" y="11201808"/>
                  </a:lnTo>
                  <a:lnTo>
                    <a:pt x="7890575" y="11224930"/>
                  </a:lnTo>
                  <a:lnTo>
                    <a:pt x="7907715" y="11241707"/>
                  </a:lnTo>
                  <a:lnTo>
                    <a:pt x="7925119" y="11259843"/>
                  </a:lnTo>
                  <a:lnTo>
                    <a:pt x="7947701" y="11268457"/>
                  </a:lnTo>
                  <a:lnTo>
                    <a:pt x="7980973" y="11266267"/>
                  </a:lnTo>
                  <a:lnTo>
                    <a:pt x="8006916" y="11254330"/>
                  </a:lnTo>
                  <a:lnTo>
                    <a:pt x="8036120" y="11239894"/>
                  </a:lnTo>
                  <a:lnTo>
                    <a:pt x="8067551" y="11227073"/>
                  </a:lnTo>
                  <a:lnTo>
                    <a:pt x="8097167" y="11211905"/>
                  </a:lnTo>
                  <a:lnTo>
                    <a:pt x="8123172" y="11190927"/>
                  </a:lnTo>
                  <a:lnTo>
                    <a:pt x="8129082" y="11152564"/>
                  </a:lnTo>
                  <a:lnTo>
                    <a:pt x="8120422" y="11129719"/>
                  </a:lnTo>
                  <a:lnTo>
                    <a:pt x="8111768" y="11106868"/>
                  </a:lnTo>
                  <a:lnTo>
                    <a:pt x="8100947" y="11084109"/>
                  </a:lnTo>
                  <a:lnTo>
                    <a:pt x="8101849" y="11053568"/>
                  </a:lnTo>
                  <a:lnTo>
                    <a:pt x="8113365" y="11033797"/>
                  </a:lnTo>
                  <a:lnTo>
                    <a:pt x="8137549" y="11000664"/>
                  </a:lnTo>
                  <a:lnTo>
                    <a:pt x="8166673" y="10989617"/>
                  </a:lnTo>
                  <a:lnTo>
                    <a:pt x="8198485" y="10994537"/>
                  </a:lnTo>
                  <a:lnTo>
                    <a:pt x="8222447" y="11001858"/>
                  </a:lnTo>
                  <a:lnTo>
                    <a:pt x="8256705" y="11015740"/>
                  </a:lnTo>
                  <a:lnTo>
                    <a:pt x="8290452" y="11026344"/>
                  </a:lnTo>
                  <a:lnTo>
                    <a:pt x="8331255" y="10989617"/>
                  </a:lnTo>
                  <a:lnTo>
                    <a:pt x="8283599" y="10925693"/>
                  </a:lnTo>
                  <a:lnTo>
                    <a:pt x="8304023" y="10897928"/>
                  </a:lnTo>
                  <a:lnTo>
                    <a:pt x="8323051" y="10883531"/>
                  </a:lnTo>
                  <a:lnTo>
                    <a:pt x="8342070" y="10869128"/>
                  </a:lnTo>
                  <a:lnTo>
                    <a:pt x="8363347" y="10855305"/>
                  </a:lnTo>
                  <a:lnTo>
                    <a:pt x="8388207" y="10840869"/>
                  </a:lnTo>
                  <a:lnTo>
                    <a:pt x="8419619" y="10850880"/>
                  </a:lnTo>
                  <a:lnTo>
                    <a:pt x="8454020" y="10868377"/>
                  </a:lnTo>
                  <a:lnTo>
                    <a:pt x="8488601" y="10890515"/>
                  </a:lnTo>
                  <a:lnTo>
                    <a:pt x="8505592" y="10903177"/>
                  </a:lnTo>
                  <a:lnTo>
                    <a:pt x="8540405" y="10921004"/>
                  </a:lnTo>
                  <a:lnTo>
                    <a:pt x="8574692" y="10927058"/>
                  </a:lnTo>
                  <a:lnTo>
                    <a:pt x="8598876" y="10902722"/>
                  </a:lnTo>
                  <a:lnTo>
                    <a:pt x="8607626" y="10869775"/>
                  </a:lnTo>
                  <a:lnTo>
                    <a:pt x="8605946" y="10831841"/>
                  </a:lnTo>
                  <a:lnTo>
                    <a:pt x="8600334" y="10793366"/>
                  </a:lnTo>
                  <a:lnTo>
                    <a:pt x="8595221" y="10756059"/>
                  </a:lnTo>
                  <a:lnTo>
                    <a:pt x="8596436" y="10723025"/>
                  </a:lnTo>
                  <a:lnTo>
                    <a:pt x="8620652" y="10700516"/>
                  </a:lnTo>
                  <a:lnTo>
                    <a:pt x="8654932" y="10699903"/>
                  </a:lnTo>
                  <a:lnTo>
                    <a:pt x="8690216" y="10705964"/>
                  </a:lnTo>
                  <a:lnTo>
                    <a:pt x="8747605" y="10728591"/>
                  </a:lnTo>
                  <a:lnTo>
                    <a:pt x="8788809" y="10753058"/>
                  </a:lnTo>
                  <a:lnTo>
                    <a:pt x="8827678" y="10780150"/>
                  </a:lnTo>
                  <a:lnTo>
                    <a:pt x="8866544" y="10807248"/>
                  </a:lnTo>
                  <a:lnTo>
                    <a:pt x="8903943" y="10836761"/>
                  </a:lnTo>
                  <a:lnTo>
                    <a:pt x="8935138" y="10857686"/>
                  </a:lnTo>
                  <a:lnTo>
                    <a:pt x="8966330" y="10878605"/>
                  </a:lnTo>
                  <a:lnTo>
                    <a:pt x="8991984" y="10891043"/>
                  </a:lnTo>
                  <a:lnTo>
                    <a:pt x="9019465" y="10876726"/>
                  </a:lnTo>
                  <a:lnTo>
                    <a:pt x="9020640" y="10855536"/>
                  </a:lnTo>
                  <a:lnTo>
                    <a:pt x="9003090" y="10837143"/>
                  </a:lnTo>
                  <a:lnTo>
                    <a:pt x="8985454" y="10820959"/>
                  </a:lnTo>
                  <a:lnTo>
                    <a:pt x="8967834" y="10804775"/>
                  </a:lnTo>
                  <a:lnTo>
                    <a:pt x="8950291" y="10790834"/>
                  </a:lnTo>
                  <a:lnTo>
                    <a:pt x="8964984" y="10768675"/>
                  </a:lnTo>
                  <a:lnTo>
                    <a:pt x="8990006" y="10763260"/>
                  </a:lnTo>
                  <a:lnTo>
                    <a:pt x="9027985" y="10772783"/>
                  </a:lnTo>
                  <a:lnTo>
                    <a:pt x="9070240" y="10788262"/>
                  </a:lnTo>
                  <a:lnTo>
                    <a:pt x="9111958" y="10796479"/>
                  </a:lnTo>
                  <a:lnTo>
                    <a:pt x="9132819" y="10800588"/>
                  </a:lnTo>
                  <a:lnTo>
                    <a:pt x="9153850" y="10803060"/>
                  </a:lnTo>
                  <a:lnTo>
                    <a:pt x="9192490" y="10800779"/>
                  </a:lnTo>
                  <a:lnTo>
                    <a:pt x="9224851" y="10785597"/>
                  </a:lnTo>
                  <a:lnTo>
                    <a:pt x="9241358" y="10771339"/>
                  </a:lnTo>
                  <a:lnTo>
                    <a:pt x="9257323" y="10753605"/>
                  </a:lnTo>
                  <a:lnTo>
                    <a:pt x="9277908" y="10737988"/>
                  </a:lnTo>
                  <a:lnTo>
                    <a:pt x="9303925" y="10735720"/>
                  </a:lnTo>
                  <a:lnTo>
                    <a:pt x="9333507" y="10740257"/>
                  </a:lnTo>
                  <a:lnTo>
                    <a:pt x="9364960" y="10750229"/>
                  </a:lnTo>
                  <a:lnTo>
                    <a:pt x="9397519" y="10759561"/>
                  </a:lnTo>
                  <a:lnTo>
                    <a:pt x="9430336" y="10770825"/>
                  </a:lnTo>
                  <a:lnTo>
                    <a:pt x="9462895" y="10781515"/>
                  </a:lnTo>
                  <a:lnTo>
                    <a:pt x="9496034" y="10789310"/>
                  </a:lnTo>
                  <a:lnTo>
                    <a:pt x="9527688" y="10792759"/>
                  </a:lnTo>
                  <a:lnTo>
                    <a:pt x="9558105" y="10789680"/>
                  </a:lnTo>
                  <a:lnTo>
                    <a:pt x="9585870" y="10781462"/>
                  </a:lnTo>
                  <a:lnTo>
                    <a:pt x="9611952" y="10762529"/>
                  </a:lnTo>
                  <a:lnTo>
                    <a:pt x="9635641" y="10731190"/>
                  </a:lnTo>
                  <a:lnTo>
                    <a:pt x="9648704" y="10703095"/>
                  </a:lnTo>
                  <a:lnTo>
                    <a:pt x="9657370" y="10669052"/>
                  </a:lnTo>
                  <a:lnTo>
                    <a:pt x="9657838" y="10642745"/>
                  </a:lnTo>
                  <a:lnTo>
                    <a:pt x="9628162" y="10633690"/>
                  </a:lnTo>
                  <a:lnTo>
                    <a:pt x="9535384" y="10620883"/>
                  </a:lnTo>
                  <a:lnTo>
                    <a:pt x="9458191" y="10576948"/>
                  </a:lnTo>
                  <a:lnTo>
                    <a:pt x="9393495" y="10531232"/>
                  </a:lnTo>
                  <a:lnTo>
                    <a:pt x="9363239" y="10509812"/>
                  </a:lnTo>
                  <a:lnTo>
                    <a:pt x="9308402" y="10485456"/>
                  </a:lnTo>
                  <a:lnTo>
                    <a:pt x="9286037" y="10456426"/>
                  </a:lnTo>
                  <a:lnTo>
                    <a:pt x="9238350" y="10394368"/>
                  </a:lnTo>
                  <a:lnTo>
                    <a:pt x="9288484" y="10230907"/>
                  </a:lnTo>
                  <a:lnTo>
                    <a:pt x="9231638" y="10101409"/>
                  </a:lnTo>
                  <a:lnTo>
                    <a:pt x="9223471" y="10073400"/>
                  </a:lnTo>
                  <a:lnTo>
                    <a:pt x="9105562" y="9935151"/>
                  </a:lnTo>
                  <a:lnTo>
                    <a:pt x="8957130" y="9990767"/>
                  </a:lnTo>
                  <a:lnTo>
                    <a:pt x="8871179" y="9930028"/>
                  </a:lnTo>
                  <a:lnTo>
                    <a:pt x="8850272" y="9915215"/>
                  </a:lnTo>
                  <a:lnTo>
                    <a:pt x="8822596" y="9851753"/>
                  </a:lnTo>
                  <a:lnTo>
                    <a:pt x="8811332" y="9825294"/>
                  </a:lnTo>
                  <a:lnTo>
                    <a:pt x="8762113" y="9742659"/>
                  </a:lnTo>
                  <a:lnTo>
                    <a:pt x="8754845" y="9657480"/>
                  </a:lnTo>
                  <a:lnTo>
                    <a:pt x="8744681" y="9564135"/>
                  </a:lnTo>
                  <a:lnTo>
                    <a:pt x="8738945" y="9511469"/>
                  </a:lnTo>
                  <a:lnTo>
                    <a:pt x="8717182" y="9459336"/>
                  </a:lnTo>
                  <a:lnTo>
                    <a:pt x="8702513" y="9409069"/>
                  </a:lnTo>
                  <a:lnTo>
                    <a:pt x="8681014" y="9334943"/>
                  </a:lnTo>
                  <a:lnTo>
                    <a:pt x="8683085" y="9253139"/>
                  </a:lnTo>
                  <a:lnTo>
                    <a:pt x="8645398" y="9183280"/>
                  </a:lnTo>
                  <a:lnTo>
                    <a:pt x="8631612" y="9163706"/>
                  </a:lnTo>
                  <a:lnTo>
                    <a:pt x="8620869" y="9142517"/>
                  </a:lnTo>
                  <a:lnTo>
                    <a:pt x="8610020" y="9123431"/>
                  </a:lnTo>
                  <a:lnTo>
                    <a:pt x="8613892" y="9004663"/>
                  </a:lnTo>
                  <a:lnTo>
                    <a:pt x="8912457" y="8967580"/>
                  </a:lnTo>
                  <a:lnTo>
                    <a:pt x="8945993" y="8903076"/>
                  </a:lnTo>
                  <a:lnTo>
                    <a:pt x="8929926" y="8865076"/>
                  </a:lnTo>
                  <a:lnTo>
                    <a:pt x="8856222" y="8849921"/>
                  </a:lnTo>
                  <a:lnTo>
                    <a:pt x="8839900" y="8806506"/>
                  </a:lnTo>
                  <a:lnTo>
                    <a:pt x="8826044" y="8769588"/>
                  </a:lnTo>
                  <a:lnTo>
                    <a:pt x="8877213" y="8647424"/>
                  </a:lnTo>
                  <a:lnTo>
                    <a:pt x="8865738" y="8573911"/>
                  </a:lnTo>
                  <a:lnTo>
                    <a:pt x="8862256" y="8488388"/>
                  </a:lnTo>
                  <a:lnTo>
                    <a:pt x="8855965" y="8379611"/>
                  </a:lnTo>
                  <a:lnTo>
                    <a:pt x="8778686" y="8324993"/>
                  </a:lnTo>
                  <a:lnTo>
                    <a:pt x="8748647" y="8303738"/>
                  </a:lnTo>
                  <a:lnTo>
                    <a:pt x="8710718" y="8288266"/>
                  </a:lnTo>
                  <a:lnTo>
                    <a:pt x="8678034" y="8270585"/>
                  </a:lnTo>
                  <a:lnTo>
                    <a:pt x="8639730" y="8251882"/>
                  </a:lnTo>
                  <a:lnTo>
                    <a:pt x="8627709" y="8233857"/>
                  </a:lnTo>
                  <a:lnTo>
                    <a:pt x="8598439" y="8189976"/>
                  </a:lnTo>
                  <a:lnTo>
                    <a:pt x="8638629" y="8070977"/>
                  </a:lnTo>
                  <a:lnTo>
                    <a:pt x="8627709" y="8013509"/>
                  </a:lnTo>
                  <a:lnTo>
                    <a:pt x="8617505" y="7959569"/>
                  </a:lnTo>
                  <a:lnTo>
                    <a:pt x="8509800" y="7916063"/>
                  </a:lnTo>
                  <a:lnTo>
                    <a:pt x="8497131" y="7870690"/>
                  </a:lnTo>
                  <a:lnTo>
                    <a:pt x="8476230" y="7795706"/>
                  </a:lnTo>
                  <a:lnTo>
                    <a:pt x="8554380" y="7685868"/>
                  </a:lnTo>
                  <a:lnTo>
                    <a:pt x="8501217" y="7587768"/>
                  </a:lnTo>
                  <a:lnTo>
                    <a:pt x="8447958" y="7489260"/>
                  </a:lnTo>
                  <a:lnTo>
                    <a:pt x="8389506" y="7518350"/>
                  </a:lnTo>
                  <a:lnTo>
                    <a:pt x="8305350" y="7491193"/>
                  </a:lnTo>
                  <a:lnTo>
                    <a:pt x="8286269" y="7434846"/>
                  </a:lnTo>
                  <a:lnTo>
                    <a:pt x="8335909" y="7330818"/>
                  </a:lnTo>
                  <a:lnTo>
                    <a:pt x="8320313" y="7291241"/>
                  </a:lnTo>
                  <a:lnTo>
                    <a:pt x="8311688" y="7269333"/>
                  </a:lnTo>
                  <a:lnTo>
                    <a:pt x="8286483" y="7255899"/>
                  </a:lnTo>
                  <a:lnTo>
                    <a:pt x="8271346" y="7239558"/>
                  </a:lnTo>
                  <a:lnTo>
                    <a:pt x="8280890" y="7197390"/>
                  </a:lnTo>
                  <a:lnTo>
                    <a:pt x="8342300" y="7161407"/>
                  </a:lnTo>
                  <a:lnTo>
                    <a:pt x="8403865" y="7184463"/>
                  </a:lnTo>
                  <a:lnTo>
                    <a:pt x="8460435" y="7159304"/>
                  </a:lnTo>
                  <a:lnTo>
                    <a:pt x="8494557" y="7144064"/>
                  </a:lnTo>
                  <a:lnTo>
                    <a:pt x="8525765" y="7113713"/>
                  </a:lnTo>
                  <a:lnTo>
                    <a:pt x="8543407" y="7081768"/>
                  </a:lnTo>
                  <a:lnTo>
                    <a:pt x="8609719" y="6961351"/>
                  </a:lnTo>
                  <a:lnTo>
                    <a:pt x="8437063" y="6931279"/>
                  </a:lnTo>
                  <a:lnTo>
                    <a:pt x="8361142" y="6904946"/>
                  </a:lnTo>
                  <a:lnTo>
                    <a:pt x="8339590" y="6897467"/>
                  </a:lnTo>
                  <a:lnTo>
                    <a:pt x="8316001" y="6883756"/>
                  </a:lnTo>
                  <a:lnTo>
                    <a:pt x="8293131" y="6880465"/>
                  </a:lnTo>
                  <a:lnTo>
                    <a:pt x="8224062" y="6870533"/>
                  </a:lnTo>
                  <a:lnTo>
                    <a:pt x="8014586" y="6981670"/>
                  </a:lnTo>
                  <a:lnTo>
                    <a:pt x="7883717" y="6941672"/>
                  </a:lnTo>
                  <a:lnTo>
                    <a:pt x="7828334" y="6924756"/>
                  </a:lnTo>
                  <a:lnTo>
                    <a:pt x="7776340" y="6847392"/>
                  </a:lnTo>
                  <a:lnTo>
                    <a:pt x="7755849" y="6796129"/>
                  </a:lnTo>
                  <a:lnTo>
                    <a:pt x="7759331" y="6764994"/>
                  </a:lnTo>
                  <a:lnTo>
                    <a:pt x="7777066" y="6746608"/>
                  </a:lnTo>
                  <a:lnTo>
                    <a:pt x="7773538" y="6711794"/>
                  </a:lnTo>
                  <a:lnTo>
                    <a:pt x="7769156" y="6669118"/>
                  </a:lnTo>
                  <a:lnTo>
                    <a:pt x="7749564" y="6596139"/>
                  </a:lnTo>
                  <a:lnTo>
                    <a:pt x="7730012" y="6558093"/>
                  </a:lnTo>
                  <a:lnTo>
                    <a:pt x="7704546" y="6508684"/>
                  </a:lnTo>
                  <a:lnTo>
                    <a:pt x="7655315" y="6460818"/>
                  </a:lnTo>
                  <a:lnTo>
                    <a:pt x="7653839" y="6401669"/>
                  </a:lnTo>
                  <a:lnTo>
                    <a:pt x="7652798" y="6359909"/>
                  </a:lnTo>
                  <a:lnTo>
                    <a:pt x="7668118" y="6311219"/>
                  </a:lnTo>
                  <a:lnTo>
                    <a:pt x="7672886" y="6269731"/>
                  </a:lnTo>
                  <a:lnTo>
                    <a:pt x="7676406" y="6239298"/>
                  </a:lnTo>
                  <a:lnTo>
                    <a:pt x="7659281" y="6199003"/>
                  </a:lnTo>
                  <a:lnTo>
                    <a:pt x="7652739" y="6147655"/>
                  </a:lnTo>
                  <a:lnTo>
                    <a:pt x="7672793" y="6139154"/>
                  </a:lnTo>
                  <a:lnTo>
                    <a:pt x="7623919" y="6098348"/>
                  </a:lnTo>
                  <a:lnTo>
                    <a:pt x="7597306" y="6092846"/>
                  </a:lnTo>
                  <a:lnTo>
                    <a:pt x="7559427" y="6100986"/>
                  </a:lnTo>
                  <a:lnTo>
                    <a:pt x="7538219" y="6088826"/>
                  </a:lnTo>
                  <a:lnTo>
                    <a:pt x="7523720" y="6057839"/>
                  </a:lnTo>
                  <a:lnTo>
                    <a:pt x="7457417" y="6002199"/>
                  </a:lnTo>
                  <a:lnTo>
                    <a:pt x="7371162" y="6081727"/>
                  </a:lnTo>
                  <a:lnTo>
                    <a:pt x="7328749" y="6109229"/>
                  </a:lnTo>
                  <a:lnTo>
                    <a:pt x="7264905" y="6113160"/>
                  </a:lnTo>
                  <a:lnTo>
                    <a:pt x="7231409" y="5998989"/>
                  </a:lnTo>
                  <a:lnTo>
                    <a:pt x="7087995" y="6030338"/>
                  </a:lnTo>
                  <a:lnTo>
                    <a:pt x="6990953" y="6051548"/>
                  </a:lnTo>
                  <a:lnTo>
                    <a:pt x="7023084" y="6116604"/>
                  </a:lnTo>
                  <a:lnTo>
                    <a:pt x="6964216" y="6154115"/>
                  </a:lnTo>
                  <a:lnTo>
                    <a:pt x="6928129" y="6177091"/>
                  </a:lnTo>
                  <a:lnTo>
                    <a:pt x="6853739" y="6179025"/>
                  </a:lnTo>
                  <a:lnTo>
                    <a:pt x="6811875" y="6185400"/>
                  </a:lnTo>
                  <a:lnTo>
                    <a:pt x="6776637" y="6190755"/>
                  </a:lnTo>
                  <a:lnTo>
                    <a:pt x="6744500" y="6216111"/>
                  </a:lnTo>
                  <a:lnTo>
                    <a:pt x="6713946" y="6231646"/>
                  </a:lnTo>
                  <a:lnTo>
                    <a:pt x="6693793" y="6241912"/>
                  </a:lnTo>
                  <a:lnTo>
                    <a:pt x="6667478" y="6248926"/>
                  </a:lnTo>
                  <a:lnTo>
                    <a:pt x="6645926" y="6257491"/>
                  </a:lnTo>
                  <a:lnTo>
                    <a:pt x="6519140" y="6307922"/>
                  </a:lnTo>
                  <a:lnTo>
                    <a:pt x="6319949" y="6305693"/>
                  </a:lnTo>
                  <a:lnTo>
                    <a:pt x="6187541" y="6277895"/>
                  </a:lnTo>
                  <a:lnTo>
                    <a:pt x="6164163" y="6272989"/>
                  </a:lnTo>
                  <a:lnTo>
                    <a:pt x="6090794" y="6268798"/>
                  </a:lnTo>
                  <a:lnTo>
                    <a:pt x="6034183" y="6215452"/>
                  </a:lnTo>
                  <a:lnTo>
                    <a:pt x="5989129" y="5947599"/>
                  </a:lnTo>
                  <a:lnTo>
                    <a:pt x="5972634" y="5932403"/>
                  </a:lnTo>
                  <a:lnTo>
                    <a:pt x="5950871" y="5925602"/>
                  </a:lnTo>
                  <a:lnTo>
                    <a:pt x="5834530" y="5954974"/>
                  </a:lnTo>
                  <a:lnTo>
                    <a:pt x="5710116" y="5991785"/>
                  </a:lnTo>
                  <a:lnTo>
                    <a:pt x="5589054" y="5962328"/>
                  </a:lnTo>
                  <a:lnTo>
                    <a:pt x="5540086" y="5950426"/>
                  </a:lnTo>
                  <a:lnTo>
                    <a:pt x="5465790" y="5902668"/>
                  </a:lnTo>
                  <a:lnTo>
                    <a:pt x="5419117" y="5895382"/>
                  </a:lnTo>
                  <a:lnTo>
                    <a:pt x="5382561" y="5912170"/>
                  </a:lnTo>
                  <a:lnTo>
                    <a:pt x="5345577" y="5899760"/>
                  </a:lnTo>
                  <a:lnTo>
                    <a:pt x="5321321" y="5891599"/>
                  </a:lnTo>
                  <a:lnTo>
                    <a:pt x="5300482" y="5873237"/>
                  </a:lnTo>
                  <a:lnTo>
                    <a:pt x="5278930" y="5860315"/>
                  </a:lnTo>
                  <a:lnTo>
                    <a:pt x="5235237" y="5834088"/>
                  </a:lnTo>
                  <a:lnTo>
                    <a:pt x="5162463" y="5809476"/>
                  </a:lnTo>
                  <a:lnTo>
                    <a:pt x="5111623" y="5811348"/>
                  </a:lnTo>
                  <a:lnTo>
                    <a:pt x="5061725" y="5813198"/>
                  </a:lnTo>
                  <a:lnTo>
                    <a:pt x="4951763" y="5834939"/>
                  </a:lnTo>
                  <a:lnTo>
                    <a:pt x="4917120" y="5872557"/>
                  </a:lnTo>
                  <a:lnTo>
                    <a:pt x="4884133" y="5908369"/>
                  </a:lnTo>
                  <a:lnTo>
                    <a:pt x="4863600" y="5993848"/>
                  </a:lnTo>
                  <a:lnTo>
                    <a:pt x="4800144" y="5985454"/>
                  </a:lnTo>
                  <a:lnTo>
                    <a:pt x="4771364" y="5981650"/>
                  </a:lnTo>
                  <a:lnTo>
                    <a:pt x="4659185" y="5940546"/>
                  </a:lnTo>
                  <a:lnTo>
                    <a:pt x="4630117" y="5926965"/>
                  </a:lnTo>
                  <a:lnTo>
                    <a:pt x="4588507" y="5907560"/>
                  </a:lnTo>
                  <a:lnTo>
                    <a:pt x="4503567" y="5838680"/>
                  </a:lnTo>
                  <a:lnTo>
                    <a:pt x="4461451" y="5837192"/>
                  </a:lnTo>
                  <a:lnTo>
                    <a:pt x="4490265" y="5825588"/>
                  </a:lnTo>
                  <a:lnTo>
                    <a:pt x="4540814" y="5809307"/>
                  </a:lnTo>
                  <a:lnTo>
                    <a:pt x="4564825" y="5793665"/>
                  </a:lnTo>
                  <a:lnTo>
                    <a:pt x="4584669" y="5780722"/>
                  </a:lnTo>
                  <a:lnTo>
                    <a:pt x="4606525" y="5775664"/>
                  </a:lnTo>
                  <a:lnTo>
                    <a:pt x="4626034" y="5761020"/>
                  </a:lnTo>
                  <a:lnTo>
                    <a:pt x="4694219" y="5709906"/>
                  </a:lnTo>
                  <a:lnTo>
                    <a:pt x="4727581" y="5642683"/>
                  </a:lnTo>
                  <a:lnTo>
                    <a:pt x="4745732" y="5559711"/>
                  </a:lnTo>
                  <a:lnTo>
                    <a:pt x="4752364" y="5529340"/>
                  </a:lnTo>
                  <a:lnTo>
                    <a:pt x="4754026" y="5497545"/>
                  </a:lnTo>
                  <a:lnTo>
                    <a:pt x="4766137" y="5468578"/>
                  </a:lnTo>
                  <a:lnTo>
                    <a:pt x="4797282" y="5394001"/>
                  </a:lnTo>
                  <a:lnTo>
                    <a:pt x="4894848" y="5370070"/>
                  </a:lnTo>
                  <a:lnTo>
                    <a:pt x="4783822" y="5282230"/>
                  </a:lnTo>
                  <a:lnTo>
                    <a:pt x="4781119" y="5260467"/>
                  </a:lnTo>
                  <a:lnTo>
                    <a:pt x="4750386" y="5265867"/>
                  </a:lnTo>
                  <a:lnTo>
                    <a:pt x="4706829" y="5261825"/>
                  </a:lnTo>
                  <a:lnTo>
                    <a:pt x="4674896" y="5246714"/>
                  </a:lnTo>
                  <a:lnTo>
                    <a:pt x="4647821" y="5235982"/>
                  </a:lnTo>
                  <a:lnTo>
                    <a:pt x="4534886" y="5191222"/>
                  </a:lnTo>
                  <a:lnTo>
                    <a:pt x="4514137" y="5180766"/>
                  </a:lnTo>
                  <a:lnTo>
                    <a:pt x="4453312" y="5074118"/>
                  </a:lnTo>
                  <a:lnTo>
                    <a:pt x="4440473" y="5057519"/>
                  </a:lnTo>
                  <a:lnTo>
                    <a:pt x="4442432" y="5019710"/>
                  </a:lnTo>
                  <a:lnTo>
                    <a:pt x="4466614" y="4992144"/>
                  </a:lnTo>
                  <a:lnTo>
                    <a:pt x="4520263" y="5033482"/>
                  </a:lnTo>
                  <a:lnTo>
                    <a:pt x="4559411" y="4968022"/>
                  </a:lnTo>
                  <a:lnTo>
                    <a:pt x="4596212" y="4906452"/>
                  </a:lnTo>
                  <a:lnTo>
                    <a:pt x="4543980" y="4846475"/>
                  </a:lnTo>
                  <a:lnTo>
                    <a:pt x="4540364" y="4784395"/>
                  </a:lnTo>
                  <a:lnTo>
                    <a:pt x="4537180" y="4729222"/>
                  </a:lnTo>
                  <a:lnTo>
                    <a:pt x="4594959" y="4679554"/>
                  </a:lnTo>
                  <a:lnTo>
                    <a:pt x="4590699" y="4570844"/>
                  </a:lnTo>
                  <a:lnTo>
                    <a:pt x="4589518" y="4540516"/>
                  </a:lnTo>
                  <a:lnTo>
                    <a:pt x="4555244" y="4327220"/>
                  </a:lnTo>
                  <a:lnTo>
                    <a:pt x="4544448" y="4308325"/>
                  </a:lnTo>
                  <a:lnTo>
                    <a:pt x="4500829" y="4232303"/>
                  </a:lnTo>
                  <a:lnTo>
                    <a:pt x="4387549" y="4189223"/>
                  </a:lnTo>
                  <a:lnTo>
                    <a:pt x="4341781" y="4105656"/>
                  </a:lnTo>
                  <a:lnTo>
                    <a:pt x="4307901" y="4043938"/>
                  </a:lnTo>
                  <a:lnTo>
                    <a:pt x="4303991" y="3909022"/>
                  </a:lnTo>
                  <a:lnTo>
                    <a:pt x="4242659" y="3872807"/>
                  </a:lnTo>
                  <a:lnTo>
                    <a:pt x="4088820" y="3829408"/>
                  </a:lnTo>
                  <a:lnTo>
                    <a:pt x="4077896" y="3779208"/>
                  </a:lnTo>
                  <a:lnTo>
                    <a:pt x="4070809" y="3746350"/>
                  </a:lnTo>
                  <a:lnTo>
                    <a:pt x="4075590" y="3662550"/>
                  </a:lnTo>
                  <a:lnTo>
                    <a:pt x="4105101" y="3632307"/>
                  </a:lnTo>
                  <a:lnTo>
                    <a:pt x="4132182" y="3620936"/>
                  </a:lnTo>
                  <a:lnTo>
                    <a:pt x="4196354" y="3608886"/>
                  </a:lnTo>
                  <a:lnTo>
                    <a:pt x="4240020" y="3601341"/>
                  </a:lnTo>
                  <a:lnTo>
                    <a:pt x="4284647" y="3588781"/>
                  </a:lnTo>
                  <a:lnTo>
                    <a:pt x="4332256" y="3575391"/>
                  </a:lnTo>
                  <a:lnTo>
                    <a:pt x="4373996" y="3546615"/>
                  </a:lnTo>
                  <a:lnTo>
                    <a:pt x="4423392" y="3537093"/>
                  </a:lnTo>
                  <a:lnTo>
                    <a:pt x="4488755" y="3524490"/>
                  </a:lnTo>
                  <a:lnTo>
                    <a:pt x="4560261" y="3531419"/>
                  </a:lnTo>
                  <a:lnTo>
                    <a:pt x="4624700" y="3513970"/>
                  </a:lnTo>
                  <a:lnTo>
                    <a:pt x="4677354" y="3499688"/>
                  </a:lnTo>
                  <a:lnTo>
                    <a:pt x="4725438" y="3467532"/>
                  </a:lnTo>
                  <a:lnTo>
                    <a:pt x="4778403" y="3452761"/>
                  </a:lnTo>
                  <a:lnTo>
                    <a:pt x="4832427" y="3437714"/>
                  </a:lnTo>
                  <a:lnTo>
                    <a:pt x="4902690" y="3454907"/>
                  </a:lnTo>
                  <a:lnTo>
                    <a:pt x="4957948" y="3456839"/>
                  </a:lnTo>
                  <a:lnTo>
                    <a:pt x="4998414" y="3452057"/>
                  </a:lnTo>
                  <a:lnTo>
                    <a:pt x="5045679" y="3447148"/>
                  </a:lnTo>
                  <a:lnTo>
                    <a:pt x="5071737" y="3447148"/>
                  </a:lnTo>
                  <a:lnTo>
                    <a:pt x="5099409" y="3440517"/>
                  </a:lnTo>
                  <a:lnTo>
                    <a:pt x="5177023" y="3421899"/>
                  </a:lnTo>
                  <a:lnTo>
                    <a:pt x="5259071" y="3360116"/>
                  </a:lnTo>
                  <a:lnTo>
                    <a:pt x="5274871" y="3280013"/>
                  </a:lnTo>
                  <a:lnTo>
                    <a:pt x="5293661" y="3184927"/>
                  </a:lnTo>
                  <a:lnTo>
                    <a:pt x="5238151" y="3105908"/>
                  </a:lnTo>
                  <a:lnTo>
                    <a:pt x="5229817" y="3085760"/>
                  </a:lnTo>
                  <a:lnTo>
                    <a:pt x="5214088" y="2939836"/>
                  </a:lnTo>
                  <a:lnTo>
                    <a:pt x="5122530" y="2852911"/>
                  </a:lnTo>
                  <a:lnTo>
                    <a:pt x="5106345" y="2833634"/>
                  </a:lnTo>
                  <a:lnTo>
                    <a:pt x="5057927" y="2797333"/>
                  </a:lnTo>
                  <a:lnTo>
                    <a:pt x="5076288" y="2767218"/>
                  </a:lnTo>
                  <a:lnTo>
                    <a:pt x="5055756" y="2740248"/>
                  </a:lnTo>
                  <a:lnTo>
                    <a:pt x="4954538" y="2717146"/>
                  </a:lnTo>
                  <a:lnTo>
                    <a:pt x="4921222" y="2701929"/>
                  </a:lnTo>
                  <a:lnTo>
                    <a:pt x="4859725" y="2673790"/>
                  </a:lnTo>
                  <a:lnTo>
                    <a:pt x="4853849" y="2545782"/>
                  </a:lnTo>
                  <a:lnTo>
                    <a:pt x="4768878" y="2527823"/>
                  </a:lnTo>
                  <a:lnTo>
                    <a:pt x="4731736" y="2530225"/>
                  </a:lnTo>
                  <a:lnTo>
                    <a:pt x="4699462" y="2575727"/>
                  </a:lnTo>
                  <a:lnTo>
                    <a:pt x="4653263" y="2584952"/>
                  </a:lnTo>
                  <a:lnTo>
                    <a:pt x="4606788" y="2549629"/>
                  </a:lnTo>
                  <a:lnTo>
                    <a:pt x="4636749" y="2493882"/>
                  </a:lnTo>
                  <a:lnTo>
                    <a:pt x="4609737" y="2447571"/>
                  </a:lnTo>
                  <a:lnTo>
                    <a:pt x="4589630" y="2413035"/>
                  </a:lnTo>
                  <a:lnTo>
                    <a:pt x="4543090" y="2388041"/>
                  </a:lnTo>
                  <a:lnTo>
                    <a:pt x="4511802" y="2364600"/>
                  </a:lnTo>
                  <a:lnTo>
                    <a:pt x="4446004" y="2315271"/>
                  </a:lnTo>
                  <a:lnTo>
                    <a:pt x="4422964" y="2223840"/>
                  </a:lnTo>
                  <a:lnTo>
                    <a:pt x="4356738" y="2174172"/>
                  </a:lnTo>
                  <a:lnTo>
                    <a:pt x="4267265" y="2107075"/>
                  </a:lnTo>
                  <a:lnTo>
                    <a:pt x="4168434" y="2192726"/>
                  </a:lnTo>
                  <a:lnTo>
                    <a:pt x="4113265" y="2153769"/>
                  </a:lnTo>
                  <a:lnTo>
                    <a:pt x="4064003" y="2086651"/>
                  </a:lnTo>
                  <a:lnTo>
                    <a:pt x="4247796" y="2067481"/>
                  </a:lnTo>
                  <a:lnTo>
                    <a:pt x="4152711" y="1941577"/>
                  </a:lnTo>
                  <a:lnTo>
                    <a:pt x="4103151" y="1875481"/>
                  </a:lnTo>
                  <a:lnTo>
                    <a:pt x="4035511" y="1792763"/>
                  </a:lnTo>
                  <a:lnTo>
                    <a:pt x="4009891" y="1713064"/>
                  </a:lnTo>
                  <a:lnTo>
                    <a:pt x="4003641" y="1675637"/>
                  </a:lnTo>
                  <a:lnTo>
                    <a:pt x="3990336" y="1637871"/>
                  </a:lnTo>
                  <a:lnTo>
                    <a:pt x="3986764" y="1605609"/>
                  </a:lnTo>
                  <a:lnTo>
                    <a:pt x="3989077" y="1558512"/>
                  </a:lnTo>
                  <a:lnTo>
                    <a:pt x="4011659" y="1524847"/>
                  </a:lnTo>
                  <a:lnTo>
                    <a:pt x="4013975" y="1479110"/>
                  </a:lnTo>
                  <a:lnTo>
                    <a:pt x="4017147" y="1415903"/>
                  </a:lnTo>
                  <a:lnTo>
                    <a:pt x="3979285" y="1341071"/>
                  </a:lnTo>
                  <a:lnTo>
                    <a:pt x="4008527" y="1283241"/>
                  </a:lnTo>
                  <a:lnTo>
                    <a:pt x="4022982" y="1254635"/>
                  </a:lnTo>
                  <a:lnTo>
                    <a:pt x="4061234" y="1225199"/>
                  </a:lnTo>
                  <a:lnTo>
                    <a:pt x="4081980" y="1198909"/>
                  </a:lnTo>
                  <a:lnTo>
                    <a:pt x="4083239" y="1171726"/>
                  </a:lnTo>
                  <a:lnTo>
                    <a:pt x="4067035" y="1121484"/>
                  </a:lnTo>
                  <a:lnTo>
                    <a:pt x="4029921" y="1093727"/>
                  </a:lnTo>
                  <a:lnTo>
                    <a:pt x="4009910" y="1058809"/>
                  </a:lnTo>
                  <a:lnTo>
                    <a:pt x="3982919" y="1011754"/>
                  </a:lnTo>
                  <a:lnTo>
                    <a:pt x="3998013" y="961236"/>
                  </a:lnTo>
                  <a:lnTo>
                    <a:pt x="3952779" y="910547"/>
                  </a:lnTo>
                  <a:lnTo>
                    <a:pt x="3919258" y="872929"/>
                  </a:lnTo>
                  <a:lnTo>
                    <a:pt x="3877592" y="846384"/>
                  </a:lnTo>
                  <a:lnTo>
                    <a:pt x="3831722" y="818053"/>
                  </a:lnTo>
                  <a:lnTo>
                    <a:pt x="3775363" y="782943"/>
                  </a:lnTo>
                  <a:lnTo>
                    <a:pt x="3655324" y="763815"/>
                  </a:lnTo>
                  <a:lnTo>
                    <a:pt x="3619540" y="729641"/>
                  </a:lnTo>
                  <a:lnTo>
                    <a:pt x="3558753" y="671534"/>
                  </a:lnTo>
                  <a:lnTo>
                    <a:pt x="3553736" y="498003"/>
                  </a:lnTo>
                  <a:lnTo>
                    <a:pt x="3463109" y="396392"/>
                  </a:lnTo>
                  <a:lnTo>
                    <a:pt x="3370132" y="292145"/>
                  </a:lnTo>
                  <a:lnTo>
                    <a:pt x="3290407" y="328913"/>
                  </a:lnTo>
                  <a:lnTo>
                    <a:pt x="3234593" y="253571"/>
                  </a:lnTo>
                  <a:lnTo>
                    <a:pt x="3209388" y="219523"/>
                  </a:lnTo>
                  <a:lnTo>
                    <a:pt x="3153621" y="93493"/>
                  </a:lnTo>
                  <a:lnTo>
                    <a:pt x="3169310" y="56342"/>
                  </a:lnTo>
                  <a:lnTo>
                    <a:pt x="3161106" y="9839"/>
                  </a:lnTo>
                  <a:lnTo>
                    <a:pt x="3035836" y="11859"/>
                  </a:lnTo>
                  <a:lnTo>
                    <a:pt x="3000648" y="8735"/>
                  </a:lnTo>
                  <a:lnTo>
                    <a:pt x="2956098" y="4762"/>
                  </a:lnTo>
                  <a:lnTo>
                    <a:pt x="2909379" y="0"/>
                  </a:lnTo>
                  <a:lnTo>
                    <a:pt x="2864628" y="4654"/>
                  </a:lnTo>
                  <a:close/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79" name="Chernihiv¬0" descr="Chernihiv¬0">
              <a:extLst>
                <a:ext uri="{FF2B5EF4-FFF2-40B4-BE49-F238E27FC236}">
                  <a16:creationId xmlns:a16="http://schemas.microsoft.com/office/drawing/2014/main" id="{5081DCE7-D432-462F-B827-8C1DF7A3616D}"/>
                </a:ext>
              </a:extLst>
            </p:cNvPr>
            <p:cNvSpPr/>
            <p:nvPr/>
          </p:nvSpPr>
          <p:spPr>
            <a:xfrm>
              <a:off x="3747464" y="1181479"/>
              <a:ext cx="1023467" cy="933866"/>
            </a:xfrm>
            <a:custGeom>
              <a:avLst/>
              <a:gdLst/>
              <a:ahLst/>
              <a:cxnLst/>
              <a:rect l="0" t="0" r="0" b="0"/>
              <a:pathLst>
                <a:path w="10443919" h="10817651">
                  <a:moveTo>
                    <a:pt x="9383300" y="21610"/>
                  </a:moveTo>
                  <a:lnTo>
                    <a:pt x="9376374" y="106282"/>
                  </a:lnTo>
                  <a:lnTo>
                    <a:pt x="9343684" y="157779"/>
                  </a:lnTo>
                  <a:lnTo>
                    <a:pt x="9322734" y="190828"/>
                  </a:lnTo>
                  <a:lnTo>
                    <a:pt x="9286472" y="202155"/>
                  </a:lnTo>
                  <a:lnTo>
                    <a:pt x="9256632" y="224429"/>
                  </a:lnTo>
                  <a:lnTo>
                    <a:pt x="9222371" y="223217"/>
                  </a:lnTo>
                  <a:lnTo>
                    <a:pt x="9187898" y="229062"/>
                  </a:lnTo>
                  <a:lnTo>
                    <a:pt x="9154623" y="236670"/>
                  </a:lnTo>
                  <a:lnTo>
                    <a:pt x="9116873" y="264533"/>
                  </a:lnTo>
                  <a:lnTo>
                    <a:pt x="9094899" y="363169"/>
                  </a:lnTo>
                  <a:lnTo>
                    <a:pt x="9055323" y="375411"/>
                  </a:lnTo>
                  <a:lnTo>
                    <a:pt x="9019025" y="375837"/>
                  </a:lnTo>
                  <a:lnTo>
                    <a:pt x="9020085" y="337155"/>
                  </a:lnTo>
                  <a:lnTo>
                    <a:pt x="8981874" y="330524"/>
                  </a:lnTo>
                  <a:lnTo>
                    <a:pt x="8910802" y="338261"/>
                  </a:lnTo>
                  <a:lnTo>
                    <a:pt x="8850741" y="408629"/>
                  </a:lnTo>
                  <a:lnTo>
                    <a:pt x="8805044" y="455663"/>
                  </a:lnTo>
                  <a:lnTo>
                    <a:pt x="8785452" y="475853"/>
                  </a:lnTo>
                  <a:lnTo>
                    <a:pt x="8754765" y="492154"/>
                  </a:lnTo>
                  <a:lnTo>
                    <a:pt x="8730239" y="505990"/>
                  </a:lnTo>
                  <a:lnTo>
                    <a:pt x="8699336" y="523460"/>
                  </a:lnTo>
                  <a:lnTo>
                    <a:pt x="8664693" y="541929"/>
                  </a:lnTo>
                  <a:lnTo>
                    <a:pt x="8636388" y="563118"/>
                  </a:lnTo>
                  <a:lnTo>
                    <a:pt x="8592775" y="595826"/>
                  </a:lnTo>
                  <a:lnTo>
                    <a:pt x="8518727" y="686598"/>
                  </a:lnTo>
                  <a:lnTo>
                    <a:pt x="8466358" y="696418"/>
                  </a:lnTo>
                  <a:lnTo>
                    <a:pt x="8361881" y="715992"/>
                  </a:lnTo>
                  <a:lnTo>
                    <a:pt x="8349385" y="582161"/>
                  </a:lnTo>
                  <a:lnTo>
                    <a:pt x="8244644" y="575360"/>
                  </a:lnTo>
                  <a:lnTo>
                    <a:pt x="8218804" y="573680"/>
                  </a:lnTo>
                  <a:lnTo>
                    <a:pt x="8189643" y="583755"/>
                  </a:lnTo>
                  <a:lnTo>
                    <a:pt x="8165756" y="591683"/>
                  </a:lnTo>
                  <a:lnTo>
                    <a:pt x="8139231" y="594976"/>
                  </a:lnTo>
                  <a:lnTo>
                    <a:pt x="8103360" y="604689"/>
                  </a:lnTo>
                  <a:lnTo>
                    <a:pt x="8080146" y="620502"/>
                  </a:lnTo>
                  <a:lnTo>
                    <a:pt x="8056938" y="627048"/>
                  </a:lnTo>
                  <a:lnTo>
                    <a:pt x="7983913" y="647578"/>
                  </a:lnTo>
                  <a:lnTo>
                    <a:pt x="7915440" y="645368"/>
                  </a:lnTo>
                  <a:lnTo>
                    <a:pt x="7840666" y="632488"/>
                  </a:lnTo>
                  <a:lnTo>
                    <a:pt x="7790381" y="618844"/>
                  </a:lnTo>
                  <a:lnTo>
                    <a:pt x="7732108" y="610661"/>
                  </a:lnTo>
                  <a:lnTo>
                    <a:pt x="7685606" y="586241"/>
                  </a:lnTo>
                  <a:lnTo>
                    <a:pt x="7644799" y="564818"/>
                  </a:lnTo>
                  <a:lnTo>
                    <a:pt x="7605775" y="537211"/>
                  </a:lnTo>
                  <a:lnTo>
                    <a:pt x="7564543" y="516871"/>
                  </a:lnTo>
                  <a:lnTo>
                    <a:pt x="7521315" y="495555"/>
                  </a:lnTo>
                  <a:lnTo>
                    <a:pt x="7476983" y="477596"/>
                  </a:lnTo>
                  <a:lnTo>
                    <a:pt x="7433971" y="455663"/>
                  </a:lnTo>
                  <a:lnTo>
                    <a:pt x="7370846" y="423443"/>
                  </a:lnTo>
                  <a:lnTo>
                    <a:pt x="7075894" y="238009"/>
                  </a:lnTo>
                  <a:lnTo>
                    <a:pt x="7020465" y="297879"/>
                  </a:lnTo>
                  <a:lnTo>
                    <a:pt x="7013752" y="329738"/>
                  </a:lnTo>
                  <a:lnTo>
                    <a:pt x="6985447" y="349121"/>
                  </a:lnTo>
                  <a:lnTo>
                    <a:pt x="6949734" y="330524"/>
                  </a:lnTo>
                  <a:lnTo>
                    <a:pt x="6927760" y="322852"/>
                  </a:lnTo>
                  <a:lnTo>
                    <a:pt x="6903703" y="318963"/>
                  </a:lnTo>
                  <a:lnTo>
                    <a:pt x="6881729" y="311481"/>
                  </a:lnTo>
                  <a:lnTo>
                    <a:pt x="6776018" y="275394"/>
                  </a:lnTo>
                  <a:lnTo>
                    <a:pt x="6696444" y="197161"/>
                  </a:lnTo>
                  <a:lnTo>
                    <a:pt x="6574318" y="248912"/>
                  </a:lnTo>
                  <a:lnTo>
                    <a:pt x="6542190" y="265362"/>
                  </a:lnTo>
                  <a:lnTo>
                    <a:pt x="6519748" y="286509"/>
                  </a:lnTo>
                  <a:lnTo>
                    <a:pt x="6511966" y="307486"/>
                  </a:lnTo>
                  <a:lnTo>
                    <a:pt x="6428268" y="469350"/>
                  </a:lnTo>
                  <a:lnTo>
                    <a:pt x="6585208" y="621118"/>
                  </a:lnTo>
                  <a:lnTo>
                    <a:pt x="6585208" y="658332"/>
                  </a:lnTo>
                  <a:lnTo>
                    <a:pt x="6585208" y="759475"/>
                  </a:lnTo>
                  <a:lnTo>
                    <a:pt x="6432398" y="775819"/>
                  </a:lnTo>
                  <a:lnTo>
                    <a:pt x="6416542" y="852840"/>
                  </a:lnTo>
                  <a:lnTo>
                    <a:pt x="6409268" y="887972"/>
                  </a:lnTo>
                  <a:lnTo>
                    <a:pt x="6437198" y="912944"/>
                  </a:lnTo>
                  <a:lnTo>
                    <a:pt x="6430141" y="948054"/>
                  </a:lnTo>
                  <a:lnTo>
                    <a:pt x="6421813" y="989647"/>
                  </a:lnTo>
                  <a:lnTo>
                    <a:pt x="6384063" y="1013917"/>
                  </a:lnTo>
                  <a:lnTo>
                    <a:pt x="6379815" y="1062311"/>
                  </a:lnTo>
                  <a:lnTo>
                    <a:pt x="6376585" y="1099292"/>
                  </a:lnTo>
                  <a:lnTo>
                    <a:pt x="6411103" y="1121225"/>
                  </a:lnTo>
                  <a:lnTo>
                    <a:pt x="6411103" y="1146643"/>
                  </a:lnTo>
                  <a:lnTo>
                    <a:pt x="6411103" y="1190340"/>
                  </a:lnTo>
                  <a:lnTo>
                    <a:pt x="6368849" y="1211487"/>
                  </a:lnTo>
                  <a:lnTo>
                    <a:pt x="6351247" y="1245938"/>
                  </a:lnTo>
                  <a:lnTo>
                    <a:pt x="6325453" y="1296520"/>
                  </a:lnTo>
                  <a:lnTo>
                    <a:pt x="6326470" y="1357580"/>
                  </a:lnTo>
                  <a:lnTo>
                    <a:pt x="6292763" y="1406441"/>
                  </a:lnTo>
                  <a:lnTo>
                    <a:pt x="6250471" y="1449500"/>
                  </a:lnTo>
                  <a:lnTo>
                    <a:pt x="6204899" y="1474069"/>
                  </a:lnTo>
                  <a:lnTo>
                    <a:pt x="6170005" y="1486120"/>
                  </a:lnTo>
                  <a:lnTo>
                    <a:pt x="6137697" y="1503016"/>
                  </a:lnTo>
                  <a:lnTo>
                    <a:pt x="6070027" y="1538423"/>
                  </a:lnTo>
                  <a:lnTo>
                    <a:pt x="6009289" y="1591279"/>
                  </a:lnTo>
                  <a:lnTo>
                    <a:pt x="5939111" y="1621353"/>
                  </a:lnTo>
                  <a:lnTo>
                    <a:pt x="5898006" y="1638972"/>
                  </a:lnTo>
                  <a:lnTo>
                    <a:pt x="5844323" y="1627771"/>
                  </a:lnTo>
                  <a:lnTo>
                    <a:pt x="5803091" y="1648557"/>
                  </a:lnTo>
                  <a:lnTo>
                    <a:pt x="5762117" y="1669215"/>
                  </a:lnTo>
                  <a:lnTo>
                    <a:pt x="5705330" y="1756990"/>
                  </a:lnTo>
                  <a:lnTo>
                    <a:pt x="5667071" y="1765534"/>
                  </a:lnTo>
                  <a:lnTo>
                    <a:pt x="5589411" y="1782834"/>
                  </a:lnTo>
                  <a:lnTo>
                    <a:pt x="5506737" y="1722284"/>
                  </a:lnTo>
                  <a:lnTo>
                    <a:pt x="5434475" y="1702965"/>
                  </a:lnTo>
                  <a:lnTo>
                    <a:pt x="5405912" y="1695336"/>
                  </a:lnTo>
                  <a:lnTo>
                    <a:pt x="5370249" y="1696163"/>
                  </a:lnTo>
                  <a:lnTo>
                    <a:pt x="5340623" y="1696163"/>
                  </a:lnTo>
                  <a:lnTo>
                    <a:pt x="5272829" y="1696163"/>
                  </a:lnTo>
                  <a:lnTo>
                    <a:pt x="5169837" y="1712508"/>
                  </a:lnTo>
                  <a:lnTo>
                    <a:pt x="5109388" y="1745131"/>
                  </a:lnTo>
                  <a:lnTo>
                    <a:pt x="5085758" y="1757883"/>
                  </a:lnTo>
                  <a:lnTo>
                    <a:pt x="5017744" y="1803449"/>
                  </a:lnTo>
                  <a:lnTo>
                    <a:pt x="4996489" y="1804979"/>
                  </a:lnTo>
                  <a:lnTo>
                    <a:pt x="4971796" y="1806765"/>
                  </a:lnTo>
                  <a:lnTo>
                    <a:pt x="4945187" y="1792738"/>
                  </a:lnTo>
                  <a:lnTo>
                    <a:pt x="4928481" y="1775056"/>
                  </a:lnTo>
                  <a:lnTo>
                    <a:pt x="4924611" y="1738627"/>
                  </a:lnTo>
                  <a:lnTo>
                    <a:pt x="4890356" y="1721008"/>
                  </a:lnTo>
                  <a:lnTo>
                    <a:pt x="4890396" y="1694803"/>
                  </a:lnTo>
                  <a:lnTo>
                    <a:pt x="4902557" y="1669619"/>
                  </a:lnTo>
                  <a:lnTo>
                    <a:pt x="4914500" y="1632404"/>
                  </a:lnTo>
                  <a:lnTo>
                    <a:pt x="4915390" y="1554405"/>
                  </a:lnTo>
                  <a:lnTo>
                    <a:pt x="4906718" y="1530219"/>
                  </a:lnTo>
                  <a:lnTo>
                    <a:pt x="4884744" y="1469010"/>
                  </a:lnTo>
                  <a:lnTo>
                    <a:pt x="4699462" y="1414453"/>
                  </a:lnTo>
                  <a:lnTo>
                    <a:pt x="4640120" y="1410522"/>
                  </a:lnTo>
                  <a:lnTo>
                    <a:pt x="4584480" y="1406844"/>
                  </a:lnTo>
                  <a:lnTo>
                    <a:pt x="4528586" y="1424186"/>
                  </a:lnTo>
                  <a:lnTo>
                    <a:pt x="4472812" y="1428205"/>
                  </a:lnTo>
                  <a:lnTo>
                    <a:pt x="4344129" y="1419578"/>
                  </a:lnTo>
                  <a:lnTo>
                    <a:pt x="4240349" y="1469138"/>
                  </a:lnTo>
                  <a:lnTo>
                    <a:pt x="4134126" y="1456769"/>
                  </a:lnTo>
                  <a:lnTo>
                    <a:pt x="4075063" y="1449862"/>
                  </a:lnTo>
                  <a:lnTo>
                    <a:pt x="4015067" y="1434623"/>
                  </a:lnTo>
                  <a:lnTo>
                    <a:pt x="3955939" y="1429565"/>
                  </a:lnTo>
                  <a:lnTo>
                    <a:pt x="3866676" y="1421935"/>
                  </a:lnTo>
                  <a:lnTo>
                    <a:pt x="3777032" y="1414284"/>
                  </a:lnTo>
                  <a:lnTo>
                    <a:pt x="3687980" y="1403721"/>
                  </a:lnTo>
                  <a:lnTo>
                    <a:pt x="3567327" y="1389439"/>
                  </a:lnTo>
                  <a:lnTo>
                    <a:pt x="3445678" y="1369652"/>
                  </a:lnTo>
                  <a:lnTo>
                    <a:pt x="3323447" y="1368356"/>
                  </a:lnTo>
                  <a:lnTo>
                    <a:pt x="3284724" y="1367953"/>
                  </a:lnTo>
                  <a:lnTo>
                    <a:pt x="3245067" y="1365635"/>
                  </a:lnTo>
                  <a:lnTo>
                    <a:pt x="3206468" y="1365635"/>
                  </a:lnTo>
                  <a:lnTo>
                    <a:pt x="3178966" y="1365635"/>
                  </a:lnTo>
                  <a:lnTo>
                    <a:pt x="3153740" y="1377877"/>
                  </a:lnTo>
                  <a:lnTo>
                    <a:pt x="3126222" y="1377877"/>
                  </a:lnTo>
                  <a:lnTo>
                    <a:pt x="3069413" y="1377877"/>
                  </a:lnTo>
                  <a:lnTo>
                    <a:pt x="3011389" y="1373733"/>
                  </a:lnTo>
                  <a:lnTo>
                    <a:pt x="2956192" y="1391480"/>
                  </a:lnTo>
                  <a:lnTo>
                    <a:pt x="2903848" y="1408290"/>
                  </a:lnTo>
                  <a:lnTo>
                    <a:pt x="2771487" y="1512983"/>
                  </a:lnTo>
                  <a:lnTo>
                    <a:pt x="2748081" y="1561504"/>
                  </a:lnTo>
                  <a:lnTo>
                    <a:pt x="2711336" y="1637717"/>
                  </a:lnTo>
                  <a:lnTo>
                    <a:pt x="2752756" y="1700329"/>
                  </a:lnTo>
                  <a:lnTo>
                    <a:pt x="2655587" y="1741050"/>
                  </a:lnTo>
                  <a:lnTo>
                    <a:pt x="2621967" y="1756374"/>
                  </a:lnTo>
                  <a:lnTo>
                    <a:pt x="2584283" y="1759094"/>
                  </a:lnTo>
                  <a:lnTo>
                    <a:pt x="2546180" y="1754057"/>
                  </a:lnTo>
                  <a:lnTo>
                    <a:pt x="2526367" y="1739690"/>
                  </a:lnTo>
                  <a:lnTo>
                    <a:pt x="2510111" y="1720881"/>
                  </a:lnTo>
                  <a:lnTo>
                    <a:pt x="2455255" y="1664858"/>
                  </a:lnTo>
                  <a:lnTo>
                    <a:pt x="2355559" y="1575276"/>
                  </a:lnTo>
                  <a:lnTo>
                    <a:pt x="2292412" y="1558784"/>
                  </a:lnTo>
                  <a:lnTo>
                    <a:pt x="2267676" y="1552323"/>
                  </a:lnTo>
                  <a:lnTo>
                    <a:pt x="2240710" y="1549496"/>
                  </a:lnTo>
                  <a:lnTo>
                    <a:pt x="2213524" y="1546542"/>
                  </a:lnTo>
                  <a:lnTo>
                    <a:pt x="2164197" y="1537594"/>
                  </a:lnTo>
                  <a:lnTo>
                    <a:pt x="1959003" y="1545671"/>
                  </a:lnTo>
                  <a:lnTo>
                    <a:pt x="1904758" y="1553343"/>
                  </a:lnTo>
                  <a:lnTo>
                    <a:pt x="1841131" y="1562355"/>
                  </a:lnTo>
                  <a:lnTo>
                    <a:pt x="1793866" y="1572619"/>
                  </a:lnTo>
                  <a:lnTo>
                    <a:pt x="1726577" y="1561504"/>
                  </a:lnTo>
                  <a:lnTo>
                    <a:pt x="1680881" y="1563863"/>
                  </a:lnTo>
                  <a:lnTo>
                    <a:pt x="1642241" y="1555234"/>
                  </a:lnTo>
                  <a:lnTo>
                    <a:pt x="1597357" y="1569665"/>
                  </a:lnTo>
                  <a:lnTo>
                    <a:pt x="1566137" y="1579697"/>
                  </a:lnTo>
                  <a:lnTo>
                    <a:pt x="1526626" y="1607751"/>
                  </a:lnTo>
                  <a:lnTo>
                    <a:pt x="1528006" y="1640034"/>
                  </a:lnTo>
                  <a:lnTo>
                    <a:pt x="1501633" y="1651596"/>
                  </a:lnTo>
                  <a:lnTo>
                    <a:pt x="1495342" y="1679842"/>
                  </a:lnTo>
                  <a:lnTo>
                    <a:pt x="1521675" y="1716078"/>
                  </a:lnTo>
                  <a:lnTo>
                    <a:pt x="1530710" y="1735609"/>
                  </a:lnTo>
                  <a:lnTo>
                    <a:pt x="1495447" y="1772632"/>
                  </a:lnTo>
                  <a:lnTo>
                    <a:pt x="1483100" y="1838985"/>
                  </a:lnTo>
                  <a:lnTo>
                    <a:pt x="1570001" y="1827211"/>
                  </a:lnTo>
                  <a:lnTo>
                    <a:pt x="1591488" y="1845297"/>
                  </a:lnTo>
                  <a:lnTo>
                    <a:pt x="1642241" y="1905634"/>
                  </a:lnTo>
                  <a:lnTo>
                    <a:pt x="1662324" y="1977151"/>
                  </a:lnTo>
                  <a:lnTo>
                    <a:pt x="1552656" y="2010455"/>
                  </a:lnTo>
                  <a:lnTo>
                    <a:pt x="1500780" y="2003568"/>
                  </a:lnTo>
                  <a:lnTo>
                    <a:pt x="1469495" y="1943720"/>
                  </a:lnTo>
                  <a:lnTo>
                    <a:pt x="1432769" y="1963209"/>
                  </a:lnTo>
                  <a:lnTo>
                    <a:pt x="1401338" y="1994791"/>
                  </a:lnTo>
                  <a:lnTo>
                    <a:pt x="1362044" y="2009009"/>
                  </a:lnTo>
                  <a:lnTo>
                    <a:pt x="1355390" y="2056467"/>
                  </a:lnTo>
                  <a:lnTo>
                    <a:pt x="1371560" y="2096062"/>
                  </a:lnTo>
                  <a:lnTo>
                    <a:pt x="1355220" y="2119461"/>
                  </a:lnTo>
                  <a:lnTo>
                    <a:pt x="1329392" y="2124626"/>
                  </a:lnTo>
                  <a:lnTo>
                    <a:pt x="1322599" y="2161352"/>
                  </a:lnTo>
                  <a:lnTo>
                    <a:pt x="1300898" y="2195845"/>
                  </a:lnTo>
                  <a:lnTo>
                    <a:pt x="1277076" y="2189342"/>
                  </a:lnTo>
                  <a:lnTo>
                    <a:pt x="1220623" y="2260987"/>
                  </a:lnTo>
                  <a:lnTo>
                    <a:pt x="1193168" y="2230850"/>
                  </a:lnTo>
                  <a:lnTo>
                    <a:pt x="1143053" y="2252485"/>
                  </a:lnTo>
                  <a:lnTo>
                    <a:pt x="1123290" y="2268552"/>
                  </a:lnTo>
                  <a:lnTo>
                    <a:pt x="1092873" y="2281580"/>
                  </a:lnTo>
                  <a:lnTo>
                    <a:pt x="1058996" y="2287404"/>
                  </a:lnTo>
                  <a:lnTo>
                    <a:pt x="1036954" y="2289211"/>
                  </a:lnTo>
                  <a:lnTo>
                    <a:pt x="1031131" y="2318455"/>
                  </a:lnTo>
                  <a:lnTo>
                    <a:pt x="1036954" y="2355860"/>
                  </a:lnTo>
                  <a:lnTo>
                    <a:pt x="1047242" y="2410268"/>
                  </a:lnTo>
                  <a:lnTo>
                    <a:pt x="1056826" y="2463464"/>
                  </a:lnTo>
                  <a:lnTo>
                    <a:pt x="1013833" y="2508202"/>
                  </a:lnTo>
                  <a:lnTo>
                    <a:pt x="957877" y="2566436"/>
                  </a:lnTo>
                  <a:lnTo>
                    <a:pt x="872412" y="2511773"/>
                  </a:lnTo>
                  <a:lnTo>
                    <a:pt x="839729" y="2546288"/>
                  </a:lnTo>
                  <a:lnTo>
                    <a:pt x="808909" y="2578848"/>
                  </a:lnTo>
                  <a:lnTo>
                    <a:pt x="813947" y="2624797"/>
                  </a:lnTo>
                  <a:lnTo>
                    <a:pt x="793477" y="2661905"/>
                  </a:lnTo>
                  <a:lnTo>
                    <a:pt x="772948" y="2699098"/>
                  </a:lnTo>
                  <a:lnTo>
                    <a:pt x="725661" y="2691978"/>
                  </a:lnTo>
                  <a:lnTo>
                    <a:pt x="705067" y="2721753"/>
                  </a:lnTo>
                  <a:lnTo>
                    <a:pt x="660841" y="2793546"/>
                  </a:lnTo>
                  <a:lnTo>
                    <a:pt x="620908" y="2876391"/>
                  </a:lnTo>
                  <a:lnTo>
                    <a:pt x="645964" y="2884659"/>
                  </a:lnTo>
                  <a:lnTo>
                    <a:pt x="554084" y="2906740"/>
                  </a:lnTo>
                  <a:lnTo>
                    <a:pt x="501250" y="2961659"/>
                  </a:lnTo>
                  <a:lnTo>
                    <a:pt x="575404" y="3012836"/>
                  </a:lnTo>
                  <a:lnTo>
                    <a:pt x="570406" y="3065884"/>
                  </a:lnTo>
                  <a:lnTo>
                    <a:pt x="568393" y="3087328"/>
                  </a:lnTo>
                  <a:lnTo>
                    <a:pt x="554472" y="3106116"/>
                  </a:lnTo>
                  <a:lnTo>
                    <a:pt x="540848" y="3143309"/>
                  </a:lnTo>
                  <a:lnTo>
                    <a:pt x="534535" y="3165774"/>
                  </a:lnTo>
                  <a:lnTo>
                    <a:pt x="494854" y="3226005"/>
                  </a:lnTo>
                  <a:lnTo>
                    <a:pt x="417107" y="3191872"/>
                  </a:lnTo>
                  <a:lnTo>
                    <a:pt x="393582" y="3218226"/>
                  </a:lnTo>
                  <a:lnTo>
                    <a:pt x="384296" y="3245940"/>
                  </a:lnTo>
                  <a:lnTo>
                    <a:pt x="399557" y="3282304"/>
                  </a:lnTo>
                  <a:lnTo>
                    <a:pt x="462698" y="3300051"/>
                  </a:lnTo>
                  <a:lnTo>
                    <a:pt x="484718" y="3317521"/>
                  </a:lnTo>
                  <a:lnTo>
                    <a:pt x="470902" y="3344087"/>
                  </a:lnTo>
                  <a:lnTo>
                    <a:pt x="450860" y="3353332"/>
                  </a:lnTo>
                  <a:lnTo>
                    <a:pt x="416341" y="3405105"/>
                  </a:lnTo>
                  <a:lnTo>
                    <a:pt x="446289" y="3494942"/>
                  </a:lnTo>
                  <a:lnTo>
                    <a:pt x="407188" y="3550115"/>
                  </a:lnTo>
                  <a:lnTo>
                    <a:pt x="378836" y="3590090"/>
                  </a:lnTo>
                  <a:lnTo>
                    <a:pt x="299942" y="3537171"/>
                  </a:lnTo>
                  <a:lnTo>
                    <a:pt x="233074" y="3586840"/>
                  </a:lnTo>
                  <a:lnTo>
                    <a:pt x="217801" y="3616955"/>
                  </a:lnTo>
                  <a:lnTo>
                    <a:pt x="240138" y="3651917"/>
                  </a:lnTo>
                  <a:lnTo>
                    <a:pt x="237152" y="3683414"/>
                  </a:lnTo>
                  <a:lnTo>
                    <a:pt x="233459" y="3722669"/>
                  </a:lnTo>
                  <a:lnTo>
                    <a:pt x="189548" y="3737525"/>
                  </a:lnTo>
                  <a:lnTo>
                    <a:pt x="185468" y="3786789"/>
                  </a:lnTo>
                  <a:lnTo>
                    <a:pt x="229146" y="3828488"/>
                  </a:lnTo>
                  <a:lnTo>
                    <a:pt x="214862" y="3883682"/>
                  </a:lnTo>
                  <a:lnTo>
                    <a:pt x="158263" y="3902406"/>
                  </a:lnTo>
                  <a:lnTo>
                    <a:pt x="155969" y="3935158"/>
                  </a:lnTo>
                  <a:lnTo>
                    <a:pt x="173227" y="3967696"/>
                  </a:lnTo>
                  <a:lnTo>
                    <a:pt x="119584" y="3983424"/>
                  </a:lnTo>
                  <a:lnTo>
                    <a:pt x="106574" y="4026184"/>
                  </a:lnTo>
                  <a:lnTo>
                    <a:pt x="93846" y="4045057"/>
                  </a:lnTo>
                  <a:lnTo>
                    <a:pt x="64068" y="4051157"/>
                  </a:lnTo>
                  <a:lnTo>
                    <a:pt x="50806" y="4071071"/>
                  </a:lnTo>
                  <a:lnTo>
                    <a:pt x="9172" y="4133491"/>
                  </a:lnTo>
                  <a:lnTo>
                    <a:pt x="50475" y="4187644"/>
                  </a:lnTo>
                  <a:lnTo>
                    <a:pt x="113379" y="4204371"/>
                  </a:lnTo>
                  <a:lnTo>
                    <a:pt x="116095" y="4235655"/>
                  </a:lnTo>
                  <a:lnTo>
                    <a:pt x="90891" y="4244602"/>
                  </a:lnTo>
                  <a:lnTo>
                    <a:pt x="71084" y="4252636"/>
                  </a:lnTo>
                  <a:lnTo>
                    <a:pt x="52171" y="4272380"/>
                  </a:lnTo>
                  <a:lnTo>
                    <a:pt x="42581" y="4298564"/>
                  </a:lnTo>
                  <a:lnTo>
                    <a:pt x="67128" y="4329509"/>
                  </a:lnTo>
                  <a:lnTo>
                    <a:pt x="128957" y="4455114"/>
                  </a:lnTo>
                  <a:lnTo>
                    <a:pt x="169317" y="4372355"/>
                  </a:lnTo>
                  <a:lnTo>
                    <a:pt x="254841" y="4415201"/>
                  </a:lnTo>
                  <a:lnTo>
                    <a:pt x="260043" y="4457452"/>
                  </a:lnTo>
                  <a:lnTo>
                    <a:pt x="218830" y="4504974"/>
                  </a:lnTo>
                  <a:lnTo>
                    <a:pt x="201789" y="4526737"/>
                  </a:lnTo>
                  <a:lnTo>
                    <a:pt x="200109" y="4557958"/>
                  </a:lnTo>
                  <a:lnTo>
                    <a:pt x="265041" y="4589434"/>
                  </a:lnTo>
                  <a:lnTo>
                    <a:pt x="280684" y="4617871"/>
                  </a:lnTo>
                  <a:lnTo>
                    <a:pt x="283211" y="4650771"/>
                  </a:lnTo>
                  <a:lnTo>
                    <a:pt x="273180" y="4723073"/>
                  </a:lnTo>
                  <a:lnTo>
                    <a:pt x="280684" y="4743009"/>
                  </a:lnTo>
                  <a:lnTo>
                    <a:pt x="300317" y="4795334"/>
                  </a:lnTo>
                  <a:lnTo>
                    <a:pt x="364018" y="4764283"/>
                  </a:lnTo>
                  <a:lnTo>
                    <a:pt x="379977" y="4843664"/>
                  </a:lnTo>
                  <a:lnTo>
                    <a:pt x="343297" y="4879369"/>
                  </a:lnTo>
                  <a:lnTo>
                    <a:pt x="310651" y="4851634"/>
                  </a:lnTo>
                  <a:lnTo>
                    <a:pt x="284761" y="4865427"/>
                  </a:lnTo>
                  <a:lnTo>
                    <a:pt x="260577" y="4891419"/>
                  </a:lnTo>
                  <a:lnTo>
                    <a:pt x="248546" y="4996112"/>
                  </a:lnTo>
                  <a:lnTo>
                    <a:pt x="276604" y="5023210"/>
                  </a:lnTo>
                  <a:lnTo>
                    <a:pt x="311457" y="5040744"/>
                  </a:lnTo>
                  <a:lnTo>
                    <a:pt x="368713" y="5029480"/>
                  </a:lnTo>
                  <a:lnTo>
                    <a:pt x="393576" y="5065376"/>
                  </a:lnTo>
                  <a:lnTo>
                    <a:pt x="406264" y="5083696"/>
                  </a:lnTo>
                  <a:lnTo>
                    <a:pt x="405929" y="5156977"/>
                  </a:lnTo>
                  <a:lnTo>
                    <a:pt x="409898" y="5182353"/>
                  </a:lnTo>
                  <a:lnTo>
                    <a:pt x="417488" y="5230981"/>
                  </a:lnTo>
                  <a:lnTo>
                    <a:pt x="486557" y="5282583"/>
                  </a:lnTo>
                  <a:lnTo>
                    <a:pt x="479270" y="5323814"/>
                  </a:lnTo>
                  <a:lnTo>
                    <a:pt x="474976" y="5348128"/>
                  </a:lnTo>
                  <a:lnTo>
                    <a:pt x="445201" y="5360795"/>
                  </a:lnTo>
                  <a:lnTo>
                    <a:pt x="437102" y="5385023"/>
                  </a:lnTo>
                  <a:lnTo>
                    <a:pt x="466409" y="5437135"/>
                  </a:lnTo>
                  <a:lnTo>
                    <a:pt x="484923" y="5458686"/>
                  </a:lnTo>
                  <a:lnTo>
                    <a:pt x="479270" y="5503360"/>
                  </a:lnTo>
                  <a:lnTo>
                    <a:pt x="361333" y="5565993"/>
                  </a:lnTo>
                  <a:lnTo>
                    <a:pt x="365693" y="5539236"/>
                  </a:lnTo>
                  <a:lnTo>
                    <a:pt x="277962" y="5648902"/>
                  </a:lnTo>
                  <a:lnTo>
                    <a:pt x="239282" y="5656255"/>
                  </a:lnTo>
                  <a:lnTo>
                    <a:pt x="179453" y="5710726"/>
                  </a:lnTo>
                  <a:lnTo>
                    <a:pt x="237964" y="5740587"/>
                  </a:lnTo>
                  <a:lnTo>
                    <a:pt x="226262" y="5812125"/>
                  </a:lnTo>
                  <a:lnTo>
                    <a:pt x="220381" y="5848192"/>
                  </a:lnTo>
                  <a:lnTo>
                    <a:pt x="164759" y="5842454"/>
                  </a:lnTo>
                  <a:lnTo>
                    <a:pt x="154174" y="5927742"/>
                  </a:lnTo>
                  <a:lnTo>
                    <a:pt x="151802" y="5952591"/>
                  </a:lnTo>
                  <a:lnTo>
                    <a:pt x="159814" y="5978739"/>
                  </a:lnTo>
                  <a:lnTo>
                    <a:pt x="170188" y="6003562"/>
                  </a:lnTo>
                  <a:lnTo>
                    <a:pt x="177304" y="6027036"/>
                  </a:lnTo>
                  <a:lnTo>
                    <a:pt x="165578" y="6055431"/>
                  </a:lnTo>
                  <a:lnTo>
                    <a:pt x="135136" y="6063762"/>
                  </a:lnTo>
                  <a:lnTo>
                    <a:pt x="103098" y="6061599"/>
                  </a:lnTo>
                  <a:lnTo>
                    <a:pt x="71956" y="6055044"/>
                  </a:lnTo>
                  <a:lnTo>
                    <a:pt x="45359" y="6055601"/>
                  </a:lnTo>
                  <a:lnTo>
                    <a:pt x="23484" y="6066461"/>
                  </a:lnTo>
                  <a:lnTo>
                    <a:pt x="18154" y="6086886"/>
                  </a:lnTo>
                  <a:lnTo>
                    <a:pt x="37558" y="6118622"/>
                  </a:lnTo>
                  <a:lnTo>
                    <a:pt x="44001" y="6138573"/>
                  </a:lnTo>
                  <a:lnTo>
                    <a:pt x="50444" y="6158525"/>
                  </a:lnTo>
                  <a:lnTo>
                    <a:pt x="55541" y="6179975"/>
                  </a:lnTo>
                  <a:lnTo>
                    <a:pt x="73717" y="6239733"/>
                  </a:lnTo>
                  <a:lnTo>
                    <a:pt x="79930" y="6276477"/>
                  </a:lnTo>
                  <a:lnTo>
                    <a:pt x="82085" y="6309958"/>
                  </a:lnTo>
                  <a:lnTo>
                    <a:pt x="84243" y="6343437"/>
                  </a:lnTo>
                  <a:lnTo>
                    <a:pt x="82150" y="6373615"/>
                  </a:lnTo>
                  <a:lnTo>
                    <a:pt x="76644" y="6403813"/>
                  </a:lnTo>
                  <a:lnTo>
                    <a:pt x="65584" y="6464202"/>
                  </a:lnTo>
                  <a:lnTo>
                    <a:pt x="42726" y="6525146"/>
                  </a:lnTo>
                  <a:lnTo>
                    <a:pt x="22238" y="6616004"/>
                  </a:lnTo>
                  <a:lnTo>
                    <a:pt x="11928" y="6661714"/>
                  </a:lnTo>
                  <a:lnTo>
                    <a:pt x="7879" y="6709994"/>
                  </a:lnTo>
                  <a:lnTo>
                    <a:pt x="5913" y="6758823"/>
                  </a:lnTo>
                  <a:lnTo>
                    <a:pt x="3950" y="6807652"/>
                  </a:lnTo>
                  <a:lnTo>
                    <a:pt x="4133" y="6856421"/>
                  </a:lnTo>
                  <a:lnTo>
                    <a:pt x="1839" y="6903007"/>
                  </a:lnTo>
                  <a:lnTo>
                    <a:pt x="0" y="6940328"/>
                  </a:lnTo>
                  <a:lnTo>
                    <a:pt x="90" y="7004404"/>
                  </a:lnTo>
                  <a:lnTo>
                    <a:pt x="4555" y="7066232"/>
                  </a:lnTo>
                  <a:lnTo>
                    <a:pt x="9026" y="7128052"/>
                  </a:lnTo>
                  <a:lnTo>
                    <a:pt x="17230" y="7187841"/>
                  </a:lnTo>
                  <a:lnTo>
                    <a:pt x="30401" y="7218573"/>
                  </a:lnTo>
                  <a:lnTo>
                    <a:pt x="77496" y="7235279"/>
                  </a:lnTo>
                  <a:lnTo>
                    <a:pt x="135136" y="7169607"/>
                  </a:lnTo>
                  <a:lnTo>
                    <a:pt x="177447" y="7159319"/>
                  </a:lnTo>
                  <a:lnTo>
                    <a:pt x="208279" y="7177864"/>
                  </a:lnTo>
                  <a:lnTo>
                    <a:pt x="228988" y="7209051"/>
                  </a:lnTo>
                  <a:lnTo>
                    <a:pt x="252090" y="7236617"/>
                  </a:lnTo>
                  <a:lnTo>
                    <a:pt x="302586" y="7247202"/>
                  </a:lnTo>
                  <a:lnTo>
                    <a:pt x="334761" y="7226936"/>
                  </a:lnTo>
                  <a:lnTo>
                    <a:pt x="366365" y="7221297"/>
                  </a:lnTo>
                  <a:lnTo>
                    <a:pt x="397960" y="7226257"/>
                  </a:lnTo>
                  <a:lnTo>
                    <a:pt x="421829" y="7248983"/>
                  </a:lnTo>
                  <a:lnTo>
                    <a:pt x="441180" y="7274341"/>
                  </a:lnTo>
                  <a:lnTo>
                    <a:pt x="459947" y="7293551"/>
                  </a:lnTo>
                  <a:lnTo>
                    <a:pt x="477549" y="7306497"/>
                  </a:lnTo>
                  <a:lnTo>
                    <a:pt x="492869" y="7321949"/>
                  </a:lnTo>
                  <a:lnTo>
                    <a:pt x="508189" y="7337401"/>
                  </a:lnTo>
                  <a:lnTo>
                    <a:pt x="521860" y="7356104"/>
                  </a:lnTo>
                  <a:lnTo>
                    <a:pt x="532312" y="7383156"/>
                  </a:lnTo>
                  <a:lnTo>
                    <a:pt x="547065" y="7421321"/>
                  </a:lnTo>
                  <a:lnTo>
                    <a:pt x="550323" y="7461418"/>
                  </a:lnTo>
                  <a:lnTo>
                    <a:pt x="547275" y="7502854"/>
                  </a:lnTo>
                  <a:lnTo>
                    <a:pt x="544231" y="7544296"/>
                  </a:lnTo>
                  <a:lnTo>
                    <a:pt x="534681" y="7586774"/>
                  </a:lnTo>
                  <a:lnTo>
                    <a:pt x="525512" y="7626634"/>
                  </a:lnTo>
                  <a:lnTo>
                    <a:pt x="516347" y="7666493"/>
                  </a:lnTo>
                  <a:lnTo>
                    <a:pt x="507352" y="7703392"/>
                  </a:lnTo>
                  <a:lnTo>
                    <a:pt x="503749" y="7736808"/>
                  </a:lnTo>
                  <a:lnTo>
                    <a:pt x="500150" y="7770224"/>
                  </a:lnTo>
                  <a:lnTo>
                    <a:pt x="502351" y="7800389"/>
                  </a:lnTo>
                  <a:lnTo>
                    <a:pt x="515990" y="7822502"/>
                  </a:lnTo>
                  <a:lnTo>
                    <a:pt x="541790" y="7847272"/>
                  </a:lnTo>
                  <a:lnTo>
                    <a:pt x="563600" y="7857871"/>
                  </a:lnTo>
                  <a:lnTo>
                    <a:pt x="585409" y="7868462"/>
                  </a:lnTo>
                  <a:lnTo>
                    <a:pt x="610924" y="7878064"/>
                  </a:lnTo>
                  <a:lnTo>
                    <a:pt x="638405" y="7886433"/>
                  </a:lnTo>
                  <a:lnTo>
                    <a:pt x="693387" y="7903171"/>
                  </a:lnTo>
                  <a:lnTo>
                    <a:pt x="752807" y="7916651"/>
                  </a:lnTo>
                  <a:lnTo>
                    <a:pt x="785307" y="7931318"/>
                  </a:lnTo>
                  <a:lnTo>
                    <a:pt x="827664" y="7950423"/>
                  </a:lnTo>
                  <a:lnTo>
                    <a:pt x="868648" y="7983985"/>
                  </a:lnTo>
                  <a:lnTo>
                    <a:pt x="906370" y="8010213"/>
                  </a:lnTo>
                  <a:lnTo>
                    <a:pt x="933190" y="8028870"/>
                  </a:lnTo>
                  <a:lnTo>
                    <a:pt x="958053" y="8067338"/>
                  </a:lnTo>
                  <a:lnTo>
                    <a:pt x="949000" y="8123124"/>
                  </a:lnTo>
                  <a:lnTo>
                    <a:pt x="938355" y="8194923"/>
                  </a:lnTo>
                  <a:lnTo>
                    <a:pt x="927261" y="8249436"/>
                  </a:lnTo>
                  <a:lnTo>
                    <a:pt x="903644" y="8305375"/>
                  </a:lnTo>
                  <a:lnTo>
                    <a:pt x="893660" y="8329004"/>
                  </a:lnTo>
                  <a:lnTo>
                    <a:pt x="883227" y="8356366"/>
                  </a:lnTo>
                  <a:lnTo>
                    <a:pt x="871001" y="8378822"/>
                  </a:lnTo>
                  <a:lnTo>
                    <a:pt x="844442" y="8418174"/>
                  </a:lnTo>
                  <a:lnTo>
                    <a:pt x="828833" y="8444111"/>
                  </a:lnTo>
                  <a:lnTo>
                    <a:pt x="813228" y="8470056"/>
                  </a:lnTo>
                  <a:lnTo>
                    <a:pt x="800581" y="8496310"/>
                  </a:lnTo>
                  <a:lnTo>
                    <a:pt x="804550" y="8519623"/>
                  </a:lnTo>
                  <a:lnTo>
                    <a:pt x="816704" y="8540232"/>
                  </a:lnTo>
                  <a:lnTo>
                    <a:pt x="837986" y="8552294"/>
                  </a:lnTo>
                  <a:lnTo>
                    <a:pt x="871001" y="8548852"/>
                  </a:lnTo>
                  <a:lnTo>
                    <a:pt x="901362" y="8537693"/>
                  </a:lnTo>
                  <a:lnTo>
                    <a:pt x="933131" y="8521918"/>
                  </a:lnTo>
                  <a:lnTo>
                    <a:pt x="967575" y="8509401"/>
                  </a:lnTo>
                  <a:lnTo>
                    <a:pt x="1003821" y="8505411"/>
                  </a:lnTo>
                  <a:lnTo>
                    <a:pt x="1024700" y="8513477"/>
                  </a:lnTo>
                  <a:lnTo>
                    <a:pt x="1058249" y="8532944"/>
                  </a:lnTo>
                  <a:lnTo>
                    <a:pt x="1080930" y="8559305"/>
                  </a:lnTo>
                  <a:lnTo>
                    <a:pt x="1098156" y="8588289"/>
                  </a:lnTo>
                  <a:lnTo>
                    <a:pt x="1113876" y="8616746"/>
                  </a:lnTo>
                  <a:lnTo>
                    <a:pt x="1134123" y="8638727"/>
                  </a:lnTo>
                  <a:lnTo>
                    <a:pt x="1163446" y="8649496"/>
                  </a:lnTo>
                  <a:lnTo>
                    <a:pt x="1199874" y="8631993"/>
                  </a:lnTo>
                  <a:lnTo>
                    <a:pt x="1213771" y="8611411"/>
                  </a:lnTo>
                  <a:lnTo>
                    <a:pt x="1227668" y="8590828"/>
                  </a:lnTo>
                  <a:lnTo>
                    <a:pt x="1238449" y="8566242"/>
                  </a:lnTo>
                  <a:lnTo>
                    <a:pt x="1253294" y="8538774"/>
                  </a:lnTo>
                  <a:lnTo>
                    <a:pt x="1288582" y="8537963"/>
                  </a:lnTo>
                  <a:lnTo>
                    <a:pt x="1329702" y="8547341"/>
                  </a:lnTo>
                  <a:lnTo>
                    <a:pt x="1351155" y="8557003"/>
                  </a:lnTo>
                  <a:lnTo>
                    <a:pt x="1394055" y="8576339"/>
                  </a:lnTo>
                  <a:lnTo>
                    <a:pt x="1435479" y="8605390"/>
                  </a:lnTo>
                  <a:lnTo>
                    <a:pt x="1453167" y="8619576"/>
                  </a:lnTo>
                  <a:lnTo>
                    <a:pt x="1481169" y="8608681"/>
                  </a:lnTo>
                  <a:lnTo>
                    <a:pt x="1503236" y="8584999"/>
                  </a:lnTo>
                  <a:lnTo>
                    <a:pt x="1525256" y="8563809"/>
                  </a:lnTo>
                  <a:lnTo>
                    <a:pt x="1547283" y="8542620"/>
                  </a:lnTo>
                  <a:lnTo>
                    <a:pt x="1568987" y="8524048"/>
                  </a:lnTo>
                  <a:lnTo>
                    <a:pt x="1595993" y="8518917"/>
                  </a:lnTo>
                  <a:lnTo>
                    <a:pt x="1636424" y="8511241"/>
                  </a:lnTo>
                  <a:lnTo>
                    <a:pt x="1697580" y="8523091"/>
                  </a:lnTo>
                  <a:lnTo>
                    <a:pt x="1759217" y="8531164"/>
                  </a:lnTo>
                  <a:lnTo>
                    <a:pt x="1790027" y="8535200"/>
                  </a:lnTo>
                  <a:lnTo>
                    <a:pt x="1819976" y="8537713"/>
                  </a:lnTo>
                  <a:lnTo>
                    <a:pt x="1848985" y="8536605"/>
                  </a:lnTo>
                  <a:lnTo>
                    <a:pt x="1877997" y="8535497"/>
                  </a:lnTo>
                  <a:lnTo>
                    <a:pt x="1905397" y="8531224"/>
                  </a:lnTo>
                  <a:lnTo>
                    <a:pt x="1927879" y="8518917"/>
                  </a:lnTo>
                  <a:lnTo>
                    <a:pt x="1951661" y="8505906"/>
                  </a:lnTo>
                  <a:lnTo>
                    <a:pt x="1969660" y="8478220"/>
                  </a:lnTo>
                  <a:lnTo>
                    <a:pt x="1995888" y="8464509"/>
                  </a:lnTo>
                  <a:lnTo>
                    <a:pt x="2068128" y="8473419"/>
                  </a:lnTo>
                  <a:lnTo>
                    <a:pt x="2078289" y="8500986"/>
                  </a:lnTo>
                  <a:lnTo>
                    <a:pt x="2070699" y="8527082"/>
                  </a:lnTo>
                  <a:lnTo>
                    <a:pt x="2077058" y="8551925"/>
                  </a:lnTo>
                  <a:lnTo>
                    <a:pt x="2148229" y="8578766"/>
                  </a:lnTo>
                  <a:lnTo>
                    <a:pt x="2123861" y="8626263"/>
                  </a:lnTo>
                  <a:lnTo>
                    <a:pt x="2118308" y="8648138"/>
                  </a:lnTo>
                  <a:lnTo>
                    <a:pt x="2108916" y="8685089"/>
                  </a:lnTo>
                  <a:lnTo>
                    <a:pt x="2111549" y="8706483"/>
                  </a:lnTo>
                  <a:lnTo>
                    <a:pt x="2130497" y="8731253"/>
                  </a:lnTo>
                  <a:lnTo>
                    <a:pt x="2167270" y="8733832"/>
                  </a:lnTo>
                  <a:lnTo>
                    <a:pt x="2209410" y="8729856"/>
                  </a:lnTo>
                  <a:lnTo>
                    <a:pt x="2231200" y="8728391"/>
                  </a:lnTo>
                  <a:lnTo>
                    <a:pt x="2252988" y="8726927"/>
                  </a:lnTo>
                  <a:lnTo>
                    <a:pt x="2274435" y="8728655"/>
                  </a:lnTo>
                  <a:lnTo>
                    <a:pt x="2299761" y="8751071"/>
                  </a:lnTo>
                  <a:lnTo>
                    <a:pt x="2283324" y="8809278"/>
                  </a:lnTo>
                  <a:lnTo>
                    <a:pt x="2293621" y="8846579"/>
                  </a:lnTo>
                  <a:lnTo>
                    <a:pt x="2379374" y="8907852"/>
                  </a:lnTo>
                  <a:lnTo>
                    <a:pt x="2402582" y="8928342"/>
                  </a:lnTo>
                  <a:lnTo>
                    <a:pt x="2433207" y="8955329"/>
                  </a:lnTo>
                  <a:lnTo>
                    <a:pt x="2463168" y="9006043"/>
                  </a:lnTo>
                  <a:lnTo>
                    <a:pt x="2473313" y="9045316"/>
                  </a:lnTo>
                  <a:lnTo>
                    <a:pt x="2486159" y="9095041"/>
                  </a:lnTo>
                  <a:lnTo>
                    <a:pt x="2497299" y="9128379"/>
                  </a:lnTo>
                  <a:lnTo>
                    <a:pt x="2500514" y="9160931"/>
                  </a:lnTo>
                  <a:lnTo>
                    <a:pt x="2503733" y="9193490"/>
                  </a:lnTo>
                  <a:lnTo>
                    <a:pt x="2498201" y="9225139"/>
                  </a:lnTo>
                  <a:lnTo>
                    <a:pt x="2476035" y="9272471"/>
                  </a:lnTo>
                  <a:lnTo>
                    <a:pt x="2458287" y="9307153"/>
                  </a:lnTo>
                  <a:lnTo>
                    <a:pt x="2432298" y="9326708"/>
                  </a:lnTo>
                  <a:lnTo>
                    <a:pt x="2399435" y="9318451"/>
                  </a:lnTo>
                  <a:lnTo>
                    <a:pt x="2374020" y="9317349"/>
                  </a:lnTo>
                  <a:lnTo>
                    <a:pt x="2346393" y="9406380"/>
                  </a:lnTo>
                  <a:lnTo>
                    <a:pt x="2404836" y="9470713"/>
                  </a:lnTo>
                  <a:lnTo>
                    <a:pt x="2453547" y="9521593"/>
                  </a:lnTo>
                  <a:lnTo>
                    <a:pt x="2501875" y="9573066"/>
                  </a:lnTo>
                  <a:lnTo>
                    <a:pt x="2531821" y="9583783"/>
                  </a:lnTo>
                  <a:lnTo>
                    <a:pt x="2563360" y="9565693"/>
                  </a:lnTo>
                  <a:lnTo>
                    <a:pt x="2609463" y="9555708"/>
                  </a:lnTo>
                  <a:lnTo>
                    <a:pt x="2636537" y="9563550"/>
                  </a:lnTo>
                  <a:lnTo>
                    <a:pt x="2661320" y="9592370"/>
                  </a:lnTo>
                  <a:lnTo>
                    <a:pt x="2642254" y="9683775"/>
                  </a:lnTo>
                  <a:lnTo>
                    <a:pt x="2643216" y="9720021"/>
                  </a:lnTo>
                  <a:lnTo>
                    <a:pt x="2656037" y="9739001"/>
                  </a:lnTo>
                  <a:lnTo>
                    <a:pt x="2671905" y="9755336"/>
                  </a:lnTo>
                  <a:lnTo>
                    <a:pt x="2687771" y="9771672"/>
                  </a:lnTo>
                  <a:lnTo>
                    <a:pt x="2705953" y="9786075"/>
                  </a:lnTo>
                  <a:lnTo>
                    <a:pt x="2736277" y="9799074"/>
                  </a:lnTo>
                  <a:lnTo>
                    <a:pt x="2765506" y="9788383"/>
                  </a:lnTo>
                  <a:lnTo>
                    <a:pt x="2793086" y="9777192"/>
                  </a:lnTo>
                  <a:lnTo>
                    <a:pt x="2813363" y="9793422"/>
                  </a:lnTo>
                  <a:lnTo>
                    <a:pt x="2831849" y="9816445"/>
                  </a:lnTo>
                  <a:lnTo>
                    <a:pt x="2852003" y="9838406"/>
                  </a:lnTo>
                  <a:lnTo>
                    <a:pt x="2880014" y="9847830"/>
                  </a:lnTo>
                  <a:lnTo>
                    <a:pt x="2916126" y="9842119"/>
                  </a:lnTo>
                  <a:lnTo>
                    <a:pt x="2943945" y="9821984"/>
                  </a:lnTo>
                  <a:lnTo>
                    <a:pt x="2969788" y="9795077"/>
                  </a:lnTo>
                  <a:lnTo>
                    <a:pt x="3022219" y="9795546"/>
                  </a:lnTo>
                  <a:lnTo>
                    <a:pt x="3059981" y="9813721"/>
                  </a:lnTo>
                  <a:lnTo>
                    <a:pt x="3100363" y="9827425"/>
                  </a:lnTo>
                  <a:lnTo>
                    <a:pt x="3135499" y="9839349"/>
                  </a:lnTo>
                  <a:lnTo>
                    <a:pt x="3172926" y="9847593"/>
                  </a:lnTo>
                  <a:lnTo>
                    <a:pt x="3207820" y="9860070"/>
                  </a:lnTo>
                  <a:lnTo>
                    <a:pt x="3245694" y="9879518"/>
                  </a:lnTo>
                  <a:lnTo>
                    <a:pt x="3285031" y="9892583"/>
                  </a:lnTo>
                  <a:lnTo>
                    <a:pt x="3317993" y="9891356"/>
                  </a:lnTo>
                  <a:lnTo>
                    <a:pt x="3348404" y="9880659"/>
                  </a:lnTo>
                  <a:lnTo>
                    <a:pt x="3387769" y="9851543"/>
                  </a:lnTo>
                  <a:lnTo>
                    <a:pt x="3409972" y="9822518"/>
                  </a:lnTo>
                  <a:lnTo>
                    <a:pt x="3432256" y="9794781"/>
                  </a:lnTo>
                  <a:lnTo>
                    <a:pt x="3450810" y="9784683"/>
                  </a:lnTo>
                  <a:lnTo>
                    <a:pt x="3484429" y="9785851"/>
                  </a:lnTo>
                  <a:lnTo>
                    <a:pt x="3505538" y="9788680"/>
                  </a:lnTo>
                  <a:lnTo>
                    <a:pt x="3526107" y="9793422"/>
                  </a:lnTo>
                  <a:lnTo>
                    <a:pt x="3567240" y="9802892"/>
                  </a:lnTo>
                  <a:lnTo>
                    <a:pt x="3607920" y="9817414"/>
                  </a:lnTo>
                  <a:lnTo>
                    <a:pt x="3651669" y="9827900"/>
                  </a:lnTo>
                  <a:lnTo>
                    <a:pt x="3685673" y="9831719"/>
                  </a:lnTo>
                  <a:lnTo>
                    <a:pt x="3716536" y="9836948"/>
                  </a:lnTo>
                  <a:lnTo>
                    <a:pt x="3748965" y="9826660"/>
                  </a:lnTo>
                  <a:lnTo>
                    <a:pt x="3765668" y="9791529"/>
                  </a:lnTo>
                  <a:lnTo>
                    <a:pt x="3787267" y="9785257"/>
                  </a:lnTo>
                  <a:lnTo>
                    <a:pt x="3821969" y="9785719"/>
                  </a:lnTo>
                  <a:lnTo>
                    <a:pt x="3858658" y="9793000"/>
                  </a:lnTo>
                  <a:lnTo>
                    <a:pt x="3894718" y="9783892"/>
                  </a:lnTo>
                  <a:lnTo>
                    <a:pt x="3913706" y="9755818"/>
                  </a:lnTo>
                  <a:lnTo>
                    <a:pt x="3937289" y="9722388"/>
                  </a:lnTo>
                  <a:lnTo>
                    <a:pt x="3964090" y="9700922"/>
                  </a:lnTo>
                  <a:lnTo>
                    <a:pt x="3989236" y="9690469"/>
                  </a:lnTo>
                  <a:lnTo>
                    <a:pt x="4020642" y="9704318"/>
                  </a:lnTo>
                  <a:lnTo>
                    <a:pt x="4042984" y="9688682"/>
                  </a:lnTo>
                  <a:lnTo>
                    <a:pt x="4069919" y="9658938"/>
                  </a:lnTo>
                  <a:lnTo>
                    <a:pt x="4082430" y="9641073"/>
                  </a:lnTo>
                  <a:lnTo>
                    <a:pt x="4094938" y="9623207"/>
                  </a:lnTo>
                  <a:lnTo>
                    <a:pt x="4108255" y="9606707"/>
                  </a:lnTo>
                  <a:lnTo>
                    <a:pt x="4130037" y="9601629"/>
                  </a:lnTo>
                  <a:lnTo>
                    <a:pt x="4164924" y="9593497"/>
                  </a:lnTo>
                  <a:lnTo>
                    <a:pt x="4208426" y="9600059"/>
                  </a:lnTo>
                  <a:lnTo>
                    <a:pt x="4248377" y="9605704"/>
                  </a:lnTo>
                  <a:lnTo>
                    <a:pt x="4288321" y="9611356"/>
                  </a:lnTo>
                  <a:lnTo>
                    <a:pt x="4325101" y="9615894"/>
                  </a:lnTo>
                  <a:lnTo>
                    <a:pt x="4350386" y="9604346"/>
                  </a:lnTo>
                  <a:lnTo>
                    <a:pt x="4370704" y="9587767"/>
                  </a:lnTo>
                  <a:lnTo>
                    <a:pt x="4405282" y="9534124"/>
                  </a:lnTo>
                  <a:lnTo>
                    <a:pt x="4411601" y="9509129"/>
                  </a:lnTo>
                  <a:lnTo>
                    <a:pt x="4432803" y="9503728"/>
                  </a:lnTo>
                  <a:lnTo>
                    <a:pt x="4456972" y="9494976"/>
                  </a:lnTo>
                  <a:lnTo>
                    <a:pt x="4475526" y="9483290"/>
                  </a:lnTo>
                  <a:lnTo>
                    <a:pt x="4468977" y="9443800"/>
                  </a:lnTo>
                  <a:lnTo>
                    <a:pt x="4461920" y="9414874"/>
                  </a:lnTo>
                  <a:lnTo>
                    <a:pt x="4474158" y="9393514"/>
                  </a:lnTo>
                  <a:lnTo>
                    <a:pt x="4501369" y="9374474"/>
                  </a:lnTo>
                  <a:lnTo>
                    <a:pt x="4518221" y="9354195"/>
                  </a:lnTo>
                  <a:lnTo>
                    <a:pt x="4497326" y="9308096"/>
                  </a:lnTo>
                  <a:lnTo>
                    <a:pt x="4513610" y="9277898"/>
                  </a:lnTo>
                  <a:lnTo>
                    <a:pt x="4572865" y="9247602"/>
                  </a:lnTo>
                  <a:lnTo>
                    <a:pt x="4621067" y="9238454"/>
                  </a:lnTo>
                  <a:lnTo>
                    <a:pt x="4669263" y="9229300"/>
                  </a:lnTo>
                  <a:lnTo>
                    <a:pt x="4718891" y="9226531"/>
                  </a:lnTo>
                  <a:lnTo>
                    <a:pt x="4739401" y="9235737"/>
                  </a:lnTo>
                  <a:lnTo>
                    <a:pt x="4756488" y="9254414"/>
                  </a:lnTo>
                  <a:lnTo>
                    <a:pt x="4762358" y="9274944"/>
                  </a:lnTo>
                  <a:lnTo>
                    <a:pt x="4774769" y="9295586"/>
                  </a:lnTo>
                  <a:lnTo>
                    <a:pt x="4792126" y="9324465"/>
                  </a:lnTo>
                  <a:lnTo>
                    <a:pt x="4810882" y="9341763"/>
                  </a:lnTo>
                  <a:lnTo>
                    <a:pt x="4833253" y="9355434"/>
                  </a:lnTo>
                  <a:lnTo>
                    <a:pt x="4855629" y="9369100"/>
                  </a:lnTo>
                  <a:lnTo>
                    <a:pt x="4882133" y="9378075"/>
                  </a:lnTo>
                  <a:lnTo>
                    <a:pt x="4913505" y="9389438"/>
                  </a:lnTo>
                  <a:lnTo>
                    <a:pt x="4933231" y="9417064"/>
                  </a:lnTo>
                  <a:lnTo>
                    <a:pt x="4953220" y="9445561"/>
                  </a:lnTo>
                  <a:lnTo>
                    <a:pt x="4971994" y="9473767"/>
                  </a:lnTo>
                  <a:lnTo>
                    <a:pt x="4990790" y="9502006"/>
                  </a:lnTo>
                  <a:lnTo>
                    <a:pt x="5003775" y="9531921"/>
                  </a:lnTo>
                  <a:lnTo>
                    <a:pt x="5020962" y="9558103"/>
                  </a:lnTo>
                  <a:lnTo>
                    <a:pt x="5038149" y="9584284"/>
                  </a:lnTo>
                  <a:lnTo>
                    <a:pt x="5059707" y="9606318"/>
                  </a:lnTo>
                  <a:lnTo>
                    <a:pt x="5095776" y="9619310"/>
                  </a:lnTo>
                  <a:lnTo>
                    <a:pt x="5125083" y="9629868"/>
                  </a:lnTo>
                  <a:lnTo>
                    <a:pt x="5183929" y="9627349"/>
                  </a:lnTo>
                  <a:lnTo>
                    <a:pt x="5237228" y="9626109"/>
                  </a:lnTo>
                  <a:lnTo>
                    <a:pt x="5290536" y="9624876"/>
                  </a:lnTo>
                  <a:lnTo>
                    <a:pt x="5339188" y="9624961"/>
                  </a:lnTo>
                  <a:lnTo>
                    <a:pt x="5358436" y="9657686"/>
                  </a:lnTo>
                  <a:lnTo>
                    <a:pt x="5371843" y="9679653"/>
                  </a:lnTo>
                  <a:lnTo>
                    <a:pt x="5382772" y="9702280"/>
                  </a:lnTo>
                  <a:lnTo>
                    <a:pt x="5393705" y="9724907"/>
                  </a:lnTo>
                  <a:lnTo>
                    <a:pt x="5401475" y="9748636"/>
                  </a:lnTo>
                  <a:lnTo>
                    <a:pt x="5397736" y="9771652"/>
                  </a:lnTo>
                  <a:lnTo>
                    <a:pt x="5362374" y="9781175"/>
                  </a:lnTo>
                  <a:lnTo>
                    <a:pt x="5349184" y="9806348"/>
                  </a:lnTo>
                  <a:lnTo>
                    <a:pt x="5348306" y="9834890"/>
                  </a:lnTo>
                  <a:lnTo>
                    <a:pt x="5341969" y="9861428"/>
                  </a:lnTo>
                  <a:lnTo>
                    <a:pt x="5327012" y="9877006"/>
                  </a:lnTo>
                  <a:lnTo>
                    <a:pt x="5297429" y="9879809"/>
                  </a:lnTo>
                  <a:lnTo>
                    <a:pt x="5263747" y="9873622"/>
                  </a:lnTo>
                  <a:lnTo>
                    <a:pt x="5240146" y="9864455"/>
                  </a:lnTo>
                  <a:lnTo>
                    <a:pt x="5205779" y="9870800"/>
                  </a:lnTo>
                  <a:lnTo>
                    <a:pt x="5181554" y="9900787"/>
                  </a:lnTo>
                  <a:lnTo>
                    <a:pt x="5161065" y="9934876"/>
                  </a:lnTo>
                  <a:lnTo>
                    <a:pt x="5140567" y="9968971"/>
                  </a:lnTo>
                  <a:lnTo>
                    <a:pt x="5123421" y="10008171"/>
                  </a:lnTo>
                  <a:lnTo>
                    <a:pt x="5122981" y="10030093"/>
                  </a:lnTo>
                  <a:lnTo>
                    <a:pt x="5160259" y="10062837"/>
                  </a:lnTo>
                  <a:lnTo>
                    <a:pt x="5190986" y="10080419"/>
                  </a:lnTo>
                  <a:lnTo>
                    <a:pt x="5221713" y="10098001"/>
                  </a:lnTo>
                  <a:lnTo>
                    <a:pt x="5254362" y="10116889"/>
                  </a:lnTo>
                  <a:lnTo>
                    <a:pt x="5268516" y="10138909"/>
                  </a:lnTo>
                  <a:lnTo>
                    <a:pt x="5281231" y="10158634"/>
                  </a:lnTo>
                  <a:lnTo>
                    <a:pt x="5259586" y="10226641"/>
                  </a:lnTo>
                  <a:lnTo>
                    <a:pt x="5267158" y="10261323"/>
                  </a:lnTo>
                  <a:lnTo>
                    <a:pt x="5285076" y="10283251"/>
                  </a:lnTo>
                  <a:lnTo>
                    <a:pt x="5297289" y="10306802"/>
                  </a:lnTo>
                  <a:lnTo>
                    <a:pt x="5313406" y="10325254"/>
                  </a:lnTo>
                  <a:lnTo>
                    <a:pt x="5329526" y="10343707"/>
                  </a:lnTo>
                  <a:lnTo>
                    <a:pt x="5349323" y="10356996"/>
                  </a:lnTo>
                  <a:lnTo>
                    <a:pt x="5382772" y="10361982"/>
                  </a:lnTo>
                  <a:lnTo>
                    <a:pt x="5407977" y="10365741"/>
                  </a:lnTo>
                  <a:lnTo>
                    <a:pt x="5437609" y="10354542"/>
                  </a:lnTo>
                  <a:lnTo>
                    <a:pt x="5467108" y="10348376"/>
                  </a:lnTo>
                  <a:lnTo>
                    <a:pt x="5496443" y="10343463"/>
                  </a:lnTo>
                  <a:lnTo>
                    <a:pt x="5524832" y="10347849"/>
                  </a:lnTo>
                  <a:lnTo>
                    <a:pt x="5551438" y="10367422"/>
                  </a:lnTo>
                  <a:lnTo>
                    <a:pt x="5554074" y="10399111"/>
                  </a:lnTo>
                  <a:lnTo>
                    <a:pt x="5516668" y="10428505"/>
                  </a:lnTo>
                  <a:lnTo>
                    <a:pt x="5483306" y="10462429"/>
                  </a:lnTo>
                  <a:lnTo>
                    <a:pt x="5460309" y="10492560"/>
                  </a:lnTo>
                  <a:lnTo>
                    <a:pt x="5558250" y="10663949"/>
                  </a:lnTo>
                  <a:lnTo>
                    <a:pt x="5608576" y="10740121"/>
                  </a:lnTo>
                  <a:lnTo>
                    <a:pt x="5660259" y="10817650"/>
                  </a:lnTo>
                  <a:lnTo>
                    <a:pt x="5665766" y="10789833"/>
                  </a:lnTo>
                  <a:lnTo>
                    <a:pt x="5679747" y="10767272"/>
                  </a:lnTo>
                  <a:lnTo>
                    <a:pt x="5692905" y="10744202"/>
                  </a:lnTo>
                  <a:lnTo>
                    <a:pt x="5706067" y="10721133"/>
                  </a:lnTo>
                  <a:lnTo>
                    <a:pt x="5717304" y="10697722"/>
                  </a:lnTo>
                  <a:lnTo>
                    <a:pt x="5717391" y="10669390"/>
                  </a:lnTo>
                  <a:lnTo>
                    <a:pt x="5740751" y="10665737"/>
                  </a:lnTo>
                  <a:lnTo>
                    <a:pt x="5781613" y="10670426"/>
                  </a:lnTo>
                  <a:lnTo>
                    <a:pt x="5822125" y="10670749"/>
                  </a:lnTo>
                  <a:lnTo>
                    <a:pt x="5862644" y="10671078"/>
                  </a:lnTo>
                  <a:lnTo>
                    <a:pt x="5901863" y="10667596"/>
                  </a:lnTo>
                  <a:lnTo>
                    <a:pt x="5936382" y="10659867"/>
                  </a:lnTo>
                  <a:lnTo>
                    <a:pt x="5969025" y="10700669"/>
                  </a:lnTo>
                  <a:lnTo>
                    <a:pt x="6000893" y="10712659"/>
                  </a:lnTo>
                  <a:lnTo>
                    <a:pt x="6029654" y="10710443"/>
                  </a:lnTo>
                  <a:lnTo>
                    <a:pt x="6054719" y="10696587"/>
                  </a:lnTo>
                  <a:lnTo>
                    <a:pt x="6079958" y="10680390"/>
                  </a:lnTo>
                  <a:lnTo>
                    <a:pt x="6102862" y="10652158"/>
                  </a:lnTo>
                  <a:lnTo>
                    <a:pt x="6124092" y="10620416"/>
                  </a:lnTo>
                  <a:lnTo>
                    <a:pt x="6145321" y="10588682"/>
                  </a:lnTo>
                  <a:lnTo>
                    <a:pt x="6165388" y="10553175"/>
                  </a:lnTo>
                  <a:lnTo>
                    <a:pt x="6186658" y="10522482"/>
                  </a:lnTo>
                  <a:lnTo>
                    <a:pt x="6207934" y="10491789"/>
                  </a:lnTo>
                  <a:lnTo>
                    <a:pt x="6230652" y="10466188"/>
                  </a:lnTo>
                  <a:lnTo>
                    <a:pt x="6256031" y="10453116"/>
                  </a:lnTo>
                  <a:lnTo>
                    <a:pt x="6275242" y="10443225"/>
                  </a:lnTo>
                  <a:lnTo>
                    <a:pt x="6314520" y="10439512"/>
                  </a:lnTo>
                  <a:lnTo>
                    <a:pt x="6356133" y="10440507"/>
                  </a:lnTo>
                  <a:lnTo>
                    <a:pt x="6377087" y="10440870"/>
                  </a:lnTo>
                  <a:lnTo>
                    <a:pt x="6399318" y="10415796"/>
                  </a:lnTo>
                  <a:lnTo>
                    <a:pt x="6414703" y="10375284"/>
                  </a:lnTo>
                  <a:lnTo>
                    <a:pt x="6428777" y="10359258"/>
                  </a:lnTo>
                  <a:lnTo>
                    <a:pt x="6494066" y="10355182"/>
                  </a:lnTo>
                  <a:lnTo>
                    <a:pt x="6534467" y="10352188"/>
                  </a:lnTo>
                  <a:lnTo>
                    <a:pt x="6570238" y="10364705"/>
                  </a:lnTo>
                  <a:lnTo>
                    <a:pt x="6595145" y="10391863"/>
                  </a:lnTo>
                  <a:lnTo>
                    <a:pt x="6615122" y="10416390"/>
                  </a:lnTo>
                  <a:lnTo>
                    <a:pt x="6643427" y="10440131"/>
                  </a:lnTo>
                  <a:lnTo>
                    <a:pt x="6666806" y="10459923"/>
                  </a:lnTo>
                  <a:lnTo>
                    <a:pt x="6688528" y="10450723"/>
                  </a:lnTo>
                  <a:lnTo>
                    <a:pt x="6700940" y="10426407"/>
                  </a:lnTo>
                  <a:lnTo>
                    <a:pt x="6718499" y="10412314"/>
                  </a:lnTo>
                  <a:lnTo>
                    <a:pt x="6752633" y="10398353"/>
                  </a:lnTo>
                  <a:lnTo>
                    <a:pt x="6771249" y="10373062"/>
                  </a:lnTo>
                  <a:lnTo>
                    <a:pt x="6786504" y="10356548"/>
                  </a:lnTo>
                  <a:lnTo>
                    <a:pt x="6806822" y="10351239"/>
                  </a:lnTo>
                  <a:lnTo>
                    <a:pt x="6833518" y="10354826"/>
                  </a:lnTo>
                  <a:lnTo>
                    <a:pt x="6899409" y="10370153"/>
                  </a:lnTo>
                  <a:lnTo>
                    <a:pt x="6929956" y="10406702"/>
                  </a:lnTo>
                  <a:lnTo>
                    <a:pt x="6938845" y="10439525"/>
                  </a:lnTo>
                  <a:lnTo>
                    <a:pt x="6947744" y="10472341"/>
                  </a:lnTo>
                  <a:lnTo>
                    <a:pt x="6953322" y="10506384"/>
                  </a:lnTo>
                  <a:lnTo>
                    <a:pt x="6965628" y="10534056"/>
                  </a:lnTo>
                  <a:lnTo>
                    <a:pt x="6987812" y="10563298"/>
                  </a:lnTo>
                  <a:lnTo>
                    <a:pt x="7023460" y="10579897"/>
                  </a:lnTo>
                  <a:lnTo>
                    <a:pt x="7132994" y="10595349"/>
                  </a:lnTo>
                  <a:lnTo>
                    <a:pt x="7240814" y="10602748"/>
                  </a:lnTo>
                  <a:lnTo>
                    <a:pt x="7348634" y="10610142"/>
                  </a:lnTo>
                  <a:lnTo>
                    <a:pt x="7454984" y="10610121"/>
                  </a:lnTo>
                  <a:lnTo>
                    <a:pt x="7488374" y="10594584"/>
                  </a:lnTo>
                  <a:lnTo>
                    <a:pt x="7504696" y="10555140"/>
                  </a:lnTo>
                  <a:lnTo>
                    <a:pt x="7531978" y="10554678"/>
                  </a:lnTo>
                  <a:lnTo>
                    <a:pt x="7590343" y="10553399"/>
                  </a:lnTo>
                  <a:lnTo>
                    <a:pt x="7614863" y="10570104"/>
                  </a:lnTo>
                  <a:lnTo>
                    <a:pt x="7626853" y="10607636"/>
                  </a:lnTo>
                  <a:lnTo>
                    <a:pt x="7642582" y="10626932"/>
                  </a:lnTo>
                  <a:lnTo>
                    <a:pt x="7694107" y="10631074"/>
                  </a:lnTo>
                  <a:lnTo>
                    <a:pt x="7744092" y="10629953"/>
                  </a:lnTo>
                  <a:lnTo>
                    <a:pt x="7794067" y="10628831"/>
                  </a:lnTo>
                  <a:lnTo>
                    <a:pt x="7842830" y="10623661"/>
                  </a:lnTo>
                  <a:lnTo>
                    <a:pt x="7851549" y="10587785"/>
                  </a:lnTo>
                  <a:lnTo>
                    <a:pt x="7866227" y="10565045"/>
                  </a:lnTo>
                  <a:lnTo>
                    <a:pt x="7886291" y="10550648"/>
                  </a:lnTo>
                  <a:lnTo>
                    <a:pt x="7908674" y="10540176"/>
                  </a:lnTo>
                  <a:lnTo>
                    <a:pt x="7931057" y="10529703"/>
                  </a:lnTo>
                  <a:lnTo>
                    <a:pt x="7956110" y="10522811"/>
                  </a:lnTo>
                  <a:lnTo>
                    <a:pt x="7979405" y="10512972"/>
                  </a:lnTo>
                  <a:lnTo>
                    <a:pt x="8013493" y="10488063"/>
                  </a:lnTo>
                  <a:lnTo>
                    <a:pt x="8058885" y="10474444"/>
                  </a:lnTo>
                  <a:lnTo>
                    <a:pt x="8097906" y="10458650"/>
                  </a:lnTo>
                  <a:lnTo>
                    <a:pt x="8131746" y="10453123"/>
                  </a:lnTo>
                  <a:lnTo>
                    <a:pt x="8163434" y="10447946"/>
                  </a:lnTo>
                  <a:lnTo>
                    <a:pt x="8197069" y="10449523"/>
                  </a:lnTo>
                  <a:lnTo>
                    <a:pt x="8229681" y="10447683"/>
                  </a:lnTo>
                  <a:lnTo>
                    <a:pt x="8262284" y="10445842"/>
                  </a:lnTo>
                  <a:lnTo>
                    <a:pt x="8294843" y="10440072"/>
                  </a:lnTo>
                  <a:lnTo>
                    <a:pt x="8323532" y="10420479"/>
                  </a:lnTo>
                  <a:lnTo>
                    <a:pt x="8342065" y="10397944"/>
                  </a:lnTo>
                  <a:lnTo>
                    <a:pt x="8348297" y="10358816"/>
                  </a:lnTo>
                  <a:lnTo>
                    <a:pt x="8357537" y="10321186"/>
                  </a:lnTo>
                  <a:lnTo>
                    <a:pt x="8367815" y="10283707"/>
                  </a:lnTo>
                  <a:lnTo>
                    <a:pt x="8382623" y="10252572"/>
                  </a:lnTo>
                  <a:lnTo>
                    <a:pt x="8405143" y="10232775"/>
                  </a:lnTo>
                  <a:lnTo>
                    <a:pt x="8459887" y="10202022"/>
                  </a:lnTo>
                  <a:lnTo>
                    <a:pt x="8523015" y="10201039"/>
                  </a:lnTo>
                  <a:lnTo>
                    <a:pt x="8577889" y="10174284"/>
                  </a:lnTo>
                  <a:lnTo>
                    <a:pt x="8586986" y="10120958"/>
                  </a:lnTo>
                  <a:lnTo>
                    <a:pt x="8599265" y="10085893"/>
                  </a:lnTo>
                  <a:lnTo>
                    <a:pt x="8613251" y="10062745"/>
                  </a:lnTo>
                  <a:lnTo>
                    <a:pt x="8627241" y="10039603"/>
                  </a:lnTo>
                  <a:lnTo>
                    <a:pt x="8660861" y="10020583"/>
                  </a:lnTo>
                  <a:lnTo>
                    <a:pt x="8700647" y="10011298"/>
                  </a:lnTo>
                  <a:lnTo>
                    <a:pt x="8723427" y="10005620"/>
                  </a:lnTo>
                  <a:lnTo>
                    <a:pt x="8746220" y="9999942"/>
                  </a:lnTo>
                  <a:lnTo>
                    <a:pt x="8771549" y="9991362"/>
                  </a:lnTo>
                  <a:lnTo>
                    <a:pt x="8798238" y="9972975"/>
                  </a:lnTo>
                  <a:lnTo>
                    <a:pt x="8816541" y="9952847"/>
                  </a:lnTo>
                  <a:lnTo>
                    <a:pt x="8824004" y="9930168"/>
                  </a:lnTo>
                  <a:lnTo>
                    <a:pt x="8830884" y="9907685"/>
                  </a:lnTo>
                  <a:lnTo>
                    <a:pt x="8837762" y="9885203"/>
                  </a:lnTo>
                  <a:lnTo>
                    <a:pt x="8844146" y="9862438"/>
                  </a:lnTo>
                  <a:lnTo>
                    <a:pt x="8856731" y="9841037"/>
                  </a:lnTo>
                  <a:lnTo>
                    <a:pt x="8870625" y="9817434"/>
                  </a:lnTo>
                  <a:lnTo>
                    <a:pt x="8890279" y="9796106"/>
                  </a:lnTo>
                  <a:lnTo>
                    <a:pt x="8908415" y="9774383"/>
                  </a:lnTo>
                  <a:lnTo>
                    <a:pt x="8926556" y="9752659"/>
                  </a:lnTo>
                  <a:lnTo>
                    <a:pt x="8943188" y="9730368"/>
                  </a:lnTo>
                  <a:lnTo>
                    <a:pt x="8949225" y="9703652"/>
                  </a:lnTo>
                  <a:lnTo>
                    <a:pt x="8949225" y="9677813"/>
                  </a:lnTo>
                  <a:lnTo>
                    <a:pt x="8952666" y="9656472"/>
                  </a:lnTo>
                  <a:lnTo>
                    <a:pt x="8953299" y="9617964"/>
                  </a:lnTo>
                  <a:lnTo>
                    <a:pt x="8973111" y="9558603"/>
                  </a:lnTo>
                  <a:lnTo>
                    <a:pt x="9017230" y="9494185"/>
                  </a:lnTo>
                  <a:lnTo>
                    <a:pt x="9042971" y="9447255"/>
                  </a:lnTo>
                  <a:lnTo>
                    <a:pt x="9066994" y="9384709"/>
                  </a:lnTo>
                  <a:lnTo>
                    <a:pt x="9083877" y="9320079"/>
                  </a:lnTo>
                  <a:lnTo>
                    <a:pt x="9100769" y="9255449"/>
                  </a:lnTo>
                  <a:lnTo>
                    <a:pt x="9111491" y="9187568"/>
                  </a:lnTo>
                  <a:lnTo>
                    <a:pt x="9109723" y="9132368"/>
                  </a:lnTo>
                  <a:lnTo>
                    <a:pt x="9097225" y="9098088"/>
                  </a:lnTo>
                  <a:lnTo>
                    <a:pt x="9086181" y="9063914"/>
                  </a:lnTo>
                  <a:lnTo>
                    <a:pt x="9082519" y="9027635"/>
                  </a:lnTo>
                  <a:lnTo>
                    <a:pt x="9103274" y="9003299"/>
                  </a:lnTo>
                  <a:lnTo>
                    <a:pt x="9140655" y="8989404"/>
                  </a:lnTo>
                  <a:lnTo>
                    <a:pt x="9161156" y="8984887"/>
                  </a:lnTo>
                  <a:lnTo>
                    <a:pt x="9184779" y="8964475"/>
                  </a:lnTo>
                  <a:lnTo>
                    <a:pt x="9185895" y="8788029"/>
                  </a:lnTo>
                  <a:lnTo>
                    <a:pt x="9185895" y="8758319"/>
                  </a:lnTo>
                  <a:lnTo>
                    <a:pt x="9210123" y="8724421"/>
                  </a:lnTo>
                  <a:lnTo>
                    <a:pt x="9245823" y="8709114"/>
                  </a:lnTo>
                  <a:lnTo>
                    <a:pt x="9275670" y="8691664"/>
                  </a:lnTo>
                  <a:lnTo>
                    <a:pt x="9304663" y="8672737"/>
                  </a:lnTo>
                  <a:lnTo>
                    <a:pt x="9322845" y="8648026"/>
                  </a:lnTo>
                  <a:lnTo>
                    <a:pt x="9325995" y="8611417"/>
                  </a:lnTo>
                  <a:lnTo>
                    <a:pt x="9324333" y="8589120"/>
                  </a:lnTo>
                  <a:lnTo>
                    <a:pt x="9324169" y="8564831"/>
                  </a:lnTo>
                  <a:lnTo>
                    <a:pt x="9316473" y="8543404"/>
                  </a:lnTo>
                  <a:lnTo>
                    <a:pt x="9293436" y="8521918"/>
                  </a:lnTo>
                  <a:lnTo>
                    <a:pt x="9260700" y="8522999"/>
                  </a:lnTo>
                  <a:lnTo>
                    <a:pt x="9239511" y="8512283"/>
                  </a:lnTo>
                  <a:lnTo>
                    <a:pt x="9223850" y="8496237"/>
                  </a:lnTo>
                  <a:lnTo>
                    <a:pt x="9210374" y="8479473"/>
                  </a:lnTo>
                  <a:lnTo>
                    <a:pt x="9196909" y="8462715"/>
                  </a:lnTo>
                  <a:lnTo>
                    <a:pt x="9184661" y="8444778"/>
                  </a:lnTo>
                  <a:lnTo>
                    <a:pt x="9168213" y="8429148"/>
                  </a:lnTo>
                  <a:lnTo>
                    <a:pt x="9162765" y="8400724"/>
                  </a:lnTo>
                  <a:lnTo>
                    <a:pt x="9158579" y="8347543"/>
                  </a:lnTo>
                  <a:lnTo>
                    <a:pt x="9157327" y="8294486"/>
                  </a:lnTo>
                  <a:lnTo>
                    <a:pt x="9156086" y="8241430"/>
                  </a:lnTo>
                  <a:lnTo>
                    <a:pt x="9157789" y="8189113"/>
                  </a:lnTo>
                  <a:lnTo>
                    <a:pt x="9168213" y="8162548"/>
                  </a:lnTo>
                  <a:lnTo>
                    <a:pt x="9219896" y="8030611"/>
                  </a:lnTo>
                  <a:lnTo>
                    <a:pt x="9230950" y="8002536"/>
                  </a:lnTo>
                  <a:lnTo>
                    <a:pt x="9225127" y="7960751"/>
                  </a:lnTo>
                  <a:lnTo>
                    <a:pt x="9232137" y="7929952"/>
                  </a:lnTo>
                  <a:lnTo>
                    <a:pt x="9239749" y="7896418"/>
                  </a:lnTo>
                  <a:lnTo>
                    <a:pt x="9282246" y="7818822"/>
                  </a:lnTo>
                  <a:lnTo>
                    <a:pt x="9331899" y="7829724"/>
                  </a:lnTo>
                  <a:lnTo>
                    <a:pt x="9362474" y="7815024"/>
                  </a:lnTo>
                  <a:lnTo>
                    <a:pt x="9370929" y="7793946"/>
                  </a:lnTo>
                  <a:lnTo>
                    <a:pt x="9374963" y="7766729"/>
                  </a:lnTo>
                  <a:lnTo>
                    <a:pt x="9378994" y="7739518"/>
                  </a:lnTo>
                  <a:lnTo>
                    <a:pt x="9378451" y="7705594"/>
                  </a:lnTo>
                  <a:lnTo>
                    <a:pt x="9376315" y="7671519"/>
                  </a:lnTo>
                  <a:lnTo>
                    <a:pt x="9372048" y="7603360"/>
                  </a:lnTo>
                  <a:lnTo>
                    <a:pt x="9361826" y="7533500"/>
                  </a:lnTo>
                  <a:lnTo>
                    <a:pt x="9368157" y="7506936"/>
                  </a:lnTo>
                  <a:lnTo>
                    <a:pt x="9373685" y="7483643"/>
                  </a:lnTo>
                  <a:lnTo>
                    <a:pt x="9392255" y="7451908"/>
                  </a:lnTo>
                  <a:lnTo>
                    <a:pt x="9402161" y="7429399"/>
                  </a:lnTo>
                  <a:lnTo>
                    <a:pt x="9359438" y="7398700"/>
                  </a:lnTo>
                  <a:lnTo>
                    <a:pt x="9328715" y="7373633"/>
                  </a:lnTo>
                  <a:lnTo>
                    <a:pt x="9297982" y="7348572"/>
                  </a:lnTo>
                  <a:lnTo>
                    <a:pt x="9270138" y="7322213"/>
                  </a:lnTo>
                  <a:lnTo>
                    <a:pt x="9268799" y="7292377"/>
                  </a:lnTo>
                  <a:lnTo>
                    <a:pt x="9279747" y="7263459"/>
                  </a:lnTo>
                  <a:lnTo>
                    <a:pt x="9296617" y="7236301"/>
                  </a:lnTo>
                  <a:lnTo>
                    <a:pt x="9331688" y="7199435"/>
                  </a:lnTo>
                  <a:lnTo>
                    <a:pt x="9360719" y="7177521"/>
                  </a:lnTo>
                  <a:lnTo>
                    <a:pt x="9379040" y="7157360"/>
                  </a:lnTo>
                  <a:lnTo>
                    <a:pt x="9475146" y="6991821"/>
                  </a:lnTo>
                  <a:lnTo>
                    <a:pt x="9463370" y="6969656"/>
                  </a:lnTo>
                  <a:lnTo>
                    <a:pt x="9372030" y="6934861"/>
                  </a:lnTo>
                  <a:lnTo>
                    <a:pt x="9336878" y="6928846"/>
                  </a:lnTo>
                  <a:lnTo>
                    <a:pt x="9310406" y="6990318"/>
                  </a:lnTo>
                  <a:lnTo>
                    <a:pt x="9290627" y="7032222"/>
                  </a:lnTo>
                  <a:lnTo>
                    <a:pt x="9270842" y="7074132"/>
                  </a:lnTo>
                  <a:lnTo>
                    <a:pt x="9250226" y="7113081"/>
                  </a:lnTo>
                  <a:lnTo>
                    <a:pt x="9214858" y="7132497"/>
                  </a:lnTo>
                  <a:lnTo>
                    <a:pt x="9132686" y="7116518"/>
                  </a:lnTo>
                  <a:lnTo>
                    <a:pt x="9052592" y="7089353"/>
                  </a:lnTo>
                  <a:lnTo>
                    <a:pt x="9012548" y="7075774"/>
                  </a:lnTo>
                  <a:lnTo>
                    <a:pt x="8972845" y="7059644"/>
                  </a:lnTo>
                  <a:lnTo>
                    <a:pt x="8941058" y="7043104"/>
                  </a:lnTo>
                  <a:lnTo>
                    <a:pt x="8909270" y="7026570"/>
                  </a:lnTo>
                  <a:lnTo>
                    <a:pt x="8885365" y="7009324"/>
                  </a:lnTo>
                  <a:lnTo>
                    <a:pt x="8878488" y="6972373"/>
                  </a:lnTo>
                  <a:lnTo>
                    <a:pt x="8900961" y="6953076"/>
                  </a:lnTo>
                  <a:lnTo>
                    <a:pt x="8920653" y="6945169"/>
                  </a:lnTo>
                  <a:lnTo>
                    <a:pt x="8940341" y="6937268"/>
                  </a:lnTo>
                  <a:lnTo>
                    <a:pt x="8961199" y="6928985"/>
                  </a:lnTo>
                  <a:lnTo>
                    <a:pt x="8979223" y="6897224"/>
                  </a:lnTo>
                  <a:lnTo>
                    <a:pt x="8965282" y="6868727"/>
                  </a:lnTo>
                  <a:lnTo>
                    <a:pt x="8941051" y="6837718"/>
                  </a:lnTo>
                  <a:lnTo>
                    <a:pt x="8868454" y="6857628"/>
                  </a:lnTo>
                  <a:lnTo>
                    <a:pt x="8827905" y="6862845"/>
                  </a:lnTo>
                  <a:lnTo>
                    <a:pt x="8795160" y="6850446"/>
                  </a:lnTo>
                  <a:lnTo>
                    <a:pt x="8762870" y="6834995"/>
                  </a:lnTo>
                  <a:lnTo>
                    <a:pt x="8730574" y="6819549"/>
                  </a:lnTo>
                  <a:lnTo>
                    <a:pt x="8699066" y="6801862"/>
                  </a:lnTo>
                  <a:lnTo>
                    <a:pt x="8675818" y="6792827"/>
                  </a:lnTo>
                  <a:lnTo>
                    <a:pt x="8625868" y="6773425"/>
                  </a:lnTo>
                  <a:lnTo>
                    <a:pt x="8568237" y="6761673"/>
                  </a:lnTo>
                  <a:lnTo>
                    <a:pt x="8515313" y="6754741"/>
                  </a:lnTo>
                  <a:lnTo>
                    <a:pt x="8527551" y="6708603"/>
                  </a:lnTo>
                  <a:lnTo>
                    <a:pt x="8545404" y="6673663"/>
                  </a:lnTo>
                  <a:lnTo>
                    <a:pt x="8565645" y="6640485"/>
                  </a:lnTo>
                  <a:lnTo>
                    <a:pt x="8588251" y="6603335"/>
                  </a:lnTo>
                  <a:lnTo>
                    <a:pt x="8622513" y="6569523"/>
                  </a:lnTo>
                  <a:lnTo>
                    <a:pt x="8639092" y="6528951"/>
                  </a:lnTo>
                  <a:lnTo>
                    <a:pt x="8639684" y="6498858"/>
                  </a:lnTo>
                  <a:lnTo>
                    <a:pt x="8590124" y="6443257"/>
                  </a:lnTo>
                  <a:lnTo>
                    <a:pt x="8611149" y="6401802"/>
                  </a:lnTo>
                  <a:lnTo>
                    <a:pt x="8614612" y="6377967"/>
                  </a:lnTo>
                  <a:lnTo>
                    <a:pt x="8618066" y="6354140"/>
                  </a:lnTo>
                  <a:lnTo>
                    <a:pt x="8613462" y="6330986"/>
                  </a:lnTo>
                  <a:lnTo>
                    <a:pt x="8594207" y="6314040"/>
                  </a:lnTo>
                  <a:lnTo>
                    <a:pt x="8615198" y="6294834"/>
                  </a:lnTo>
                  <a:lnTo>
                    <a:pt x="8636366" y="6288196"/>
                  </a:lnTo>
                  <a:lnTo>
                    <a:pt x="8657543" y="6281558"/>
                  </a:lnTo>
                  <a:lnTo>
                    <a:pt x="8683793" y="6276443"/>
                  </a:lnTo>
                  <a:lnTo>
                    <a:pt x="8711180" y="6270513"/>
                  </a:lnTo>
                  <a:lnTo>
                    <a:pt x="8738577" y="6264584"/>
                  </a:lnTo>
                  <a:lnTo>
                    <a:pt x="8767639" y="6257848"/>
                  </a:lnTo>
                  <a:lnTo>
                    <a:pt x="8791433" y="6248750"/>
                  </a:lnTo>
                  <a:lnTo>
                    <a:pt x="8815220" y="6239652"/>
                  </a:lnTo>
                  <a:lnTo>
                    <a:pt x="8834109" y="6228166"/>
                  </a:lnTo>
                  <a:lnTo>
                    <a:pt x="8854771" y="6180996"/>
                  </a:lnTo>
                  <a:lnTo>
                    <a:pt x="8843374" y="6082232"/>
                  </a:lnTo>
                  <a:lnTo>
                    <a:pt x="8828153" y="6055601"/>
                  </a:lnTo>
                  <a:lnTo>
                    <a:pt x="8841402" y="6030330"/>
                  </a:lnTo>
                  <a:lnTo>
                    <a:pt x="8869319" y="6012863"/>
                  </a:lnTo>
                  <a:lnTo>
                    <a:pt x="8904331" y="5998473"/>
                  </a:lnTo>
                  <a:lnTo>
                    <a:pt x="8940735" y="5985410"/>
                  </a:lnTo>
                  <a:lnTo>
                    <a:pt x="8971298" y="5968011"/>
                  </a:lnTo>
                  <a:lnTo>
                    <a:pt x="8990025" y="5942705"/>
                  </a:lnTo>
                  <a:lnTo>
                    <a:pt x="8980702" y="5904218"/>
                  </a:lnTo>
                  <a:lnTo>
                    <a:pt x="8969620" y="5884217"/>
                  </a:lnTo>
                  <a:lnTo>
                    <a:pt x="8958536" y="5864215"/>
                  </a:lnTo>
                  <a:lnTo>
                    <a:pt x="8947705" y="5844102"/>
                  </a:lnTo>
                  <a:lnTo>
                    <a:pt x="8954657" y="5808343"/>
                  </a:lnTo>
                  <a:lnTo>
                    <a:pt x="8990276" y="5766262"/>
                  </a:lnTo>
                  <a:lnTo>
                    <a:pt x="8995777" y="5728920"/>
                  </a:lnTo>
                  <a:lnTo>
                    <a:pt x="8976110" y="5713123"/>
                  </a:lnTo>
                  <a:lnTo>
                    <a:pt x="8954657" y="5699229"/>
                  </a:lnTo>
                  <a:lnTo>
                    <a:pt x="8933204" y="5685336"/>
                  </a:lnTo>
                  <a:lnTo>
                    <a:pt x="8909382" y="5673237"/>
                  </a:lnTo>
                  <a:lnTo>
                    <a:pt x="8897525" y="5654343"/>
                  </a:lnTo>
                  <a:lnTo>
                    <a:pt x="8894809" y="5631220"/>
                  </a:lnTo>
                  <a:lnTo>
                    <a:pt x="8906455" y="5601136"/>
                  </a:lnTo>
                  <a:lnTo>
                    <a:pt x="8925691" y="5573951"/>
                  </a:lnTo>
                  <a:lnTo>
                    <a:pt x="8934258" y="5545527"/>
                  </a:lnTo>
                  <a:lnTo>
                    <a:pt x="8940354" y="5516669"/>
                  </a:lnTo>
                  <a:lnTo>
                    <a:pt x="8933601" y="5487333"/>
                  </a:lnTo>
                  <a:lnTo>
                    <a:pt x="8909779" y="5457114"/>
                  </a:lnTo>
                  <a:lnTo>
                    <a:pt x="8844654" y="5457734"/>
                  </a:lnTo>
                  <a:lnTo>
                    <a:pt x="8819198" y="5458982"/>
                  </a:lnTo>
                  <a:lnTo>
                    <a:pt x="8799600" y="5438069"/>
                  </a:lnTo>
                  <a:lnTo>
                    <a:pt x="8802151" y="5405010"/>
                  </a:lnTo>
                  <a:lnTo>
                    <a:pt x="8791309" y="5382729"/>
                  </a:lnTo>
                  <a:lnTo>
                    <a:pt x="8776475" y="5361898"/>
                  </a:lnTo>
                  <a:lnTo>
                    <a:pt x="8761651" y="5341067"/>
                  </a:lnTo>
                  <a:lnTo>
                    <a:pt x="8742921" y="5321963"/>
                  </a:lnTo>
                  <a:lnTo>
                    <a:pt x="8731591" y="5295249"/>
                  </a:lnTo>
                  <a:lnTo>
                    <a:pt x="8731526" y="5272125"/>
                  </a:lnTo>
                  <a:lnTo>
                    <a:pt x="8737969" y="5248202"/>
                  </a:lnTo>
                  <a:lnTo>
                    <a:pt x="8747913" y="5225878"/>
                  </a:lnTo>
                  <a:lnTo>
                    <a:pt x="8757859" y="5203555"/>
                  </a:lnTo>
                  <a:lnTo>
                    <a:pt x="8771378" y="5182299"/>
                  </a:lnTo>
                  <a:lnTo>
                    <a:pt x="8783275" y="5163309"/>
                  </a:lnTo>
                  <a:lnTo>
                    <a:pt x="8834754" y="5168452"/>
                  </a:lnTo>
                  <a:lnTo>
                    <a:pt x="8882165" y="5208302"/>
                  </a:lnTo>
                  <a:lnTo>
                    <a:pt x="8885120" y="5250742"/>
                  </a:lnTo>
                  <a:lnTo>
                    <a:pt x="8900257" y="5283007"/>
                  </a:lnTo>
                  <a:lnTo>
                    <a:pt x="8918650" y="5313025"/>
                  </a:lnTo>
                  <a:lnTo>
                    <a:pt x="8955311" y="5329160"/>
                  </a:lnTo>
                  <a:lnTo>
                    <a:pt x="8981294" y="5330693"/>
                  </a:lnTo>
                  <a:lnTo>
                    <a:pt x="9019955" y="5325170"/>
                  </a:lnTo>
                  <a:lnTo>
                    <a:pt x="9047712" y="5321205"/>
                  </a:lnTo>
                  <a:lnTo>
                    <a:pt x="9073927" y="5317322"/>
                  </a:lnTo>
                  <a:lnTo>
                    <a:pt x="9098843" y="5308848"/>
                  </a:lnTo>
                  <a:lnTo>
                    <a:pt x="9123757" y="5300373"/>
                  </a:lnTo>
                  <a:lnTo>
                    <a:pt x="9146729" y="5287563"/>
                  </a:lnTo>
                  <a:lnTo>
                    <a:pt x="9168213" y="5268042"/>
                  </a:lnTo>
                  <a:lnTo>
                    <a:pt x="9178206" y="5236194"/>
                  </a:lnTo>
                  <a:lnTo>
                    <a:pt x="9172578" y="5213847"/>
                  </a:lnTo>
                  <a:lnTo>
                    <a:pt x="9164139" y="5191871"/>
                  </a:lnTo>
                  <a:lnTo>
                    <a:pt x="9155689" y="5169895"/>
                  </a:lnTo>
                  <a:lnTo>
                    <a:pt x="9145606" y="5148950"/>
                  </a:lnTo>
                  <a:lnTo>
                    <a:pt x="9145092" y="5119781"/>
                  </a:lnTo>
                  <a:lnTo>
                    <a:pt x="9157655" y="5091758"/>
                  </a:lnTo>
                  <a:lnTo>
                    <a:pt x="9181502" y="5068911"/>
                  </a:lnTo>
                  <a:lnTo>
                    <a:pt x="9198143" y="5042249"/>
                  </a:lnTo>
                  <a:lnTo>
                    <a:pt x="9172560" y="5003322"/>
                  </a:lnTo>
                  <a:lnTo>
                    <a:pt x="9139867" y="4980539"/>
                  </a:lnTo>
                  <a:lnTo>
                    <a:pt x="9111094" y="4972888"/>
                  </a:lnTo>
                  <a:lnTo>
                    <a:pt x="9110672" y="4925876"/>
                  </a:lnTo>
                  <a:lnTo>
                    <a:pt x="9109196" y="4895127"/>
                  </a:lnTo>
                  <a:lnTo>
                    <a:pt x="9105655" y="4870873"/>
                  </a:lnTo>
                  <a:lnTo>
                    <a:pt x="9102105" y="4846618"/>
                  </a:lnTo>
                  <a:lnTo>
                    <a:pt x="9098850" y="4819185"/>
                  </a:lnTo>
                  <a:lnTo>
                    <a:pt x="9111094" y="4801503"/>
                  </a:lnTo>
                  <a:lnTo>
                    <a:pt x="9134091" y="4793214"/>
                  </a:lnTo>
                  <a:lnTo>
                    <a:pt x="9189349" y="4768071"/>
                  </a:lnTo>
                  <a:lnTo>
                    <a:pt x="9202223" y="4745734"/>
                  </a:lnTo>
                  <a:lnTo>
                    <a:pt x="9196171" y="4691818"/>
                  </a:lnTo>
                  <a:lnTo>
                    <a:pt x="9184544" y="4655961"/>
                  </a:lnTo>
                  <a:lnTo>
                    <a:pt x="9172910" y="4620105"/>
                  </a:lnTo>
                  <a:lnTo>
                    <a:pt x="9158868" y="4585146"/>
                  </a:lnTo>
                  <a:lnTo>
                    <a:pt x="9155975" y="4560747"/>
                  </a:lnTo>
                  <a:lnTo>
                    <a:pt x="9213190" y="4580895"/>
                  </a:lnTo>
                  <a:lnTo>
                    <a:pt x="9262027" y="4617897"/>
                  </a:lnTo>
                  <a:lnTo>
                    <a:pt x="9319199" y="4639639"/>
                  </a:lnTo>
                  <a:lnTo>
                    <a:pt x="9397030" y="4548740"/>
                  </a:lnTo>
                  <a:lnTo>
                    <a:pt x="9382575" y="4528910"/>
                  </a:lnTo>
                  <a:lnTo>
                    <a:pt x="9377009" y="4507891"/>
                  </a:lnTo>
                  <a:lnTo>
                    <a:pt x="9348822" y="4480751"/>
                  </a:lnTo>
                  <a:lnTo>
                    <a:pt x="9270402" y="4429743"/>
                  </a:lnTo>
                  <a:lnTo>
                    <a:pt x="9261137" y="4374358"/>
                  </a:lnTo>
                  <a:lnTo>
                    <a:pt x="9246087" y="4318908"/>
                  </a:lnTo>
                  <a:lnTo>
                    <a:pt x="9253907" y="4280547"/>
                  </a:lnTo>
                  <a:lnTo>
                    <a:pt x="9285576" y="4254767"/>
                  </a:lnTo>
                  <a:lnTo>
                    <a:pt x="9340875" y="4253704"/>
                  </a:lnTo>
                  <a:lnTo>
                    <a:pt x="9379046" y="4237020"/>
                  </a:lnTo>
                  <a:lnTo>
                    <a:pt x="9373518" y="4200550"/>
                  </a:lnTo>
                  <a:lnTo>
                    <a:pt x="9345721" y="4174090"/>
                  </a:lnTo>
                  <a:lnTo>
                    <a:pt x="9320938" y="4159914"/>
                  </a:lnTo>
                  <a:lnTo>
                    <a:pt x="9297433" y="4151328"/>
                  </a:lnTo>
                  <a:lnTo>
                    <a:pt x="9291802" y="4116079"/>
                  </a:lnTo>
                  <a:lnTo>
                    <a:pt x="9294487" y="4061876"/>
                  </a:lnTo>
                  <a:lnTo>
                    <a:pt x="9294717" y="4008507"/>
                  </a:lnTo>
                  <a:lnTo>
                    <a:pt x="9294915" y="3955137"/>
                  </a:lnTo>
                  <a:lnTo>
                    <a:pt x="9292165" y="3902666"/>
                  </a:lnTo>
                  <a:lnTo>
                    <a:pt x="9278395" y="3872487"/>
                  </a:lnTo>
                  <a:lnTo>
                    <a:pt x="9228404" y="3873067"/>
                  </a:lnTo>
                  <a:lnTo>
                    <a:pt x="9203200" y="3860904"/>
                  </a:lnTo>
                  <a:lnTo>
                    <a:pt x="9196782" y="3823519"/>
                  </a:lnTo>
                  <a:lnTo>
                    <a:pt x="9196586" y="3785881"/>
                  </a:lnTo>
                  <a:lnTo>
                    <a:pt x="9200015" y="3764203"/>
                  </a:lnTo>
                  <a:lnTo>
                    <a:pt x="9217186" y="3751429"/>
                  </a:lnTo>
                  <a:lnTo>
                    <a:pt x="9231849" y="3734374"/>
                  </a:lnTo>
                  <a:lnTo>
                    <a:pt x="9253221" y="3715772"/>
                  </a:lnTo>
                  <a:lnTo>
                    <a:pt x="9268870" y="3694301"/>
                  </a:lnTo>
                  <a:lnTo>
                    <a:pt x="9283412" y="3672169"/>
                  </a:lnTo>
                  <a:lnTo>
                    <a:pt x="9289691" y="3648423"/>
                  </a:lnTo>
                  <a:lnTo>
                    <a:pt x="9285195" y="3623571"/>
                  </a:lnTo>
                  <a:lnTo>
                    <a:pt x="9261221" y="3592668"/>
                  </a:lnTo>
                  <a:lnTo>
                    <a:pt x="9229598" y="3570119"/>
                  </a:lnTo>
                  <a:lnTo>
                    <a:pt x="9198143" y="3547399"/>
                  </a:lnTo>
                  <a:lnTo>
                    <a:pt x="9136847" y="3503108"/>
                  </a:lnTo>
                  <a:lnTo>
                    <a:pt x="9095042" y="3478303"/>
                  </a:lnTo>
                  <a:lnTo>
                    <a:pt x="9063481" y="3445384"/>
                  </a:lnTo>
                  <a:lnTo>
                    <a:pt x="9047705" y="3428925"/>
                  </a:lnTo>
                  <a:lnTo>
                    <a:pt x="9034088" y="3411202"/>
                  </a:lnTo>
                  <a:lnTo>
                    <a:pt x="9022677" y="3386895"/>
                  </a:lnTo>
                  <a:lnTo>
                    <a:pt x="9011267" y="3362589"/>
                  </a:lnTo>
                  <a:lnTo>
                    <a:pt x="9001845" y="3332323"/>
                  </a:lnTo>
                  <a:lnTo>
                    <a:pt x="8992751" y="3293042"/>
                  </a:lnTo>
                  <a:lnTo>
                    <a:pt x="8977409" y="3226637"/>
                  </a:lnTo>
                  <a:lnTo>
                    <a:pt x="8958681" y="3167075"/>
                  </a:lnTo>
                  <a:lnTo>
                    <a:pt x="8956030" y="3109416"/>
                  </a:lnTo>
                  <a:lnTo>
                    <a:pt x="8954703" y="3080585"/>
                  </a:lnTo>
                  <a:lnTo>
                    <a:pt x="8958244" y="3052295"/>
                  </a:lnTo>
                  <a:lnTo>
                    <a:pt x="8966910" y="3023723"/>
                  </a:lnTo>
                  <a:lnTo>
                    <a:pt x="8975570" y="2995151"/>
                  </a:lnTo>
                  <a:lnTo>
                    <a:pt x="8989960" y="2966270"/>
                  </a:lnTo>
                  <a:lnTo>
                    <a:pt x="9013156" y="2936670"/>
                  </a:lnTo>
                  <a:lnTo>
                    <a:pt x="9039343" y="2903239"/>
                  </a:lnTo>
                  <a:lnTo>
                    <a:pt x="9064464" y="2867236"/>
                  </a:lnTo>
                  <a:lnTo>
                    <a:pt x="9098850" y="2841456"/>
                  </a:lnTo>
                  <a:lnTo>
                    <a:pt x="9124436" y="2822264"/>
                  </a:lnTo>
                  <a:lnTo>
                    <a:pt x="9147817" y="2818354"/>
                  </a:lnTo>
                  <a:lnTo>
                    <a:pt x="9165497" y="2788409"/>
                  </a:lnTo>
                  <a:lnTo>
                    <a:pt x="9176997" y="2768951"/>
                  </a:lnTo>
                  <a:lnTo>
                    <a:pt x="9179477" y="2740735"/>
                  </a:lnTo>
                  <a:lnTo>
                    <a:pt x="9183185" y="2714958"/>
                  </a:lnTo>
                  <a:lnTo>
                    <a:pt x="9186891" y="2689180"/>
                  </a:lnTo>
                  <a:lnTo>
                    <a:pt x="9191935" y="2665523"/>
                  </a:lnTo>
                  <a:lnTo>
                    <a:pt x="9210387" y="2653749"/>
                  </a:lnTo>
                  <a:lnTo>
                    <a:pt x="9244946" y="2631709"/>
                  </a:lnTo>
                  <a:lnTo>
                    <a:pt x="9283031" y="2639063"/>
                  </a:lnTo>
                  <a:lnTo>
                    <a:pt x="9317838" y="2619743"/>
                  </a:lnTo>
                  <a:lnTo>
                    <a:pt x="9313881" y="2589034"/>
                  </a:lnTo>
                  <a:lnTo>
                    <a:pt x="9301687" y="2567695"/>
                  </a:lnTo>
                  <a:lnTo>
                    <a:pt x="9302025" y="2540257"/>
                  </a:lnTo>
                  <a:lnTo>
                    <a:pt x="9312610" y="2502576"/>
                  </a:lnTo>
                  <a:lnTo>
                    <a:pt x="9357897" y="2484616"/>
                  </a:lnTo>
                  <a:lnTo>
                    <a:pt x="9409581" y="2488670"/>
                  </a:lnTo>
                  <a:lnTo>
                    <a:pt x="9455218" y="2493245"/>
                  </a:lnTo>
                  <a:lnTo>
                    <a:pt x="9500847" y="2497820"/>
                  </a:lnTo>
                  <a:lnTo>
                    <a:pt x="9539802" y="2503000"/>
                  </a:lnTo>
                  <a:lnTo>
                    <a:pt x="9549281" y="2478750"/>
                  </a:lnTo>
                  <a:lnTo>
                    <a:pt x="9557615" y="2446467"/>
                  </a:lnTo>
                  <a:lnTo>
                    <a:pt x="9601098" y="2424087"/>
                  </a:lnTo>
                  <a:lnTo>
                    <a:pt x="9649805" y="2438922"/>
                  </a:lnTo>
                  <a:lnTo>
                    <a:pt x="9674207" y="2426595"/>
                  </a:lnTo>
                  <a:lnTo>
                    <a:pt x="9682364" y="2406192"/>
                  </a:lnTo>
                  <a:lnTo>
                    <a:pt x="9737632" y="2384493"/>
                  </a:lnTo>
                  <a:lnTo>
                    <a:pt x="9781369" y="2372187"/>
                  </a:lnTo>
                  <a:lnTo>
                    <a:pt x="9822467" y="2357225"/>
                  </a:lnTo>
                  <a:lnTo>
                    <a:pt x="9882724" y="2335260"/>
                  </a:lnTo>
                  <a:lnTo>
                    <a:pt x="9910887" y="2313699"/>
                  </a:lnTo>
                  <a:lnTo>
                    <a:pt x="9948860" y="2304304"/>
                  </a:lnTo>
                  <a:lnTo>
                    <a:pt x="10029218" y="2306898"/>
                  </a:lnTo>
                  <a:lnTo>
                    <a:pt x="10056084" y="2293125"/>
                  </a:lnTo>
                  <a:lnTo>
                    <a:pt x="10070151" y="2242703"/>
                  </a:lnTo>
                  <a:lnTo>
                    <a:pt x="10064211" y="2212366"/>
                  </a:lnTo>
                  <a:lnTo>
                    <a:pt x="10049622" y="2183120"/>
                  </a:lnTo>
                  <a:lnTo>
                    <a:pt x="10035034" y="2153873"/>
                  </a:lnTo>
                  <a:lnTo>
                    <a:pt x="10012301" y="2125778"/>
                  </a:lnTo>
                  <a:lnTo>
                    <a:pt x="9987050" y="2087906"/>
                  </a:lnTo>
                  <a:lnTo>
                    <a:pt x="9970728" y="2060702"/>
                  </a:lnTo>
                  <a:lnTo>
                    <a:pt x="9990922" y="2030607"/>
                  </a:lnTo>
                  <a:lnTo>
                    <a:pt x="10021147" y="2009800"/>
                  </a:lnTo>
                  <a:lnTo>
                    <a:pt x="10037381" y="1987251"/>
                  </a:lnTo>
                  <a:lnTo>
                    <a:pt x="10046122" y="1946296"/>
                  </a:lnTo>
                  <a:lnTo>
                    <a:pt x="10041378" y="1886331"/>
                  </a:lnTo>
                  <a:lnTo>
                    <a:pt x="10037381" y="1830828"/>
                  </a:lnTo>
                  <a:lnTo>
                    <a:pt x="10033385" y="1775325"/>
                  </a:lnTo>
                  <a:lnTo>
                    <a:pt x="10030476" y="1724583"/>
                  </a:lnTo>
                  <a:lnTo>
                    <a:pt x="10045539" y="1704330"/>
                  </a:lnTo>
                  <a:lnTo>
                    <a:pt x="10082696" y="1685053"/>
                  </a:lnTo>
                  <a:lnTo>
                    <a:pt x="10111851" y="1700653"/>
                  </a:lnTo>
                  <a:lnTo>
                    <a:pt x="10121587" y="1727942"/>
                  </a:lnTo>
                  <a:lnTo>
                    <a:pt x="10123069" y="1749216"/>
                  </a:lnTo>
                  <a:lnTo>
                    <a:pt x="10171392" y="1768662"/>
                  </a:lnTo>
                  <a:lnTo>
                    <a:pt x="10228284" y="1767555"/>
                  </a:lnTo>
                  <a:lnTo>
                    <a:pt x="10282225" y="1760098"/>
                  </a:lnTo>
                  <a:lnTo>
                    <a:pt x="10336157" y="1752641"/>
                  </a:lnTo>
                  <a:lnTo>
                    <a:pt x="10387214" y="1739089"/>
                  </a:lnTo>
                  <a:lnTo>
                    <a:pt x="10414161" y="1719292"/>
                  </a:lnTo>
                  <a:lnTo>
                    <a:pt x="10419749" y="1688634"/>
                  </a:lnTo>
                  <a:lnTo>
                    <a:pt x="10428657" y="1660426"/>
                  </a:lnTo>
                  <a:lnTo>
                    <a:pt x="10434566" y="1632239"/>
                  </a:lnTo>
                  <a:lnTo>
                    <a:pt x="10440470" y="1604052"/>
                  </a:lnTo>
                  <a:lnTo>
                    <a:pt x="10443918" y="1575610"/>
                  </a:lnTo>
                  <a:lnTo>
                    <a:pt x="10440002" y="1543826"/>
                  </a:lnTo>
                  <a:lnTo>
                    <a:pt x="10414078" y="1542955"/>
                  </a:lnTo>
                  <a:lnTo>
                    <a:pt x="10302965" y="1543848"/>
                  </a:lnTo>
                  <a:lnTo>
                    <a:pt x="10284941" y="1531584"/>
                  </a:lnTo>
                  <a:lnTo>
                    <a:pt x="10268744" y="1510990"/>
                  </a:lnTo>
                  <a:lnTo>
                    <a:pt x="10256379" y="1467655"/>
                  </a:lnTo>
                  <a:lnTo>
                    <a:pt x="10247372" y="1447401"/>
                  </a:lnTo>
                  <a:lnTo>
                    <a:pt x="10217271" y="1436264"/>
                  </a:lnTo>
                  <a:lnTo>
                    <a:pt x="10203331" y="1420048"/>
                  </a:lnTo>
                  <a:lnTo>
                    <a:pt x="10180849" y="1393885"/>
                  </a:lnTo>
                  <a:lnTo>
                    <a:pt x="10165206" y="1358457"/>
                  </a:lnTo>
                  <a:lnTo>
                    <a:pt x="10142122" y="1332995"/>
                  </a:lnTo>
                  <a:lnTo>
                    <a:pt x="10079556" y="1277227"/>
                  </a:lnTo>
                  <a:lnTo>
                    <a:pt x="10062719" y="1256335"/>
                  </a:lnTo>
                  <a:lnTo>
                    <a:pt x="10022213" y="1234880"/>
                  </a:lnTo>
                  <a:lnTo>
                    <a:pt x="9992339" y="1229222"/>
                  </a:lnTo>
                  <a:lnTo>
                    <a:pt x="9961219" y="1222819"/>
                  </a:lnTo>
                  <a:lnTo>
                    <a:pt x="9930095" y="1216417"/>
                  </a:lnTo>
                  <a:lnTo>
                    <a:pt x="9898072" y="1208952"/>
                  </a:lnTo>
                  <a:lnTo>
                    <a:pt x="9871441" y="1192895"/>
                  </a:lnTo>
                  <a:lnTo>
                    <a:pt x="9867683" y="1170218"/>
                  </a:lnTo>
                  <a:lnTo>
                    <a:pt x="9866121" y="1144454"/>
                  </a:lnTo>
                  <a:lnTo>
                    <a:pt x="9860561" y="1119444"/>
                  </a:lnTo>
                  <a:lnTo>
                    <a:pt x="9854999" y="1094435"/>
                  </a:lnTo>
                  <a:lnTo>
                    <a:pt x="9844599" y="1070307"/>
                  </a:lnTo>
                  <a:lnTo>
                    <a:pt x="9838795" y="1039192"/>
                  </a:lnTo>
                  <a:lnTo>
                    <a:pt x="9834721" y="1017323"/>
                  </a:lnTo>
                  <a:lnTo>
                    <a:pt x="9840203" y="992287"/>
                  </a:lnTo>
                  <a:lnTo>
                    <a:pt x="9838795" y="969822"/>
                  </a:lnTo>
                  <a:lnTo>
                    <a:pt x="9835270" y="912312"/>
                  </a:lnTo>
                  <a:lnTo>
                    <a:pt x="9841545" y="879645"/>
                  </a:lnTo>
                  <a:lnTo>
                    <a:pt x="9860561" y="854205"/>
                  </a:lnTo>
                  <a:lnTo>
                    <a:pt x="9879574" y="828765"/>
                  </a:lnTo>
                  <a:lnTo>
                    <a:pt x="9911380" y="811061"/>
                  </a:lnTo>
                  <a:lnTo>
                    <a:pt x="9961212" y="783475"/>
                  </a:lnTo>
                  <a:lnTo>
                    <a:pt x="9989350" y="749470"/>
                  </a:lnTo>
                  <a:lnTo>
                    <a:pt x="9998959" y="715029"/>
                  </a:lnTo>
                  <a:lnTo>
                    <a:pt x="9991806" y="691500"/>
                  </a:lnTo>
                  <a:lnTo>
                    <a:pt x="9985698" y="667858"/>
                  </a:lnTo>
                  <a:lnTo>
                    <a:pt x="9979593" y="644217"/>
                  </a:lnTo>
                  <a:lnTo>
                    <a:pt x="9974350" y="621718"/>
                  </a:lnTo>
                  <a:lnTo>
                    <a:pt x="9984340" y="601208"/>
                  </a:lnTo>
                  <a:lnTo>
                    <a:pt x="9999046" y="571029"/>
                  </a:lnTo>
                  <a:lnTo>
                    <a:pt x="10012732" y="537874"/>
                  </a:lnTo>
                  <a:lnTo>
                    <a:pt x="10029224" y="508715"/>
                  </a:lnTo>
                  <a:lnTo>
                    <a:pt x="10044103" y="482362"/>
                  </a:lnTo>
                  <a:lnTo>
                    <a:pt x="10070285" y="455666"/>
                  </a:lnTo>
                  <a:lnTo>
                    <a:pt x="10082275" y="428463"/>
                  </a:lnTo>
                  <a:lnTo>
                    <a:pt x="10090773" y="409175"/>
                  </a:lnTo>
                  <a:lnTo>
                    <a:pt x="10097105" y="383829"/>
                  </a:lnTo>
                  <a:lnTo>
                    <a:pt x="10104038" y="355012"/>
                  </a:lnTo>
                  <a:lnTo>
                    <a:pt x="10110968" y="326196"/>
                  </a:lnTo>
                  <a:lnTo>
                    <a:pt x="10118223" y="293564"/>
                  </a:lnTo>
                  <a:lnTo>
                    <a:pt x="10125801" y="262519"/>
                  </a:lnTo>
                  <a:lnTo>
                    <a:pt x="10133379" y="231473"/>
                  </a:lnTo>
                  <a:lnTo>
                    <a:pt x="10141204" y="201440"/>
                  </a:lnTo>
                  <a:lnTo>
                    <a:pt x="10151638" y="175466"/>
                  </a:lnTo>
                  <a:lnTo>
                    <a:pt x="10175525" y="141904"/>
                  </a:lnTo>
                  <a:lnTo>
                    <a:pt x="10192448" y="116978"/>
                  </a:lnTo>
                  <a:lnTo>
                    <a:pt x="10178492" y="98302"/>
                  </a:lnTo>
                  <a:lnTo>
                    <a:pt x="10067014" y="27715"/>
                  </a:lnTo>
                  <a:lnTo>
                    <a:pt x="10011498" y="134150"/>
                  </a:lnTo>
                  <a:lnTo>
                    <a:pt x="9913609" y="119698"/>
                  </a:lnTo>
                  <a:lnTo>
                    <a:pt x="9856695" y="111303"/>
                  </a:lnTo>
                  <a:lnTo>
                    <a:pt x="9808664" y="85098"/>
                  </a:lnTo>
                  <a:lnTo>
                    <a:pt x="9754468" y="73451"/>
                  </a:lnTo>
                  <a:lnTo>
                    <a:pt x="9697976" y="61358"/>
                  </a:lnTo>
                  <a:lnTo>
                    <a:pt x="9637955" y="58638"/>
                  </a:lnTo>
                  <a:lnTo>
                    <a:pt x="9583080" y="39446"/>
                  </a:lnTo>
                  <a:lnTo>
                    <a:pt x="9539765" y="24293"/>
                  </a:lnTo>
                  <a:lnTo>
                    <a:pt x="9499681" y="3337"/>
                  </a:lnTo>
                  <a:lnTo>
                    <a:pt x="9452499" y="0"/>
                  </a:lnTo>
                  <a:close/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80" name="Kiev¬0" descr="Kiev¬0">
              <a:extLst>
                <a:ext uri="{FF2B5EF4-FFF2-40B4-BE49-F238E27FC236}">
                  <a16:creationId xmlns:a16="http://schemas.microsoft.com/office/drawing/2014/main" id="{64EB5276-2B5C-4544-8486-AA4EB84A57F8}"/>
                </a:ext>
              </a:extLst>
            </p:cNvPr>
            <p:cNvSpPr/>
            <p:nvPr/>
          </p:nvSpPr>
          <p:spPr>
            <a:xfrm>
              <a:off x="3321239" y="1578428"/>
              <a:ext cx="980911" cy="1059502"/>
            </a:xfrm>
            <a:custGeom>
              <a:avLst/>
              <a:gdLst/>
              <a:ahLst/>
              <a:cxnLst/>
              <a:rect l="0" t="0" r="0" b="0"/>
              <a:pathLst>
                <a:path w="10009659" h="12272988">
                  <a:moveTo>
                    <a:pt x="9957981" y="6141983"/>
                  </a:moveTo>
                  <a:lnTo>
                    <a:pt x="9907655" y="6065811"/>
                  </a:lnTo>
                  <a:lnTo>
                    <a:pt x="9805637" y="5913470"/>
                  </a:lnTo>
                  <a:lnTo>
                    <a:pt x="9832711" y="5864291"/>
                  </a:lnTo>
                  <a:lnTo>
                    <a:pt x="9866073" y="5830367"/>
                  </a:lnTo>
                  <a:lnTo>
                    <a:pt x="9899485" y="5811453"/>
                  </a:lnTo>
                  <a:lnTo>
                    <a:pt x="9906117" y="5779870"/>
                  </a:lnTo>
                  <a:lnTo>
                    <a:pt x="9888286" y="5756656"/>
                  </a:lnTo>
                  <a:lnTo>
                    <a:pt x="9860040" y="5747522"/>
                  </a:lnTo>
                  <a:lnTo>
                    <a:pt x="9831260" y="5747192"/>
                  </a:lnTo>
                  <a:lnTo>
                    <a:pt x="9787015" y="5756405"/>
                  </a:lnTo>
                  <a:lnTo>
                    <a:pt x="9757389" y="5767603"/>
                  </a:lnTo>
                  <a:lnTo>
                    <a:pt x="9732184" y="5763851"/>
                  </a:lnTo>
                  <a:lnTo>
                    <a:pt x="9698729" y="5758865"/>
                  </a:lnTo>
                  <a:lnTo>
                    <a:pt x="9678925" y="5745577"/>
                  </a:lnTo>
                  <a:lnTo>
                    <a:pt x="9662811" y="5727124"/>
                  </a:lnTo>
                  <a:lnTo>
                    <a:pt x="9646695" y="5708671"/>
                  </a:lnTo>
                  <a:lnTo>
                    <a:pt x="9634481" y="5685121"/>
                  </a:lnTo>
                  <a:lnTo>
                    <a:pt x="9616563" y="5663193"/>
                  </a:lnTo>
                  <a:lnTo>
                    <a:pt x="9608991" y="5628510"/>
                  </a:lnTo>
                  <a:lnTo>
                    <a:pt x="9630637" y="5560497"/>
                  </a:lnTo>
                  <a:lnTo>
                    <a:pt x="9617921" y="5540778"/>
                  </a:lnTo>
                  <a:lnTo>
                    <a:pt x="9603767" y="5518758"/>
                  </a:lnTo>
                  <a:lnTo>
                    <a:pt x="9571118" y="5499870"/>
                  </a:lnTo>
                  <a:lnTo>
                    <a:pt x="9540391" y="5482288"/>
                  </a:lnTo>
                  <a:lnTo>
                    <a:pt x="9509664" y="5464706"/>
                  </a:lnTo>
                  <a:lnTo>
                    <a:pt x="9480351" y="5449089"/>
                  </a:lnTo>
                  <a:lnTo>
                    <a:pt x="9472838" y="5410041"/>
                  </a:lnTo>
                  <a:lnTo>
                    <a:pt x="9489972" y="5370841"/>
                  </a:lnTo>
                  <a:lnTo>
                    <a:pt x="9510464" y="5336745"/>
                  </a:lnTo>
                  <a:lnTo>
                    <a:pt x="9530962" y="5302656"/>
                  </a:lnTo>
                  <a:lnTo>
                    <a:pt x="9555184" y="5272669"/>
                  </a:lnTo>
                  <a:lnTo>
                    <a:pt x="9589551" y="5266318"/>
                  </a:lnTo>
                  <a:lnTo>
                    <a:pt x="9613152" y="5275491"/>
                  </a:lnTo>
                  <a:lnTo>
                    <a:pt x="9635610" y="5279620"/>
                  </a:lnTo>
                  <a:lnTo>
                    <a:pt x="9657357" y="5283082"/>
                  </a:lnTo>
                  <a:lnTo>
                    <a:pt x="9685663" y="5273197"/>
                  </a:lnTo>
                  <a:lnTo>
                    <a:pt x="9698518" y="5250912"/>
                  </a:lnTo>
                  <a:lnTo>
                    <a:pt x="9698174" y="5222488"/>
                  </a:lnTo>
                  <a:lnTo>
                    <a:pt x="9700087" y="5193860"/>
                  </a:lnTo>
                  <a:lnTo>
                    <a:pt x="9732178" y="5183044"/>
                  </a:lnTo>
                  <a:lnTo>
                    <a:pt x="9750880" y="5150505"/>
                  </a:lnTo>
                  <a:lnTo>
                    <a:pt x="9743104" y="5126776"/>
                  </a:lnTo>
                  <a:lnTo>
                    <a:pt x="9732178" y="5104149"/>
                  </a:lnTo>
                  <a:lnTo>
                    <a:pt x="9721251" y="5081523"/>
                  </a:lnTo>
                  <a:lnTo>
                    <a:pt x="9707850" y="5059555"/>
                  </a:lnTo>
                  <a:lnTo>
                    <a:pt x="9698174" y="5040225"/>
                  </a:lnTo>
                  <a:lnTo>
                    <a:pt x="9639941" y="5026745"/>
                  </a:lnTo>
                  <a:lnTo>
                    <a:pt x="9586642" y="5027979"/>
                  </a:lnTo>
                  <a:lnTo>
                    <a:pt x="9533334" y="5029212"/>
                  </a:lnTo>
                  <a:lnTo>
                    <a:pt x="9474488" y="5031737"/>
                  </a:lnTo>
                  <a:lnTo>
                    <a:pt x="9445175" y="5021179"/>
                  </a:lnTo>
                  <a:lnTo>
                    <a:pt x="9409112" y="5008187"/>
                  </a:lnTo>
                  <a:lnTo>
                    <a:pt x="9387554" y="4986153"/>
                  </a:lnTo>
                  <a:lnTo>
                    <a:pt x="9370361" y="4959972"/>
                  </a:lnTo>
                  <a:lnTo>
                    <a:pt x="9353174" y="4933790"/>
                  </a:lnTo>
                  <a:lnTo>
                    <a:pt x="9340195" y="4903875"/>
                  </a:lnTo>
                  <a:lnTo>
                    <a:pt x="9321393" y="4875636"/>
                  </a:lnTo>
                  <a:lnTo>
                    <a:pt x="9302619" y="4847430"/>
                  </a:lnTo>
                  <a:lnTo>
                    <a:pt x="9282636" y="4818933"/>
                  </a:lnTo>
                  <a:lnTo>
                    <a:pt x="9262910" y="4791307"/>
                  </a:lnTo>
                  <a:lnTo>
                    <a:pt x="9231545" y="4779944"/>
                  </a:lnTo>
                  <a:lnTo>
                    <a:pt x="9205035" y="4770969"/>
                  </a:lnTo>
                  <a:lnTo>
                    <a:pt x="9182658" y="4757304"/>
                  </a:lnTo>
                  <a:lnTo>
                    <a:pt x="9160287" y="4743632"/>
                  </a:lnTo>
                  <a:lnTo>
                    <a:pt x="9141538" y="4726334"/>
                  </a:lnTo>
                  <a:lnTo>
                    <a:pt x="9124168" y="4697455"/>
                  </a:lnTo>
                  <a:lnTo>
                    <a:pt x="9111757" y="4676813"/>
                  </a:lnTo>
                  <a:lnTo>
                    <a:pt x="9105893" y="4656283"/>
                  </a:lnTo>
                  <a:lnTo>
                    <a:pt x="9088806" y="4637606"/>
                  </a:lnTo>
                  <a:lnTo>
                    <a:pt x="9068296" y="4628400"/>
                  </a:lnTo>
                  <a:lnTo>
                    <a:pt x="9018668" y="4631176"/>
                  </a:lnTo>
                  <a:lnTo>
                    <a:pt x="8970466" y="4640323"/>
                  </a:lnTo>
                  <a:lnTo>
                    <a:pt x="8922271" y="4649471"/>
                  </a:lnTo>
                  <a:lnTo>
                    <a:pt x="8875520" y="4664870"/>
                  </a:lnTo>
                  <a:lnTo>
                    <a:pt x="8846734" y="4709965"/>
                  </a:lnTo>
                  <a:lnTo>
                    <a:pt x="8867620" y="4756064"/>
                  </a:lnTo>
                  <a:lnTo>
                    <a:pt x="8850768" y="4776344"/>
                  </a:lnTo>
                  <a:lnTo>
                    <a:pt x="8823563" y="4795383"/>
                  </a:lnTo>
                  <a:lnTo>
                    <a:pt x="8811325" y="4816743"/>
                  </a:lnTo>
                  <a:lnTo>
                    <a:pt x="8818382" y="4845669"/>
                  </a:lnTo>
                  <a:lnTo>
                    <a:pt x="8829005" y="4866113"/>
                  </a:lnTo>
                  <a:lnTo>
                    <a:pt x="8806371" y="4896846"/>
                  </a:lnTo>
                  <a:lnTo>
                    <a:pt x="8782202" y="4905603"/>
                  </a:lnTo>
                  <a:lnTo>
                    <a:pt x="8761000" y="4910998"/>
                  </a:lnTo>
                  <a:lnTo>
                    <a:pt x="8754681" y="4935993"/>
                  </a:lnTo>
                  <a:lnTo>
                    <a:pt x="8720103" y="4989636"/>
                  </a:lnTo>
                  <a:lnTo>
                    <a:pt x="8699785" y="5006216"/>
                  </a:lnTo>
                  <a:lnTo>
                    <a:pt x="8674493" y="5017763"/>
                  </a:lnTo>
                  <a:lnTo>
                    <a:pt x="8637720" y="5013225"/>
                  </a:lnTo>
                  <a:lnTo>
                    <a:pt x="8597776" y="5007574"/>
                  </a:lnTo>
                  <a:lnTo>
                    <a:pt x="8557825" y="5001922"/>
                  </a:lnTo>
                  <a:lnTo>
                    <a:pt x="8514317" y="4995360"/>
                  </a:lnTo>
                  <a:lnTo>
                    <a:pt x="8479429" y="5003498"/>
                  </a:lnTo>
                  <a:lnTo>
                    <a:pt x="8457648" y="5008576"/>
                  </a:lnTo>
                  <a:lnTo>
                    <a:pt x="8444337" y="5025076"/>
                  </a:lnTo>
                  <a:lnTo>
                    <a:pt x="8431829" y="5042942"/>
                  </a:lnTo>
                  <a:lnTo>
                    <a:pt x="8419318" y="5060808"/>
                  </a:lnTo>
                  <a:lnTo>
                    <a:pt x="8408153" y="5079511"/>
                  </a:lnTo>
                  <a:lnTo>
                    <a:pt x="8370041" y="5106194"/>
                  </a:lnTo>
                  <a:lnTo>
                    <a:pt x="8338635" y="5092338"/>
                  </a:lnTo>
                  <a:lnTo>
                    <a:pt x="8313489" y="5102791"/>
                  </a:lnTo>
                  <a:lnTo>
                    <a:pt x="8286688" y="5124257"/>
                  </a:lnTo>
                  <a:lnTo>
                    <a:pt x="8263105" y="5157687"/>
                  </a:lnTo>
                  <a:lnTo>
                    <a:pt x="8244117" y="5185761"/>
                  </a:lnTo>
                  <a:lnTo>
                    <a:pt x="8226384" y="5196953"/>
                  </a:lnTo>
                  <a:lnTo>
                    <a:pt x="8189717" y="5191202"/>
                  </a:lnTo>
                  <a:lnTo>
                    <a:pt x="8153583" y="5182207"/>
                  </a:lnTo>
                  <a:lnTo>
                    <a:pt x="8115067" y="5193399"/>
                  </a:lnTo>
                  <a:lnTo>
                    <a:pt x="8098364" y="5228529"/>
                  </a:lnTo>
                  <a:lnTo>
                    <a:pt x="8065935" y="5238818"/>
                  </a:lnTo>
                  <a:lnTo>
                    <a:pt x="8035072" y="5233588"/>
                  </a:lnTo>
                  <a:lnTo>
                    <a:pt x="8001068" y="5229769"/>
                  </a:lnTo>
                  <a:lnTo>
                    <a:pt x="7970719" y="5222495"/>
                  </a:lnTo>
                  <a:lnTo>
                    <a:pt x="7916639" y="5204762"/>
                  </a:lnTo>
                  <a:lnTo>
                    <a:pt x="7875506" y="5195291"/>
                  </a:lnTo>
                  <a:lnTo>
                    <a:pt x="7854937" y="5190556"/>
                  </a:lnTo>
                  <a:lnTo>
                    <a:pt x="7833828" y="5187707"/>
                  </a:lnTo>
                  <a:lnTo>
                    <a:pt x="7800209" y="5186533"/>
                  </a:lnTo>
                  <a:lnTo>
                    <a:pt x="7781655" y="5196650"/>
                  </a:lnTo>
                  <a:lnTo>
                    <a:pt x="7759371" y="5224388"/>
                  </a:lnTo>
                  <a:lnTo>
                    <a:pt x="7737168" y="5253412"/>
                  </a:lnTo>
                  <a:lnTo>
                    <a:pt x="7710924" y="5272821"/>
                  </a:lnTo>
                  <a:lnTo>
                    <a:pt x="7683372" y="5290179"/>
                  </a:lnTo>
                  <a:lnTo>
                    <a:pt x="7651412" y="5296272"/>
                  </a:lnTo>
                  <a:lnTo>
                    <a:pt x="7614344" y="5287784"/>
                  </a:lnTo>
                  <a:lnTo>
                    <a:pt x="7576390" y="5268785"/>
                  </a:lnTo>
                  <a:lnTo>
                    <a:pt x="7522325" y="5249462"/>
                  </a:lnTo>
                  <a:lnTo>
                    <a:pt x="7484898" y="5241218"/>
                  </a:lnTo>
                  <a:lnTo>
                    <a:pt x="7449762" y="5229294"/>
                  </a:lnTo>
                  <a:lnTo>
                    <a:pt x="7409380" y="5215583"/>
                  </a:lnTo>
                  <a:lnTo>
                    <a:pt x="7371618" y="5197415"/>
                  </a:lnTo>
                  <a:lnTo>
                    <a:pt x="7330064" y="5185768"/>
                  </a:lnTo>
                  <a:lnTo>
                    <a:pt x="7305709" y="5214904"/>
                  </a:lnTo>
                  <a:lnTo>
                    <a:pt x="7265525" y="5243988"/>
                  </a:lnTo>
                  <a:lnTo>
                    <a:pt x="7245511" y="5250708"/>
                  </a:lnTo>
                  <a:lnTo>
                    <a:pt x="7213314" y="5248690"/>
                  </a:lnTo>
                  <a:lnTo>
                    <a:pt x="7191325" y="5229294"/>
                  </a:lnTo>
                  <a:lnTo>
                    <a:pt x="7172498" y="5205058"/>
                  </a:lnTo>
                  <a:lnTo>
                    <a:pt x="7153023" y="5185524"/>
                  </a:lnTo>
                  <a:lnTo>
                    <a:pt x="7127394" y="5181686"/>
                  </a:lnTo>
                  <a:lnTo>
                    <a:pt x="7085676" y="5200943"/>
                  </a:lnTo>
                  <a:lnTo>
                    <a:pt x="7055352" y="5187944"/>
                  </a:lnTo>
                  <a:lnTo>
                    <a:pt x="7037170" y="5173535"/>
                  </a:lnTo>
                  <a:lnTo>
                    <a:pt x="7021304" y="5157206"/>
                  </a:lnTo>
                  <a:lnTo>
                    <a:pt x="7005429" y="5140870"/>
                  </a:lnTo>
                  <a:lnTo>
                    <a:pt x="6992608" y="5121890"/>
                  </a:lnTo>
                  <a:lnTo>
                    <a:pt x="6991653" y="5085644"/>
                  </a:lnTo>
                  <a:lnTo>
                    <a:pt x="7010719" y="4994233"/>
                  </a:lnTo>
                  <a:lnTo>
                    <a:pt x="6998180" y="4976300"/>
                  </a:lnTo>
                  <a:lnTo>
                    <a:pt x="6958862" y="4957571"/>
                  </a:lnTo>
                  <a:lnTo>
                    <a:pt x="6912759" y="4967562"/>
                  </a:lnTo>
                  <a:lnTo>
                    <a:pt x="6890723" y="4984459"/>
                  </a:lnTo>
                  <a:lnTo>
                    <a:pt x="6858186" y="4982289"/>
                  </a:lnTo>
                  <a:lnTo>
                    <a:pt x="6802946" y="4923463"/>
                  </a:lnTo>
                  <a:lnTo>
                    <a:pt x="6754235" y="4872583"/>
                  </a:lnTo>
                  <a:lnTo>
                    <a:pt x="6701656" y="4825317"/>
                  </a:lnTo>
                  <a:lnTo>
                    <a:pt x="6712195" y="4733569"/>
                  </a:lnTo>
                  <a:lnTo>
                    <a:pt x="6737018" y="4715143"/>
                  </a:lnTo>
                  <a:lnTo>
                    <a:pt x="6781697" y="4728577"/>
                  </a:lnTo>
                  <a:lnTo>
                    <a:pt x="6807686" y="4709023"/>
                  </a:lnTo>
                  <a:lnTo>
                    <a:pt x="6818101" y="4689983"/>
                  </a:lnTo>
                  <a:lnTo>
                    <a:pt x="6847606" y="4627009"/>
                  </a:lnTo>
                  <a:lnTo>
                    <a:pt x="6853141" y="4595359"/>
                  </a:lnTo>
                  <a:lnTo>
                    <a:pt x="6849913" y="4562800"/>
                  </a:lnTo>
                  <a:lnTo>
                    <a:pt x="6846698" y="4530248"/>
                  </a:lnTo>
                  <a:lnTo>
                    <a:pt x="6835551" y="4496910"/>
                  </a:lnTo>
                  <a:lnTo>
                    <a:pt x="6822712" y="4447185"/>
                  </a:lnTo>
                  <a:lnTo>
                    <a:pt x="6812567" y="4407913"/>
                  </a:lnTo>
                  <a:lnTo>
                    <a:pt x="6782606" y="4357198"/>
                  </a:lnTo>
                  <a:lnTo>
                    <a:pt x="6751981" y="4330211"/>
                  </a:lnTo>
                  <a:lnTo>
                    <a:pt x="6728773" y="4309721"/>
                  </a:lnTo>
                  <a:lnTo>
                    <a:pt x="6643020" y="4248448"/>
                  </a:lnTo>
                  <a:lnTo>
                    <a:pt x="6628200" y="4225471"/>
                  </a:lnTo>
                  <a:lnTo>
                    <a:pt x="6649160" y="4152934"/>
                  </a:lnTo>
                  <a:lnTo>
                    <a:pt x="6623834" y="4130524"/>
                  </a:lnTo>
                  <a:lnTo>
                    <a:pt x="6602381" y="4128796"/>
                  </a:lnTo>
                  <a:lnTo>
                    <a:pt x="6580599" y="4130261"/>
                  </a:lnTo>
                  <a:lnTo>
                    <a:pt x="6558809" y="4131725"/>
                  </a:lnTo>
                  <a:lnTo>
                    <a:pt x="6536531" y="4135279"/>
                  </a:lnTo>
                  <a:lnTo>
                    <a:pt x="6496803" y="4136163"/>
                  </a:lnTo>
                  <a:lnTo>
                    <a:pt x="6470423" y="4120737"/>
                  </a:lnTo>
                  <a:lnTo>
                    <a:pt x="6458315" y="4086959"/>
                  </a:lnTo>
                  <a:lnTo>
                    <a:pt x="6467707" y="4050007"/>
                  </a:lnTo>
                  <a:lnTo>
                    <a:pt x="6473254" y="4028132"/>
                  </a:lnTo>
                  <a:lnTo>
                    <a:pt x="6500794" y="4001297"/>
                  </a:lnTo>
                  <a:lnTo>
                    <a:pt x="6433697" y="3961596"/>
                  </a:lnTo>
                  <a:lnTo>
                    <a:pt x="6421307" y="3939536"/>
                  </a:lnTo>
                  <a:lnTo>
                    <a:pt x="6424516" y="3917898"/>
                  </a:lnTo>
                  <a:lnTo>
                    <a:pt x="6426897" y="3890865"/>
                  </a:lnTo>
                  <a:lnTo>
                    <a:pt x="6363540" y="3865171"/>
                  </a:lnTo>
                  <a:lnTo>
                    <a:pt x="6319059" y="3880089"/>
                  </a:lnTo>
                  <a:lnTo>
                    <a:pt x="6301060" y="3907775"/>
                  </a:lnTo>
                  <a:lnTo>
                    <a:pt x="6277278" y="3920786"/>
                  </a:lnTo>
                  <a:lnTo>
                    <a:pt x="6254796" y="3933086"/>
                  </a:lnTo>
                  <a:lnTo>
                    <a:pt x="6227396" y="3937366"/>
                  </a:lnTo>
                  <a:lnTo>
                    <a:pt x="6198384" y="3938474"/>
                  </a:lnTo>
                  <a:lnTo>
                    <a:pt x="6169375" y="3939582"/>
                  </a:lnTo>
                  <a:lnTo>
                    <a:pt x="6139426" y="3937069"/>
                  </a:lnTo>
                  <a:lnTo>
                    <a:pt x="6108616" y="3933027"/>
                  </a:lnTo>
                  <a:lnTo>
                    <a:pt x="6046979" y="3924961"/>
                  </a:lnTo>
                  <a:lnTo>
                    <a:pt x="5985823" y="3913110"/>
                  </a:lnTo>
                  <a:lnTo>
                    <a:pt x="5945392" y="3920786"/>
                  </a:lnTo>
                  <a:lnTo>
                    <a:pt x="5918386" y="3925917"/>
                  </a:lnTo>
                  <a:lnTo>
                    <a:pt x="5896682" y="3944482"/>
                  </a:lnTo>
                  <a:lnTo>
                    <a:pt x="5874655" y="3965671"/>
                  </a:lnTo>
                  <a:lnTo>
                    <a:pt x="5852635" y="3986868"/>
                  </a:lnTo>
                  <a:lnTo>
                    <a:pt x="5830568" y="4010550"/>
                  </a:lnTo>
                  <a:lnTo>
                    <a:pt x="5802566" y="4021445"/>
                  </a:lnTo>
                  <a:lnTo>
                    <a:pt x="5784871" y="4007259"/>
                  </a:lnTo>
                  <a:lnTo>
                    <a:pt x="5743454" y="3978209"/>
                  </a:lnTo>
                  <a:lnTo>
                    <a:pt x="5700554" y="3958872"/>
                  </a:lnTo>
                  <a:lnTo>
                    <a:pt x="5679101" y="3949204"/>
                  </a:lnTo>
                  <a:lnTo>
                    <a:pt x="5657074" y="3941910"/>
                  </a:lnTo>
                  <a:lnTo>
                    <a:pt x="5618891" y="3937755"/>
                  </a:lnTo>
                  <a:lnTo>
                    <a:pt x="5591733" y="3952073"/>
                  </a:lnTo>
                  <a:lnTo>
                    <a:pt x="5577067" y="3992698"/>
                  </a:lnTo>
                  <a:lnTo>
                    <a:pt x="5563170" y="4013280"/>
                  </a:lnTo>
                  <a:lnTo>
                    <a:pt x="5549273" y="4033863"/>
                  </a:lnTo>
                  <a:lnTo>
                    <a:pt x="5532208" y="4050423"/>
                  </a:lnTo>
                  <a:lnTo>
                    <a:pt x="5496259" y="4048398"/>
                  </a:lnTo>
                  <a:lnTo>
                    <a:pt x="5473399" y="4029602"/>
                  </a:lnTo>
                  <a:lnTo>
                    <a:pt x="5455930" y="4004548"/>
                  </a:lnTo>
                  <a:lnTo>
                    <a:pt x="5439178" y="3975768"/>
                  </a:lnTo>
                  <a:lnTo>
                    <a:pt x="5418993" y="3947990"/>
                  </a:lnTo>
                  <a:lnTo>
                    <a:pt x="5393128" y="3922699"/>
                  </a:lnTo>
                  <a:lnTo>
                    <a:pt x="5353220" y="3907273"/>
                  </a:lnTo>
                  <a:lnTo>
                    <a:pt x="5316974" y="3911270"/>
                  </a:lnTo>
                  <a:lnTo>
                    <a:pt x="5282530" y="3923787"/>
                  </a:lnTo>
                  <a:lnTo>
                    <a:pt x="5250761" y="3939562"/>
                  </a:lnTo>
                  <a:lnTo>
                    <a:pt x="5220400" y="3950721"/>
                  </a:lnTo>
                  <a:lnTo>
                    <a:pt x="5187385" y="3954164"/>
                  </a:lnTo>
                  <a:lnTo>
                    <a:pt x="5166097" y="3942095"/>
                  </a:lnTo>
                  <a:lnTo>
                    <a:pt x="5153942" y="3921492"/>
                  </a:lnTo>
                  <a:lnTo>
                    <a:pt x="5149980" y="3898179"/>
                  </a:lnTo>
                  <a:lnTo>
                    <a:pt x="5162627" y="3871925"/>
                  </a:lnTo>
                  <a:lnTo>
                    <a:pt x="5178232" y="3845980"/>
                  </a:lnTo>
                  <a:lnTo>
                    <a:pt x="5193841" y="3820043"/>
                  </a:lnTo>
                  <a:lnTo>
                    <a:pt x="5212268" y="3795628"/>
                  </a:lnTo>
                  <a:lnTo>
                    <a:pt x="5232626" y="3758235"/>
                  </a:lnTo>
                  <a:lnTo>
                    <a:pt x="5243059" y="3730873"/>
                  </a:lnTo>
                  <a:lnTo>
                    <a:pt x="5253043" y="3707244"/>
                  </a:lnTo>
                  <a:lnTo>
                    <a:pt x="5276654" y="3651305"/>
                  </a:lnTo>
                  <a:lnTo>
                    <a:pt x="5287754" y="3596792"/>
                  </a:lnTo>
                  <a:lnTo>
                    <a:pt x="5296572" y="3537214"/>
                  </a:lnTo>
                  <a:lnTo>
                    <a:pt x="5310448" y="3480260"/>
                  </a:lnTo>
                  <a:lnTo>
                    <a:pt x="5299078" y="3438218"/>
                  </a:lnTo>
                  <a:lnTo>
                    <a:pt x="5255769" y="3412076"/>
                  </a:lnTo>
                  <a:lnTo>
                    <a:pt x="5218047" y="3385854"/>
                  </a:lnTo>
                  <a:lnTo>
                    <a:pt x="5177063" y="3352293"/>
                  </a:lnTo>
                  <a:lnTo>
                    <a:pt x="5134706" y="3333187"/>
                  </a:lnTo>
                  <a:lnTo>
                    <a:pt x="5102200" y="3318520"/>
                  </a:lnTo>
                  <a:lnTo>
                    <a:pt x="5042786" y="3305040"/>
                  </a:lnTo>
                  <a:lnTo>
                    <a:pt x="4987804" y="3288303"/>
                  </a:lnTo>
                  <a:lnTo>
                    <a:pt x="4960317" y="3279926"/>
                  </a:lnTo>
                  <a:lnTo>
                    <a:pt x="4934808" y="3270331"/>
                  </a:lnTo>
                  <a:lnTo>
                    <a:pt x="4912999" y="3259740"/>
                  </a:lnTo>
                  <a:lnTo>
                    <a:pt x="4891189" y="3249141"/>
                  </a:lnTo>
                  <a:lnTo>
                    <a:pt x="4865389" y="3224372"/>
                  </a:lnTo>
                  <a:lnTo>
                    <a:pt x="4851744" y="3202258"/>
                  </a:lnTo>
                  <a:lnTo>
                    <a:pt x="4849549" y="3172093"/>
                  </a:lnTo>
                  <a:lnTo>
                    <a:pt x="4853148" y="3138677"/>
                  </a:lnTo>
                  <a:lnTo>
                    <a:pt x="4856751" y="3105261"/>
                  </a:lnTo>
                  <a:lnTo>
                    <a:pt x="4865746" y="3068363"/>
                  </a:lnTo>
                  <a:lnTo>
                    <a:pt x="4874911" y="3028503"/>
                  </a:lnTo>
                  <a:lnTo>
                    <a:pt x="4884074" y="2988643"/>
                  </a:lnTo>
                  <a:lnTo>
                    <a:pt x="4893630" y="2946165"/>
                  </a:lnTo>
                  <a:lnTo>
                    <a:pt x="4896674" y="2904723"/>
                  </a:lnTo>
                  <a:lnTo>
                    <a:pt x="4899722" y="2863287"/>
                  </a:lnTo>
                  <a:lnTo>
                    <a:pt x="4896479" y="2823190"/>
                  </a:lnTo>
                  <a:lnTo>
                    <a:pt x="4881711" y="2785026"/>
                  </a:lnTo>
                  <a:lnTo>
                    <a:pt x="4871253" y="2757973"/>
                  </a:lnTo>
                  <a:lnTo>
                    <a:pt x="4857588" y="2739270"/>
                  </a:lnTo>
                  <a:lnTo>
                    <a:pt x="4842268" y="2723818"/>
                  </a:lnTo>
                  <a:lnTo>
                    <a:pt x="4826948" y="2708366"/>
                  </a:lnTo>
                  <a:lnTo>
                    <a:pt x="4809346" y="2695420"/>
                  </a:lnTo>
                  <a:lnTo>
                    <a:pt x="4790579" y="2676210"/>
                  </a:lnTo>
                  <a:lnTo>
                    <a:pt x="4771228" y="2650852"/>
                  </a:lnTo>
                  <a:lnTo>
                    <a:pt x="4747359" y="2628120"/>
                  </a:lnTo>
                  <a:lnTo>
                    <a:pt x="4715764" y="2623160"/>
                  </a:lnTo>
                  <a:lnTo>
                    <a:pt x="4684160" y="2628812"/>
                  </a:lnTo>
                  <a:lnTo>
                    <a:pt x="4651985" y="2649071"/>
                  </a:lnTo>
                  <a:lnTo>
                    <a:pt x="4619197" y="2642206"/>
                  </a:lnTo>
                  <a:lnTo>
                    <a:pt x="4589372" y="2625864"/>
                  </a:lnTo>
                  <a:lnTo>
                    <a:pt x="4567398" y="2595976"/>
                  </a:lnTo>
                  <a:lnTo>
                    <a:pt x="4544383" y="2568759"/>
                  </a:lnTo>
                  <a:lnTo>
                    <a:pt x="4500857" y="2560469"/>
                  </a:lnTo>
                  <a:lnTo>
                    <a:pt x="4445090" y="2635407"/>
                  </a:lnTo>
                  <a:lnTo>
                    <a:pt x="4396162" y="2627097"/>
                  </a:lnTo>
                  <a:lnTo>
                    <a:pt x="4366629" y="2589717"/>
                  </a:lnTo>
                  <a:lnTo>
                    <a:pt x="4358425" y="2529928"/>
                  </a:lnTo>
                  <a:lnTo>
                    <a:pt x="4353954" y="2468107"/>
                  </a:lnTo>
                  <a:lnTo>
                    <a:pt x="4349483" y="2406280"/>
                  </a:lnTo>
                  <a:lnTo>
                    <a:pt x="4349399" y="2342198"/>
                  </a:lnTo>
                  <a:lnTo>
                    <a:pt x="4351238" y="2304884"/>
                  </a:lnTo>
                  <a:lnTo>
                    <a:pt x="4353539" y="2258290"/>
                  </a:lnTo>
                  <a:lnTo>
                    <a:pt x="4353356" y="2209528"/>
                  </a:lnTo>
                  <a:lnTo>
                    <a:pt x="4355312" y="2160699"/>
                  </a:lnTo>
                  <a:lnTo>
                    <a:pt x="4357278" y="2111871"/>
                  </a:lnTo>
                  <a:lnTo>
                    <a:pt x="4361327" y="2063583"/>
                  </a:lnTo>
                  <a:lnTo>
                    <a:pt x="4371637" y="2017880"/>
                  </a:lnTo>
                  <a:lnTo>
                    <a:pt x="4392125" y="1927022"/>
                  </a:lnTo>
                  <a:lnTo>
                    <a:pt x="4414983" y="1866079"/>
                  </a:lnTo>
                  <a:lnTo>
                    <a:pt x="4426043" y="1805689"/>
                  </a:lnTo>
                  <a:lnTo>
                    <a:pt x="4431571" y="1775491"/>
                  </a:lnTo>
                  <a:lnTo>
                    <a:pt x="4433642" y="1745312"/>
                  </a:lnTo>
                  <a:lnTo>
                    <a:pt x="4431484" y="1711834"/>
                  </a:lnTo>
                  <a:lnTo>
                    <a:pt x="4429329" y="1678353"/>
                  </a:lnTo>
                  <a:lnTo>
                    <a:pt x="4423116" y="1641609"/>
                  </a:lnTo>
                  <a:lnTo>
                    <a:pt x="4409721" y="1597577"/>
                  </a:lnTo>
                  <a:lnTo>
                    <a:pt x="4399843" y="1560400"/>
                  </a:lnTo>
                  <a:lnTo>
                    <a:pt x="4393400" y="1540448"/>
                  </a:lnTo>
                  <a:lnTo>
                    <a:pt x="4386957" y="1520498"/>
                  </a:lnTo>
                  <a:lnTo>
                    <a:pt x="4367553" y="1488761"/>
                  </a:lnTo>
                  <a:lnTo>
                    <a:pt x="4372877" y="1468337"/>
                  </a:lnTo>
                  <a:lnTo>
                    <a:pt x="4394758" y="1457476"/>
                  </a:lnTo>
                  <a:lnTo>
                    <a:pt x="4421355" y="1456922"/>
                  </a:lnTo>
                  <a:lnTo>
                    <a:pt x="4452497" y="1463474"/>
                  </a:lnTo>
                  <a:lnTo>
                    <a:pt x="4484535" y="1465638"/>
                  </a:lnTo>
                  <a:lnTo>
                    <a:pt x="4514977" y="1457306"/>
                  </a:lnTo>
                  <a:lnTo>
                    <a:pt x="4526703" y="1439794"/>
                  </a:lnTo>
                  <a:lnTo>
                    <a:pt x="4528061" y="1418031"/>
                  </a:lnTo>
                  <a:lnTo>
                    <a:pt x="4515814" y="1397628"/>
                  </a:lnTo>
                  <a:lnTo>
                    <a:pt x="4506292" y="1371784"/>
                  </a:lnTo>
                  <a:lnTo>
                    <a:pt x="4499492" y="1345940"/>
                  </a:lnTo>
                  <a:lnTo>
                    <a:pt x="4498131" y="1324177"/>
                  </a:lnTo>
                  <a:lnTo>
                    <a:pt x="4468679" y="1304917"/>
                  </a:lnTo>
                  <a:lnTo>
                    <a:pt x="4454825" y="1270034"/>
                  </a:lnTo>
                  <a:lnTo>
                    <a:pt x="4428762" y="1260247"/>
                  </a:lnTo>
                  <a:lnTo>
                    <a:pt x="4375546" y="1240313"/>
                  </a:lnTo>
                  <a:lnTo>
                    <a:pt x="4297331" y="1273127"/>
                  </a:lnTo>
                  <a:lnTo>
                    <a:pt x="4253297" y="1235764"/>
                  </a:lnTo>
                  <a:lnTo>
                    <a:pt x="4216490" y="1204501"/>
                  </a:lnTo>
                  <a:lnTo>
                    <a:pt x="4255145" y="1128053"/>
                  </a:lnTo>
                  <a:lnTo>
                    <a:pt x="4183924" y="1092943"/>
                  </a:lnTo>
                  <a:lnTo>
                    <a:pt x="4126247" y="1064507"/>
                  </a:lnTo>
                  <a:lnTo>
                    <a:pt x="4063463" y="1099701"/>
                  </a:lnTo>
                  <a:lnTo>
                    <a:pt x="4005743" y="1084782"/>
                  </a:lnTo>
                  <a:lnTo>
                    <a:pt x="3979602" y="1078023"/>
                  </a:lnTo>
                  <a:lnTo>
                    <a:pt x="3953374" y="1066228"/>
                  </a:lnTo>
                  <a:lnTo>
                    <a:pt x="3930932" y="1050777"/>
                  </a:lnTo>
                  <a:lnTo>
                    <a:pt x="3757590" y="858011"/>
                  </a:lnTo>
                  <a:lnTo>
                    <a:pt x="3746958" y="816610"/>
                  </a:lnTo>
                  <a:lnTo>
                    <a:pt x="3775484" y="805261"/>
                  </a:lnTo>
                  <a:lnTo>
                    <a:pt x="3792187" y="792339"/>
                  </a:lnTo>
                  <a:lnTo>
                    <a:pt x="3796521" y="552370"/>
                  </a:lnTo>
                  <a:lnTo>
                    <a:pt x="3790829" y="524379"/>
                  </a:lnTo>
                  <a:lnTo>
                    <a:pt x="3752388" y="486592"/>
                  </a:lnTo>
                  <a:lnTo>
                    <a:pt x="3666225" y="457114"/>
                  </a:lnTo>
                  <a:lnTo>
                    <a:pt x="3616731" y="433247"/>
                  </a:lnTo>
                  <a:lnTo>
                    <a:pt x="3569946" y="410697"/>
                  </a:lnTo>
                  <a:lnTo>
                    <a:pt x="3497923" y="348404"/>
                  </a:lnTo>
                  <a:lnTo>
                    <a:pt x="3463022" y="306749"/>
                  </a:lnTo>
                  <a:lnTo>
                    <a:pt x="3438267" y="281946"/>
                  </a:lnTo>
                  <a:lnTo>
                    <a:pt x="3404920" y="229132"/>
                  </a:lnTo>
                  <a:lnTo>
                    <a:pt x="3380389" y="182779"/>
                  </a:lnTo>
                  <a:lnTo>
                    <a:pt x="3348766" y="150325"/>
                  </a:lnTo>
                  <a:lnTo>
                    <a:pt x="3273657" y="73241"/>
                  </a:lnTo>
                  <a:lnTo>
                    <a:pt x="3154216" y="52795"/>
                  </a:lnTo>
                  <a:lnTo>
                    <a:pt x="3050880" y="63273"/>
                  </a:lnTo>
                  <a:lnTo>
                    <a:pt x="2995668" y="68862"/>
                  </a:lnTo>
                  <a:lnTo>
                    <a:pt x="2940264" y="82252"/>
                  </a:lnTo>
                  <a:lnTo>
                    <a:pt x="2884940" y="83676"/>
                  </a:lnTo>
                  <a:lnTo>
                    <a:pt x="2782503" y="86331"/>
                  </a:lnTo>
                  <a:lnTo>
                    <a:pt x="2675684" y="67013"/>
                  </a:lnTo>
                  <a:lnTo>
                    <a:pt x="2572097" y="90476"/>
                  </a:lnTo>
                  <a:lnTo>
                    <a:pt x="2450631" y="98064"/>
                  </a:lnTo>
                  <a:lnTo>
                    <a:pt x="2413589" y="171557"/>
                  </a:lnTo>
                  <a:lnTo>
                    <a:pt x="2339503" y="250980"/>
                  </a:lnTo>
                  <a:lnTo>
                    <a:pt x="2280121" y="235359"/>
                  </a:lnTo>
                  <a:lnTo>
                    <a:pt x="2302135" y="196083"/>
                  </a:lnTo>
                  <a:lnTo>
                    <a:pt x="2261967" y="169368"/>
                  </a:lnTo>
                  <a:lnTo>
                    <a:pt x="2154984" y="168689"/>
                  </a:lnTo>
                  <a:lnTo>
                    <a:pt x="2145013" y="318437"/>
                  </a:lnTo>
                  <a:lnTo>
                    <a:pt x="2086502" y="348914"/>
                  </a:lnTo>
                  <a:lnTo>
                    <a:pt x="2025907" y="380454"/>
                  </a:lnTo>
                  <a:lnTo>
                    <a:pt x="2014968" y="329192"/>
                  </a:lnTo>
                  <a:lnTo>
                    <a:pt x="1943683" y="323070"/>
                  </a:lnTo>
                  <a:lnTo>
                    <a:pt x="1921814" y="321198"/>
                  </a:lnTo>
                  <a:lnTo>
                    <a:pt x="1896120" y="318204"/>
                  </a:lnTo>
                  <a:lnTo>
                    <a:pt x="1874310" y="320350"/>
                  </a:lnTo>
                  <a:lnTo>
                    <a:pt x="1789810" y="328703"/>
                  </a:lnTo>
                  <a:lnTo>
                    <a:pt x="1692746" y="372463"/>
                  </a:lnTo>
                  <a:lnTo>
                    <a:pt x="1651238" y="261862"/>
                  </a:lnTo>
                  <a:lnTo>
                    <a:pt x="1640020" y="231980"/>
                  </a:lnTo>
                  <a:lnTo>
                    <a:pt x="1642994" y="198102"/>
                  </a:lnTo>
                  <a:lnTo>
                    <a:pt x="1632198" y="169368"/>
                  </a:lnTo>
                  <a:lnTo>
                    <a:pt x="1583673" y="61572"/>
                  </a:lnTo>
                  <a:lnTo>
                    <a:pt x="1528117" y="0"/>
                  </a:lnTo>
                  <a:lnTo>
                    <a:pt x="1407061" y="37577"/>
                  </a:lnTo>
                  <a:lnTo>
                    <a:pt x="1341112" y="53754"/>
                  </a:lnTo>
                  <a:lnTo>
                    <a:pt x="1320716" y="58748"/>
                  </a:lnTo>
                  <a:lnTo>
                    <a:pt x="1260630" y="67887"/>
                  </a:lnTo>
                  <a:lnTo>
                    <a:pt x="1232278" y="87823"/>
                  </a:lnTo>
                  <a:lnTo>
                    <a:pt x="1208831" y="120339"/>
                  </a:lnTo>
                  <a:lnTo>
                    <a:pt x="1180613" y="174535"/>
                  </a:lnTo>
                  <a:lnTo>
                    <a:pt x="1187260" y="247220"/>
                  </a:lnTo>
                  <a:lnTo>
                    <a:pt x="1150686" y="272745"/>
                  </a:lnTo>
                  <a:lnTo>
                    <a:pt x="1071730" y="327812"/>
                  </a:lnTo>
                  <a:lnTo>
                    <a:pt x="961386" y="220548"/>
                  </a:lnTo>
                  <a:lnTo>
                    <a:pt x="903132" y="270025"/>
                  </a:lnTo>
                  <a:lnTo>
                    <a:pt x="885828" y="289387"/>
                  </a:lnTo>
                  <a:lnTo>
                    <a:pt x="869512" y="328152"/>
                  </a:lnTo>
                  <a:lnTo>
                    <a:pt x="870337" y="359564"/>
                  </a:lnTo>
                  <a:lnTo>
                    <a:pt x="862322" y="388362"/>
                  </a:lnTo>
                  <a:lnTo>
                    <a:pt x="850723" y="429912"/>
                  </a:lnTo>
                  <a:lnTo>
                    <a:pt x="798565" y="589034"/>
                  </a:lnTo>
                  <a:lnTo>
                    <a:pt x="760313" y="603274"/>
                  </a:lnTo>
                  <a:lnTo>
                    <a:pt x="708747" y="622465"/>
                  </a:lnTo>
                  <a:lnTo>
                    <a:pt x="633981" y="529484"/>
                  </a:lnTo>
                  <a:lnTo>
                    <a:pt x="546757" y="532543"/>
                  </a:lnTo>
                  <a:lnTo>
                    <a:pt x="383058" y="538288"/>
                  </a:lnTo>
                  <a:lnTo>
                    <a:pt x="357621" y="644544"/>
                  </a:lnTo>
                  <a:lnTo>
                    <a:pt x="301921" y="679445"/>
                  </a:lnTo>
                  <a:lnTo>
                    <a:pt x="316213" y="703213"/>
                  </a:lnTo>
                  <a:lnTo>
                    <a:pt x="339314" y="746707"/>
                  </a:lnTo>
                  <a:lnTo>
                    <a:pt x="365852" y="754256"/>
                  </a:lnTo>
                  <a:lnTo>
                    <a:pt x="400429" y="731833"/>
                  </a:lnTo>
                  <a:lnTo>
                    <a:pt x="422977" y="718890"/>
                  </a:lnTo>
                  <a:lnTo>
                    <a:pt x="439715" y="732896"/>
                  </a:lnTo>
                  <a:lnTo>
                    <a:pt x="445214" y="767324"/>
                  </a:lnTo>
                  <a:lnTo>
                    <a:pt x="444746" y="803223"/>
                  </a:lnTo>
                  <a:lnTo>
                    <a:pt x="444278" y="839123"/>
                  </a:lnTo>
                  <a:lnTo>
                    <a:pt x="438449" y="875409"/>
                  </a:lnTo>
                  <a:lnTo>
                    <a:pt x="432460" y="931889"/>
                  </a:lnTo>
                  <a:lnTo>
                    <a:pt x="438218" y="965958"/>
                  </a:lnTo>
                  <a:lnTo>
                    <a:pt x="439300" y="1004533"/>
                  </a:lnTo>
                  <a:lnTo>
                    <a:pt x="440123" y="1033543"/>
                  </a:lnTo>
                  <a:lnTo>
                    <a:pt x="422535" y="1075202"/>
                  </a:lnTo>
                  <a:lnTo>
                    <a:pt x="410737" y="1099746"/>
                  </a:lnTo>
                  <a:lnTo>
                    <a:pt x="382813" y="1157813"/>
                  </a:lnTo>
                  <a:lnTo>
                    <a:pt x="358874" y="1193722"/>
                  </a:lnTo>
                  <a:lnTo>
                    <a:pt x="329125" y="1223524"/>
                  </a:lnTo>
                  <a:lnTo>
                    <a:pt x="299369" y="1253327"/>
                  </a:lnTo>
                  <a:lnTo>
                    <a:pt x="263077" y="1277780"/>
                  </a:lnTo>
                  <a:lnTo>
                    <a:pt x="210787" y="1314658"/>
                  </a:lnTo>
                  <a:lnTo>
                    <a:pt x="177066" y="1338438"/>
                  </a:lnTo>
                  <a:lnTo>
                    <a:pt x="148305" y="1355660"/>
                  </a:lnTo>
                  <a:lnTo>
                    <a:pt x="116934" y="1366346"/>
                  </a:lnTo>
                  <a:lnTo>
                    <a:pt x="85562" y="1377030"/>
                  </a:lnTo>
                  <a:lnTo>
                    <a:pt x="51434" y="1381052"/>
                  </a:lnTo>
                  <a:lnTo>
                    <a:pt x="9477" y="1375867"/>
                  </a:lnTo>
                  <a:lnTo>
                    <a:pt x="0" y="1411821"/>
                  </a:lnTo>
                  <a:lnTo>
                    <a:pt x="33858" y="1475643"/>
                  </a:lnTo>
                  <a:lnTo>
                    <a:pt x="40763" y="1509160"/>
                  </a:lnTo>
                  <a:lnTo>
                    <a:pt x="54289" y="1553005"/>
                  </a:lnTo>
                  <a:lnTo>
                    <a:pt x="75748" y="1600081"/>
                  </a:lnTo>
                  <a:lnTo>
                    <a:pt x="81571" y="1637019"/>
                  </a:lnTo>
                  <a:lnTo>
                    <a:pt x="88695" y="1682097"/>
                  </a:lnTo>
                  <a:lnTo>
                    <a:pt x="90007" y="1731443"/>
                  </a:lnTo>
                  <a:lnTo>
                    <a:pt x="93819" y="1777120"/>
                  </a:lnTo>
                  <a:lnTo>
                    <a:pt x="96628" y="1810839"/>
                  </a:lnTo>
                  <a:lnTo>
                    <a:pt x="105730" y="1862787"/>
                  </a:lnTo>
                  <a:lnTo>
                    <a:pt x="118299" y="1914498"/>
                  </a:lnTo>
                  <a:lnTo>
                    <a:pt x="130869" y="1966209"/>
                  </a:lnTo>
                  <a:lnTo>
                    <a:pt x="146209" y="2018137"/>
                  </a:lnTo>
                  <a:lnTo>
                    <a:pt x="163183" y="2049160"/>
                  </a:lnTo>
                  <a:lnTo>
                    <a:pt x="253324" y="1914841"/>
                  </a:lnTo>
                  <a:lnTo>
                    <a:pt x="265200" y="1895459"/>
                  </a:lnTo>
                  <a:lnTo>
                    <a:pt x="320737" y="1897338"/>
                  </a:lnTo>
                  <a:lnTo>
                    <a:pt x="380525" y="1931724"/>
                  </a:lnTo>
                  <a:lnTo>
                    <a:pt x="433865" y="1972988"/>
                  </a:lnTo>
                  <a:lnTo>
                    <a:pt x="460534" y="1993617"/>
                  </a:lnTo>
                  <a:lnTo>
                    <a:pt x="485939" y="2016020"/>
                  </a:lnTo>
                  <a:lnTo>
                    <a:pt x="505955" y="2038278"/>
                  </a:lnTo>
                  <a:lnTo>
                    <a:pt x="525977" y="2060536"/>
                  </a:lnTo>
                  <a:lnTo>
                    <a:pt x="540188" y="2082444"/>
                  </a:lnTo>
                  <a:lnTo>
                    <a:pt x="560322" y="2121545"/>
                  </a:lnTo>
                  <a:lnTo>
                    <a:pt x="563785" y="2151704"/>
                  </a:lnTo>
                  <a:lnTo>
                    <a:pt x="567162" y="2174298"/>
                  </a:lnTo>
                  <a:lnTo>
                    <a:pt x="622005" y="2196312"/>
                  </a:lnTo>
                  <a:lnTo>
                    <a:pt x="667615" y="2206586"/>
                  </a:lnTo>
                  <a:lnTo>
                    <a:pt x="704546" y="2225982"/>
                  </a:lnTo>
                  <a:lnTo>
                    <a:pt x="738834" y="2248484"/>
                  </a:lnTo>
                  <a:lnTo>
                    <a:pt x="765477" y="2279658"/>
                  </a:lnTo>
                  <a:lnTo>
                    <a:pt x="775258" y="2298539"/>
                  </a:lnTo>
                  <a:lnTo>
                    <a:pt x="780718" y="2322558"/>
                  </a:lnTo>
                  <a:lnTo>
                    <a:pt x="787517" y="2352485"/>
                  </a:lnTo>
                  <a:lnTo>
                    <a:pt x="786159" y="2382407"/>
                  </a:lnTo>
                  <a:lnTo>
                    <a:pt x="776634" y="2404117"/>
                  </a:lnTo>
                  <a:lnTo>
                    <a:pt x="760392" y="2423374"/>
                  </a:lnTo>
                  <a:lnTo>
                    <a:pt x="743998" y="2442255"/>
                  </a:lnTo>
                  <a:lnTo>
                    <a:pt x="727596" y="2461137"/>
                  </a:lnTo>
                  <a:lnTo>
                    <a:pt x="711009" y="2479595"/>
                  </a:lnTo>
                  <a:lnTo>
                    <a:pt x="700464" y="2502104"/>
                  </a:lnTo>
                  <a:lnTo>
                    <a:pt x="689846" y="2546910"/>
                  </a:lnTo>
                  <a:lnTo>
                    <a:pt x="688224" y="2578275"/>
                  </a:lnTo>
                  <a:lnTo>
                    <a:pt x="686601" y="2609647"/>
                  </a:lnTo>
                  <a:lnTo>
                    <a:pt x="687379" y="2641579"/>
                  </a:lnTo>
                  <a:lnTo>
                    <a:pt x="691818" y="2672958"/>
                  </a:lnTo>
                  <a:lnTo>
                    <a:pt x="700431" y="2708834"/>
                  </a:lnTo>
                  <a:lnTo>
                    <a:pt x="705905" y="2744223"/>
                  </a:lnTo>
                  <a:lnTo>
                    <a:pt x="711379" y="2779604"/>
                  </a:lnTo>
                  <a:lnTo>
                    <a:pt x="714075" y="2814973"/>
                  </a:lnTo>
                  <a:lnTo>
                    <a:pt x="682677" y="2835074"/>
                  </a:lnTo>
                  <a:lnTo>
                    <a:pt x="664074" y="2819741"/>
                  </a:lnTo>
                  <a:lnTo>
                    <a:pt x="647422" y="2802707"/>
                  </a:lnTo>
                  <a:lnTo>
                    <a:pt x="630763" y="2785678"/>
                  </a:lnTo>
                  <a:lnTo>
                    <a:pt x="615086" y="2766012"/>
                  </a:lnTo>
                  <a:lnTo>
                    <a:pt x="547937" y="2754927"/>
                  </a:lnTo>
                  <a:lnTo>
                    <a:pt x="490106" y="2756206"/>
                  </a:lnTo>
                  <a:lnTo>
                    <a:pt x="439306" y="2760539"/>
                  </a:lnTo>
                  <a:lnTo>
                    <a:pt x="437440" y="2822663"/>
                  </a:lnTo>
                  <a:lnTo>
                    <a:pt x="430449" y="2881898"/>
                  </a:lnTo>
                  <a:lnTo>
                    <a:pt x="437948" y="2918321"/>
                  </a:lnTo>
                  <a:lnTo>
                    <a:pt x="471845" y="2922991"/>
                  </a:lnTo>
                  <a:lnTo>
                    <a:pt x="507431" y="2916370"/>
                  </a:lnTo>
                  <a:lnTo>
                    <a:pt x="539964" y="2927845"/>
                  </a:lnTo>
                  <a:lnTo>
                    <a:pt x="562004" y="2969182"/>
                  </a:lnTo>
                  <a:lnTo>
                    <a:pt x="591675" y="3004735"/>
                  </a:lnTo>
                  <a:lnTo>
                    <a:pt x="617494" y="3043460"/>
                  </a:lnTo>
                  <a:lnTo>
                    <a:pt x="663869" y="3112957"/>
                  </a:lnTo>
                  <a:lnTo>
                    <a:pt x="704144" y="3184578"/>
                  </a:lnTo>
                  <a:lnTo>
                    <a:pt x="756237" y="3250210"/>
                  </a:lnTo>
                  <a:lnTo>
                    <a:pt x="784439" y="3285704"/>
                  </a:lnTo>
                  <a:lnTo>
                    <a:pt x="822266" y="3311866"/>
                  </a:lnTo>
                  <a:lnTo>
                    <a:pt x="847365" y="3349503"/>
                  </a:lnTo>
                  <a:lnTo>
                    <a:pt x="857510" y="3390992"/>
                  </a:lnTo>
                  <a:lnTo>
                    <a:pt x="850348" y="3430265"/>
                  </a:lnTo>
                  <a:lnTo>
                    <a:pt x="841418" y="3451137"/>
                  </a:lnTo>
                  <a:lnTo>
                    <a:pt x="836485" y="3471924"/>
                  </a:lnTo>
                  <a:lnTo>
                    <a:pt x="814449" y="3564800"/>
                  </a:lnTo>
                  <a:lnTo>
                    <a:pt x="779952" y="3723816"/>
                  </a:lnTo>
                  <a:lnTo>
                    <a:pt x="773918" y="3810612"/>
                  </a:lnTo>
                  <a:lnTo>
                    <a:pt x="788987" y="3826934"/>
                  </a:lnTo>
                  <a:lnTo>
                    <a:pt x="836076" y="3821645"/>
                  </a:lnTo>
                  <a:lnTo>
                    <a:pt x="893161" y="3808152"/>
                  </a:lnTo>
                  <a:lnTo>
                    <a:pt x="946664" y="3807888"/>
                  </a:lnTo>
                  <a:lnTo>
                    <a:pt x="973413" y="3807756"/>
                  </a:lnTo>
                  <a:lnTo>
                    <a:pt x="998621" y="3811311"/>
                  </a:lnTo>
                  <a:lnTo>
                    <a:pt x="1020114" y="3820135"/>
                  </a:lnTo>
                  <a:lnTo>
                    <a:pt x="1041610" y="3828953"/>
                  </a:lnTo>
                  <a:lnTo>
                    <a:pt x="1058744" y="3843455"/>
                  </a:lnTo>
                  <a:lnTo>
                    <a:pt x="1067720" y="3866378"/>
                  </a:lnTo>
                  <a:lnTo>
                    <a:pt x="1084526" y="3909311"/>
                  </a:lnTo>
                  <a:lnTo>
                    <a:pt x="1084808" y="3951795"/>
                  </a:lnTo>
                  <a:lnTo>
                    <a:pt x="1094925" y="3995599"/>
                  </a:lnTo>
                  <a:lnTo>
                    <a:pt x="1105845" y="4042845"/>
                  </a:lnTo>
                  <a:lnTo>
                    <a:pt x="1121199" y="4091661"/>
                  </a:lnTo>
                  <a:lnTo>
                    <a:pt x="1134371" y="4138418"/>
                  </a:lnTo>
                  <a:lnTo>
                    <a:pt x="1144981" y="4176082"/>
                  </a:lnTo>
                  <a:lnTo>
                    <a:pt x="1149768" y="4205376"/>
                  </a:lnTo>
                  <a:lnTo>
                    <a:pt x="1147976" y="4229553"/>
                  </a:lnTo>
                  <a:lnTo>
                    <a:pt x="1146168" y="4253731"/>
                  </a:lnTo>
                  <a:lnTo>
                    <a:pt x="1123488" y="4288043"/>
                  </a:lnTo>
                  <a:lnTo>
                    <a:pt x="1095868" y="4320247"/>
                  </a:lnTo>
                  <a:lnTo>
                    <a:pt x="1044441" y="4341370"/>
                  </a:lnTo>
                  <a:lnTo>
                    <a:pt x="971147" y="4373731"/>
                  </a:lnTo>
                  <a:lnTo>
                    <a:pt x="923562" y="4464339"/>
                  </a:lnTo>
                  <a:lnTo>
                    <a:pt x="892342" y="4537509"/>
                  </a:lnTo>
                  <a:lnTo>
                    <a:pt x="836866" y="4585902"/>
                  </a:lnTo>
                  <a:lnTo>
                    <a:pt x="803845" y="4643054"/>
                  </a:lnTo>
                  <a:lnTo>
                    <a:pt x="777828" y="4688044"/>
                  </a:lnTo>
                  <a:lnTo>
                    <a:pt x="759508" y="4738350"/>
                  </a:lnTo>
                  <a:lnTo>
                    <a:pt x="734474" y="4784514"/>
                  </a:lnTo>
                  <a:lnTo>
                    <a:pt x="742283" y="4807253"/>
                  </a:lnTo>
                  <a:lnTo>
                    <a:pt x="764745" y="4829781"/>
                  </a:lnTo>
                  <a:lnTo>
                    <a:pt x="795681" y="4852521"/>
                  </a:lnTo>
                  <a:lnTo>
                    <a:pt x="827403" y="4874271"/>
                  </a:lnTo>
                  <a:lnTo>
                    <a:pt x="862573" y="4893712"/>
                  </a:lnTo>
                  <a:lnTo>
                    <a:pt x="875934" y="4912369"/>
                  </a:lnTo>
                  <a:lnTo>
                    <a:pt x="865680" y="4942139"/>
                  </a:lnTo>
                  <a:lnTo>
                    <a:pt x="855371" y="4982091"/>
                  </a:lnTo>
                  <a:lnTo>
                    <a:pt x="843291" y="5019827"/>
                  </a:lnTo>
                  <a:lnTo>
                    <a:pt x="831202" y="5057570"/>
                  </a:lnTo>
                  <a:lnTo>
                    <a:pt x="818083" y="5093967"/>
                  </a:lnTo>
                  <a:lnTo>
                    <a:pt x="799765" y="5119120"/>
                  </a:lnTo>
                  <a:lnTo>
                    <a:pt x="774157" y="5126994"/>
                  </a:lnTo>
                  <a:lnTo>
                    <a:pt x="743753" y="5122127"/>
                  </a:lnTo>
                  <a:lnTo>
                    <a:pt x="718145" y="5128636"/>
                  </a:lnTo>
                  <a:lnTo>
                    <a:pt x="709671" y="5197949"/>
                  </a:lnTo>
                  <a:lnTo>
                    <a:pt x="801123" y="5240176"/>
                  </a:lnTo>
                  <a:lnTo>
                    <a:pt x="821218" y="5275953"/>
                  </a:lnTo>
                  <a:lnTo>
                    <a:pt x="825661" y="5300038"/>
                  </a:lnTo>
                  <a:lnTo>
                    <a:pt x="821528" y="5324505"/>
                  </a:lnTo>
                  <a:lnTo>
                    <a:pt x="817392" y="5348978"/>
                  </a:lnTo>
                  <a:lnTo>
                    <a:pt x="804518" y="5373136"/>
                  </a:lnTo>
                  <a:lnTo>
                    <a:pt x="790240" y="5408841"/>
                  </a:lnTo>
                  <a:lnTo>
                    <a:pt x="781884" y="5429733"/>
                  </a:lnTo>
                  <a:lnTo>
                    <a:pt x="773918" y="5453725"/>
                  </a:lnTo>
                  <a:lnTo>
                    <a:pt x="760398" y="5472086"/>
                  </a:lnTo>
                  <a:lnTo>
                    <a:pt x="741274" y="5486370"/>
                  </a:lnTo>
                  <a:lnTo>
                    <a:pt x="720295" y="5490703"/>
                  </a:lnTo>
                  <a:lnTo>
                    <a:pt x="655434" y="5471176"/>
                  </a:lnTo>
                  <a:lnTo>
                    <a:pt x="635175" y="5464607"/>
                  </a:lnTo>
                  <a:lnTo>
                    <a:pt x="614328" y="5486179"/>
                  </a:lnTo>
                  <a:lnTo>
                    <a:pt x="609336" y="5513575"/>
                  </a:lnTo>
                  <a:lnTo>
                    <a:pt x="707270" y="5570706"/>
                  </a:lnTo>
                  <a:lnTo>
                    <a:pt x="701400" y="5599526"/>
                  </a:lnTo>
                  <a:lnTo>
                    <a:pt x="682718" y="5638818"/>
                  </a:lnTo>
                  <a:lnTo>
                    <a:pt x="565802" y="5650953"/>
                  </a:lnTo>
                  <a:lnTo>
                    <a:pt x="543539" y="5673745"/>
                  </a:lnTo>
                  <a:lnTo>
                    <a:pt x="541836" y="5709780"/>
                  </a:lnTo>
                  <a:lnTo>
                    <a:pt x="552205" y="5742088"/>
                  </a:lnTo>
                  <a:lnTo>
                    <a:pt x="579408" y="5752969"/>
                  </a:lnTo>
                  <a:lnTo>
                    <a:pt x="600769" y="5757784"/>
                  </a:lnTo>
                  <a:lnTo>
                    <a:pt x="637469" y="5747120"/>
                  </a:lnTo>
                  <a:lnTo>
                    <a:pt x="670438" y="5740531"/>
                  </a:lnTo>
                  <a:lnTo>
                    <a:pt x="699106" y="5729841"/>
                  </a:lnTo>
                  <a:lnTo>
                    <a:pt x="720802" y="5721769"/>
                  </a:lnTo>
                  <a:lnTo>
                    <a:pt x="740931" y="5705954"/>
                  </a:lnTo>
                  <a:lnTo>
                    <a:pt x="763037" y="5697196"/>
                  </a:lnTo>
                  <a:lnTo>
                    <a:pt x="797039" y="5683598"/>
                  </a:lnTo>
                  <a:lnTo>
                    <a:pt x="844965" y="5677405"/>
                  </a:lnTo>
                  <a:lnTo>
                    <a:pt x="899439" y="5680030"/>
                  </a:lnTo>
                  <a:lnTo>
                    <a:pt x="948022" y="5678157"/>
                  </a:lnTo>
                  <a:lnTo>
                    <a:pt x="975611" y="5687561"/>
                  </a:lnTo>
                  <a:lnTo>
                    <a:pt x="992910" y="5702637"/>
                  </a:lnTo>
                  <a:lnTo>
                    <a:pt x="1010208" y="5717719"/>
                  </a:lnTo>
                  <a:lnTo>
                    <a:pt x="1028402" y="5737458"/>
                  </a:lnTo>
                  <a:lnTo>
                    <a:pt x="1045957" y="5759769"/>
                  </a:lnTo>
                  <a:lnTo>
                    <a:pt x="1081062" y="5804390"/>
                  </a:lnTo>
                  <a:lnTo>
                    <a:pt x="1111088" y="5855606"/>
                  </a:lnTo>
                  <a:lnTo>
                    <a:pt x="1112605" y="5879466"/>
                  </a:lnTo>
                  <a:lnTo>
                    <a:pt x="1114288" y="5905925"/>
                  </a:lnTo>
                  <a:lnTo>
                    <a:pt x="1110068" y="5929931"/>
                  </a:lnTo>
                  <a:lnTo>
                    <a:pt x="1107166" y="5954279"/>
                  </a:lnTo>
                  <a:lnTo>
                    <a:pt x="1104264" y="5978627"/>
                  </a:lnTo>
                  <a:lnTo>
                    <a:pt x="1102900" y="6003931"/>
                  </a:lnTo>
                  <a:lnTo>
                    <a:pt x="1109888" y="6030450"/>
                  </a:lnTo>
                  <a:lnTo>
                    <a:pt x="1127531" y="6046152"/>
                  </a:lnTo>
                  <a:lnTo>
                    <a:pt x="1166105" y="6053401"/>
                  </a:lnTo>
                  <a:lnTo>
                    <a:pt x="1170781" y="6118327"/>
                  </a:lnTo>
                  <a:lnTo>
                    <a:pt x="1143787" y="6172418"/>
                  </a:lnTo>
                  <a:lnTo>
                    <a:pt x="1149340" y="6222236"/>
                  </a:lnTo>
                  <a:lnTo>
                    <a:pt x="1166750" y="6241434"/>
                  </a:lnTo>
                  <a:lnTo>
                    <a:pt x="1194516" y="6238546"/>
                  </a:lnTo>
                  <a:lnTo>
                    <a:pt x="1224145" y="6235835"/>
                  </a:lnTo>
                  <a:lnTo>
                    <a:pt x="1253777" y="6233124"/>
                  </a:lnTo>
                  <a:lnTo>
                    <a:pt x="1286554" y="6230513"/>
                  </a:lnTo>
                  <a:lnTo>
                    <a:pt x="1307117" y="6237193"/>
                  </a:lnTo>
                  <a:lnTo>
                    <a:pt x="1326926" y="6250311"/>
                  </a:lnTo>
                  <a:lnTo>
                    <a:pt x="1345598" y="6294384"/>
                  </a:lnTo>
                  <a:lnTo>
                    <a:pt x="1365606" y="6340568"/>
                  </a:lnTo>
                  <a:lnTo>
                    <a:pt x="1385614" y="6386759"/>
                  </a:lnTo>
                  <a:lnTo>
                    <a:pt x="1405762" y="6434797"/>
                  </a:lnTo>
                  <a:lnTo>
                    <a:pt x="1429537" y="6458908"/>
                  </a:lnTo>
                  <a:lnTo>
                    <a:pt x="1473448" y="6477399"/>
                  </a:lnTo>
                  <a:lnTo>
                    <a:pt x="1522031" y="6498352"/>
                  </a:lnTo>
                  <a:lnTo>
                    <a:pt x="1506050" y="6532105"/>
                  </a:lnTo>
                  <a:lnTo>
                    <a:pt x="1491682" y="6555437"/>
                  </a:lnTo>
                  <a:lnTo>
                    <a:pt x="1482588" y="6577247"/>
                  </a:lnTo>
                  <a:lnTo>
                    <a:pt x="1486327" y="6619942"/>
                  </a:lnTo>
                  <a:lnTo>
                    <a:pt x="1481717" y="6662894"/>
                  </a:lnTo>
                  <a:lnTo>
                    <a:pt x="1483946" y="6705102"/>
                  </a:lnTo>
                  <a:lnTo>
                    <a:pt x="1486008" y="6743913"/>
                  </a:lnTo>
                  <a:lnTo>
                    <a:pt x="1494826" y="6784781"/>
                  </a:lnTo>
                  <a:lnTo>
                    <a:pt x="1494826" y="6823441"/>
                  </a:lnTo>
                  <a:lnTo>
                    <a:pt x="1494826" y="6866690"/>
                  </a:lnTo>
                  <a:lnTo>
                    <a:pt x="1489471" y="6911661"/>
                  </a:lnTo>
                  <a:lnTo>
                    <a:pt x="1488020" y="6955379"/>
                  </a:lnTo>
                  <a:lnTo>
                    <a:pt x="1504199" y="6995252"/>
                  </a:lnTo>
                  <a:lnTo>
                    <a:pt x="1519327" y="7012075"/>
                  </a:lnTo>
                  <a:lnTo>
                    <a:pt x="1538352" y="7026109"/>
                  </a:lnTo>
                  <a:lnTo>
                    <a:pt x="1557374" y="7040150"/>
                  </a:lnTo>
                  <a:lnTo>
                    <a:pt x="1580461" y="7051915"/>
                  </a:lnTo>
                  <a:lnTo>
                    <a:pt x="1605002" y="7062836"/>
                  </a:lnTo>
                  <a:lnTo>
                    <a:pt x="1621324" y="7092763"/>
                  </a:lnTo>
                  <a:lnTo>
                    <a:pt x="1624021" y="7114751"/>
                  </a:lnTo>
                  <a:lnTo>
                    <a:pt x="1596835" y="7147172"/>
                  </a:lnTo>
                  <a:lnTo>
                    <a:pt x="1585574" y="7166336"/>
                  </a:lnTo>
                  <a:lnTo>
                    <a:pt x="1580905" y="7190572"/>
                  </a:lnTo>
                  <a:lnTo>
                    <a:pt x="1587314" y="7223342"/>
                  </a:lnTo>
                  <a:lnTo>
                    <a:pt x="1606612" y="7240134"/>
                  </a:lnTo>
                  <a:lnTo>
                    <a:pt x="1643930" y="7232780"/>
                  </a:lnTo>
                  <a:lnTo>
                    <a:pt x="1667566" y="7246464"/>
                  </a:lnTo>
                  <a:lnTo>
                    <a:pt x="1668800" y="7267463"/>
                  </a:lnTo>
                  <a:lnTo>
                    <a:pt x="1663123" y="7291606"/>
                  </a:lnTo>
                  <a:lnTo>
                    <a:pt x="1649595" y="7329435"/>
                  </a:lnTo>
                  <a:lnTo>
                    <a:pt x="1600603" y="7352220"/>
                  </a:lnTo>
                  <a:lnTo>
                    <a:pt x="1551945" y="7368879"/>
                  </a:lnTo>
                  <a:lnTo>
                    <a:pt x="1503294" y="7385544"/>
                  </a:lnTo>
                  <a:lnTo>
                    <a:pt x="1454981" y="7396116"/>
                  </a:lnTo>
                  <a:lnTo>
                    <a:pt x="1427426" y="7397296"/>
                  </a:lnTo>
                  <a:lnTo>
                    <a:pt x="1400178" y="7426921"/>
                  </a:lnTo>
                  <a:lnTo>
                    <a:pt x="1402326" y="7447774"/>
                  </a:lnTo>
                  <a:lnTo>
                    <a:pt x="1406745" y="7490983"/>
                  </a:lnTo>
                  <a:lnTo>
                    <a:pt x="1472676" y="7727206"/>
                  </a:lnTo>
                  <a:lnTo>
                    <a:pt x="1457796" y="7757536"/>
                  </a:lnTo>
                  <a:lnTo>
                    <a:pt x="1425172" y="7770014"/>
                  </a:lnTo>
                  <a:lnTo>
                    <a:pt x="1405380" y="7796011"/>
                  </a:lnTo>
                  <a:lnTo>
                    <a:pt x="1416592" y="7825932"/>
                  </a:lnTo>
                  <a:lnTo>
                    <a:pt x="1436331" y="7863992"/>
                  </a:lnTo>
                  <a:lnTo>
                    <a:pt x="1456069" y="7902057"/>
                  </a:lnTo>
                  <a:lnTo>
                    <a:pt x="1484011" y="7947674"/>
                  </a:lnTo>
                  <a:lnTo>
                    <a:pt x="1513861" y="7994570"/>
                  </a:lnTo>
                  <a:lnTo>
                    <a:pt x="1543716" y="8041473"/>
                  </a:lnTo>
                  <a:lnTo>
                    <a:pt x="1575674" y="8089095"/>
                  </a:lnTo>
                  <a:lnTo>
                    <a:pt x="1600913" y="8129232"/>
                  </a:lnTo>
                  <a:lnTo>
                    <a:pt x="1626158" y="8169369"/>
                  </a:lnTo>
                  <a:lnTo>
                    <a:pt x="1645341" y="8202587"/>
                  </a:lnTo>
                  <a:lnTo>
                    <a:pt x="1649214" y="8259283"/>
                  </a:lnTo>
                  <a:lnTo>
                    <a:pt x="1633596" y="8290148"/>
                  </a:lnTo>
                  <a:lnTo>
                    <a:pt x="1611793" y="8315577"/>
                  </a:lnTo>
                  <a:lnTo>
                    <a:pt x="1589999" y="8341014"/>
                  </a:lnTo>
                  <a:lnTo>
                    <a:pt x="1561262" y="8360410"/>
                  </a:lnTo>
                  <a:lnTo>
                    <a:pt x="1531546" y="8376790"/>
                  </a:lnTo>
                  <a:lnTo>
                    <a:pt x="1501824" y="8393172"/>
                  </a:lnTo>
                  <a:lnTo>
                    <a:pt x="1471646" y="8405821"/>
                  </a:lnTo>
                  <a:lnTo>
                    <a:pt x="1445852" y="8417594"/>
                  </a:lnTo>
                  <a:lnTo>
                    <a:pt x="1420062" y="8429366"/>
                  </a:lnTo>
                  <a:lnTo>
                    <a:pt x="1398733" y="8439997"/>
                  </a:lnTo>
                  <a:lnTo>
                    <a:pt x="1373482" y="8481459"/>
                  </a:lnTo>
                  <a:lnTo>
                    <a:pt x="1383128" y="8502609"/>
                  </a:lnTo>
                  <a:lnTo>
                    <a:pt x="1375122" y="8530493"/>
                  </a:lnTo>
                  <a:lnTo>
                    <a:pt x="1360608" y="8550764"/>
                  </a:lnTo>
                  <a:lnTo>
                    <a:pt x="1333996" y="8576380"/>
                  </a:lnTo>
                  <a:lnTo>
                    <a:pt x="1301669" y="8606663"/>
                  </a:lnTo>
                  <a:lnTo>
                    <a:pt x="1285348" y="8622985"/>
                  </a:lnTo>
                  <a:lnTo>
                    <a:pt x="1205098" y="8651547"/>
                  </a:lnTo>
                  <a:lnTo>
                    <a:pt x="1166288" y="8690359"/>
                  </a:lnTo>
                  <a:lnTo>
                    <a:pt x="1132873" y="8719825"/>
                  </a:lnTo>
                  <a:lnTo>
                    <a:pt x="1109671" y="8730681"/>
                  </a:lnTo>
                  <a:lnTo>
                    <a:pt x="1085403" y="8739959"/>
                  </a:lnTo>
                  <a:lnTo>
                    <a:pt x="1061126" y="8749245"/>
                  </a:lnTo>
                  <a:lnTo>
                    <a:pt x="1036060" y="8756229"/>
                  </a:lnTo>
                  <a:lnTo>
                    <a:pt x="1011947" y="8769887"/>
                  </a:lnTo>
                  <a:lnTo>
                    <a:pt x="982067" y="8786823"/>
                  </a:lnTo>
                  <a:lnTo>
                    <a:pt x="921729" y="8841488"/>
                  </a:lnTo>
                  <a:lnTo>
                    <a:pt x="885453" y="8866463"/>
                  </a:lnTo>
                  <a:lnTo>
                    <a:pt x="867950" y="8878498"/>
                  </a:lnTo>
                  <a:lnTo>
                    <a:pt x="836485" y="8871903"/>
                  </a:lnTo>
                  <a:lnTo>
                    <a:pt x="804499" y="8860172"/>
                  </a:lnTo>
                  <a:lnTo>
                    <a:pt x="778290" y="8875960"/>
                  </a:lnTo>
                  <a:lnTo>
                    <a:pt x="771559" y="8910879"/>
                  </a:lnTo>
                  <a:lnTo>
                    <a:pt x="743990" y="8948075"/>
                  </a:lnTo>
                  <a:lnTo>
                    <a:pt x="717533" y="8959036"/>
                  </a:lnTo>
                  <a:lnTo>
                    <a:pt x="687373" y="8936784"/>
                  </a:lnTo>
                  <a:lnTo>
                    <a:pt x="659655" y="8941269"/>
                  </a:lnTo>
                  <a:lnTo>
                    <a:pt x="631541" y="8945793"/>
                  </a:lnTo>
                  <a:lnTo>
                    <a:pt x="615832" y="8977489"/>
                  </a:lnTo>
                  <a:lnTo>
                    <a:pt x="587565" y="8988877"/>
                  </a:lnTo>
                  <a:lnTo>
                    <a:pt x="586906" y="9030121"/>
                  </a:lnTo>
                  <a:lnTo>
                    <a:pt x="601890" y="9054965"/>
                  </a:lnTo>
                  <a:lnTo>
                    <a:pt x="617494" y="9077289"/>
                  </a:lnTo>
                  <a:lnTo>
                    <a:pt x="633091" y="9099619"/>
                  </a:lnTo>
                  <a:lnTo>
                    <a:pt x="648634" y="9120598"/>
                  </a:lnTo>
                  <a:lnTo>
                    <a:pt x="650138" y="9152101"/>
                  </a:lnTo>
                  <a:lnTo>
                    <a:pt x="652051" y="9192251"/>
                  </a:lnTo>
                  <a:lnTo>
                    <a:pt x="642429" y="9236002"/>
                  </a:lnTo>
                  <a:lnTo>
                    <a:pt x="625651" y="9278597"/>
                  </a:lnTo>
                  <a:lnTo>
                    <a:pt x="608874" y="9321201"/>
                  </a:lnTo>
                  <a:lnTo>
                    <a:pt x="585100" y="9362366"/>
                  </a:lnTo>
                  <a:lnTo>
                    <a:pt x="561720" y="9394220"/>
                  </a:lnTo>
                  <a:lnTo>
                    <a:pt x="547450" y="9413668"/>
                  </a:lnTo>
                  <a:lnTo>
                    <a:pt x="530758" y="9426481"/>
                  </a:lnTo>
                  <a:lnTo>
                    <a:pt x="520918" y="9449987"/>
                  </a:lnTo>
                  <a:lnTo>
                    <a:pt x="560640" y="9453554"/>
                  </a:lnTo>
                  <a:lnTo>
                    <a:pt x="609052" y="9458421"/>
                  </a:lnTo>
                  <a:lnTo>
                    <a:pt x="648774" y="9451345"/>
                  </a:lnTo>
                  <a:lnTo>
                    <a:pt x="682994" y="9445245"/>
                  </a:lnTo>
                  <a:lnTo>
                    <a:pt x="712237" y="9431751"/>
                  </a:lnTo>
                  <a:lnTo>
                    <a:pt x="748073" y="9435022"/>
                  </a:lnTo>
                  <a:lnTo>
                    <a:pt x="764844" y="9486403"/>
                  </a:lnTo>
                  <a:lnTo>
                    <a:pt x="760313" y="9526158"/>
                  </a:lnTo>
                  <a:lnTo>
                    <a:pt x="755783" y="9565912"/>
                  </a:lnTo>
                  <a:lnTo>
                    <a:pt x="746022" y="9605388"/>
                  </a:lnTo>
                  <a:lnTo>
                    <a:pt x="727596" y="9621811"/>
                  </a:lnTo>
                  <a:lnTo>
                    <a:pt x="688224" y="9633608"/>
                  </a:lnTo>
                  <a:lnTo>
                    <a:pt x="650541" y="9648955"/>
                  </a:lnTo>
                  <a:lnTo>
                    <a:pt x="634897" y="9669538"/>
                  </a:lnTo>
                  <a:lnTo>
                    <a:pt x="631093" y="9701621"/>
                  </a:lnTo>
                  <a:lnTo>
                    <a:pt x="631059" y="9733429"/>
                  </a:lnTo>
                  <a:lnTo>
                    <a:pt x="673279" y="9756029"/>
                  </a:lnTo>
                  <a:lnTo>
                    <a:pt x="723678" y="9754565"/>
                  </a:lnTo>
                  <a:lnTo>
                    <a:pt x="769830" y="9761470"/>
                  </a:lnTo>
                  <a:lnTo>
                    <a:pt x="792906" y="9764920"/>
                  </a:lnTo>
                  <a:lnTo>
                    <a:pt x="815103" y="9770155"/>
                  </a:lnTo>
                  <a:lnTo>
                    <a:pt x="833760" y="9780509"/>
                  </a:lnTo>
                  <a:lnTo>
                    <a:pt x="852419" y="9790870"/>
                  </a:lnTo>
                  <a:lnTo>
                    <a:pt x="867336" y="9806948"/>
                  </a:lnTo>
                  <a:lnTo>
                    <a:pt x="877286" y="9829477"/>
                  </a:lnTo>
                  <a:lnTo>
                    <a:pt x="877022" y="9854505"/>
                  </a:lnTo>
                  <a:lnTo>
                    <a:pt x="865041" y="9894766"/>
                  </a:lnTo>
                  <a:lnTo>
                    <a:pt x="857553" y="9915072"/>
                  </a:lnTo>
                  <a:lnTo>
                    <a:pt x="846732" y="9935088"/>
                  </a:lnTo>
                  <a:lnTo>
                    <a:pt x="835118" y="9957339"/>
                  </a:lnTo>
                  <a:lnTo>
                    <a:pt x="821810" y="9977507"/>
                  </a:lnTo>
                  <a:lnTo>
                    <a:pt x="805746" y="10017030"/>
                  </a:lnTo>
                  <a:lnTo>
                    <a:pt x="800152" y="10053756"/>
                  </a:lnTo>
                  <a:lnTo>
                    <a:pt x="799749" y="10090635"/>
                  </a:lnTo>
                  <a:lnTo>
                    <a:pt x="799355" y="10127521"/>
                  </a:lnTo>
                  <a:lnTo>
                    <a:pt x="803746" y="10164188"/>
                  </a:lnTo>
                  <a:lnTo>
                    <a:pt x="814716" y="10192652"/>
                  </a:lnTo>
                  <a:lnTo>
                    <a:pt x="827019" y="10224597"/>
                  </a:lnTo>
                  <a:lnTo>
                    <a:pt x="848711" y="10248774"/>
                  </a:lnTo>
                  <a:lnTo>
                    <a:pt x="873205" y="10267464"/>
                  </a:lnTo>
                  <a:lnTo>
                    <a:pt x="897697" y="10286155"/>
                  </a:lnTo>
                  <a:lnTo>
                    <a:pt x="925205" y="10299541"/>
                  </a:lnTo>
                  <a:lnTo>
                    <a:pt x="952093" y="10310990"/>
                  </a:lnTo>
                  <a:lnTo>
                    <a:pt x="978988" y="10322439"/>
                  </a:lnTo>
                  <a:lnTo>
                    <a:pt x="1004695" y="10332068"/>
                  </a:lnTo>
                  <a:lnTo>
                    <a:pt x="1024188" y="10342277"/>
                  </a:lnTo>
                  <a:lnTo>
                    <a:pt x="1043675" y="10352485"/>
                  </a:lnTo>
                  <a:lnTo>
                    <a:pt x="1059550" y="10377639"/>
                  </a:lnTo>
                  <a:lnTo>
                    <a:pt x="1061541" y="10411734"/>
                  </a:lnTo>
                  <a:lnTo>
                    <a:pt x="1057532" y="10446925"/>
                  </a:lnTo>
                  <a:lnTo>
                    <a:pt x="1051393" y="10481014"/>
                  </a:lnTo>
                  <a:lnTo>
                    <a:pt x="1053517" y="10506589"/>
                  </a:lnTo>
                  <a:lnTo>
                    <a:pt x="1030222" y="10526354"/>
                  </a:lnTo>
                  <a:lnTo>
                    <a:pt x="1006499" y="10535422"/>
                  </a:lnTo>
                  <a:lnTo>
                    <a:pt x="983127" y="10545624"/>
                  </a:lnTo>
                  <a:lnTo>
                    <a:pt x="964583" y="10560587"/>
                  </a:lnTo>
                  <a:lnTo>
                    <a:pt x="956174" y="10584389"/>
                  </a:lnTo>
                  <a:lnTo>
                    <a:pt x="960719" y="10625185"/>
                  </a:lnTo>
                  <a:lnTo>
                    <a:pt x="971131" y="10649678"/>
                  </a:lnTo>
                  <a:lnTo>
                    <a:pt x="981552" y="10674179"/>
                  </a:lnTo>
                  <a:lnTo>
                    <a:pt x="995895" y="10700796"/>
                  </a:lnTo>
                  <a:lnTo>
                    <a:pt x="1010583" y="10725850"/>
                  </a:lnTo>
                  <a:lnTo>
                    <a:pt x="1039949" y="10775965"/>
                  </a:lnTo>
                  <a:lnTo>
                    <a:pt x="1070102" y="10821891"/>
                  </a:lnTo>
                  <a:lnTo>
                    <a:pt x="1066356" y="10895872"/>
                  </a:lnTo>
                  <a:lnTo>
                    <a:pt x="1063640" y="10951652"/>
                  </a:lnTo>
                  <a:lnTo>
                    <a:pt x="1053253" y="10980024"/>
                  </a:lnTo>
                  <a:lnTo>
                    <a:pt x="1025066" y="11007617"/>
                  </a:lnTo>
                  <a:lnTo>
                    <a:pt x="1006006" y="11020846"/>
                  </a:lnTo>
                  <a:lnTo>
                    <a:pt x="986110" y="11033264"/>
                  </a:lnTo>
                  <a:lnTo>
                    <a:pt x="946323" y="11058093"/>
                  </a:lnTo>
                  <a:lnTo>
                    <a:pt x="902986" y="11078545"/>
                  </a:lnTo>
                  <a:lnTo>
                    <a:pt x="868753" y="11099023"/>
                  </a:lnTo>
                  <a:lnTo>
                    <a:pt x="843291" y="11127117"/>
                  </a:lnTo>
                  <a:lnTo>
                    <a:pt x="823869" y="11161430"/>
                  </a:lnTo>
                  <a:lnTo>
                    <a:pt x="814133" y="11210707"/>
                  </a:lnTo>
                  <a:lnTo>
                    <a:pt x="815426" y="11232450"/>
                  </a:lnTo>
                  <a:lnTo>
                    <a:pt x="824910" y="11266625"/>
                  </a:lnTo>
                  <a:lnTo>
                    <a:pt x="843291" y="11288982"/>
                  </a:lnTo>
                  <a:lnTo>
                    <a:pt x="863996" y="11310659"/>
                  </a:lnTo>
                  <a:lnTo>
                    <a:pt x="882429" y="11335317"/>
                  </a:lnTo>
                  <a:lnTo>
                    <a:pt x="892258" y="11370594"/>
                  </a:lnTo>
                  <a:lnTo>
                    <a:pt x="895991" y="11397521"/>
                  </a:lnTo>
                  <a:lnTo>
                    <a:pt x="894646" y="11424322"/>
                  </a:lnTo>
                  <a:lnTo>
                    <a:pt x="896332" y="11449482"/>
                  </a:lnTo>
                  <a:lnTo>
                    <a:pt x="898022" y="11474648"/>
                  </a:lnTo>
                  <a:lnTo>
                    <a:pt x="902698" y="11498792"/>
                  </a:lnTo>
                  <a:lnTo>
                    <a:pt x="919454" y="11521577"/>
                  </a:lnTo>
                  <a:lnTo>
                    <a:pt x="938020" y="11534517"/>
                  </a:lnTo>
                  <a:lnTo>
                    <a:pt x="977720" y="11540089"/>
                  </a:lnTo>
                  <a:lnTo>
                    <a:pt x="1017389" y="11543340"/>
                  </a:lnTo>
                  <a:lnTo>
                    <a:pt x="1057058" y="11546592"/>
                  </a:lnTo>
                  <a:lnTo>
                    <a:pt x="1097114" y="11546968"/>
                  </a:lnTo>
                  <a:lnTo>
                    <a:pt x="1119404" y="11548781"/>
                  </a:lnTo>
                  <a:lnTo>
                    <a:pt x="1148283" y="11560257"/>
                  </a:lnTo>
                  <a:lnTo>
                    <a:pt x="1169420" y="11588990"/>
                  </a:lnTo>
                  <a:lnTo>
                    <a:pt x="1184696" y="11627670"/>
                  </a:lnTo>
                  <a:lnTo>
                    <a:pt x="1199415" y="11667444"/>
                  </a:lnTo>
                  <a:lnTo>
                    <a:pt x="1209644" y="11710508"/>
                  </a:lnTo>
                  <a:lnTo>
                    <a:pt x="1224139" y="11726969"/>
                  </a:lnTo>
                  <a:lnTo>
                    <a:pt x="1251712" y="11750487"/>
                  </a:lnTo>
                  <a:lnTo>
                    <a:pt x="1275460" y="11771458"/>
                  </a:lnTo>
                  <a:lnTo>
                    <a:pt x="1292153" y="11804499"/>
                  </a:lnTo>
                  <a:lnTo>
                    <a:pt x="1298990" y="11834894"/>
                  </a:lnTo>
                  <a:lnTo>
                    <a:pt x="1304345" y="11866590"/>
                  </a:lnTo>
                  <a:lnTo>
                    <a:pt x="1315274" y="11896993"/>
                  </a:lnTo>
                  <a:lnTo>
                    <a:pt x="1339140" y="11910432"/>
                  </a:lnTo>
                  <a:lnTo>
                    <a:pt x="1376480" y="11907874"/>
                  </a:lnTo>
                  <a:lnTo>
                    <a:pt x="1413743" y="11892739"/>
                  </a:lnTo>
                  <a:lnTo>
                    <a:pt x="1436331" y="11879312"/>
                  </a:lnTo>
                  <a:lnTo>
                    <a:pt x="1459452" y="11882028"/>
                  </a:lnTo>
                  <a:lnTo>
                    <a:pt x="1481221" y="11886103"/>
                  </a:lnTo>
                  <a:lnTo>
                    <a:pt x="1500255" y="11909042"/>
                  </a:lnTo>
                  <a:lnTo>
                    <a:pt x="1507436" y="11938046"/>
                  </a:lnTo>
                  <a:lnTo>
                    <a:pt x="1511141" y="11971791"/>
                  </a:lnTo>
                  <a:lnTo>
                    <a:pt x="1530498" y="11987046"/>
                  </a:lnTo>
                  <a:lnTo>
                    <a:pt x="1558751" y="11998996"/>
                  </a:lnTo>
                  <a:lnTo>
                    <a:pt x="1583094" y="12001430"/>
                  </a:lnTo>
                  <a:lnTo>
                    <a:pt x="1612084" y="11994128"/>
                  </a:lnTo>
                  <a:lnTo>
                    <a:pt x="1645803" y="11989478"/>
                  </a:lnTo>
                  <a:lnTo>
                    <a:pt x="1664416" y="12003335"/>
                  </a:lnTo>
                  <a:lnTo>
                    <a:pt x="1678883" y="12024583"/>
                  </a:lnTo>
                  <a:lnTo>
                    <a:pt x="1685249" y="12046604"/>
                  </a:lnTo>
                  <a:lnTo>
                    <a:pt x="1665027" y="12065920"/>
                  </a:lnTo>
                  <a:lnTo>
                    <a:pt x="1641729" y="12073808"/>
                  </a:lnTo>
                  <a:lnTo>
                    <a:pt x="1620282" y="12084657"/>
                  </a:lnTo>
                  <a:lnTo>
                    <a:pt x="1605976" y="12109592"/>
                  </a:lnTo>
                  <a:lnTo>
                    <a:pt x="1608543" y="12140937"/>
                  </a:lnTo>
                  <a:lnTo>
                    <a:pt x="1642005" y="12176300"/>
                  </a:lnTo>
                  <a:lnTo>
                    <a:pt x="1670614" y="12209578"/>
                  </a:lnTo>
                  <a:lnTo>
                    <a:pt x="1702934" y="12234315"/>
                  </a:lnTo>
                  <a:lnTo>
                    <a:pt x="1735832" y="12257509"/>
                  </a:lnTo>
                  <a:lnTo>
                    <a:pt x="1773417" y="12270962"/>
                  </a:lnTo>
                  <a:lnTo>
                    <a:pt x="1794823" y="12272987"/>
                  </a:lnTo>
                  <a:lnTo>
                    <a:pt x="1817191" y="12271035"/>
                  </a:lnTo>
                  <a:lnTo>
                    <a:pt x="1849329" y="12269578"/>
                  </a:lnTo>
                  <a:lnTo>
                    <a:pt x="1882989" y="12267065"/>
                  </a:lnTo>
                  <a:lnTo>
                    <a:pt x="1916484" y="12262884"/>
                  </a:lnTo>
                  <a:lnTo>
                    <a:pt x="1947140" y="12255960"/>
                  </a:lnTo>
                  <a:lnTo>
                    <a:pt x="1978325" y="12248032"/>
                  </a:lnTo>
                  <a:lnTo>
                    <a:pt x="2011703" y="12245196"/>
                  </a:lnTo>
                  <a:lnTo>
                    <a:pt x="2046966" y="12251969"/>
                  </a:lnTo>
                  <a:lnTo>
                    <a:pt x="2079808" y="12262910"/>
                  </a:lnTo>
                  <a:lnTo>
                    <a:pt x="2117796" y="12265601"/>
                  </a:lnTo>
                  <a:lnTo>
                    <a:pt x="2131156" y="12244643"/>
                  </a:lnTo>
                  <a:lnTo>
                    <a:pt x="2126019" y="12219187"/>
                  </a:lnTo>
                  <a:lnTo>
                    <a:pt x="2120518" y="12194871"/>
                  </a:lnTo>
                  <a:lnTo>
                    <a:pt x="2115012" y="12170556"/>
                  </a:lnTo>
                  <a:lnTo>
                    <a:pt x="2108159" y="12147157"/>
                  </a:lnTo>
                  <a:lnTo>
                    <a:pt x="2125523" y="12115488"/>
                  </a:lnTo>
                  <a:lnTo>
                    <a:pt x="2146365" y="12096937"/>
                  </a:lnTo>
                  <a:lnTo>
                    <a:pt x="2168264" y="12079169"/>
                  </a:lnTo>
                  <a:lnTo>
                    <a:pt x="2209186" y="12038031"/>
                  </a:lnTo>
                  <a:lnTo>
                    <a:pt x="2227619" y="12011486"/>
                  </a:lnTo>
                  <a:lnTo>
                    <a:pt x="2241574" y="11982680"/>
                  </a:lnTo>
                  <a:lnTo>
                    <a:pt x="2255530" y="11953873"/>
                  </a:lnTo>
                  <a:lnTo>
                    <a:pt x="2265970" y="11923214"/>
                  </a:lnTo>
                  <a:lnTo>
                    <a:pt x="2278301" y="11883387"/>
                  </a:lnTo>
                  <a:lnTo>
                    <a:pt x="2303183" y="11866154"/>
                  </a:lnTo>
                  <a:lnTo>
                    <a:pt x="2328626" y="11852101"/>
                  </a:lnTo>
                  <a:lnTo>
                    <a:pt x="2354070" y="11838047"/>
                  </a:lnTo>
                  <a:lnTo>
                    <a:pt x="2382632" y="11817523"/>
                  </a:lnTo>
                  <a:lnTo>
                    <a:pt x="2396635" y="11784088"/>
                  </a:lnTo>
                  <a:lnTo>
                    <a:pt x="2422388" y="11774623"/>
                  </a:lnTo>
                  <a:lnTo>
                    <a:pt x="2455633" y="11779781"/>
                  </a:lnTo>
                  <a:lnTo>
                    <a:pt x="2487770" y="11785446"/>
                  </a:lnTo>
                  <a:lnTo>
                    <a:pt x="2519905" y="11791117"/>
                  </a:lnTo>
                  <a:lnTo>
                    <a:pt x="2551187" y="11796599"/>
                  </a:lnTo>
                  <a:lnTo>
                    <a:pt x="2572103" y="11790888"/>
                  </a:lnTo>
                  <a:lnTo>
                    <a:pt x="2603385" y="11781859"/>
                  </a:lnTo>
                  <a:lnTo>
                    <a:pt x="2628952" y="11761316"/>
                  </a:lnTo>
                  <a:lnTo>
                    <a:pt x="2637479" y="11730755"/>
                  </a:lnTo>
                  <a:lnTo>
                    <a:pt x="2649633" y="11705200"/>
                  </a:lnTo>
                  <a:lnTo>
                    <a:pt x="2663003" y="11681015"/>
                  </a:lnTo>
                  <a:lnTo>
                    <a:pt x="2682509" y="11664086"/>
                  </a:lnTo>
                  <a:lnTo>
                    <a:pt x="2712200" y="11658950"/>
                  </a:lnTo>
                  <a:lnTo>
                    <a:pt x="2735941" y="11676696"/>
                  </a:lnTo>
                  <a:lnTo>
                    <a:pt x="2748055" y="11700800"/>
                  </a:lnTo>
                  <a:lnTo>
                    <a:pt x="2774773" y="11714715"/>
                  </a:lnTo>
                  <a:lnTo>
                    <a:pt x="2801977" y="11688877"/>
                  </a:lnTo>
                  <a:lnTo>
                    <a:pt x="2826112" y="11677659"/>
                  </a:lnTo>
                  <a:lnTo>
                    <a:pt x="2851286" y="11678325"/>
                  </a:lnTo>
                  <a:lnTo>
                    <a:pt x="2875424" y="11688877"/>
                  </a:lnTo>
                  <a:lnTo>
                    <a:pt x="2899978" y="11700206"/>
                  </a:lnTo>
                  <a:lnTo>
                    <a:pt x="2923601" y="11718132"/>
                  </a:lnTo>
                  <a:lnTo>
                    <a:pt x="2939355" y="11733762"/>
                  </a:lnTo>
                  <a:lnTo>
                    <a:pt x="2966473" y="11737033"/>
                  </a:lnTo>
                  <a:lnTo>
                    <a:pt x="2986965" y="11717439"/>
                  </a:lnTo>
                  <a:lnTo>
                    <a:pt x="2979160" y="11678708"/>
                  </a:lnTo>
                  <a:lnTo>
                    <a:pt x="2967918" y="11657590"/>
                  </a:lnTo>
                  <a:lnTo>
                    <a:pt x="2956678" y="11636474"/>
                  </a:lnTo>
                  <a:lnTo>
                    <a:pt x="2942604" y="11616373"/>
                  </a:lnTo>
                  <a:lnTo>
                    <a:pt x="2932106" y="11578234"/>
                  </a:lnTo>
                  <a:lnTo>
                    <a:pt x="2951088" y="11536515"/>
                  </a:lnTo>
                  <a:lnTo>
                    <a:pt x="2971998" y="11521571"/>
                  </a:lnTo>
                  <a:lnTo>
                    <a:pt x="3050896" y="11510689"/>
                  </a:lnTo>
                  <a:lnTo>
                    <a:pt x="3062917" y="11484165"/>
                  </a:lnTo>
                  <a:lnTo>
                    <a:pt x="3050037" y="11456004"/>
                  </a:lnTo>
                  <a:lnTo>
                    <a:pt x="3065859" y="11427719"/>
                  </a:lnTo>
                  <a:lnTo>
                    <a:pt x="3110672" y="11430627"/>
                  </a:lnTo>
                  <a:lnTo>
                    <a:pt x="3143389" y="11442682"/>
                  </a:lnTo>
                  <a:lnTo>
                    <a:pt x="3176097" y="11454731"/>
                  </a:lnTo>
                  <a:lnTo>
                    <a:pt x="3208520" y="11469247"/>
                  </a:lnTo>
                  <a:lnTo>
                    <a:pt x="3219955" y="11505525"/>
                  </a:lnTo>
                  <a:lnTo>
                    <a:pt x="3194729" y="11535855"/>
                  </a:lnTo>
                  <a:lnTo>
                    <a:pt x="3173310" y="11566456"/>
                  </a:lnTo>
                  <a:lnTo>
                    <a:pt x="3152877" y="11596549"/>
                  </a:lnTo>
                  <a:lnTo>
                    <a:pt x="3142056" y="11628863"/>
                  </a:lnTo>
                  <a:lnTo>
                    <a:pt x="3147463" y="11664390"/>
                  </a:lnTo>
                  <a:lnTo>
                    <a:pt x="3193101" y="11690354"/>
                  </a:lnTo>
                  <a:lnTo>
                    <a:pt x="3250846" y="11703840"/>
                  </a:lnTo>
                  <a:lnTo>
                    <a:pt x="3308582" y="11717328"/>
                  </a:lnTo>
                  <a:lnTo>
                    <a:pt x="3385123" y="11730913"/>
                  </a:lnTo>
                  <a:lnTo>
                    <a:pt x="3463035" y="11744644"/>
                  </a:lnTo>
                  <a:lnTo>
                    <a:pt x="3618848" y="11772112"/>
                  </a:lnTo>
                  <a:lnTo>
                    <a:pt x="3783338" y="11799065"/>
                  </a:lnTo>
                  <a:lnTo>
                    <a:pt x="3828929" y="11822172"/>
                  </a:lnTo>
                  <a:lnTo>
                    <a:pt x="3827437" y="11860582"/>
                  </a:lnTo>
                  <a:lnTo>
                    <a:pt x="3831902" y="11908995"/>
                  </a:lnTo>
                  <a:lnTo>
                    <a:pt x="3820765" y="11945952"/>
                  </a:lnTo>
                  <a:lnTo>
                    <a:pt x="3852242" y="11957018"/>
                  </a:lnTo>
                  <a:lnTo>
                    <a:pt x="3889945" y="11956637"/>
                  </a:lnTo>
                  <a:lnTo>
                    <a:pt x="3922780" y="11950034"/>
                  </a:lnTo>
                  <a:lnTo>
                    <a:pt x="3957594" y="11830654"/>
                  </a:lnTo>
                  <a:lnTo>
                    <a:pt x="3979524" y="11728005"/>
                  </a:lnTo>
                  <a:lnTo>
                    <a:pt x="4003033" y="11624946"/>
                  </a:lnTo>
                  <a:lnTo>
                    <a:pt x="4009135" y="11598211"/>
                  </a:lnTo>
                  <a:lnTo>
                    <a:pt x="4027388" y="11574898"/>
                  </a:lnTo>
                  <a:lnTo>
                    <a:pt x="4031595" y="11548775"/>
                  </a:lnTo>
                  <a:lnTo>
                    <a:pt x="4035614" y="11523753"/>
                  </a:lnTo>
                  <a:lnTo>
                    <a:pt x="4033905" y="11499775"/>
                  </a:lnTo>
                  <a:lnTo>
                    <a:pt x="4032953" y="11475327"/>
                  </a:lnTo>
                  <a:lnTo>
                    <a:pt x="4032005" y="11450874"/>
                  </a:lnTo>
                  <a:lnTo>
                    <a:pt x="4031629" y="11426624"/>
                  </a:lnTo>
                  <a:lnTo>
                    <a:pt x="4041111" y="11400514"/>
                  </a:lnTo>
                  <a:lnTo>
                    <a:pt x="4064775" y="11344340"/>
                  </a:lnTo>
                  <a:lnTo>
                    <a:pt x="4092283" y="11324364"/>
                  </a:lnTo>
                  <a:lnTo>
                    <a:pt x="4122725" y="11320262"/>
                  </a:lnTo>
                  <a:lnTo>
                    <a:pt x="4155892" y="11324904"/>
                  </a:lnTo>
                  <a:lnTo>
                    <a:pt x="4203300" y="11343626"/>
                  </a:lnTo>
                  <a:lnTo>
                    <a:pt x="4231499" y="11365383"/>
                  </a:lnTo>
                  <a:lnTo>
                    <a:pt x="4249229" y="11385551"/>
                  </a:lnTo>
                  <a:lnTo>
                    <a:pt x="4269165" y="11408204"/>
                  </a:lnTo>
                  <a:lnTo>
                    <a:pt x="4277494" y="11447121"/>
                  </a:lnTo>
                  <a:lnTo>
                    <a:pt x="4291397" y="11473963"/>
                  </a:lnTo>
                  <a:lnTo>
                    <a:pt x="4438547" y="11424191"/>
                  </a:lnTo>
                  <a:lnTo>
                    <a:pt x="4461420" y="11419554"/>
                  </a:lnTo>
                  <a:lnTo>
                    <a:pt x="4483757" y="11376457"/>
                  </a:lnTo>
                  <a:lnTo>
                    <a:pt x="4503585" y="11359712"/>
                  </a:lnTo>
                  <a:lnTo>
                    <a:pt x="4519640" y="11375778"/>
                  </a:lnTo>
                  <a:lnTo>
                    <a:pt x="4547747" y="11385946"/>
                  </a:lnTo>
                  <a:lnTo>
                    <a:pt x="4572951" y="11397798"/>
                  </a:lnTo>
                  <a:lnTo>
                    <a:pt x="4598165" y="11409649"/>
                  </a:lnTo>
                  <a:lnTo>
                    <a:pt x="4619479" y="11422938"/>
                  </a:lnTo>
                  <a:lnTo>
                    <a:pt x="4638241" y="11448124"/>
                  </a:lnTo>
                  <a:lnTo>
                    <a:pt x="4675444" y="11406516"/>
                  </a:lnTo>
                  <a:lnTo>
                    <a:pt x="4694008" y="11366518"/>
                  </a:lnTo>
                  <a:lnTo>
                    <a:pt x="4712580" y="11326513"/>
                  </a:lnTo>
                  <a:lnTo>
                    <a:pt x="4730241" y="11283858"/>
                  </a:lnTo>
                  <a:lnTo>
                    <a:pt x="4756581" y="11272659"/>
                  </a:lnTo>
                  <a:lnTo>
                    <a:pt x="4817786" y="11333867"/>
                  </a:lnTo>
                  <a:lnTo>
                    <a:pt x="4842104" y="11346780"/>
                  </a:lnTo>
                  <a:lnTo>
                    <a:pt x="4866927" y="11340000"/>
                  </a:lnTo>
                  <a:lnTo>
                    <a:pt x="4892600" y="11322986"/>
                  </a:lnTo>
                  <a:lnTo>
                    <a:pt x="4918530" y="11305826"/>
                  </a:lnTo>
                  <a:lnTo>
                    <a:pt x="4945558" y="11296612"/>
                  </a:lnTo>
                  <a:lnTo>
                    <a:pt x="4972853" y="11305297"/>
                  </a:lnTo>
                  <a:lnTo>
                    <a:pt x="4998687" y="11322260"/>
                  </a:lnTo>
                  <a:lnTo>
                    <a:pt x="5019960" y="11364348"/>
                  </a:lnTo>
                  <a:lnTo>
                    <a:pt x="5039503" y="11404590"/>
                  </a:lnTo>
                  <a:lnTo>
                    <a:pt x="5059049" y="11444833"/>
                  </a:lnTo>
                  <a:lnTo>
                    <a:pt x="5077014" y="11482858"/>
                  </a:lnTo>
                  <a:lnTo>
                    <a:pt x="5131962" y="11482291"/>
                  </a:lnTo>
                  <a:lnTo>
                    <a:pt x="5149406" y="11463345"/>
                  </a:lnTo>
                  <a:lnTo>
                    <a:pt x="5163281" y="11445400"/>
                  </a:lnTo>
                  <a:lnTo>
                    <a:pt x="5177150" y="11427448"/>
                  </a:lnTo>
                  <a:lnTo>
                    <a:pt x="5208165" y="11407314"/>
                  </a:lnTo>
                  <a:lnTo>
                    <a:pt x="5247010" y="11421012"/>
                  </a:lnTo>
                  <a:lnTo>
                    <a:pt x="5273938" y="11420577"/>
                  </a:lnTo>
                  <a:lnTo>
                    <a:pt x="5295221" y="11412756"/>
                  </a:lnTo>
                  <a:lnTo>
                    <a:pt x="5316500" y="11404927"/>
                  </a:lnTo>
                  <a:lnTo>
                    <a:pt x="5331941" y="11389165"/>
                  </a:lnTo>
                  <a:lnTo>
                    <a:pt x="5344185" y="11371946"/>
                  </a:lnTo>
                  <a:lnTo>
                    <a:pt x="5356432" y="11354733"/>
                  </a:lnTo>
                  <a:lnTo>
                    <a:pt x="5366463" y="11336095"/>
                  </a:lnTo>
                  <a:lnTo>
                    <a:pt x="5389922" y="11307143"/>
                  </a:lnTo>
                  <a:lnTo>
                    <a:pt x="5423083" y="11297133"/>
                  </a:lnTo>
                  <a:lnTo>
                    <a:pt x="5455614" y="11339960"/>
                  </a:lnTo>
                  <a:lnTo>
                    <a:pt x="5477675" y="11359218"/>
                  </a:lnTo>
                  <a:lnTo>
                    <a:pt x="5523777" y="11350097"/>
                  </a:lnTo>
                  <a:lnTo>
                    <a:pt x="5559155" y="11325860"/>
                  </a:lnTo>
                  <a:lnTo>
                    <a:pt x="5567260" y="11293057"/>
                  </a:lnTo>
                  <a:lnTo>
                    <a:pt x="5584471" y="11265340"/>
                  </a:lnTo>
                  <a:lnTo>
                    <a:pt x="5623024" y="11256331"/>
                  </a:lnTo>
                  <a:lnTo>
                    <a:pt x="5644790" y="11263129"/>
                  </a:lnTo>
                  <a:lnTo>
                    <a:pt x="5665979" y="11298011"/>
                  </a:lnTo>
                  <a:lnTo>
                    <a:pt x="5673353" y="11318896"/>
                  </a:lnTo>
                  <a:lnTo>
                    <a:pt x="5680732" y="11339782"/>
                  </a:lnTo>
                  <a:lnTo>
                    <a:pt x="5687615" y="11359864"/>
                  </a:lnTo>
                  <a:lnTo>
                    <a:pt x="5748163" y="11380109"/>
                  </a:lnTo>
                  <a:lnTo>
                    <a:pt x="5772652" y="11371946"/>
                  </a:lnTo>
                  <a:lnTo>
                    <a:pt x="5794731" y="11327179"/>
                  </a:lnTo>
                  <a:lnTo>
                    <a:pt x="5795171" y="11298649"/>
                  </a:lnTo>
                  <a:lnTo>
                    <a:pt x="5793048" y="11271294"/>
                  </a:lnTo>
                  <a:lnTo>
                    <a:pt x="5790933" y="11243932"/>
                  </a:lnTo>
                  <a:lnTo>
                    <a:pt x="5785860" y="11217084"/>
                  </a:lnTo>
                  <a:lnTo>
                    <a:pt x="5794406" y="11174719"/>
                  </a:lnTo>
                  <a:lnTo>
                    <a:pt x="5799835" y="11147745"/>
                  </a:lnTo>
                  <a:lnTo>
                    <a:pt x="5847286" y="11095679"/>
                  </a:lnTo>
                  <a:lnTo>
                    <a:pt x="5862420" y="11063178"/>
                  </a:lnTo>
                  <a:lnTo>
                    <a:pt x="5911388" y="10955728"/>
                  </a:lnTo>
                  <a:lnTo>
                    <a:pt x="5932531" y="10938602"/>
                  </a:lnTo>
                  <a:lnTo>
                    <a:pt x="5963691" y="10932039"/>
                  </a:lnTo>
                  <a:lnTo>
                    <a:pt x="5990282" y="10917643"/>
                  </a:lnTo>
                  <a:lnTo>
                    <a:pt x="6026066" y="10878957"/>
                  </a:lnTo>
                  <a:lnTo>
                    <a:pt x="6045516" y="10817051"/>
                  </a:lnTo>
                  <a:lnTo>
                    <a:pt x="6085492" y="10784340"/>
                  </a:lnTo>
                  <a:lnTo>
                    <a:pt x="6119074" y="10774857"/>
                  </a:lnTo>
                  <a:lnTo>
                    <a:pt x="6141687" y="10758454"/>
                  </a:lnTo>
                  <a:lnTo>
                    <a:pt x="6157580" y="10736732"/>
                  </a:lnTo>
                  <a:lnTo>
                    <a:pt x="6172795" y="10714387"/>
                  </a:lnTo>
                  <a:lnTo>
                    <a:pt x="6183969" y="10688370"/>
                  </a:lnTo>
                  <a:lnTo>
                    <a:pt x="6207909" y="10666001"/>
                  </a:lnTo>
                  <a:lnTo>
                    <a:pt x="6230779" y="10644633"/>
                  </a:lnTo>
                  <a:lnTo>
                    <a:pt x="6256579" y="10638282"/>
                  </a:lnTo>
                  <a:lnTo>
                    <a:pt x="6282720" y="10629281"/>
                  </a:lnTo>
                  <a:lnTo>
                    <a:pt x="6308870" y="10620272"/>
                  </a:lnTo>
                  <a:lnTo>
                    <a:pt x="6335492" y="10608045"/>
                  </a:lnTo>
                  <a:lnTo>
                    <a:pt x="6358892" y="10574872"/>
                  </a:lnTo>
                  <a:lnTo>
                    <a:pt x="6375214" y="10551745"/>
                  </a:lnTo>
                  <a:lnTo>
                    <a:pt x="6382546" y="10530324"/>
                  </a:lnTo>
                  <a:lnTo>
                    <a:pt x="6392893" y="10505501"/>
                  </a:lnTo>
                  <a:lnTo>
                    <a:pt x="6402992" y="10481271"/>
                  </a:lnTo>
                  <a:lnTo>
                    <a:pt x="6416808" y="10457636"/>
                  </a:lnTo>
                  <a:lnTo>
                    <a:pt x="6426903" y="10433412"/>
                  </a:lnTo>
                  <a:lnTo>
                    <a:pt x="6454077" y="10368182"/>
                  </a:lnTo>
                  <a:lnTo>
                    <a:pt x="6462445" y="10336638"/>
                  </a:lnTo>
                  <a:lnTo>
                    <a:pt x="6482671" y="10316432"/>
                  </a:lnTo>
                  <a:lnTo>
                    <a:pt x="6502899" y="10296225"/>
                  </a:lnTo>
                  <a:lnTo>
                    <a:pt x="6534091" y="10287855"/>
                  </a:lnTo>
                  <a:lnTo>
                    <a:pt x="6605091" y="10267464"/>
                  </a:lnTo>
                  <a:lnTo>
                    <a:pt x="6624132" y="10237544"/>
                  </a:lnTo>
                  <a:lnTo>
                    <a:pt x="6631372" y="10203329"/>
                  </a:lnTo>
                  <a:lnTo>
                    <a:pt x="6634128" y="10142748"/>
                  </a:lnTo>
                  <a:lnTo>
                    <a:pt x="6630048" y="10100758"/>
                  </a:lnTo>
                  <a:lnTo>
                    <a:pt x="6618058" y="10068357"/>
                  </a:lnTo>
                  <a:lnTo>
                    <a:pt x="6586053" y="10062072"/>
                  </a:lnTo>
                  <a:lnTo>
                    <a:pt x="6551225" y="10062139"/>
                  </a:lnTo>
                  <a:lnTo>
                    <a:pt x="6527834" y="10044022"/>
                  </a:lnTo>
                  <a:lnTo>
                    <a:pt x="6522175" y="10015077"/>
                  </a:lnTo>
                  <a:lnTo>
                    <a:pt x="6520764" y="9985902"/>
                  </a:lnTo>
                  <a:lnTo>
                    <a:pt x="6519344" y="9956725"/>
                  </a:lnTo>
                  <a:lnTo>
                    <a:pt x="6522774" y="9926983"/>
                  </a:lnTo>
                  <a:lnTo>
                    <a:pt x="6543358" y="9891983"/>
                  </a:lnTo>
                  <a:lnTo>
                    <a:pt x="6569130" y="9871031"/>
                  </a:lnTo>
                  <a:lnTo>
                    <a:pt x="6595575" y="9860763"/>
                  </a:lnTo>
                  <a:lnTo>
                    <a:pt x="6616845" y="9781255"/>
                  </a:lnTo>
                  <a:lnTo>
                    <a:pt x="6652465" y="9710551"/>
                  </a:lnTo>
                  <a:lnTo>
                    <a:pt x="6689427" y="9637690"/>
                  </a:lnTo>
                  <a:lnTo>
                    <a:pt x="6700592" y="9615644"/>
                  </a:lnTo>
                  <a:lnTo>
                    <a:pt x="6683989" y="9579207"/>
                  </a:lnTo>
                  <a:lnTo>
                    <a:pt x="6662374" y="9546780"/>
                  </a:lnTo>
                  <a:lnTo>
                    <a:pt x="6670448" y="9489899"/>
                  </a:lnTo>
                  <a:lnTo>
                    <a:pt x="6704601" y="9450350"/>
                  </a:lnTo>
                  <a:lnTo>
                    <a:pt x="6727515" y="9415983"/>
                  </a:lnTo>
                  <a:lnTo>
                    <a:pt x="6766253" y="9221750"/>
                  </a:lnTo>
                  <a:lnTo>
                    <a:pt x="6771041" y="9183388"/>
                  </a:lnTo>
                  <a:lnTo>
                    <a:pt x="6720027" y="9131617"/>
                  </a:lnTo>
                  <a:lnTo>
                    <a:pt x="6707351" y="9086205"/>
                  </a:lnTo>
                  <a:lnTo>
                    <a:pt x="6723003" y="9056456"/>
                  </a:lnTo>
                  <a:lnTo>
                    <a:pt x="6739753" y="9026963"/>
                  </a:lnTo>
                  <a:lnTo>
                    <a:pt x="6756505" y="8997477"/>
                  </a:lnTo>
                  <a:lnTo>
                    <a:pt x="6774020" y="8968782"/>
                  </a:lnTo>
                  <a:lnTo>
                    <a:pt x="6779198" y="8935828"/>
                  </a:lnTo>
                  <a:lnTo>
                    <a:pt x="6754632" y="8922269"/>
                  </a:lnTo>
                  <a:lnTo>
                    <a:pt x="6710216" y="8892711"/>
                  </a:lnTo>
                  <a:lnTo>
                    <a:pt x="6694868" y="8867821"/>
                  </a:lnTo>
                  <a:lnTo>
                    <a:pt x="6699532" y="8846751"/>
                  </a:lnTo>
                  <a:lnTo>
                    <a:pt x="6723431" y="8821571"/>
                  </a:lnTo>
                  <a:lnTo>
                    <a:pt x="6751454" y="8798740"/>
                  </a:lnTo>
                  <a:lnTo>
                    <a:pt x="6763751" y="8778447"/>
                  </a:lnTo>
                  <a:lnTo>
                    <a:pt x="6785747" y="8711568"/>
                  </a:lnTo>
                  <a:lnTo>
                    <a:pt x="6796450" y="8681654"/>
                  </a:lnTo>
                  <a:lnTo>
                    <a:pt x="6829530" y="8661071"/>
                  </a:lnTo>
                  <a:lnTo>
                    <a:pt x="6867794" y="8650856"/>
                  </a:lnTo>
                  <a:lnTo>
                    <a:pt x="6889371" y="8650189"/>
                  </a:lnTo>
                  <a:lnTo>
                    <a:pt x="6932541" y="8648851"/>
                  </a:lnTo>
                  <a:lnTo>
                    <a:pt x="6977822" y="8655043"/>
                  </a:lnTo>
                  <a:lnTo>
                    <a:pt x="7000912" y="8639308"/>
                  </a:lnTo>
                  <a:lnTo>
                    <a:pt x="7018660" y="8627212"/>
                  </a:lnTo>
                  <a:lnTo>
                    <a:pt x="7034659" y="8604580"/>
                  </a:lnTo>
                  <a:lnTo>
                    <a:pt x="7051237" y="8590340"/>
                  </a:lnTo>
                  <a:lnTo>
                    <a:pt x="7086519" y="8560010"/>
                  </a:lnTo>
                  <a:lnTo>
                    <a:pt x="7130045" y="8522941"/>
                  </a:lnTo>
                  <a:lnTo>
                    <a:pt x="7177735" y="8492407"/>
                  </a:lnTo>
                  <a:lnTo>
                    <a:pt x="7201588" y="8477139"/>
                  </a:lnTo>
                  <a:lnTo>
                    <a:pt x="7227605" y="8464312"/>
                  </a:lnTo>
                  <a:lnTo>
                    <a:pt x="7252546" y="8454321"/>
                  </a:lnTo>
                  <a:lnTo>
                    <a:pt x="7277496" y="8444329"/>
                  </a:lnTo>
                  <a:lnTo>
                    <a:pt x="7302655" y="8437795"/>
                  </a:lnTo>
                  <a:lnTo>
                    <a:pt x="7327360" y="8436640"/>
                  </a:lnTo>
                  <a:lnTo>
                    <a:pt x="7376049" y="8434345"/>
                  </a:lnTo>
                  <a:lnTo>
                    <a:pt x="7428182" y="8447837"/>
                  </a:lnTo>
                  <a:lnTo>
                    <a:pt x="7476985" y="8437999"/>
                  </a:lnTo>
                  <a:lnTo>
                    <a:pt x="7497923" y="8433765"/>
                  </a:lnTo>
                  <a:lnTo>
                    <a:pt x="7524356" y="8421135"/>
                  </a:lnTo>
                  <a:lnTo>
                    <a:pt x="7550432" y="8412153"/>
                  </a:lnTo>
                  <a:lnTo>
                    <a:pt x="7576508" y="8403170"/>
                  </a:lnTo>
                  <a:lnTo>
                    <a:pt x="7602131" y="8397084"/>
                  </a:lnTo>
                  <a:lnTo>
                    <a:pt x="7623878" y="8408077"/>
                  </a:lnTo>
                  <a:lnTo>
                    <a:pt x="7643335" y="8429787"/>
                  </a:lnTo>
                  <a:lnTo>
                    <a:pt x="7650680" y="8457097"/>
                  </a:lnTo>
                  <a:lnTo>
                    <a:pt x="7653808" y="8486965"/>
                  </a:lnTo>
                  <a:lnTo>
                    <a:pt x="7660627" y="8517942"/>
                  </a:lnTo>
                  <a:lnTo>
                    <a:pt x="7679633" y="8545772"/>
                  </a:lnTo>
                  <a:lnTo>
                    <a:pt x="7719097" y="8567219"/>
                  </a:lnTo>
                  <a:lnTo>
                    <a:pt x="7727999" y="8596124"/>
                  </a:lnTo>
                  <a:lnTo>
                    <a:pt x="7722815" y="8640712"/>
                  </a:lnTo>
                  <a:lnTo>
                    <a:pt x="7732703" y="8662437"/>
                  </a:lnTo>
                  <a:lnTo>
                    <a:pt x="7742429" y="8683837"/>
                  </a:lnTo>
                  <a:lnTo>
                    <a:pt x="7767938" y="8693630"/>
                  </a:lnTo>
                  <a:lnTo>
                    <a:pt x="7778945" y="8714120"/>
                  </a:lnTo>
                  <a:lnTo>
                    <a:pt x="7789933" y="8750465"/>
                  </a:lnTo>
                  <a:lnTo>
                    <a:pt x="7823829" y="8759006"/>
                  </a:lnTo>
                  <a:lnTo>
                    <a:pt x="7840073" y="8740257"/>
                  </a:lnTo>
                  <a:lnTo>
                    <a:pt x="7845673" y="8709748"/>
                  </a:lnTo>
                  <a:lnTo>
                    <a:pt x="7846953" y="8674676"/>
                  </a:lnTo>
                  <a:lnTo>
                    <a:pt x="7852029" y="8640007"/>
                  </a:lnTo>
                  <a:lnTo>
                    <a:pt x="7866354" y="8614128"/>
                  </a:lnTo>
                  <a:lnTo>
                    <a:pt x="7897279" y="8603946"/>
                  </a:lnTo>
                  <a:lnTo>
                    <a:pt x="7931202" y="8612975"/>
                  </a:lnTo>
                  <a:lnTo>
                    <a:pt x="7944206" y="8652867"/>
                  </a:lnTo>
                  <a:lnTo>
                    <a:pt x="7966648" y="8661071"/>
                  </a:lnTo>
                  <a:lnTo>
                    <a:pt x="7990746" y="8669895"/>
                  </a:lnTo>
                  <a:lnTo>
                    <a:pt x="8027435" y="8665523"/>
                  </a:lnTo>
                  <a:lnTo>
                    <a:pt x="8048262" y="8652913"/>
                  </a:lnTo>
                  <a:lnTo>
                    <a:pt x="8072446" y="8638260"/>
                  </a:lnTo>
                  <a:lnTo>
                    <a:pt x="8086942" y="8620881"/>
                  </a:lnTo>
                  <a:lnTo>
                    <a:pt x="8104792" y="8584286"/>
                  </a:lnTo>
                  <a:lnTo>
                    <a:pt x="8109467" y="8546814"/>
                  </a:lnTo>
                  <a:lnTo>
                    <a:pt x="8110509" y="8507944"/>
                  </a:lnTo>
                  <a:lnTo>
                    <a:pt x="8113873" y="8474146"/>
                  </a:lnTo>
                  <a:lnTo>
                    <a:pt x="8127156" y="8447521"/>
                  </a:lnTo>
                  <a:lnTo>
                    <a:pt x="8160060" y="8439384"/>
                  </a:lnTo>
                  <a:lnTo>
                    <a:pt x="8189729" y="8458403"/>
                  </a:lnTo>
                  <a:lnTo>
                    <a:pt x="8202727" y="8491760"/>
                  </a:lnTo>
                  <a:lnTo>
                    <a:pt x="8201970" y="8515528"/>
                  </a:lnTo>
                  <a:lnTo>
                    <a:pt x="8201204" y="8539303"/>
                  </a:lnTo>
                  <a:lnTo>
                    <a:pt x="8196628" y="8566315"/>
                  </a:lnTo>
                  <a:lnTo>
                    <a:pt x="8195161" y="8590340"/>
                  </a:lnTo>
                  <a:lnTo>
                    <a:pt x="8193704" y="8614367"/>
                  </a:lnTo>
                  <a:lnTo>
                    <a:pt x="8203328" y="8648831"/>
                  </a:lnTo>
                  <a:lnTo>
                    <a:pt x="8230586" y="8662060"/>
                  </a:lnTo>
                  <a:lnTo>
                    <a:pt x="8253654" y="8666512"/>
                  </a:lnTo>
                  <a:lnTo>
                    <a:pt x="8276729" y="8670969"/>
                  </a:lnTo>
                  <a:lnTo>
                    <a:pt x="8300696" y="8674103"/>
                  </a:lnTo>
                  <a:lnTo>
                    <a:pt x="8326521" y="8678462"/>
                  </a:lnTo>
                  <a:lnTo>
                    <a:pt x="8387621" y="8690213"/>
                  </a:lnTo>
                  <a:lnTo>
                    <a:pt x="8446799" y="8701881"/>
                  </a:lnTo>
                  <a:lnTo>
                    <a:pt x="8505980" y="8713540"/>
                  </a:lnTo>
                  <a:lnTo>
                    <a:pt x="8564128" y="8724513"/>
                  </a:lnTo>
                  <a:lnTo>
                    <a:pt x="8590198" y="8711634"/>
                  </a:lnTo>
                  <a:lnTo>
                    <a:pt x="8606600" y="8678033"/>
                  </a:lnTo>
                  <a:lnTo>
                    <a:pt x="8623628" y="8642032"/>
                  </a:lnTo>
                  <a:lnTo>
                    <a:pt x="8640657" y="8606023"/>
                  </a:lnTo>
                  <a:lnTo>
                    <a:pt x="8658507" y="8567424"/>
                  </a:lnTo>
                  <a:lnTo>
                    <a:pt x="8675318" y="8546814"/>
                  </a:lnTo>
                  <a:lnTo>
                    <a:pt x="8695974" y="8521484"/>
                  </a:lnTo>
                  <a:lnTo>
                    <a:pt x="8726323" y="8497636"/>
                  </a:lnTo>
                  <a:lnTo>
                    <a:pt x="8750129" y="8474726"/>
                  </a:lnTo>
                  <a:lnTo>
                    <a:pt x="8758947" y="8442318"/>
                  </a:lnTo>
                  <a:lnTo>
                    <a:pt x="8755564" y="8418958"/>
                  </a:lnTo>
                  <a:lnTo>
                    <a:pt x="8752175" y="8395594"/>
                  </a:lnTo>
                  <a:lnTo>
                    <a:pt x="8747599" y="8371278"/>
                  </a:lnTo>
                  <a:lnTo>
                    <a:pt x="8761341" y="8335903"/>
                  </a:lnTo>
                  <a:lnTo>
                    <a:pt x="8796210" y="8306279"/>
                  </a:lnTo>
                  <a:lnTo>
                    <a:pt x="8809973" y="8288380"/>
                  </a:lnTo>
                  <a:lnTo>
                    <a:pt x="8829963" y="8262370"/>
                  </a:lnTo>
                  <a:lnTo>
                    <a:pt x="8847267" y="8235264"/>
                  </a:lnTo>
                  <a:lnTo>
                    <a:pt x="8863015" y="8208126"/>
                  </a:lnTo>
                  <a:lnTo>
                    <a:pt x="8878769" y="8180988"/>
                  </a:lnTo>
                  <a:lnTo>
                    <a:pt x="8892065" y="8153376"/>
                  </a:lnTo>
                  <a:lnTo>
                    <a:pt x="8903825" y="8122432"/>
                  </a:lnTo>
                  <a:lnTo>
                    <a:pt x="8918717" y="8083265"/>
                  </a:lnTo>
                  <a:lnTo>
                    <a:pt x="8914609" y="8031970"/>
                  </a:lnTo>
                  <a:lnTo>
                    <a:pt x="8907899" y="7986413"/>
                  </a:lnTo>
                  <a:lnTo>
                    <a:pt x="8901199" y="7940855"/>
                  </a:lnTo>
                  <a:lnTo>
                    <a:pt x="8891928" y="7901206"/>
                  </a:lnTo>
                  <a:lnTo>
                    <a:pt x="8939569" y="7855325"/>
                  </a:lnTo>
                  <a:lnTo>
                    <a:pt x="9000532" y="7849575"/>
                  </a:lnTo>
                  <a:lnTo>
                    <a:pt x="9050718" y="7836794"/>
                  </a:lnTo>
                  <a:lnTo>
                    <a:pt x="9075815" y="7830404"/>
                  </a:lnTo>
                  <a:lnTo>
                    <a:pt x="9098480" y="7822021"/>
                  </a:lnTo>
                  <a:lnTo>
                    <a:pt x="9114649" y="7808224"/>
                  </a:lnTo>
                  <a:lnTo>
                    <a:pt x="9130822" y="7794435"/>
                  </a:lnTo>
                  <a:lnTo>
                    <a:pt x="9140471" y="7775409"/>
                  </a:lnTo>
                  <a:lnTo>
                    <a:pt x="9140490" y="7747017"/>
                  </a:lnTo>
                  <a:lnTo>
                    <a:pt x="9104284" y="7659199"/>
                  </a:lnTo>
                  <a:lnTo>
                    <a:pt x="9097993" y="7624853"/>
                  </a:lnTo>
                  <a:lnTo>
                    <a:pt x="9091404" y="7598652"/>
                  </a:lnTo>
                  <a:lnTo>
                    <a:pt x="9088806" y="7574270"/>
                  </a:lnTo>
                  <a:lnTo>
                    <a:pt x="9093097" y="7529596"/>
                  </a:lnTo>
                  <a:lnTo>
                    <a:pt x="9081194" y="7480017"/>
                  </a:lnTo>
                  <a:lnTo>
                    <a:pt x="9062538" y="7443250"/>
                  </a:lnTo>
                  <a:lnTo>
                    <a:pt x="9050718" y="7412412"/>
                  </a:lnTo>
                  <a:lnTo>
                    <a:pt x="9059595" y="7362093"/>
                  </a:lnTo>
                  <a:lnTo>
                    <a:pt x="9077052" y="7345197"/>
                  </a:lnTo>
                  <a:lnTo>
                    <a:pt x="9096970" y="7333517"/>
                  </a:lnTo>
                  <a:lnTo>
                    <a:pt x="9116885" y="7321844"/>
                  </a:lnTo>
                  <a:lnTo>
                    <a:pt x="9139467" y="7315546"/>
                  </a:lnTo>
                  <a:lnTo>
                    <a:pt x="9162259" y="7304954"/>
                  </a:lnTo>
                  <a:lnTo>
                    <a:pt x="9185051" y="7294363"/>
                  </a:lnTo>
                  <a:lnTo>
                    <a:pt x="9207329" y="7279920"/>
                  </a:lnTo>
                  <a:lnTo>
                    <a:pt x="9226190" y="7253264"/>
                  </a:lnTo>
                  <a:lnTo>
                    <a:pt x="9245045" y="7226613"/>
                  </a:lnTo>
                  <a:lnTo>
                    <a:pt x="9260247" y="7188000"/>
                  </a:lnTo>
                  <a:lnTo>
                    <a:pt x="9268352" y="7128126"/>
                  </a:lnTo>
                  <a:lnTo>
                    <a:pt x="9297652" y="7134760"/>
                  </a:lnTo>
                  <a:lnTo>
                    <a:pt x="9313837" y="7148900"/>
                  </a:lnTo>
                  <a:lnTo>
                    <a:pt x="9342564" y="7164483"/>
                  </a:lnTo>
                  <a:lnTo>
                    <a:pt x="9369009" y="7163494"/>
                  </a:lnTo>
                  <a:lnTo>
                    <a:pt x="9395897" y="7159194"/>
                  </a:lnTo>
                  <a:lnTo>
                    <a:pt x="9422224" y="7138163"/>
                  </a:lnTo>
                  <a:lnTo>
                    <a:pt x="9456061" y="7109086"/>
                  </a:lnTo>
                  <a:lnTo>
                    <a:pt x="9480193" y="7088345"/>
                  </a:lnTo>
                  <a:lnTo>
                    <a:pt x="9518687" y="7052911"/>
                  </a:lnTo>
                  <a:lnTo>
                    <a:pt x="9543116" y="7013869"/>
                  </a:lnTo>
                  <a:lnTo>
                    <a:pt x="9555330" y="6994355"/>
                  </a:lnTo>
                  <a:lnTo>
                    <a:pt x="9563791" y="6973897"/>
                  </a:lnTo>
                  <a:lnTo>
                    <a:pt x="9568690" y="6934150"/>
                  </a:lnTo>
                  <a:lnTo>
                    <a:pt x="9551280" y="6896895"/>
                  </a:lnTo>
                  <a:lnTo>
                    <a:pt x="9523790" y="6866815"/>
                  </a:lnTo>
                  <a:lnTo>
                    <a:pt x="9499872" y="6834474"/>
                  </a:lnTo>
                  <a:lnTo>
                    <a:pt x="9485982" y="6796237"/>
                  </a:lnTo>
                  <a:lnTo>
                    <a:pt x="9480695" y="6773689"/>
                  </a:lnTo>
                  <a:lnTo>
                    <a:pt x="9481520" y="6750118"/>
                  </a:lnTo>
                  <a:lnTo>
                    <a:pt x="9488701" y="6726872"/>
                  </a:lnTo>
                  <a:lnTo>
                    <a:pt x="9495894" y="6703618"/>
                  </a:lnTo>
                  <a:lnTo>
                    <a:pt x="9509580" y="6680312"/>
                  </a:lnTo>
                  <a:lnTo>
                    <a:pt x="9525427" y="6660217"/>
                  </a:lnTo>
                  <a:lnTo>
                    <a:pt x="9541281" y="6640122"/>
                  </a:lnTo>
                  <a:lnTo>
                    <a:pt x="9560514" y="6622969"/>
                  </a:lnTo>
                  <a:lnTo>
                    <a:pt x="9581195" y="6609891"/>
                  </a:lnTo>
                  <a:lnTo>
                    <a:pt x="9601882" y="6596814"/>
                  </a:lnTo>
                  <a:lnTo>
                    <a:pt x="9623428" y="6588965"/>
                  </a:lnTo>
                  <a:lnTo>
                    <a:pt x="9645126" y="6586770"/>
                  </a:lnTo>
                  <a:lnTo>
                    <a:pt x="9684258" y="6588828"/>
                  </a:lnTo>
                  <a:lnTo>
                    <a:pt x="9720253" y="6603751"/>
                  </a:lnTo>
                  <a:lnTo>
                    <a:pt x="9752583" y="6624855"/>
                  </a:lnTo>
                  <a:lnTo>
                    <a:pt x="9782999" y="6645385"/>
                  </a:lnTo>
                  <a:lnTo>
                    <a:pt x="9807122" y="6664662"/>
                  </a:lnTo>
                  <a:lnTo>
                    <a:pt x="9826029" y="6646619"/>
                  </a:lnTo>
                  <a:lnTo>
                    <a:pt x="9849014" y="6629241"/>
                  </a:lnTo>
                  <a:lnTo>
                    <a:pt x="9865611" y="6604147"/>
                  </a:lnTo>
                  <a:lnTo>
                    <a:pt x="9880438" y="6578605"/>
                  </a:lnTo>
                  <a:lnTo>
                    <a:pt x="9896930" y="6554844"/>
                  </a:lnTo>
                  <a:lnTo>
                    <a:pt x="9921881" y="6525931"/>
                  </a:lnTo>
                  <a:lnTo>
                    <a:pt x="9932128" y="6498359"/>
                  </a:lnTo>
                  <a:lnTo>
                    <a:pt x="9938894" y="6471379"/>
                  </a:lnTo>
                  <a:lnTo>
                    <a:pt x="9928079" y="6446443"/>
                  </a:lnTo>
                  <a:lnTo>
                    <a:pt x="9894038" y="6426263"/>
                  </a:lnTo>
                  <a:lnTo>
                    <a:pt x="9894233" y="6403985"/>
                  </a:lnTo>
                  <a:lnTo>
                    <a:pt x="9910089" y="6389872"/>
                  </a:lnTo>
                  <a:lnTo>
                    <a:pt x="9928039" y="6377295"/>
                  </a:lnTo>
                  <a:lnTo>
                    <a:pt x="9945997" y="6364726"/>
                  </a:lnTo>
                  <a:lnTo>
                    <a:pt x="9966678" y="6352961"/>
                  </a:lnTo>
                  <a:lnTo>
                    <a:pt x="9987157" y="6324088"/>
                  </a:lnTo>
                  <a:lnTo>
                    <a:pt x="9997954" y="6248352"/>
                  </a:lnTo>
                  <a:lnTo>
                    <a:pt x="10009658" y="6219513"/>
                  </a:lnTo>
                  <a:close/>
                </a:path>
              </a:pathLst>
            </a:custGeom>
            <a:solidFill>
              <a:schemeClr val="accent4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81" name="Kiev City¬0" descr="Kiev City¬0">
              <a:extLst>
                <a:ext uri="{FF2B5EF4-FFF2-40B4-BE49-F238E27FC236}">
                  <a16:creationId xmlns:a16="http://schemas.microsoft.com/office/drawing/2014/main" id="{424B5C04-C9E0-4B97-917D-1F96BD99DA6B}"/>
                </a:ext>
              </a:extLst>
            </p:cNvPr>
            <p:cNvSpPr/>
            <p:nvPr/>
          </p:nvSpPr>
          <p:spPr>
            <a:xfrm>
              <a:off x="3654206" y="1998561"/>
              <a:ext cx="203141" cy="174909"/>
            </a:xfrm>
            <a:custGeom>
              <a:avLst/>
              <a:gdLst/>
              <a:ahLst/>
              <a:cxnLst/>
              <a:rect l="0" t="0" r="0" b="0"/>
              <a:pathLst>
                <a:path w="2072938" h="2026101">
                  <a:moveTo>
                    <a:pt x="1742749" y="0"/>
                  </a:moveTo>
                  <a:lnTo>
                    <a:pt x="1762813" y="13006"/>
                  </a:lnTo>
                  <a:lnTo>
                    <a:pt x="1800898" y="51091"/>
                  </a:lnTo>
                  <a:lnTo>
                    <a:pt x="1877070" y="105499"/>
                  </a:lnTo>
                  <a:lnTo>
                    <a:pt x="1947800" y="100058"/>
                  </a:lnTo>
                  <a:lnTo>
                    <a:pt x="2062057" y="203434"/>
                  </a:lnTo>
                  <a:lnTo>
                    <a:pt x="2067495" y="274163"/>
                  </a:lnTo>
                  <a:lnTo>
                    <a:pt x="1926034" y="366657"/>
                  </a:lnTo>
                  <a:lnTo>
                    <a:pt x="1893391" y="334012"/>
                  </a:lnTo>
                  <a:lnTo>
                    <a:pt x="1844424" y="361216"/>
                  </a:lnTo>
                  <a:lnTo>
                    <a:pt x="1844424" y="421065"/>
                  </a:lnTo>
                  <a:lnTo>
                    <a:pt x="1784576" y="470032"/>
                  </a:lnTo>
                  <a:lnTo>
                    <a:pt x="1779135" y="546203"/>
                  </a:lnTo>
                  <a:lnTo>
                    <a:pt x="1833544" y="567966"/>
                  </a:lnTo>
                  <a:lnTo>
                    <a:pt x="1844424" y="758394"/>
                  </a:lnTo>
                  <a:lnTo>
                    <a:pt x="1958680" y="791039"/>
                  </a:lnTo>
                  <a:lnTo>
                    <a:pt x="2040294" y="883532"/>
                  </a:lnTo>
                  <a:lnTo>
                    <a:pt x="2023969" y="921618"/>
                  </a:lnTo>
                  <a:lnTo>
                    <a:pt x="2072937" y="992348"/>
                  </a:lnTo>
                  <a:lnTo>
                    <a:pt x="2034852" y="1019553"/>
                  </a:lnTo>
                  <a:lnTo>
                    <a:pt x="1969563" y="1014112"/>
                  </a:lnTo>
                  <a:lnTo>
                    <a:pt x="1958680" y="1068520"/>
                  </a:lnTo>
                  <a:lnTo>
                    <a:pt x="1887950" y="1155572"/>
                  </a:lnTo>
                  <a:lnTo>
                    <a:pt x="1893391" y="1186859"/>
                  </a:lnTo>
                  <a:lnTo>
                    <a:pt x="1893391" y="1220862"/>
                  </a:lnTo>
                  <a:lnTo>
                    <a:pt x="1871628" y="1231744"/>
                  </a:lnTo>
                  <a:lnTo>
                    <a:pt x="1851223" y="1237184"/>
                  </a:lnTo>
                  <a:lnTo>
                    <a:pt x="1828102" y="1220862"/>
                  </a:lnTo>
                  <a:lnTo>
                    <a:pt x="1806339" y="1166454"/>
                  </a:lnTo>
                  <a:lnTo>
                    <a:pt x="1757372" y="1166454"/>
                  </a:lnTo>
                  <a:lnTo>
                    <a:pt x="1762813" y="1280710"/>
                  </a:lnTo>
                  <a:lnTo>
                    <a:pt x="1626790" y="1324237"/>
                  </a:lnTo>
                  <a:lnTo>
                    <a:pt x="1566943" y="1280710"/>
                  </a:lnTo>
                  <a:lnTo>
                    <a:pt x="1523417" y="1286151"/>
                  </a:lnTo>
                  <a:lnTo>
                    <a:pt x="1490771" y="1248066"/>
                  </a:lnTo>
                  <a:lnTo>
                    <a:pt x="1338430" y="1275270"/>
                  </a:lnTo>
                  <a:lnTo>
                    <a:pt x="1360872" y="1303193"/>
                  </a:lnTo>
                  <a:lnTo>
                    <a:pt x="1383314" y="1331036"/>
                  </a:lnTo>
                  <a:lnTo>
                    <a:pt x="1412010" y="1363319"/>
                  </a:lnTo>
                  <a:lnTo>
                    <a:pt x="1426849" y="1400408"/>
                  </a:lnTo>
                  <a:lnTo>
                    <a:pt x="1460850" y="1427612"/>
                  </a:lnTo>
                  <a:lnTo>
                    <a:pt x="1460850" y="1454816"/>
                  </a:lnTo>
                  <a:lnTo>
                    <a:pt x="1460850" y="1482020"/>
                  </a:lnTo>
                  <a:lnTo>
                    <a:pt x="1458134" y="1569073"/>
                  </a:lnTo>
                  <a:lnTo>
                    <a:pt x="1463575" y="1732297"/>
                  </a:lnTo>
                  <a:lnTo>
                    <a:pt x="1398286" y="1759501"/>
                  </a:lnTo>
                  <a:lnTo>
                    <a:pt x="1436371" y="1835672"/>
                  </a:lnTo>
                  <a:lnTo>
                    <a:pt x="1403725" y="1884639"/>
                  </a:lnTo>
                  <a:lnTo>
                    <a:pt x="1441812" y="1928166"/>
                  </a:lnTo>
                  <a:lnTo>
                    <a:pt x="1463575" y="1971692"/>
                  </a:lnTo>
                  <a:lnTo>
                    <a:pt x="1251384" y="2026100"/>
                  </a:lnTo>
                  <a:lnTo>
                    <a:pt x="1093601" y="1726856"/>
                  </a:lnTo>
                  <a:lnTo>
                    <a:pt x="1094280" y="1703727"/>
                  </a:lnTo>
                  <a:lnTo>
                    <a:pt x="1092243" y="1680606"/>
                  </a:lnTo>
                  <a:lnTo>
                    <a:pt x="1090197" y="1657484"/>
                  </a:lnTo>
                  <a:lnTo>
                    <a:pt x="1085444" y="1634363"/>
                  </a:lnTo>
                  <a:lnTo>
                    <a:pt x="1058239" y="1634363"/>
                  </a:lnTo>
                  <a:lnTo>
                    <a:pt x="1025593" y="1619398"/>
                  </a:lnTo>
                  <a:lnTo>
                    <a:pt x="1003824" y="1596276"/>
                  </a:lnTo>
                  <a:lnTo>
                    <a:pt x="1028312" y="1547310"/>
                  </a:lnTo>
                  <a:lnTo>
                    <a:pt x="1028312" y="1520106"/>
                  </a:lnTo>
                  <a:lnTo>
                    <a:pt x="1017429" y="1492901"/>
                  </a:lnTo>
                  <a:lnTo>
                    <a:pt x="997703" y="1461616"/>
                  </a:lnTo>
                  <a:lnTo>
                    <a:pt x="980703" y="1448010"/>
                  </a:lnTo>
                  <a:lnTo>
                    <a:pt x="963702" y="1434411"/>
                  </a:lnTo>
                  <a:lnTo>
                    <a:pt x="943976" y="1424888"/>
                  </a:lnTo>
                  <a:lnTo>
                    <a:pt x="905898" y="1430329"/>
                  </a:lnTo>
                  <a:lnTo>
                    <a:pt x="888209" y="1416731"/>
                  </a:lnTo>
                  <a:lnTo>
                    <a:pt x="873252" y="1397685"/>
                  </a:lnTo>
                  <a:lnTo>
                    <a:pt x="846047" y="1381362"/>
                  </a:lnTo>
                  <a:lnTo>
                    <a:pt x="843325" y="1350076"/>
                  </a:lnTo>
                  <a:lnTo>
                    <a:pt x="848763" y="1324237"/>
                  </a:lnTo>
                  <a:lnTo>
                    <a:pt x="837883" y="1291592"/>
                  </a:lnTo>
                  <a:lnTo>
                    <a:pt x="696422" y="1318797"/>
                  </a:lnTo>
                  <a:lnTo>
                    <a:pt x="680101" y="1248066"/>
                  </a:lnTo>
                  <a:lnTo>
                    <a:pt x="723627" y="1166454"/>
                  </a:lnTo>
                  <a:lnTo>
                    <a:pt x="565844" y="997789"/>
                  </a:lnTo>
                  <a:lnTo>
                    <a:pt x="533198" y="1019553"/>
                  </a:lnTo>
                  <a:lnTo>
                    <a:pt x="489672" y="981467"/>
                  </a:lnTo>
                  <a:lnTo>
                    <a:pt x="505994" y="943381"/>
                  </a:lnTo>
                  <a:lnTo>
                    <a:pt x="429825" y="812803"/>
                  </a:lnTo>
                  <a:lnTo>
                    <a:pt x="380857" y="807362"/>
                  </a:lnTo>
                  <a:lnTo>
                    <a:pt x="342769" y="769276"/>
                  </a:lnTo>
                  <a:lnTo>
                    <a:pt x="130581" y="801921"/>
                  </a:lnTo>
                  <a:lnTo>
                    <a:pt x="92493" y="845447"/>
                  </a:lnTo>
                  <a:lnTo>
                    <a:pt x="102018" y="867210"/>
                  </a:lnTo>
                  <a:lnTo>
                    <a:pt x="103376" y="891691"/>
                  </a:lnTo>
                  <a:lnTo>
                    <a:pt x="54409" y="899855"/>
                  </a:lnTo>
                  <a:lnTo>
                    <a:pt x="0" y="883532"/>
                  </a:lnTo>
                  <a:lnTo>
                    <a:pt x="43526" y="709427"/>
                  </a:lnTo>
                  <a:lnTo>
                    <a:pt x="54409" y="627815"/>
                  </a:lnTo>
                  <a:lnTo>
                    <a:pt x="103376" y="546203"/>
                  </a:lnTo>
                  <a:lnTo>
                    <a:pt x="119019" y="529881"/>
                  </a:lnTo>
                  <a:lnTo>
                    <a:pt x="114256" y="502677"/>
                  </a:lnTo>
                  <a:lnTo>
                    <a:pt x="96577" y="465270"/>
                  </a:lnTo>
                  <a:lnTo>
                    <a:pt x="91135" y="428544"/>
                  </a:lnTo>
                  <a:lnTo>
                    <a:pt x="114256" y="404743"/>
                  </a:lnTo>
                  <a:lnTo>
                    <a:pt x="155745" y="375494"/>
                  </a:lnTo>
                  <a:lnTo>
                    <a:pt x="175465" y="354417"/>
                  </a:lnTo>
                  <a:lnTo>
                    <a:pt x="195191" y="333333"/>
                  </a:lnTo>
                  <a:lnTo>
                    <a:pt x="212191" y="312249"/>
                  </a:lnTo>
                  <a:lnTo>
                    <a:pt x="223074" y="290486"/>
                  </a:lnTo>
                  <a:lnTo>
                    <a:pt x="233954" y="265999"/>
                  </a:lnTo>
                  <a:lnTo>
                    <a:pt x="250276" y="246960"/>
                  </a:lnTo>
                  <a:lnTo>
                    <a:pt x="282922" y="246960"/>
                  </a:lnTo>
                  <a:lnTo>
                    <a:pt x="301969" y="260558"/>
                  </a:lnTo>
                  <a:lnTo>
                    <a:pt x="331890" y="287763"/>
                  </a:lnTo>
                  <a:lnTo>
                    <a:pt x="369974" y="285045"/>
                  </a:lnTo>
                  <a:lnTo>
                    <a:pt x="353653" y="225197"/>
                  </a:lnTo>
                  <a:lnTo>
                    <a:pt x="380857" y="187111"/>
                  </a:lnTo>
                  <a:lnTo>
                    <a:pt x="261159" y="29328"/>
                  </a:lnTo>
                  <a:lnTo>
                    <a:pt x="451588" y="89176"/>
                  </a:lnTo>
                  <a:lnTo>
                    <a:pt x="500555" y="40209"/>
                  </a:lnTo>
                  <a:lnTo>
                    <a:pt x="772594" y="51091"/>
                  </a:lnTo>
                  <a:lnTo>
                    <a:pt x="788916" y="116381"/>
                  </a:lnTo>
                  <a:lnTo>
                    <a:pt x="865088" y="154466"/>
                  </a:lnTo>
                  <a:lnTo>
                    <a:pt x="984786" y="241519"/>
                  </a:lnTo>
                  <a:lnTo>
                    <a:pt x="1158890" y="372098"/>
                  </a:lnTo>
                  <a:lnTo>
                    <a:pt x="1180653" y="306809"/>
                  </a:lnTo>
                  <a:lnTo>
                    <a:pt x="1485338" y="290486"/>
                  </a:lnTo>
                  <a:lnTo>
                    <a:pt x="1507102" y="214315"/>
                  </a:lnTo>
                  <a:lnTo>
                    <a:pt x="1577832" y="149025"/>
                  </a:lnTo>
                  <a:lnTo>
                    <a:pt x="1615917" y="170788"/>
                  </a:lnTo>
                  <a:lnTo>
                    <a:pt x="1659443" y="143585"/>
                  </a:lnTo>
                  <a:lnTo>
                    <a:pt x="1645843" y="117739"/>
                  </a:lnTo>
                  <a:lnTo>
                    <a:pt x="1640396" y="83735"/>
                  </a:lnTo>
                  <a:lnTo>
                    <a:pt x="1654001" y="67413"/>
                  </a:lnTo>
                  <a:lnTo>
                    <a:pt x="1667600" y="51091"/>
                  </a:lnTo>
                  <a:lnTo>
                    <a:pt x="1685289" y="27283"/>
                  </a:lnTo>
                  <a:lnTo>
                    <a:pt x="1704327" y="13006"/>
                  </a:lnTo>
                  <a:lnTo>
                    <a:pt x="1723033" y="1530"/>
                  </a:lnTo>
                </a:path>
              </a:pathLst>
            </a:cu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82" name="Cherkasy¬0" descr="Cherkasy¬0">
              <a:extLst>
                <a:ext uri="{FF2B5EF4-FFF2-40B4-BE49-F238E27FC236}">
                  <a16:creationId xmlns:a16="http://schemas.microsoft.com/office/drawing/2014/main" id="{8321D200-8461-4C1A-8838-70C7875CCE02}"/>
                </a:ext>
              </a:extLst>
            </p:cNvPr>
            <p:cNvSpPr/>
            <p:nvPr/>
          </p:nvSpPr>
          <p:spPr>
            <a:xfrm>
              <a:off x="3432837" y="2147050"/>
              <a:ext cx="1121467" cy="816678"/>
            </a:xfrm>
            <a:custGeom>
              <a:avLst/>
              <a:gdLst/>
              <a:ahLst/>
              <a:cxnLst/>
              <a:rect l="0" t="0" r="0" b="0"/>
              <a:pathLst>
                <a:path w="11443951" h="9460179">
                  <a:moveTo>
                    <a:pt x="1697177" y="9453385"/>
                  </a:moveTo>
                  <a:lnTo>
                    <a:pt x="1763828" y="9457460"/>
                  </a:lnTo>
                  <a:lnTo>
                    <a:pt x="1829117" y="9460178"/>
                  </a:lnTo>
                  <a:lnTo>
                    <a:pt x="1860278" y="9432736"/>
                  </a:lnTo>
                  <a:lnTo>
                    <a:pt x="1880807" y="9409852"/>
                  </a:lnTo>
                  <a:lnTo>
                    <a:pt x="1901336" y="9386968"/>
                  </a:lnTo>
                  <a:lnTo>
                    <a:pt x="1920153" y="9363840"/>
                  </a:lnTo>
                  <a:lnTo>
                    <a:pt x="1955915" y="9328808"/>
                  </a:lnTo>
                  <a:lnTo>
                    <a:pt x="1982816" y="9301036"/>
                  </a:lnTo>
                  <a:lnTo>
                    <a:pt x="2009726" y="9273259"/>
                  </a:lnTo>
                  <a:lnTo>
                    <a:pt x="2041327" y="9244405"/>
                  </a:lnTo>
                  <a:lnTo>
                    <a:pt x="2069871" y="9237105"/>
                  </a:lnTo>
                  <a:lnTo>
                    <a:pt x="2102514" y="9241180"/>
                  </a:lnTo>
                  <a:lnTo>
                    <a:pt x="2135160" y="9245256"/>
                  </a:lnTo>
                  <a:lnTo>
                    <a:pt x="2159007" y="9277775"/>
                  </a:lnTo>
                  <a:lnTo>
                    <a:pt x="2169170" y="9296948"/>
                  </a:lnTo>
                  <a:lnTo>
                    <a:pt x="2179325" y="9316112"/>
                  </a:lnTo>
                  <a:lnTo>
                    <a:pt x="2204533" y="9341832"/>
                  </a:lnTo>
                  <a:lnTo>
                    <a:pt x="2227297" y="9353894"/>
                  </a:lnTo>
                  <a:lnTo>
                    <a:pt x="2261664" y="9349989"/>
                  </a:lnTo>
                  <a:lnTo>
                    <a:pt x="2292211" y="9331860"/>
                  </a:lnTo>
                  <a:lnTo>
                    <a:pt x="2327065" y="9288322"/>
                  </a:lnTo>
                  <a:lnTo>
                    <a:pt x="2342524" y="9250130"/>
                  </a:lnTo>
                  <a:lnTo>
                    <a:pt x="2364206" y="9232496"/>
                  </a:lnTo>
                  <a:lnTo>
                    <a:pt x="2388462" y="9217743"/>
                  </a:lnTo>
                  <a:lnTo>
                    <a:pt x="2414005" y="9203088"/>
                  </a:lnTo>
                  <a:lnTo>
                    <a:pt x="2439541" y="9188435"/>
                  </a:lnTo>
                  <a:lnTo>
                    <a:pt x="2466337" y="9174519"/>
                  </a:lnTo>
                  <a:lnTo>
                    <a:pt x="2489886" y="9165148"/>
                  </a:lnTo>
                  <a:lnTo>
                    <a:pt x="2517382" y="9152763"/>
                  </a:lnTo>
                  <a:lnTo>
                    <a:pt x="2543284" y="9142376"/>
                  </a:lnTo>
                  <a:lnTo>
                    <a:pt x="2579787" y="9130037"/>
                  </a:lnTo>
                  <a:lnTo>
                    <a:pt x="2621440" y="9122743"/>
                  </a:lnTo>
                  <a:lnTo>
                    <a:pt x="2661559" y="9113318"/>
                  </a:lnTo>
                  <a:lnTo>
                    <a:pt x="2701674" y="9103888"/>
                  </a:lnTo>
                  <a:lnTo>
                    <a:pt x="2740841" y="9092327"/>
                  </a:lnTo>
                  <a:lnTo>
                    <a:pt x="2760852" y="9077950"/>
                  </a:lnTo>
                  <a:lnTo>
                    <a:pt x="2777220" y="9060052"/>
                  </a:lnTo>
                  <a:lnTo>
                    <a:pt x="2790732" y="9033283"/>
                  </a:lnTo>
                  <a:lnTo>
                    <a:pt x="2797578" y="9009943"/>
                  </a:lnTo>
                  <a:lnTo>
                    <a:pt x="2802828" y="8984599"/>
                  </a:lnTo>
                  <a:lnTo>
                    <a:pt x="2803922" y="8957297"/>
                  </a:lnTo>
                  <a:lnTo>
                    <a:pt x="2805742" y="8931049"/>
                  </a:lnTo>
                  <a:lnTo>
                    <a:pt x="2807556" y="8904807"/>
                  </a:lnTo>
                  <a:lnTo>
                    <a:pt x="2810821" y="8879311"/>
                  </a:lnTo>
                  <a:lnTo>
                    <a:pt x="2820700" y="8854878"/>
                  </a:lnTo>
                  <a:lnTo>
                    <a:pt x="2843312" y="8837526"/>
                  </a:lnTo>
                  <a:lnTo>
                    <a:pt x="2879704" y="8828702"/>
                  </a:lnTo>
                  <a:lnTo>
                    <a:pt x="2900763" y="8826658"/>
                  </a:lnTo>
                  <a:lnTo>
                    <a:pt x="2922715" y="8826316"/>
                  </a:lnTo>
                  <a:lnTo>
                    <a:pt x="2966632" y="8825623"/>
                  </a:lnTo>
                  <a:lnTo>
                    <a:pt x="3012936" y="8831123"/>
                  </a:lnTo>
                  <a:lnTo>
                    <a:pt x="3035614" y="8834480"/>
                  </a:lnTo>
                  <a:lnTo>
                    <a:pt x="3064632" y="8854990"/>
                  </a:lnTo>
                  <a:lnTo>
                    <a:pt x="3075059" y="8875282"/>
                  </a:lnTo>
                  <a:lnTo>
                    <a:pt x="3085483" y="8895575"/>
                  </a:lnTo>
                  <a:lnTo>
                    <a:pt x="3095219" y="8918585"/>
                  </a:lnTo>
                  <a:lnTo>
                    <a:pt x="3141461" y="8926195"/>
                  </a:lnTo>
                  <a:lnTo>
                    <a:pt x="3175537" y="8922620"/>
                  </a:lnTo>
                  <a:lnTo>
                    <a:pt x="3209721" y="8920167"/>
                  </a:lnTo>
                  <a:lnTo>
                    <a:pt x="3243902" y="8917713"/>
                  </a:lnTo>
                  <a:lnTo>
                    <a:pt x="3277813" y="8915544"/>
                  </a:lnTo>
                  <a:lnTo>
                    <a:pt x="3311730" y="8914726"/>
                  </a:lnTo>
                  <a:lnTo>
                    <a:pt x="3346999" y="8913876"/>
                  </a:lnTo>
                  <a:lnTo>
                    <a:pt x="3373320" y="8912042"/>
                  </a:lnTo>
                  <a:lnTo>
                    <a:pt x="3413370" y="8903812"/>
                  </a:lnTo>
                  <a:lnTo>
                    <a:pt x="3435509" y="8887523"/>
                  </a:lnTo>
                  <a:lnTo>
                    <a:pt x="3449446" y="8861703"/>
                  </a:lnTo>
                  <a:lnTo>
                    <a:pt x="3454227" y="8820848"/>
                  </a:lnTo>
                  <a:lnTo>
                    <a:pt x="3454555" y="8794495"/>
                  </a:lnTo>
                  <a:lnTo>
                    <a:pt x="3454555" y="8761025"/>
                  </a:lnTo>
                  <a:lnTo>
                    <a:pt x="3457445" y="8728381"/>
                  </a:lnTo>
                  <a:lnTo>
                    <a:pt x="3459823" y="8687579"/>
                  </a:lnTo>
                  <a:lnTo>
                    <a:pt x="3455914" y="8657650"/>
                  </a:lnTo>
                  <a:lnTo>
                    <a:pt x="3444274" y="8638842"/>
                  </a:lnTo>
                  <a:lnTo>
                    <a:pt x="3411854" y="8629649"/>
                  </a:lnTo>
                  <a:lnTo>
                    <a:pt x="3381109" y="8618206"/>
                  </a:lnTo>
                  <a:lnTo>
                    <a:pt x="3350410" y="8605774"/>
                  </a:lnTo>
                  <a:lnTo>
                    <a:pt x="3327466" y="8589822"/>
                  </a:lnTo>
                  <a:lnTo>
                    <a:pt x="3317178" y="8566516"/>
                  </a:lnTo>
                  <a:lnTo>
                    <a:pt x="3324681" y="8545576"/>
                  </a:lnTo>
                  <a:lnTo>
                    <a:pt x="3353957" y="8510854"/>
                  </a:lnTo>
                  <a:lnTo>
                    <a:pt x="3381096" y="8480828"/>
                  </a:lnTo>
                  <a:lnTo>
                    <a:pt x="3408233" y="8450795"/>
                  </a:lnTo>
                  <a:lnTo>
                    <a:pt x="3437186" y="8421620"/>
                  </a:lnTo>
                  <a:lnTo>
                    <a:pt x="3467454" y="8415201"/>
                  </a:lnTo>
                  <a:lnTo>
                    <a:pt x="3490603" y="8413144"/>
                  </a:lnTo>
                  <a:lnTo>
                    <a:pt x="3515755" y="8401932"/>
                  </a:lnTo>
                  <a:lnTo>
                    <a:pt x="3527398" y="8379490"/>
                  </a:lnTo>
                  <a:lnTo>
                    <a:pt x="3546131" y="8326139"/>
                  </a:lnTo>
                  <a:lnTo>
                    <a:pt x="3555200" y="8286318"/>
                  </a:lnTo>
                  <a:lnTo>
                    <a:pt x="3564270" y="8246498"/>
                  </a:lnTo>
                  <a:lnTo>
                    <a:pt x="3573640" y="8206031"/>
                  </a:lnTo>
                  <a:lnTo>
                    <a:pt x="3575804" y="8174594"/>
                  </a:lnTo>
                  <a:lnTo>
                    <a:pt x="3572709" y="8153200"/>
                  </a:lnTo>
                  <a:lnTo>
                    <a:pt x="3566366" y="8127552"/>
                  </a:lnTo>
                  <a:lnTo>
                    <a:pt x="3547530" y="8109020"/>
                  </a:lnTo>
                  <a:lnTo>
                    <a:pt x="3538879" y="8079568"/>
                  </a:lnTo>
                  <a:lnTo>
                    <a:pt x="3546758" y="8049949"/>
                  </a:lnTo>
                  <a:lnTo>
                    <a:pt x="3580135" y="8029175"/>
                  </a:lnTo>
                  <a:lnTo>
                    <a:pt x="3615048" y="8010195"/>
                  </a:lnTo>
                  <a:lnTo>
                    <a:pt x="3649954" y="7991209"/>
                  </a:lnTo>
                  <a:lnTo>
                    <a:pt x="3686690" y="7973714"/>
                  </a:lnTo>
                  <a:lnTo>
                    <a:pt x="3718096" y="7952885"/>
                  </a:lnTo>
                  <a:lnTo>
                    <a:pt x="3730666" y="7914979"/>
                  </a:lnTo>
                  <a:lnTo>
                    <a:pt x="3748274" y="7876788"/>
                  </a:lnTo>
                  <a:lnTo>
                    <a:pt x="3775550" y="7863294"/>
                  </a:lnTo>
                  <a:lnTo>
                    <a:pt x="3812276" y="7853778"/>
                  </a:lnTo>
                  <a:lnTo>
                    <a:pt x="3832846" y="7848819"/>
                  </a:lnTo>
                  <a:lnTo>
                    <a:pt x="3870766" y="7830656"/>
                  </a:lnTo>
                  <a:lnTo>
                    <a:pt x="3889800" y="7820520"/>
                  </a:lnTo>
                  <a:lnTo>
                    <a:pt x="3909486" y="7809032"/>
                  </a:lnTo>
                  <a:lnTo>
                    <a:pt x="3929249" y="7796647"/>
                  </a:lnTo>
                  <a:lnTo>
                    <a:pt x="3951232" y="7801519"/>
                  </a:lnTo>
                  <a:lnTo>
                    <a:pt x="3972564" y="7810818"/>
                  </a:lnTo>
                  <a:lnTo>
                    <a:pt x="3994541" y="7819774"/>
                  </a:lnTo>
                  <a:lnTo>
                    <a:pt x="4022930" y="7815877"/>
                  </a:lnTo>
                  <a:lnTo>
                    <a:pt x="4055923" y="7807350"/>
                  </a:lnTo>
                  <a:lnTo>
                    <a:pt x="4093831" y="7819774"/>
                  </a:lnTo>
                  <a:lnTo>
                    <a:pt x="4113538" y="7834772"/>
                  </a:lnTo>
                  <a:lnTo>
                    <a:pt x="4133984" y="7851022"/>
                  </a:lnTo>
                  <a:lnTo>
                    <a:pt x="4155046" y="7860578"/>
                  </a:lnTo>
                  <a:lnTo>
                    <a:pt x="4179178" y="7858685"/>
                  </a:lnTo>
                  <a:lnTo>
                    <a:pt x="4204364" y="7848872"/>
                  </a:lnTo>
                  <a:lnTo>
                    <a:pt x="4221693" y="7832015"/>
                  </a:lnTo>
                  <a:lnTo>
                    <a:pt x="4243456" y="7832015"/>
                  </a:lnTo>
                  <a:lnTo>
                    <a:pt x="4254122" y="7857873"/>
                  </a:lnTo>
                  <a:lnTo>
                    <a:pt x="4270878" y="7885051"/>
                  </a:lnTo>
                  <a:lnTo>
                    <a:pt x="4291066" y="7904104"/>
                  </a:lnTo>
                  <a:lnTo>
                    <a:pt x="4340073" y="7908944"/>
                  </a:lnTo>
                  <a:lnTo>
                    <a:pt x="4376753" y="7898662"/>
                  </a:lnTo>
                  <a:lnTo>
                    <a:pt x="4413443" y="7888381"/>
                  </a:lnTo>
                  <a:lnTo>
                    <a:pt x="4450005" y="7872501"/>
                  </a:lnTo>
                  <a:lnTo>
                    <a:pt x="4466531" y="7856494"/>
                  </a:lnTo>
                  <a:lnTo>
                    <a:pt x="4499168" y="7853989"/>
                  </a:lnTo>
                  <a:lnTo>
                    <a:pt x="4529110" y="7867165"/>
                  </a:lnTo>
                  <a:lnTo>
                    <a:pt x="4553583" y="7886417"/>
                  </a:lnTo>
                  <a:lnTo>
                    <a:pt x="4575346" y="7880975"/>
                  </a:lnTo>
                  <a:lnTo>
                    <a:pt x="4612178" y="7876873"/>
                  </a:lnTo>
                  <a:lnTo>
                    <a:pt x="4635776" y="7872765"/>
                  </a:lnTo>
                  <a:lnTo>
                    <a:pt x="4656960" y="7868736"/>
                  </a:lnTo>
                  <a:lnTo>
                    <a:pt x="4678140" y="7864699"/>
                  </a:lnTo>
                  <a:lnTo>
                    <a:pt x="4719529" y="7859212"/>
                  </a:lnTo>
                  <a:lnTo>
                    <a:pt x="4740846" y="7857959"/>
                  </a:lnTo>
                  <a:lnTo>
                    <a:pt x="4771216" y="7872817"/>
                  </a:lnTo>
                  <a:lnTo>
                    <a:pt x="4799732" y="7889153"/>
                  </a:lnTo>
                  <a:lnTo>
                    <a:pt x="4831637" y="7894021"/>
                  </a:lnTo>
                  <a:lnTo>
                    <a:pt x="4860984" y="7894574"/>
                  </a:lnTo>
                  <a:lnTo>
                    <a:pt x="4890359" y="7895036"/>
                  </a:lnTo>
                  <a:lnTo>
                    <a:pt x="4935963" y="7902296"/>
                  </a:lnTo>
                  <a:lnTo>
                    <a:pt x="4965139" y="7911226"/>
                  </a:lnTo>
                  <a:lnTo>
                    <a:pt x="4992930" y="7923137"/>
                  </a:lnTo>
                  <a:lnTo>
                    <a:pt x="5020720" y="7935046"/>
                  </a:lnTo>
                  <a:lnTo>
                    <a:pt x="5048188" y="7949430"/>
                  </a:lnTo>
                  <a:lnTo>
                    <a:pt x="5075898" y="7963939"/>
                  </a:lnTo>
                  <a:lnTo>
                    <a:pt x="5099023" y="7987068"/>
                  </a:lnTo>
                  <a:lnTo>
                    <a:pt x="5119809" y="8006786"/>
                  </a:lnTo>
                  <a:lnTo>
                    <a:pt x="5145237" y="8017299"/>
                  </a:lnTo>
                  <a:lnTo>
                    <a:pt x="5173833" y="8012907"/>
                  </a:lnTo>
                  <a:lnTo>
                    <a:pt x="5200675" y="8004202"/>
                  </a:lnTo>
                  <a:lnTo>
                    <a:pt x="5233510" y="8005276"/>
                  </a:lnTo>
                  <a:lnTo>
                    <a:pt x="5263664" y="8010677"/>
                  </a:lnTo>
                  <a:lnTo>
                    <a:pt x="5292174" y="8014265"/>
                  </a:lnTo>
                  <a:lnTo>
                    <a:pt x="5320683" y="8017860"/>
                  </a:lnTo>
                  <a:lnTo>
                    <a:pt x="5348269" y="8020853"/>
                  </a:lnTo>
                  <a:lnTo>
                    <a:pt x="5396728" y="7999611"/>
                  </a:lnTo>
                  <a:lnTo>
                    <a:pt x="5427024" y="7972942"/>
                  </a:lnTo>
                  <a:lnTo>
                    <a:pt x="5458120" y="7947618"/>
                  </a:lnTo>
                  <a:lnTo>
                    <a:pt x="5489203" y="7922292"/>
                  </a:lnTo>
                  <a:lnTo>
                    <a:pt x="5520138" y="7897700"/>
                  </a:lnTo>
                  <a:lnTo>
                    <a:pt x="5558771" y="7885051"/>
                  </a:lnTo>
                  <a:lnTo>
                    <a:pt x="5593783" y="7878733"/>
                  </a:lnTo>
                  <a:lnTo>
                    <a:pt x="5627133" y="7880481"/>
                  </a:lnTo>
                  <a:lnTo>
                    <a:pt x="5660787" y="7882333"/>
                  </a:lnTo>
                  <a:lnTo>
                    <a:pt x="5682543" y="7878245"/>
                  </a:lnTo>
                  <a:lnTo>
                    <a:pt x="5707032" y="7872811"/>
                  </a:lnTo>
                  <a:lnTo>
                    <a:pt x="5730562" y="7871070"/>
                  </a:lnTo>
                  <a:lnTo>
                    <a:pt x="5752865" y="7877057"/>
                  </a:lnTo>
                  <a:lnTo>
                    <a:pt x="5775043" y="7885051"/>
                  </a:lnTo>
                  <a:lnTo>
                    <a:pt x="5797225" y="7893038"/>
                  </a:lnTo>
                  <a:lnTo>
                    <a:pt x="5818579" y="7902746"/>
                  </a:lnTo>
                  <a:lnTo>
                    <a:pt x="5840335" y="7909531"/>
                  </a:lnTo>
                  <a:lnTo>
                    <a:pt x="5870256" y="7909531"/>
                  </a:lnTo>
                  <a:lnTo>
                    <a:pt x="5898825" y="7901374"/>
                  </a:lnTo>
                  <a:lnTo>
                    <a:pt x="5945377" y="7902600"/>
                  </a:lnTo>
                  <a:lnTo>
                    <a:pt x="5970907" y="7910890"/>
                  </a:lnTo>
                  <a:lnTo>
                    <a:pt x="5996444" y="7919187"/>
                  </a:lnTo>
                  <a:lnTo>
                    <a:pt x="6021431" y="7930984"/>
                  </a:lnTo>
                  <a:lnTo>
                    <a:pt x="6044828" y="7947221"/>
                  </a:lnTo>
                  <a:lnTo>
                    <a:pt x="6060685" y="7981620"/>
                  </a:lnTo>
                  <a:lnTo>
                    <a:pt x="6074882" y="8016936"/>
                  </a:lnTo>
                  <a:lnTo>
                    <a:pt x="6085316" y="8035586"/>
                  </a:lnTo>
                  <a:lnTo>
                    <a:pt x="6108279" y="8044185"/>
                  </a:lnTo>
                  <a:lnTo>
                    <a:pt x="6124126" y="8019329"/>
                  </a:lnTo>
                  <a:lnTo>
                    <a:pt x="6130522" y="7992871"/>
                  </a:lnTo>
                  <a:lnTo>
                    <a:pt x="6142289" y="7972090"/>
                  </a:lnTo>
                  <a:lnTo>
                    <a:pt x="6164052" y="7972090"/>
                  </a:lnTo>
                  <a:lnTo>
                    <a:pt x="6185893" y="7989224"/>
                  </a:lnTo>
                  <a:lnTo>
                    <a:pt x="6212939" y="7993049"/>
                  </a:lnTo>
                  <a:lnTo>
                    <a:pt x="6240224" y="7988420"/>
                  </a:lnTo>
                  <a:lnTo>
                    <a:pt x="6262651" y="7966446"/>
                  </a:lnTo>
                  <a:lnTo>
                    <a:pt x="6287812" y="7942348"/>
                  </a:lnTo>
                  <a:lnTo>
                    <a:pt x="6315029" y="7928571"/>
                  </a:lnTo>
                  <a:lnTo>
                    <a:pt x="6342714" y="7917162"/>
                  </a:lnTo>
                  <a:lnTo>
                    <a:pt x="6371674" y="7918216"/>
                  </a:lnTo>
                  <a:lnTo>
                    <a:pt x="6402087" y="7935370"/>
                  </a:lnTo>
                  <a:lnTo>
                    <a:pt x="6445371" y="7927271"/>
                  </a:lnTo>
                  <a:lnTo>
                    <a:pt x="6471453" y="7914971"/>
                  </a:lnTo>
                  <a:lnTo>
                    <a:pt x="6497536" y="7902665"/>
                  </a:lnTo>
                  <a:lnTo>
                    <a:pt x="6524074" y="7888816"/>
                  </a:lnTo>
                  <a:lnTo>
                    <a:pt x="6548184" y="7861105"/>
                  </a:lnTo>
                  <a:lnTo>
                    <a:pt x="6555070" y="7840311"/>
                  </a:lnTo>
                  <a:lnTo>
                    <a:pt x="6562589" y="7819756"/>
                  </a:lnTo>
                  <a:lnTo>
                    <a:pt x="6570099" y="7799205"/>
                  </a:lnTo>
                  <a:lnTo>
                    <a:pt x="6577593" y="7779197"/>
                  </a:lnTo>
                  <a:lnTo>
                    <a:pt x="6584352" y="7758547"/>
                  </a:lnTo>
                  <a:lnTo>
                    <a:pt x="6593992" y="7720126"/>
                  </a:lnTo>
                  <a:lnTo>
                    <a:pt x="6599198" y="7682713"/>
                  </a:lnTo>
                  <a:lnTo>
                    <a:pt x="6606115" y="7645650"/>
                  </a:lnTo>
                  <a:lnTo>
                    <a:pt x="6615531" y="7620865"/>
                  </a:lnTo>
                  <a:lnTo>
                    <a:pt x="6627397" y="7599512"/>
                  </a:lnTo>
                  <a:lnTo>
                    <a:pt x="6645241" y="7580491"/>
                  </a:lnTo>
                  <a:lnTo>
                    <a:pt x="6663240" y="7562678"/>
                  </a:lnTo>
                  <a:lnTo>
                    <a:pt x="6681245" y="7544859"/>
                  </a:lnTo>
                  <a:lnTo>
                    <a:pt x="6699632" y="7528919"/>
                  </a:lnTo>
                  <a:lnTo>
                    <a:pt x="6725019" y="7512584"/>
                  </a:lnTo>
                  <a:lnTo>
                    <a:pt x="6752456" y="7498860"/>
                  </a:lnTo>
                  <a:lnTo>
                    <a:pt x="6775689" y="7477355"/>
                  </a:lnTo>
                  <a:lnTo>
                    <a:pt x="6785661" y="7454601"/>
                  </a:lnTo>
                  <a:lnTo>
                    <a:pt x="6792460" y="7429376"/>
                  </a:lnTo>
                  <a:lnTo>
                    <a:pt x="6799260" y="7404158"/>
                  </a:lnTo>
                  <a:lnTo>
                    <a:pt x="6802407" y="7376412"/>
                  </a:lnTo>
                  <a:lnTo>
                    <a:pt x="6804701" y="7354570"/>
                  </a:lnTo>
                  <a:lnTo>
                    <a:pt x="6809746" y="7306547"/>
                  </a:lnTo>
                  <a:lnTo>
                    <a:pt x="6794913" y="7220614"/>
                  </a:lnTo>
                  <a:lnTo>
                    <a:pt x="6791102" y="7139656"/>
                  </a:lnTo>
                  <a:lnTo>
                    <a:pt x="6789195" y="7099176"/>
                  </a:lnTo>
                  <a:lnTo>
                    <a:pt x="6790073" y="7059949"/>
                  </a:lnTo>
                  <a:lnTo>
                    <a:pt x="6797902" y="7028122"/>
                  </a:lnTo>
                  <a:lnTo>
                    <a:pt x="6805737" y="6996290"/>
                  </a:lnTo>
                  <a:lnTo>
                    <a:pt x="6819969" y="6970668"/>
                  </a:lnTo>
                  <a:lnTo>
                    <a:pt x="6845508" y="6958751"/>
                  </a:lnTo>
                  <a:lnTo>
                    <a:pt x="6879512" y="6956033"/>
                  </a:lnTo>
                  <a:lnTo>
                    <a:pt x="6898823" y="6968049"/>
                  </a:lnTo>
                  <a:lnTo>
                    <a:pt x="6919714" y="6979413"/>
                  </a:lnTo>
                  <a:lnTo>
                    <a:pt x="6942085" y="6988678"/>
                  </a:lnTo>
                  <a:lnTo>
                    <a:pt x="6964450" y="6997938"/>
                  </a:lnTo>
                  <a:lnTo>
                    <a:pt x="6987081" y="7005363"/>
                  </a:lnTo>
                  <a:lnTo>
                    <a:pt x="7008732" y="7011800"/>
                  </a:lnTo>
                  <a:lnTo>
                    <a:pt x="7042817" y="7016601"/>
                  </a:lnTo>
                  <a:lnTo>
                    <a:pt x="7078021" y="7015157"/>
                  </a:lnTo>
                  <a:lnTo>
                    <a:pt x="7112109" y="7014518"/>
                  </a:lnTo>
                  <a:lnTo>
                    <a:pt x="7137155" y="7015994"/>
                  </a:lnTo>
                  <a:lnTo>
                    <a:pt x="7164103" y="7024323"/>
                  </a:lnTo>
                  <a:lnTo>
                    <a:pt x="7189639" y="7026757"/>
                  </a:lnTo>
                  <a:lnTo>
                    <a:pt x="7215182" y="7029198"/>
                  </a:lnTo>
                  <a:lnTo>
                    <a:pt x="7240393" y="7026230"/>
                  </a:lnTo>
                  <a:lnTo>
                    <a:pt x="7263092" y="7007718"/>
                  </a:lnTo>
                  <a:lnTo>
                    <a:pt x="7276474" y="6971545"/>
                  </a:lnTo>
                  <a:lnTo>
                    <a:pt x="7276691" y="6949227"/>
                  </a:lnTo>
                  <a:lnTo>
                    <a:pt x="7276890" y="6926911"/>
                  </a:lnTo>
                  <a:lnTo>
                    <a:pt x="7275215" y="6903822"/>
                  </a:lnTo>
                  <a:lnTo>
                    <a:pt x="7291865" y="6877718"/>
                  </a:lnTo>
                  <a:lnTo>
                    <a:pt x="7318859" y="6874415"/>
                  </a:lnTo>
                  <a:lnTo>
                    <a:pt x="7345695" y="6874613"/>
                  </a:lnTo>
                  <a:lnTo>
                    <a:pt x="7374521" y="6872226"/>
                  </a:lnTo>
                  <a:lnTo>
                    <a:pt x="7403694" y="6866263"/>
                  </a:lnTo>
                  <a:lnTo>
                    <a:pt x="7438839" y="6868750"/>
                  </a:lnTo>
                  <a:lnTo>
                    <a:pt x="7479076" y="6874660"/>
                  </a:lnTo>
                  <a:lnTo>
                    <a:pt x="7503846" y="6878511"/>
                  </a:lnTo>
                  <a:lnTo>
                    <a:pt x="7529935" y="6888541"/>
                  </a:lnTo>
                  <a:lnTo>
                    <a:pt x="7556646" y="6901117"/>
                  </a:lnTo>
                  <a:lnTo>
                    <a:pt x="7584099" y="6912513"/>
                  </a:lnTo>
                  <a:lnTo>
                    <a:pt x="7615167" y="6923792"/>
                  </a:lnTo>
                  <a:lnTo>
                    <a:pt x="7648830" y="6933624"/>
                  </a:lnTo>
                  <a:lnTo>
                    <a:pt x="7682028" y="6943800"/>
                  </a:lnTo>
                  <a:lnTo>
                    <a:pt x="7715238" y="6953970"/>
                  </a:lnTo>
                  <a:lnTo>
                    <a:pt x="7747441" y="6964126"/>
                  </a:lnTo>
                  <a:lnTo>
                    <a:pt x="7777244" y="6977804"/>
                  </a:lnTo>
                  <a:lnTo>
                    <a:pt x="7833011" y="7015888"/>
                  </a:lnTo>
                  <a:lnTo>
                    <a:pt x="7888778" y="7052616"/>
                  </a:lnTo>
                  <a:lnTo>
                    <a:pt x="7916054" y="7082563"/>
                  </a:lnTo>
                  <a:lnTo>
                    <a:pt x="7925504" y="7101576"/>
                  </a:lnTo>
                  <a:lnTo>
                    <a:pt x="7934955" y="7120597"/>
                  </a:lnTo>
                  <a:lnTo>
                    <a:pt x="7941661" y="7142333"/>
                  </a:lnTo>
                  <a:lnTo>
                    <a:pt x="7947267" y="7164149"/>
                  </a:lnTo>
                  <a:lnTo>
                    <a:pt x="7958485" y="7207774"/>
                  </a:lnTo>
                  <a:lnTo>
                    <a:pt x="7963682" y="7253424"/>
                  </a:lnTo>
                  <a:lnTo>
                    <a:pt x="7970388" y="7289287"/>
                  </a:lnTo>
                  <a:lnTo>
                    <a:pt x="7982412" y="7312673"/>
                  </a:lnTo>
                  <a:lnTo>
                    <a:pt x="8004622" y="7331192"/>
                  </a:lnTo>
                  <a:lnTo>
                    <a:pt x="8028878" y="7340979"/>
                  </a:lnTo>
                  <a:lnTo>
                    <a:pt x="8061868" y="7334218"/>
                  </a:lnTo>
                  <a:lnTo>
                    <a:pt x="8084651" y="7304251"/>
                  </a:lnTo>
                  <a:lnTo>
                    <a:pt x="8100954" y="7266957"/>
                  </a:lnTo>
                  <a:lnTo>
                    <a:pt x="8118655" y="7245761"/>
                  </a:lnTo>
                  <a:lnTo>
                    <a:pt x="8136443" y="7234253"/>
                  </a:lnTo>
                  <a:lnTo>
                    <a:pt x="8165645" y="7210721"/>
                  </a:lnTo>
                  <a:lnTo>
                    <a:pt x="8186670" y="7176389"/>
                  </a:lnTo>
                  <a:lnTo>
                    <a:pt x="8203915" y="7138983"/>
                  </a:lnTo>
                  <a:lnTo>
                    <a:pt x="8213865" y="7115182"/>
                  </a:lnTo>
                  <a:lnTo>
                    <a:pt x="8237002" y="7090510"/>
                  </a:lnTo>
                  <a:lnTo>
                    <a:pt x="8260116" y="7085255"/>
                  </a:lnTo>
                  <a:lnTo>
                    <a:pt x="8283231" y="7080012"/>
                  </a:lnTo>
                  <a:lnTo>
                    <a:pt x="8312144" y="7078678"/>
                  </a:lnTo>
                  <a:lnTo>
                    <a:pt x="8343088" y="7073014"/>
                  </a:lnTo>
                  <a:lnTo>
                    <a:pt x="8374029" y="7067355"/>
                  </a:lnTo>
                  <a:lnTo>
                    <a:pt x="8407862" y="7058202"/>
                  </a:lnTo>
                  <a:lnTo>
                    <a:pt x="8438304" y="7040369"/>
                  </a:lnTo>
                  <a:lnTo>
                    <a:pt x="8468739" y="7022536"/>
                  </a:lnTo>
                  <a:lnTo>
                    <a:pt x="8496958" y="6995088"/>
                  </a:lnTo>
                  <a:lnTo>
                    <a:pt x="8518550" y="6953317"/>
                  </a:lnTo>
                  <a:lnTo>
                    <a:pt x="8560718" y="6964205"/>
                  </a:lnTo>
                  <a:lnTo>
                    <a:pt x="8586577" y="6976444"/>
                  </a:lnTo>
                  <a:lnTo>
                    <a:pt x="8594682" y="6996796"/>
                  </a:lnTo>
                  <a:lnTo>
                    <a:pt x="8582494" y="7019972"/>
                  </a:lnTo>
                  <a:lnTo>
                    <a:pt x="8599801" y="7050505"/>
                  </a:lnTo>
                  <a:lnTo>
                    <a:pt x="8627381" y="7049892"/>
                  </a:lnTo>
                  <a:lnTo>
                    <a:pt x="8655407" y="7037988"/>
                  </a:lnTo>
                  <a:lnTo>
                    <a:pt x="8683681" y="7018270"/>
                  </a:lnTo>
                  <a:lnTo>
                    <a:pt x="8711711" y="7000925"/>
                  </a:lnTo>
                  <a:lnTo>
                    <a:pt x="8736946" y="6991349"/>
                  </a:lnTo>
                  <a:lnTo>
                    <a:pt x="8754254" y="7011306"/>
                  </a:lnTo>
                  <a:lnTo>
                    <a:pt x="8756554" y="7032185"/>
                  </a:lnTo>
                  <a:lnTo>
                    <a:pt x="8767065" y="7056903"/>
                  </a:lnTo>
                  <a:lnTo>
                    <a:pt x="8789653" y="7067369"/>
                  </a:lnTo>
                  <a:lnTo>
                    <a:pt x="8817800" y="7071662"/>
                  </a:lnTo>
                  <a:lnTo>
                    <a:pt x="8846890" y="7073066"/>
                  </a:lnTo>
                  <a:lnTo>
                    <a:pt x="8878376" y="7065523"/>
                  </a:lnTo>
                  <a:lnTo>
                    <a:pt x="8906706" y="7044266"/>
                  </a:lnTo>
                  <a:lnTo>
                    <a:pt x="8921130" y="7001861"/>
                  </a:lnTo>
                  <a:lnTo>
                    <a:pt x="8933424" y="6957405"/>
                  </a:lnTo>
                  <a:lnTo>
                    <a:pt x="8945709" y="6912949"/>
                  </a:lnTo>
                  <a:lnTo>
                    <a:pt x="8955569" y="6867015"/>
                  </a:lnTo>
                  <a:lnTo>
                    <a:pt x="8951928" y="6840352"/>
                  </a:lnTo>
                  <a:lnTo>
                    <a:pt x="8925257" y="6817304"/>
                  </a:lnTo>
                  <a:lnTo>
                    <a:pt x="8901479" y="6794894"/>
                  </a:lnTo>
                  <a:lnTo>
                    <a:pt x="8927983" y="6723450"/>
                  </a:lnTo>
                  <a:lnTo>
                    <a:pt x="8956545" y="6658161"/>
                  </a:lnTo>
                  <a:lnTo>
                    <a:pt x="8989104" y="6655622"/>
                  </a:lnTo>
                  <a:lnTo>
                    <a:pt x="9012191" y="6649556"/>
                  </a:lnTo>
                  <a:lnTo>
                    <a:pt x="9034075" y="6639116"/>
                  </a:lnTo>
                  <a:lnTo>
                    <a:pt x="9055962" y="6628683"/>
                  </a:lnTo>
                  <a:lnTo>
                    <a:pt x="9075623" y="6613969"/>
                  </a:lnTo>
                  <a:lnTo>
                    <a:pt x="9103445" y="6596954"/>
                  </a:lnTo>
                  <a:lnTo>
                    <a:pt x="9122960" y="6572263"/>
                  </a:lnTo>
                  <a:lnTo>
                    <a:pt x="9133375" y="6550704"/>
                  </a:lnTo>
                  <a:lnTo>
                    <a:pt x="9143786" y="6529146"/>
                  </a:lnTo>
                  <a:lnTo>
                    <a:pt x="9152716" y="6505997"/>
                  </a:lnTo>
                  <a:lnTo>
                    <a:pt x="9169230" y="6483232"/>
                  </a:lnTo>
                  <a:lnTo>
                    <a:pt x="9188295" y="6460724"/>
                  </a:lnTo>
                  <a:lnTo>
                    <a:pt x="9205271" y="6433302"/>
                  </a:lnTo>
                  <a:lnTo>
                    <a:pt x="9214796" y="6411327"/>
                  </a:lnTo>
                  <a:lnTo>
                    <a:pt x="9224501" y="6390198"/>
                  </a:lnTo>
                  <a:lnTo>
                    <a:pt x="9234209" y="6369067"/>
                  </a:lnTo>
                  <a:lnTo>
                    <a:pt x="9243839" y="6348518"/>
                  </a:lnTo>
                  <a:lnTo>
                    <a:pt x="9258511" y="6330349"/>
                  </a:lnTo>
                  <a:lnTo>
                    <a:pt x="9270805" y="6313268"/>
                  </a:lnTo>
                  <a:lnTo>
                    <a:pt x="9289793" y="6292269"/>
                  </a:lnTo>
                  <a:lnTo>
                    <a:pt x="9331226" y="6303718"/>
                  </a:lnTo>
                  <a:lnTo>
                    <a:pt x="9355082" y="6315392"/>
                  </a:lnTo>
                  <a:lnTo>
                    <a:pt x="9378941" y="6327071"/>
                  </a:lnTo>
                  <a:lnTo>
                    <a:pt x="9404180" y="6338731"/>
                  </a:lnTo>
                  <a:lnTo>
                    <a:pt x="9428529" y="6339878"/>
                  </a:lnTo>
                  <a:lnTo>
                    <a:pt x="9448314" y="6327592"/>
                  </a:lnTo>
                  <a:lnTo>
                    <a:pt x="9453786" y="6297342"/>
                  </a:lnTo>
                  <a:lnTo>
                    <a:pt x="9444100" y="6268159"/>
                  </a:lnTo>
                  <a:lnTo>
                    <a:pt x="9435335" y="6247385"/>
                  </a:lnTo>
                  <a:lnTo>
                    <a:pt x="9446605" y="6216777"/>
                  </a:lnTo>
                  <a:lnTo>
                    <a:pt x="9461181" y="6201141"/>
                  </a:lnTo>
                  <a:lnTo>
                    <a:pt x="9475748" y="6185491"/>
                  </a:lnTo>
                  <a:lnTo>
                    <a:pt x="9490488" y="6169690"/>
                  </a:lnTo>
                  <a:lnTo>
                    <a:pt x="9531905" y="6169855"/>
                  </a:lnTo>
                  <a:lnTo>
                    <a:pt x="9568632" y="6133134"/>
                  </a:lnTo>
                  <a:lnTo>
                    <a:pt x="9590395" y="6101848"/>
                  </a:lnTo>
                  <a:lnTo>
                    <a:pt x="9621680" y="6108654"/>
                  </a:lnTo>
                  <a:lnTo>
                    <a:pt x="9640727" y="6118177"/>
                  </a:lnTo>
                  <a:lnTo>
                    <a:pt x="9648013" y="6148230"/>
                  </a:lnTo>
                  <a:lnTo>
                    <a:pt x="9641598" y="6186058"/>
                  </a:lnTo>
                  <a:lnTo>
                    <a:pt x="9638001" y="6218828"/>
                  </a:lnTo>
                  <a:lnTo>
                    <a:pt x="9660893" y="6230020"/>
                  </a:lnTo>
                  <a:lnTo>
                    <a:pt x="9683112" y="6243013"/>
                  </a:lnTo>
                  <a:lnTo>
                    <a:pt x="9703287" y="6256915"/>
                  </a:lnTo>
                  <a:lnTo>
                    <a:pt x="9704500" y="6278057"/>
                  </a:lnTo>
                  <a:lnTo>
                    <a:pt x="9701334" y="6307670"/>
                  </a:lnTo>
                  <a:lnTo>
                    <a:pt x="9712828" y="6332625"/>
                  </a:lnTo>
                  <a:lnTo>
                    <a:pt x="9745762" y="6345128"/>
                  </a:lnTo>
                  <a:lnTo>
                    <a:pt x="9780814" y="6354848"/>
                  </a:lnTo>
                  <a:lnTo>
                    <a:pt x="9815866" y="6364576"/>
                  </a:lnTo>
                  <a:lnTo>
                    <a:pt x="9852779" y="6371785"/>
                  </a:lnTo>
                  <a:lnTo>
                    <a:pt x="9902301" y="6363672"/>
                  </a:lnTo>
                  <a:lnTo>
                    <a:pt x="9922065" y="6343460"/>
                  </a:lnTo>
                  <a:lnTo>
                    <a:pt x="9939964" y="6322204"/>
                  </a:lnTo>
                  <a:lnTo>
                    <a:pt x="9957861" y="6300955"/>
                  </a:lnTo>
                  <a:lnTo>
                    <a:pt x="9973438" y="6278071"/>
                  </a:lnTo>
                  <a:lnTo>
                    <a:pt x="9999812" y="6262354"/>
                  </a:lnTo>
                  <a:lnTo>
                    <a:pt x="10023364" y="6273929"/>
                  </a:lnTo>
                  <a:lnTo>
                    <a:pt x="10035174" y="6292283"/>
                  </a:lnTo>
                  <a:lnTo>
                    <a:pt x="10035636" y="6326056"/>
                  </a:lnTo>
                  <a:lnTo>
                    <a:pt x="10033019" y="6355462"/>
                  </a:lnTo>
                  <a:lnTo>
                    <a:pt x="10031090" y="6384776"/>
                  </a:lnTo>
                  <a:lnTo>
                    <a:pt x="10029187" y="6414091"/>
                  </a:lnTo>
                  <a:lnTo>
                    <a:pt x="10028297" y="6444052"/>
                  </a:lnTo>
                  <a:lnTo>
                    <a:pt x="10031090" y="6469106"/>
                  </a:lnTo>
                  <a:lnTo>
                    <a:pt x="10068992" y="6539367"/>
                  </a:lnTo>
                  <a:lnTo>
                    <a:pt x="10108621" y="6591527"/>
                  </a:lnTo>
                  <a:lnTo>
                    <a:pt x="10148258" y="6643679"/>
                  </a:lnTo>
                  <a:lnTo>
                    <a:pt x="10191995" y="6696069"/>
                  </a:lnTo>
                  <a:lnTo>
                    <a:pt x="10206556" y="6719382"/>
                  </a:lnTo>
                  <a:lnTo>
                    <a:pt x="10223181" y="6745999"/>
                  </a:lnTo>
                  <a:lnTo>
                    <a:pt x="10229782" y="6787468"/>
                  </a:lnTo>
                  <a:lnTo>
                    <a:pt x="10233760" y="6829563"/>
                  </a:lnTo>
                  <a:lnTo>
                    <a:pt x="10237735" y="6871652"/>
                  </a:lnTo>
                  <a:lnTo>
                    <a:pt x="10238886" y="6915369"/>
                  </a:lnTo>
                  <a:lnTo>
                    <a:pt x="10243282" y="6945178"/>
                  </a:lnTo>
                  <a:lnTo>
                    <a:pt x="10267764" y="6964225"/>
                  </a:lnTo>
                  <a:lnTo>
                    <a:pt x="10294876" y="6967133"/>
                  </a:lnTo>
                  <a:lnTo>
                    <a:pt x="10330421" y="6969468"/>
                  </a:lnTo>
                  <a:lnTo>
                    <a:pt x="10356174" y="6966941"/>
                  </a:lnTo>
                  <a:lnTo>
                    <a:pt x="10372853" y="6947705"/>
                  </a:lnTo>
                  <a:lnTo>
                    <a:pt x="10377593" y="6918159"/>
                  </a:lnTo>
                  <a:lnTo>
                    <a:pt x="10376579" y="6883965"/>
                  </a:lnTo>
                  <a:lnTo>
                    <a:pt x="10374449" y="6849506"/>
                  </a:lnTo>
                  <a:lnTo>
                    <a:pt x="10378710" y="6820496"/>
                  </a:lnTo>
                  <a:lnTo>
                    <a:pt x="10394265" y="6802353"/>
                  </a:lnTo>
                  <a:lnTo>
                    <a:pt x="10413966" y="6790897"/>
                  </a:lnTo>
                  <a:lnTo>
                    <a:pt x="10448668" y="6799635"/>
                  </a:lnTo>
                  <a:lnTo>
                    <a:pt x="10481491" y="6821544"/>
                  </a:lnTo>
                  <a:lnTo>
                    <a:pt x="10498994" y="6836363"/>
                  </a:lnTo>
                  <a:lnTo>
                    <a:pt x="10516503" y="6851174"/>
                  </a:lnTo>
                  <a:lnTo>
                    <a:pt x="10535584" y="6866125"/>
                  </a:lnTo>
                  <a:lnTo>
                    <a:pt x="10557483" y="6875807"/>
                  </a:lnTo>
                  <a:lnTo>
                    <a:pt x="10579392" y="6885489"/>
                  </a:lnTo>
                  <a:lnTo>
                    <a:pt x="10603694" y="6890250"/>
                  </a:lnTo>
                  <a:lnTo>
                    <a:pt x="10633655" y="6882607"/>
                  </a:lnTo>
                  <a:lnTo>
                    <a:pt x="10661288" y="6875562"/>
                  </a:lnTo>
                  <a:lnTo>
                    <a:pt x="10681476" y="6846756"/>
                  </a:lnTo>
                  <a:lnTo>
                    <a:pt x="10701670" y="6829563"/>
                  </a:lnTo>
                  <a:lnTo>
                    <a:pt x="10729935" y="6805439"/>
                  </a:lnTo>
                  <a:lnTo>
                    <a:pt x="10766642" y="6774147"/>
                  </a:lnTo>
                  <a:lnTo>
                    <a:pt x="10781922" y="6738428"/>
                  </a:lnTo>
                  <a:lnTo>
                    <a:pt x="10800309" y="6695437"/>
                  </a:lnTo>
                  <a:lnTo>
                    <a:pt x="10804113" y="6664736"/>
                  </a:lnTo>
                  <a:lnTo>
                    <a:pt x="10823873" y="6642651"/>
                  </a:lnTo>
                  <a:lnTo>
                    <a:pt x="10847211" y="6640494"/>
                  </a:lnTo>
                  <a:lnTo>
                    <a:pt x="10880146" y="6648889"/>
                  </a:lnTo>
                  <a:lnTo>
                    <a:pt x="10907052" y="6660899"/>
                  </a:lnTo>
                  <a:lnTo>
                    <a:pt x="10943531" y="6677162"/>
                  </a:lnTo>
                  <a:lnTo>
                    <a:pt x="10973582" y="6702129"/>
                  </a:lnTo>
                  <a:lnTo>
                    <a:pt x="11006352" y="6724822"/>
                  </a:lnTo>
                  <a:lnTo>
                    <a:pt x="11027563" y="6740618"/>
                  </a:lnTo>
                  <a:lnTo>
                    <a:pt x="11045798" y="6762908"/>
                  </a:lnTo>
                  <a:lnTo>
                    <a:pt x="11068116" y="6778532"/>
                  </a:lnTo>
                  <a:lnTo>
                    <a:pt x="11104498" y="6790581"/>
                  </a:lnTo>
                  <a:lnTo>
                    <a:pt x="11157549" y="6803230"/>
                  </a:lnTo>
                  <a:lnTo>
                    <a:pt x="11184539" y="6791477"/>
                  </a:lnTo>
                  <a:lnTo>
                    <a:pt x="11223985" y="6696260"/>
                  </a:lnTo>
                  <a:lnTo>
                    <a:pt x="11301475" y="6655148"/>
                  </a:lnTo>
                  <a:lnTo>
                    <a:pt x="11332800" y="6643210"/>
                  </a:lnTo>
                  <a:lnTo>
                    <a:pt x="11336499" y="6592378"/>
                  </a:lnTo>
                  <a:lnTo>
                    <a:pt x="11360473" y="6567765"/>
                  </a:lnTo>
                  <a:lnTo>
                    <a:pt x="11403952" y="6560412"/>
                  </a:lnTo>
                  <a:lnTo>
                    <a:pt x="11435662" y="6553844"/>
                  </a:lnTo>
                  <a:lnTo>
                    <a:pt x="11443950" y="6479775"/>
                  </a:lnTo>
                  <a:lnTo>
                    <a:pt x="11347770" y="6448694"/>
                  </a:lnTo>
                  <a:lnTo>
                    <a:pt x="11316572" y="6382561"/>
                  </a:lnTo>
                  <a:lnTo>
                    <a:pt x="11293364" y="6320839"/>
                  </a:lnTo>
                  <a:lnTo>
                    <a:pt x="11270162" y="6259117"/>
                  </a:lnTo>
                  <a:lnTo>
                    <a:pt x="11247956" y="6196921"/>
                  </a:lnTo>
                  <a:lnTo>
                    <a:pt x="11240902" y="6171194"/>
                  </a:lnTo>
                  <a:lnTo>
                    <a:pt x="11240359" y="6148732"/>
                  </a:lnTo>
                  <a:lnTo>
                    <a:pt x="11236831" y="6125313"/>
                  </a:lnTo>
                  <a:lnTo>
                    <a:pt x="11238697" y="6101485"/>
                  </a:lnTo>
                  <a:lnTo>
                    <a:pt x="11239615" y="6077724"/>
                  </a:lnTo>
                  <a:lnTo>
                    <a:pt x="11241671" y="6041993"/>
                  </a:lnTo>
                  <a:lnTo>
                    <a:pt x="11243289" y="6007621"/>
                  </a:lnTo>
                  <a:lnTo>
                    <a:pt x="11242502" y="5951511"/>
                  </a:lnTo>
                  <a:lnTo>
                    <a:pt x="11231997" y="5892514"/>
                  </a:lnTo>
                  <a:lnTo>
                    <a:pt x="11215827" y="5836608"/>
                  </a:lnTo>
                  <a:lnTo>
                    <a:pt x="11199655" y="5780703"/>
                  </a:lnTo>
                  <a:lnTo>
                    <a:pt x="11176614" y="5727384"/>
                  </a:lnTo>
                  <a:lnTo>
                    <a:pt x="11153255" y="5699229"/>
                  </a:lnTo>
                  <a:lnTo>
                    <a:pt x="11129830" y="5674189"/>
                  </a:lnTo>
                  <a:lnTo>
                    <a:pt x="11100507" y="5650810"/>
                  </a:lnTo>
                  <a:lnTo>
                    <a:pt x="11071650" y="5631216"/>
                  </a:lnTo>
                  <a:lnTo>
                    <a:pt x="11072366" y="5602607"/>
                  </a:lnTo>
                  <a:lnTo>
                    <a:pt x="11087370" y="5578720"/>
                  </a:lnTo>
                  <a:lnTo>
                    <a:pt x="11115207" y="5512410"/>
                  </a:lnTo>
                  <a:lnTo>
                    <a:pt x="11128298" y="5434095"/>
                  </a:lnTo>
                  <a:lnTo>
                    <a:pt x="11154613" y="5371417"/>
                  </a:lnTo>
                  <a:lnTo>
                    <a:pt x="11166854" y="5353736"/>
                  </a:lnTo>
                  <a:lnTo>
                    <a:pt x="11175405" y="5332045"/>
                  </a:lnTo>
                  <a:lnTo>
                    <a:pt x="11183333" y="5304512"/>
                  </a:lnTo>
                  <a:lnTo>
                    <a:pt x="11189975" y="5277565"/>
                  </a:lnTo>
                  <a:lnTo>
                    <a:pt x="11196622" y="5250618"/>
                  </a:lnTo>
                  <a:lnTo>
                    <a:pt x="11201431" y="5224581"/>
                  </a:lnTo>
                  <a:lnTo>
                    <a:pt x="11204938" y="5201393"/>
                  </a:lnTo>
                  <a:lnTo>
                    <a:pt x="11219018" y="5145119"/>
                  </a:lnTo>
                  <a:lnTo>
                    <a:pt x="11228100" y="5080126"/>
                  </a:lnTo>
                  <a:lnTo>
                    <a:pt x="11230065" y="5028805"/>
                  </a:lnTo>
                  <a:lnTo>
                    <a:pt x="11228059" y="4981045"/>
                  </a:lnTo>
                  <a:lnTo>
                    <a:pt x="11226056" y="4933277"/>
                  </a:lnTo>
                  <a:lnTo>
                    <a:pt x="11219223" y="4889237"/>
                  </a:lnTo>
                  <a:lnTo>
                    <a:pt x="11209022" y="4846384"/>
                  </a:lnTo>
                  <a:lnTo>
                    <a:pt x="11188617" y="4760663"/>
                  </a:lnTo>
                  <a:lnTo>
                    <a:pt x="11153636" y="4679367"/>
                  </a:lnTo>
                  <a:lnTo>
                    <a:pt x="11112445" y="4577060"/>
                  </a:lnTo>
                  <a:lnTo>
                    <a:pt x="11091559" y="4525192"/>
                  </a:lnTo>
                  <a:lnTo>
                    <a:pt x="11077929" y="4460615"/>
                  </a:lnTo>
                  <a:lnTo>
                    <a:pt x="11044439" y="4415202"/>
                  </a:lnTo>
                  <a:lnTo>
                    <a:pt x="10978719" y="4326085"/>
                  </a:lnTo>
                  <a:lnTo>
                    <a:pt x="10912885" y="4244789"/>
                  </a:lnTo>
                  <a:lnTo>
                    <a:pt x="10839047" y="4162202"/>
                  </a:lnTo>
                  <a:lnTo>
                    <a:pt x="10820679" y="4141651"/>
                  </a:lnTo>
                  <a:lnTo>
                    <a:pt x="10798876" y="4092282"/>
                  </a:lnTo>
                  <a:lnTo>
                    <a:pt x="10799602" y="4064267"/>
                  </a:lnTo>
                  <a:lnTo>
                    <a:pt x="10833950" y="3984568"/>
                  </a:lnTo>
                  <a:lnTo>
                    <a:pt x="10895032" y="3913521"/>
                  </a:lnTo>
                  <a:lnTo>
                    <a:pt x="10939699" y="3838471"/>
                  </a:lnTo>
                  <a:lnTo>
                    <a:pt x="10946504" y="3818073"/>
                  </a:lnTo>
                  <a:lnTo>
                    <a:pt x="10976360" y="3788884"/>
                  </a:lnTo>
                  <a:lnTo>
                    <a:pt x="10999552" y="3773189"/>
                  </a:lnTo>
                  <a:lnTo>
                    <a:pt x="11022742" y="3757486"/>
                  </a:lnTo>
                  <a:lnTo>
                    <a:pt x="11048005" y="3744310"/>
                  </a:lnTo>
                  <a:lnTo>
                    <a:pt x="11086164" y="3720733"/>
                  </a:lnTo>
                  <a:lnTo>
                    <a:pt x="11099329" y="3697789"/>
                  </a:lnTo>
                  <a:lnTo>
                    <a:pt x="11105645" y="3673889"/>
                  </a:lnTo>
                  <a:lnTo>
                    <a:pt x="11111964" y="3649995"/>
                  </a:lnTo>
                  <a:lnTo>
                    <a:pt x="11110789" y="3624407"/>
                  </a:lnTo>
                  <a:lnTo>
                    <a:pt x="11107003" y="3599083"/>
                  </a:lnTo>
                  <a:lnTo>
                    <a:pt x="11099435" y="3548427"/>
                  </a:lnTo>
                  <a:lnTo>
                    <a:pt x="11079333" y="3496630"/>
                  </a:lnTo>
                  <a:lnTo>
                    <a:pt x="11077082" y="3448098"/>
                  </a:lnTo>
                  <a:lnTo>
                    <a:pt x="11054721" y="3415837"/>
                  </a:lnTo>
                  <a:lnTo>
                    <a:pt x="11019232" y="3396883"/>
                  </a:lnTo>
                  <a:lnTo>
                    <a:pt x="10985947" y="3376004"/>
                  </a:lnTo>
                  <a:lnTo>
                    <a:pt x="10953211" y="3355402"/>
                  </a:lnTo>
                  <a:lnTo>
                    <a:pt x="10926192" y="3328606"/>
                  </a:lnTo>
                  <a:lnTo>
                    <a:pt x="10908420" y="3291674"/>
                  </a:lnTo>
                  <a:lnTo>
                    <a:pt x="10898033" y="3259037"/>
                  </a:lnTo>
                  <a:lnTo>
                    <a:pt x="10901930" y="3216954"/>
                  </a:lnTo>
                  <a:lnTo>
                    <a:pt x="10905701" y="3176059"/>
                  </a:lnTo>
                  <a:lnTo>
                    <a:pt x="10909462" y="3135164"/>
                  </a:lnTo>
                  <a:lnTo>
                    <a:pt x="10913096" y="3095667"/>
                  </a:lnTo>
                  <a:lnTo>
                    <a:pt x="10901620" y="3069960"/>
                  </a:lnTo>
                  <a:lnTo>
                    <a:pt x="10871355" y="3047135"/>
                  </a:lnTo>
                  <a:lnTo>
                    <a:pt x="10843004" y="3041438"/>
                  </a:lnTo>
                  <a:lnTo>
                    <a:pt x="10809133" y="3029158"/>
                  </a:lnTo>
                  <a:lnTo>
                    <a:pt x="10752891" y="3008786"/>
                  </a:lnTo>
                  <a:lnTo>
                    <a:pt x="10687134" y="2987241"/>
                  </a:lnTo>
                  <a:lnTo>
                    <a:pt x="10621420" y="2963867"/>
                  </a:lnTo>
                  <a:lnTo>
                    <a:pt x="10555710" y="2940489"/>
                  </a:lnTo>
                  <a:lnTo>
                    <a:pt x="10490123" y="2915619"/>
                  </a:lnTo>
                  <a:lnTo>
                    <a:pt x="10436433" y="2884973"/>
                  </a:lnTo>
                  <a:lnTo>
                    <a:pt x="10422493" y="2867602"/>
                  </a:lnTo>
                  <a:lnTo>
                    <a:pt x="10430300" y="2794346"/>
                  </a:lnTo>
                  <a:lnTo>
                    <a:pt x="10436433" y="2721749"/>
                  </a:lnTo>
                  <a:lnTo>
                    <a:pt x="10439500" y="2685452"/>
                  </a:lnTo>
                  <a:lnTo>
                    <a:pt x="10442699" y="2648671"/>
                  </a:lnTo>
                  <a:lnTo>
                    <a:pt x="10441875" y="2619733"/>
                  </a:lnTo>
                  <a:lnTo>
                    <a:pt x="10441050" y="2590802"/>
                  </a:lnTo>
                  <a:lnTo>
                    <a:pt x="10436204" y="2568715"/>
                  </a:lnTo>
                  <a:lnTo>
                    <a:pt x="10406974" y="2548218"/>
                  </a:lnTo>
                  <a:lnTo>
                    <a:pt x="10289961" y="2454175"/>
                  </a:lnTo>
                  <a:lnTo>
                    <a:pt x="10267408" y="2451635"/>
                  </a:lnTo>
                  <a:lnTo>
                    <a:pt x="10244650" y="2470115"/>
                  </a:lnTo>
                  <a:lnTo>
                    <a:pt x="10220611" y="2488434"/>
                  </a:lnTo>
                  <a:lnTo>
                    <a:pt x="10185900" y="2467885"/>
                  </a:lnTo>
                  <a:lnTo>
                    <a:pt x="10182123" y="2443167"/>
                  </a:lnTo>
                  <a:lnTo>
                    <a:pt x="10145012" y="2397108"/>
                  </a:lnTo>
                  <a:lnTo>
                    <a:pt x="10112751" y="2367161"/>
                  </a:lnTo>
                  <a:lnTo>
                    <a:pt x="10085500" y="2338177"/>
                  </a:lnTo>
                  <a:lnTo>
                    <a:pt x="10053777" y="2328647"/>
                  </a:lnTo>
                  <a:lnTo>
                    <a:pt x="10033816" y="2336819"/>
                  </a:lnTo>
                  <a:lnTo>
                    <a:pt x="10013854" y="2344989"/>
                  </a:lnTo>
                  <a:lnTo>
                    <a:pt x="9994265" y="2358983"/>
                  </a:lnTo>
                  <a:lnTo>
                    <a:pt x="9968679" y="2364391"/>
                  </a:lnTo>
                  <a:lnTo>
                    <a:pt x="9948233" y="2348748"/>
                  </a:lnTo>
                  <a:lnTo>
                    <a:pt x="9926359" y="2325936"/>
                  </a:lnTo>
                  <a:lnTo>
                    <a:pt x="9904484" y="2303125"/>
                  </a:lnTo>
                  <a:lnTo>
                    <a:pt x="9880914" y="2272920"/>
                  </a:lnTo>
                  <a:lnTo>
                    <a:pt x="9858351" y="2240242"/>
                  </a:lnTo>
                  <a:lnTo>
                    <a:pt x="9813222" y="2174894"/>
                  </a:lnTo>
                  <a:lnTo>
                    <a:pt x="9771404" y="2101908"/>
                  </a:lnTo>
                  <a:lnTo>
                    <a:pt x="9753619" y="2068854"/>
                  </a:lnTo>
                  <a:lnTo>
                    <a:pt x="9739669" y="2042989"/>
                  </a:lnTo>
                  <a:lnTo>
                    <a:pt x="9723348" y="2018127"/>
                  </a:lnTo>
                  <a:lnTo>
                    <a:pt x="9712809" y="1989966"/>
                  </a:lnTo>
                  <a:lnTo>
                    <a:pt x="9704980" y="1969054"/>
                  </a:lnTo>
                  <a:lnTo>
                    <a:pt x="9711423" y="1941474"/>
                  </a:lnTo>
                  <a:lnTo>
                    <a:pt x="9725050" y="1921959"/>
                  </a:lnTo>
                  <a:lnTo>
                    <a:pt x="9740724" y="1904898"/>
                  </a:lnTo>
                  <a:lnTo>
                    <a:pt x="9761064" y="1895488"/>
                  </a:lnTo>
                  <a:lnTo>
                    <a:pt x="9784898" y="1897478"/>
                  </a:lnTo>
                  <a:lnTo>
                    <a:pt x="9816480" y="1923088"/>
                  </a:lnTo>
                  <a:lnTo>
                    <a:pt x="9840959" y="1917198"/>
                  </a:lnTo>
                  <a:lnTo>
                    <a:pt x="9874675" y="1894756"/>
                  </a:lnTo>
                  <a:lnTo>
                    <a:pt x="9903743" y="1867136"/>
                  </a:lnTo>
                  <a:lnTo>
                    <a:pt x="9896265" y="1822838"/>
                  </a:lnTo>
                  <a:lnTo>
                    <a:pt x="9869655" y="1801371"/>
                  </a:lnTo>
                  <a:lnTo>
                    <a:pt x="9863792" y="1775058"/>
                  </a:lnTo>
                  <a:lnTo>
                    <a:pt x="9856096" y="1740409"/>
                  </a:lnTo>
                  <a:lnTo>
                    <a:pt x="9872523" y="1682743"/>
                  </a:lnTo>
                  <a:lnTo>
                    <a:pt x="9888271" y="1626797"/>
                  </a:lnTo>
                  <a:lnTo>
                    <a:pt x="9896147" y="1598822"/>
                  </a:lnTo>
                  <a:lnTo>
                    <a:pt x="9903328" y="1571018"/>
                  </a:lnTo>
                  <a:lnTo>
                    <a:pt x="9907318" y="1546545"/>
                  </a:lnTo>
                  <a:lnTo>
                    <a:pt x="9911309" y="1522071"/>
                  </a:lnTo>
                  <a:lnTo>
                    <a:pt x="9905960" y="1486696"/>
                  </a:lnTo>
                  <a:lnTo>
                    <a:pt x="9895251" y="1464589"/>
                  </a:lnTo>
                  <a:lnTo>
                    <a:pt x="9850280" y="1439292"/>
                  </a:lnTo>
                  <a:lnTo>
                    <a:pt x="9806825" y="1415523"/>
                  </a:lnTo>
                  <a:lnTo>
                    <a:pt x="9768576" y="1384679"/>
                  </a:lnTo>
                  <a:lnTo>
                    <a:pt x="9749458" y="1369260"/>
                  </a:lnTo>
                  <a:lnTo>
                    <a:pt x="9731599" y="1352113"/>
                  </a:lnTo>
                  <a:lnTo>
                    <a:pt x="9716889" y="1332995"/>
                  </a:lnTo>
                  <a:lnTo>
                    <a:pt x="9702183" y="1313876"/>
                  </a:lnTo>
                  <a:lnTo>
                    <a:pt x="9690643" y="1291665"/>
                  </a:lnTo>
                  <a:lnTo>
                    <a:pt x="9682888" y="1267705"/>
                  </a:lnTo>
                  <a:lnTo>
                    <a:pt x="9666989" y="1218712"/>
                  </a:lnTo>
                  <a:lnTo>
                    <a:pt x="9656785" y="1161989"/>
                  </a:lnTo>
                  <a:lnTo>
                    <a:pt x="9633921" y="1115363"/>
                  </a:lnTo>
                  <a:lnTo>
                    <a:pt x="9595827" y="1037827"/>
                  </a:lnTo>
                  <a:lnTo>
                    <a:pt x="9565017" y="1032478"/>
                  </a:lnTo>
                  <a:lnTo>
                    <a:pt x="9509290" y="1074580"/>
                  </a:lnTo>
                  <a:lnTo>
                    <a:pt x="9487018" y="1066396"/>
                  </a:lnTo>
                  <a:lnTo>
                    <a:pt x="9348276" y="1016064"/>
                  </a:lnTo>
                  <a:lnTo>
                    <a:pt x="9323069" y="996832"/>
                  </a:lnTo>
                  <a:lnTo>
                    <a:pt x="9323394" y="963739"/>
                  </a:lnTo>
                  <a:lnTo>
                    <a:pt x="9319382" y="932249"/>
                  </a:lnTo>
                  <a:lnTo>
                    <a:pt x="9311550" y="901807"/>
                  </a:lnTo>
                  <a:lnTo>
                    <a:pt x="9303752" y="871371"/>
                  </a:lnTo>
                  <a:lnTo>
                    <a:pt x="9291830" y="841925"/>
                  </a:lnTo>
                  <a:lnTo>
                    <a:pt x="9280268" y="814761"/>
                  </a:lnTo>
                  <a:lnTo>
                    <a:pt x="9257147" y="760432"/>
                  </a:lnTo>
                  <a:lnTo>
                    <a:pt x="9233998" y="716016"/>
                  </a:lnTo>
                  <a:lnTo>
                    <a:pt x="9242184" y="693698"/>
                  </a:lnTo>
                  <a:lnTo>
                    <a:pt x="9388572" y="647323"/>
                  </a:lnTo>
                  <a:lnTo>
                    <a:pt x="9412207" y="639290"/>
                  </a:lnTo>
                  <a:lnTo>
                    <a:pt x="9420201" y="588812"/>
                  </a:lnTo>
                  <a:lnTo>
                    <a:pt x="9416241" y="544356"/>
                  </a:lnTo>
                  <a:lnTo>
                    <a:pt x="9401324" y="512793"/>
                  </a:lnTo>
                  <a:lnTo>
                    <a:pt x="9346918" y="467908"/>
                  </a:lnTo>
                  <a:lnTo>
                    <a:pt x="9301333" y="488722"/>
                  </a:lnTo>
                  <a:lnTo>
                    <a:pt x="9270746" y="514152"/>
                  </a:lnTo>
                  <a:lnTo>
                    <a:pt x="9240159" y="539582"/>
                  </a:lnTo>
                  <a:lnTo>
                    <a:pt x="9207370" y="565948"/>
                  </a:lnTo>
                  <a:lnTo>
                    <a:pt x="9182333" y="563119"/>
                  </a:lnTo>
                  <a:lnTo>
                    <a:pt x="9157934" y="551921"/>
                  </a:lnTo>
                  <a:lnTo>
                    <a:pt x="9143728" y="495910"/>
                  </a:lnTo>
                  <a:lnTo>
                    <a:pt x="9129945" y="466701"/>
                  </a:lnTo>
                  <a:lnTo>
                    <a:pt x="9114322" y="448862"/>
                  </a:lnTo>
                  <a:lnTo>
                    <a:pt x="9098698" y="431030"/>
                  </a:lnTo>
                  <a:lnTo>
                    <a:pt x="9061280" y="420299"/>
                  </a:lnTo>
                  <a:lnTo>
                    <a:pt x="9019084" y="416376"/>
                  </a:lnTo>
                  <a:lnTo>
                    <a:pt x="8997349" y="412136"/>
                  </a:lnTo>
                  <a:lnTo>
                    <a:pt x="8975604" y="407895"/>
                  </a:lnTo>
                  <a:lnTo>
                    <a:pt x="8954328" y="400469"/>
                  </a:lnTo>
                  <a:lnTo>
                    <a:pt x="8933418" y="380855"/>
                  </a:lnTo>
                  <a:lnTo>
                    <a:pt x="8919627" y="353902"/>
                  </a:lnTo>
                  <a:lnTo>
                    <a:pt x="8920008" y="320750"/>
                  </a:lnTo>
                  <a:lnTo>
                    <a:pt x="8915741" y="288362"/>
                  </a:lnTo>
                  <a:lnTo>
                    <a:pt x="8890720" y="257313"/>
                  </a:lnTo>
                  <a:lnTo>
                    <a:pt x="8873574" y="244836"/>
                  </a:lnTo>
                  <a:lnTo>
                    <a:pt x="8856427" y="232358"/>
                  </a:lnTo>
                  <a:lnTo>
                    <a:pt x="8837591" y="219967"/>
                  </a:lnTo>
                  <a:lnTo>
                    <a:pt x="8825009" y="187671"/>
                  </a:lnTo>
                  <a:lnTo>
                    <a:pt x="8820526" y="156424"/>
                  </a:lnTo>
                  <a:lnTo>
                    <a:pt x="8813785" y="125923"/>
                  </a:lnTo>
                  <a:lnTo>
                    <a:pt x="8801209" y="104331"/>
                  </a:lnTo>
                  <a:lnTo>
                    <a:pt x="8789238" y="84329"/>
                  </a:lnTo>
                  <a:lnTo>
                    <a:pt x="8760433" y="70275"/>
                  </a:lnTo>
                  <a:lnTo>
                    <a:pt x="8728268" y="73903"/>
                  </a:lnTo>
                  <a:lnTo>
                    <a:pt x="8699469" y="85687"/>
                  </a:lnTo>
                  <a:lnTo>
                    <a:pt x="8672265" y="63924"/>
                  </a:lnTo>
                  <a:lnTo>
                    <a:pt x="8638921" y="55061"/>
                  </a:lnTo>
                  <a:lnTo>
                    <a:pt x="8613775" y="38086"/>
                  </a:lnTo>
                  <a:lnTo>
                    <a:pt x="8581439" y="16981"/>
                  </a:lnTo>
                  <a:lnTo>
                    <a:pt x="8545451" y="2058"/>
                  </a:lnTo>
                  <a:lnTo>
                    <a:pt x="8506318" y="0"/>
                  </a:lnTo>
                  <a:lnTo>
                    <a:pt x="8484621" y="2196"/>
                  </a:lnTo>
                  <a:lnTo>
                    <a:pt x="8463075" y="10044"/>
                  </a:lnTo>
                  <a:lnTo>
                    <a:pt x="8442394" y="23121"/>
                  </a:lnTo>
                  <a:lnTo>
                    <a:pt x="8421703" y="36200"/>
                  </a:lnTo>
                  <a:lnTo>
                    <a:pt x="8402467" y="53353"/>
                  </a:lnTo>
                  <a:lnTo>
                    <a:pt x="8386620" y="73448"/>
                  </a:lnTo>
                  <a:lnTo>
                    <a:pt x="8370773" y="93542"/>
                  </a:lnTo>
                  <a:lnTo>
                    <a:pt x="8357087" y="116848"/>
                  </a:lnTo>
                  <a:lnTo>
                    <a:pt x="8349900" y="140096"/>
                  </a:lnTo>
                  <a:lnTo>
                    <a:pt x="8342704" y="163349"/>
                  </a:lnTo>
                  <a:lnTo>
                    <a:pt x="8341888" y="186919"/>
                  </a:lnTo>
                  <a:lnTo>
                    <a:pt x="8347181" y="209467"/>
                  </a:lnTo>
                  <a:lnTo>
                    <a:pt x="8361065" y="247705"/>
                  </a:lnTo>
                  <a:lnTo>
                    <a:pt x="8384983" y="280046"/>
                  </a:lnTo>
                  <a:lnTo>
                    <a:pt x="8412467" y="310126"/>
                  </a:lnTo>
                  <a:lnTo>
                    <a:pt x="8426342" y="327536"/>
                  </a:lnTo>
                  <a:lnTo>
                    <a:pt x="8427430" y="367250"/>
                  </a:lnTo>
                  <a:lnTo>
                    <a:pt x="8416513" y="407585"/>
                  </a:lnTo>
                  <a:lnTo>
                    <a:pt x="8404306" y="427099"/>
                  </a:lnTo>
                  <a:lnTo>
                    <a:pt x="8379880" y="466135"/>
                  </a:lnTo>
                  <a:lnTo>
                    <a:pt x="8341392" y="501575"/>
                  </a:lnTo>
                  <a:lnTo>
                    <a:pt x="8317254" y="522316"/>
                  </a:lnTo>
                  <a:lnTo>
                    <a:pt x="8283417" y="551393"/>
                  </a:lnTo>
                  <a:lnTo>
                    <a:pt x="8257090" y="572418"/>
                  </a:lnTo>
                  <a:lnTo>
                    <a:pt x="8230202" y="576724"/>
                  </a:lnTo>
                  <a:lnTo>
                    <a:pt x="8203763" y="577720"/>
                  </a:lnTo>
                  <a:lnTo>
                    <a:pt x="8175030" y="562130"/>
                  </a:lnTo>
                  <a:lnTo>
                    <a:pt x="8158845" y="547990"/>
                  </a:lnTo>
                  <a:lnTo>
                    <a:pt x="8141792" y="527757"/>
                  </a:lnTo>
                  <a:lnTo>
                    <a:pt x="8121440" y="601224"/>
                  </a:lnTo>
                  <a:lnTo>
                    <a:pt x="8106237" y="639844"/>
                  </a:lnTo>
                  <a:lnTo>
                    <a:pt x="8087383" y="666494"/>
                  </a:lnTo>
                  <a:lnTo>
                    <a:pt x="8068522" y="693151"/>
                  </a:lnTo>
                  <a:lnTo>
                    <a:pt x="8046244" y="707594"/>
                  </a:lnTo>
                  <a:lnTo>
                    <a:pt x="8023452" y="718185"/>
                  </a:lnTo>
                  <a:lnTo>
                    <a:pt x="8000659" y="728776"/>
                  </a:lnTo>
                  <a:lnTo>
                    <a:pt x="7978078" y="735075"/>
                  </a:lnTo>
                  <a:lnTo>
                    <a:pt x="7958163" y="746748"/>
                  </a:lnTo>
                  <a:lnTo>
                    <a:pt x="7938238" y="758427"/>
                  </a:lnTo>
                  <a:lnTo>
                    <a:pt x="7920788" y="775324"/>
                  </a:lnTo>
                  <a:lnTo>
                    <a:pt x="7910553" y="805238"/>
                  </a:lnTo>
                  <a:lnTo>
                    <a:pt x="7923731" y="856480"/>
                  </a:lnTo>
                  <a:lnTo>
                    <a:pt x="7942393" y="893247"/>
                  </a:lnTo>
                  <a:lnTo>
                    <a:pt x="7949999" y="924935"/>
                  </a:lnTo>
                  <a:lnTo>
                    <a:pt x="7947999" y="968633"/>
                  </a:lnTo>
                  <a:lnTo>
                    <a:pt x="7952591" y="1011882"/>
                  </a:lnTo>
                  <a:lnTo>
                    <a:pt x="7959186" y="1038084"/>
                  </a:lnTo>
                  <a:lnTo>
                    <a:pt x="7963604" y="1062314"/>
                  </a:lnTo>
                  <a:lnTo>
                    <a:pt x="7996374" y="1153172"/>
                  </a:lnTo>
                  <a:lnTo>
                    <a:pt x="8001661" y="1188639"/>
                  </a:lnTo>
                  <a:lnTo>
                    <a:pt x="7992015" y="1207665"/>
                  </a:lnTo>
                  <a:lnTo>
                    <a:pt x="7975842" y="1221455"/>
                  </a:lnTo>
                  <a:lnTo>
                    <a:pt x="7959673" y="1235252"/>
                  </a:lnTo>
                  <a:lnTo>
                    <a:pt x="7937004" y="1243627"/>
                  </a:lnTo>
                  <a:lnTo>
                    <a:pt x="7911911" y="1250018"/>
                  </a:lnTo>
                  <a:lnTo>
                    <a:pt x="7861725" y="1262805"/>
                  </a:lnTo>
                  <a:lnTo>
                    <a:pt x="7800761" y="1268556"/>
                  </a:lnTo>
                  <a:lnTo>
                    <a:pt x="7758212" y="1294909"/>
                  </a:lnTo>
                  <a:lnTo>
                    <a:pt x="7762392" y="1354085"/>
                  </a:lnTo>
                  <a:lnTo>
                    <a:pt x="7769092" y="1399643"/>
                  </a:lnTo>
                  <a:lnTo>
                    <a:pt x="7775792" y="1445200"/>
                  </a:lnTo>
                  <a:lnTo>
                    <a:pt x="7779901" y="1496496"/>
                  </a:lnTo>
                  <a:lnTo>
                    <a:pt x="7765018" y="1535662"/>
                  </a:lnTo>
                  <a:lnTo>
                    <a:pt x="7753257" y="1566605"/>
                  </a:lnTo>
                  <a:lnTo>
                    <a:pt x="7739962" y="1594212"/>
                  </a:lnTo>
                  <a:lnTo>
                    <a:pt x="7724208" y="1621357"/>
                  </a:lnTo>
                  <a:lnTo>
                    <a:pt x="7708460" y="1648495"/>
                  </a:lnTo>
                  <a:lnTo>
                    <a:pt x="7691146" y="1675600"/>
                  </a:lnTo>
                  <a:lnTo>
                    <a:pt x="7671160" y="1701603"/>
                  </a:lnTo>
                  <a:lnTo>
                    <a:pt x="7657403" y="1719509"/>
                  </a:lnTo>
                  <a:lnTo>
                    <a:pt x="7622534" y="1749126"/>
                  </a:lnTo>
                  <a:lnTo>
                    <a:pt x="7614035" y="1770976"/>
                  </a:lnTo>
                  <a:lnTo>
                    <a:pt x="7613368" y="1808823"/>
                  </a:lnTo>
                  <a:lnTo>
                    <a:pt x="7616751" y="1832183"/>
                  </a:lnTo>
                  <a:lnTo>
                    <a:pt x="7620140" y="1855549"/>
                  </a:lnTo>
                  <a:lnTo>
                    <a:pt x="7621532" y="1878123"/>
                  </a:lnTo>
                  <a:lnTo>
                    <a:pt x="7587503" y="1910867"/>
                  </a:lnTo>
                  <a:lnTo>
                    <a:pt x="7557167" y="1934713"/>
                  </a:lnTo>
                  <a:lnTo>
                    <a:pt x="7536505" y="1960045"/>
                  </a:lnTo>
                  <a:lnTo>
                    <a:pt x="7519693" y="1980655"/>
                  </a:lnTo>
                  <a:lnTo>
                    <a:pt x="7501840" y="2019254"/>
                  </a:lnTo>
                  <a:lnTo>
                    <a:pt x="7484812" y="2055262"/>
                  </a:lnTo>
                  <a:lnTo>
                    <a:pt x="7467786" y="2091263"/>
                  </a:lnTo>
                  <a:lnTo>
                    <a:pt x="7451384" y="2124864"/>
                  </a:lnTo>
                  <a:lnTo>
                    <a:pt x="7433128" y="2136875"/>
                  </a:lnTo>
                  <a:lnTo>
                    <a:pt x="7367166" y="2126771"/>
                  </a:lnTo>
                  <a:lnTo>
                    <a:pt x="7307985" y="2115110"/>
                  </a:lnTo>
                  <a:lnTo>
                    <a:pt x="7248808" y="2103444"/>
                  </a:lnTo>
                  <a:lnTo>
                    <a:pt x="7187707" y="2091693"/>
                  </a:lnTo>
                  <a:lnTo>
                    <a:pt x="7161880" y="2087333"/>
                  </a:lnTo>
                  <a:lnTo>
                    <a:pt x="7137915" y="2084200"/>
                  </a:lnTo>
                  <a:lnTo>
                    <a:pt x="7114837" y="2079742"/>
                  </a:lnTo>
                  <a:lnTo>
                    <a:pt x="7091763" y="2075284"/>
                  </a:lnTo>
                  <a:lnTo>
                    <a:pt x="7069783" y="2068576"/>
                  </a:lnTo>
                  <a:lnTo>
                    <a:pt x="7055914" y="2048252"/>
                  </a:lnTo>
                  <a:lnTo>
                    <a:pt x="7056348" y="2003571"/>
                  </a:lnTo>
                  <a:lnTo>
                    <a:pt x="7057805" y="1979546"/>
                  </a:lnTo>
                  <a:lnTo>
                    <a:pt x="7062391" y="1952534"/>
                  </a:lnTo>
                  <a:lnTo>
                    <a:pt x="7063148" y="1928759"/>
                  </a:lnTo>
                  <a:lnTo>
                    <a:pt x="7063920" y="1904991"/>
                  </a:lnTo>
                  <a:lnTo>
                    <a:pt x="7050906" y="1871633"/>
                  </a:lnTo>
                  <a:lnTo>
                    <a:pt x="7021237" y="1852614"/>
                  </a:lnTo>
                  <a:lnTo>
                    <a:pt x="6988343" y="1860752"/>
                  </a:lnTo>
                  <a:lnTo>
                    <a:pt x="6975060" y="1887375"/>
                  </a:lnTo>
                  <a:lnTo>
                    <a:pt x="6971696" y="1921175"/>
                  </a:lnTo>
                  <a:lnTo>
                    <a:pt x="6970660" y="1960045"/>
                  </a:lnTo>
                  <a:lnTo>
                    <a:pt x="6965985" y="1997517"/>
                  </a:lnTo>
                  <a:lnTo>
                    <a:pt x="6948125" y="2034112"/>
                  </a:lnTo>
                  <a:lnTo>
                    <a:pt x="6933636" y="2051489"/>
                  </a:lnTo>
                  <a:lnTo>
                    <a:pt x="6909455" y="2066136"/>
                  </a:lnTo>
                  <a:lnTo>
                    <a:pt x="6888628" y="2078752"/>
                  </a:lnTo>
                  <a:lnTo>
                    <a:pt x="6851939" y="2083126"/>
                  </a:lnTo>
                  <a:lnTo>
                    <a:pt x="6827841" y="2074302"/>
                  </a:lnTo>
                  <a:lnTo>
                    <a:pt x="6805393" y="2066097"/>
                  </a:lnTo>
                  <a:lnTo>
                    <a:pt x="6792389" y="2026205"/>
                  </a:lnTo>
                  <a:lnTo>
                    <a:pt x="6758472" y="2017176"/>
                  </a:lnTo>
                  <a:lnTo>
                    <a:pt x="6727546" y="2027359"/>
                  </a:lnTo>
                  <a:lnTo>
                    <a:pt x="6713222" y="2053238"/>
                  </a:lnTo>
                  <a:lnTo>
                    <a:pt x="6708143" y="2087901"/>
                  </a:lnTo>
                  <a:lnTo>
                    <a:pt x="6706865" y="2122978"/>
                  </a:lnTo>
                  <a:lnTo>
                    <a:pt x="6701272" y="2153480"/>
                  </a:lnTo>
                  <a:lnTo>
                    <a:pt x="6685022" y="2172235"/>
                  </a:lnTo>
                  <a:lnTo>
                    <a:pt x="6651126" y="2163696"/>
                  </a:lnTo>
                  <a:lnTo>
                    <a:pt x="6647635" y="2141332"/>
                  </a:lnTo>
                  <a:lnTo>
                    <a:pt x="6629124" y="2106861"/>
                  </a:lnTo>
                  <a:lnTo>
                    <a:pt x="6603622" y="2097068"/>
                  </a:lnTo>
                  <a:lnTo>
                    <a:pt x="6593886" y="2075666"/>
                  </a:lnTo>
                  <a:lnTo>
                    <a:pt x="6584002" y="2053943"/>
                  </a:lnTo>
                  <a:lnTo>
                    <a:pt x="6589192" y="2009355"/>
                  </a:lnTo>
                  <a:lnTo>
                    <a:pt x="6580290" y="1980450"/>
                  </a:lnTo>
                  <a:lnTo>
                    <a:pt x="6556382" y="1971117"/>
                  </a:lnTo>
                  <a:lnTo>
                    <a:pt x="6531323" y="1945082"/>
                  </a:lnTo>
                  <a:lnTo>
                    <a:pt x="6517764" y="1915556"/>
                  </a:lnTo>
                  <a:lnTo>
                    <a:pt x="6512235" y="1884843"/>
                  </a:lnTo>
                  <a:lnTo>
                    <a:pt x="6508202" y="1856670"/>
                  </a:lnTo>
                  <a:lnTo>
                    <a:pt x="6497319" y="1830112"/>
                  </a:lnTo>
                  <a:lnTo>
                    <a:pt x="6463321" y="1810321"/>
                  </a:lnTo>
                  <a:lnTo>
                    <a:pt x="6437694" y="1816407"/>
                  </a:lnTo>
                  <a:lnTo>
                    <a:pt x="6411625" y="1825383"/>
                  </a:lnTo>
                  <a:lnTo>
                    <a:pt x="6385549" y="1834360"/>
                  </a:lnTo>
                  <a:lnTo>
                    <a:pt x="6359122" y="1846995"/>
                  </a:lnTo>
                  <a:lnTo>
                    <a:pt x="6338172" y="1851228"/>
                  </a:lnTo>
                  <a:lnTo>
                    <a:pt x="6289375" y="1861068"/>
                  </a:lnTo>
                  <a:lnTo>
                    <a:pt x="6237241" y="1847576"/>
                  </a:lnTo>
                  <a:lnTo>
                    <a:pt x="6188553" y="1849864"/>
                  </a:lnTo>
                  <a:lnTo>
                    <a:pt x="6163847" y="1851032"/>
                  </a:lnTo>
                  <a:lnTo>
                    <a:pt x="6138680" y="1857560"/>
                  </a:lnTo>
                  <a:lnTo>
                    <a:pt x="6113739" y="1867551"/>
                  </a:lnTo>
                  <a:lnTo>
                    <a:pt x="6088798" y="1877535"/>
                  </a:lnTo>
                  <a:lnTo>
                    <a:pt x="6062775" y="1890370"/>
                  </a:lnTo>
                  <a:lnTo>
                    <a:pt x="6038934" y="1905637"/>
                  </a:lnTo>
                  <a:lnTo>
                    <a:pt x="5991238" y="1936170"/>
                  </a:lnTo>
                  <a:lnTo>
                    <a:pt x="5947712" y="1973241"/>
                  </a:lnTo>
                  <a:lnTo>
                    <a:pt x="5912430" y="2003571"/>
                  </a:lnTo>
                  <a:lnTo>
                    <a:pt x="5895858" y="2017809"/>
                  </a:lnTo>
                  <a:lnTo>
                    <a:pt x="5879852" y="2040443"/>
                  </a:lnTo>
                  <a:lnTo>
                    <a:pt x="5862105" y="2052539"/>
                  </a:lnTo>
                  <a:lnTo>
                    <a:pt x="5839008" y="2068274"/>
                  </a:lnTo>
                  <a:lnTo>
                    <a:pt x="5793740" y="2062081"/>
                  </a:lnTo>
                  <a:lnTo>
                    <a:pt x="5750570" y="2063420"/>
                  </a:lnTo>
                  <a:lnTo>
                    <a:pt x="5728978" y="2064093"/>
                  </a:lnTo>
                  <a:lnTo>
                    <a:pt x="5690717" y="2074302"/>
                  </a:lnTo>
                  <a:lnTo>
                    <a:pt x="5657643" y="2094885"/>
                  </a:lnTo>
                  <a:lnTo>
                    <a:pt x="5649913" y="2116470"/>
                  </a:lnTo>
                  <a:lnTo>
                    <a:pt x="5624944" y="2191677"/>
                  </a:lnTo>
                  <a:lnTo>
                    <a:pt x="5612644" y="2211963"/>
                  </a:lnTo>
                  <a:lnTo>
                    <a:pt x="5584624" y="2234802"/>
                  </a:lnTo>
                  <a:lnTo>
                    <a:pt x="5560725" y="2259982"/>
                  </a:lnTo>
                  <a:lnTo>
                    <a:pt x="5556061" y="2281052"/>
                  </a:lnTo>
                  <a:lnTo>
                    <a:pt x="5571400" y="2305940"/>
                  </a:lnTo>
                  <a:lnTo>
                    <a:pt x="5615825" y="2335500"/>
                  </a:lnTo>
                  <a:lnTo>
                    <a:pt x="5640391" y="2349058"/>
                  </a:lnTo>
                  <a:lnTo>
                    <a:pt x="5635213" y="2382013"/>
                  </a:lnTo>
                  <a:lnTo>
                    <a:pt x="5617698" y="2410707"/>
                  </a:lnTo>
                  <a:lnTo>
                    <a:pt x="5600945" y="2440194"/>
                  </a:lnTo>
                  <a:lnTo>
                    <a:pt x="5584187" y="2469679"/>
                  </a:lnTo>
                  <a:lnTo>
                    <a:pt x="5568544" y="2499435"/>
                  </a:lnTo>
                  <a:lnTo>
                    <a:pt x="5569660" y="2535404"/>
                  </a:lnTo>
                  <a:lnTo>
                    <a:pt x="5633523" y="2580954"/>
                  </a:lnTo>
                  <a:lnTo>
                    <a:pt x="5627452" y="2634981"/>
                  </a:lnTo>
                  <a:lnTo>
                    <a:pt x="5598164" y="2815015"/>
                  </a:lnTo>
                  <a:lnTo>
                    <a:pt x="5565788" y="2863579"/>
                  </a:lnTo>
                  <a:lnTo>
                    <a:pt x="5531641" y="2903129"/>
                  </a:lnTo>
                  <a:lnTo>
                    <a:pt x="5523415" y="2944828"/>
                  </a:lnTo>
                  <a:lnTo>
                    <a:pt x="5535855" y="2975093"/>
                  </a:lnTo>
                  <a:lnTo>
                    <a:pt x="5554505" y="3009775"/>
                  </a:lnTo>
                  <a:lnTo>
                    <a:pt x="5550614" y="3050921"/>
                  </a:lnTo>
                  <a:lnTo>
                    <a:pt x="5513655" y="3123776"/>
                  </a:lnTo>
                  <a:lnTo>
                    <a:pt x="5478038" y="3194486"/>
                  </a:lnTo>
                  <a:lnTo>
                    <a:pt x="5456768" y="3273994"/>
                  </a:lnTo>
                  <a:lnTo>
                    <a:pt x="5430329" y="3284262"/>
                  </a:lnTo>
                  <a:lnTo>
                    <a:pt x="5404542" y="3305214"/>
                  </a:lnTo>
                  <a:lnTo>
                    <a:pt x="5390115" y="3329760"/>
                  </a:lnTo>
                  <a:lnTo>
                    <a:pt x="5380537" y="3369956"/>
                  </a:lnTo>
                  <a:lnTo>
                    <a:pt x="5381954" y="3399132"/>
                  </a:lnTo>
                  <a:lnTo>
                    <a:pt x="5383374" y="3428307"/>
                  </a:lnTo>
                  <a:lnTo>
                    <a:pt x="5389017" y="3457253"/>
                  </a:lnTo>
                  <a:lnTo>
                    <a:pt x="5412417" y="3475388"/>
                  </a:lnTo>
                  <a:lnTo>
                    <a:pt x="5447240" y="3475303"/>
                  </a:lnTo>
                  <a:lnTo>
                    <a:pt x="5479250" y="3481582"/>
                  </a:lnTo>
                  <a:lnTo>
                    <a:pt x="5489405" y="3502507"/>
                  </a:lnTo>
                  <a:lnTo>
                    <a:pt x="5495327" y="3555979"/>
                  </a:lnTo>
                  <a:lnTo>
                    <a:pt x="5493488" y="3596365"/>
                  </a:lnTo>
                  <a:lnTo>
                    <a:pt x="5489473" y="3635382"/>
                  </a:lnTo>
                  <a:lnTo>
                    <a:pt x="5481182" y="3666159"/>
                  </a:lnTo>
                  <a:lnTo>
                    <a:pt x="5395290" y="3701086"/>
                  </a:lnTo>
                  <a:lnTo>
                    <a:pt x="5364098" y="3709455"/>
                  </a:lnTo>
                  <a:lnTo>
                    <a:pt x="5343870" y="3729661"/>
                  </a:lnTo>
                  <a:lnTo>
                    <a:pt x="5323644" y="3749869"/>
                  </a:lnTo>
                  <a:lnTo>
                    <a:pt x="5315276" y="3781411"/>
                  </a:lnTo>
                  <a:lnTo>
                    <a:pt x="5288102" y="3846641"/>
                  </a:lnTo>
                  <a:lnTo>
                    <a:pt x="5278007" y="3870865"/>
                  </a:lnTo>
                  <a:lnTo>
                    <a:pt x="5264191" y="3894502"/>
                  </a:lnTo>
                  <a:lnTo>
                    <a:pt x="5254092" y="3918732"/>
                  </a:lnTo>
                  <a:lnTo>
                    <a:pt x="5243745" y="3943555"/>
                  </a:lnTo>
                  <a:lnTo>
                    <a:pt x="5236413" y="3964974"/>
                  </a:lnTo>
                  <a:lnTo>
                    <a:pt x="5220091" y="3988096"/>
                  </a:lnTo>
                  <a:lnTo>
                    <a:pt x="5196691" y="4021276"/>
                  </a:lnTo>
                  <a:lnTo>
                    <a:pt x="5170069" y="4033501"/>
                  </a:lnTo>
                  <a:lnTo>
                    <a:pt x="5143919" y="4042510"/>
                  </a:lnTo>
                  <a:lnTo>
                    <a:pt x="5117778" y="4051513"/>
                  </a:lnTo>
                  <a:lnTo>
                    <a:pt x="5091978" y="4057864"/>
                  </a:lnTo>
                  <a:lnTo>
                    <a:pt x="5069108" y="4079232"/>
                  </a:lnTo>
                  <a:lnTo>
                    <a:pt x="5045168" y="4101601"/>
                  </a:lnTo>
                  <a:lnTo>
                    <a:pt x="5033994" y="4127618"/>
                  </a:lnTo>
                  <a:lnTo>
                    <a:pt x="5018779" y="4149961"/>
                  </a:lnTo>
                  <a:lnTo>
                    <a:pt x="5002886" y="4171685"/>
                  </a:lnTo>
                  <a:lnTo>
                    <a:pt x="4980273" y="4188087"/>
                  </a:lnTo>
                  <a:lnTo>
                    <a:pt x="4946691" y="4197570"/>
                  </a:lnTo>
                  <a:lnTo>
                    <a:pt x="4906715" y="4230282"/>
                  </a:lnTo>
                  <a:lnTo>
                    <a:pt x="4887265" y="4292188"/>
                  </a:lnTo>
                  <a:lnTo>
                    <a:pt x="4851481" y="4330872"/>
                  </a:lnTo>
                  <a:lnTo>
                    <a:pt x="4824890" y="4345270"/>
                  </a:lnTo>
                  <a:lnTo>
                    <a:pt x="4793730" y="4351839"/>
                  </a:lnTo>
                  <a:lnTo>
                    <a:pt x="4772587" y="4368958"/>
                  </a:lnTo>
                  <a:lnTo>
                    <a:pt x="4723619" y="4476409"/>
                  </a:lnTo>
                  <a:lnTo>
                    <a:pt x="4708485" y="4508910"/>
                  </a:lnTo>
                  <a:lnTo>
                    <a:pt x="4661028" y="4560976"/>
                  </a:lnTo>
                  <a:lnTo>
                    <a:pt x="4655605" y="4587948"/>
                  </a:lnTo>
                  <a:lnTo>
                    <a:pt x="4647053" y="4630315"/>
                  </a:lnTo>
                  <a:lnTo>
                    <a:pt x="4652132" y="4657163"/>
                  </a:lnTo>
                  <a:lnTo>
                    <a:pt x="4654247" y="4684525"/>
                  </a:lnTo>
                  <a:lnTo>
                    <a:pt x="4656370" y="4711880"/>
                  </a:lnTo>
                  <a:lnTo>
                    <a:pt x="4655930" y="4740410"/>
                  </a:lnTo>
                  <a:lnTo>
                    <a:pt x="4633851" y="4785176"/>
                  </a:lnTo>
                  <a:lnTo>
                    <a:pt x="4609362" y="4793334"/>
                  </a:lnTo>
                  <a:lnTo>
                    <a:pt x="4563120" y="4782459"/>
                  </a:lnTo>
                  <a:lnTo>
                    <a:pt x="4541931" y="4753013"/>
                  </a:lnTo>
                  <a:lnTo>
                    <a:pt x="4534552" y="4732127"/>
                  </a:lnTo>
                  <a:lnTo>
                    <a:pt x="4527178" y="4711240"/>
                  </a:lnTo>
                  <a:lnTo>
                    <a:pt x="4519613" y="4690038"/>
                  </a:lnTo>
                  <a:lnTo>
                    <a:pt x="4484223" y="4669554"/>
                  </a:lnTo>
                  <a:lnTo>
                    <a:pt x="4445670" y="4678569"/>
                  </a:lnTo>
                  <a:lnTo>
                    <a:pt x="4428459" y="4706280"/>
                  </a:lnTo>
                  <a:lnTo>
                    <a:pt x="4420354" y="4739085"/>
                  </a:lnTo>
                  <a:lnTo>
                    <a:pt x="4399896" y="4759330"/>
                  </a:lnTo>
                  <a:lnTo>
                    <a:pt x="4338874" y="4772441"/>
                  </a:lnTo>
                  <a:lnTo>
                    <a:pt x="4316813" y="4753185"/>
                  </a:lnTo>
                  <a:lnTo>
                    <a:pt x="4297267" y="4718264"/>
                  </a:lnTo>
                  <a:lnTo>
                    <a:pt x="4264540" y="4709967"/>
                  </a:lnTo>
                  <a:lnTo>
                    <a:pt x="4239388" y="4734843"/>
                  </a:lnTo>
                  <a:lnTo>
                    <a:pt x="4217631" y="4767957"/>
                  </a:lnTo>
                  <a:lnTo>
                    <a:pt x="4205384" y="4785169"/>
                  </a:lnTo>
                  <a:lnTo>
                    <a:pt x="4193140" y="4802389"/>
                  </a:lnTo>
                  <a:lnTo>
                    <a:pt x="4177699" y="4818151"/>
                  </a:lnTo>
                  <a:lnTo>
                    <a:pt x="4156420" y="4825979"/>
                  </a:lnTo>
                  <a:lnTo>
                    <a:pt x="4135137" y="4833800"/>
                  </a:lnTo>
                  <a:lnTo>
                    <a:pt x="4108209" y="4834242"/>
                  </a:lnTo>
                  <a:lnTo>
                    <a:pt x="4069364" y="4820539"/>
                  </a:lnTo>
                  <a:lnTo>
                    <a:pt x="4038349" y="4840672"/>
                  </a:lnTo>
                  <a:lnTo>
                    <a:pt x="4024480" y="4858623"/>
                  </a:lnTo>
                  <a:lnTo>
                    <a:pt x="4010605" y="4876568"/>
                  </a:lnTo>
                  <a:lnTo>
                    <a:pt x="3993161" y="4895515"/>
                  </a:lnTo>
                  <a:lnTo>
                    <a:pt x="3957833" y="4902149"/>
                  </a:lnTo>
                  <a:lnTo>
                    <a:pt x="3920242" y="4858056"/>
                  </a:lnTo>
                  <a:lnTo>
                    <a:pt x="3900702" y="4817815"/>
                  </a:lnTo>
                  <a:lnTo>
                    <a:pt x="3881159" y="4777578"/>
                  </a:lnTo>
                  <a:lnTo>
                    <a:pt x="3859886" y="4735483"/>
                  </a:lnTo>
                  <a:lnTo>
                    <a:pt x="3834052" y="4718522"/>
                  </a:lnTo>
                  <a:lnTo>
                    <a:pt x="3806757" y="4709835"/>
                  </a:lnTo>
                  <a:lnTo>
                    <a:pt x="3779729" y="4719055"/>
                  </a:lnTo>
                  <a:lnTo>
                    <a:pt x="3753799" y="4736209"/>
                  </a:lnTo>
                  <a:lnTo>
                    <a:pt x="3728126" y="4753217"/>
                  </a:lnTo>
                  <a:lnTo>
                    <a:pt x="3703303" y="4760003"/>
                  </a:lnTo>
                  <a:lnTo>
                    <a:pt x="3678985" y="4747090"/>
                  </a:lnTo>
                  <a:lnTo>
                    <a:pt x="3617780" y="4685883"/>
                  </a:lnTo>
                  <a:lnTo>
                    <a:pt x="3591440" y="4697081"/>
                  </a:lnTo>
                  <a:lnTo>
                    <a:pt x="3573779" y="4739737"/>
                  </a:lnTo>
                  <a:lnTo>
                    <a:pt x="3555207" y="4779735"/>
                  </a:lnTo>
                  <a:lnTo>
                    <a:pt x="3536643" y="4819740"/>
                  </a:lnTo>
                  <a:lnTo>
                    <a:pt x="3516573" y="4857192"/>
                  </a:lnTo>
                  <a:lnTo>
                    <a:pt x="3484476" y="4855913"/>
                  </a:lnTo>
                  <a:lnTo>
                    <a:pt x="3459364" y="4822872"/>
                  </a:lnTo>
                  <a:lnTo>
                    <a:pt x="3434150" y="4811021"/>
                  </a:lnTo>
                  <a:lnTo>
                    <a:pt x="3408946" y="4799177"/>
                  </a:lnTo>
                  <a:lnTo>
                    <a:pt x="3380839" y="4789007"/>
                  </a:lnTo>
                  <a:lnTo>
                    <a:pt x="3364778" y="4772935"/>
                  </a:lnTo>
                  <a:lnTo>
                    <a:pt x="3344956" y="4789680"/>
                  </a:lnTo>
                  <a:lnTo>
                    <a:pt x="3335050" y="4825490"/>
                  </a:lnTo>
                  <a:lnTo>
                    <a:pt x="3299746" y="4837414"/>
                  </a:lnTo>
                  <a:lnTo>
                    <a:pt x="3158096" y="4889784"/>
                  </a:lnTo>
                  <a:lnTo>
                    <a:pt x="3138693" y="4860345"/>
                  </a:lnTo>
                  <a:lnTo>
                    <a:pt x="3130364" y="4821435"/>
                  </a:lnTo>
                  <a:lnTo>
                    <a:pt x="3110428" y="4798774"/>
                  </a:lnTo>
                  <a:lnTo>
                    <a:pt x="3092698" y="4778608"/>
                  </a:lnTo>
                  <a:lnTo>
                    <a:pt x="3064499" y="4756851"/>
                  </a:lnTo>
                  <a:lnTo>
                    <a:pt x="3032891" y="4744367"/>
                  </a:lnTo>
                  <a:lnTo>
                    <a:pt x="2999579" y="4733347"/>
                  </a:lnTo>
                  <a:lnTo>
                    <a:pt x="2968275" y="4733617"/>
                  </a:lnTo>
                  <a:lnTo>
                    <a:pt x="2940398" y="4747090"/>
                  </a:lnTo>
                  <a:lnTo>
                    <a:pt x="2908096" y="4797884"/>
                  </a:lnTo>
                  <a:lnTo>
                    <a:pt x="2892828" y="4839848"/>
                  </a:lnTo>
                  <a:lnTo>
                    <a:pt x="2893204" y="4864097"/>
                  </a:lnTo>
                  <a:lnTo>
                    <a:pt x="2894152" y="4888552"/>
                  </a:lnTo>
                  <a:lnTo>
                    <a:pt x="2895104" y="4912998"/>
                  </a:lnTo>
                  <a:lnTo>
                    <a:pt x="2896813" y="4936978"/>
                  </a:lnTo>
                  <a:lnTo>
                    <a:pt x="2892794" y="4961998"/>
                  </a:lnTo>
                  <a:lnTo>
                    <a:pt x="2888587" y="4988121"/>
                  </a:lnTo>
                  <a:lnTo>
                    <a:pt x="2870334" y="5011434"/>
                  </a:lnTo>
                  <a:lnTo>
                    <a:pt x="2864232" y="5038170"/>
                  </a:lnTo>
                  <a:lnTo>
                    <a:pt x="2840723" y="5141228"/>
                  </a:lnTo>
                  <a:lnTo>
                    <a:pt x="2818793" y="5243879"/>
                  </a:lnTo>
                  <a:lnTo>
                    <a:pt x="2793501" y="5346936"/>
                  </a:lnTo>
                  <a:lnTo>
                    <a:pt x="2770216" y="5366755"/>
                  </a:lnTo>
                  <a:lnTo>
                    <a:pt x="2732296" y="5370059"/>
                  </a:lnTo>
                  <a:lnTo>
                    <a:pt x="2695002" y="5367783"/>
                  </a:lnTo>
                  <a:lnTo>
                    <a:pt x="2693101" y="5322218"/>
                  </a:lnTo>
                  <a:lnTo>
                    <a:pt x="2688636" y="5273806"/>
                  </a:lnTo>
                  <a:lnTo>
                    <a:pt x="2690128" y="5235397"/>
                  </a:lnTo>
                  <a:lnTo>
                    <a:pt x="2644537" y="5212288"/>
                  </a:lnTo>
                  <a:lnTo>
                    <a:pt x="2480047" y="5185335"/>
                  </a:lnTo>
                  <a:lnTo>
                    <a:pt x="2324234" y="5157867"/>
                  </a:lnTo>
                  <a:lnTo>
                    <a:pt x="2246322" y="5144136"/>
                  </a:lnTo>
                  <a:lnTo>
                    <a:pt x="2169781" y="5130551"/>
                  </a:lnTo>
                  <a:lnTo>
                    <a:pt x="2112045" y="5117065"/>
                  </a:lnTo>
                  <a:lnTo>
                    <a:pt x="2054294" y="5103579"/>
                  </a:lnTo>
                  <a:lnTo>
                    <a:pt x="2014432" y="5089966"/>
                  </a:lnTo>
                  <a:lnTo>
                    <a:pt x="2001838" y="5059643"/>
                  </a:lnTo>
                  <a:lnTo>
                    <a:pt x="2008662" y="5025929"/>
                  </a:lnTo>
                  <a:lnTo>
                    <a:pt x="2023796" y="4994987"/>
                  </a:lnTo>
                  <a:lnTo>
                    <a:pt x="2055928" y="4949080"/>
                  </a:lnTo>
                  <a:lnTo>
                    <a:pt x="2081148" y="4918750"/>
                  </a:lnTo>
                  <a:lnTo>
                    <a:pt x="2082115" y="4885828"/>
                  </a:lnTo>
                  <a:lnTo>
                    <a:pt x="2037296" y="4867956"/>
                  </a:lnTo>
                  <a:lnTo>
                    <a:pt x="2004588" y="4855907"/>
                  </a:lnTo>
                  <a:lnTo>
                    <a:pt x="1971871" y="4843850"/>
                  </a:lnTo>
                  <a:lnTo>
                    <a:pt x="1938564" y="4834598"/>
                  </a:lnTo>
                  <a:lnTo>
                    <a:pt x="1911236" y="4869229"/>
                  </a:lnTo>
                  <a:lnTo>
                    <a:pt x="1924116" y="4897388"/>
                  </a:lnTo>
                  <a:lnTo>
                    <a:pt x="1912095" y="4923914"/>
                  </a:lnTo>
                  <a:lnTo>
                    <a:pt x="1833197" y="4934795"/>
                  </a:lnTo>
                  <a:lnTo>
                    <a:pt x="1812287" y="4949738"/>
                  </a:lnTo>
                  <a:lnTo>
                    <a:pt x="1793305" y="4991458"/>
                  </a:lnTo>
                  <a:lnTo>
                    <a:pt x="1795113" y="5017772"/>
                  </a:lnTo>
                  <a:lnTo>
                    <a:pt x="1817877" y="5049698"/>
                  </a:lnTo>
                  <a:lnTo>
                    <a:pt x="1829117" y="5070815"/>
                  </a:lnTo>
                  <a:lnTo>
                    <a:pt x="1840353" y="5091931"/>
                  </a:lnTo>
                  <a:lnTo>
                    <a:pt x="1849243" y="5114513"/>
                  </a:lnTo>
                  <a:lnTo>
                    <a:pt x="1837281" y="5145627"/>
                  </a:lnTo>
                  <a:lnTo>
                    <a:pt x="1810498" y="5150494"/>
                  </a:lnTo>
                  <a:lnTo>
                    <a:pt x="1784800" y="5131355"/>
                  </a:lnTo>
                  <a:lnTo>
                    <a:pt x="1761177" y="5113431"/>
                  </a:lnTo>
                  <a:lnTo>
                    <a:pt x="1736623" y="5102101"/>
                  </a:lnTo>
                  <a:lnTo>
                    <a:pt x="1712485" y="5091548"/>
                  </a:lnTo>
                  <a:lnTo>
                    <a:pt x="1687311" y="5090890"/>
                  </a:lnTo>
                  <a:lnTo>
                    <a:pt x="1663176" y="5102101"/>
                  </a:lnTo>
                  <a:lnTo>
                    <a:pt x="1653651" y="5121140"/>
                  </a:lnTo>
                  <a:lnTo>
                    <a:pt x="1609254" y="5114025"/>
                  </a:lnTo>
                  <a:lnTo>
                    <a:pt x="1597140" y="5089921"/>
                  </a:lnTo>
                  <a:lnTo>
                    <a:pt x="1573399" y="5072173"/>
                  </a:lnTo>
                  <a:lnTo>
                    <a:pt x="1543708" y="5077311"/>
                  </a:lnTo>
                  <a:lnTo>
                    <a:pt x="1524202" y="5094240"/>
                  </a:lnTo>
                  <a:lnTo>
                    <a:pt x="1510832" y="5118423"/>
                  </a:lnTo>
                  <a:lnTo>
                    <a:pt x="1498678" y="5143978"/>
                  </a:lnTo>
                  <a:lnTo>
                    <a:pt x="1490151" y="5174539"/>
                  </a:lnTo>
                  <a:lnTo>
                    <a:pt x="1470022" y="5193235"/>
                  </a:lnTo>
                  <a:lnTo>
                    <a:pt x="1437262" y="5204836"/>
                  </a:lnTo>
                  <a:lnTo>
                    <a:pt x="1412386" y="5209822"/>
                  </a:lnTo>
                  <a:lnTo>
                    <a:pt x="1381104" y="5204315"/>
                  </a:lnTo>
                  <a:lnTo>
                    <a:pt x="1348969" y="5198671"/>
                  </a:lnTo>
                  <a:lnTo>
                    <a:pt x="1316832" y="5192998"/>
                  </a:lnTo>
                  <a:lnTo>
                    <a:pt x="1283587" y="5187848"/>
                  </a:lnTo>
                  <a:lnTo>
                    <a:pt x="1257834" y="5197311"/>
                  </a:lnTo>
                  <a:lnTo>
                    <a:pt x="1243831" y="5230748"/>
                  </a:lnTo>
                  <a:lnTo>
                    <a:pt x="1215263" y="5251270"/>
                  </a:lnTo>
                  <a:lnTo>
                    <a:pt x="1189825" y="5265324"/>
                  </a:lnTo>
                  <a:lnTo>
                    <a:pt x="1164382" y="5279379"/>
                  </a:lnTo>
                  <a:lnTo>
                    <a:pt x="1142495" y="5286937"/>
                  </a:lnTo>
                  <a:lnTo>
                    <a:pt x="1127169" y="5336437"/>
                  </a:lnTo>
                  <a:lnTo>
                    <a:pt x="1116729" y="5367098"/>
                  </a:lnTo>
                  <a:lnTo>
                    <a:pt x="1102773" y="5395904"/>
                  </a:lnTo>
                  <a:lnTo>
                    <a:pt x="1088818" y="5424709"/>
                  </a:lnTo>
                  <a:lnTo>
                    <a:pt x="1070385" y="5451255"/>
                  </a:lnTo>
                  <a:lnTo>
                    <a:pt x="1040207" y="5481597"/>
                  </a:lnTo>
                  <a:lnTo>
                    <a:pt x="1018267" y="5501046"/>
                  </a:lnTo>
                  <a:lnTo>
                    <a:pt x="996851" y="5519274"/>
                  </a:lnTo>
                  <a:lnTo>
                    <a:pt x="978995" y="5542805"/>
                  </a:lnTo>
                  <a:lnTo>
                    <a:pt x="976211" y="5583779"/>
                  </a:lnTo>
                  <a:lnTo>
                    <a:pt x="981711" y="5608095"/>
                  </a:lnTo>
                  <a:lnTo>
                    <a:pt x="987218" y="5632410"/>
                  </a:lnTo>
                  <a:lnTo>
                    <a:pt x="992349" y="5657874"/>
                  </a:lnTo>
                  <a:lnTo>
                    <a:pt x="978995" y="5678826"/>
                  </a:lnTo>
                  <a:lnTo>
                    <a:pt x="957871" y="5680816"/>
                  </a:lnTo>
                  <a:lnTo>
                    <a:pt x="924586" y="5670667"/>
                  </a:lnTo>
                  <a:lnTo>
                    <a:pt x="892185" y="5658974"/>
                  </a:lnTo>
                  <a:lnTo>
                    <a:pt x="856460" y="5657959"/>
                  </a:lnTo>
                  <a:lnTo>
                    <a:pt x="823935" y="5665227"/>
                  </a:lnTo>
                  <a:lnTo>
                    <a:pt x="793276" y="5673931"/>
                  </a:lnTo>
                  <a:lnTo>
                    <a:pt x="761290" y="5678382"/>
                  </a:lnTo>
                  <a:lnTo>
                    <a:pt x="727358" y="5681548"/>
                  </a:lnTo>
                  <a:lnTo>
                    <a:pt x="694913" y="5682821"/>
                  </a:lnTo>
                  <a:lnTo>
                    <a:pt x="656022" y="5686218"/>
                  </a:lnTo>
                  <a:lnTo>
                    <a:pt x="634616" y="5684199"/>
                  </a:lnTo>
                  <a:lnTo>
                    <a:pt x="597031" y="5670733"/>
                  </a:lnTo>
                  <a:lnTo>
                    <a:pt x="564133" y="5647539"/>
                  </a:lnTo>
                  <a:lnTo>
                    <a:pt x="531813" y="5622801"/>
                  </a:lnTo>
                  <a:lnTo>
                    <a:pt x="503204" y="5589530"/>
                  </a:lnTo>
                  <a:lnTo>
                    <a:pt x="475723" y="5560486"/>
                  </a:lnTo>
                  <a:lnTo>
                    <a:pt x="467559" y="5533283"/>
                  </a:lnTo>
                  <a:lnTo>
                    <a:pt x="469380" y="5512014"/>
                  </a:lnTo>
                  <a:lnTo>
                    <a:pt x="491418" y="5491853"/>
                  </a:lnTo>
                  <a:lnTo>
                    <a:pt x="514428" y="5482211"/>
                  </a:lnTo>
                  <a:lnTo>
                    <a:pt x="536932" y="5477509"/>
                  </a:lnTo>
                  <a:lnTo>
                    <a:pt x="545248" y="5450009"/>
                  </a:lnTo>
                  <a:lnTo>
                    <a:pt x="532842" y="5427184"/>
                  </a:lnTo>
                  <a:lnTo>
                    <a:pt x="515801" y="5407300"/>
                  </a:lnTo>
                  <a:lnTo>
                    <a:pt x="487778" y="5395997"/>
                  </a:lnTo>
                  <a:lnTo>
                    <a:pt x="453954" y="5412227"/>
                  </a:lnTo>
                  <a:lnTo>
                    <a:pt x="433251" y="5415695"/>
                  </a:lnTo>
                  <a:lnTo>
                    <a:pt x="406642" y="5408751"/>
                  </a:lnTo>
                  <a:lnTo>
                    <a:pt x="372340" y="5385022"/>
                  </a:lnTo>
                  <a:lnTo>
                    <a:pt x="337006" y="5401852"/>
                  </a:lnTo>
                  <a:lnTo>
                    <a:pt x="315209" y="5421742"/>
                  </a:lnTo>
                  <a:lnTo>
                    <a:pt x="293421" y="5441639"/>
                  </a:lnTo>
                  <a:lnTo>
                    <a:pt x="273497" y="5464550"/>
                  </a:lnTo>
                  <a:lnTo>
                    <a:pt x="270325" y="5491115"/>
                  </a:lnTo>
                  <a:lnTo>
                    <a:pt x="282250" y="5508867"/>
                  </a:lnTo>
                  <a:lnTo>
                    <a:pt x="300509" y="5521445"/>
                  </a:lnTo>
                  <a:lnTo>
                    <a:pt x="320651" y="5533283"/>
                  </a:lnTo>
                  <a:lnTo>
                    <a:pt x="340792" y="5545119"/>
                  </a:lnTo>
                  <a:lnTo>
                    <a:pt x="362831" y="5555936"/>
                  </a:lnTo>
                  <a:lnTo>
                    <a:pt x="381865" y="5567285"/>
                  </a:lnTo>
                  <a:lnTo>
                    <a:pt x="400897" y="5578635"/>
                  </a:lnTo>
                  <a:lnTo>
                    <a:pt x="426750" y="5606729"/>
                  </a:lnTo>
                  <a:lnTo>
                    <a:pt x="435192" y="5644017"/>
                  </a:lnTo>
                  <a:lnTo>
                    <a:pt x="424033" y="5670660"/>
                  </a:lnTo>
                  <a:lnTo>
                    <a:pt x="392166" y="5687833"/>
                  </a:lnTo>
                  <a:lnTo>
                    <a:pt x="379571" y="5705627"/>
                  </a:lnTo>
                  <a:lnTo>
                    <a:pt x="373286" y="5741786"/>
                  </a:lnTo>
                  <a:lnTo>
                    <a:pt x="390029" y="5778117"/>
                  </a:lnTo>
                  <a:lnTo>
                    <a:pt x="400357" y="5796662"/>
                  </a:lnTo>
                  <a:lnTo>
                    <a:pt x="414121" y="5815314"/>
                  </a:lnTo>
                  <a:lnTo>
                    <a:pt x="431227" y="5852455"/>
                  </a:lnTo>
                  <a:lnTo>
                    <a:pt x="426750" y="5889650"/>
                  </a:lnTo>
                  <a:lnTo>
                    <a:pt x="405858" y="5903890"/>
                  </a:lnTo>
                  <a:lnTo>
                    <a:pt x="372415" y="5915252"/>
                  </a:lnTo>
                  <a:lnTo>
                    <a:pt x="342414" y="5929102"/>
                  </a:lnTo>
                  <a:lnTo>
                    <a:pt x="312422" y="5942945"/>
                  </a:lnTo>
                  <a:lnTo>
                    <a:pt x="286336" y="5958364"/>
                  </a:lnTo>
                  <a:lnTo>
                    <a:pt x="281208" y="5982144"/>
                  </a:lnTo>
                  <a:lnTo>
                    <a:pt x="286253" y="6005623"/>
                  </a:lnTo>
                  <a:lnTo>
                    <a:pt x="292128" y="6025868"/>
                  </a:lnTo>
                  <a:lnTo>
                    <a:pt x="302931" y="6066289"/>
                  </a:lnTo>
                  <a:lnTo>
                    <a:pt x="307039" y="6087069"/>
                  </a:lnTo>
                  <a:lnTo>
                    <a:pt x="305687" y="6112723"/>
                  </a:lnTo>
                  <a:lnTo>
                    <a:pt x="276083" y="6137494"/>
                  </a:lnTo>
                  <a:lnTo>
                    <a:pt x="255362" y="6145368"/>
                  </a:lnTo>
                  <a:lnTo>
                    <a:pt x="234640" y="6153250"/>
                  </a:lnTo>
                  <a:lnTo>
                    <a:pt x="212580" y="6159751"/>
                  </a:lnTo>
                  <a:lnTo>
                    <a:pt x="192023" y="6169413"/>
                  </a:lnTo>
                  <a:lnTo>
                    <a:pt x="173016" y="6184773"/>
                  </a:lnTo>
                  <a:lnTo>
                    <a:pt x="150773" y="6197831"/>
                  </a:lnTo>
                  <a:lnTo>
                    <a:pt x="115258" y="6216098"/>
                  </a:lnTo>
                  <a:lnTo>
                    <a:pt x="80380" y="6236319"/>
                  </a:lnTo>
                  <a:lnTo>
                    <a:pt x="38197" y="6273962"/>
                  </a:lnTo>
                  <a:lnTo>
                    <a:pt x="16778" y="6305994"/>
                  </a:lnTo>
                  <a:lnTo>
                    <a:pt x="6443" y="6341236"/>
                  </a:lnTo>
                  <a:lnTo>
                    <a:pt x="0" y="6377602"/>
                  </a:lnTo>
                  <a:lnTo>
                    <a:pt x="2013" y="6413696"/>
                  </a:lnTo>
                  <a:lnTo>
                    <a:pt x="14607" y="6448694"/>
                  </a:lnTo>
                  <a:lnTo>
                    <a:pt x="28073" y="6472153"/>
                  </a:lnTo>
                  <a:lnTo>
                    <a:pt x="47384" y="6493249"/>
                  </a:lnTo>
                  <a:lnTo>
                    <a:pt x="71739" y="6505819"/>
                  </a:lnTo>
                  <a:lnTo>
                    <a:pt x="99610" y="6514017"/>
                  </a:lnTo>
                  <a:lnTo>
                    <a:pt x="130017" y="6512045"/>
                  </a:lnTo>
                  <a:lnTo>
                    <a:pt x="160152" y="6511260"/>
                  </a:lnTo>
                  <a:lnTo>
                    <a:pt x="190277" y="6510482"/>
                  </a:lnTo>
                  <a:lnTo>
                    <a:pt x="219618" y="6511062"/>
                  </a:lnTo>
                  <a:lnTo>
                    <a:pt x="244479" y="6523508"/>
                  </a:lnTo>
                  <a:lnTo>
                    <a:pt x="274598" y="6558947"/>
                  </a:lnTo>
                  <a:lnTo>
                    <a:pt x="288005" y="6588797"/>
                  </a:lnTo>
                  <a:lnTo>
                    <a:pt x="301415" y="6618638"/>
                  </a:lnTo>
                  <a:lnTo>
                    <a:pt x="310896" y="6651066"/>
                  </a:lnTo>
                  <a:lnTo>
                    <a:pt x="297530" y="6671767"/>
                  </a:lnTo>
                  <a:lnTo>
                    <a:pt x="263308" y="6678915"/>
                  </a:lnTo>
                  <a:lnTo>
                    <a:pt x="228374" y="6686381"/>
                  </a:lnTo>
                  <a:lnTo>
                    <a:pt x="202311" y="6701687"/>
                  </a:lnTo>
                  <a:lnTo>
                    <a:pt x="190817" y="6722350"/>
                  </a:lnTo>
                  <a:lnTo>
                    <a:pt x="194153" y="6756103"/>
                  </a:lnTo>
                  <a:lnTo>
                    <a:pt x="199219" y="6785555"/>
                  </a:lnTo>
                  <a:lnTo>
                    <a:pt x="187164" y="6806864"/>
                  </a:lnTo>
                  <a:lnTo>
                    <a:pt x="166951" y="6820027"/>
                  </a:lnTo>
                  <a:lnTo>
                    <a:pt x="148004" y="6834819"/>
                  </a:lnTo>
                  <a:lnTo>
                    <a:pt x="147008" y="6864510"/>
                  </a:lnTo>
                  <a:lnTo>
                    <a:pt x="172365" y="6877633"/>
                  </a:lnTo>
                  <a:lnTo>
                    <a:pt x="200952" y="6893480"/>
                  </a:lnTo>
                  <a:lnTo>
                    <a:pt x="229549" y="6909321"/>
                  </a:lnTo>
                  <a:lnTo>
                    <a:pt x="262087" y="6927016"/>
                  </a:lnTo>
                  <a:lnTo>
                    <a:pt x="279847" y="6957411"/>
                  </a:lnTo>
                  <a:lnTo>
                    <a:pt x="300584" y="6970344"/>
                  </a:lnTo>
                  <a:lnTo>
                    <a:pt x="326520" y="6955605"/>
                  </a:lnTo>
                  <a:lnTo>
                    <a:pt x="356019" y="6957411"/>
                  </a:lnTo>
                  <a:lnTo>
                    <a:pt x="386572" y="6964191"/>
                  </a:lnTo>
                  <a:lnTo>
                    <a:pt x="402270" y="6979168"/>
                  </a:lnTo>
                  <a:lnTo>
                    <a:pt x="417959" y="6994152"/>
                  </a:lnTo>
                  <a:lnTo>
                    <a:pt x="434070" y="7017749"/>
                  </a:lnTo>
                  <a:lnTo>
                    <a:pt x="449871" y="7058064"/>
                  </a:lnTo>
                  <a:lnTo>
                    <a:pt x="460859" y="7082312"/>
                  </a:lnTo>
                  <a:lnTo>
                    <a:pt x="468825" y="7104543"/>
                  </a:lnTo>
                  <a:lnTo>
                    <a:pt x="466195" y="7130153"/>
                  </a:lnTo>
                  <a:lnTo>
                    <a:pt x="436352" y="7156050"/>
                  </a:lnTo>
                  <a:lnTo>
                    <a:pt x="414502" y="7168237"/>
                  </a:lnTo>
                  <a:lnTo>
                    <a:pt x="392662" y="7180426"/>
                  </a:lnTo>
                  <a:lnTo>
                    <a:pt x="371906" y="7192361"/>
                  </a:lnTo>
                  <a:lnTo>
                    <a:pt x="390175" y="7278426"/>
                  </a:lnTo>
                  <a:lnTo>
                    <a:pt x="397700" y="7311887"/>
                  </a:lnTo>
                  <a:lnTo>
                    <a:pt x="418586" y="7331461"/>
                  </a:lnTo>
                  <a:lnTo>
                    <a:pt x="439471" y="7351042"/>
                  </a:lnTo>
                  <a:lnTo>
                    <a:pt x="473587" y="7356140"/>
                  </a:lnTo>
                  <a:lnTo>
                    <a:pt x="545090" y="7372271"/>
                  </a:lnTo>
                  <a:lnTo>
                    <a:pt x="557935" y="7399884"/>
                  </a:lnTo>
                  <a:lnTo>
                    <a:pt x="562769" y="7422597"/>
                  </a:lnTo>
                  <a:lnTo>
                    <a:pt x="567597" y="7445309"/>
                  </a:lnTo>
                  <a:lnTo>
                    <a:pt x="571454" y="7470000"/>
                  </a:lnTo>
                  <a:lnTo>
                    <a:pt x="576930" y="7494264"/>
                  </a:lnTo>
                  <a:lnTo>
                    <a:pt x="584532" y="7524614"/>
                  </a:lnTo>
                  <a:lnTo>
                    <a:pt x="592163" y="7554810"/>
                  </a:lnTo>
                  <a:lnTo>
                    <a:pt x="596851" y="7591228"/>
                  </a:lnTo>
                  <a:lnTo>
                    <a:pt x="595902" y="7641475"/>
                  </a:lnTo>
                  <a:lnTo>
                    <a:pt x="599496" y="7689196"/>
                  </a:lnTo>
                  <a:lnTo>
                    <a:pt x="601291" y="7713057"/>
                  </a:lnTo>
                  <a:lnTo>
                    <a:pt x="604125" y="7736739"/>
                  </a:lnTo>
                  <a:lnTo>
                    <a:pt x="613901" y="7774955"/>
                  </a:lnTo>
                  <a:lnTo>
                    <a:pt x="630777" y="7796653"/>
                  </a:lnTo>
                  <a:lnTo>
                    <a:pt x="665209" y="7811499"/>
                  </a:lnTo>
                  <a:lnTo>
                    <a:pt x="720936" y="7815996"/>
                  </a:lnTo>
                  <a:lnTo>
                    <a:pt x="777677" y="7815692"/>
                  </a:lnTo>
                  <a:lnTo>
                    <a:pt x="834421" y="7815362"/>
                  </a:lnTo>
                  <a:lnTo>
                    <a:pt x="892033" y="7809764"/>
                  </a:lnTo>
                  <a:lnTo>
                    <a:pt x="931379" y="7804811"/>
                  </a:lnTo>
                  <a:lnTo>
                    <a:pt x="943627" y="7827932"/>
                  </a:lnTo>
                  <a:lnTo>
                    <a:pt x="948941" y="7851654"/>
                  </a:lnTo>
                  <a:lnTo>
                    <a:pt x="951704" y="7882722"/>
                  </a:lnTo>
                  <a:lnTo>
                    <a:pt x="982396" y="7904868"/>
                  </a:lnTo>
                  <a:lnTo>
                    <a:pt x="1017061" y="7915585"/>
                  </a:lnTo>
                  <a:lnTo>
                    <a:pt x="1044284" y="7932673"/>
                  </a:lnTo>
                  <a:lnTo>
                    <a:pt x="1049716" y="7958511"/>
                  </a:lnTo>
                  <a:lnTo>
                    <a:pt x="1028021" y="7987793"/>
                  </a:lnTo>
                  <a:lnTo>
                    <a:pt x="1002504" y="7997494"/>
                  </a:lnTo>
                  <a:lnTo>
                    <a:pt x="978995" y="8008843"/>
                  </a:lnTo>
                  <a:lnTo>
                    <a:pt x="955477" y="8020187"/>
                  </a:lnTo>
                  <a:lnTo>
                    <a:pt x="933990" y="8033970"/>
                  </a:lnTo>
                  <a:lnTo>
                    <a:pt x="920502" y="8057811"/>
                  </a:lnTo>
                  <a:lnTo>
                    <a:pt x="915064" y="8080933"/>
                  </a:lnTo>
                  <a:lnTo>
                    <a:pt x="916422" y="8104054"/>
                  </a:lnTo>
                  <a:lnTo>
                    <a:pt x="918540" y="8125481"/>
                  </a:lnTo>
                  <a:lnTo>
                    <a:pt x="934102" y="8161186"/>
                  </a:lnTo>
                  <a:lnTo>
                    <a:pt x="955530" y="8192736"/>
                  </a:lnTo>
                  <a:lnTo>
                    <a:pt x="997347" y="8232741"/>
                  </a:lnTo>
                  <a:lnTo>
                    <a:pt x="1032182" y="8253621"/>
                  </a:lnTo>
                  <a:lnTo>
                    <a:pt x="1064683" y="8275442"/>
                  </a:lnTo>
                  <a:lnTo>
                    <a:pt x="1085574" y="8289800"/>
                  </a:lnTo>
                  <a:lnTo>
                    <a:pt x="1109071" y="8304613"/>
                  </a:lnTo>
                  <a:lnTo>
                    <a:pt x="1132688" y="8316246"/>
                  </a:lnTo>
                  <a:lnTo>
                    <a:pt x="1155369" y="8324714"/>
                  </a:lnTo>
                  <a:lnTo>
                    <a:pt x="1178911" y="8331737"/>
                  </a:lnTo>
                  <a:lnTo>
                    <a:pt x="1202060" y="8339367"/>
                  </a:lnTo>
                  <a:lnTo>
                    <a:pt x="1225206" y="8347004"/>
                  </a:lnTo>
                  <a:lnTo>
                    <a:pt x="1248501" y="8354734"/>
                  </a:lnTo>
                  <a:lnTo>
                    <a:pt x="1271433" y="8362496"/>
                  </a:lnTo>
                  <a:lnTo>
                    <a:pt x="1299751" y="8403872"/>
                  </a:lnTo>
                  <a:lnTo>
                    <a:pt x="1288809" y="8435554"/>
                  </a:lnTo>
                  <a:lnTo>
                    <a:pt x="1283677" y="8479469"/>
                  </a:lnTo>
                  <a:lnTo>
                    <a:pt x="1281113" y="8501424"/>
                  </a:lnTo>
                  <a:lnTo>
                    <a:pt x="1280670" y="8526162"/>
                  </a:lnTo>
                  <a:lnTo>
                    <a:pt x="1285038" y="8555641"/>
                  </a:lnTo>
                  <a:lnTo>
                    <a:pt x="1289404" y="8585120"/>
                  </a:lnTo>
                  <a:lnTo>
                    <a:pt x="1298675" y="8619242"/>
                  </a:lnTo>
                  <a:lnTo>
                    <a:pt x="1317681" y="8659016"/>
                  </a:lnTo>
                  <a:lnTo>
                    <a:pt x="1332105" y="8691040"/>
                  </a:lnTo>
                  <a:lnTo>
                    <a:pt x="1349503" y="8724925"/>
                  </a:lnTo>
                  <a:lnTo>
                    <a:pt x="1369365" y="8754233"/>
                  </a:lnTo>
                  <a:lnTo>
                    <a:pt x="1402011" y="8795036"/>
                  </a:lnTo>
                  <a:lnTo>
                    <a:pt x="1433296" y="8834480"/>
                  </a:lnTo>
                  <a:lnTo>
                    <a:pt x="1460553" y="8868403"/>
                  </a:lnTo>
                  <a:lnTo>
                    <a:pt x="1472742" y="8890253"/>
                  </a:lnTo>
                  <a:lnTo>
                    <a:pt x="1484936" y="8912101"/>
                  </a:lnTo>
                  <a:lnTo>
                    <a:pt x="1495308" y="8936233"/>
                  </a:lnTo>
                  <a:lnTo>
                    <a:pt x="1500566" y="8967208"/>
                  </a:lnTo>
                  <a:lnTo>
                    <a:pt x="1505384" y="8992262"/>
                  </a:lnTo>
                  <a:lnTo>
                    <a:pt x="1510265" y="9018662"/>
                  </a:lnTo>
                  <a:lnTo>
                    <a:pt x="1511663" y="9047784"/>
                  </a:lnTo>
                  <a:lnTo>
                    <a:pt x="1503921" y="9077976"/>
                  </a:lnTo>
                  <a:lnTo>
                    <a:pt x="1490421" y="9105161"/>
                  </a:lnTo>
                  <a:lnTo>
                    <a:pt x="1476927" y="9132345"/>
                  </a:lnTo>
                  <a:lnTo>
                    <a:pt x="1457217" y="9155817"/>
                  </a:lnTo>
                  <a:lnTo>
                    <a:pt x="1436021" y="9159568"/>
                  </a:lnTo>
                  <a:lnTo>
                    <a:pt x="1406991" y="9172053"/>
                  </a:lnTo>
                  <a:lnTo>
                    <a:pt x="1397934" y="9209902"/>
                  </a:lnTo>
                  <a:lnTo>
                    <a:pt x="1387020" y="9248217"/>
                  </a:lnTo>
                  <a:lnTo>
                    <a:pt x="1372097" y="9265673"/>
                  </a:lnTo>
                  <a:lnTo>
                    <a:pt x="1353899" y="9286936"/>
                  </a:lnTo>
                  <a:lnTo>
                    <a:pt x="1320115" y="9310217"/>
                  </a:lnTo>
                  <a:lnTo>
                    <a:pt x="1295924" y="9336404"/>
                  </a:lnTo>
                  <a:lnTo>
                    <a:pt x="1273616" y="9363047"/>
                  </a:lnTo>
                  <a:lnTo>
                    <a:pt x="1266543" y="9394090"/>
                  </a:lnTo>
                  <a:lnTo>
                    <a:pt x="1280961" y="9430257"/>
                  </a:lnTo>
                  <a:lnTo>
                    <a:pt x="1328115" y="9435276"/>
                  </a:lnTo>
                  <a:lnTo>
                    <a:pt x="1359849" y="9423458"/>
                  </a:lnTo>
                  <a:lnTo>
                    <a:pt x="1391584" y="9411632"/>
                  </a:lnTo>
                  <a:lnTo>
                    <a:pt x="1422317" y="9395039"/>
                  </a:lnTo>
                  <a:lnTo>
                    <a:pt x="1472267" y="9368456"/>
                  </a:lnTo>
                  <a:lnTo>
                    <a:pt x="1506336" y="9350749"/>
                  </a:lnTo>
                  <a:lnTo>
                    <a:pt x="1539395" y="9345921"/>
                  </a:lnTo>
                  <a:lnTo>
                    <a:pt x="1571877" y="9344596"/>
                  </a:lnTo>
                  <a:lnTo>
                    <a:pt x="1604851" y="9355404"/>
                  </a:lnTo>
                  <a:lnTo>
                    <a:pt x="1638688" y="9381283"/>
                  </a:lnTo>
                  <a:lnTo>
                    <a:pt x="1661499" y="9399360"/>
                  </a:lnTo>
                  <a:lnTo>
                    <a:pt x="1683898" y="9420338"/>
                  </a:lnTo>
                  <a:lnTo>
                    <a:pt x="1699903" y="9445214"/>
                  </a:lnTo>
                </a:path>
              </a:pathLst>
            </a:custGeom>
            <a:solidFill>
              <a:schemeClr val="accent4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83" name="Dnipropetrovsk¬0" descr="Dnipropetrovsk¬0">
              <a:extLst>
                <a:ext uri="{FF2B5EF4-FFF2-40B4-BE49-F238E27FC236}">
                  <a16:creationId xmlns:a16="http://schemas.microsoft.com/office/drawing/2014/main" id="{1C4E5A95-1BC2-481D-B49E-1B1AA62B2B6D}"/>
                </a:ext>
              </a:extLst>
            </p:cNvPr>
            <p:cNvSpPr/>
            <p:nvPr/>
          </p:nvSpPr>
          <p:spPr>
            <a:xfrm>
              <a:off x="4596865" y="2631800"/>
              <a:ext cx="1355766" cy="776330"/>
            </a:xfrm>
            <a:custGeom>
              <a:avLst/>
              <a:gdLst/>
              <a:ahLst/>
              <a:cxnLst/>
              <a:rect l="0" t="0" r="0" b="0"/>
              <a:pathLst>
                <a:path w="13834844" h="8992798">
                  <a:moveTo>
                    <a:pt x="3283530" y="1665939"/>
                  </a:moveTo>
                  <a:lnTo>
                    <a:pt x="3237747" y="1725253"/>
                  </a:lnTo>
                  <a:lnTo>
                    <a:pt x="3214731" y="1749106"/>
                  </a:lnTo>
                  <a:lnTo>
                    <a:pt x="3200558" y="1777471"/>
                  </a:lnTo>
                  <a:lnTo>
                    <a:pt x="3186379" y="1805842"/>
                  </a:lnTo>
                  <a:lnTo>
                    <a:pt x="3180960" y="1837973"/>
                  </a:lnTo>
                  <a:lnTo>
                    <a:pt x="3176073" y="1893092"/>
                  </a:lnTo>
                  <a:lnTo>
                    <a:pt x="3173100" y="1923140"/>
                  </a:lnTo>
                  <a:lnTo>
                    <a:pt x="3157922" y="1945925"/>
                  </a:lnTo>
                  <a:lnTo>
                    <a:pt x="3123875" y="1947455"/>
                  </a:lnTo>
                  <a:lnTo>
                    <a:pt x="3098326" y="1952704"/>
                  </a:lnTo>
                  <a:lnTo>
                    <a:pt x="3091737" y="1988303"/>
                  </a:lnTo>
                  <a:lnTo>
                    <a:pt x="3089179" y="2028948"/>
                  </a:lnTo>
                  <a:lnTo>
                    <a:pt x="3071338" y="2045429"/>
                  </a:lnTo>
                  <a:lnTo>
                    <a:pt x="3033254" y="2037265"/>
                  </a:lnTo>
                  <a:lnTo>
                    <a:pt x="3020889" y="2100766"/>
                  </a:lnTo>
                  <a:lnTo>
                    <a:pt x="3004685" y="2147438"/>
                  </a:lnTo>
                  <a:lnTo>
                    <a:pt x="2988488" y="2194117"/>
                  </a:lnTo>
                  <a:lnTo>
                    <a:pt x="2968387" y="2239009"/>
                  </a:lnTo>
                  <a:lnTo>
                    <a:pt x="2940379" y="2243355"/>
                  </a:lnTo>
                  <a:lnTo>
                    <a:pt x="2912322" y="2232771"/>
                  </a:lnTo>
                  <a:lnTo>
                    <a:pt x="2908920" y="2198126"/>
                  </a:lnTo>
                  <a:lnTo>
                    <a:pt x="2909770" y="2164124"/>
                  </a:lnTo>
                  <a:lnTo>
                    <a:pt x="2899957" y="2140640"/>
                  </a:lnTo>
                  <a:lnTo>
                    <a:pt x="2879914" y="2116858"/>
                  </a:lnTo>
                  <a:lnTo>
                    <a:pt x="2884993" y="2078073"/>
                  </a:lnTo>
                  <a:lnTo>
                    <a:pt x="2889945" y="2040773"/>
                  </a:lnTo>
                  <a:lnTo>
                    <a:pt x="2863236" y="2023666"/>
                  </a:lnTo>
                  <a:lnTo>
                    <a:pt x="2833737" y="2060854"/>
                  </a:lnTo>
                  <a:lnTo>
                    <a:pt x="2824854" y="2132647"/>
                  </a:lnTo>
                  <a:lnTo>
                    <a:pt x="2804747" y="2150162"/>
                  </a:lnTo>
                  <a:lnTo>
                    <a:pt x="2782984" y="2148804"/>
                  </a:lnTo>
                  <a:lnTo>
                    <a:pt x="2760244" y="2115519"/>
                  </a:lnTo>
                  <a:lnTo>
                    <a:pt x="2768244" y="2087082"/>
                  </a:lnTo>
                  <a:lnTo>
                    <a:pt x="2774826" y="2059028"/>
                  </a:lnTo>
                  <a:lnTo>
                    <a:pt x="2781393" y="2030978"/>
                  </a:lnTo>
                  <a:lnTo>
                    <a:pt x="2787489" y="2003796"/>
                  </a:lnTo>
                  <a:lnTo>
                    <a:pt x="2767934" y="1987176"/>
                  </a:lnTo>
                  <a:lnTo>
                    <a:pt x="2731294" y="1978780"/>
                  </a:lnTo>
                  <a:lnTo>
                    <a:pt x="2696143" y="1972007"/>
                  </a:lnTo>
                  <a:lnTo>
                    <a:pt x="2666517" y="1989517"/>
                  </a:lnTo>
                  <a:lnTo>
                    <a:pt x="2653175" y="2007284"/>
                  </a:lnTo>
                  <a:lnTo>
                    <a:pt x="2632587" y="2042771"/>
                  </a:lnTo>
                  <a:lnTo>
                    <a:pt x="2615676" y="2075356"/>
                  </a:lnTo>
                  <a:lnTo>
                    <a:pt x="2596896" y="2101419"/>
                  </a:lnTo>
                  <a:lnTo>
                    <a:pt x="2563729" y="2111865"/>
                  </a:lnTo>
                  <a:lnTo>
                    <a:pt x="2540686" y="2111423"/>
                  </a:lnTo>
                  <a:lnTo>
                    <a:pt x="2506861" y="2101202"/>
                  </a:lnTo>
                  <a:lnTo>
                    <a:pt x="2492974" y="2070384"/>
                  </a:lnTo>
                  <a:lnTo>
                    <a:pt x="2489182" y="2046794"/>
                  </a:lnTo>
                  <a:lnTo>
                    <a:pt x="2485390" y="2023204"/>
                  </a:lnTo>
                  <a:lnTo>
                    <a:pt x="2481055" y="1998875"/>
                  </a:lnTo>
                  <a:lnTo>
                    <a:pt x="2464693" y="1985580"/>
                  </a:lnTo>
                  <a:lnTo>
                    <a:pt x="2437867" y="1980079"/>
                  </a:lnTo>
                  <a:lnTo>
                    <a:pt x="2401751" y="1974771"/>
                  </a:lnTo>
                  <a:lnTo>
                    <a:pt x="2374925" y="1974704"/>
                  </a:lnTo>
                  <a:lnTo>
                    <a:pt x="2343169" y="2033175"/>
                  </a:lnTo>
                  <a:lnTo>
                    <a:pt x="2324590" y="2054958"/>
                  </a:lnTo>
                  <a:lnTo>
                    <a:pt x="2289231" y="2053593"/>
                  </a:lnTo>
                  <a:lnTo>
                    <a:pt x="2272314" y="2068365"/>
                  </a:lnTo>
                  <a:lnTo>
                    <a:pt x="2269846" y="2105983"/>
                  </a:lnTo>
                  <a:lnTo>
                    <a:pt x="2256585" y="2127041"/>
                  </a:lnTo>
                  <a:lnTo>
                    <a:pt x="2233951" y="2119106"/>
                  </a:lnTo>
                  <a:lnTo>
                    <a:pt x="2210343" y="2105278"/>
                  </a:lnTo>
                  <a:lnTo>
                    <a:pt x="2186534" y="2094633"/>
                  </a:lnTo>
                  <a:lnTo>
                    <a:pt x="2168891" y="2082729"/>
                  </a:lnTo>
                  <a:lnTo>
                    <a:pt x="2166808" y="2054952"/>
                  </a:lnTo>
                  <a:lnTo>
                    <a:pt x="2131188" y="2040093"/>
                  </a:lnTo>
                  <a:lnTo>
                    <a:pt x="2105602" y="2045429"/>
                  </a:lnTo>
                  <a:lnTo>
                    <a:pt x="2085197" y="2067192"/>
                  </a:lnTo>
                  <a:lnTo>
                    <a:pt x="2077256" y="2087834"/>
                  </a:lnTo>
                  <a:lnTo>
                    <a:pt x="2075799" y="2118381"/>
                  </a:lnTo>
                  <a:lnTo>
                    <a:pt x="2057993" y="2147446"/>
                  </a:lnTo>
                  <a:lnTo>
                    <a:pt x="2022630" y="2154252"/>
                  </a:lnTo>
                  <a:lnTo>
                    <a:pt x="2009487" y="2180941"/>
                  </a:lnTo>
                  <a:lnTo>
                    <a:pt x="2016088" y="2206825"/>
                  </a:lnTo>
                  <a:lnTo>
                    <a:pt x="2025346" y="2231780"/>
                  </a:lnTo>
                  <a:lnTo>
                    <a:pt x="2034608" y="2256735"/>
                  </a:lnTo>
                  <a:lnTo>
                    <a:pt x="2047389" y="2280141"/>
                  </a:lnTo>
                  <a:lnTo>
                    <a:pt x="2092080" y="2298218"/>
                  </a:lnTo>
                  <a:lnTo>
                    <a:pt x="2108752" y="2312977"/>
                  </a:lnTo>
                  <a:lnTo>
                    <a:pt x="2119201" y="2332433"/>
                  </a:lnTo>
                  <a:lnTo>
                    <a:pt x="2129647" y="2351894"/>
                  </a:lnTo>
                  <a:lnTo>
                    <a:pt x="2132760" y="2376506"/>
                  </a:lnTo>
                  <a:lnTo>
                    <a:pt x="2136881" y="2404528"/>
                  </a:lnTo>
                  <a:lnTo>
                    <a:pt x="2157286" y="2423567"/>
                  </a:lnTo>
                  <a:lnTo>
                    <a:pt x="2173992" y="2436329"/>
                  </a:lnTo>
                  <a:lnTo>
                    <a:pt x="2268820" y="2449413"/>
                  </a:lnTo>
                  <a:lnTo>
                    <a:pt x="2358594" y="2461653"/>
                  </a:lnTo>
                  <a:lnTo>
                    <a:pt x="2385799" y="2465220"/>
                  </a:lnTo>
                  <a:lnTo>
                    <a:pt x="2410073" y="2486450"/>
                  </a:lnTo>
                  <a:lnTo>
                    <a:pt x="2434766" y="2506545"/>
                  </a:lnTo>
                  <a:lnTo>
                    <a:pt x="2459456" y="2526632"/>
                  </a:lnTo>
                  <a:lnTo>
                    <a:pt x="2484478" y="2545302"/>
                  </a:lnTo>
                  <a:lnTo>
                    <a:pt x="2512297" y="2544623"/>
                  </a:lnTo>
                  <a:lnTo>
                    <a:pt x="2548239" y="2543746"/>
                  </a:lnTo>
                  <a:lnTo>
                    <a:pt x="2582618" y="2543845"/>
                  </a:lnTo>
                  <a:lnTo>
                    <a:pt x="2617037" y="2544623"/>
                  </a:lnTo>
                  <a:lnTo>
                    <a:pt x="2651448" y="2545407"/>
                  </a:lnTo>
                  <a:lnTo>
                    <a:pt x="2686066" y="2546483"/>
                  </a:lnTo>
                  <a:lnTo>
                    <a:pt x="2721769" y="2550065"/>
                  </a:lnTo>
                  <a:lnTo>
                    <a:pt x="2747014" y="2587496"/>
                  </a:lnTo>
                  <a:lnTo>
                    <a:pt x="2742128" y="2626302"/>
                  </a:lnTo>
                  <a:lnTo>
                    <a:pt x="2757131" y="2648004"/>
                  </a:lnTo>
                  <a:lnTo>
                    <a:pt x="2786829" y="2653367"/>
                  </a:lnTo>
                  <a:lnTo>
                    <a:pt x="2819459" y="2657917"/>
                  </a:lnTo>
                  <a:lnTo>
                    <a:pt x="2850989" y="2664321"/>
                  </a:lnTo>
                  <a:lnTo>
                    <a:pt x="2882513" y="2670732"/>
                  </a:lnTo>
                  <a:lnTo>
                    <a:pt x="2912601" y="2678829"/>
                  </a:lnTo>
                  <a:lnTo>
                    <a:pt x="2940760" y="2690166"/>
                  </a:lnTo>
                  <a:lnTo>
                    <a:pt x="2946326" y="2725066"/>
                  </a:lnTo>
                  <a:lnTo>
                    <a:pt x="2935319" y="2754097"/>
                  </a:lnTo>
                  <a:lnTo>
                    <a:pt x="2925552" y="2776796"/>
                  </a:lnTo>
                  <a:lnTo>
                    <a:pt x="2909844" y="2795850"/>
                  </a:lnTo>
                  <a:lnTo>
                    <a:pt x="2884993" y="2804423"/>
                  </a:lnTo>
                  <a:lnTo>
                    <a:pt x="2861866" y="2803065"/>
                  </a:lnTo>
                  <a:lnTo>
                    <a:pt x="2834668" y="2801705"/>
                  </a:lnTo>
                  <a:lnTo>
                    <a:pt x="2812061" y="2802603"/>
                  </a:lnTo>
                  <a:lnTo>
                    <a:pt x="2786537" y="2806243"/>
                  </a:lnTo>
                  <a:lnTo>
                    <a:pt x="2757131" y="2813946"/>
                  </a:lnTo>
                  <a:lnTo>
                    <a:pt x="2737480" y="2838630"/>
                  </a:lnTo>
                  <a:lnTo>
                    <a:pt x="2727211" y="2857472"/>
                  </a:lnTo>
                  <a:lnTo>
                    <a:pt x="2716941" y="2876307"/>
                  </a:lnTo>
                  <a:lnTo>
                    <a:pt x="2706517" y="2896474"/>
                  </a:lnTo>
                  <a:lnTo>
                    <a:pt x="2690993" y="2911188"/>
                  </a:lnTo>
                  <a:lnTo>
                    <a:pt x="2672935" y="2924885"/>
                  </a:lnTo>
                  <a:lnTo>
                    <a:pt x="2655122" y="2939084"/>
                  </a:lnTo>
                  <a:lnTo>
                    <a:pt x="2637303" y="2953283"/>
                  </a:lnTo>
                  <a:lnTo>
                    <a:pt x="2618864" y="2967673"/>
                  </a:lnTo>
                  <a:lnTo>
                    <a:pt x="2575338" y="2997502"/>
                  </a:lnTo>
                  <a:lnTo>
                    <a:pt x="2534763" y="3019654"/>
                  </a:lnTo>
                  <a:lnTo>
                    <a:pt x="2493256" y="3039742"/>
                  </a:lnTo>
                  <a:lnTo>
                    <a:pt x="2451748" y="3059824"/>
                  </a:lnTo>
                  <a:lnTo>
                    <a:pt x="2409773" y="3078876"/>
                  </a:lnTo>
                  <a:lnTo>
                    <a:pt x="2368119" y="3096867"/>
                  </a:lnTo>
                  <a:lnTo>
                    <a:pt x="2337886" y="3109925"/>
                  </a:lnTo>
                  <a:lnTo>
                    <a:pt x="2243612" y="3141521"/>
                  </a:lnTo>
                  <a:lnTo>
                    <a:pt x="2221217" y="3162157"/>
                  </a:lnTo>
                  <a:lnTo>
                    <a:pt x="2175480" y="3194314"/>
                  </a:lnTo>
                  <a:lnTo>
                    <a:pt x="2156303" y="3229629"/>
                  </a:lnTo>
                  <a:lnTo>
                    <a:pt x="2142328" y="3258733"/>
                  </a:lnTo>
                  <a:lnTo>
                    <a:pt x="2128348" y="3287837"/>
                  </a:lnTo>
                  <a:lnTo>
                    <a:pt x="2119353" y="3311209"/>
                  </a:lnTo>
                  <a:lnTo>
                    <a:pt x="2097075" y="3317915"/>
                  </a:lnTo>
                  <a:lnTo>
                    <a:pt x="2075108" y="3312699"/>
                  </a:lnTo>
                  <a:lnTo>
                    <a:pt x="2055400" y="3297834"/>
                  </a:lnTo>
                  <a:lnTo>
                    <a:pt x="2053562" y="3269357"/>
                  </a:lnTo>
                  <a:lnTo>
                    <a:pt x="2026035" y="3265895"/>
                  </a:lnTo>
                  <a:lnTo>
                    <a:pt x="1999543" y="3279197"/>
                  </a:lnTo>
                  <a:lnTo>
                    <a:pt x="1968215" y="3291377"/>
                  </a:lnTo>
                  <a:lnTo>
                    <a:pt x="1936896" y="3303558"/>
                  </a:lnTo>
                  <a:lnTo>
                    <a:pt x="1901463" y="3314875"/>
                  </a:lnTo>
                  <a:lnTo>
                    <a:pt x="1863483" y="3328104"/>
                  </a:lnTo>
                  <a:lnTo>
                    <a:pt x="1825501" y="3341326"/>
                  </a:lnTo>
                  <a:lnTo>
                    <a:pt x="1786189" y="3355888"/>
                  </a:lnTo>
                  <a:lnTo>
                    <a:pt x="1747869" y="3374348"/>
                  </a:lnTo>
                  <a:lnTo>
                    <a:pt x="1709539" y="3392807"/>
                  </a:lnTo>
                  <a:lnTo>
                    <a:pt x="1671405" y="3415830"/>
                  </a:lnTo>
                  <a:lnTo>
                    <a:pt x="1639051" y="3443720"/>
                  </a:lnTo>
                  <a:lnTo>
                    <a:pt x="1609803" y="3465226"/>
                  </a:lnTo>
                  <a:lnTo>
                    <a:pt x="1601664" y="3497244"/>
                  </a:lnTo>
                  <a:lnTo>
                    <a:pt x="1604888" y="3519410"/>
                  </a:lnTo>
                  <a:lnTo>
                    <a:pt x="1610488" y="3541654"/>
                  </a:lnTo>
                  <a:lnTo>
                    <a:pt x="1616075" y="3563899"/>
                  </a:lnTo>
                  <a:lnTo>
                    <a:pt x="1623790" y="3586223"/>
                  </a:lnTo>
                  <a:lnTo>
                    <a:pt x="1663533" y="3598785"/>
                  </a:lnTo>
                  <a:lnTo>
                    <a:pt x="1693460" y="3597427"/>
                  </a:lnTo>
                  <a:lnTo>
                    <a:pt x="1678648" y="3626689"/>
                  </a:lnTo>
                  <a:lnTo>
                    <a:pt x="1676670" y="3658008"/>
                  </a:lnTo>
                  <a:lnTo>
                    <a:pt x="1682577" y="3689914"/>
                  </a:lnTo>
                  <a:lnTo>
                    <a:pt x="1688486" y="3721827"/>
                  </a:lnTo>
                  <a:lnTo>
                    <a:pt x="1701986" y="3753594"/>
                  </a:lnTo>
                  <a:lnTo>
                    <a:pt x="1716581" y="3783772"/>
                  </a:lnTo>
                  <a:lnTo>
                    <a:pt x="1731175" y="3813950"/>
                  </a:lnTo>
                  <a:lnTo>
                    <a:pt x="1747512" y="3842685"/>
                  </a:lnTo>
                  <a:lnTo>
                    <a:pt x="1758749" y="3866742"/>
                  </a:lnTo>
                  <a:lnTo>
                    <a:pt x="1769985" y="3890801"/>
                  </a:lnTo>
                  <a:lnTo>
                    <a:pt x="1772348" y="3923875"/>
                  </a:lnTo>
                  <a:lnTo>
                    <a:pt x="1712500" y="3956520"/>
                  </a:lnTo>
                  <a:lnTo>
                    <a:pt x="1709378" y="3985161"/>
                  </a:lnTo>
                  <a:lnTo>
                    <a:pt x="1720664" y="4016369"/>
                  </a:lnTo>
                  <a:lnTo>
                    <a:pt x="1726593" y="4048327"/>
                  </a:lnTo>
                  <a:lnTo>
                    <a:pt x="1740508" y="4069404"/>
                  </a:lnTo>
                  <a:lnTo>
                    <a:pt x="1772004" y="4073131"/>
                  </a:lnTo>
                  <a:lnTo>
                    <a:pt x="1777169" y="4111131"/>
                  </a:lnTo>
                  <a:lnTo>
                    <a:pt x="1781448" y="4142166"/>
                  </a:lnTo>
                  <a:lnTo>
                    <a:pt x="1787305" y="4172786"/>
                  </a:lnTo>
                  <a:lnTo>
                    <a:pt x="1793162" y="4203405"/>
                  </a:lnTo>
                  <a:lnTo>
                    <a:pt x="1800349" y="4232971"/>
                  </a:lnTo>
                  <a:lnTo>
                    <a:pt x="1803627" y="4265279"/>
                  </a:lnTo>
                  <a:lnTo>
                    <a:pt x="1807248" y="4300899"/>
                  </a:lnTo>
                  <a:lnTo>
                    <a:pt x="1809102" y="4337586"/>
                  </a:lnTo>
                  <a:lnTo>
                    <a:pt x="1810432" y="4374096"/>
                  </a:lnTo>
                  <a:lnTo>
                    <a:pt x="1811753" y="4410611"/>
                  </a:lnTo>
                  <a:lnTo>
                    <a:pt x="1812755" y="4447082"/>
                  </a:lnTo>
                  <a:lnTo>
                    <a:pt x="1814504" y="4482911"/>
                  </a:lnTo>
                  <a:lnTo>
                    <a:pt x="1815598" y="4505124"/>
                  </a:lnTo>
                  <a:lnTo>
                    <a:pt x="1815031" y="4526820"/>
                  </a:lnTo>
                  <a:lnTo>
                    <a:pt x="1815868" y="4548202"/>
                  </a:lnTo>
                  <a:lnTo>
                    <a:pt x="1816693" y="4569582"/>
                  </a:lnTo>
                  <a:lnTo>
                    <a:pt x="1818683" y="4591239"/>
                  </a:lnTo>
                  <a:lnTo>
                    <a:pt x="1824025" y="4613491"/>
                  </a:lnTo>
                  <a:lnTo>
                    <a:pt x="1856070" y="4619321"/>
                  </a:lnTo>
                  <a:lnTo>
                    <a:pt x="1892632" y="4632147"/>
                  </a:lnTo>
                  <a:lnTo>
                    <a:pt x="1913797" y="4655659"/>
                  </a:lnTo>
                  <a:lnTo>
                    <a:pt x="1905769" y="4760610"/>
                  </a:lnTo>
                  <a:lnTo>
                    <a:pt x="1893398" y="4842004"/>
                  </a:lnTo>
                  <a:lnTo>
                    <a:pt x="1881017" y="4923405"/>
                  </a:lnTo>
                  <a:lnTo>
                    <a:pt x="1865192" y="5002082"/>
                  </a:lnTo>
                  <a:lnTo>
                    <a:pt x="1843389" y="5007398"/>
                  </a:lnTo>
                  <a:lnTo>
                    <a:pt x="1813077" y="5004891"/>
                  </a:lnTo>
                  <a:lnTo>
                    <a:pt x="1783222" y="5003870"/>
                  </a:lnTo>
                  <a:lnTo>
                    <a:pt x="1753366" y="5002847"/>
                  </a:lnTo>
                  <a:lnTo>
                    <a:pt x="1724608" y="5003276"/>
                  </a:lnTo>
                  <a:lnTo>
                    <a:pt x="1691237" y="5032009"/>
                  </a:lnTo>
                  <a:lnTo>
                    <a:pt x="1695274" y="5079783"/>
                  </a:lnTo>
                  <a:lnTo>
                    <a:pt x="1666243" y="5114043"/>
                  </a:lnTo>
                  <a:lnTo>
                    <a:pt x="1647770" y="5135852"/>
                  </a:lnTo>
                  <a:lnTo>
                    <a:pt x="1620534" y="5150341"/>
                  </a:lnTo>
                  <a:lnTo>
                    <a:pt x="1595512" y="5163010"/>
                  </a:lnTo>
                  <a:lnTo>
                    <a:pt x="1570491" y="5175686"/>
                  </a:lnTo>
                  <a:lnTo>
                    <a:pt x="1548120" y="5185949"/>
                  </a:lnTo>
                  <a:lnTo>
                    <a:pt x="1535900" y="5212341"/>
                  </a:lnTo>
                  <a:lnTo>
                    <a:pt x="1524782" y="5237823"/>
                  </a:lnTo>
                  <a:lnTo>
                    <a:pt x="1513517" y="5262733"/>
                  </a:lnTo>
                  <a:lnTo>
                    <a:pt x="1486697" y="5306403"/>
                  </a:lnTo>
                  <a:lnTo>
                    <a:pt x="1462289" y="5324250"/>
                  </a:lnTo>
                  <a:lnTo>
                    <a:pt x="1435004" y="5327593"/>
                  </a:lnTo>
                  <a:lnTo>
                    <a:pt x="1407728" y="5330951"/>
                  </a:lnTo>
                  <a:lnTo>
                    <a:pt x="1378434" y="5319792"/>
                  </a:lnTo>
                  <a:lnTo>
                    <a:pt x="1349316" y="5293590"/>
                  </a:lnTo>
                  <a:lnTo>
                    <a:pt x="1331209" y="5265113"/>
                  </a:lnTo>
                  <a:lnTo>
                    <a:pt x="1313954" y="5242446"/>
                  </a:lnTo>
                  <a:lnTo>
                    <a:pt x="1284034" y="5233735"/>
                  </a:lnTo>
                  <a:lnTo>
                    <a:pt x="1250795" y="5260595"/>
                  </a:lnTo>
                  <a:lnTo>
                    <a:pt x="1267377" y="5295331"/>
                  </a:lnTo>
                  <a:lnTo>
                    <a:pt x="1254107" y="5319429"/>
                  </a:lnTo>
                  <a:lnTo>
                    <a:pt x="1222471" y="5346395"/>
                  </a:lnTo>
                  <a:lnTo>
                    <a:pt x="1190176" y="5375196"/>
                  </a:lnTo>
                  <a:lnTo>
                    <a:pt x="1157892" y="5403996"/>
                  </a:lnTo>
                  <a:lnTo>
                    <a:pt x="1121129" y="5440927"/>
                  </a:lnTo>
                  <a:lnTo>
                    <a:pt x="1099046" y="5479929"/>
                  </a:lnTo>
                  <a:lnTo>
                    <a:pt x="1081934" y="5510154"/>
                  </a:lnTo>
                  <a:lnTo>
                    <a:pt x="1068143" y="5553765"/>
                  </a:lnTo>
                  <a:lnTo>
                    <a:pt x="1055520" y="5594186"/>
                  </a:lnTo>
                  <a:lnTo>
                    <a:pt x="1042898" y="5634613"/>
                  </a:lnTo>
                  <a:lnTo>
                    <a:pt x="1031609" y="5672229"/>
                  </a:lnTo>
                  <a:lnTo>
                    <a:pt x="1017430" y="5693479"/>
                  </a:lnTo>
                  <a:lnTo>
                    <a:pt x="983959" y="5697336"/>
                  </a:lnTo>
                  <a:lnTo>
                    <a:pt x="969674" y="5660174"/>
                  </a:lnTo>
                  <a:lnTo>
                    <a:pt x="961669" y="5621383"/>
                  </a:lnTo>
                  <a:lnTo>
                    <a:pt x="953663" y="5582591"/>
                  </a:lnTo>
                  <a:lnTo>
                    <a:pt x="951626" y="5541742"/>
                  </a:lnTo>
                  <a:lnTo>
                    <a:pt x="966760" y="5515152"/>
                  </a:lnTo>
                  <a:lnTo>
                    <a:pt x="990231" y="5488081"/>
                  </a:lnTo>
                  <a:lnTo>
                    <a:pt x="952996" y="5310619"/>
                  </a:lnTo>
                  <a:lnTo>
                    <a:pt x="935143" y="5295530"/>
                  </a:lnTo>
                  <a:lnTo>
                    <a:pt x="906370" y="5298846"/>
                  </a:lnTo>
                  <a:lnTo>
                    <a:pt x="895530" y="5326196"/>
                  </a:lnTo>
                  <a:lnTo>
                    <a:pt x="892296" y="5362942"/>
                  </a:lnTo>
                  <a:lnTo>
                    <a:pt x="887531" y="5398581"/>
                  </a:lnTo>
                  <a:lnTo>
                    <a:pt x="880790" y="5433185"/>
                  </a:lnTo>
                  <a:lnTo>
                    <a:pt x="867817" y="5470399"/>
                  </a:lnTo>
                  <a:lnTo>
                    <a:pt x="855576" y="5506994"/>
                  </a:lnTo>
                  <a:lnTo>
                    <a:pt x="855576" y="5549281"/>
                  </a:lnTo>
                  <a:lnTo>
                    <a:pt x="859659" y="5586014"/>
                  </a:lnTo>
                  <a:lnTo>
                    <a:pt x="862732" y="5616958"/>
                  </a:lnTo>
                  <a:lnTo>
                    <a:pt x="864732" y="5647565"/>
                  </a:lnTo>
                  <a:lnTo>
                    <a:pt x="862376" y="5682590"/>
                  </a:lnTo>
                  <a:lnTo>
                    <a:pt x="854398" y="5723999"/>
                  </a:lnTo>
                  <a:lnTo>
                    <a:pt x="844690" y="5751962"/>
                  </a:lnTo>
                  <a:lnTo>
                    <a:pt x="835165" y="5772361"/>
                  </a:lnTo>
                  <a:lnTo>
                    <a:pt x="820201" y="5790040"/>
                  </a:lnTo>
                  <a:lnTo>
                    <a:pt x="801545" y="5801232"/>
                  </a:lnTo>
                  <a:lnTo>
                    <a:pt x="778114" y="5805723"/>
                  </a:lnTo>
                  <a:lnTo>
                    <a:pt x="752196" y="5806363"/>
                  </a:lnTo>
                  <a:lnTo>
                    <a:pt x="726285" y="5807030"/>
                  </a:lnTo>
                  <a:lnTo>
                    <a:pt x="698355" y="5804450"/>
                  </a:lnTo>
                  <a:lnTo>
                    <a:pt x="671941" y="5800930"/>
                  </a:lnTo>
                  <a:lnTo>
                    <a:pt x="645536" y="5797401"/>
                  </a:lnTo>
                  <a:lnTo>
                    <a:pt x="619993" y="5792712"/>
                  </a:lnTo>
                  <a:lnTo>
                    <a:pt x="579711" y="5790093"/>
                  </a:lnTo>
                  <a:lnTo>
                    <a:pt x="557690" y="5798206"/>
                  </a:lnTo>
                  <a:lnTo>
                    <a:pt x="548392" y="5820015"/>
                  </a:lnTo>
                  <a:lnTo>
                    <a:pt x="542491" y="5844409"/>
                  </a:lnTo>
                  <a:lnTo>
                    <a:pt x="525047" y="5866213"/>
                  </a:lnTo>
                  <a:lnTo>
                    <a:pt x="486789" y="5867901"/>
                  </a:lnTo>
                  <a:lnTo>
                    <a:pt x="461767" y="5873914"/>
                  </a:lnTo>
                  <a:lnTo>
                    <a:pt x="430535" y="5893878"/>
                  </a:lnTo>
                  <a:lnTo>
                    <a:pt x="418948" y="5923344"/>
                  </a:lnTo>
                  <a:lnTo>
                    <a:pt x="412025" y="5958013"/>
                  </a:lnTo>
                  <a:lnTo>
                    <a:pt x="401393" y="5997490"/>
                  </a:lnTo>
                  <a:lnTo>
                    <a:pt x="393071" y="6019121"/>
                  </a:lnTo>
                  <a:lnTo>
                    <a:pt x="375422" y="6040324"/>
                  </a:lnTo>
                  <a:lnTo>
                    <a:pt x="346860" y="6055282"/>
                  </a:lnTo>
                  <a:lnTo>
                    <a:pt x="281571" y="6049840"/>
                  </a:lnTo>
                  <a:lnTo>
                    <a:pt x="266877" y="6064844"/>
                  </a:lnTo>
                  <a:lnTo>
                    <a:pt x="255455" y="6086528"/>
                  </a:lnTo>
                  <a:lnTo>
                    <a:pt x="246202" y="6113771"/>
                  </a:lnTo>
                  <a:lnTo>
                    <a:pt x="238603" y="6143330"/>
                  </a:lnTo>
                  <a:lnTo>
                    <a:pt x="232036" y="6176707"/>
                  </a:lnTo>
                  <a:lnTo>
                    <a:pt x="225797" y="6213064"/>
                  </a:lnTo>
                  <a:lnTo>
                    <a:pt x="221491" y="6248526"/>
                  </a:lnTo>
                  <a:lnTo>
                    <a:pt x="216505" y="6283703"/>
                  </a:lnTo>
                  <a:lnTo>
                    <a:pt x="210840" y="6316439"/>
                  </a:lnTo>
                  <a:lnTo>
                    <a:pt x="206031" y="6347772"/>
                  </a:lnTo>
                  <a:lnTo>
                    <a:pt x="200137" y="6371586"/>
                  </a:lnTo>
                  <a:lnTo>
                    <a:pt x="190435" y="6395334"/>
                  </a:lnTo>
                  <a:lnTo>
                    <a:pt x="217255" y="6400096"/>
                  </a:lnTo>
                  <a:lnTo>
                    <a:pt x="233236" y="6415350"/>
                  </a:lnTo>
                  <a:lnTo>
                    <a:pt x="231388" y="6445231"/>
                  </a:lnTo>
                  <a:lnTo>
                    <a:pt x="210918" y="6489898"/>
                  </a:lnTo>
                  <a:lnTo>
                    <a:pt x="193151" y="6534071"/>
                  </a:lnTo>
                  <a:lnTo>
                    <a:pt x="175385" y="6578243"/>
                  </a:lnTo>
                  <a:lnTo>
                    <a:pt x="160527" y="6622483"/>
                  </a:lnTo>
                  <a:lnTo>
                    <a:pt x="163739" y="6646712"/>
                  </a:lnTo>
                  <a:lnTo>
                    <a:pt x="188119" y="6665403"/>
                  </a:lnTo>
                  <a:lnTo>
                    <a:pt x="226752" y="6675064"/>
                  </a:lnTo>
                  <a:lnTo>
                    <a:pt x="249306" y="6671073"/>
                  </a:lnTo>
                  <a:lnTo>
                    <a:pt x="270688" y="6666009"/>
                  </a:lnTo>
                  <a:lnTo>
                    <a:pt x="292063" y="6660950"/>
                  </a:lnTo>
                  <a:lnTo>
                    <a:pt x="313253" y="6655938"/>
                  </a:lnTo>
                  <a:lnTo>
                    <a:pt x="335977" y="6657851"/>
                  </a:lnTo>
                  <a:lnTo>
                    <a:pt x="349365" y="6687824"/>
                  </a:lnTo>
                  <a:lnTo>
                    <a:pt x="356382" y="6714976"/>
                  </a:lnTo>
                  <a:lnTo>
                    <a:pt x="363386" y="6742128"/>
                  </a:lnTo>
                  <a:lnTo>
                    <a:pt x="368623" y="6770320"/>
                  </a:lnTo>
                  <a:lnTo>
                    <a:pt x="349377" y="6797987"/>
                  </a:lnTo>
                  <a:lnTo>
                    <a:pt x="325295" y="6825118"/>
                  </a:lnTo>
                  <a:lnTo>
                    <a:pt x="311491" y="6845556"/>
                  </a:lnTo>
                  <a:lnTo>
                    <a:pt x="303662" y="6866679"/>
                  </a:lnTo>
                  <a:lnTo>
                    <a:pt x="305734" y="6891733"/>
                  </a:lnTo>
                  <a:lnTo>
                    <a:pt x="308775" y="6916286"/>
                  </a:lnTo>
                  <a:lnTo>
                    <a:pt x="311808" y="6940838"/>
                  </a:lnTo>
                  <a:lnTo>
                    <a:pt x="316214" y="6964725"/>
                  </a:lnTo>
                  <a:lnTo>
                    <a:pt x="312849" y="6987015"/>
                  </a:lnTo>
                  <a:lnTo>
                    <a:pt x="307033" y="7025655"/>
                  </a:lnTo>
                  <a:lnTo>
                    <a:pt x="287003" y="7057746"/>
                  </a:lnTo>
                  <a:lnTo>
                    <a:pt x="271705" y="7100680"/>
                  </a:lnTo>
                  <a:lnTo>
                    <a:pt x="276123" y="7162487"/>
                  </a:lnTo>
                  <a:lnTo>
                    <a:pt x="280197" y="7222336"/>
                  </a:lnTo>
                  <a:lnTo>
                    <a:pt x="285639" y="7280819"/>
                  </a:lnTo>
                  <a:lnTo>
                    <a:pt x="288370" y="7318865"/>
                  </a:lnTo>
                  <a:lnTo>
                    <a:pt x="265069" y="7430022"/>
                  </a:lnTo>
                  <a:lnTo>
                    <a:pt x="276123" y="7449483"/>
                  </a:lnTo>
                  <a:lnTo>
                    <a:pt x="305113" y="7477882"/>
                  </a:lnTo>
                  <a:lnTo>
                    <a:pt x="348469" y="7500745"/>
                  </a:lnTo>
                  <a:lnTo>
                    <a:pt x="383574" y="7520214"/>
                  </a:lnTo>
                  <a:lnTo>
                    <a:pt x="384851" y="7608585"/>
                  </a:lnTo>
                  <a:lnTo>
                    <a:pt x="391738" y="7637194"/>
                  </a:lnTo>
                  <a:lnTo>
                    <a:pt x="357417" y="7650021"/>
                  </a:lnTo>
                  <a:lnTo>
                    <a:pt x="329171" y="7652158"/>
                  </a:lnTo>
                  <a:lnTo>
                    <a:pt x="300918" y="7654296"/>
                  </a:lnTo>
                  <a:lnTo>
                    <a:pt x="272232" y="7654348"/>
                  </a:lnTo>
                  <a:lnTo>
                    <a:pt x="229193" y="7654829"/>
                  </a:lnTo>
                  <a:lnTo>
                    <a:pt x="206388" y="7660092"/>
                  </a:lnTo>
                  <a:lnTo>
                    <a:pt x="154738" y="7671304"/>
                  </a:lnTo>
                  <a:lnTo>
                    <a:pt x="104735" y="7687514"/>
                  </a:lnTo>
                  <a:lnTo>
                    <a:pt x="79732" y="7695625"/>
                  </a:lnTo>
                  <a:lnTo>
                    <a:pt x="55780" y="7704798"/>
                  </a:lnTo>
                  <a:lnTo>
                    <a:pt x="36727" y="7714717"/>
                  </a:lnTo>
                  <a:lnTo>
                    <a:pt x="17667" y="7724643"/>
                  </a:lnTo>
                  <a:lnTo>
                    <a:pt x="0" y="7746003"/>
                  </a:lnTo>
                  <a:lnTo>
                    <a:pt x="19996" y="7806493"/>
                  </a:lnTo>
                  <a:lnTo>
                    <a:pt x="56676" y="7867199"/>
                  </a:lnTo>
                  <a:lnTo>
                    <a:pt x="88410" y="7928274"/>
                  </a:lnTo>
                  <a:lnTo>
                    <a:pt x="104279" y="7958807"/>
                  </a:lnTo>
                  <a:lnTo>
                    <a:pt x="118564" y="7989250"/>
                  </a:lnTo>
                  <a:lnTo>
                    <a:pt x="129214" y="8020768"/>
                  </a:lnTo>
                  <a:lnTo>
                    <a:pt x="139865" y="8052278"/>
                  </a:lnTo>
                  <a:lnTo>
                    <a:pt x="146903" y="8084290"/>
                  </a:lnTo>
                  <a:lnTo>
                    <a:pt x="146903" y="8117336"/>
                  </a:lnTo>
                  <a:lnTo>
                    <a:pt x="139338" y="8152223"/>
                  </a:lnTo>
                  <a:lnTo>
                    <a:pt x="116375" y="8183107"/>
                  </a:lnTo>
                  <a:lnTo>
                    <a:pt x="100862" y="8197320"/>
                  </a:lnTo>
                  <a:lnTo>
                    <a:pt x="85694" y="8212553"/>
                  </a:lnTo>
                  <a:lnTo>
                    <a:pt x="70520" y="8227788"/>
                  </a:lnTo>
                  <a:lnTo>
                    <a:pt x="55950" y="8243787"/>
                  </a:lnTo>
                  <a:lnTo>
                    <a:pt x="33818" y="8279248"/>
                  </a:lnTo>
                  <a:lnTo>
                    <a:pt x="27205" y="8321370"/>
                  </a:lnTo>
                  <a:lnTo>
                    <a:pt x="42407" y="8348046"/>
                  </a:lnTo>
                  <a:lnTo>
                    <a:pt x="71853" y="8365417"/>
                  </a:lnTo>
                  <a:lnTo>
                    <a:pt x="102016" y="8373053"/>
                  </a:lnTo>
                  <a:lnTo>
                    <a:pt x="148010" y="8378837"/>
                  </a:lnTo>
                  <a:lnTo>
                    <a:pt x="195520" y="8383474"/>
                  </a:lnTo>
                  <a:lnTo>
                    <a:pt x="242119" y="8389376"/>
                  </a:lnTo>
                  <a:lnTo>
                    <a:pt x="288711" y="8395278"/>
                  </a:lnTo>
                  <a:lnTo>
                    <a:pt x="334402" y="8402810"/>
                  </a:lnTo>
                  <a:lnTo>
                    <a:pt x="379497" y="8413863"/>
                  </a:lnTo>
                  <a:lnTo>
                    <a:pt x="425274" y="8422918"/>
                  </a:lnTo>
                  <a:lnTo>
                    <a:pt x="470924" y="8432862"/>
                  </a:lnTo>
                  <a:lnTo>
                    <a:pt x="515516" y="8445150"/>
                  </a:lnTo>
                  <a:lnTo>
                    <a:pt x="560106" y="8457430"/>
                  </a:lnTo>
                  <a:lnTo>
                    <a:pt x="604013" y="8471971"/>
                  </a:lnTo>
                  <a:lnTo>
                    <a:pt x="647455" y="8488676"/>
                  </a:lnTo>
                  <a:lnTo>
                    <a:pt x="672483" y="8503698"/>
                  </a:lnTo>
                  <a:lnTo>
                    <a:pt x="693158" y="8525337"/>
                  </a:lnTo>
                  <a:lnTo>
                    <a:pt x="712744" y="8547159"/>
                  </a:lnTo>
                  <a:lnTo>
                    <a:pt x="728960" y="8561774"/>
                  </a:lnTo>
                  <a:lnTo>
                    <a:pt x="750038" y="8571078"/>
                  </a:lnTo>
                  <a:lnTo>
                    <a:pt x="772592" y="8577087"/>
                  </a:lnTo>
                  <a:lnTo>
                    <a:pt x="795142" y="8583089"/>
                  </a:lnTo>
                  <a:lnTo>
                    <a:pt x="819550" y="8584684"/>
                  </a:lnTo>
                  <a:lnTo>
                    <a:pt x="844684" y="8585245"/>
                  </a:lnTo>
                  <a:lnTo>
                    <a:pt x="894957" y="8586372"/>
                  </a:lnTo>
                  <a:lnTo>
                    <a:pt x="946718" y="8580081"/>
                  </a:lnTo>
                  <a:lnTo>
                    <a:pt x="984784" y="8578445"/>
                  </a:lnTo>
                  <a:lnTo>
                    <a:pt x="1012990" y="8577238"/>
                  </a:lnTo>
                  <a:lnTo>
                    <a:pt x="1033726" y="8584440"/>
                  </a:lnTo>
                  <a:lnTo>
                    <a:pt x="1066428" y="8610536"/>
                  </a:lnTo>
                  <a:lnTo>
                    <a:pt x="1079060" y="8629608"/>
                  </a:lnTo>
                  <a:lnTo>
                    <a:pt x="1088160" y="8650534"/>
                  </a:lnTo>
                  <a:lnTo>
                    <a:pt x="1106361" y="8692392"/>
                  </a:lnTo>
                  <a:lnTo>
                    <a:pt x="1113557" y="8743338"/>
                  </a:lnTo>
                  <a:lnTo>
                    <a:pt x="1130328" y="8778396"/>
                  </a:lnTo>
                  <a:lnTo>
                    <a:pt x="1139692" y="8797982"/>
                  </a:lnTo>
                  <a:lnTo>
                    <a:pt x="1186350" y="8839307"/>
                  </a:lnTo>
                  <a:lnTo>
                    <a:pt x="1203775" y="8851844"/>
                  </a:lnTo>
                  <a:lnTo>
                    <a:pt x="1231488" y="8871398"/>
                  </a:lnTo>
                  <a:lnTo>
                    <a:pt x="1263117" y="8883980"/>
                  </a:lnTo>
                  <a:lnTo>
                    <a:pt x="1296268" y="8884489"/>
                  </a:lnTo>
                  <a:lnTo>
                    <a:pt x="1310072" y="8848784"/>
                  </a:lnTo>
                  <a:lnTo>
                    <a:pt x="1317008" y="8800457"/>
                  </a:lnTo>
                  <a:lnTo>
                    <a:pt x="1332995" y="8779754"/>
                  </a:lnTo>
                  <a:lnTo>
                    <a:pt x="1527504" y="8738952"/>
                  </a:lnTo>
                  <a:lnTo>
                    <a:pt x="1548734" y="8735160"/>
                  </a:lnTo>
                  <a:lnTo>
                    <a:pt x="1615133" y="8727860"/>
                  </a:lnTo>
                  <a:lnTo>
                    <a:pt x="1677123" y="8711747"/>
                  </a:lnTo>
                  <a:lnTo>
                    <a:pt x="1708119" y="8703689"/>
                  </a:lnTo>
                  <a:lnTo>
                    <a:pt x="1737612" y="8693197"/>
                  </a:lnTo>
                  <a:lnTo>
                    <a:pt x="1760094" y="8680462"/>
                  </a:lnTo>
                  <a:lnTo>
                    <a:pt x="1782583" y="8667727"/>
                  </a:lnTo>
                  <a:lnTo>
                    <a:pt x="1798049" y="8652691"/>
                  </a:lnTo>
                  <a:lnTo>
                    <a:pt x="1801115" y="8614829"/>
                  </a:lnTo>
                  <a:lnTo>
                    <a:pt x="1792741" y="8577087"/>
                  </a:lnTo>
                  <a:lnTo>
                    <a:pt x="1784819" y="8538829"/>
                  </a:lnTo>
                  <a:lnTo>
                    <a:pt x="1792297" y="8505889"/>
                  </a:lnTo>
                  <a:lnTo>
                    <a:pt x="1868516" y="8480934"/>
                  </a:lnTo>
                  <a:lnTo>
                    <a:pt x="1945088" y="8465547"/>
                  </a:lnTo>
                  <a:lnTo>
                    <a:pt x="1983371" y="8457857"/>
                  </a:lnTo>
                  <a:lnTo>
                    <a:pt x="2021055" y="8452258"/>
                  </a:lnTo>
                  <a:lnTo>
                    <a:pt x="2051181" y="8451948"/>
                  </a:lnTo>
                  <a:lnTo>
                    <a:pt x="2081300" y="8451619"/>
                  </a:lnTo>
                  <a:lnTo>
                    <a:pt x="2103518" y="8457416"/>
                  </a:lnTo>
                  <a:lnTo>
                    <a:pt x="2113350" y="8482496"/>
                  </a:lnTo>
                  <a:lnTo>
                    <a:pt x="2140357" y="8539040"/>
                  </a:lnTo>
                  <a:lnTo>
                    <a:pt x="2125440" y="8563099"/>
                  </a:lnTo>
                  <a:lnTo>
                    <a:pt x="2110014" y="8584895"/>
                  </a:lnTo>
                  <a:lnTo>
                    <a:pt x="2097429" y="8608372"/>
                  </a:lnTo>
                  <a:lnTo>
                    <a:pt x="2084841" y="8631844"/>
                  </a:lnTo>
                  <a:lnTo>
                    <a:pt x="2074618" y="8656872"/>
                  </a:lnTo>
                  <a:lnTo>
                    <a:pt x="2083231" y="8682625"/>
                  </a:lnTo>
                  <a:lnTo>
                    <a:pt x="2096065" y="8700866"/>
                  </a:lnTo>
                  <a:lnTo>
                    <a:pt x="2105503" y="8729469"/>
                  </a:lnTo>
                  <a:lnTo>
                    <a:pt x="2111543" y="8761434"/>
                  </a:lnTo>
                  <a:lnTo>
                    <a:pt x="2119186" y="8790636"/>
                  </a:lnTo>
                  <a:lnTo>
                    <a:pt x="2144868" y="8807467"/>
                  </a:lnTo>
                  <a:lnTo>
                    <a:pt x="2231532" y="8781199"/>
                  </a:lnTo>
                  <a:lnTo>
                    <a:pt x="2252489" y="8775672"/>
                  </a:lnTo>
                  <a:lnTo>
                    <a:pt x="2278289" y="8797522"/>
                  </a:lnTo>
                  <a:lnTo>
                    <a:pt x="2288127" y="8835983"/>
                  </a:lnTo>
                  <a:lnTo>
                    <a:pt x="2300099" y="8869532"/>
                  </a:lnTo>
                  <a:lnTo>
                    <a:pt x="2313090" y="8901530"/>
                  </a:lnTo>
                  <a:lnTo>
                    <a:pt x="2327908" y="8924579"/>
                  </a:lnTo>
                  <a:lnTo>
                    <a:pt x="2392208" y="8931701"/>
                  </a:lnTo>
                  <a:lnTo>
                    <a:pt x="2447553" y="8934393"/>
                  </a:lnTo>
                  <a:lnTo>
                    <a:pt x="2501407" y="8933456"/>
                  </a:lnTo>
                  <a:lnTo>
                    <a:pt x="2555255" y="8932518"/>
                  </a:lnTo>
                  <a:lnTo>
                    <a:pt x="2607816" y="8927916"/>
                  </a:lnTo>
                  <a:lnTo>
                    <a:pt x="2653748" y="8913051"/>
                  </a:lnTo>
                  <a:lnTo>
                    <a:pt x="2699082" y="8898384"/>
                  </a:lnTo>
                  <a:lnTo>
                    <a:pt x="2798673" y="8866281"/>
                  </a:lnTo>
                  <a:lnTo>
                    <a:pt x="2898586" y="8836879"/>
                  </a:lnTo>
                  <a:lnTo>
                    <a:pt x="2998484" y="8807486"/>
                  </a:lnTo>
                  <a:lnTo>
                    <a:pt x="3099340" y="8780692"/>
                  </a:lnTo>
                  <a:lnTo>
                    <a:pt x="3148862" y="8775672"/>
                  </a:lnTo>
                  <a:lnTo>
                    <a:pt x="3186863" y="8771827"/>
                  </a:lnTo>
                  <a:lnTo>
                    <a:pt x="3227540" y="8773035"/>
                  </a:lnTo>
                  <a:lnTo>
                    <a:pt x="3265835" y="8771596"/>
                  </a:lnTo>
                  <a:lnTo>
                    <a:pt x="3291424" y="8770640"/>
                  </a:lnTo>
                  <a:lnTo>
                    <a:pt x="3327050" y="8790643"/>
                  </a:lnTo>
                  <a:lnTo>
                    <a:pt x="3360012" y="8815868"/>
                  </a:lnTo>
                  <a:lnTo>
                    <a:pt x="3380092" y="8826006"/>
                  </a:lnTo>
                  <a:lnTo>
                    <a:pt x="3533199" y="8885729"/>
                  </a:lnTo>
                  <a:lnTo>
                    <a:pt x="3672623" y="8931722"/>
                  </a:lnTo>
                  <a:lnTo>
                    <a:pt x="3792532" y="8958669"/>
                  </a:lnTo>
                  <a:lnTo>
                    <a:pt x="3920096" y="8974265"/>
                  </a:lnTo>
                  <a:lnTo>
                    <a:pt x="3940495" y="8981064"/>
                  </a:lnTo>
                  <a:lnTo>
                    <a:pt x="3994600" y="8984388"/>
                  </a:lnTo>
                  <a:lnTo>
                    <a:pt x="4052503" y="8992797"/>
                  </a:lnTo>
                  <a:lnTo>
                    <a:pt x="4106441" y="8991954"/>
                  </a:lnTo>
                  <a:lnTo>
                    <a:pt x="4141199" y="8991423"/>
                  </a:lnTo>
                  <a:lnTo>
                    <a:pt x="4268729" y="8959348"/>
                  </a:lnTo>
                  <a:lnTo>
                    <a:pt x="4293131" y="8957646"/>
                  </a:lnTo>
                  <a:lnTo>
                    <a:pt x="4413508" y="8912847"/>
                  </a:lnTo>
                  <a:lnTo>
                    <a:pt x="4534651" y="8857120"/>
                  </a:lnTo>
                  <a:lnTo>
                    <a:pt x="4635559" y="8831445"/>
                  </a:lnTo>
                  <a:lnTo>
                    <a:pt x="4659366" y="8825365"/>
                  </a:lnTo>
                  <a:lnTo>
                    <a:pt x="4686483" y="8825919"/>
                  </a:lnTo>
                  <a:lnTo>
                    <a:pt x="4709006" y="8820564"/>
                  </a:lnTo>
                  <a:lnTo>
                    <a:pt x="4743140" y="8812406"/>
                  </a:lnTo>
                  <a:lnTo>
                    <a:pt x="4779234" y="8802072"/>
                  </a:lnTo>
                  <a:lnTo>
                    <a:pt x="4813747" y="8796083"/>
                  </a:lnTo>
                  <a:lnTo>
                    <a:pt x="4861769" y="8787727"/>
                  </a:lnTo>
                  <a:lnTo>
                    <a:pt x="4908851" y="8782524"/>
                  </a:lnTo>
                  <a:lnTo>
                    <a:pt x="4956566" y="8775678"/>
                  </a:lnTo>
                  <a:lnTo>
                    <a:pt x="5004287" y="8768828"/>
                  </a:lnTo>
                  <a:lnTo>
                    <a:pt x="5051757" y="8761137"/>
                  </a:lnTo>
                  <a:lnTo>
                    <a:pt x="5098024" y="8744393"/>
                  </a:lnTo>
                  <a:lnTo>
                    <a:pt x="5161871" y="8721271"/>
                  </a:lnTo>
                  <a:lnTo>
                    <a:pt x="5216364" y="8677745"/>
                  </a:lnTo>
                  <a:lnTo>
                    <a:pt x="5280156" y="8640127"/>
                  </a:lnTo>
                  <a:lnTo>
                    <a:pt x="5352821" y="8620713"/>
                  </a:lnTo>
                  <a:lnTo>
                    <a:pt x="5417673" y="8586609"/>
                  </a:lnTo>
                  <a:lnTo>
                    <a:pt x="5439950" y="8574891"/>
                  </a:lnTo>
                  <a:lnTo>
                    <a:pt x="5474813" y="8550021"/>
                  </a:lnTo>
                  <a:lnTo>
                    <a:pt x="5511527" y="8528120"/>
                  </a:lnTo>
                  <a:lnTo>
                    <a:pt x="5548238" y="8506217"/>
                  </a:lnTo>
                  <a:lnTo>
                    <a:pt x="5587064" y="8487318"/>
                  </a:lnTo>
                  <a:lnTo>
                    <a:pt x="5613543" y="8487318"/>
                  </a:lnTo>
                  <a:lnTo>
                    <a:pt x="5665899" y="8487318"/>
                  </a:lnTo>
                  <a:lnTo>
                    <a:pt x="5721344" y="8491511"/>
                  </a:lnTo>
                  <a:lnTo>
                    <a:pt x="5775409" y="8502281"/>
                  </a:lnTo>
                  <a:lnTo>
                    <a:pt x="5829468" y="8513043"/>
                  </a:lnTo>
                  <a:lnTo>
                    <a:pt x="5881362" y="8530033"/>
                  </a:lnTo>
                  <a:lnTo>
                    <a:pt x="5929108" y="8551249"/>
                  </a:lnTo>
                  <a:lnTo>
                    <a:pt x="5994438" y="8580272"/>
                  </a:lnTo>
                  <a:lnTo>
                    <a:pt x="6058164" y="8625506"/>
                  </a:lnTo>
                  <a:lnTo>
                    <a:pt x="6127695" y="8645100"/>
                  </a:lnTo>
                  <a:lnTo>
                    <a:pt x="6203398" y="8666395"/>
                  </a:lnTo>
                  <a:lnTo>
                    <a:pt x="6306279" y="8688225"/>
                  </a:lnTo>
                  <a:lnTo>
                    <a:pt x="6410617" y="8704949"/>
                  </a:lnTo>
                  <a:lnTo>
                    <a:pt x="6514961" y="8721674"/>
                  </a:lnTo>
                  <a:lnTo>
                    <a:pt x="6619668" y="8732661"/>
                  </a:lnTo>
                  <a:lnTo>
                    <a:pt x="6698977" y="8733512"/>
                  </a:lnTo>
                  <a:lnTo>
                    <a:pt x="6747570" y="8727728"/>
                  </a:lnTo>
                  <a:lnTo>
                    <a:pt x="6786433" y="8684927"/>
                  </a:lnTo>
                  <a:lnTo>
                    <a:pt x="6797123" y="8665544"/>
                  </a:lnTo>
                  <a:lnTo>
                    <a:pt x="6811349" y="8618153"/>
                  </a:lnTo>
                  <a:lnTo>
                    <a:pt x="6820040" y="8570288"/>
                  </a:lnTo>
                  <a:lnTo>
                    <a:pt x="6828734" y="8522421"/>
                  </a:lnTo>
                  <a:lnTo>
                    <a:pt x="6832994" y="8474497"/>
                  </a:lnTo>
                  <a:lnTo>
                    <a:pt x="6817048" y="8441086"/>
                  </a:lnTo>
                  <a:lnTo>
                    <a:pt x="6795514" y="8421539"/>
                  </a:lnTo>
                  <a:lnTo>
                    <a:pt x="6772440" y="8402982"/>
                  </a:lnTo>
                  <a:lnTo>
                    <a:pt x="6749337" y="8384429"/>
                  </a:lnTo>
                  <a:lnTo>
                    <a:pt x="6723531" y="8367046"/>
                  </a:lnTo>
                  <a:lnTo>
                    <a:pt x="6703061" y="8340415"/>
                  </a:lnTo>
                  <a:lnTo>
                    <a:pt x="6713606" y="8280310"/>
                  </a:lnTo>
                  <a:lnTo>
                    <a:pt x="6747353" y="8221904"/>
                  </a:lnTo>
                  <a:lnTo>
                    <a:pt x="6768350" y="8164945"/>
                  </a:lnTo>
                  <a:lnTo>
                    <a:pt x="6797263" y="8086525"/>
                  </a:lnTo>
                  <a:lnTo>
                    <a:pt x="6796702" y="7999090"/>
                  </a:lnTo>
                  <a:lnTo>
                    <a:pt x="6814598" y="7918751"/>
                  </a:lnTo>
                  <a:lnTo>
                    <a:pt x="6820086" y="7893842"/>
                  </a:lnTo>
                  <a:lnTo>
                    <a:pt x="6837127" y="7865450"/>
                  </a:lnTo>
                  <a:lnTo>
                    <a:pt x="6844522" y="7839863"/>
                  </a:lnTo>
                  <a:lnTo>
                    <a:pt x="6868158" y="7757610"/>
                  </a:lnTo>
                  <a:lnTo>
                    <a:pt x="6887288" y="7637280"/>
                  </a:lnTo>
                  <a:lnTo>
                    <a:pt x="6886690" y="7551500"/>
                  </a:lnTo>
                  <a:lnTo>
                    <a:pt x="6870750" y="7536582"/>
                  </a:lnTo>
                  <a:lnTo>
                    <a:pt x="6849626" y="7531596"/>
                  </a:lnTo>
                  <a:lnTo>
                    <a:pt x="6828197" y="7529737"/>
                  </a:lnTo>
                  <a:lnTo>
                    <a:pt x="6806772" y="7527877"/>
                  </a:lnTo>
                  <a:lnTo>
                    <a:pt x="6784653" y="7528207"/>
                  </a:lnTo>
                  <a:lnTo>
                    <a:pt x="6737025" y="7518388"/>
                  </a:lnTo>
                  <a:lnTo>
                    <a:pt x="6706754" y="7507888"/>
                  </a:lnTo>
                  <a:lnTo>
                    <a:pt x="6678579" y="7499809"/>
                  </a:lnTo>
                  <a:lnTo>
                    <a:pt x="6675763" y="7471755"/>
                  </a:lnTo>
                  <a:lnTo>
                    <a:pt x="6682656" y="7441326"/>
                  </a:lnTo>
                  <a:lnTo>
                    <a:pt x="6696993" y="7383897"/>
                  </a:lnTo>
                  <a:lnTo>
                    <a:pt x="6686783" y="7332339"/>
                  </a:lnTo>
                  <a:lnTo>
                    <a:pt x="6670040" y="7308920"/>
                  </a:lnTo>
                  <a:lnTo>
                    <a:pt x="6677214" y="7263138"/>
                  </a:lnTo>
                  <a:lnTo>
                    <a:pt x="6690392" y="7245074"/>
                  </a:lnTo>
                  <a:lnTo>
                    <a:pt x="6707557" y="7222342"/>
                  </a:lnTo>
                  <a:lnTo>
                    <a:pt x="6720740" y="7197849"/>
                  </a:lnTo>
                  <a:lnTo>
                    <a:pt x="6733930" y="7173354"/>
                  </a:lnTo>
                  <a:lnTo>
                    <a:pt x="6742457" y="7147220"/>
                  </a:lnTo>
                  <a:lnTo>
                    <a:pt x="6739794" y="7123037"/>
                  </a:lnTo>
                  <a:lnTo>
                    <a:pt x="6725807" y="7103146"/>
                  </a:lnTo>
                  <a:lnTo>
                    <a:pt x="6703107" y="7078619"/>
                  </a:lnTo>
                  <a:lnTo>
                    <a:pt x="6681298" y="7067269"/>
                  </a:lnTo>
                  <a:lnTo>
                    <a:pt x="6622635" y="7036662"/>
                  </a:lnTo>
                  <a:lnTo>
                    <a:pt x="6563038" y="7009557"/>
                  </a:lnTo>
                  <a:lnTo>
                    <a:pt x="6508549" y="6972052"/>
                  </a:lnTo>
                  <a:lnTo>
                    <a:pt x="6467252" y="6943627"/>
                  </a:lnTo>
                  <a:lnTo>
                    <a:pt x="6437886" y="6928315"/>
                  </a:lnTo>
                  <a:lnTo>
                    <a:pt x="6420139" y="6906763"/>
                  </a:lnTo>
                  <a:lnTo>
                    <a:pt x="6405352" y="6883423"/>
                  </a:lnTo>
                  <a:lnTo>
                    <a:pt x="6399541" y="6851214"/>
                  </a:lnTo>
                  <a:lnTo>
                    <a:pt x="6402459" y="6804746"/>
                  </a:lnTo>
                  <a:lnTo>
                    <a:pt x="6405550" y="6778735"/>
                  </a:lnTo>
                  <a:lnTo>
                    <a:pt x="6411981" y="6744905"/>
                  </a:lnTo>
                  <a:lnTo>
                    <a:pt x="6428423" y="6717271"/>
                  </a:lnTo>
                  <a:lnTo>
                    <a:pt x="6451433" y="6702737"/>
                  </a:lnTo>
                  <a:lnTo>
                    <a:pt x="6489511" y="6698653"/>
                  </a:lnTo>
                  <a:lnTo>
                    <a:pt x="6504323" y="6673362"/>
                  </a:lnTo>
                  <a:lnTo>
                    <a:pt x="6520942" y="6642334"/>
                  </a:lnTo>
                  <a:lnTo>
                    <a:pt x="6541195" y="6623841"/>
                  </a:lnTo>
                  <a:lnTo>
                    <a:pt x="6576377" y="6612201"/>
                  </a:lnTo>
                  <a:lnTo>
                    <a:pt x="6611622" y="6603087"/>
                  </a:lnTo>
                  <a:lnTo>
                    <a:pt x="6647294" y="6596638"/>
                  </a:lnTo>
                  <a:lnTo>
                    <a:pt x="6682966" y="6590187"/>
                  </a:lnTo>
                  <a:lnTo>
                    <a:pt x="6720213" y="6586350"/>
                  </a:lnTo>
                  <a:lnTo>
                    <a:pt x="6757467" y="6584397"/>
                  </a:lnTo>
                  <a:lnTo>
                    <a:pt x="6769252" y="6561632"/>
                  </a:lnTo>
                  <a:lnTo>
                    <a:pt x="6778328" y="6525544"/>
                  </a:lnTo>
                  <a:lnTo>
                    <a:pt x="6783313" y="6498703"/>
                  </a:lnTo>
                  <a:lnTo>
                    <a:pt x="6786848" y="6476354"/>
                  </a:lnTo>
                  <a:lnTo>
                    <a:pt x="6783313" y="6442937"/>
                  </a:lnTo>
                  <a:lnTo>
                    <a:pt x="6774774" y="6416525"/>
                  </a:lnTo>
                  <a:lnTo>
                    <a:pt x="6751421" y="6389657"/>
                  </a:lnTo>
                  <a:lnTo>
                    <a:pt x="6727394" y="6382073"/>
                  </a:lnTo>
                  <a:lnTo>
                    <a:pt x="6700336" y="6376288"/>
                  </a:lnTo>
                  <a:lnTo>
                    <a:pt x="6673292" y="6370498"/>
                  </a:lnTo>
                  <a:lnTo>
                    <a:pt x="6643409" y="6366943"/>
                  </a:lnTo>
                  <a:lnTo>
                    <a:pt x="6616009" y="6358601"/>
                  </a:lnTo>
                  <a:lnTo>
                    <a:pt x="6588606" y="6350259"/>
                  </a:lnTo>
                  <a:lnTo>
                    <a:pt x="6564620" y="6336561"/>
                  </a:lnTo>
                  <a:lnTo>
                    <a:pt x="6548001" y="6310999"/>
                  </a:lnTo>
                  <a:lnTo>
                    <a:pt x="6529298" y="6282252"/>
                  </a:lnTo>
                  <a:lnTo>
                    <a:pt x="6532014" y="6219224"/>
                  </a:lnTo>
                  <a:lnTo>
                    <a:pt x="6527596" y="6183137"/>
                  </a:lnTo>
                  <a:lnTo>
                    <a:pt x="6432380" y="6172256"/>
                  </a:lnTo>
                  <a:lnTo>
                    <a:pt x="6416744" y="6155082"/>
                  </a:lnTo>
                  <a:lnTo>
                    <a:pt x="6413761" y="6106201"/>
                  </a:lnTo>
                  <a:lnTo>
                    <a:pt x="6416055" y="6085202"/>
                  </a:lnTo>
                  <a:lnTo>
                    <a:pt x="6496311" y="6053916"/>
                  </a:lnTo>
                  <a:lnTo>
                    <a:pt x="6518033" y="5999601"/>
                  </a:lnTo>
                  <a:lnTo>
                    <a:pt x="6520796" y="5957340"/>
                  </a:lnTo>
                  <a:lnTo>
                    <a:pt x="6523534" y="5915087"/>
                  </a:lnTo>
                  <a:lnTo>
                    <a:pt x="6523711" y="5870994"/>
                  </a:lnTo>
                  <a:lnTo>
                    <a:pt x="6525413" y="5842747"/>
                  </a:lnTo>
                  <a:lnTo>
                    <a:pt x="6537270" y="5823959"/>
                  </a:lnTo>
                  <a:lnTo>
                    <a:pt x="6529245" y="5774906"/>
                  </a:lnTo>
                  <a:lnTo>
                    <a:pt x="6511894" y="5739247"/>
                  </a:lnTo>
                  <a:lnTo>
                    <a:pt x="6499039" y="5702988"/>
                  </a:lnTo>
                  <a:lnTo>
                    <a:pt x="6486194" y="5666722"/>
                  </a:lnTo>
                  <a:lnTo>
                    <a:pt x="6476579" y="5629858"/>
                  </a:lnTo>
                  <a:lnTo>
                    <a:pt x="6482718" y="5591449"/>
                  </a:lnTo>
                  <a:lnTo>
                    <a:pt x="6520613" y="5576742"/>
                  </a:lnTo>
                  <a:lnTo>
                    <a:pt x="6546643" y="5575126"/>
                  </a:lnTo>
                  <a:lnTo>
                    <a:pt x="6572684" y="5573511"/>
                  </a:lnTo>
                  <a:lnTo>
                    <a:pt x="6599784" y="5574401"/>
                  </a:lnTo>
                  <a:lnTo>
                    <a:pt x="6624173" y="5590090"/>
                  </a:lnTo>
                  <a:lnTo>
                    <a:pt x="6618145" y="5620908"/>
                  </a:lnTo>
                  <a:lnTo>
                    <a:pt x="6617041" y="5653672"/>
                  </a:lnTo>
                  <a:lnTo>
                    <a:pt x="6620089" y="5686659"/>
                  </a:lnTo>
                  <a:lnTo>
                    <a:pt x="6623137" y="5719654"/>
                  </a:lnTo>
                  <a:lnTo>
                    <a:pt x="6630337" y="5753294"/>
                  </a:lnTo>
                  <a:lnTo>
                    <a:pt x="6637772" y="5783235"/>
                  </a:lnTo>
                  <a:lnTo>
                    <a:pt x="6666031" y="5798285"/>
                  </a:lnTo>
                  <a:lnTo>
                    <a:pt x="6779924" y="5797361"/>
                  </a:lnTo>
                  <a:lnTo>
                    <a:pt x="6846513" y="5798397"/>
                  </a:lnTo>
                  <a:lnTo>
                    <a:pt x="6890764" y="5795476"/>
                  </a:lnTo>
                  <a:lnTo>
                    <a:pt x="6935016" y="5792574"/>
                  </a:lnTo>
                  <a:lnTo>
                    <a:pt x="6957030" y="5786585"/>
                  </a:lnTo>
                  <a:lnTo>
                    <a:pt x="6973742" y="5773713"/>
                  </a:lnTo>
                  <a:lnTo>
                    <a:pt x="6990439" y="5760839"/>
                  </a:lnTo>
                  <a:lnTo>
                    <a:pt x="7001282" y="5740533"/>
                  </a:lnTo>
                  <a:lnTo>
                    <a:pt x="7022710" y="5709782"/>
                  </a:lnTo>
                  <a:lnTo>
                    <a:pt x="7044122" y="5679036"/>
                  </a:lnTo>
                  <a:lnTo>
                    <a:pt x="7075844" y="5637085"/>
                  </a:lnTo>
                  <a:lnTo>
                    <a:pt x="7134235" y="5580566"/>
                  </a:lnTo>
                  <a:lnTo>
                    <a:pt x="7182821" y="5600201"/>
                  </a:lnTo>
                  <a:lnTo>
                    <a:pt x="7220567" y="5602706"/>
                  </a:lnTo>
                  <a:lnTo>
                    <a:pt x="7258022" y="5598247"/>
                  </a:lnTo>
                  <a:lnTo>
                    <a:pt x="7295474" y="5593790"/>
                  </a:lnTo>
                  <a:lnTo>
                    <a:pt x="7333757" y="5582836"/>
                  </a:lnTo>
                  <a:lnTo>
                    <a:pt x="7384517" y="5575126"/>
                  </a:lnTo>
                  <a:lnTo>
                    <a:pt x="7424939" y="5569006"/>
                  </a:lnTo>
                  <a:lnTo>
                    <a:pt x="7469578" y="5578517"/>
                  </a:lnTo>
                  <a:lnTo>
                    <a:pt x="7509650" y="5583284"/>
                  </a:lnTo>
                  <a:lnTo>
                    <a:pt x="7541965" y="5588554"/>
                  </a:lnTo>
                  <a:lnTo>
                    <a:pt x="7606398" y="5589490"/>
                  </a:lnTo>
                  <a:lnTo>
                    <a:pt x="7656981" y="5590256"/>
                  </a:lnTo>
                  <a:lnTo>
                    <a:pt x="7709607" y="5581926"/>
                  </a:lnTo>
                  <a:lnTo>
                    <a:pt x="7731581" y="5571426"/>
                  </a:lnTo>
                  <a:lnTo>
                    <a:pt x="7938120" y="5532958"/>
                  </a:lnTo>
                  <a:lnTo>
                    <a:pt x="7962668" y="5537806"/>
                  </a:lnTo>
                  <a:lnTo>
                    <a:pt x="7987299" y="5540015"/>
                  </a:lnTo>
                  <a:lnTo>
                    <a:pt x="8018671" y="5548305"/>
                  </a:lnTo>
                  <a:lnTo>
                    <a:pt x="8038778" y="5558803"/>
                  </a:lnTo>
                  <a:lnTo>
                    <a:pt x="8113024" y="5597609"/>
                  </a:lnTo>
                  <a:lnTo>
                    <a:pt x="8188397" y="5642625"/>
                  </a:lnTo>
                  <a:lnTo>
                    <a:pt x="8264569" y="5677136"/>
                  </a:lnTo>
                  <a:lnTo>
                    <a:pt x="8305667" y="5695753"/>
                  </a:lnTo>
                  <a:lnTo>
                    <a:pt x="8534912" y="5713823"/>
                  </a:lnTo>
                  <a:lnTo>
                    <a:pt x="8595097" y="5724745"/>
                  </a:lnTo>
                  <a:lnTo>
                    <a:pt x="8663996" y="5737289"/>
                  </a:lnTo>
                  <a:lnTo>
                    <a:pt x="8732655" y="5754415"/>
                  </a:lnTo>
                  <a:lnTo>
                    <a:pt x="8801848" y="5766913"/>
                  </a:lnTo>
                  <a:lnTo>
                    <a:pt x="8824739" y="5778626"/>
                  </a:lnTo>
                  <a:lnTo>
                    <a:pt x="8870501" y="5805506"/>
                  </a:lnTo>
                  <a:lnTo>
                    <a:pt x="8893774" y="5810630"/>
                  </a:lnTo>
                  <a:lnTo>
                    <a:pt x="8917465" y="5807715"/>
                  </a:lnTo>
                  <a:lnTo>
                    <a:pt x="8941154" y="5804801"/>
                  </a:lnTo>
                  <a:lnTo>
                    <a:pt x="8964994" y="5794209"/>
                  </a:lnTo>
                  <a:lnTo>
                    <a:pt x="9000434" y="5781877"/>
                  </a:lnTo>
                  <a:lnTo>
                    <a:pt x="9030875" y="5755912"/>
                  </a:lnTo>
                  <a:lnTo>
                    <a:pt x="9041244" y="5735627"/>
                  </a:lnTo>
                  <a:lnTo>
                    <a:pt x="9051603" y="5715341"/>
                  </a:lnTo>
                  <a:lnTo>
                    <a:pt x="9061590" y="5694276"/>
                  </a:lnTo>
                  <a:lnTo>
                    <a:pt x="9122718" y="5645547"/>
                  </a:lnTo>
                  <a:lnTo>
                    <a:pt x="9161060" y="5623085"/>
                  </a:lnTo>
                  <a:lnTo>
                    <a:pt x="9203110" y="5606407"/>
                  </a:lnTo>
                  <a:lnTo>
                    <a:pt x="9245145" y="5589727"/>
                  </a:lnTo>
                  <a:lnTo>
                    <a:pt x="9289812" y="5578649"/>
                  </a:lnTo>
                  <a:lnTo>
                    <a:pt x="9344571" y="5565603"/>
                  </a:lnTo>
                  <a:lnTo>
                    <a:pt x="9396407" y="5553252"/>
                  </a:lnTo>
                  <a:lnTo>
                    <a:pt x="9432519" y="5549063"/>
                  </a:lnTo>
                  <a:lnTo>
                    <a:pt x="9458828" y="5551998"/>
                  </a:lnTo>
                  <a:lnTo>
                    <a:pt x="9485127" y="5554940"/>
                  </a:lnTo>
                  <a:lnTo>
                    <a:pt x="9515950" y="5579202"/>
                  </a:lnTo>
                  <a:lnTo>
                    <a:pt x="9541446" y="5612586"/>
                  </a:lnTo>
                  <a:lnTo>
                    <a:pt x="9556753" y="5634975"/>
                  </a:lnTo>
                  <a:lnTo>
                    <a:pt x="9572061" y="5657359"/>
                  </a:lnTo>
                  <a:lnTo>
                    <a:pt x="9592209" y="5683230"/>
                  </a:lnTo>
                  <a:lnTo>
                    <a:pt x="9622042" y="5709782"/>
                  </a:lnTo>
                  <a:lnTo>
                    <a:pt x="9673326" y="5727133"/>
                  </a:lnTo>
                  <a:lnTo>
                    <a:pt x="9715910" y="5734269"/>
                  </a:lnTo>
                  <a:lnTo>
                    <a:pt x="9758471" y="5741403"/>
                  </a:lnTo>
                  <a:lnTo>
                    <a:pt x="9801511" y="5747339"/>
                  </a:lnTo>
                  <a:lnTo>
                    <a:pt x="9829624" y="5751658"/>
                  </a:lnTo>
                  <a:lnTo>
                    <a:pt x="9853281" y="5776435"/>
                  </a:lnTo>
                  <a:lnTo>
                    <a:pt x="9872709" y="5808797"/>
                  </a:lnTo>
                  <a:lnTo>
                    <a:pt x="9890984" y="5844725"/>
                  </a:lnTo>
                  <a:lnTo>
                    <a:pt x="9911771" y="5875728"/>
                  </a:lnTo>
                  <a:lnTo>
                    <a:pt x="9937121" y="5899931"/>
                  </a:lnTo>
                  <a:lnTo>
                    <a:pt x="9980910" y="5896344"/>
                  </a:lnTo>
                  <a:lnTo>
                    <a:pt x="10015147" y="5868929"/>
                  </a:lnTo>
                  <a:lnTo>
                    <a:pt x="10044962" y="5851861"/>
                  </a:lnTo>
                  <a:lnTo>
                    <a:pt x="10075264" y="5834616"/>
                  </a:lnTo>
                  <a:lnTo>
                    <a:pt x="10107641" y="5818597"/>
                  </a:lnTo>
                  <a:lnTo>
                    <a:pt x="10140002" y="5802584"/>
                  </a:lnTo>
                  <a:lnTo>
                    <a:pt x="10174201" y="5787476"/>
                  </a:lnTo>
                  <a:lnTo>
                    <a:pt x="10208286" y="5775071"/>
                  </a:lnTo>
                  <a:lnTo>
                    <a:pt x="10242386" y="5762665"/>
                  </a:lnTo>
                  <a:lnTo>
                    <a:pt x="10276660" y="5752753"/>
                  </a:lnTo>
                  <a:lnTo>
                    <a:pt x="10311659" y="5746508"/>
                  </a:lnTo>
                  <a:lnTo>
                    <a:pt x="10346671" y="5740236"/>
                  </a:lnTo>
                  <a:lnTo>
                    <a:pt x="10382660" y="5738600"/>
                  </a:lnTo>
                  <a:lnTo>
                    <a:pt x="10417764" y="5741067"/>
                  </a:lnTo>
                  <a:lnTo>
                    <a:pt x="10446532" y="5747728"/>
                  </a:lnTo>
                  <a:lnTo>
                    <a:pt x="10473327" y="5767051"/>
                  </a:lnTo>
                  <a:lnTo>
                    <a:pt x="10480325" y="5795476"/>
                  </a:lnTo>
                  <a:lnTo>
                    <a:pt x="10471842" y="5835625"/>
                  </a:lnTo>
                  <a:lnTo>
                    <a:pt x="10461086" y="5867076"/>
                  </a:lnTo>
                  <a:lnTo>
                    <a:pt x="10458568" y="5897491"/>
                  </a:lnTo>
                  <a:lnTo>
                    <a:pt x="10456035" y="5927900"/>
                  </a:lnTo>
                  <a:lnTo>
                    <a:pt x="10461008" y="5957407"/>
                  </a:lnTo>
                  <a:lnTo>
                    <a:pt x="10484412" y="5992702"/>
                  </a:lnTo>
                  <a:lnTo>
                    <a:pt x="10480799" y="6024015"/>
                  </a:lnTo>
                  <a:lnTo>
                    <a:pt x="10479857" y="6059331"/>
                  </a:lnTo>
                  <a:lnTo>
                    <a:pt x="10485763" y="6090636"/>
                  </a:lnTo>
                  <a:lnTo>
                    <a:pt x="10519470" y="6099000"/>
                  </a:lnTo>
                  <a:lnTo>
                    <a:pt x="10558156" y="6087715"/>
                  </a:lnTo>
                  <a:lnTo>
                    <a:pt x="10579082" y="6076807"/>
                  </a:lnTo>
                  <a:lnTo>
                    <a:pt x="10598662" y="6063433"/>
                  </a:lnTo>
                  <a:lnTo>
                    <a:pt x="10637816" y="6036677"/>
                  </a:lnTo>
                  <a:lnTo>
                    <a:pt x="10673107" y="6001573"/>
                  </a:lnTo>
                  <a:lnTo>
                    <a:pt x="10692507" y="5983179"/>
                  </a:lnTo>
                  <a:lnTo>
                    <a:pt x="10719461" y="5975483"/>
                  </a:lnTo>
                  <a:lnTo>
                    <a:pt x="10747912" y="6012210"/>
                  </a:lnTo>
                  <a:lnTo>
                    <a:pt x="10749217" y="6042659"/>
                  </a:lnTo>
                  <a:lnTo>
                    <a:pt x="10730595" y="6072956"/>
                  </a:lnTo>
                  <a:lnTo>
                    <a:pt x="10706680" y="6100642"/>
                  </a:lnTo>
                  <a:lnTo>
                    <a:pt x="10681072" y="6126876"/>
                  </a:lnTo>
                  <a:lnTo>
                    <a:pt x="10659864" y="6154567"/>
                  </a:lnTo>
                  <a:lnTo>
                    <a:pt x="10645354" y="6184852"/>
                  </a:lnTo>
                  <a:lnTo>
                    <a:pt x="10656013" y="6217707"/>
                  </a:lnTo>
                  <a:lnTo>
                    <a:pt x="10680539" y="6219930"/>
                  </a:lnTo>
                  <a:lnTo>
                    <a:pt x="10704755" y="6222574"/>
                  </a:lnTo>
                  <a:lnTo>
                    <a:pt x="10728970" y="6225219"/>
                  </a:lnTo>
                  <a:lnTo>
                    <a:pt x="10753189" y="6228398"/>
                  </a:lnTo>
                  <a:lnTo>
                    <a:pt x="10770633" y="6259843"/>
                  </a:lnTo>
                  <a:lnTo>
                    <a:pt x="10777826" y="6298916"/>
                  </a:lnTo>
                  <a:lnTo>
                    <a:pt x="10782291" y="6339554"/>
                  </a:lnTo>
                  <a:lnTo>
                    <a:pt x="10786750" y="6380186"/>
                  </a:lnTo>
                  <a:lnTo>
                    <a:pt x="10787646" y="6422163"/>
                  </a:lnTo>
                  <a:lnTo>
                    <a:pt x="10784989" y="6444289"/>
                  </a:lnTo>
                  <a:lnTo>
                    <a:pt x="10774403" y="6465201"/>
                  </a:lnTo>
                  <a:lnTo>
                    <a:pt x="10804978" y="6482975"/>
                  </a:lnTo>
                  <a:lnTo>
                    <a:pt x="10833950" y="6494614"/>
                  </a:lnTo>
                  <a:lnTo>
                    <a:pt x="10852935" y="6512703"/>
                  </a:lnTo>
                  <a:lnTo>
                    <a:pt x="10865368" y="6548211"/>
                  </a:lnTo>
                  <a:lnTo>
                    <a:pt x="10864162" y="6575672"/>
                  </a:lnTo>
                  <a:lnTo>
                    <a:pt x="10904113" y="6575230"/>
                  </a:lnTo>
                  <a:lnTo>
                    <a:pt x="10916928" y="6551746"/>
                  </a:lnTo>
                  <a:lnTo>
                    <a:pt x="10942092" y="6533828"/>
                  </a:lnTo>
                  <a:lnTo>
                    <a:pt x="10991739" y="6536782"/>
                  </a:lnTo>
                  <a:lnTo>
                    <a:pt x="10982071" y="6577096"/>
                  </a:lnTo>
                  <a:lnTo>
                    <a:pt x="10975436" y="6611595"/>
                  </a:lnTo>
                  <a:lnTo>
                    <a:pt x="10976915" y="6639734"/>
                  </a:lnTo>
                  <a:lnTo>
                    <a:pt x="10988778" y="6669557"/>
                  </a:lnTo>
                  <a:lnTo>
                    <a:pt x="10994483" y="6697283"/>
                  </a:lnTo>
                  <a:lnTo>
                    <a:pt x="10962556" y="6770354"/>
                  </a:lnTo>
                  <a:lnTo>
                    <a:pt x="10944402" y="6827056"/>
                  </a:lnTo>
                  <a:lnTo>
                    <a:pt x="10927826" y="6905397"/>
                  </a:lnTo>
                  <a:lnTo>
                    <a:pt x="10904184" y="6933479"/>
                  </a:lnTo>
                  <a:lnTo>
                    <a:pt x="10882936" y="6928520"/>
                  </a:lnTo>
                  <a:lnTo>
                    <a:pt x="10864643" y="6911333"/>
                  </a:lnTo>
                  <a:lnTo>
                    <a:pt x="10846836" y="6888561"/>
                  </a:lnTo>
                  <a:lnTo>
                    <a:pt x="10827175" y="6870029"/>
                  </a:lnTo>
                  <a:lnTo>
                    <a:pt x="10804550" y="6858594"/>
                  </a:lnTo>
                  <a:lnTo>
                    <a:pt x="10789084" y="6880910"/>
                  </a:lnTo>
                  <a:lnTo>
                    <a:pt x="10783057" y="6945350"/>
                  </a:lnTo>
                  <a:lnTo>
                    <a:pt x="10836706" y="6969322"/>
                  </a:lnTo>
                  <a:lnTo>
                    <a:pt x="10844309" y="6994910"/>
                  </a:lnTo>
                  <a:lnTo>
                    <a:pt x="10840142" y="7029256"/>
                  </a:lnTo>
                  <a:lnTo>
                    <a:pt x="10862916" y="7040480"/>
                  </a:lnTo>
                  <a:lnTo>
                    <a:pt x="10895862" y="7046601"/>
                  </a:lnTo>
                  <a:lnTo>
                    <a:pt x="10908783" y="7076779"/>
                  </a:lnTo>
                  <a:lnTo>
                    <a:pt x="10940548" y="7092508"/>
                  </a:lnTo>
                  <a:lnTo>
                    <a:pt x="10985969" y="7092745"/>
                  </a:lnTo>
                  <a:lnTo>
                    <a:pt x="11031197" y="7089026"/>
                  </a:lnTo>
                  <a:lnTo>
                    <a:pt x="11076431" y="7085299"/>
                  </a:lnTo>
                  <a:lnTo>
                    <a:pt x="11120723" y="7077782"/>
                  </a:lnTo>
                  <a:lnTo>
                    <a:pt x="11141376" y="7067263"/>
                  </a:lnTo>
                  <a:lnTo>
                    <a:pt x="11160714" y="7035310"/>
                  </a:lnTo>
                  <a:lnTo>
                    <a:pt x="11168581" y="7011490"/>
                  </a:lnTo>
                  <a:lnTo>
                    <a:pt x="11176434" y="6987676"/>
                  </a:lnTo>
                  <a:lnTo>
                    <a:pt x="11182682" y="6962654"/>
                  </a:lnTo>
                  <a:lnTo>
                    <a:pt x="11211803" y="6936842"/>
                  </a:lnTo>
                  <a:lnTo>
                    <a:pt x="11266172" y="6936856"/>
                  </a:lnTo>
                  <a:lnTo>
                    <a:pt x="11295078" y="6938042"/>
                  </a:lnTo>
                  <a:lnTo>
                    <a:pt x="11312501" y="6986581"/>
                  </a:lnTo>
                  <a:lnTo>
                    <a:pt x="11318451" y="7024033"/>
                  </a:lnTo>
                  <a:lnTo>
                    <a:pt x="11322283" y="7060457"/>
                  </a:lnTo>
                  <a:lnTo>
                    <a:pt x="11320978" y="7098886"/>
                  </a:lnTo>
                  <a:lnTo>
                    <a:pt x="11363000" y="7135777"/>
                  </a:lnTo>
                  <a:lnTo>
                    <a:pt x="11406960" y="7127230"/>
                  </a:lnTo>
                  <a:lnTo>
                    <a:pt x="11446068" y="7131186"/>
                  </a:lnTo>
                  <a:lnTo>
                    <a:pt x="11469310" y="7133541"/>
                  </a:lnTo>
                  <a:lnTo>
                    <a:pt x="11481879" y="7156419"/>
                  </a:lnTo>
                  <a:lnTo>
                    <a:pt x="11503193" y="7177438"/>
                  </a:lnTo>
                  <a:lnTo>
                    <a:pt x="11527325" y="7198323"/>
                  </a:lnTo>
                  <a:lnTo>
                    <a:pt x="11560675" y="7213676"/>
                  </a:lnTo>
                  <a:lnTo>
                    <a:pt x="11607934" y="7218240"/>
                  </a:lnTo>
                  <a:lnTo>
                    <a:pt x="11640639" y="7212693"/>
                  </a:lnTo>
                  <a:lnTo>
                    <a:pt x="11675867" y="7204746"/>
                  </a:lnTo>
                  <a:lnTo>
                    <a:pt x="11709943" y="7196477"/>
                  </a:lnTo>
                  <a:lnTo>
                    <a:pt x="11726590" y="7167545"/>
                  </a:lnTo>
                  <a:lnTo>
                    <a:pt x="11739541" y="7130205"/>
                  </a:lnTo>
                  <a:lnTo>
                    <a:pt x="11746669" y="7097184"/>
                  </a:lnTo>
                  <a:lnTo>
                    <a:pt x="11769998" y="7078151"/>
                  </a:lnTo>
                  <a:lnTo>
                    <a:pt x="11796784" y="7067255"/>
                  </a:lnTo>
                  <a:lnTo>
                    <a:pt x="11825567" y="7063181"/>
                  </a:lnTo>
                  <a:lnTo>
                    <a:pt x="11852973" y="7061783"/>
                  </a:lnTo>
                  <a:lnTo>
                    <a:pt x="11882692" y="7068621"/>
                  </a:lnTo>
                  <a:lnTo>
                    <a:pt x="11901280" y="7078566"/>
                  </a:lnTo>
                  <a:lnTo>
                    <a:pt x="11914873" y="7101781"/>
                  </a:lnTo>
                  <a:lnTo>
                    <a:pt x="11917288" y="7122733"/>
                  </a:lnTo>
                  <a:lnTo>
                    <a:pt x="11945262" y="7143434"/>
                  </a:lnTo>
                  <a:lnTo>
                    <a:pt x="11973483" y="7135546"/>
                  </a:lnTo>
                  <a:lnTo>
                    <a:pt x="12000831" y="7134504"/>
                  </a:lnTo>
                  <a:lnTo>
                    <a:pt x="12028234" y="7133910"/>
                  </a:lnTo>
                  <a:lnTo>
                    <a:pt x="12055621" y="7133318"/>
                  </a:lnTo>
                  <a:lnTo>
                    <a:pt x="12082199" y="7132777"/>
                  </a:lnTo>
                  <a:lnTo>
                    <a:pt x="12109844" y="7128470"/>
                  </a:lnTo>
                  <a:lnTo>
                    <a:pt x="12141126" y="7123584"/>
                  </a:lnTo>
                  <a:lnTo>
                    <a:pt x="12172622" y="7116170"/>
                  </a:lnTo>
                  <a:lnTo>
                    <a:pt x="12203699" y="7108065"/>
                  </a:lnTo>
                  <a:lnTo>
                    <a:pt x="12234773" y="7099967"/>
                  </a:lnTo>
                  <a:lnTo>
                    <a:pt x="12266244" y="7091314"/>
                  </a:lnTo>
                  <a:lnTo>
                    <a:pt x="12297550" y="7086302"/>
                  </a:lnTo>
                  <a:lnTo>
                    <a:pt x="12348785" y="7078104"/>
                  </a:lnTo>
                  <a:lnTo>
                    <a:pt x="12398657" y="7075447"/>
                  </a:lnTo>
                  <a:lnTo>
                    <a:pt x="12448534" y="7069979"/>
                  </a:lnTo>
                  <a:lnTo>
                    <a:pt x="12473475" y="7067249"/>
                  </a:lnTo>
                  <a:lnTo>
                    <a:pt x="12498410" y="7063814"/>
                  </a:lnTo>
                  <a:lnTo>
                    <a:pt x="12523344" y="7059098"/>
                  </a:lnTo>
                  <a:lnTo>
                    <a:pt x="12573025" y="7047286"/>
                  </a:lnTo>
                  <a:lnTo>
                    <a:pt x="12598152" y="7040059"/>
                  </a:lnTo>
                  <a:lnTo>
                    <a:pt x="12605677" y="7019846"/>
                  </a:lnTo>
                  <a:lnTo>
                    <a:pt x="12602874" y="6993347"/>
                  </a:lnTo>
                  <a:lnTo>
                    <a:pt x="12596800" y="6967964"/>
                  </a:lnTo>
                  <a:lnTo>
                    <a:pt x="12590745" y="6942586"/>
                  </a:lnTo>
                  <a:lnTo>
                    <a:pt x="12581375" y="6918145"/>
                  </a:lnTo>
                  <a:lnTo>
                    <a:pt x="12565522" y="6886352"/>
                  </a:lnTo>
                  <a:lnTo>
                    <a:pt x="12453981" y="6865953"/>
                  </a:lnTo>
                  <a:lnTo>
                    <a:pt x="12437387" y="6821187"/>
                  </a:lnTo>
                  <a:lnTo>
                    <a:pt x="12437660" y="6789783"/>
                  </a:lnTo>
                  <a:lnTo>
                    <a:pt x="12438119" y="6758370"/>
                  </a:lnTo>
                  <a:lnTo>
                    <a:pt x="12443297" y="6725977"/>
                  </a:lnTo>
                  <a:lnTo>
                    <a:pt x="12475744" y="6687765"/>
                  </a:lnTo>
                  <a:lnTo>
                    <a:pt x="12504226" y="6693503"/>
                  </a:lnTo>
                  <a:lnTo>
                    <a:pt x="12543328" y="6697672"/>
                  </a:lnTo>
                  <a:lnTo>
                    <a:pt x="12572327" y="6691841"/>
                  </a:lnTo>
                  <a:lnTo>
                    <a:pt x="12588649" y="6653755"/>
                  </a:lnTo>
                  <a:lnTo>
                    <a:pt x="12615187" y="6653822"/>
                  </a:lnTo>
                  <a:lnTo>
                    <a:pt x="12636249" y="6653755"/>
                  </a:lnTo>
                  <a:lnTo>
                    <a:pt x="12657315" y="6653690"/>
                  </a:lnTo>
                  <a:lnTo>
                    <a:pt x="12682501" y="6653360"/>
                  </a:lnTo>
                  <a:lnTo>
                    <a:pt x="12706980" y="6652397"/>
                  </a:lnTo>
                  <a:lnTo>
                    <a:pt x="12731462" y="6651428"/>
                  </a:lnTo>
                  <a:lnTo>
                    <a:pt x="12755823" y="6649904"/>
                  </a:lnTo>
                  <a:lnTo>
                    <a:pt x="12794159" y="6644002"/>
                  </a:lnTo>
                  <a:lnTo>
                    <a:pt x="12813072" y="6633352"/>
                  </a:lnTo>
                  <a:lnTo>
                    <a:pt x="12782783" y="6586520"/>
                  </a:lnTo>
                  <a:lnTo>
                    <a:pt x="12768629" y="6551989"/>
                  </a:lnTo>
                  <a:lnTo>
                    <a:pt x="12760025" y="6524535"/>
                  </a:lnTo>
                  <a:lnTo>
                    <a:pt x="12751451" y="6497087"/>
                  </a:lnTo>
                  <a:lnTo>
                    <a:pt x="12742342" y="6463328"/>
                  </a:lnTo>
                  <a:lnTo>
                    <a:pt x="12727695" y="6440207"/>
                  </a:lnTo>
                  <a:lnTo>
                    <a:pt x="12705615" y="6433400"/>
                  </a:lnTo>
                  <a:lnTo>
                    <a:pt x="12683561" y="6426602"/>
                  </a:lnTo>
                  <a:lnTo>
                    <a:pt x="12648617" y="6422611"/>
                  </a:lnTo>
                  <a:lnTo>
                    <a:pt x="12591365" y="6417078"/>
                  </a:lnTo>
                  <a:lnTo>
                    <a:pt x="12591241" y="6380311"/>
                  </a:lnTo>
                  <a:lnTo>
                    <a:pt x="12613847" y="6310728"/>
                  </a:lnTo>
                  <a:lnTo>
                    <a:pt x="12599656" y="6282165"/>
                  </a:lnTo>
                  <a:lnTo>
                    <a:pt x="12575254" y="6250076"/>
                  </a:lnTo>
                  <a:lnTo>
                    <a:pt x="12593669" y="6198741"/>
                  </a:lnTo>
                  <a:lnTo>
                    <a:pt x="12602577" y="6161717"/>
                  </a:lnTo>
                  <a:lnTo>
                    <a:pt x="12604970" y="6124640"/>
                  </a:lnTo>
                  <a:lnTo>
                    <a:pt x="12607364" y="6087557"/>
                  </a:lnTo>
                  <a:lnTo>
                    <a:pt x="12603578" y="6051648"/>
                  </a:lnTo>
                  <a:lnTo>
                    <a:pt x="12599529" y="6015824"/>
                  </a:lnTo>
                  <a:lnTo>
                    <a:pt x="12595442" y="5980001"/>
                  </a:lnTo>
                  <a:lnTo>
                    <a:pt x="12590819" y="5944758"/>
                  </a:lnTo>
                  <a:lnTo>
                    <a:pt x="12591365" y="5912448"/>
                  </a:lnTo>
                  <a:lnTo>
                    <a:pt x="12591960" y="5880140"/>
                  </a:lnTo>
                  <a:lnTo>
                    <a:pt x="12596866" y="5850569"/>
                  </a:lnTo>
                  <a:lnTo>
                    <a:pt x="12613128" y="5824038"/>
                  </a:lnTo>
                  <a:lnTo>
                    <a:pt x="12633211" y="5810538"/>
                  </a:lnTo>
                  <a:lnTo>
                    <a:pt x="12666179" y="5794110"/>
                  </a:lnTo>
                  <a:lnTo>
                    <a:pt x="12701442" y="5786757"/>
                  </a:lnTo>
                  <a:lnTo>
                    <a:pt x="12726027" y="5790034"/>
                  </a:lnTo>
                  <a:lnTo>
                    <a:pt x="12754589" y="5794110"/>
                  </a:lnTo>
                  <a:lnTo>
                    <a:pt x="12792590" y="5787944"/>
                  </a:lnTo>
                  <a:lnTo>
                    <a:pt x="12831617" y="5764485"/>
                  </a:lnTo>
                  <a:lnTo>
                    <a:pt x="12871571" y="5757384"/>
                  </a:lnTo>
                  <a:lnTo>
                    <a:pt x="12897653" y="5752773"/>
                  </a:lnTo>
                  <a:lnTo>
                    <a:pt x="12919423" y="5758504"/>
                  </a:lnTo>
                  <a:lnTo>
                    <a:pt x="12940934" y="5766905"/>
                  </a:lnTo>
                  <a:lnTo>
                    <a:pt x="12962462" y="5775308"/>
                  </a:lnTo>
                  <a:lnTo>
                    <a:pt x="12983487" y="5786631"/>
                  </a:lnTo>
                  <a:lnTo>
                    <a:pt x="13007591" y="5794110"/>
                  </a:lnTo>
                  <a:lnTo>
                    <a:pt x="13035738" y="5802868"/>
                  </a:lnTo>
                  <a:lnTo>
                    <a:pt x="13062915" y="5805058"/>
                  </a:lnTo>
                  <a:lnTo>
                    <a:pt x="13087837" y="5811791"/>
                  </a:lnTo>
                  <a:lnTo>
                    <a:pt x="13112760" y="5818532"/>
                  </a:lnTo>
                  <a:lnTo>
                    <a:pt x="13135341" y="5829472"/>
                  </a:lnTo>
                  <a:lnTo>
                    <a:pt x="13154490" y="5858041"/>
                  </a:lnTo>
                  <a:lnTo>
                    <a:pt x="13164009" y="5912448"/>
                  </a:lnTo>
                  <a:lnTo>
                    <a:pt x="13176973" y="5934318"/>
                  </a:lnTo>
                  <a:lnTo>
                    <a:pt x="13210574" y="5948656"/>
                  </a:lnTo>
                  <a:lnTo>
                    <a:pt x="13246984" y="5958692"/>
                  </a:lnTo>
                  <a:lnTo>
                    <a:pt x="13283382" y="5968736"/>
                  </a:lnTo>
                  <a:lnTo>
                    <a:pt x="13322096" y="5975167"/>
                  </a:lnTo>
                  <a:lnTo>
                    <a:pt x="13343555" y="5983179"/>
                  </a:lnTo>
                  <a:lnTo>
                    <a:pt x="13365746" y="5991468"/>
                  </a:lnTo>
                  <a:lnTo>
                    <a:pt x="13388743" y="6011571"/>
                  </a:lnTo>
                  <a:lnTo>
                    <a:pt x="13410208" y="6022623"/>
                  </a:lnTo>
                  <a:lnTo>
                    <a:pt x="13434207" y="6034988"/>
                  </a:lnTo>
                  <a:lnTo>
                    <a:pt x="13460323" y="6044216"/>
                  </a:lnTo>
                  <a:lnTo>
                    <a:pt x="13485016" y="6055268"/>
                  </a:lnTo>
                  <a:lnTo>
                    <a:pt x="13511461" y="6055730"/>
                  </a:lnTo>
                  <a:lnTo>
                    <a:pt x="13529906" y="6045746"/>
                  </a:lnTo>
                  <a:lnTo>
                    <a:pt x="13548333" y="6035740"/>
                  </a:lnTo>
                  <a:lnTo>
                    <a:pt x="13569336" y="6020177"/>
                  </a:lnTo>
                  <a:lnTo>
                    <a:pt x="13589754" y="6003584"/>
                  </a:lnTo>
                  <a:lnTo>
                    <a:pt x="13630585" y="5970392"/>
                  </a:lnTo>
                  <a:lnTo>
                    <a:pt x="13669811" y="5932894"/>
                  </a:lnTo>
                  <a:lnTo>
                    <a:pt x="13693729" y="5911856"/>
                  </a:lnTo>
                  <a:lnTo>
                    <a:pt x="13705372" y="5875722"/>
                  </a:lnTo>
                  <a:lnTo>
                    <a:pt x="13711136" y="5833197"/>
                  </a:lnTo>
                  <a:lnTo>
                    <a:pt x="13710810" y="5810433"/>
                  </a:lnTo>
                  <a:lnTo>
                    <a:pt x="13710153" y="5764901"/>
                  </a:lnTo>
                  <a:lnTo>
                    <a:pt x="13702962" y="5718789"/>
                  </a:lnTo>
                  <a:lnTo>
                    <a:pt x="13697205" y="5694817"/>
                  </a:lnTo>
                  <a:lnTo>
                    <a:pt x="13691850" y="5672626"/>
                  </a:lnTo>
                  <a:lnTo>
                    <a:pt x="13676207" y="5652649"/>
                  </a:lnTo>
                  <a:lnTo>
                    <a:pt x="13670003" y="5632245"/>
                  </a:lnTo>
                  <a:lnTo>
                    <a:pt x="13643397" y="5544724"/>
                  </a:lnTo>
                  <a:lnTo>
                    <a:pt x="13633829" y="5457420"/>
                  </a:lnTo>
                  <a:lnTo>
                    <a:pt x="13619668" y="5367010"/>
                  </a:lnTo>
                  <a:lnTo>
                    <a:pt x="13624834" y="5335256"/>
                  </a:lnTo>
                  <a:lnTo>
                    <a:pt x="13644492" y="5313856"/>
                  </a:lnTo>
                  <a:lnTo>
                    <a:pt x="13682247" y="5303079"/>
                  </a:lnTo>
                  <a:lnTo>
                    <a:pt x="13723426" y="5298278"/>
                  </a:lnTo>
                  <a:lnTo>
                    <a:pt x="13763476" y="5291551"/>
                  </a:lnTo>
                  <a:lnTo>
                    <a:pt x="13797859" y="5273153"/>
                  </a:lnTo>
                  <a:lnTo>
                    <a:pt x="13823538" y="5241200"/>
                  </a:lnTo>
                  <a:lnTo>
                    <a:pt x="13827786" y="5209222"/>
                  </a:lnTo>
                  <a:lnTo>
                    <a:pt x="13834843" y="5156476"/>
                  </a:lnTo>
                  <a:lnTo>
                    <a:pt x="13819966" y="5086635"/>
                  </a:lnTo>
                  <a:lnTo>
                    <a:pt x="13811464" y="5033758"/>
                  </a:lnTo>
                  <a:lnTo>
                    <a:pt x="13804835" y="4992697"/>
                  </a:lnTo>
                  <a:lnTo>
                    <a:pt x="13793772" y="4950701"/>
                  </a:lnTo>
                  <a:lnTo>
                    <a:pt x="13788334" y="4909984"/>
                  </a:lnTo>
                  <a:lnTo>
                    <a:pt x="13785122" y="4885286"/>
                  </a:lnTo>
                  <a:lnTo>
                    <a:pt x="13787422" y="4858169"/>
                  </a:lnTo>
                  <a:lnTo>
                    <a:pt x="13782902" y="4833814"/>
                  </a:lnTo>
                  <a:lnTo>
                    <a:pt x="13777724" y="4805290"/>
                  </a:lnTo>
                  <a:lnTo>
                    <a:pt x="13762475" y="4778804"/>
                  </a:lnTo>
                  <a:lnTo>
                    <a:pt x="13759777" y="4749478"/>
                  </a:lnTo>
                  <a:lnTo>
                    <a:pt x="13750256" y="4654266"/>
                  </a:lnTo>
                  <a:lnTo>
                    <a:pt x="13709328" y="4623957"/>
                  </a:lnTo>
                  <a:lnTo>
                    <a:pt x="13654913" y="4620560"/>
                  </a:lnTo>
                  <a:lnTo>
                    <a:pt x="13619668" y="4621622"/>
                  </a:lnTo>
                  <a:lnTo>
                    <a:pt x="13620803" y="4599812"/>
                  </a:lnTo>
                  <a:lnTo>
                    <a:pt x="13616366" y="4571633"/>
                  </a:lnTo>
                  <a:lnTo>
                    <a:pt x="13606072" y="4552251"/>
                  </a:lnTo>
                  <a:lnTo>
                    <a:pt x="13564047" y="4539898"/>
                  </a:lnTo>
                  <a:lnTo>
                    <a:pt x="13536706" y="4546809"/>
                  </a:lnTo>
                  <a:lnTo>
                    <a:pt x="13509356" y="4553721"/>
                  </a:lnTo>
                  <a:lnTo>
                    <a:pt x="13482008" y="4566661"/>
                  </a:lnTo>
                  <a:lnTo>
                    <a:pt x="13448296" y="4574014"/>
                  </a:lnTo>
                  <a:lnTo>
                    <a:pt x="13433329" y="4549533"/>
                  </a:lnTo>
                  <a:lnTo>
                    <a:pt x="13417898" y="4507108"/>
                  </a:lnTo>
                  <a:lnTo>
                    <a:pt x="13421268" y="4476152"/>
                  </a:lnTo>
                  <a:lnTo>
                    <a:pt x="13429236" y="4444800"/>
                  </a:lnTo>
                  <a:lnTo>
                    <a:pt x="13437227" y="4413441"/>
                  </a:lnTo>
                  <a:lnTo>
                    <a:pt x="13449638" y="4381911"/>
                  </a:lnTo>
                  <a:lnTo>
                    <a:pt x="13449638" y="4341425"/>
                  </a:lnTo>
                  <a:lnTo>
                    <a:pt x="13449638" y="4303933"/>
                  </a:lnTo>
                  <a:lnTo>
                    <a:pt x="13437856" y="4210292"/>
                  </a:lnTo>
                  <a:lnTo>
                    <a:pt x="13431965" y="4174119"/>
                  </a:lnTo>
                  <a:lnTo>
                    <a:pt x="13424737" y="4129781"/>
                  </a:lnTo>
                  <a:lnTo>
                    <a:pt x="13401536" y="4091570"/>
                  </a:lnTo>
                  <a:lnTo>
                    <a:pt x="13404760" y="4046257"/>
                  </a:lnTo>
                  <a:lnTo>
                    <a:pt x="13412760" y="4019118"/>
                  </a:lnTo>
                  <a:lnTo>
                    <a:pt x="13443347" y="4011436"/>
                  </a:lnTo>
                  <a:lnTo>
                    <a:pt x="13476843" y="3998647"/>
                  </a:lnTo>
                  <a:lnTo>
                    <a:pt x="13510280" y="3984600"/>
                  </a:lnTo>
                  <a:lnTo>
                    <a:pt x="13541341" y="3963735"/>
                  </a:lnTo>
                  <a:lnTo>
                    <a:pt x="13563895" y="3933365"/>
                  </a:lnTo>
                  <a:lnTo>
                    <a:pt x="13539527" y="3916271"/>
                  </a:lnTo>
                  <a:lnTo>
                    <a:pt x="13509362" y="3904208"/>
                  </a:lnTo>
                  <a:lnTo>
                    <a:pt x="13489084" y="3878957"/>
                  </a:lnTo>
                  <a:lnTo>
                    <a:pt x="13507399" y="3836491"/>
                  </a:lnTo>
                  <a:lnTo>
                    <a:pt x="13506435" y="3797609"/>
                  </a:lnTo>
                  <a:lnTo>
                    <a:pt x="13502689" y="3766059"/>
                  </a:lnTo>
                  <a:lnTo>
                    <a:pt x="13498903" y="3734502"/>
                  </a:lnTo>
                  <a:lnTo>
                    <a:pt x="13491143" y="3710332"/>
                  </a:lnTo>
                  <a:lnTo>
                    <a:pt x="13588371" y="3649078"/>
                  </a:lnTo>
                  <a:lnTo>
                    <a:pt x="13587056" y="3613288"/>
                  </a:lnTo>
                  <a:lnTo>
                    <a:pt x="13558971" y="3529743"/>
                  </a:lnTo>
                  <a:lnTo>
                    <a:pt x="13563420" y="3495673"/>
                  </a:lnTo>
                  <a:lnTo>
                    <a:pt x="13677460" y="3456401"/>
                  </a:lnTo>
                  <a:lnTo>
                    <a:pt x="13707836" y="3443033"/>
                  </a:lnTo>
                  <a:lnTo>
                    <a:pt x="13708438" y="3386443"/>
                  </a:lnTo>
                  <a:lnTo>
                    <a:pt x="13703992" y="3325354"/>
                  </a:lnTo>
                  <a:lnTo>
                    <a:pt x="13699533" y="3264266"/>
                  </a:lnTo>
                  <a:lnTo>
                    <a:pt x="13689053" y="3198620"/>
                  </a:lnTo>
                  <a:lnTo>
                    <a:pt x="13676787" y="3173013"/>
                  </a:lnTo>
                  <a:lnTo>
                    <a:pt x="13637977" y="3158700"/>
                  </a:lnTo>
                  <a:lnTo>
                    <a:pt x="13584322" y="3159176"/>
                  </a:lnTo>
                  <a:lnTo>
                    <a:pt x="13532604" y="3163489"/>
                  </a:lnTo>
                  <a:lnTo>
                    <a:pt x="13480898" y="3167802"/>
                  </a:lnTo>
                  <a:lnTo>
                    <a:pt x="13430777" y="3175696"/>
                  </a:lnTo>
                  <a:lnTo>
                    <a:pt x="13407867" y="3192453"/>
                  </a:lnTo>
                  <a:lnTo>
                    <a:pt x="13406906" y="3252547"/>
                  </a:lnTo>
                  <a:lnTo>
                    <a:pt x="13397942" y="3311748"/>
                  </a:lnTo>
                  <a:lnTo>
                    <a:pt x="13393465" y="3341346"/>
                  </a:lnTo>
                  <a:lnTo>
                    <a:pt x="13386988" y="3371366"/>
                  </a:lnTo>
                  <a:lnTo>
                    <a:pt x="13377543" y="3393360"/>
                  </a:lnTo>
                  <a:lnTo>
                    <a:pt x="13368080" y="3415354"/>
                  </a:lnTo>
                  <a:lnTo>
                    <a:pt x="13338095" y="3430088"/>
                  </a:lnTo>
                  <a:lnTo>
                    <a:pt x="13294693" y="3431704"/>
                  </a:lnTo>
                  <a:lnTo>
                    <a:pt x="13249260" y="3430893"/>
                  </a:lnTo>
                  <a:lnTo>
                    <a:pt x="13207514" y="3445052"/>
                  </a:lnTo>
                  <a:lnTo>
                    <a:pt x="13196085" y="3421126"/>
                  </a:lnTo>
                  <a:lnTo>
                    <a:pt x="13191905" y="3376076"/>
                  </a:lnTo>
                  <a:lnTo>
                    <a:pt x="13191192" y="3333513"/>
                  </a:lnTo>
                  <a:lnTo>
                    <a:pt x="13190494" y="3290948"/>
                  </a:lnTo>
                  <a:lnTo>
                    <a:pt x="13193105" y="3250389"/>
                  </a:lnTo>
                  <a:lnTo>
                    <a:pt x="13267364" y="3223338"/>
                  </a:lnTo>
                  <a:lnTo>
                    <a:pt x="13267364" y="3191511"/>
                  </a:lnTo>
                  <a:lnTo>
                    <a:pt x="13271714" y="3169233"/>
                  </a:lnTo>
                  <a:lnTo>
                    <a:pt x="13284786" y="3138698"/>
                  </a:lnTo>
                  <a:lnTo>
                    <a:pt x="13304084" y="3124045"/>
                  </a:lnTo>
                  <a:lnTo>
                    <a:pt x="13323466" y="3112227"/>
                  </a:lnTo>
                  <a:lnTo>
                    <a:pt x="13345803" y="3113032"/>
                  </a:lnTo>
                  <a:lnTo>
                    <a:pt x="13358497" y="3095476"/>
                  </a:lnTo>
                  <a:lnTo>
                    <a:pt x="13353942" y="3071247"/>
                  </a:lnTo>
                  <a:lnTo>
                    <a:pt x="13344017" y="3048981"/>
                  </a:lnTo>
                  <a:lnTo>
                    <a:pt x="13324496" y="3035627"/>
                  </a:lnTo>
                  <a:lnTo>
                    <a:pt x="13298181" y="3036953"/>
                  </a:lnTo>
                  <a:lnTo>
                    <a:pt x="13271683" y="3045479"/>
                  </a:lnTo>
                  <a:lnTo>
                    <a:pt x="13244240" y="3053314"/>
                  </a:lnTo>
                  <a:lnTo>
                    <a:pt x="13216812" y="3061150"/>
                  </a:lnTo>
                  <a:lnTo>
                    <a:pt x="13189490" y="3067678"/>
                  </a:lnTo>
                  <a:lnTo>
                    <a:pt x="13163988" y="3064196"/>
                  </a:lnTo>
                  <a:lnTo>
                    <a:pt x="13131732" y="3020986"/>
                  </a:lnTo>
                  <a:lnTo>
                    <a:pt x="13135617" y="2943944"/>
                  </a:lnTo>
                  <a:lnTo>
                    <a:pt x="13119999" y="2929277"/>
                  </a:lnTo>
                  <a:lnTo>
                    <a:pt x="13095381" y="2934903"/>
                  </a:lnTo>
                  <a:lnTo>
                    <a:pt x="13053399" y="2946609"/>
                  </a:lnTo>
                  <a:lnTo>
                    <a:pt x="13008949" y="2948574"/>
                  </a:lnTo>
                  <a:lnTo>
                    <a:pt x="12954481" y="2950987"/>
                  </a:lnTo>
                  <a:lnTo>
                    <a:pt x="12897666" y="2950501"/>
                  </a:lnTo>
                  <a:lnTo>
                    <a:pt x="12847083" y="3031545"/>
                  </a:lnTo>
                  <a:lnTo>
                    <a:pt x="12819878" y="3051942"/>
                  </a:lnTo>
                  <a:lnTo>
                    <a:pt x="12626733" y="3065548"/>
                  </a:lnTo>
                  <a:lnTo>
                    <a:pt x="12596773" y="3047254"/>
                  </a:lnTo>
                  <a:lnTo>
                    <a:pt x="12583214" y="3026104"/>
                  </a:lnTo>
                  <a:lnTo>
                    <a:pt x="12569636" y="3004947"/>
                  </a:lnTo>
                  <a:lnTo>
                    <a:pt x="12558279" y="2981417"/>
                  </a:lnTo>
                  <a:lnTo>
                    <a:pt x="12515209" y="2946873"/>
                  </a:lnTo>
                  <a:lnTo>
                    <a:pt x="12481871" y="2916371"/>
                  </a:lnTo>
                  <a:lnTo>
                    <a:pt x="12444466" y="2896884"/>
                  </a:lnTo>
                  <a:lnTo>
                    <a:pt x="12417946" y="2887215"/>
                  </a:lnTo>
                  <a:lnTo>
                    <a:pt x="12362185" y="2855309"/>
                  </a:lnTo>
                  <a:lnTo>
                    <a:pt x="12321794" y="2821048"/>
                  </a:lnTo>
                  <a:lnTo>
                    <a:pt x="12274442" y="2801672"/>
                  </a:lnTo>
                  <a:lnTo>
                    <a:pt x="12221056" y="2843788"/>
                  </a:lnTo>
                  <a:lnTo>
                    <a:pt x="12170256" y="2861601"/>
                  </a:lnTo>
                  <a:lnTo>
                    <a:pt x="12135703" y="2903683"/>
                  </a:lnTo>
                  <a:lnTo>
                    <a:pt x="12093411" y="2955241"/>
                  </a:lnTo>
                  <a:lnTo>
                    <a:pt x="12054626" y="3010309"/>
                  </a:lnTo>
                  <a:lnTo>
                    <a:pt x="12011924" y="3061466"/>
                  </a:lnTo>
                  <a:lnTo>
                    <a:pt x="11997138" y="3079167"/>
                  </a:lnTo>
                  <a:lnTo>
                    <a:pt x="11978078" y="3092963"/>
                  </a:lnTo>
                  <a:lnTo>
                    <a:pt x="11962957" y="3110433"/>
                  </a:lnTo>
                  <a:lnTo>
                    <a:pt x="11921983" y="3157804"/>
                  </a:lnTo>
                  <a:lnTo>
                    <a:pt x="11891535" y="3214737"/>
                  </a:lnTo>
                  <a:lnTo>
                    <a:pt x="11859583" y="3268216"/>
                  </a:lnTo>
                  <a:lnTo>
                    <a:pt x="11852756" y="3304943"/>
                  </a:lnTo>
                  <a:lnTo>
                    <a:pt x="11882425" y="3321622"/>
                  </a:lnTo>
                  <a:lnTo>
                    <a:pt x="11917794" y="3340840"/>
                  </a:lnTo>
                  <a:lnTo>
                    <a:pt x="11942533" y="3364792"/>
                  </a:lnTo>
                  <a:lnTo>
                    <a:pt x="11877244" y="3389272"/>
                  </a:lnTo>
                  <a:lnTo>
                    <a:pt x="11851094" y="3408127"/>
                  </a:lnTo>
                  <a:lnTo>
                    <a:pt x="11821775" y="3432983"/>
                  </a:lnTo>
                  <a:lnTo>
                    <a:pt x="11791541" y="3440964"/>
                  </a:lnTo>
                  <a:lnTo>
                    <a:pt x="11760051" y="3413238"/>
                  </a:lnTo>
                  <a:lnTo>
                    <a:pt x="11743941" y="3397436"/>
                  </a:lnTo>
                  <a:lnTo>
                    <a:pt x="11727836" y="3381629"/>
                  </a:lnTo>
                  <a:lnTo>
                    <a:pt x="11711592" y="3367878"/>
                  </a:lnTo>
                  <a:lnTo>
                    <a:pt x="11679430" y="3376840"/>
                  </a:lnTo>
                  <a:lnTo>
                    <a:pt x="11664544" y="3400450"/>
                  </a:lnTo>
                  <a:lnTo>
                    <a:pt x="11648731" y="3421917"/>
                  </a:lnTo>
                  <a:lnTo>
                    <a:pt x="11632915" y="3443384"/>
                  </a:lnTo>
                  <a:lnTo>
                    <a:pt x="11616144" y="3462403"/>
                  </a:lnTo>
                  <a:lnTo>
                    <a:pt x="11591649" y="3457832"/>
                  </a:lnTo>
                  <a:lnTo>
                    <a:pt x="11531362" y="3406398"/>
                  </a:lnTo>
                  <a:lnTo>
                    <a:pt x="11541563" y="3361725"/>
                  </a:lnTo>
                  <a:lnTo>
                    <a:pt x="11565800" y="3334263"/>
                  </a:lnTo>
                  <a:lnTo>
                    <a:pt x="11591597" y="3307660"/>
                  </a:lnTo>
                  <a:lnTo>
                    <a:pt x="11617403" y="3281056"/>
                  </a:lnTo>
                  <a:lnTo>
                    <a:pt x="11644524" y="3254625"/>
                  </a:lnTo>
                  <a:lnTo>
                    <a:pt x="11663695" y="3224690"/>
                  </a:lnTo>
                  <a:lnTo>
                    <a:pt x="11643116" y="3188833"/>
                  </a:lnTo>
                  <a:lnTo>
                    <a:pt x="11541814" y="3102572"/>
                  </a:lnTo>
                  <a:lnTo>
                    <a:pt x="11511350" y="3081863"/>
                  </a:lnTo>
                  <a:lnTo>
                    <a:pt x="11528286" y="3005844"/>
                  </a:lnTo>
                  <a:lnTo>
                    <a:pt x="11570506" y="2959258"/>
                  </a:lnTo>
                  <a:lnTo>
                    <a:pt x="11590220" y="2902317"/>
                  </a:lnTo>
                  <a:lnTo>
                    <a:pt x="11571564" y="2867602"/>
                  </a:lnTo>
                  <a:lnTo>
                    <a:pt x="11547708" y="2837160"/>
                  </a:lnTo>
                  <a:lnTo>
                    <a:pt x="11520847" y="2809824"/>
                  </a:lnTo>
                  <a:lnTo>
                    <a:pt x="11493987" y="2782495"/>
                  </a:lnTo>
                  <a:lnTo>
                    <a:pt x="11464559" y="2758687"/>
                  </a:lnTo>
                  <a:lnTo>
                    <a:pt x="11433795" y="2735018"/>
                  </a:lnTo>
                  <a:lnTo>
                    <a:pt x="11372277" y="2687673"/>
                  </a:lnTo>
                  <a:lnTo>
                    <a:pt x="11306988" y="2643223"/>
                  </a:lnTo>
                  <a:lnTo>
                    <a:pt x="11255614" y="2588116"/>
                  </a:lnTo>
                  <a:lnTo>
                    <a:pt x="11214984" y="2544570"/>
                  </a:lnTo>
                  <a:lnTo>
                    <a:pt x="11173700" y="2501064"/>
                  </a:lnTo>
                  <a:lnTo>
                    <a:pt x="11122311" y="2469778"/>
                  </a:lnTo>
                  <a:lnTo>
                    <a:pt x="11094567" y="2452901"/>
                  </a:lnTo>
                  <a:lnTo>
                    <a:pt x="11063734" y="2443358"/>
                  </a:lnTo>
                  <a:lnTo>
                    <a:pt x="11039342" y="2420810"/>
                  </a:lnTo>
                  <a:lnTo>
                    <a:pt x="11031302" y="2400598"/>
                  </a:lnTo>
                  <a:lnTo>
                    <a:pt x="11053704" y="2335757"/>
                  </a:lnTo>
                  <a:lnTo>
                    <a:pt x="11092536" y="2313815"/>
                  </a:lnTo>
                  <a:lnTo>
                    <a:pt x="11127495" y="2295111"/>
                  </a:lnTo>
                  <a:lnTo>
                    <a:pt x="11153599" y="2271185"/>
                  </a:lnTo>
                  <a:lnTo>
                    <a:pt x="11177228" y="2246316"/>
                  </a:lnTo>
                  <a:lnTo>
                    <a:pt x="11189810" y="2217173"/>
                  </a:lnTo>
                  <a:lnTo>
                    <a:pt x="11186217" y="2184140"/>
                  </a:lnTo>
                  <a:lnTo>
                    <a:pt x="11172295" y="2165733"/>
                  </a:lnTo>
                  <a:lnTo>
                    <a:pt x="11142697" y="2147412"/>
                  </a:lnTo>
                  <a:lnTo>
                    <a:pt x="11111924" y="2136208"/>
                  </a:lnTo>
                  <a:lnTo>
                    <a:pt x="11083677" y="2131413"/>
                  </a:lnTo>
                  <a:lnTo>
                    <a:pt x="11059719" y="2125649"/>
                  </a:lnTo>
                  <a:lnTo>
                    <a:pt x="11036598" y="2103886"/>
                  </a:lnTo>
                  <a:lnTo>
                    <a:pt x="11029054" y="2083462"/>
                  </a:lnTo>
                  <a:lnTo>
                    <a:pt x="11022155" y="2058428"/>
                  </a:lnTo>
                  <a:lnTo>
                    <a:pt x="11010758" y="2037238"/>
                  </a:lnTo>
                  <a:lnTo>
                    <a:pt x="10999341" y="2016041"/>
                  </a:lnTo>
                  <a:lnTo>
                    <a:pt x="10983699" y="1998149"/>
                  </a:lnTo>
                  <a:lnTo>
                    <a:pt x="10959062" y="1990987"/>
                  </a:lnTo>
                  <a:lnTo>
                    <a:pt x="10944204" y="1962339"/>
                  </a:lnTo>
                  <a:lnTo>
                    <a:pt x="10921083" y="1960770"/>
                  </a:lnTo>
                  <a:lnTo>
                    <a:pt x="10897847" y="1958343"/>
                  </a:lnTo>
                  <a:lnTo>
                    <a:pt x="10874614" y="1955916"/>
                  </a:lnTo>
                  <a:lnTo>
                    <a:pt x="10850699" y="1952744"/>
                  </a:lnTo>
                  <a:lnTo>
                    <a:pt x="10836641" y="1936580"/>
                  </a:lnTo>
                  <a:lnTo>
                    <a:pt x="10835466" y="1910945"/>
                  </a:lnTo>
                  <a:lnTo>
                    <a:pt x="10860739" y="1874093"/>
                  </a:lnTo>
                  <a:lnTo>
                    <a:pt x="10850237" y="1853609"/>
                  </a:lnTo>
                  <a:lnTo>
                    <a:pt x="10801363" y="1842418"/>
                  </a:lnTo>
                  <a:lnTo>
                    <a:pt x="10769985" y="1838646"/>
                  </a:lnTo>
                  <a:lnTo>
                    <a:pt x="10738613" y="1834873"/>
                  </a:lnTo>
                  <a:lnTo>
                    <a:pt x="10708692" y="1829933"/>
                  </a:lnTo>
                  <a:lnTo>
                    <a:pt x="10690148" y="1809846"/>
                  </a:lnTo>
                  <a:lnTo>
                    <a:pt x="10670369" y="1786255"/>
                  </a:lnTo>
                  <a:lnTo>
                    <a:pt x="10648922" y="1765198"/>
                  </a:lnTo>
                  <a:lnTo>
                    <a:pt x="10627497" y="1744134"/>
                  </a:lnTo>
                  <a:lnTo>
                    <a:pt x="10604962" y="1726341"/>
                  </a:lnTo>
                  <a:lnTo>
                    <a:pt x="10569994" y="1731465"/>
                  </a:lnTo>
                  <a:lnTo>
                    <a:pt x="10459055" y="1752510"/>
                  </a:lnTo>
                  <a:lnTo>
                    <a:pt x="10434021" y="1731187"/>
                  </a:lnTo>
                  <a:lnTo>
                    <a:pt x="10442985" y="1700040"/>
                  </a:lnTo>
                  <a:lnTo>
                    <a:pt x="10468580" y="1675290"/>
                  </a:lnTo>
                  <a:lnTo>
                    <a:pt x="10503393" y="1655017"/>
                  </a:lnTo>
                  <a:lnTo>
                    <a:pt x="10539658" y="1635793"/>
                  </a:lnTo>
                  <a:lnTo>
                    <a:pt x="10579776" y="1621588"/>
                  </a:lnTo>
                  <a:lnTo>
                    <a:pt x="10593161" y="1604691"/>
                  </a:lnTo>
                  <a:lnTo>
                    <a:pt x="10618921" y="1572132"/>
                  </a:lnTo>
                  <a:lnTo>
                    <a:pt x="10645112" y="1527498"/>
                  </a:lnTo>
                  <a:lnTo>
                    <a:pt x="10662540" y="1489077"/>
                  </a:lnTo>
                  <a:lnTo>
                    <a:pt x="10646653" y="1465974"/>
                  </a:lnTo>
                  <a:lnTo>
                    <a:pt x="10544392" y="1360878"/>
                  </a:lnTo>
                  <a:lnTo>
                    <a:pt x="10553719" y="1295924"/>
                  </a:lnTo>
                  <a:lnTo>
                    <a:pt x="10558717" y="1264262"/>
                  </a:lnTo>
                  <a:lnTo>
                    <a:pt x="10584998" y="1229277"/>
                  </a:lnTo>
                  <a:lnTo>
                    <a:pt x="10564000" y="1207777"/>
                  </a:lnTo>
                  <a:lnTo>
                    <a:pt x="10516034" y="1171023"/>
                  </a:lnTo>
                  <a:lnTo>
                    <a:pt x="10468025" y="1139507"/>
                  </a:lnTo>
                  <a:lnTo>
                    <a:pt x="10420022" y="1107984"/>
                  </a:lnTo>
                  <a:lnTo>
                    <a:pt x="10371857" y="1081162"/>
                  </a:lnTo>
                  <a:lnTo>
                    <a:pt x="10348327" y="1076934"/>
                  </a:lnTo>
                  <a:lnTo>
                    <a:pt x="10310407" y="1110983"/>
                  </a:lnTo>
                  <a:lnTo>
                    <a:pt x="10261188" y="1135207"/>
                  </a:lnTo>
                  <a:lnTo>
                    <a:pt x="10224595" y="1138569"/>
                  </a:lnTo>
                  <a:lnTo>
                    <a:pt x="10190544" y="1149023"/>
                  </a:lnTo>
                  <a:lnTo>
                    <a:pt x="10139329" y="1164752"/>
                  </a:lnTo>
                  <a:lnTo>
                    <a:pt x="10097496" y="1189957"/>
                  </a:lnTo>
                  <a:lnTo>
                    <a:pt x="10051799" y="1217036"/>
                  </a:lnTo>
                  <a:lnTo>
                    <a:pt x="10020263" y="1243594"/>
                  </a:lnTo>
                  <a:lnTo>
                    <a:pt x="10001474" y="1256480"/>
                  </a:lnTo>
                  <a:lnTo>
                    <a:pt x="9982700" y="1269368"/>
                  </a:lnTo>
                  <a:lnTo>
                    <a:pt x="9961985" y="1277736"/>
                  </a:lnTo>
                  <a:lnTo>
                    <a:pt x="9941626" y="1268721"/>
                  </a:lnTo>
                  <a:lnTo>
                    <a:pt x="9858471" y="1321809"/>
                  </a:lnTo>
                  <a:lnTo>
                    <a:pt x="9840975" y="1334010"/>
                  </a:lnTo>
                  <a:lnTo>
                    <a:pt x="9809687" y="1297290"/>
                  </a:lnTo>
                  <a:lnTo>
                    <a:pt x="9790649" y="1282333"/>
                  </a:lnTo>
                  <a:lnTo>
                    <a:pt x="9757873" y="1267475"/>
                  </a:lnTo>
                  <a:lnTo>
                    <a:pt x="9720585" y="1252807"/>
                  </a:lnTo>
                  <a:lnTo>
                    <a:pt x="9699619" y="1254581"/>
                  </a:lnTo>
                  <a:lnTo>
                    <a:pt x="9658598" y="1255655"/>
                  </a:lnTo>
                  <a:lnTo>
                    <a:pt x="9620619" y="1241523"/>
                  </a:lnTo>
                  <a:lnTo>
                    <a:pt x="9591291" y="1218659"/>
                  </a:lnTo>
                  <a:lnTo>
                    <a:pt x="9566257" y="1202950"/>
                  </a:lnTo>
                  <a:lnTo>
                    <a:pt x="9536290" y="1203438"/>
                  </a:lnTo>
                  <a:lnTo>
                    <a:pt x="9483583" y="1258926"/>
                  </a:lnTo>
                  <a:lnTo>
                    <a:pt x="9445591" y="1254832"/>
                  </a:lnTo>
                  <a:lnTo>
                    <a:pt x="9427481" y="1221118"/>
                  </a:lnTo>
                  <a:lnTo>
                    <a:pt x="9412089" y="1186937"/>
                  </a:lnTo>
                  <a:lnTo>
                    <a:pt x="9357252" y="1175462"/>
                  </a:lnTo>
                  <a:lnTo>
                    <a:pt x="9330563" y="1179063"/>
                  </a:lnTo>
                  <a:lnTo>
                    <a:pt x="9306412" y="1183033"/>
                  </a:lnTo>
                  <a:lnTo>
                    <a:pt x="9282268" y="1187010"/>
                  </a:lnTo>
                  <a:lnTo>
                    <a:pt x="9260734" y="1192490"/>
                  </a:lnTo>
                  <a:lnTo>
                    <a:pt x="9232965" y="1187109"/>
                  </a:lnTo>
                  <a:lnTo>
                    <a:pt x="9202542" y="1162918"/>
                  </a:lnTo>
                  <a:lnTo>
                    <a:pt x="9182646" y="1139507"/>
                  </a:lnTo>
                  <a:lnTo>
                    <a:pt x="9162728" y="1116089"/>
                  </a:lnTo>
                  <a:lnTo>
                    <a:pt x="9139811" y="1090144"/>
                  </a:lnTo>
                  <a:lnTo>
                    <a:pt x="9114625" y="1078292"/>
                  </a:lnTo>
                  <a:lnTo>
                    <a:pt x="9092710" y="1085501"/>
                  </a:lnTo>
                  <a:lnTo>
                    <a:pt x="9055370" y="1121080"/>
                  </a:lnTo>
                  <a:lnTo>
                    <a:pt x="8875229" y="1086458"/>
                  </a:lnTo>
                  <a:lnTo>
                    <a:pt x="8847572" y="1080996"/>
                  </a:lnTo>
                  <a:lnTo>
                    <a:pt x="8817326" y="1091529"/>
                  </a:lnTo>
                  <a:lnTo>
                    <a:pt x="8788177" y="1101415"/>
                  </a:lnTo>
                  <a:lnTo>
                    <a:pt x="8759047" y="1111307"/>
                  </a:lnTo>
                  <a:lnTo>
                    <a:pt x="8730776" y="1120302"/>
                  </a:lnTo>
                  <a:lnTo>
                    <a:pt x="8706567" y="1109579"/>
                  </a:lnTo>
                  <a:lnTo>
                    <a:pt x="8681312" y="1098401"/>
                  </a:lnTo>
                  <a:lnTo>
                    <a:pt x="8662110" y="1079506"/>
                  </a:lnTo>
                  <a:lnTo>
                    <a:pt x="8644006" y="1059253"/>
                  </a:lnTo>
                  <a:lnTo>
                    <a:pt x="8625877" y="1038994"/>
                  </a:lnTo>
                  <a:lnTo>
                    <a:pt x="8608731" y="1016828"/>
                  </a:lnTo>
                  <a:lnTo>
                    <a:pt x="8589597" y="998040"/>
                  </a:lnTo>
                  <a:lnTo>
                    <a:pt x="8566172" y="975049"/>
                  </a:lnTo>
                  <a:lnTo>
                    <a:pt x="8485954" y="913968"/>
                  </a:lnTo>
                  <a:lnTo>
                    <a:pt x="8459019" y="900111"/>
                  </a:lnTo>
                  <a:lnTo>
                    <a:pt x="8421824" y="880960"/>
                  </a:lnTo>
                  <a:lnTo>
                    <a:pt x="8375269" y="879621"/>
                  </a:lnTo>
                  <a:lnTo>
                    <a:pt x="8342031" y="851137"/>
                  </a:lnTo>
                  <a:lnTo>
                    <a:pt x="8317229" y="829869"/>
                  </a:lnTo>
                  <a:lnTo>
                    <a:pt x="8293004" y="792952"/>
                  </a:lnTo>
                  <a:lnTo>
                    <a:pt x="8268590" y="758644"/>
                  </a:lnTo>
                  <a:lnTo>
                    <a:pt x="8244158" y="724343"/>
                  </a:lnTo>
                  <a:lnTo>
                    <a:pt x="8218785" y="692102"/>
                  </a:lnTo>
                  <a:lnTo>
                    <a:pt x="8195131" y="679755"/>
                  </a:lnTo>
                  <a:lnTo>
                    <a:pt x="8101391" y="636738"/>
                  </a:lnTo>
                  <a:lnTo>
                    <a:pt x="8107009" y="599225"/>
                  </a:lnTo>
                  <a:lnTo>
                    <a:pt x="8108091" y="574870"/>
                  </a:lnTo>
                  <a:lnTo>
                    <a:pt x="8109437" y="553259"/>
                  </a:lnTo>
                  <a:lnTo>
                    <a:pt x="8062851" y="526180"/>
                  </a:lnTo>
                  <a:lnTo>
                    <a:pt x="8011211" y="513491"/>
                  </a:lnTo>
                  <a:lnTo>
                    <a:pt x="7978856" y="494768"/>
                  </a:lnTo>
                  <a:lnTo>
                    <a:pt x="7957093" y="474365"/>
                  </a:lnTo>
                  <a:lnTo>
                    <a:pt x="7924878" y="443612"/>
                  </a:lnTo>
                  <a:lnTo>
                    <a:pt x="7842145" y="387226"/>
                  </a:lnTo>
                  <a:lnTo>
                    <a:pt x="7827885" y="365548"/>
                  </a:lnTo>
                  <a:lnTo>
                    <a:pt x="7815836" y="292886"/>
                  </a:lnTo>
                  <a:lnTo>
                    <a:pt x="7769523" y="257220"/>
                  </a:lnTo>
                  <a:lnTo>
                    <a:pt x="7736278" y="230043"/>
                  </a:lnTo>
                  <a:lnTo>
                    <a:pt x="7700017" y="206408"/>
                  </a:lnTo>
                  <a:lnTo>
                    <a:pt x="7663781" y="182770"/>
                  </a:lnTo>
                  <a:lnTo>
                    <a:pt x="7624400" y="163144"/>
                  </a:lnTo>
                  <a:lnTo>
                    <a:pt x="7584402" y="156080"/>
                  </a:lnTo>
                  <a:lnTo>
                    <a:pt x="7559750" y="151723"/>
                  </a:lnTo>
                  <a:lnTo>
                    <a:pt x="7529442" y="160156"/>
                  </a:lnTo>
                  <a:lnTo>
                    <a:pt x="7504156" y="157440"/>
                  </a:lnTo>
                  <a:lnTo>
                    <a:pt x="7481339" y="154994"/>
                  </a:lnTo>
                  <a:lnTo>
                    <a:pt x="7457610" y="142838"/>
                  </a:lnTo>
                  <a:lnTo>
                    <a:pt x="7434784" y="139753"/>
                  </a:lnTo>
                  <a:lnTo>
                    <a:pt x="7400311" y="135077"/>
                  </a:lnTo>
                  <a:lnTo>
                    <a:pt x="7343552" y="158330"/>
                  </a:lnTo>
                  <a:lnTo>
                    <a:pt x="7311011" y="168322"/>
                  </a:lnTo>
                  <a:lnTo>
                    <a:pt x="7281835" y="154921"/>
                  </a:lnTo>
                  <a:lnTo>
                    <a:pt x="7266199" y="126166"/>
                  </a:lnTo>
                  <a:lnTo>
                    <a:pt x="7248972" y="100447"/>
                  </a:lnTo>
                  <a:lnTo>
                    <a:pt x="7201418" y="98679"/>
                  </a:lnTo>
                  <a:lnTo>
                    <a:pt x="7184554" y="111249"/>
                  </a:lnTo>
                  <a:lnTo>
                    <a:pt x="7169622" y="126166"/>
                  </a:lnTo>
                  <a:lnTo>
                    <a:pt x="7154674" y="141084"/>
                  </a:lnTo>
                  <a:lnTo>
                    <a:pt x="7117932" y="166970"/>
                  </a:lnTo>
                  <a:lnTo>
                    <a:pt x="7078204" y="159576"/>
                  </a:lnTo>
                  <a:lnTo>
                    <a:pt x="7043391" y="136283"/>
                  </a:lnTo>
                  <a:lnTo>
                    <a:pt x="7028657" y="121154"/>
                  </a:lnTo>
                  <a:lnTo>
                    <a:pt x="6987183" y="82575"/>
                  </a:lnTo>
                  <a:lnTo>
                    <a:pt x="6940101" y="45735"/>
                  </a:lnTo>
                  <a:lnTo>
                    <a:pt x="6890777" y="22791"/>
                  </a:lnTo>
                  <a:lnTo>
                    <a:pt x="6866118" y="11323"/>
                  </a:lnTo>
                  <a:lnTo>
                    <a:pt x="6841719" y="2057"/>
                  </a:lnTo>
                  <a:lnTo>
                    <a:pt x="6817330" y="1028"/>
                  </a:lnTo>
                  <a:lnTo>
                    <a:pt x="6792941" y="0"/>
                  </a:lnTo>
                  <a:lnTo>
                    <a:pt x="6768911" y="6463"/>
                  </a:lnTo>
                  <a:lnTo>
                    <a:pt x="6747951" y="22791"/>
                  </a:lnTo>
                  <a:lnTo>
                    <a:pt x="6735474" y="47120"/>
                  </a:lnTo>
                  <a:lnTo>
                    <a:pt x="6724501" y="96438"/>
                  </a:lnTo>
                  <a:lnTo>
                    <a:pt x="6720753" y="136289"/>
                  </a:lnTo>
                  <a:lnTo>
                    <a:pt x="6707157" y="166970"/>
                  </a:lnTo>
                  <a:lnTo>
                    <a:pt x="6690358" y="196073"/>
                  </a:lnTo>
                  <a:lnTo>
                    <a:pt x="6664105" y="214044"/>
                  </a:lnTo>
                  <a:lnTo>
                    <a:pt x="6624179" y="217302"/>
                  </a:lnTo>
                  <a:lnTo>
                    <a:pt x="6601210" y="214010"/>
                  </a:lnTo>
                  <a:lnTo>
                    <a:pt x="6577757" y="192168"/>
                  </a:lnTo>
                  <a:lnTo>
                    <a:pt x="6568827" y="158330"/>
                  </a:lnTo>
                  <a:lnTo>
                    <a:pt x="6583375" y="130242"/>
                  </a:lnTo>
                  <a:lnTo>
                    <a:pt x="6608905" y="108736"/>
                  </a:lnTo>
                  <a:lnTo>
                    <a:pt x="6626901" y="97597"/>
                  </a:lnTo>
                  <a:lnTo>
                    <a:pt x="6630991" y="75840"/>
                  </a:lnTo>
                  <a:lnTo>
                    <a:pt x="6581642" y="43163"/>
                  </a:lnTo>
                  <a:lnTo>
                    <a:pt x="6545291" y="28232"/>
                  </a:lnTo>
                  <a:lnTo>
                    <a:pt x="6508946" y="13302"/>
                  </a:lnTo>
                  <a:lnTo>
                    <a:pt x="6472008" y="2525"/>
                  </a:lnTo>
                  <a:lnTo>
                    <a:pt x="6456161" y="18565"/>
                  </a:lnTo>
                  <a:lnTo>
                    <a:pt x="6432268" y="60772"/>
                  </a:lnTo>
                  <a:lnTo>
                    <a:pt x="6400751" y="68177"/>
                  </a:lnTo>
                  <a:lnTo>
                    <a:pt x="6368467" y="54071"/>
                  </a:lnTo>
                  <a:lnTo>
                    <a:pt x="6336714" y="38916"/>
                  </a:lnTo>
                  <a:lnTo>
                    <a:pt x="6274417" y="59320"/>
                  </a:lnTo>
                  <a:lnTo>
                    <a:pt x="6244642" y="74462"/>
                  </a:lnTo>
                  <a:lnTo>
                    <a:pt x="6225648" y="88081"/>
                  </a:lnTo>
                  <a:lnTo>
                    <a:pt x="6206660" y="101699"/>
                  </a:lnTo>
                  <a:lnTo>
                    <a:pt x="6191638" y="126166"/>
                  </a:lnTo>
                  <a:lnTo>
                    <a:pt x="6184234" y="150752"/>
                  </a:lnTo>
                  <a:lnTo>
                    <a:pt x="6174557" y="172310"/>
                  </a:lnTo>
                  <a:lnTo>
                    <a:pt x="6150837" y="191457"/>
                  </a:lnTo>
                  <a:lnTo>
                    <a:pt x="6118641" y="208919"/>
                  </a:lnTo>
                  <a:lnTo>
                    <a:pt x="6083338" y="216945"/>
                  </a:lnTo>
                  <a:lnTo>
                    <a:pt x="6047461" y="224101"/>
                  </a:lnTo>
                  <a:lnTo>
                    <a:pt x="6011584" y="231249"/>
                  </a:lnTo>
                  <a:lnTo>
                    <a:pt x="5974581" y="236427"/>
                  </a:lnTo>
                  <a:lnTo>
                    <a:pt x="5940010" y="245864"/>
                  </a:lnTo>
                  <a:lnTo>
                    <a:pt x="5887687" y="260122"/>
                  </a:lnTo>
                  <a:lnTo>
                    <a:pt x="5840540" y="289899"/>
                  </a:lnTo>
                  <a:lnTo>
                    <a:pt x="5786301" y="294832"/>
                  </a:lnTo>
                  <a:lnTo>
                    <a:pt x="5747240" y="298360"/>
                  </a:lnTo>
                  <a:lnTo>
                    <a:pt x="5710092" y="293109"/>
                  </a:lnTo>
                  <a:lnTo>
                    <a:pt x="5670681" y="305713"/>
                  </a:lnTo>
                  <a:lnTo>
                    <a:pt x="5642645" y="314682"/>
                  </a:lnTo>
                  <a:lnTo>
                    <a:pt x="5622866" y="340415"/>
                  </a:lnTo>
                  <a:lnTo>
                    <a:pt x="5598598" y="353321"/>
                  </a:lnTo>
                  <a:lnTo>
                    <a:pt x="5547804" y="380335"/>
                  </a:lnTo>
                  <a:lnTo>
                    <a:pt x="5490450" y="396294"/>
                  </a:lnTo>
                  <a:lnTo>
                    <a:pt x="5439457" y="425410"/>
                  </a:lnTo>
                  <a:lnTo>
                    <a:pt x="5395206" y="450683"/>
                  </a:lnTo>
                  <a:lnTo>
                    <a:pt x="5351891" y="482285"/>
                  </a:lnTo>
                  <a:lnTo>
                    <a:pt x="5308876" y="509739"/>
                  </a:lnTo>
                  <a:lnTo>
                    <a:pt x="5274664" y="531575"/>
                  </a:lnTo>
                  <a:lnTo>
                    <a:pt x="5243733" y="557902"/>
                  </a:lnTo>
                  <a:lnTo>
                    <a:pt x="5210938" y="575029"/>
                  </a:lnTo>
                  <a:lnTo>
                    <a:pt x="5178010" y="589552"/>
                  </a:lnTo>
                  <a:lnTo>
                    <a:pt x="5140511" y="593158"/>
                  </a:lnTo>
                  <a:lnTo>
                    <a:pt x="5119570" y="590514"/>
                  </a:lnTo>
                  <a:lnTo>
                    <a:pt x="5096688" y="581828"/>
                  </a:lnTo>
                  <a:lnTo>
                    <a:pt x="5062293" y="568796"/>
                  </a:lnTo>
                  <a:lnTo>
                    <a:pt x="5036409" y="547568"/>
                  </a:lnTo>
                  <a:lnTo>
                    <a:pt x="4997388" y="547826"/>
                  </a:lnTo>
                  <a:lnTo>
                    <a:pt x="4976614" y="566356"/>
                  </a:lnTo>
                  <a:lnTo>
                    <a:pt x="4998753" y="640319"/>
                  </a:lnTo>
                  <a:lnTo>
                    <a:pt x="4996663" y="678272"/>
                  </a:lnTo>
                  <a:lnTo>
                    <a:pt x="4982338" y="710369"/>
                  </a:lnTo>
                  <a:lnTo>
                    <a:pt x="4962026" y="738253"/>
                  </a:lnTo>
                  <a:lnTo>
                    <a:pt x="4941708" y="766142"/>
                  </a:lnTo>
                  <a:lnTo>
                    <a:pt x="4915564" y="789687"/>
                  </a:lnTo>
                  <a:lnTo>
                    <a:pt x="4888570" y="811707"/>
                  </a:lnTo>
                  <a:lnTo>
                    <a:pt x="4861586" y="833727"/>
                  </a:lnTo>
                  <a:lnTo>
                    <a:pt x="4834539" y="853922"/>
                  </a:lnTo>
                  <a:lnTo>
                    <a:pt x="4812401" y="874272"/>
                  </a:lnTo>
                  <a:lnTo>
                    <a:pt x="4790269" y="894631"/>
                  </a:lnTo>
                  <a:lnTo>
                    <a:pt x="4773259" y="915313"/>
                  </a:lnTo>
                  <a:lnTo>
                    <a:pt x="4767508" y="938203"/>
                  </a:lnTo>
                  <a:lnTo>
                    <a:pt x="4789066" y="970894"/>
                  </a:lnTo>
                  <a:lnTo>
                    <a:pt x="4843686" y="965408"/>
                  </a:lnTo>
                  <a:lnTo>
                    <a:pt x="4864085" y="973572"/>
                  </a:lnTo>
                  <a:lnTo>
                    <a:pt x="4867309" y="997993"/>
                  </a:lnTo>
                  <a:lnTo>
                    <a:pt x="4858135" y="1025322"/>
                  </a:lnTo>
                  <a:lnTo>
                    <a:pt x="4839612" y="1041578"/>
                  </a:lnTo>
                  <a:lnTo>
                    <a:pt x="4788012" y="1039561"/>
                  </a:lnTo>
                  <a:lnTo>
                    <a:pt x="4749062" y="1044659"/>
                  </a:lnTo>
                  <a:lnTo>
                    <a:pt x="4719914" y="1055184"/>
                  </a:lnTo>
                  <a:lnTo>
                    <a:pt x="4690765" y="1065702"/>
                  </a:lnTo>
                  <a:lnTo>
                    <a:pt x="4671690" y="1082005"/>
                  </a:lnTo>
                  <a:lnTo>
                    <a:pt x="4655989" y="1104151"/>
                  </a:lnTo>
                  <a:lnTo>
                    <a:pt x="4640266" y="1126291"/>
                  </a:lnTo>
                  <a:lnTo>
                    <a:pt x="4627848" y="1154266"/>
                  </a:lnTo>
                  <a:lnTo>
                    <a:pt x="4616537" y="1187121"/>
                  </a:lnTo>
                  <a:lnTo>
                    <a:pt x="4605229" y="1219971"/>
                  </a:lnTo>
                  <a:lnTo>
                    <a:pt x="4594380" y="1257378"/>
                  </a:lnTo>
                  <a:lnTo>
                    <a:pt x="4578453" y="1300020"/>
                  </a:lnTo>
                  <a:lnTo>
                    <a:pt x="4569331" y="1324422"/>
                  </a:lnTo>
                  <a:lnTo>
                    <a:pt x="4553108" y="1347919"/>
                  </a:lnTo>
                  <a:lnTo>
                    <a:pt x="4543090" y="1372109"/>
                  </a:lnTo>
                  <a:lnTo>
                    <a:pt x="4528313" y="1425837"/>
                  </a:lnTo>
                  <a:lnTo>
                    <a:pt x="4525405" y="1463244"/>
                  </a:lnTo>
                  <a:lnTo>
                    <a:pt x="4522496" y="1500643"/>
                  </a:lnTo>
                  <a:lnTo>
                    <a:pt x="4525436" y="1537832"/>
                  </a:lnTo>
                  <a:lnTo>
                    <a:pt x="4555152" y="1571064"/>
                  </a:lnTo>
                  <a:lnTo>
                    <a:pt x="4573988" y="1583297"/>
                  </a:lnTo>
                  <a:lnTo>
                    <a:pt x="4590694" y="1599264"/>
                  </a:lnTo>
                  <a:lnTo>
                    <a:pt x="4606091" y="1613970"/>
                  </a:lnTo>
                  <a:lnTo>
                    <a:pt x="4626192" y="1630155"/>
                  </a:lnTo>
                  <a:lnTo>
                    <a:pt x="4642377" y="1648231"/>
                  </a:lnTo>
                  <a:lnTo>
                    <a:pt x="4658581" y="1666294"/>
                  </a:lnTo>
                  <a:lnTo>
                    <a:pt x="4671743" y="1686824"/>
                  </a:lnTo>
                  <a:lnTo>
                    <a:pt x="4672310" y="1710796"/>
                  </a:lnTo>
                  <a:lnTo>
                    <a:pt x="4669566" y="1732559"/>
                  </a:lnTo>
                  <a:lnTo>
                    <a:pt x="4681808" y="1826413"/>
                  </a:lnTo>
                  <a:lnTo>
                    <a:pt x="4675008" y="1846816"/>
                  </a:lnTo>
                  <a:lnTo>
                    <a:pt x="4631305" y="1853577"/>
                  </a:lnTo>
                  <a:lnTo>
                    <a:pt x="4600197" y="1845458"/>
                  </a:lnTo>
                  <a:lnTo>
                    <a:pt x="4599735" y="1869272"/>
                  </a:lnTo>
                  <a:lnTo>
                    <a:pt x="4589314" y="1894425"/>
                  </a:lnTo>
                  <a:lnTo>
                    <a:pt x="4575519" y="1913082"/>
                  </a:lnTo>
                  <a:lnTo>
                    <a:pt x="4559592" y="1927459"/>
                  </a:lnTo>
                  <a:lnTo>
                    <a:pt x="4544424" y="1947475"/>
                  </a:lnTo>
                  <a:lnTo>
                    <a:pt x="4533435" y="1976486"/>
                  </a:lnTo>
                  <a:lnTo>
                    <a:pt x="4532189" y="2003241"/>
                  </a:lnTo>
                  <a:lnTo>
                    <a:pt x="4531094" y="2031890"/>
                  </a:lnTo>
                  <a:lnTo>
                    <a:pt x="4549633" y="2053230"/>
                  </a:lnTo>
                  <a:lnTo>
                    <a:pt x="4603105" y="2081944"/>
                  </a:lnTo>
                  <a:lnTo>
                    <a:pt x="4611058" y="2114781"/>
                  </a:lnTo>
                  <a:lnTo>
                    <a:pt x="4596095" y="2141542"/>
                  </a:lnTo>
                  <a:lnTo>
                    <a:pt x="4570769" y="2169446"/>
                  </a:lnTo>
                  <a:lnTo>
                    <a:pt x="4543044" y="2195027"/>
                  </a:lnTo>
                  <a:lnTo>
                    <a:pt x="4515319" y="2220609"/>
                  </a:lnTo>
                  <a:lnTo>
                    <a:pt x="4485094" y="2244759"/>
                  </a:lnTo>
                  <a:lnTo>
                    <a:pt x="4460075" y="2261676"/>
                  </a:lnTo>
                  <a:lnTo>
                    <a:pt x="4441503" y="2274240"/>
                  </a:lnTo>
                  <a:lnTo>
                    <a:pt x="4420038" y="2281593"/>
                  </a:lnTo>
                  <a:lnTo>
                    <a:pt x="4401583" y="2294320"/>
                  </a:lnTo>
                  <a:lnTo>
                    <a:pt x="4383137" y="2307016"/>
                  </a:lnTo>
                  <a:lnTo>
                    <a:pt x="4366816" y="2323503"/>
                  </a:lnTo>
                  <a:lnTo>
                    <a:pt x="4347177" y="2336488"/>
                  </a:lnTo>
                  <a:lnTo>
                    <a:pt x="4322400" y="2333065"/>
                  </a:lnTo>
                  <a:lnTo>
                    <a:pt x="4294086" y="2306270"/>
                  </a:lnTo>
                  <a:lnTo>
                    <a:pt x="4273894" y="2283208"/>
                  </a:lnTo>
                  <a:lnTo>
                    <a:pt x="4251958" y="2265758"/>
                  </a:lnTo>
                  <a:lnTo>
                    <a:pt x="4218813" y="2239366"/>
                  </a:lnTo>
                  <a:lnTo>
                    <a:pt x="4178728" y="2221275"/>
                  </a:lnTo>
                  <a:lnTo>
                    <a:pt x="4145865" y="2192310"/>
                  </a:lnTo>
                  <a:lnTo>
                    <a:pt x="4120583" y="2170040"/>
                  </a:lnTo>
                  <a:lnTo>
                    <a:pt x="4101272" y="2144108"/>
                  </a:lnTo>
                  <a:lnTo>
                    <a:pt x="4072418" y="2125656"/>
                  </a:lnTo>
                  <a:lnTo>
                    <a:pt x="4006912" y="2083811"/>
                  </a:lnTo>
                  <a:lnTo>
                    <a:pt x="3938188" y="2049914"/>
                  </a:lnTo>
                  <a:lnTo>
                    <a:pt x="3871110" y="2011406"/>
                  </a:lnTo>
                  <a:lnTo>
                    <a:pt x="3760124" y="1947771"/>
                  </a:lnTo>
                  <a:lnTo>
                    <a:pt x="3652416" y="1879296"/>
                  </a:lnTo>
                  <a:lnTo>
                    <a:pt x="3539214" y="1819613"/>
                  </a:lnTo>
                  <a:lnTo>
                    <a:pt x="3458248" y="1775915"/>
                  </a:lnTo>
                  <a:lnTo>
                    <a:pt x="3399120" y="1739365"/>
                  </a:lnTo>
                  <a:lnTo>
                    <a:pt x="3339976" y="1702811"/>
                  </a:lnTo>
                  <a:lnTo>
                    <a:pt x="3283881" y="1664157"/>
                  </a:lnTo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84" name="Kirovohrad¬0" descr="Kirovohrad¬0">
              <a:extLst>
                <a:ext uri="{FF2B5EF4-FFF2-40B4-BE49-F238E27FC236}">
                  <a16:creationId xmlns:a16="http://schemas.microsoft.com/office/drawing/2014/main" id="{A9C766AD-164E-4383-8F74-F62DFD5D00FC}"/>
                </a:ext>
              </a:extLst>
            </p:cNvPr>
            <p:cNvSpPr/>
            <p:nvPr/>
          </p:nvSpPr>
          <p:spPr>
            <a:xfrm>
              <a:off x="3472276" y="2597165"/>
              <a:ext cx="1435183" cy="686458"/>
            </a:xfrm>
            <a:custGeom>
              <a:avLst/>
              <a:gdLst/>
              <a:ahLst/>
              <a:cxnLst/>
              <a:rect l="0" t="0" r="0" b="0"/>
              <a:pathLst>
                <a:path w="14645250" h="7951741">
                  <a:moveTo>
                    <a:pt x="10691704" y="10942"/>
                  </a:moveTo>
                  <a:lnTo>
                    <a:pt x="10686898" y="36986"/>
                  </a:lnTo>
                  <a:lnTo>
                    <a:pt x="10680257" y="63931"/>
                  </a:lnTo>
                  <a:lnTo>
                    <a:pt x="10673615" y="90879"/>
                  </a:lnTo>
                  <a:lnTo>
                    <a:pt x="10665687" y="118406"/>
                  </a:lnTo>
                  <a:lnTo>
                    <a:pt x="10657133" y="140103"/>
                  </a:lnTo>
                  <a:lnTo>
                    <a:pt x="10644888" y="157785"/>
                  </a:lnTo>
                  <a:lnTo>
                    <a:pt x="10618580" y="220455"/>
                  </a:lnTo>
                  <a:lnTo>
                    <a:pt x="10605489" y="298776"/>
                  </a:lnTo>
                  <a:lnTo>
                    <a:pt x="10579606" y="360451"/>
                  </a:lnTo>
                  <a:lnTo>
                    <a:pt x="10566000" y="378132"/>
                  </a:lnTo>
                  <a:lnTo>
                    <a:pt x="10563362" y="406062"/>
                  </a:lnTo>
                  <a:lnTo>
                    <a:pt x="10575522" y="426770"/>
                  </a:lnTo>
                  <a:lnTo>
                    <a:pt x="10605449" y="448863"/>
                  </a:lnTo>
                  <a:lnTo>
                    <a:pt x="10633016" y="472908"/>
                  </a:lnTo>
                  <a:lnTo>
                    <a:pt x="10666893" y="513750"/>
                  </a:lnTo>
                  <a:lnTo>
                    <a:pt x="10689937" y="567070"/>
                  </a:lnTo>
                  <a:lnTo>
                    <a:pt x="10706100" y="622969"/>
                  </a:lnTo>
                  <a:lnTo>
                    <a:pt x="10722273" y="678874"/>
                  </a:lnTo>
                  <a:lnTo>
                    <a:pt x="10732771" y="737872"/>
                  </a:lnTo>
                  <a:lnTo>
                    <a:pt x="10733305" y="776675"/>
                  </a:lnTo>
                  <a:lnTo>
                    <a:pt x="10732778" y="810745"/>
                  </a:lnTo>
                  <a:lnTo>
                    <a:pt x="10731088" y="845975"/>
                  </a:lnTo>
                  <a:lnTo>
                    <a:pt x="10729231" y="881410"/>
                  </a:lnTo>
                  <a:lnTo>
                    <a:pt x="10727101" y="911673"/>
                  </a:lnTo>
                  <a:lnTo>
                    <a:pt x="10730635" y="935092"/>
                  </a:lnTo>
                  <a:lnTo>
                    <a:pt x="10731181" y="957561"/>
                  </a:lnTo>
                  <a:lnTo>
                    <a:pt x="10738238" y="983288"/>
                  </a:lnTo>
                  <a:lnTo>
                    <a:pt x="10760438" y="1045478"/>
                  </a:lnTo>
                  <a:lnTo>
                    <a:pt x="10783643" y="1107199"/>
                  </a:lnTo>
                  <a:lnTo>
                    <a:pt x="10806844" y="1168921"/>
                  </a:lnTo>
                  <a:lnTo>
                    <a:pt x="10831820" y="1230088"/>
                  </a:lnTo>
                  <a:lnTo>
                    <a:pt x="10931904" y="1247301"/>
                  </a:lnTo>
                  <a:lnTo>
                    <a:pt x="10925957" y="1340198"/>
                  </a:lnTo>
                  <a:lnTo>
                    <a:pt x="10894241" y="1346766"/>
                  </a:lnTo>
                  <a:lnTo>
                    <a:pt x="10850761" y="1354119"/>
                  </a:lnTo>
                  <a:lnTo>
                    <a:pt x="10826787" y="1378732"/>
                  </a:lnTo>
                  <a:lnTo>
                    <a:pt x="10823299" y="1412886"/>
                  </a:lnTo>
                  <a:lnTo>
                    <a:pt x="10812205" y="1441812"/>
                  </a:lnTo>
                  <a:lnTo>
                    <a:pt x="10721923" y="1464314"/>
                  </a:lnTo>
                  <a:lnTo>
                    <a:pt x="10674828" y="1577831"/>
                  </a:lnTo>
                  <a:lnTo>
                    <a:pt x="10647834" y="1589584"/>
                  </a:lnTo>
                  <a:lnTo>
                    <a:pt x="10594786" y="1576941"/>
                  </a:lnTo>
                  <a:lnTo>
                    <a:pt x="10568729" y="1568308"/>
                  </a:lnTo>
                  <a:lnTo>
                    <a:pt x="10549301" y="1552732"/>
                  </a:lnTo>
                  <a:lnTo>
                    <a:pt x="10532173" y="1539153"/>
                  </a:lnTo>
                  <a:lnTo>
                    <a:pt x="10507523" y="1524782"/>
                  </a:lnTo>
                  <a:lnTo>
                    <a:pt x="10463870" y="1488483"/>
                  </a:lnTo>
                  <a:lnTo>
                    <a:pt x="10433816" y="1463522"/>
                  </a:lnTo>
                  <a:lnTo>
                    <a:pt x="10397341" y="1447253"/>
                  </a:lnTo>
                  <a:lnTo>
                    <a:pt x="10370434" y="1435249"/>
                  </a:lnTo>
                  <a:lnTo>
                    <a:pt x="10337499" y="1426848"/>
                  </a:lnTo>
                  <a:lnTo>
                    <a:pt x="10314158" y="1429011"/>
                  </a:lnTo>
                  <a:lnTo>
                    <a:pt x="10294401" y="1451090"/>
                  </a:lnTo>
                  <a:lnTo>
                    <a:pt x="10290597" y="1481791"/>
                  </a:lnTo>
                  <a:lnTo>
                    <a:pt x="10272210" y="1524782"/>
                  </a:lnTo>
                  <a:lnTo>
                    <a:pt x="10256928" y="1560501"/>
                  </a:lnTo>
                  <a:lnTo>
                    <a:pt x="10220223" y="1591793"/>
                  </a:lnTo>
                  <a:lnTo>
                    <a:pt x="10191955" y="1615917"/>
                  </a:lnTo>
                  <a:lnTo>
                    <a:pt x="10171761" y="1633110"/>
                  </a:lnTo>
                  <a:lnTo>
                    <a:pt x="10151576" y="1661916"/>
                  </a:lnTo>
                  <a:lnTo>
                    <a:pt x="10123944" y="1668967"/>
                  </a:lnTo>
                  <a:lnTo>
                    <a:pt x="10093983" y="1676610"/>
                  </a:lnTo>
                  <a:lnTo>
                    <a:pt x="10069680" y="1671835"/>
                  </a:lnTo>
                  <a:lnTo>
                    <a:pt x="10047771" y="1662161"/>
                  </a:lnTo>
                  <a:lnTo>
                    <a:pt x="10025869" y="1652486"/>
                  </a:lnTo>
                  <a:lnTo>
                    <a:pt x="10006791" y="1637535"/>
                  </a:lnTo>
                  <a:lnTo>
                    <a:pt x="9989282" y="1622717"/>
                  </a:lnTo>
                  <a:lnTo>
                    <a:pt x="9971779" y="1607904"/>
                  </a:lnTo>
                  <a:lnTo>
                    <a:pt x="9955734" y="1593765"/>
                  </a:lnTo>
                  <a:lnTo>
                    <a:pt x="9922185" y="1578220"/>
                  </a:lnTo>
                  <a:lnTo>
                    <a:pt x="9884547" y="1588707"/>
                  </a:lnTo>
                  <a:lnTo>
                    <a:pt x="9868998" y="1606850"/>
                  </a:lnTo>
                  <a:lnTo>
                    <a:pt x="9864738" y="1635860"/>
                  </a:lnTo>
                  <a:lnTo>
                    <a:pt x="9866868" y="1670319"/>
                  </a:lnTo>
                  <a:lnTo>
                    <a:pt x="9867875" y="1704513"/>
                  </a:lnTo>
                  <a:lnTo>
                    <a:pt x="9863135" y="1734059"/>
                  </a:lnTo>
                  <a:lnTo>
                    <a:pt x="9846469" y="1753295"/>
                  </a:lnTo>
                  <a:lnTo>
                    <a:pt x="9820716" y="1755822"/>
                  </a:lnTo>
                  <a:lnTo>
                    <a:pt x="9785170" y="1753479"/>
                  </a:lnTo>
                  <a:lnTo>
                    <a:pt x="9758050" y="1750579"/>
                  </a:lnTo>
                  <a:lnTo>
                    <a:pt x="9733564" y="1731532"/>
                  </a:lnTo>
                  <a:lnTo>
                    <a:pt x="9729165" y="1701723"/>
                  </a:lnTo>
                  <a:lnTo>
                    <a:pt x="9728017" y="1658006"/>
                  </a:lnTo>
                  <a:lnTo>
                    <a:pt x="9724042" y="1615917"/>
                  </a:lnTo>
                  <a:lnTo>
                    <a:pt x="9720064" y="1573822"/>
                  </a:lnTo>
                  <a:lnTo>
                    <a:pt x="9713463" y="1532353"/>
                  </a:lnTo>
                  <a:lnTo>
                    <a:pt x="9696838" y="1505736"/>
                  </a:lnTo>
                  <a:lnTo>
                    <a:pt x="9682268" y="1482423"/>
                  </a:lnTo>
                  <a:lnTo>
                    <a:pt x="9638538" y="1430033"/>
                  </a:lnTo>
                  <a:lnTo>
                    <a:pt x="9598897" y="1377881"/>
                  </a:lnTo>
                  <a:lnTo>
                    <a:pt x="9559268" y="1325729"/>
                  </a:lnTo>
                  <a:lnTo>
                    <a:pt x="9523509" y="1274684"/>
                  </a:lnTo>
                  <a:lnTo>
                    <a:pt x="9518570" y="1230406"/>
                  </a:lnTo>
                  <a:lnTo>
                    <a:pt x="9519466" y="1200445"/>
                  </a:lnTo>
                  <a:lnTo>
                    <a:pt x="9521373" y="1171130"/>
                  </a:lnTo>
                  <a:lnTo>
                    <a:pt x="9523292" y="1141816"/>
                  </a:lnTo>
                  <a:lnTo>
                    <a:pt x="9525918" y="1112410"/>
                  </a:lnTo>
                  <a:lnTo>
                    <a:pt x="9526814" y="1086795"/>
                  </a:lnTo>
                  <a:lnTo>
                    <a:pt x="9519317" y="1063548"/>
                  </a:lnTo>
                  <a:lnTo>
                    <a:pt x="9495337" y="1049870"/>
                  </a:lnTo>
                  <a:lnTo>
                    <a:pt x="9463714" y="1064425"/>
                  </a:lnTo>
                  <a:lnTo>
                    <a:pt x="9448143" y="1087309"/>
                  </a:lnTo>
                  <a:lnTo>
                    <a:pt x="9430243" y="1108558"/>
                  </a:lnTo>
                  <a:lnTo>
                    <a:pt x="9412340" y="1129814"/>
                  </a:lnTo>
                  <a:lnTo>
                    <a:pt x="9392580" y="1150026"/>
                  </a:lnTo>
                  <a:lnTo>
                    <a:pt x="9358148" y="1160249"/>
                  </a:lnTo>
                  <a:lnTo>
                    <a:pt x="9306148" y="1150930"/>
                  </a:lnTo>
                  <a:lnTo>
                    <a:pt x="9271096" y="1141202"/>
                  </a:lnTo>
                  <a:lnTo>
                    <a:pt x="9236044" y="1131482"/>
                  </a:lnTo>
                  <a:lnTo>
                    <a:pt x="9203110" y="1118979"/>
                  </a:lnTo>
                  <a:lnTo>
                    <a:pt x="9191607" y="1094024"/>
                  </a:lnTo>
                  <a:lnTo>
                    <a:pt x="9194772" y="1064411"/>
                  </a:lnTo>
                  <a:lnTo>
                    <a:pt x="9193566" y="1043269"/>
                  </a:lnTo>
                  <a:lnTo>
                    <a:pt x="9173394" y="1029367"/>
                  </a:lnTo>
                  <a:lnTo>
                    <a:pt x="9151175" y="1016374"/>
                  </a:lnTo>
                  <a:lnTo>
                    <a:pt x="9128277" y="1005182"/>
                  </a:lnTo>
                  <a:lnTo>
                    <a:pt x="9131865" y="972412"/>
                  </a:lnTo>
                  <a:lnTo>
                    <a:pt x="9138289" y="934584"/>
                  </a:lnTo>
                  <a:lnTo>
                    <a:pt x="9131009" y="904531"/>
                  </a:lnTo>
                  <a:lnTo>
                    <a:pt x="9111962" y="895008"/>
                  </a:lnTo>
                  <a:lnTo>
                    <a:pt x="9087473" y="886850"/>
                  </a:lnTo>
                  <a:lnTo>
                    <a:pt x="9058911" y="919488"/>
                  </a:lnTo>
                  <a:lnTo>
                    <a:pt x="9037148" y="949417"/>
                  </a:lnTo>
                  <a:lnTo>
                    <a:pt x="9000428" y="949409"/>
                  </a:lnTo>
                  <a:lnTo>
                    <a:pt x="8978665" y="943969"/>
                  </a:lnTo>
                  <a:lnTo>
                    <a:pt x="8966030" y="971859"/>
                  </a:lnTo>
                  <a:lnTo>
                    <a:pt x="8951454" y="987495"/>
                  </a:lnTo>
                  <a:lnTo>
                    <a:pt x="8936887" y="1003139"/>
                  </a:lnTo>
                  <a:lnTo>
                    <a:pt x="8922938" y="1019282"/>
                  </a:lnTo>
                  <a:lnTo>
                    <a:pt x="8928677" y="1039945"/>
                  </a:lnTo>
                  <a:lnTo>
                    <a:pt x="8939216" y="1069107"/>
                  </a:lnTo>
                  <a:lnTo>
                    <a:pt x="8947591" y="1097538"/>
                  </a:lnTo>
                  <a:lnTo>
                    <a:pt x="8933781" y="1118081"/>
                  </a:lnTo>
                  <a:lnTo>
                    <a:pt x="8894462" y="1125091"/>
                  </a:lnTo>
                  <a:lnTo>
                    <a:pt x="8869223" y="1113432"/>
                  </a:lnTo>
                  <a:lnTo>
                    <a:pt x="8845361" y="1101752"/>
                  </a:lnTo>
                  <a:lnTo>
                    <a:pt x="8821508" y="1090080"/>
                  </a:lnTo>
                  <a:lnTo>
                    <a:pt x="8798527" y="1078941"/>
                  </a:lnTo>
                  <a:lnTo>
                    <a:pt x="8771914" y="1084071"/>
                  </a:lnTo>
                  <a:lnTo>
                    <a:pt x="8758309" y="1104469"/>
                  </a:lnTo>
                  <a:lnTo>
                    <a:pt x="8734118" y="1134878"/>
                  </a:lnTo>
                  <a:lnTo>
                    <a:pt x="8724491" y="1155428"/>
                  </a:lnTo>
                  <a:lnTo>
                    <a:pt x="8714783" y="1176558"/>
                  </a:lnTo>
                  <a:lnTo>
                    <a:pt x="8705075" y="1197695"/>
                  </a:lnTo>
                  <a:lnTo>
                    <a:pt x="8695553" y="1219662"/>
                  </a:lnTo>
                  <a:lnTo>
                    <a:pt x="8683498" y="1239131"/>
                  </a:lnTo>
                  <a:lnTo>
                    <a:pt x="8665815" y="1262252"/>
                  </a:lnTo>
                  <a:lnTo>
                    <a:pt x="8648136" y="1284015"/>
                  </a:lnTo>
                  <a:lnTo>
                    <a:pt x="8634062" y="1315506"/>
                  </a:lnTo>
                  <a:lnTo>
                    <a:pt x="8623648" y="1337065"/>
                  </a:lnTo>
                  <a:lnTo>
                    <a:pt x="8613236" y="1358623"/>
                  </a:lnTo>
                  <a:lnTo>
                    <a:pt x="8601444" y="1378592"/>
                  </a:lnTo>
                  <a:lnTo>
                    <a:pt x="8565902" y="1400330"/>
                  </a:lnTo>
                  <a:lnTo>
                    <a:pt x="8546244" y="1415043"/>
                  </a:lnTo>
                  <a:lnTo>
                    <a:pt x="8524354" y="1425476"/>
                  </a:lnTo>
                  <a:lnTo>
                    <a:pt x="8502467" y="1435916"/>
                  </a:lnTo>
                  <a:lnTo>
                    <a:pt x="8479383" y="1441984"/>
                  </a:lnTo>
                  <a:lnTo>
                    <a:pt x="8446827" y="1444522"/>
                  </a:lnTo>
                  <a:lnTo>
                    <a:pt x="8418265" y="1509812"/>
                  </a:lnTo>
                  <a:lnTo>
                    <a:pt x="8391054" y="1573735"/>
                  </a:lnTo>
                  <a:lnTo>
                    <a:pt x="8402858" y="1592241"/>
                  </a:lnTo>
                  <a:lnTo>
                    <a:pt x="8428221" y="1615086"/>
                  </a:lnTo>
                  <a:lnTo>
                    <a:pt x="8448185" y="1636308"/>
                  </a:lnTo>
                  <a:lnTo>
                    <a:pt x="8435991" y="1699309"/>
                  </a:lnTo>
                  <a:lnTo>
                    <a:pt x="8423697" y="1743765"/>
                  </a:lnTo>
                  <a:lnTo>
                    <a:pt x="8411412" y="1788221"/>
                  </a:lnTo>
                  <a:lnTo>
                    <a:pt x="8396988" y="1830627"/>
                  </a:lnTo>
                  <a:lnTo>
                    <a:pt x="8368655" y="1851877"/>
                  </a:lnTo>
                  <a:lnTo>
                    <a:pt x="8337172" y="1859420"/>
                  </a:lnTo>
                  <a:lnTo>
                    <a:pt x="8308082" y="1858022"/>
                  </a:lnTo>
                  <a:lnTo>
                    <a:pt x="8279935" y="1853735"/>
                  </a:lnTo>
                  <a:lnTo>
                    <a:pt x="8257347" y="1843263"/>
                  </a:lnTo>
                  <a:lnTo>
                    <a:pt x="8245516" y="1824013"/>
                  </a:lnTo>
                  <a:lnTo>
                    <a:pt x="8244533" y="1797666"/>
                  </a:lnTo>
                  <a:lnTo>
                    <a:pt x="8227228" y="1777717"/>
                  </a:lnTo>
                  <a:lnTo>
                    <a:pt x="8201990" y="1787285"/>
                  </a:lnTo>
                  <a:lnTo>
                    <a:pt x="8173960" y="1804630"/>
                  </a:lnTo>
                  <a:lnTo>
                    <a:pt x="8145683" y="1824350"/>
                  </a:lnTo>
                  <a:lnTo>
                    <a:pt x="8117660" y="1836253"/>
                  </a:lnTo>
                  <a:lnTo>
                    <a:pt x="8090080" y="1836846"/>
                  </a:lnTo>
                  <a:lnTo>
                    <a:pt x="8074134" y="1815848"/>
                  </a:lnTo>
                  <a:lnTo>
                    <a:pt x="8083659" y="1792727"/>
                  </a:lnTo>
                  <a:lnTo>
                    <a:pt x="8079423" y="1766201"/>
                  </a:lnTo>
                  <a:lnTo>
                    <a:pt x="8051013" y="1750559"/>
                  </a:lnTo>
                  <a:lnTo>
                    <a:pt x="8023808" y="1736960"/>
                  </a:lnTo>
                  <a:lnTo>
                    <a:pt x="7987252" y="1781450"/>
                  </a:lnTo>
                  <a:lnTo>
                    <a:pt x="7959034" y="1808898"/>
                  </a:lnTo>
                  <a:lnTo>
                    <a:pt x="7928592" y="1826729"/>
                  </a:lnTo>
                  <a:lnTo>
                    <a:pt x="7898157" y="1844562"/>
                  </a:lnTo>
                  <a:lnTo>
                    <a:pt x="7864323" y="1853717"/>
                  </a:lnTo>
                  <a:lnTo>
                    <a:pt x="7833383" y="1859375"/>
                  </a:lnTo>
                  <a:lnTo>
                    <a:pt x="7802439" y="1865032"/>
                  </a:lnTo>
                  <a:lnTo>
                    <a:pt x="7773526" y="1866366"/>
                  </a:lnTo>
                  <a:lnTo>
                    <a:pt x="7750405" y="1871615"/>
                  </a:lnTo>
                  <a:lnTo>
                    <a:pt x="7727296" y="1876864"/>
                  </a:lnTo>
                  <a:lnTo>
                    <a:pt x="7704159" y="1901536"/>
                  </a:lnTo>
                  <a:lnTo>
                    <a:pt x="7694210" y="1925337"/>
                  </a:lnTo>
                  <a:lnTo>
                    <a:pt x="7686545" y="1944924"/>
                  </a:lnTo>
                  <a:lnTo>
                    <a:pt x="7667368" y="1980569"/>
                  </a:lnTo>
                  <a:lnTo>
                    <a:pt x="7636154" y="2014434"/>
                  </a:lnTo>
                  <a:lnTo>
                    <a:pt x="7615644" y="2027308"/>
                  </a:lnTo>
                  <a:lnTo>
                    <a:pt x="7591249" y="2053317"/>
                  </a:lnTo>
                  <a:lnTo>
                    <a:pt x="7584899" y="2073874"/>
                  </a:lnTo>
                  <a:lnTo>
                    <a:pt x="7564990" y="2107343"/>
                  </a:lnTo>
                  <a:lnTo>
                    <a:pt x="7519172" y="2127333"/>
                  </a:lnTo>
                  <a:lnTo>
                    <a:pt x="7494916" y="2117546"/>
                  </a:lnTo>
                  <a:lnTo>
                    <a:pt x="7472707" y="2099034"/>
                  </a:lnTo>
                  <a:lnTo>
                    <a:pt x="7460683" y="2075647"/>
                  </a:lnTo>
                  <a:lnTo>
                    <a:pt x="7453976" y="2039778"/>
                  </a:lnTo>
                  <a:lnTo>
                    <a:pt x="7448780" y="1994135"/>
                  </a:lnTo>
                  <a:lnTo>
                    <a:pt x="7437562" y="1950509"/>
                  </a:lnTo>
                  <a:lnTo>
                    <a:pt x="7431956" y="1928694"/>
                  </a:lnTo>
                  <a:lnTo>
                    <a:pt x="7425249" y="1906951"/>
                  </a:lnTo>
                  <a:lnTo>
                    <a:pt x="7415799" y="1887936"/>
                  </a:lnTo>
                  <a:lnTo>
                    <a:pt x="7406348" y="1868924"/>
                  </a:lnTo>
                  <a:lnTo>
                    <a:pt x="7379072" y="1838970"/>
                  </a:lnTo>
                  <a:lnTo>
                    <a:pt x="7323305" y="1802242"/>
                  </a:lnTo>
                  <a:lnTo>
                    <a:pt x="7267538" y="1764158"/>
                  </a:lnTo>
                  <a:lnTo>
                    <a:pt x="7237729" y="1750480"/>
                  </a:lnTo>
                  <a:lnTo>
                    <a:pt x="7205526" y="1740330"/>
                  </a:lnTo>
                  <a:lnTo>
                    <a:pt x="7172322" y="1730154"/>
                  </a:lnTo>
                  <a:lnTo>
                    <a:pt x="7139115" y="1719985"/>
                  </a:lnTo>
                  <a:lnTo>
                    <a:pt x="7105461" y="1710146"/>
                  </a:lnTo>
                  <a:lnTo>
                    <a:pt x="7074387" y="1698867"/>
                  </a:lnTo>
                  <a:lnTo>
                    <a:pt x="7046938" y="1687479"/>
                  </a:lnTo>
                  <a:lnTo>
                    <a:pt x="7020229" y="1674901"/>
                  </a:lnTo>
                  <a:lnTo>
                    <a:pt x="6994141" y="1664865"/>
                  </a:lnTo>
                  <a:lnTo>
                    <a:pt x="6969370" y="1661020"/>
                  </a:lnTo>
                  <a:lnTo>
                    <a:pt x="6929128" y="1655110"/>
                  </a:lnTo>
                  <a:lnTo>
                    <a:pt x="6903005" y="1652624"/>
                  </a:lnTo>
                  <a:lnTo>
                    <a:pt x="6874443" y="1656699"/>
                  </a:lnTo>
                  <a:lnTo>
                    <a:pt x="6845880" y="1660775"/>
                  </a:lnTo>
                  <a:lnTo>
                    <a:pt x="6822350" y="1659938"/>
                  </a:lnTo>
                  <a:lnTo>
                    <a:pt x="6795951" y="1661626"/>
                  </a:lnTo>
                  <a:lnTo>
                    <a:pt x="6773785" y="1671657"/>
                  </a:lnTo>
                  <a:lnTo>
                    <a:pt x="6767196" y="1713271"/>
                  </a:lnTo>
                  <a:lnTo>
                    <a:pt x="6766986" y="1735587"/>
                  </a:lnTo>
                  <a:lnTo>
                    <a:pt x="6766787" y="1757899"/>
                  </a:lnTo>
                  <a:lnTo>
                    <a:pt x="6765646" y="1779227"/>
                  </a:lnTo>
                  <a:lnTo>
                    <a:pt x="6730687" y="1812617"/>
                  </a:lnTo>
                  <a:lnTo>
                    <a:pt x="6705467" y="1815558"/>
                  </a:lnTo>
                  <a:lnTo>
                    <a:pt x="6679934" y="1813118"/>
                  </a:lnTo>
                  <a:lnTo>
                    <a:pt x="6654397" y="1810677"/>
                  </a:lnTo>
                  <a:lnTo>
                    <a:pt x="6627444" y="1802356"/>
                  </a:lnTo>
                  <a:lnTo>
                    <a:pt x="6602403" y="1800878"/>
                  </a:lnTo>
                  <a:lnTo>
                    <a:pt x="6568313" y="1801537"/>
                  </a:lnTo>
                  <a:lnTo>
                    <a:pt x="6533112" y="1802955"/>
                  </a:lnTo>
                  <a:lnTo>
                    <a:pt x="6499027" y="1798160"/>
                  </a:lnTo>
                  <a:lnTo>
                    <a:pt x="6477375" y="1791724"/>
                  </a:lnTo>
                  <a:lnTo>
                    <a:pt x="6454744" y="1784298"/>
                  </a:lnTo>
                  <a:lnTo>
                    <a:pt x="6432374" y="1775032"/>
                  </a:lnTo>
                  <a:lnTo>
                    <a:pt x="6410009" y="1765773"/>
                  </a:lnTo>
                  <a:lnTo>
                    <a:pt x="6389111" y="1754410"/>
                  </a:lnTo>
                  <a:lnTo>
                    <a:pt x="6369807" y="1742387"/>
                  </a:lnTo>
                  <a:lnTo>
                    <a:pt x="6335796" y="1745105"/>
                  </a:lnTo>
                  <a:lnTo>
                    <a:pt x="6310263" y="1757022"/>
                  </a:lnTo>
                  <a:lnTo>
                    <a:pt x="6296022" y="1782650"/>
                  </a:lnTo>
                  <a:lnTo>
                    <a:pt x="6288196" y="1814476"/>
                  </a:lnTo>
                  <a:lnTo>
                    <a:pt x="6280361" y="1846303"/>
                  </a:lnTo>
                  <a:lnTo>
                    <a:pt x="6279484" y="1885536"/>
                  </a:lnTo>
                  <a:lnTo>
                    <a:pt x="6281397" y="1926016"/>
                  </a:lnTo>
                  <a:lnTo>
                    <a:pt x="6285207" y="2006968"/>
                  </a:lnTo>
                  <a:lnTo>
                    <a:pt x="6300034" y="2092901"/>
                  </a:lnTo>
                  <a:lnTo>
                    <a:pt x="6294996" y="2140924"/>
                  </a:lnTo>
                  <a:lnTo>
                    <a:pt x="6292698" y="2162774"/>
                  </a:lnTo>
                  <a:lnTo>
                    <a:pt x="6289554" y="2190512"/>
                  </a:lnTo>
                  <a:lnTo>
                    <a:pt x="6282755" y="2215736"/>
                  </a:lnTo>
                  <a:lnTo>
                    <a:pt x="6275955" y="2240963"/>
                  </a:lnTo>
                  <a:lnTo>
                    <a:pt x="6265984" y="2263715"/>
                  </a:lnTo>
                  <a:lnTo>
                    <a:pt x="6248751" y="2279667"/>
                  </a:lnTo>
                  <a:lnTo>
                    <a:pt x="6224265" y="2294625"/>
                  </a:lnTo>
                  <a:lnTo>
                    <a:pt x="6199777" y="2308230"/>
                  </a:lnTo>
                  <a:lnTo>
                    <a:pt x="6171537" y="2331219"/>
                  </a:lnTo>
                  <a:lnTo>
                    <a:pt x="6153535" y="2349032"/>
                  </a:lnTo>
                  <a:lnTo>
                    <a:pt x="6135530" y="2366853"/>
                  </a:lnTo>
                  <a:lnTo>
                    <a:pt x="6117692" y="2385866"/>
                  </a:lnTo>
                  <a:lnTo>
                    <a:pt x="6105826" y="2407226"/>
                  </a:lnTo>
                  <a:lnTo>
                    <a:pt x="6097318" y="2428593"/>
                  </a:lnTo>
                  <a:lnTo>
                    <a:pt x="6091390" y="2450786"/>
                  </a:lnTo>
                  <a:lnTo>
                    <a:pt x="6086885" y="2487777"/>
                  </a:lnTo>
                  <a:lnTo>
                    <a:pt x="6080972" y="2525572"/>
                  </a:lnTo>
                  <a:lnTo>
                    <a:pt x="6067887" y="2565551"/>
                  </a:lnTo>
                  <a:lnTo>
                    <a:pt x="6060393" y="2585559"/>
                  </a:lnTo>
                  <a:lnTo>
                    <a:pt x="6052877" y="2606116"/>
                  </a:lnTo>
                  <a:lnTo>
                    <a:pt x="6045365" y="2626665"/>
                  </a:lnTo>
                  <a:lnTo>
                    <a:pt x="6038478" y="2647459"/>
                  </a:lnTo>
                  <a:lnTo>
                    <a:pt x="6032479" y="2668681"/>
                  </a:lnTo>
                  <a:lnTo>
                    <a:pt x="5987830" y="2689027"/>
                  </a:lnTo>
                  <a:lnTo>
                    <a:pt x="5961748" y="2701325"/>
                  </a:lnTo>
                  <a:lnTo>
                    <a:pt x="5935666" y="2713632"/>
                  </a:lnTo>
                  <a:lnTo>
                    <a:pt x="5910111" y="2724850"/>
                  </a:lnTo>
                  <a:lnTo>
                    <a:pt x="5877242" y="2710216"/>
                  </a:lnTo>
                  <a:lnTo>
                    <a:pt x="5847491" y="2704049"/>
                  </a:lnTo>
                  <a:lnTo>
                    <a:pt x="5818929" y="2708046"/>
                  </a:lnTo>
                  <a:lnTo>
                    <a:pt x="5778106" y="2728702"/>
                  </a:lnTo>
                  <a:lnTo>
                    <a:pt x="5752945" y="2752800"/>
                  </a:lnTo>
                  <a:lnTo>
                    <a:pt x="5730509" y="2774780"/>
                  </a:lnTo>
                  <a:lnTo>
                    <a:pt x="5703234" y="2779409"/>
                  </a:lnTo>
                  <a:lnTo>
                    <a:pt x="5676181" y="2775584"/>
                  </a:lnTo>
                  <a:lnTo>
                    <a:pt x="5654347" y="2758451"/>
                  </a:lnTo>
                  <a:lnTo>
                    <a:pt x="5632577" y="2758451"/>
                  </a:lnTo>
                  <a:lnTo>
                    <a:pt x="5620811" y="2779225"/>
                  </a:lnTo>
                  <a:lnTo>
                    <a:pt x="5614427" y="2805690"/>
                  </a:lnTo>
                  <a:lnTo>
                    <a:pt x="5598573" y="2830539"/>
                  </a:lnTo>
                  <a:lnTo>
                    <a:pt x="5576810" y="2823741"/>
                  </a:lnTo>
                  <a:lnTo>
                    <a:pt x="5565171" y="2803290"/>
                  </a:lnTo>
                  <a:lnTo>
                    <a:pt x="5550976" y="2767974"/>
                  </a:lnTo>
                  <a:lnTo>
                    <a:pt x="5535123" y="2733575"/>
                  </a:lnTo>
                  <a:lnTo>
                    <a:pt x="5511726" y="2717338"/>
                  </a:lnTo>
                  <a:lnTo>
                    <a:pt x="5486729" y="2705541"/>
                  </a:lnTo>
                  <a:lnTo>
                    <a:pt x="5461202" y="2697244"/>
                  </a:lnTo>
                  <a:lnTo>
                    <a:pt x="5435672" y="2688954"/>
                  </a:lnTo>
                  <a:lnTo>
                    <a:pt x="5409069" y="2684226"/>
                  </a:lnTo>
                  <a:lnTo>
                    <a:pt x="5379709" y="2689376"/>
                  </a:lnTo>
                  <a:lnTo>
                    <a:pt x="5350762" y="2698431"/>
                  </a:lnTo>
                  <a:lnTo>
                    <a:pt x="5308873" y="2689100"/>
                  </a:lnTo>
                  <a:lnTo>
                    <a:pt x="5287510" y="2679384"/>
                  </a:lnTo>
                  <a:lnTo>
                    <a:pt x="5265332" y="2671399"/>
                  </a:lnTo>
                  <a:lnTo>
                    <a:pt x="5243153" y="2663411"/>
                  </a:lnTo>
                  <a:lnTo>
                    <a:pt x="5220851" y="2657430"/>
                  </a:lnTo>
                  <a:lnTo>
                    <a:pt x="5197326" y="2659157"/>
                  </a:lnTo>
                  <a:lnTo>
                    <a:pt x="5172838" y="2664599"/>
                  </a:lnTo>
                  <a:lnTo>
                    <a:pt x="5151075" y="2668675"/>
                  </a:lnTo>
                  <a:lnTo>
                    <a:pt x="5117421" y="2666828"/>
                  </a:lnTo>
                  <a:lnTo>
                    <a:pt x="5084078" y="2665081"/>
                  </a:lnTo>
                  <a:lnTo>
                    <a:pt x="5049066" y="2671399"/>
                  </a:lnTo>
                  <a:lnTo>
                    <a:pt x="5010432" y="2684054"/>
                  </a:lnTo>
                  <a:lnTo>
                    <a:pt x="4979495" y="2708646"/>
                  </a:lnTo>
                  <a:lnTo>
                    <a:pt x="4948408" y="2733972"/>
                  </a:lnTo>
                  <a:lnTo>
                    <a:pt x="4917319" y="2759296"/>
                  </a:lnTo>
                  <a:lnTo>
                    <a:pt x="4887017" y="2785965"/>
                  </a:lnTo>
                  <a:lnTo>
                    <a:pt x="4850473" y="2801978"/>
                  </a:lnTo>
                  <a:lnTo>
                    <a:pt x="4810978" y="2804206"/>
                  </a:lnTo>
                  <a:lnTo>
                    <a:pt x="4782459" y="2800619"/>
                  </a:lnTo>
                  <a:lnTo>
                    <a:pt x="4753949" y="2797025"/>
                  </a:lnTo>
                  <a:lnTo>
                    <a:pt x="4723805" y="2791630"/>
                  </a:lnTo>
                  <a:lnTo>
                    <a:pt x="4690970" y="2790568"/>
                  </a:lnTo>
                  <a:lnTo>
                    <a:pt x="4664128" y="2799261"/>
                  </a:lnTo>
                  <a:lnTo>
                    <a:pt x="4635531" y="2803646"/>
                  </a:lnTo>
                  <a:lnTo>
                    <a:pt x="4610103" y="2793140"/>
                  </a:lnTo>
                  <a:lnTo>
                    <a:pt x="4589314" y="2773416"/>
                  </a:lnTo>
                  <a:lnTo>
                    <a:pt x="4571132" y="2752885"/>
                  </a:lnTo>
                  <a:lnTo>
                    <a:pt x="4538483" y="2735784"/>
                  </a:lnTo>
                  <a:lnTo>
                    <a:pt x="4511009" y="2721400"/>
                  </a:lnTo>
                  <a:lnTo>
                    <a:pt x="4483224" y="2709491"/>
                  </a:lnTo>
                  <a:lnTo>
                    <a:pt x="4455424" y="2697574"/>
                  </a:lnTo>
                  <a:lnTo>
                    <a:pt x="4426251" y="2688650"/>
                  </a:lnTo>
                  <a:lnTo>
                    <a:pt x="4394805" y="2683644"/>
                  </a:lnTo>
                  <a:lnTo>
                    <a:pt x="4366103" y="2680928"/>
                  </a:lnTo>
                  <a:lnTo>
                    <a:pt x="4336461" y="2680928"/>
                  </a:lnTo>
                  <a:lnTo>
                    <a:pt x="4307753" y="2678204"/>
                  </a:lnTo>
                  <a:lnTo>
                    <a:pt x="4276322" y="2667191"/>
                  </a:lnTo>
                  <a:lnTo>
                    <a:pt x="4246696" y="2651132"/>
                  </a:lnTo>
                  <a:lnTo>
                    <a:pt x="4209818" y="2645560"/>
                  </a:lnTo>
                  <a:lnTo>
                    <a:pt x="4188312" y="2646819"/>
                  </a:lnTo>
                  <a:lnTo>
                    <a:pt x="4147251" y="2655083"/>
                  </a:lnTo>
                  <a:lnTo>
                    <a:pt x="4126071" y="2659113"/>
                  </a:lnTo>
                  <a:lnTo>
                    <a:pt x="4102472" y="2663221"/>
                  </a:lnTo>
                  <a:lnTo>
                    <a:pt x="4072440" y="2661881"/>
                  </a:lnTo>
                  <a:lnTo>
                    <a:pt x="4050677" y="2672763"/>
                  </a:lnTo>
                  <a:lnTo>
                    <a:pt x="4019398" y="2653513"/>
                  </a:lnTo>
                  <a:lnTo>
                    <a:pt x="3989462" y="2640323"/>
                  </a:lnTo>
                  <a:lnTo>
                    <a:pt x="3956825" y="2642842"/>
                  </a:lnTo>
                  <a:lnTo>
                    <a:pt x="3940296" y="2658849"/>
                  </a:lnTo>
                  <a:lnTo>
                    <a:pt x="3903734" y="2674729"/>
                  </a:lnTo>
                  <a:lnTo>
                    <a:pt x="3867048" y="2685010"/>
                  </a:lnTo>
                  <a:lnTo>
                    <a:pt x="3830362" y="2695292"/>
                  </a:lnTo>
                  <a:lnTo>
                    <a:pt x="3794259" y="2699380"/>
                  </a:lnTo>
                  <a:lnTo>
                    <a:pt x="3771296" y="2684140"/>
                  </a:lnTo>
                  <a:lnTo>
                    <a:pt x="3752791" y="2657806"/>
                  </a:lnTo>
                  <a:lnTo>
                    <a:pt x="3736904" y="2629277"/>
                  </a:lnTo>
                  <a:lnTo>
                    <a:pt x="3711988" y="2618362"/>
                  </a:lnTo>
                  <a:lnTo>
                    <a:pt x="3694649" y="2635212"/>
                  </a:lnTo>
                  <a:lnTo>
                    <a:pt x="3669472" y="2645031"/>
                  </a:lnTo>
                  <a:lnTo>
                    <a:pt x="3645334" y="2646924"/>
                  </a:lnTo>
                  <a:lnTo>
                    <a:pt x="3624269" y="2637368"/>
                  </a:lnTo>
                  <a:lnTo>
                    <a:pt x="3603833" y="2621119"/>
                  </a:lnTo>
                  <a:lnTo>
                    <a:pt x="3584126" y="2606122"/>
                  </a:lnTo>
                  <a:lnTo>
                    <a:pt x="3563730" y="2592727"/>
                  </a:lnTo>
                  <a:lnTo>
                    <a:pt x="3529720" y="2597958"/>
                  </a:lnTo>
                  <a:lnTo>
                    <a:pt x="3497734" y="2609796"/>
                  </a:lnTo>
                  <a:lnTo>
                    <a:pt x="3473404" y="2602865"/>
                  </a:lnTo>
                  <a:lnTo>
                    <a:pt x="3452190" y="2592517"/>
                  </a:lnTo>
                  <a:lnTo>
                    <a:pt x="3431614" y="2583982"/>
                  </a:lnTo>
                  <a:lnTo>
                    <a:pt x="3399780" y="2595372"/>
                  </a:lnTo>
                  <a:lnTo>
                    <a:pt x="3380095" y="2606868"/>
                  </a:lnTo>
                  <a:lnTo>
                    <a:pt x="3361054" y="2616997"/>
                  </a:lnTo>
                  <a:lnTo>
                    <a:pt x="3342013" y="2627133"/>
                  </a:lnTo>
                  <a:lnTo>
                    <a:pt x="3302571" y="2640126"/>
                  </a:lnTo>
                  <a:lnTo>
                    <a:pt x="3265844" y="2649642"/>
                  </a:lnTo>
                  <a:lnTo>
                    <a:pt x="3238559" y="2663136"/>
                  </a:lnTo>
                  <a:lnTo>
                    <a:pt x="3228628" y="2682201"/>
                  </a:lnTo>
                  <a:lnTo>
                    <a:pt x="3213283" y="2720451"/>
                  </a:lnTo>
                  <a:lnTo>
                    <a:pt x="3192388" y="2754375"/>
                  </a:lnTo>
                  <a:lnTo>
                    <a:pt x="3140243" y="2777556"/>
                  </a:lnTo>
                  <a:lnTo>
                    <a:pt x="3105336" y="2796543"/>
                  </a:lnTo>
                  <a:lnTo>
                    <a:pt x="3070430" y="2815523"/>
                  </a:lnTo>
                  <a:lnTo>
                    <a:pt x="3037052" y="2836297"/>
                  </a:lnTo>
                  <a:lnTo>
                    <a:pt x="3029173" y="2865909"/>
                  </a:lnTo>
                  <a:lnTo>
                    <a:pt x="3030873" y="2890350"/>
                  </a:lnTo>
                  <a:lnTo>
                    <a:pt x="3050440" y="2907186"/>
                  </a:lnTo>
                  <a:lnTo>
                    <a:pt x="3060933" y="2929925"/>
                  </a:lnTo>
                  <a:lnTo>
                    <a:pt x="3066064" y="2960941"/>
                  </a:lnTo>
                  <a:lnTo>
                    <a:pt x="3063922" y="2992379"/>
                  </a:lnTo>
                  <a:lnTo>
                    <a:pt x="3054549" y="3032845"/>
                  </a:lnTo>
                  <a:lnTo>
                    <a:pt x="3045489" y="3072659"/>
                  </a:lnTo>
                  <a:lnTo>
                    <a:pt x="3036420" y="3112479"/>
                  </a:lnTo>
                  <a:lnTo>
                    <a:pt x="3027722" y="3150419"/>
                  </a:lnTo>
                  <a:lnTo>
                    <a:pt x="3014201" y="3170593"/>
                  </a:lnTo>
                  <a:lnTo>
                    <a:pt x="2992121" y="3197718"/>
                  </a:lnTo>
                  <a:lnTo>
                    <a:pt x="2969317" y="3200521"/>
                  </a:lnTo>
                  <a:lnTo>
                    <a:pt x="2946723" y="3202017"/>
                  </a:lnTo>
                  <a:lnTo>
                    <a:pt x="2898521" y="3237142"/>
                  </a:lnTo>
                  <a:lnTo>
                    <a:pt x="2871382" y="3267168"/>
                  </a:lnTo>
                  <a:lnTo>
                    <a:pt x="2844245" y="3297196"/>
                  </a:lnTo>
                  <a:lnTo>
                    <a:pt x="2818374" y="3327624"/>
                  </a:lnTo>
                  <a:lnTo>
                    <a:pt x="2809885" y="3346875"/>
                  </a:lnTo>
                  <a:lnTo>
                    <a:pt x="2817754" y="3376170"/>
                  </a:lnTo>
                  <a:lnTo>
                    <a:pt x="2840695" y="3392122"/>
                  </a:lnTo>
                  <a:lnTo>
                    <a:pt x="2871388" y="3404548"/>
                  </a:lnTo>
                  <a:lnTo>
                    <a:pt x="2902142" y="3415997"/>
                  </a:lnTo>
                  <a:lnTo>
                    <a:pt x="2934556" y="3425190"/>
                  </a:lnTo>
                  <a:lnTo>
                    <a:pt x="2946202" y="3443998"/>
                  </a:lnTo>
                  <a:lnTo>
                    <a:pt x="2950112" y="3473925"/>
                  </a:lnTo>
                  <a:lnTo>
                    <a:pt x="2947724" y="3514722"/>
                  </a:lnTo>
                  <a:lnTo>
                    <a:pt x="2944844" y="3535523"/>
                  </a:lnTo>
                  <a:lnTo>
                    <a:pt x="2944844" y="3580836"/>
                  </a:lnTo>
                  <a:lnTo>
                    <a:pt x="2944512" y="3607196"/>
                  </a:lnTo>
                  <a:lnTo>
                    <a:pt x="2939731" y="3648051"/>
                  </a:lnTo>
                  <a:lnTo>
                    <a:pt x="2925803" y="3673869"/>
                  </a:lnTo>
                  <a:lnTo>
                    <a:pt x="2903665" y="3690152"/>
                  </a:lnTo>
                  <a:lnTo>
                    <a:pt x="2863615" y="3698390"/>
                  </a:lnTo>
                  <a:lnTo>
                    <a:pt x="2837288" y="3700223"/>
                  </a:lnTo>
                  <a:lnTo>
                    <a:pt x="2802025" y="3701074"/>
                  </a:lnTo>
                  <a:lnTo>
                    <a:pt x="2768107" y="3701892"/>
                  </a:lnTo>
                  <a:lnTo>
                    <a:pt x="2734196" y="3704061"/>
                  </a:lnTo>
                  <a:lnTo>
                    <a:pt x="2700006" y="3706515"/>
                  </a:lnTo>
                  <a:lnTo>
                    <a:pt x="2665825" y="3708968"/>
                  </a:lnTo>
                  <a:lnTo>
                    <a:pt x="2631756" y="3712543"/>
                  </a:lnTo>
                  <a:lnTo>
                    <a:pt x="2597997" y="3716037"/>
                  </a:lnTo>
                  <a:lnTo>
                    <a:pt x="2575778" y="3681923"/>
                  </a:lnTo>
                  <a:lnTo>
                    <a:pt x="2565354" y="3661630"/>
                  </a:lnTo>
                  <a:lnTo>
                    <a:pt x="2554926" y="3641330"/>
                  </a:lnTo>
                  <a:lnTo>
                    <a:pt x="2543749" y="3623458"/>
                  </a:lnTo>
                  <a:lnTo>
                    <a:pt x="2503227" y="3617470"/>
                  </a:lnTo>
                  <a:lnTo>
                    <a:pt x="2456926" y="3611971"/>
                  </a:lnTo>
                  <a:lnTo>
                    <a:pt x="2413010" y="3612662"/>
                  </a:lnTo>
                  <a:lnTo>
                    <a:pt x="2391048" y="3612992"/>
                  </a:lnTo>
                  <a:lnTo>
                    <a:pt x="2369992" y="3615050"/>
                  </a:lnTo>
                  <a:lnTo>
                    <a:pt x="2333607" y="3623874"/>
                  </a:lnTo>
                  <a:lnTo>
                    <a:pt x="2310994" y="3641225"/>
                  </a:lnTo>
                  <a:lnTo>
                    <a:pt x="2301116" y="3665653"/>
                  </a:lnTo>
                  <a:lnTo>
                    <a:pt x="2297851" y="3691155"/>
                  </a:lnTo>
                  <a:lnTo>
                    <a:pt x="2296031" y="3717397"/>
                  </a:lnTo>
                  <a:lnTo>
                    <a:pt x="2294211" y="3743637"/>
                  </a:lnTo>
                  <a:lnTo>
                    <a:pt x="2293116" y="3770941"/>
                  </a:lnTo>
                  <a:lnTo>
                    <a:pt x="2287873" y="3796285"/>
                  </a:lnTo>
                  <a:lnTo>
                    <a:pt x="2281027" y="3819623"/>
                  </a:lnTo>
                  <a:lnTo>
                    <a:pt x="2267515" y="3846400"/>
                  </a:lnTo>
                  <a:lnTo>
                    <a:pt x="2251143" y="3864298"/>
                  </a:lnTo>
                  <a:lnTo>
                    <a:pt x="2231135" y="3878675"/>
                  </a:lnTo>
                  <a:lnTo>
                    <a:pt x="2191969" y="3890236"/>
                  </a:lnTo>
                  <a:lnTo>
                    <a:pt x="2151853" y="3899660"/>
                  </a:lnTo>
                  <a:lnTo>
                    <a:pt x="2111735" y="3909090"/>
                  </a:lnTo>
                  <a:lnTo>
                    <a:pt x="2070082" y="3916385"/>
                  </a:lnTo>
                  <a:lnTo>
                    <a:pt x="2047113" y="3924147"/>
                  </a:lnTo>
                  <a:lnTo>
                    <a:pt x="2021154" y="3933545"/>
                  </a:lnTo>
                  <a:lnTo>
                    <a:pt x="1994189" y="3944670"/>
                  </a:lnTo>
                  <a:lnTo>
                    <a:pt x="1966866" y="3956791"/>
                  </a:lnTo>
                  <a:lnTo>
                    <a:pt x="1929836" y="3974783"/>
                  </a:lnTo>
                  <a:lnTo>
                    <a:pt x="1904293" y="3989436"/>
                  </a:lnTo>
                  <a:lnTo>
                    <a:pt x="1878757" y="4004089"/>
                  </a:lnTo>
                  <a:lnTo>
                    <a:pt x="1854495" y="4018836"/>
                  </a:lnTo>
                  <a:lnTo>
                    <a:pt x="1832816" y="4036478"/>
                  </a:lnTo>
                  <a:lnTo>
                    <a:pt x="1817359" y="4074668"/>
                  </a:lnTo>
                  <a:lnTo>
                    <a:pt x="1794117" y="4103693"/>
                  </a:lnTo>
                  <a:lnTo>
                    <a:pt x="1768305" y="4130705"/>
                  </a:lnTo>
                  <a:lnTo>
                    <a:pt x="1735594" y="4141969"/>
                  </a:lnTo>
                  <a:lnTo>
                    <a:pt x="1694824" y="4128173"/>
                  </a:lnTo>
                  <a:lnTo>
                    <a:pt x="1669619" y="4102460"/>
                  </a:lnTo>
                  <a:lnTo>
                    <a:pt x="1659456" y="4083288"/>
                  </a:lnTo>
                  <a:lnTo>
                    <a:pt x="1649301" y="4064117"/>
                  </a:lnTo>
                  <a:lnTo>
                    <a:pt x="1639289" y="4043533"/>
                  </a:lnTo>
                  <a:lnTo>
                    <a:pt x="1592808" y="4027528"/>
                  </a:lnTo>
                  <a:lnTo>
                    <a:pt x="1560165" y="4023452"/>
                  </a:lnTo>
                  <a:lnTo>
                    <a:pt x="1531621" y="4030753"/>
                  </a:lnTo>
                  <a:lnTo>
                    <a:pt x="1500011" y="4059605"/>
                  </a:lnTo>
                  <a:lnTo>
                    <a:pt x="1473110" y="4087383"/>
                  </a:lnTo>
                  <a:lnTo>
                    <a:pt x="1446210" y="4115154"/>
                  </a:lnTo>
                  <a:lnTo>
                    <a:pt x="1423116" y="4141811"/>
                  </a:lnTo>
                  <a:lnTo>
                    <a:pt x="1391624" y="4173315"/>
                  </a:lnTo>
                  <a:lnTo>
                    <a:pt x="1371095" y="4196192"/>
                  </a:lnTo>
                  <a:lnTo>
                    <a:pt x="1350566" y="4219084"/>
                  </a:lnTo>
                  <a:lnTo>
                    <a:pt x="1328874" y="4241421"/>
                  </a:lnTo>
                  <a:lnTo>
                    <a:pt x="1254122" y="4243802"/>
                  </a:lnTo>
                  <a:lnTo>
                    <a:pt x="1187466" y="4239726"/>
                  </a:lnTo>
                  <a:lnTo>
                    <a:pt x="1180958" y="4261165"/>
                  </a:lnTo>
                  <a:lnTo>
                    <a:pt x="1172251" y="4280693"/>
                  </a:lnTo>
                  <a:lnTo>
                    <a:pt x="1158903" y="4298216"/>
                  </a:lnTo>
                  <a:lnTo>
                    <a:pt x="1143676" y="4318205"/>
                  </a:lnTo>
                  <a:lnTo>
                    <a:pt x="1124939" y="4337343"/>
                  </a:lnTo>
                  <a:lnTo>
                    <a:pt x="1108578" y="4355341"/>
                  </a:lnTo>
                  <a:lnTo>
                    <a:pt x="1092876" y="4372620"/>
                  </a:lnTo>
                  <a:lnTo>
                    <a:pt x="1059374" y="4377315"/>
                  </a:lnTo>
                  <a:lnTo>
                    <a:pt x="1022884" y="4379821"/>
                  </a:lnTo>
                  <a:lnTo>
                    <a:pt x="986402" y="4382327"/>
                  </a:lnTo>
                  <a:lnTo>
                    <a:pt x="947834" y="4382183"/>
                  </a:lnTo>
                  <a:lnTo>
                    <a:pt x="923590" y="4389345"/>
                  </a:lnTo>
                  <a:lnTo>
                    <a:pt x="899083" y="4417920"/>
                  </a:lnTo>
                  <a:lnTo>
                    <a:pt x="896578" y="4449154"/>
                  </a:lnTo>
                  <a:lnTo>
                    <a:pt x="893431" y="4481904"/>
                  </a:lnTo>
                  <a:lnTo>
                    <a:pt x="886852" y="4513137"/>
                  </a:lnTo>
                  <a:lnTo>
                    <a:pt x="858131" y="4555674"/>
                  </a:lnTo>
                  <a:lnTo>
                    <a:pt x="829726" y="4585226"/>
                  </a:lnTo>
                  <a:lnTo>
                    <a:pt x="801316" y="4614778"/>
                  </a:lnTo>
                  <a:lnTo>
                    <a:pt x="770741" y="4643756"/>
                  </a:lnTo>
                  <a:lnTo>
                    <a:pt x="748410" y="4659860"/>
                  </a:lnTo>
                  <a:lnTo>
                    <a:pt x="726582" y="4663151"/>
                  </a:lnTo>
                  <a:lnTo>
                    <a:pt x="701542" y="4642391"/>
                  </a:lnTo>
                  <a:lnTo>
                    <a:pt x="688588" y="4606950"/>
                  </a:lnTo>
                  <a:lnTo>
                    <a:pt x="684929" y="4585443"/>
                  </a:lnTo>
                  <a:lnTo>
                    <a:pt x="680101" y="4563463"/>
                  </a:lnTo>
                  <a:lnTo>
                    <a:pt x="675274" y="4541475"/>
                  </a:lnTo>
                  <a:lnTo>
                    <a:pt x="669913" y="4519897"/>
                  </a:lnTo>
                  <a:lnTo>
                    <a:pt x="654922" y="4481883"/>
                  </a:lnTo>
                  <a:lnTo>
                    <a:pt x="629776" y="4457364"/>
                  </a:lnTo>
                  <a:lnTo>
                    <a:pt x="624716" y="4435475"/>
                  </a:lnTo>
                  <a:lnTo>
                    <a:pt x="631720" y="4413619"/>
                  </a:lnTo>
                  <a:lnTo>
                    <a:pt x="637933" y="4392075"/>
                  </a:lnTo>
                  <a:lnTo>
                    <a:pt x="644153" y="4370529"/>
                  </a:lnTo>
                  <a:lnTo>
                    <a:pt x="649942" y="4348568"/>
                  </a:lnTo>
                  <a:lnTo>
                    <a:pt x="644733" y="4328144"/>
                  </a:lnTo>
                  <a:lnTo>
                    <a:pt x="616294" y="4306744"/>
                  </a:lnTo>
                  <a:lnTo>
                    <a:pt x="575243" y="4314182"/>
                  </a:lnTo>
                  <a:lnTo>
                    <a:pt x="552140" y="4326811"/>
                  </a:lnTo>
                  <a:lnTo>
                    <a:pt x="529115" y="4341749"/>
                  </a:lnTo>
                  <a:lnTo>
                    <a:pt x="483078" y="4371611"/>
                  </a:lnTo>
                  <a:lnTo>
                    <a:pt x="439446" y="4412922"/>
                  </a:lnTo>
                  <a:lnTo>
                    <a:pt x="417175" y="4441570"/>
                  </a:lnTo>
                  <a:lnTo>
                    <a:pt x="405250" y="4463049"/>
                  </a:lnTo>
                  <a:lnTo>
                    <a:pt x="394457" y="4481845"/>
                  </a:lnTo>
                  <a:lnTo>
                    <a:pt x="383667" y="4500647"/>
                  </a:lnTo>
                  <a:lnTo>
                    <a:pt x="369975" y="4522653"/>
                  </a:lnTo>
                  <a:lnTo>
                    <a:pt x="351768" y="4546396"/>
                  </a:lnTo>
                  <a:lnTo>
                    <a:pt x="333775" y="4569642"/>
                  </a:lnTo>
                  <a:lnTo>
                    <a:pt x="315569" y="4592026"/>
                  </a:lnTo>
                  <a:lnTo>
                    <a:pt x="289958" y="4621010"/>
                  </a:lnTo>
                  <a:lnTo>
                    <a:pt x="255653" y="4647238"/>
                  </a:lnTo>
                  <a:lnTo>
                    <a:pt x="224433" y="4674996"/>
                  </a:lnTo>
                  <a:lnTo>
                    <a:pt x="193219" y="4702760"/>
                  </a:lnTo>
                  <a:lnTo>
                    <a:pt x="163826" y="4730954"/>
                  </a:lnTo>
                  <a:lnTo>
                    <a:pt x="146903" y="4766131"/>
                  </a:lnTo>
                  <a:lnTo>
                    <a:pt x="142736" y="4815804"/>
                  </a:lnTo>
                  <a:lnTo>
                    <a:pt x="144187" y="4853183"/>
                  </a:lnTo>
                  <a:lnTo>
                    <a:pt x="145638" y="4890564"/>
                  </a:lnTo>
                  <a:lnTo>
                    <a:pt x="145768" y="4930924"/>
                  </a:lnTo>
                  <a:lnTo>
                    <a:pt x="137387" y="4959276"/>
                  </a:lnTo>
                  <a:lnTo>
                    <a:pt x="120405" y="5016724"/>
                  </a:lnTo>
                  <a:lnTo>
                    <a:pt x="97783" y="5054769"/>
                  </a:lnTo>
                  <a:lnTo>
                    <a:pt x="73456" y="5089856"/>
                  </a:lnTo>
                  <a:lnTo>
                    <a:pt x="49126" y="5124940"/>
                  </a:lnTo>
                  <a:lnTo>
                    <a:pt x="23946" y="5156675"/>
                  </a:lnTo>
                  <a:lnTo>
                    <a:pt x="0" y="5202753"/>
                  </a:lnTo>
                  <a:lnTo>
                    <a:pt x="10381" y="5232055"/>
                  </a:lnTo>
                  <a:lnTo>
                    <a:pt x="35871" y="5249616"/>
                  </a:lnTo>
                  <a:lnTo>
                    <a:pt x="70731" y="5259884"/>
                  </a:lnTo>
                  <a:lnTo>
                    <a:pt x="106726" y="5269025"/>
                  </a:lnTo>
                  <a:lnTo>
                    <a:pt x="146599" y="5273781"/>
                  </a:lnTo>
                  <a:lnTo>
                    <a:pt x="168666" y="5288447"/>
                  </a:lnTo>
                  <a:lnTo>
                    <a:pt x="175506" y="5311186"/>
                  </a:lnTo>
                  <a:lnTo>
                    <a:pt x="166759" y="5339789"/>
                  </a:lnTo>
                  <a:lnTo>
                    <a:pt x="160474" y="5360087"/>
                  </a:lnTo>
                  <a:lnTo>
                    <a:pt x="172997" y="5380176"/>
                  </a:lnTo>
                  <a:lnTo>
                    <a:pt x="179546" y="5402703"/>
                  </a:lnTo>
                  <a:lnTo>
                    <a:pt x="175137" y="5436154"/>
                  </a:lnTo>
                  <a:lnTo>
                    <a:pt x="149619" y="5467994"/>
                  </a:lnTo>
                  <a:lnTo>
                    <a:pt x="126200" y="5499597"/>
                  </a:lnTo>
                  <a:lnTo>
                    <a:pt x="129254" y="5524572"/>
                  </a:lnTo>
                  <a:lnTo>
                    <a:pt x="135499" y="5551049"/>
                  </a:lnTo>
                  <a:lnTo>
                    <a:pt x="161221" y="5554531"/>
                  </a:lnTo>
                  <a:lnTo>
                    <a:pt x="186339" y="5561845"/>
                  </a:lnTo>
                  <a:lnTo>
                    <a:pt x="209885" y="5554657"/>
                  </a:lnTo>
                  <a:lnTo>
                    <a:pt x="231912" y="5540650"/>
                  </a:lnTo>
                  <a:lnTo>
                    <a:pt x="255771" y="5525573"/>
                  </a:lnTo>
                  <a:lnTo>
                    <a:pt x="280107" y="5513504"/>
                  </a:lnTo>
                  <a:lnTo>
                    <a:pt x="317274" y="5510656"/>
                  </a:lnTo>
                  <a:lnTo>
                    <a:pt x="337806" y="5520192"/>
                  </a:lnTo>
                  <a:lnTo>
                    <a:pt x="356369" y="5536007"/>
                  </a:lnTo>
                  <a:lnTo>
                    <a:pt x="374929" y="5551815"/>
                  </a:lnTo>
                  <a:lnTo>
                    <a:pt x="391344" y="5574099"/>
                  </a:lnTo>
                  <a:lnTo>
                    <a:pt x="408053" y="5595856"/>
                  </a:lnTo>
                  <a:lnTo>
                    <a:pt x="424765" y="5617605"/>
                  </a:lnTo>
                  <a:lnTo>
                    <a:pt x="441828" y="5638735"/>
                  </a:lnTo>
                  <a:lnTo>
                    <a:pt x="458378" y="5655705"/>
                  </a:lnTo>
                  <a:lnTo>
                    <a:pt x="474939" y="5672673"/>
                  </a:lnTo>
                  <a:lnTo>
                    <a:pt x="491967" y="5685532"/>
                  </a:lnTo>
                  <a:lnTo>
                    <a:pt x="528154" y="5673570"/>
                  </a:lnTo>
                  <a:lnTo>
                    <a:pt x="542637" y="5653514"/>
                  </a:lnTo>
                  <a:lnTo>
                    <a:pt x="556314" y="5631218"/>
                  </a:lnTo>
                  <a:lnTo>
                    <a:pt x="569993" y="5608926"/>
                  </a:lnTo>
                  <a:lnTo>
                    <a:pt x="582715" y="5583570"/>
                  </a:lnTo>
                  <a:lnTo>
                    <a:pt x="594401" y="5559128"/>
                  </a:lnTo>
                  <a:lnTo>
                    <a:pt x="606093" y="5534687"/>
                  </a:lnTo>
                  <a:lnTo>
                    <a:pt x="617646" y="5510973"/>
                  </a:lnTo>
                  <a:lnTo>
                    <a:pt x="629770" y="5491115"/>
                  </a:lnTo>
                  <a:lnTo>
                    <a:pt x="641890" y="5471265"/>
                  </a:lnTo>
                  <a:lnTo>
                    <a:pt x="669212" y="5447589"/>
                  </a:lnTo>
                  <a:lnTo>
                    <a:pt x="691933" y="5442076"/>
                  </a:lnTo>
                  <a:lnTo>
                    <a:pt x="715938" y="5458859"/>
                  </a:lnTo>
                  <a:lnTo>
                    <a:pt x="728585" y="5477134"/>
                  </a:lnTo>
                  <a:lnTo>
                    <a:pt x="738585" y="5497921"/>
                  </a:lnTo>
                  <a:lnTo>
                    <a:pt x="749406" y="5515952"/>
                  </a:lnTo>
                  <a:lnTo>
                    <a:pt x="767417" y="5530097"/>
                  </a:lnTo>
                  <a:lnTo>
                    <a:pt x="791633" y="5527849"/>
                  </a:lnTo>
                  <a:lnTo>
                    <a:pt x="815064" y="5517448"/>
                  </a:lnTo>
                  <a:lnTo>
                    <a:pt x="838926" y="5500156"/>
                  </a:lnTo>
                  <a:lnTo>
                    <a:pt x="863721" y="5481599"/>
                  </a:lnTo>
                  <a:lnTo>
                    <a:pt x="889428" y="5466806"/>
                  </a:lnTo>
                  <a:lnTo>
                    <a:pt x="905508" y="5482325"/>
                  </a:lnTo>
                  <a:lnTo>
                    <a:pt x="917814" y="5507319"/>
                  </a:lnTo>
                  <a:lnTo>
                    <a:pt x="948302" y="5529122"/>
                  </a:lnTo>
                  <a:lnTo>
                    <a:pt x="958940" y="5570011"/>
                  </a:lnTo>
                  <a:lnTo>
                    <a:pt x="961352" y="5591740"/>
                  </a:lnTo>
                  <a:lnTo>
                    <a:pt x="957929" y="5616366"/>
                  </a:lnTo>
                  <a:lnTo>
                    <a:pt x="957582" y="5646181"/>
                  </a:lnTo>
                  <a:lnTo>
                    <a:pt x="977801" y="5676347"/>
                  </a:lnTo>
                  <a:lnTo>
                    <a:pt x="1002649" y="5697628"/>
                  </a:lnTo>
                  <a:lnTo>
                    <a:pt x="1026952" y="5720994"/>
                  </a:lnTo>
                  <a:lnTo>
                    <a:pt x="1044358" y="5756429"/>
                  </a:lnTo>
                  <a:lnTo>
                    <a:pt x="1050076" y="5776761"/>
                  </a:lnTo>
                  <a:lnTo>
                    <a:pt x="1055793" y="5797099"/>
                  </a:lnTo>
                  <a:lnTo>
                    <a:pt x="1062004" y="5818078"/>
                  </a:lnTo>
                  <a:lnTo>
                    <a:pt x="1095592" y="5852826"/>
                  </a:lnTo>
                  <a:lnTo>
                    <a:pt x="1131897" y="5868199"/>
                  </a:lnTo>
                  <a:lnTo>
                    <a:pt x="1169771" y="5881494"/>
                  </a:lnTo>
                  <a:lnTo>
                    <a:pt x="1207641" y="5894796"/>
                  </a:lnTo>
                  <a:lnTo>
                    <a:pt x="1246333" y="5905855"/>
                  </a:lnTo>
                  <a:lnTo>
                    <a:pt x="1274505" y="5916863"/>
                  </a:lnTo>
                  <a:lnTo>
                    <a:pt x="1314252" y="5916401"/>
                  </a:lnTo>
                  <a:lnTo>
                    <a:pt x="1337072" y="5907339"/>
                  </a:lnTo>
                  <a:lnTo>
                    <a:pt x="1359896" y="5898304"/>
                  </a:lnTo>
                  <a:lnTo>
                    <a:pt x="1383987" y="5887957"/>
                  </a:lnTo>
                  <a:lnTo>
                    <a:pt x="1436840" y="5896121"/>
                  </a:lnTo>
                  <a:lnTo>
                    <a:pt x="1473033" y="5908448"/>
                  </a:lnTo>
                  <a:lnTo>
                    <a:pt x="1505735" y="5916863"/>
                  </a:lnTo>
                  <a:lnTo>
                    <a:pt x="1587032" y="5881454"/>
                  </a:lnTo>
                  <a:lnTo>
                    <a:pt x="1673597" y="5881415"/>
                  </a:lnTo>
                  <a:lnTo>
                    <a:pt x="1742672" y="5918393"/>
                  </a:lnTo>
                  <a:lnTo>
                    <a:pt x="1814503" y="5929102"/>
                  </a:lnTo>
                  <a:lnTo>
                    <a:pt x="1842418" y="5933271"/>
                  </a:lnTo>
                  <a:lnTo>
                    <a:pt x="1871635" y="5914139"/>
                  </a:lnTo>
                  <a:lnTo>
                    <a:pt x="1904281" y="5910063"/>
                  </a:lnTo>
                  <a:lnTo>
                    <a:pt x="1935805" y="5916737"/>
                  </a:lnTo>
                  <a:lnTo>
                    <a:pt x="1960045" y="5927750"/>
                  </a:lnTo>
                  <a:lnTo>
                    <a:pt x="1987770" y="5931331"/>
                  </a:lnTo>
                  <a:lnTo>
                    <a:pt x="2022612" y="5930468"/>
                  </a:lnTo>
                  <a:lnTo>
                    <a:pt x="2048365" y="5925113"/>
                  </a:lnTo>
                  <a:lnTo>
                    <a:pt x="2073123" y="5904451"/>
                  </a:lnTo>
                  <a:lnTo>
                    <a:pt x="2080890" y="5878843"/>
                  </a:lnTo>
                  <a:lnTo>
                    <a:pt x="2101506" y="5839332"/>
                  </a:lnTo>
                  <a:lnTo>
                    <a:pt x="2115639" y="5812235"/>
                  </a:lnTo>
                  <a:lnTo>
                    <a:pt x="2141386" y="5780677"/>
                  </a:lnTo>
                  <a:lnTo>
                    <a:pt x="2172237" y="5757720"/>
                  </a:lnTo>
                  <a:lnTo>
                    <a:pt x="2205363" y="5736762"/>
                  </a:lnTo>
                  <a:lnTo>
                    <a:pt x="2239761" y="5726995"/>
                  </a:lnTo>
                  <a:lnTo>
                    <a:pt x="2274252" y="5731875"/>
                  </a:lnTo>
                  <a:lnTo>
                    <a:pt x="2291085" y="5745013"/>
                  </a:lnTo>
                  <a:lnTo>
                    <a:pt x="2306852" y="5769704"/>
                  </a:lnTo>
                  <a:lnTo>
                    <a:pt x="2361748" y="5782162"/>
                  </a:lnTo>
                  <a:lnTo>
                    <a:pt x="2382218" y="5755551"/>
                  </a:lnTo>
                  <a:lnTo>
                    <a:pt x="2417071" y="5757720"/>
                  </a:lnTo>
                  <a:lnTo>
                    <a:pt x="2466997" y="5760827"/>
                  </a:lnTo>
                  <a:lnTo>
                    <a:pt x="2516795" y="5772513"/>
                  </a:lnTo>
                  <a:lnTo>
                    <a:pt x="2566690" y="5775401"/>
                  </a:lnTo>
                  <a:lnTo>
                    <a:pt x="2601209" y="5777353"/>
                  </a:lnTo>
                  <a:lnTo>
                    <a:pt x="2624693" y="5769954"/>
                  </a:lnTo>
                  <a:lnTo>
                    <a:pt x="2663267" y="5775401"/>
                  </a:lnTo>
                  <a:lnTo>
                    <a:pt x="2691830" y="5784925"/>
                  </a:lnTo>
                  <a:lnTo>
                    <a:pt x="2736193" y="5761863"/>
                  </a:lnTo>
                  <a:lnTo>
                    <a:pt x="2781632" y="5781634"/>
                  </a:lnTo>
                  <a:lnTo>
                    <a:pt x="2865072" y="5816666"/>
                  </a:lnTo>
                  <a:lnTo>
                    <a:pt x="2944831" y="5842056"/>
                  </a:lnTo>
                  <a:lnTo>
                    <a:pt x="2984708" y="5854745"/>
                  </a:lnTo>
                  <a:lnTo>
                    <a:pt x="3023416" y="5864525"/>
                  </a:lnTo>
                  <a:lnTo>
                    <a:pt x="3055004" y="5867895"/>
                  </a:lnTo>
                  <a:lnTo>
                    <a:pt x="3086599" y="5871271"/>
                  </a:lnTo>
                  <a:lnTo>
                    <a:pt x="3110818" y="5868489"/>
                  </a:lnTo>
                  <a:lnTo>
                    <a:pt x="3135679" y="5831215"/>
                  </a:lnTo>
                  <a:lnTo>
                    <a:pt x="3132770" y="5805032"/>
                  </a:lnTo>
                  <a:lnTo>
                    <a:pt x="3143421" y="5782207"/>
                  </a:lnTo>
                  <a:lnTo>
                    <a:pt x="3153491" y="5760610"/>
                  </a:lnTo>
                  <a:lnTo>
                    <a:pt x="3179912" y="5743272"/>
                  </a:lnTo>
                  <a:lnTo>
                    <a:pt x="3180144" y="5716912"/>
                  </a:lnTo>
                  <a:lnTo>
                    <a:pt x="3191756" y="5698023"/>
                  </a:lnTo>
                  <a:lnTo>
                    <a:pt x="3218306" y="5690076"/>
                  </a:lnTo>
                  <a:lnTo>
                    <a:pt x="3246791" y="5686990"/>
                  </a:lnTo>
                  <a:lnTo>
                    <a:pt x="3275279" y="5683897"/>
                  </a:lnTo>
                  <a:lnTo>
                    <a:pt x="3305836" y="5686529"/>
                  </a:lnTo>
                  <a:lnTo>
                    <a:pt x="3344612" y="5684663"/>
                  </a:lnTo>
                  <a:lnTo>
                    <a:pt x="3362412" y="5667951"/>
                  </a:lnTo>
                  <a:lnTo>
                    <a:pt x="3392091" y="5655559"/>
                  </a:lnTo>
                  <a:lnTo>
                    <a:pt x="3433143" y="5661151"/>
                  </a:lnTo>
                  <a:lnTo>
                    <a:pt x="3460387" y="5673220"/>
                  </a:lnTo>
                  <a:lnTo>
                    <a:pt x="3484789" y="5689879"/>
                  </a:lnTo>
                  <a:lnTo>
                    <a:pt x="3521553" y="5697873"/>
                  </a:lnTo>
                  <a:lnTo>
                    <a:pt x="3550394" y="5697885"/>
                  </a:lnTo>
                  <a:lnTo>
                    <a:pt x="3573240" y="5696513"/>
                  </a:lnTo>
                  <a:lnTo>
                    <a:pt x="3596091" y="5695141"/>
                  </a:lnTo>
                  <a:lnTo>
                    <a:pt x="3617959" y="5693025"/>
                  </a:lnTo>
                  <a:lnTo>
                    <a:pt x="3645880" y="5685824"/>
                  </a:lnTo>
                  <a:lnTo>
                    <a:pt x="3669268" y="5677290"/>
                  </a:lnTo>
                  <a:lnTo>
                    <a:pt x="3692935" y="5674756"/>
                  </a:lnTo>
                  <a:lnTo>
                    <a:pt x="3720139" y="5696519"/>
                  </a:lnTo>
                  <a:lnTo>
                    <a:pt x="3724526" y="5728103"/>
                  </a:lnTo>
                  <a:lnTo>
                    <a:pt x="3726635" y="5760148"/>
                  </a:lnTo>
                  <a:lnTo>
                    <a:pt x="3740544" y="5787655"/>
                  </a:lnTo>
                  <a:lnTo>
                    <a:pt x="3763811" y="5796769"/>
                  </a:lnTo>
                  <a:lnTo>
                    <a:pt x="3790733" y="5800310"/>
                  </a:lnTo>
                  <a:lnTo>
                    <a:pt x="3815358" y="5791731"/>
                  </a:lnTo>
                  <a:lnTo>
                    <a:pt x="3822148" y="5764850"/>
                  </a:lnTo>
                  <a:lnTo>
                    <a:pt x="3829503" y="5729652"/>
                  </a:lnTo>
                  <a:lnTo>
                    <a:pt x="3843921" y="5699237"/>
                  </a:lnTo>
                  <a:lnTo>
                    <a:pt x="3860162" y="5669600"/>
                  </a:lnTo>
                  <a:lnTo>
                    <a:pt x="3882086" y="5647270"/>
                  </a:lnTo>
                  <a:lnTo>
                    <a:pt x="3911932" y="5635312"/>
                  </a:lnTo>
                  <a:lnTo>
                    <a:pt x="3945812" y="5642890"/>
                  </a:lnTo>
                  <a:lnTo>
                    <a:pt x="3963616" y="5654353"/>
                  </a:lnTo>
                  <a:lnTo>
                    <a:pt x="3981422" y="5665820"/>
                  </a:lnTo>
                  <a:lnTo>
                    <a:pt x="3996262" y="5695161"/>
                  </a:lnTo>
                  <a:lnTo>
                    <a:pt x="3997620" y="5735963"/>
                  </a:lnTo>
                  <a:lnTo>
                    <a:pt x="4000339" y="5776773"/>
                  </a:lnTo>
                  <a:lnTo>
                    <a:pt x="4016199" y="5796743"/>
                  </a:lnTo>
                  <a:lnTo>
                    <a:pt x="4041608" y="5805765"/>
                  </a:lnTo>
                  <a:lnTo>
                    <a:pt x="4072428" y="5805330"/>
                  </a:lnTo>
                  <a:lnTo>
                    <a:pt x="4103080" y="5802910"/>
                  </a:lnTo>
                  <a:lnTo>
                    <a:pt x="4134340" y="5791196"/>
                  </a:lnTo>
                  <a:lnTo>
                    <a:pt x="4149964" y="5776767"/>
                  </a:lnTo>
                  <a:lnTo>
                    <a:pt x="4163039" y="5754147"/>
                  </a:lnTo>
                  <a:lnTo>
                    <a:pt x="4172248" y="5720493"/>
                  </a:lnTo>
                  <a:lnTo>
                    <a:pt x="4175807" y="5695155"/>
                  </a:lnTo>
                  <a:lnTo>
                    <a:pt x="4188681" y="5676710"/>
                  </a:lnTo>
                  <a:lnTo>
                    <a:pt x="4214283" y="5673174"/>
                  </a:lnTo>
                  <a:lnTo>
                    <a:pt x="4241090" y="5674750"/>
                  </a:lnTo>
                  <a:lnTo>
                    <a:pt x="4267907" y="5676327"/>
                  </a:lnTo>
                  <a:lnTo>
                    <a:pt x="4296079" y="5683700"/>
                  </a:lnTo>
                  <a:lnTo>
                    <a:pt x="4327643" y="5687267"/>
                  </a:lnTo>
                  <a:lnTo>
                    <a:pt x="4348547" y="5666593"/>
                  </a:lnTo>
                  <a:lnTo>
                    <a:pt x="4363920" y="5636289"/>
                  </a:lnTo>
                  <a:lnTo>
                    <a:pt x="4379010" y="5580299"/>
                  </a:lnTo>
                  <a:lnTo>
                    <a:pt x="4381996" y="5539600"/>
                  </a:lnTo>
                  <a:lnTo>
                    <a:pt x="4386424" y="5509317"/>
                  </a:lnTo>
                  <a:lnTo>
                    <a:pt x="4398960" y="5487428"/>
                  </a:lnTo>
                  <a:lnTo>
                    <a:pt x="4452029" y="5478671"/>
                  </a:lnTo>
                  <a:lnTo>
                    <a:pt x="4539912" y="5454909"/>
                  </a:lnTo>
                  <a:lnTo>
                    <a:pt x="4577891" y="5450570"/>
                  </a:lnTo>
                  <a:lnTo>
                    <a:pt x="4636278" y="5438758"/>
                  </a:lnTo>
                  <a:lnTo>
                    <a:pt x="4654591" y="5450313"/>
                  </a:lnTo>
                  <a:lnTo>
                    <a:pt x="4655304" y="5483314"/>
                  </a:lnTo>
                  <a:lnTo>
                    <a:pt x="4677721" y="5508802"/>
                  </a:lnTo>
                  <a:lnTo>
                    <a:pt x="4711142" y="5514586"/>
                  </a:lnTo>
                  <a:lnTo>
                    <a:pt x="4733485" y="5508802"/>
                  </a:lnTo>
                  <a:lnTo>
                    <a:pt x="4755831" y="5503020"/>
                  </a:lnTo>
                  <a:lnTo>
                    <a:pt x="4780983" y="5493456"/>
                  </a:lnTo>
                  <a:lnTo>
                    <a:pt x="4806935" y="5485681"/>
                  </a:lnTo>
                  <a:lnTo>
                    <a:pt x="4832893" y="5477906"/>
                  </a:lnTo>
                  <a:lnTo>
                    <a:pt x="4859713" y="5471601"/>
                  </a:lnTo>
                  <a:lnTo>
                    <a:pt x="4884471" y="5473442"/>
                  </a:lnTo>
                  <a:lnTo>
                    <a:pt x="4907645" y="5475162"/>
                  </a:lnTo>
                  <a:lnTo>
                    <a:pt x="4918472" y="5499286"/>
                  </a:lnTo>
                  <a:lnTo>
                    <a:pt x="4953841" y="5511526"/>
                  </a:lnTo>
                  <a:lnTo>
                    <a:pt x="5002557" y="5514296"/>
                  </a:lnTo>
                  <a:lnTo>
                    <a:pt x="5044970" y="5510168"/>
                  </a:lnTo>
                  <a:lnTo>
                    <a:pt x="5066733" y="5521049"/>
                  </a:lnTo>
                  <a:lnTo>
                    <a:pt x="5078974" y="5542812"/>
                  </a:lnTo>
                  <a:lnTo>
                    <a:pt x="5082344" y="5607793"/>
                  </a:lnTo>
                  <a:lnTo>
                    <a:pt x="5085780" y="5654345"/>
                  </a:lnTo>
                  <a:lnTo>
                    <a:pt x="5089209" y="5700899"/>
                  </a:lnTo>
                  <a:lnTo>
                    <a:pt x="5094675" y="5745764"/>
                  </a:lnTo>
                  <a:lnTo>
                    <a:pt x="5122196" y="5767132"/>
                  </a:lnTo>
                  <a:lnTo>
                    <a:pt x="5155276" y="5764738"/>
                  </a:lnTo>
                  <a:lnTo>
                    <a:pt x="5183715" y="5767244"/>
                  </a:lnTo>
                  <a:lnTo>
                    <a:pt x="5211167" y="5770950"/>
                  </a:lnTo>
                  <a:lnTo>
                    <a:pt x="5229700" y="5782578"/>
                  </a:lnTo>
                  <a:lnTo>
                    <a:pt x="5234040" y="5808046"/>
                  </a:lnTo>
                  <a:lnTo>
                    <a:pt x="5228599" y="5915504"/>
                  </a:lnTo>
                  <a:lnTo>
                    <a:pt x="5240291" y="5938626"/>
                  </a:lnTo>
                  <a:lnTo>
                    <a:pt x="5256727" y="5962038"/>
                  </a:lnTo>
                  <a:lnTo>
                    <a:pt x="5289804" y="5984875"/>
                  </a:lnTo>
                  <a:lnTo>
                    <a:pt x="5327185" y="5998910"/>
                  </a:lnTo>
                  <a:lnTo>
                    <a:pt x="5386434" y="6005775"/>
                  </a:lnTo>
                  <a:lnTo>
                    <a:pt x="5428674" y="6001132"/>
                  </a:lnTo>
                  <a:lnTo>
                    <a:pt x="5470711" y="6006638"/>
                  </a:lnTo>
                  <a:lnTo>
                    <a:pt x="5521939" y="6018748"/>
                  </a:lnTo>
                  <a:lnTo>
                    <a:pt x="5559128" y="6028401"/>
                  </a:lnTo>
                  <a:lnTo>
                    <a:pt x="5596316" y="6038057"/>
                  </a:lnTo>
                  <a:lnTo>
                    <a:pt x="5632642" y="6045977"/>
                  </a:lnTo>
                  <a:lnTo>
                    <a:pt x="5666302" y="6031231"/>
                  </a:lnTo>
                  <a:lnTo>
                    <a:pt x="5692812" y="6008327"/>
                  </a:lnTo>
                  <a:lnTo>
                    <a:pt x="5718271" y="5987593"/>
                  </a:lnTo>
                  <a:lnTo>
                    <a:pt x="5743721" y="5966866"/>
                  </a:lnTo>
                  <a:lnTo>
                    <a:pt x="5768247" y="5949065"/>
                  </a:lnTo>
                  <a:lnTo>
                    <a:pt x="5799869" y="5970123"/>
                  </a:lnTo>
                  <a:lnTo>
                    <a:pt x="5805553" y="6002767"/>
                  </a:lnTo>
                  <a:lnTo>
                    <a:pt x="5817565" y="6028401"/>
                  </a:lnTo>
                  <a:lnTo>
                    <a:pt x="5831381" y="6051676"/>
                  </a:lnTo>
                  <a:lnTo>
                    <a:pt x="5852713" y="6064977"/>
                  </a:lnTo>
                  <a:lnTo>
                    <a:pt x="5884212" y="6063764"/>
                  </a:lnTo>
                  <a:lnTo>
                    <a:pt x="5910322" y="6040029"/>
                  </a:lnTo>
                  <a:lnTo>
                    <a:pt x="5934280" y="6014052"/>
                  </a:lnTo>
                  <a:lnTo>
                    <a:pt x="5965822" y="6001198"/>
                  </a:lnTo>
                  <a:lnTo>
                    <a:pt x="6034819" y="5996087"/>
                  </a:lnTo>
                  <a:lnTo>
                    <a:pt x="6085654" y="5991253"/>
                  </a:lnTo>
                  <a:lnTo>
                    <a:pt x="6123614" y="5990317"/>
                  </a:lnTo>
                  <a:lnTo>
                    <a:pt x="6161565" y="5989381"/>
                  </a:lnTo>
                  <a:lnTo>
                    <a:pt x="6186106" y="5993331"/>
                  </a:lnTo>
                  <a:lnTo>
                    <a:pt x="6216173" y="6017224"/>
                  </a:lnTo>
                  <a:lnTo>
                    <a:pt x="6221540" y="6070569"/>
                  </a:lnTo>
                  <a:lnTo>
                    <a:pt x="6221738" y="6104124"/>
                  </a:lnTo>
                  <a:lnTo>
                    <a:pt x="6217143" y="6150850"/>
                  </a:lnTo>
                  <a:lnTo>
                    <a:pt x="6210666" y="6214748"/>
                  </a:lnTo>
                  <a:lnTo>
                    <a:pt x="6199923" y="6241503"/>
                  </a:lnTo>
                  <a:lnTo>
                    <a:pt x="6180600" y="6275045"/>
                  </a:lnTo>
                  <a:lnTo>
                    <a:pt x="6170337" y="6296129"/>
                  </a:lnTo>
                  <a:lnTo>
                    <a:pt x="6168498" y="6326287"/>
                  </a:lnTo>
                  <a:lnTo>
                    <a:pt x="6259634" y="6333087"/>
                  </a:lnTo>
                  <a:lnTo>
                    <a:pt x="6283328" y="6262231"/>
                  </a:lnTo>
                  <a:lnTo>
                    <a:pt x="6271345" y="6202594"/>
                  </a:lnTo>
                  <a:lnTo>
                    <a:pt x="6285471" y="6145382"/>
                  </a:lnTo>
                  <a:lnTo>
                    <a:pt x="6322898" y="6126851"/>
                  </a:lnTo>
                  <a:lnTo>
                    <a:pt x="6352121" y="6138582"/>
                  </a:lnTo>
                  <a:lnTo>
                    <a:pt x="6369801" y="6192991"/>
                  </a:lnTo>
                  <a:lnTo>
                    <a:pt x="6408763" y="6191421"/>
                  </a:lnTo>
                  <a:lnTo>
                    <a:pt x="6458812" y="6183383"/>
                  </a:lnTo>
                  <a:lnTo>
                    <a:pt x="6493579" y="6164423"/>
                  </a:lnTo>
                  <a:lnTo>
                    <a:pt x="6492280" y="6123639"/>
                  </a:lnTo>
                  <a:lnTo>
                    <a:pt x="6486736" y="6082790"/>
                  </a:lnTo>
                  <a:lnTo>
                    <a:pt x="6496311" y="6043366"/>
                  </a:lnTo>
                  <a:lnTo>
                    <a:pt x="6528448" y="6019328"/>
                  </a:lnTo>
                  <a:lnTo>
                    <a:pt x="6546636" y="6006638"/>
                  </a:lnTo>
                  <a:lnTo>
                    <a:pt x="6564824" y="5993951"/>
                  </a:lnTo>
                  <a:lnTo>
                    <a:pt x="6599684" y="5986241"/>
                  </a:lnTo>
                  <a:lnTo>
                    <a:pt x="6697384" y="6089912"/>
                  </a:lnTo>
                  <a:lnTo>
                    <a:pt x="6719382" y="6108655"/>
                  </a:lnTo>
                  <a:lnTo>
                    <a:pt x="6742398" y="6089669"/>
                  </a:lnTo>
                  <a:lnTo>
                    <a:pt x="6769813" y="6075958"/>
                  </a:lnTo>
                  <a:lnTo>
                    <a:pt x="6798271" y="6078735"/>
                  </a:lnTo>
                  <a:lnTo>
                    <a:pt x="6818676" y="6126343"/>
                  </a:lnTo>
                  <a:lnTo>
                    <a:pt x="6845899" y="6137982"/>
                  </a:lnTo>
                  <a:lnTo>
                    <a:pt x="6867643" y="6135866"/>
                  </a:lnTo>
                  <a:lnTo>
                    <a:pt x="6889387" y="6133748"/>
                  </a:lnTo>
                  <a:lnTo>
                    <a:pt x="6915206" y="6126746"/>
                  </a:lnTo>
                  <a:lnTo>
                    <a:pt x="6941090" y="6119543"/>
                  </a:lnTo>
                  <a:lnTo>
                    <a:pt x="6992866" y="6105141"/>
                  </a:lnTo>
                  <a:lnTo>
                    <a:pt x="7044361" y="6088007"/>
                  </a:lnTo>
                  <a:lnTo>
                    <a:pt x="7075838" y="6099996"/>
                  </a:lnTo>
                  <a:lnTo>
                    <a:pt x="7085056" y="6118963"/>
                  </a:lnTo>
                  <a:lnTo>
                    <a:pt x="7092076" y="6139948"/>
                  </a:lnTo>
                  <a:lnTo>
                    <a:pt x="7099099" y="6160927"/>
                  </a:lnTo>
                  <a:lnTo>
                    <a:pt x="7103067" y="6184345"/>
                  </a:lnTo>
                  <a:lnTo>
                    <a:pt x="7110118" y="6215032"/>
                  </a:lnTo>
                  <a:lnTo>
                    <a:pt x="7126077" y="6251481"/>
                  </a:lnTo>
                  <a:lnTo>
                    <a:pt x="7140606" y="6289376"/>
                  </a:lnTo>
                  <a:lnTo>
                    <a:pt x="7139289" y="6318300"/>
                  </a:lnTo>
                  <a:lnTo>
                    <a:pt x="7131525" y="6354856"/>
                  </a:lnTo>
                  <a:lnTo>
                    <a:pt x="7120914" y="6388207"/>
                  </a:lnTo>
                  <a:lnTo>
                    <a:pt x="7092932" y="6411395"/>
                  </a:lnTo>
                  <a:lnTo>
                    <a:pt x="7052922" y="6434938"/>
                  </a:lnTo>
                  <a:lnTo>
                    <a:pt x="7011827" y="6455515"/>
                  </a:lnTo>
                  <a:lnTo>
                    <a:pt x="6970728" y="6476084"/>
                  </a:lnTo>
                  <a:lnTo>
                    <a:pt x="6927788" y="6494404"/>
                  </a:lnTo>
                  <a:lnTo>
                    <a:pt x="6900289" y="6501757"/>
                  </a:lnTo>
                  <a:lnTo>
                    <a:pt x="6904732" y="6522802"/>
                  </a:lnTo>
                  <a:lnTo>
                    <a:pt x="6914756" y="6542581"/>
                  </a:lnTo>
                  <a:lnTo>
                    <a:pt x="6926133" y="6562966"/>
                  </a:lnTo>
                  <a:lnTo>
                    <a:pt x="6937509" y="6583357"/>
                  </a:lnTo>
                  <a:lnTo>
                    <a:pt x="6951226" y="6604283"/>
                  </a:lnTo>
                  <a:lnTo>
                    <a:pt x="6961495" y="6622813"/>
                  </a:lnTo>
                  <a:lnTo>
                    <a:pt x="6976511" y="6649912"/>
                  </a:lnTo>
                  <a:lnTo>
                    <a:pt x="6991068" y="6677717"/>
                  </a:lnTo>
                  <a:lnTo>
                    <a:pt x="7006379" y="6705785"/>
                  </a:lnTo>
                  <a:lnTo>
                    <a:pt x="7021699" y="6733859"/>
                  </a:lnTo>
                  <a:lnTo>
                    <a:pt x="7036678" y="6761690"/>
                  </a:lnTo>
                  <a:lnTo>
                    <a:pt x="7053988" y="6787403"/>
                  </a:lnTo>
                  <a:lnTo>
                    <a:pt x="7085248" y="6833824"/>
                  </a:lnTo>
                  <a:lnTo>
                    <a:pt x="7126461" y="6875010"/>
                  </a:lnTo>
                  <a:lnTo>
                    <a:pt x="7150565" y="6926140"/>
                  </a:lnTo>
                  <a:lnTo>
                    <a:pt x="7184489" y="6913129"/>
                  </a:lnTo>
                  <a:lnTo>
                    <a:pt x="7258320" y="6885503"/>
                  </a:lnTo>
                  <a:lnTo>
                    <a:pt x="7281143" y="6888048"/>
                  </a:lnTo>
                  <a:lnTo>
                    <a:pt x="7331686" y="6952407"/>
                  </a:lnTo>
                  <a:lnTo>
                    <a:pt x="7339338" y="6992023"/>
                  </a:lnTo>
                  <a:lnTo>
                    <a:pt x="7340926" y="7037264"/>
                  </a:lnTo>
                  <a:lnTo>
                    <a:pt x="7358674" y="7058078"/>
                  </a:lnTo>
                  <a:lnTo>
                    <a:pt x="7373197" y="7075072"/>
                  </a:lnTo>
                  <a:lnTo>
                    <a:pt x="7388396" y="7091197"/>
                  </a:lnTo>
                  <a:lnTo>
                    <a:pt x="7403564" y="7108404"/>
                  </a:lnTo>
                  <a:lnTo>
                    <a:pt x="7418726" y="7125609"/>
                  </a:lnTo>
                  <a:lnTo>
                    <a:pt x="7433671" y="7143633"/>
                  </a:lnTo>
                  <a:lnTo>
                    <a:pt x="7447084" y="7161453"/>
                  </a:lnTo>
                  <a:lnTo>
                    <a:pt x="7466738" y="7187549"/>
                  </a:lnTo>
                  <a:lnTo>
                    <a:pt x="7470834" y="7213698"/>
                  </a:lnTo>
                  <a:lnTo>
                    <a:pt x="7466131" y="7238982"/>
                  </a:lnTo>
                  <a:lnTo>
                    <a:pt x="7461427" y="7264267"/>
                  </a:lnTo>
                  <a:lnTo>
                    <a:pt x="7447877" y="7288997"/>
                  </a:lnTo>
                  <a:lnTo>
                    <a:pt x="7432126" y="7312430"/>
                  </a:lnTo>
                  <a:lnTo>
                    <a:pt x="7416372" y="7335875"/>
                  </a:lnTo>
                  <a:lnTo>
                    <a:pt x="7398045" y="7357150"/>
                  </a:lnTo>
                  <a:lnTo>
                    <a:pt x="7384520" y="7377725"/>
                  </a:lnTo>
                  <a:lnTo>
                    <a:pt x="7370992" y="7398295"/>
                  </a:lnTo>
                  <a:lnTo>
                    <a:pt x="7362128" y="7418158"/>
                  </a:lnTo>
                  <a:lnTo>
                    <a:pt x="7367076" y="7459779"/>
                  </a:lnTo>
                  <a:lnTo>
                    <a:pt x="7381181" y="7476992"/>
                  </a:lnTo>
                  <a:lnTo>
                    <a:pt x="7394036" y="7494700"/>
                  </a:lnTo>
                  <a:lnTo>
                    <a:pt x="7406903" y="7512407"/>
                  </a:lnTo>
                  <a:lnTo>
                    <a:pt x="7418989" y="7529600"/>
                  </a:lnTo>
                  <a:lnTo>
                    <a:pt x="7417163" y="7555907"/>
                  </a:lnTo>
                  <a:lnTo>
                    <a:pt x="7410807" y="7598991"/>
                  </a:lnTo>
                  <a:lnTo>
                    <a:pt x="7407641" y="7626637"/>
                  </a:lnTo>
                  <a:lnTo>
                    <a:pt x="7404475" y="7654290"/>
                  </a:lnTo>
                  <a:lnTo>
                    <a:pt x="7402562" y="7680307"/>
                  </a:lnTo>
                  <a:lnTo>
                    <a:pt x="7420264" y="7698389"/>
                  </a:lnTo>
                  <a:lnTo>
                    <a:pt x="7449803" y="7701450"/>
                  </a:lnTo>
                  <a:lnTo>
                    <a:pt x="7564996" y="7692863"/>
                  </a:lnTo>
                  <a:lnTo>
                    <a:pt x="7678189" y="7700856"/>
                  </a:lnTo>
                  <a:lnTo>
                    <a:pt x="7793937" y="7696010"/>
                  </a:lnTo>
                  <a:lnTo>
                    <a:pt x="7811024" y="7643686"/>
                  </a:lnTo>
                  <a:lnTo>
                    <a:pt x="7817080" y="7614878"/>
                  </a:lnTo>
                  <a:lnTo>
                    <a:pt x="7834741" y="7599433"/>
                  </a:lnTo>
                  <a:lnTo>
                    <a:pt x="7852402" y="7583995"/>
                  </a:lnTo>
                  <a:lnTo>
                    <a:pt x="7881457" y="7582886"/>
                  </a:lnTo>
                  <a:lnTo>
                    <a:pt x="7925873" y="7593999"/>
                  </a:lnTo>
                  <a:lnTo>
                    <a:pt x="7958414" y="7601741"/>
                  </a:lnTo>
                  <a:lnTo>
                    <a:pt x="7991264" y="7610737"/>
                  </a:lnTo>
                  <a:lnTo>
                    <a:pt x="8022450" y="7622561"/>
                  </a:lnTo>
                  <a:lnTo>
                    <a:pt x="8043658" y="7632421"/>
                  </a:lnTo>
                  <a:lnTo>
                    <a:pt x="8054541" y="7656862"/>
                  </a:lnTo>
                  <a:lnTo>
                    <a:pt x="8071418" y="7671529"/>
                  </a:lnTo>
                  <a:lnTo>
                    <a:pt x="8088886" y="7686723"/>
                  </a:lnTo>
                  <a:lnTo>
                    <a:pt x="8127185" y="7700092"/>
                  </a:lnTo>
                  <a:lnTo>
                    <a:pt x="8164286" y="7716968"/>
                  </a:lnTo>
                  <a:lnTo>
                    <a:pt x="8182952" y="7739536"/>
                  </a:lnTo>
                  <a:lnTo>
                    <a:pt x="8202650" y="7763350"/>
                  </a:lnTo>
                  <a:lnTo>
                    <a:pt x="8214414" y="7795125"/>
                  </a:lnTo>
                  <a:lnTo>
                    <a:pt x="8225117" y="7826588"/>
                  </a:lnTo>
                  <a:lnTo>
                    <a:pt x="8235823" y="7858053"/>
                  </a:lnTo>
                  <a:lnTo>
                    <a:pt x="8245984" y="7888435"/>
                  </a:lnTo>
                  <a:lnTo>
                    <a:pt x="8263204" y="7909558"/>
                  </a:lnTo>
                  <a:lnTo>
                    <a:pt x="8304021" y="7935147"/>
                  </a:lnTo>
                  <a:lnTo>
                    <a:pt x="8335293" y="7942210"/>
                  </a:lnTo>
                  <a:lnTo>
                    <a:pt x="8366572" y="7949267"/>
                  </a:lnTo>
                  <a:lnTo>
                    <a:pt x="8399990" y="7951740"/>
                  </a:lnTo>
                  <a:lnTo>
                    <a:pt x="8448626" y="7948086"/>
                  </a:lnTo>
                  <a:lnTo>
                    <a:pt x="8472612" y="7938965"/>
                  </a:lnTo>
                  <a:lnTo>
                    <a:pt x="8493076" y="7924523"/>
                  </a:lnTo>
                  <a:lnTo>
                    <a:pt x="8513540" y="7910087"/>
                  </a:lnTo>
                  <a:lnTo>
                    <a:pt x="8530614" y="7890638"/>
                  </a:lnTo>
                  <a:lnTo>
                    <a:pt x="8544766" y="7868756"/>
                  </a:lnTo>
                  <a:lnTo>
                    <a:pt x="8573065" y="7824985"/>
                  </a:lnTo>
                  <a:lnTo>
                    <a:pt x="8592263" y="7771106"/>
                  </a:lnTo>
                  <a:lnTo>
                    <a:pt x="8616854" y="7725937"/>
                  </a:lnTo>
                  <a:lnTo>
                    <a:pt x="8630863" y="7700209"/>
                  </a:lnTo>
                  <a:lnTo>
                    <a:pt x="8649711" y="7674417"/>
                  </a:lnTo>
                  <a:lnTo>
                    <a:pt x="8665822" y="7649766"/>
                  </a:lnTo>
                  <a:lnTo>
                    <a:pt x="8678320" y="7630634"/>
                  </a:lnTo>
                  <a:lnTo>
                    <a:pt x="8688772" y="7603944"/>
                  </a:lnTo>
                  <a:lnTo>
                    <a:pt x="8706625" y="7588551"/>
                  </a:lnTo>
                  <a:lnTo>
                    <a:pt x="8723291" y="7574188"/>
                  </a:lnTo>
                  <a:lnTo>
                    <a:pt x="8767877" y="7562112"/>
                  </a:lnTo>
                  <a:lnTo>
                    <a:pt x="8856250" y="7539585"/>
                  </a:lnTo>
                  <a:lnTo>
                    <a:pt x="8877855" y="7536142"/>
                  </a:lnTo>
                  <a:lnTo>
                    <a:pt x="8903748" y="7539782"/>
                  </a:lnTo>
                  <a:lnTo>
                    <a:pt x="8931064" y="7549107"/>
                  </a:lnTo>
                  <a:lnTo>
                    <a:pt x="8958371" y="7558440"/>
                  </a:lnTo>
                  <a:lnTo>
                    <a:pt x="8986863" y="7572605"/>
                  </a:lnTo>
                  <a:lnTo>
                    <a:pt x="9014033" y="7589917"/>
                  </a:lnTo>
                  <a:lnTo>
                    <a:pt x="9068377" y="7624540"/>
                  </a:lnTo>
                  <a:lnTo>
                    <a:pt x="9116368" y="7670400"/>
                  </a:lnTo>
                  <a:lnTo>
                    <a:pt x="9135089" y="7708249"/>
                  </a:lnTo>
                  <a:lnTo>
                    <a:pt x="9222867" y="7661412"/>
                  </a:lnTo>
                  <a:lnTo>
                    <a:pt x="9256145" y="7653842"/>
                  </a:lnTo>
                  <a:lnTo>
                    <a:pt x="9326026" y="7697862"/>
                  </a:lnTo>
                  <a:lnTo>
                    <a:pt x="9385365" y="7723213"/>
                  </a:lnTo>
                  <a:lnTo>
                    <a:pt x="9444707" y="7748557"/>
                  </a:lnTo>
                  <a:lnTo>
                    <a:pt x="9506170" y="7770901"/>
                  </a:lnTo>
                  <a:lnTo>
                    <a:pt x="9526826" y="7774898"/>
                  </a:lnTo>
                  <a:lnTo>
                    <a:pt x="9559386" y="7781143"/>
                  </a:lnTo>
                  <a:lnTo>
                    <a:pt x="9589393" y="7766060"/>
                  </a:lnTo>
                  <a:lnTo>
                    <a:pt x="9619320" y="7759933"/>
                  </a:lnTo>
                  <a:lnTo>
                    <a:pt x="9762139" y="7730012"/>
                  </a:lnTo>
                  <a:lnTo>
                    <a:pt x="9809622" y="7720318"/>
                  </a:lnTo>
                  <a:lnTo>
                    <a:pt x="9859057" y="7714330"/>
                  </a:lnTo>
                  <a:lnTo>
                    <a:pt x="9907684" y="7705525"/>
                  </a:lnTo>
                  <a:lnTo>
                    <a:pt x="9944237" y="7693075"/>
                  </a:lnTo>
                  <a:lnTo>
                    <a:pt x="10077714" y="7685127"/>
                  </a:lnTo>
                  <a:lnTo>
                    <a:pt x="10194687" y="7676963"/>
                  </a:lnTo>
                  <a:lnTo>
                    <a:pt x="10207554" y="7621203"/>
                  </a:lnTo>
                  <a:lnTo>
                    <a:pt x="10206928" y="7579029"/>
                  </a:lnTo>
                  <a:lnTo>
                    <a:pt x="10206332" y="7536861"/>
                  </a:lnTo>
                  <a:lnTo>
                    <a:pt x="10204010" y="7492213"/>
                  </a:lnTo>
                  <a:lnTo>
                    <a:pt x="10211002" y="7471571"/>
                  </a:lnTo>
                  <a:lnTo>
                    <a:pt x="10237394" y="7461838"/>
                  </a:lnTo>
                  <a:lnTo>
                    <a:pt x="10259969" y="7459331"/>
                  </a:lnTo>
                  <a:lnTo>
                    <a:pt x="10282545" y="7456824"/>
                  </a:lnTo>
                  <a:lnTo>
                    <a:pt x="10306087" y="7454846"/>
                  </a:lnTo>
                  <a:lnTo>
                    <a:pt x="10325897" y="7442797"/>
                  </a:lnTo>
                  <a:lnTo>
                    <a:pt x="10326623" y="7414446"/>
                  </a:lnTo>
                  <a:lnTo>
                    <a:pt x="10284455" y="7381801"/>
                  </a:lnTo>
                  <a:lnTo>
                    <a:pt x="10281522" y="7346354"/>
                  </a:lnTo>
                  <a:lnTo>
                    <a:pt x="10294315" y="7280292"/>
                  </a:lnTo>
                  <a:lnTo>
                    <a:pt x="10283090" y="7259381"/>
                  </a:lnTo>
                  <a:lnTo>
                    <a:pt x="10272387" y="7239424"/>
                  </a:lnTo>
                  <a:lnTo>
                    <a:pt x="10255920" y="7218327"/>
                  </a:lnTo>
                  <a:lnTo>
                    <a:pt x="10247728" y="7196814"/>
                  </a:lnTo>
                  <a:lnTo>
                    <a:pt x="10241905" y="7175203"/>
                  </a:lnTo>
                  <a:lnTo>
                    <a:pt x="10245393" y="7153130"/>
                  </a:lnTo>
                  <a:lnTo>
                    <a:pt x="10261334" y="7130167"/>
                  </a:lnTo>
                  <a:lnTo>
                    <a:pt x="10277187" y="7114016"/>
                  </a:lnTo>
                  <a:lnTo>
                    <a:pt x="10317181" y="7111859"/>
                  </a:lnTo>
                  <a:lnTo>
                    <a:pt x="10355185" y="7109762"/>
                  </a:lnTo>
                  <a:lnTo>
                    <a:pt x="10393192" y="7107664"/>
                  </a:lnTo>
                  <a:lnTo>
                    <a:pt x="10428871" y="7105574"/>
                  </a:lnTo>
                  <a:lnTo>
                    <a:pt x="10442240" y="6985982"/>
                  </a:lnTo>
                  <a:lnTo>
                    <a:pt x="10360627" y="6975100"/>
                  </a:lnTo>
                  <a:lnTo>
                    <a:pt x="10330185" y="6961937"/>
                  </a:lnTo>
                  <a:lnTo>
                    <a:pt x="10317615" y="6928415"/>
                  </a:lnTo>
                  <a:lnTo>
                    <a:pt x="10317002" y="6906368"/>
                  </a:lnTo>
                  <a:lnTo>
                    <a:pt x="10319823" y="6883965"/>
                  </a:lnTo>
                  <a:lnTo>
                    <a:pt x="10322641" y="6861569"/>
                  </a:lnTo>
                  <a:lnTo>
                    <a:pt x="10330074" y="6837940"/>
                  </a:lnTo>
                  <a:lnTo>
                    <a:pt x="10338864" y="6818676"/>
                  </a:lnTo>
                  <a:lnTo>
                    <a:pt x="10347660" y="6799419"/>
                  </a:lnTo>
                  <a:lnTo>
                    <a:pt x="10370158" y="6777874"/>
                  </a:lnTo>
                  <a:lnTo>
                    <a:pt x="10393040" y="6761834"/>
                  </a:lnTo>
                  <a:lnTo>
                    <a:pt x="10417997" y="6744945"/>
                  </a:lnTo>
                  <a:lnTo>
                    <a:pt x="10442240" y="6731624"/>
                  </a:lnTo>
                  <a:lnTo>
                    <a:pt x="10485667" y="6713440"/>
                  </a:lnTo>
                  <a:lnTo>
                    <a:pt x="10517163" y="6715353"/>
                  </a:lnTo>
                  <a:lnTo>
                    <a:pt x="10549697" y="6712583"/>
                  </a:lnTo>
                  <a:lnTo>
                    <a:pt x="10581655" y="6708152"/>
                  </a:lnTo>
                  <a:lnTo>
                    <a:pt x="10618388" y="6695252"/>
                  </a:lnTo>
                  <a:lnTo>
                    <a:pt x="10638920" y="6685155"/>
                  </a:lnTo>
                  <a:lnTo>
                    <a:pt x="10662596" y="6667699"/>
                  </a:lnTo>
                  <a:lnTo>
                    <a:pt x="10701149" y="6709010"/>
                  </a:lnTo>
                  <a:lnTo>
                    <a:pt x="10719396" y="6747939"/>
                  </a:lnTo>
                  <a:lnTo>
                    <a:pt x="10741490" y="6779232"/>
                  </a:lnTo>
                  <a:lnTo>
                    <a:pt x="10768543" y="6803132"/>
                  </a:lnTo>
                  <a:lnTo>
                    <a:pt x="10806919" y="6815188"/>
                  </a:lnTo>
                  <a:lnTo>
                    <a:pt x="10839422" y="6802354"/>
                  </a:lnTo>
                  <a:lnTo>
                    <a:pt x="10856379" y="6773066"/>
                  </a:lnTo>
                  <a:lnTo>
                    <a:pt x="10866534" y="6734433"/>
                  </a:lnTo>
                  <a:lnTo>
                    <a:pt x="10873426" y="6701701"/>
                  </a:lnTo>
                  <a:lnTo>
                    <a:pt x="10898120" y="6692397"/>
                  </a:lnTo>
                  <a:lnTo>
                    <a:pt x="10929029" y="6689105"/>
                  </a:lnTo>
                  <a:lnTo>
                    <a:pt x="10959120" y="6682656"/>
                  </a:lnTo>
                  <a:lnTo>
                    <a:pt x="10989209" y="6676219"/>
                  </a:lnTo>
                  <a:lnTo>
                    <a:pt x="11018397" y="6666189"/>
                  </a:lnTo>
                  <a:lnTo>
                    <a:pt x="11036511" y="6644148"/>
                  </a:lnTo>
                  <a:lnTo>
                    <a:pt x="11033928" y="6613291"/>
                  </a:lnTo>
                  <a:lnTo>
                    <a:pt x="11023203" y="6577883"/>
                  </a:lnTo>
                  <a:lnTo>
                    <a:pt x="11014729" y="6537160"/>
                  </a:lnTo>
                  <a:lnTo>
                    <a:pt x="11013272" y="6514446"/>
                  </a:lnTo>
                  <a:lnTo>
                    <a:pt x="11020329" y="6490869"/>
                  </a:lnTo>
                  <a:lnTo>
                    <a:pt x="11027386" y="6467292"/>
                  </a:lnTo>
                  <a:lnTo>
                    <a:pt x="11042948" y="6442423"/>
                  </a:lnTo>
                  <a:lnTo>
                    <a:pt x="11073371" y="6416057"/>
                  </a:lnTo>
                  <a:lnTo>
                    <a:pt x="11108851" y="6412615"/>
                  </a:lnTo>
                  <a:lnTo>
                    <a:pt x="11138548" y="6419500"/>
                  </a:lnTo>
                  <a:lnTo>
                    <a:pt x="11164506" y="6432386"/>
                  </a:lnTo>
                  <a:lnTo>
                    <a:pt x="11189764" y="6444857"/>
                  </a:lnTo>
                  <a:lnTo>
                    <a:pt x="11213644" y="6457321"/>
                  </a:lnTo>
                  <a:lnTo>
                    <a:pt x="11243401" y="6450067"/>
                  </a:lnTo>
                  <a:lnTo>
                    <a:pt x="11271904" y="6433738"/>
                  </a:lnTo>
                  <a:lnTo>
                    <a:pt x="11288285" y="6418781"/>
                  </a:lnTo>
                  <a:lnTo>
                    <a:pt x="11304668" y="6403823"/>
                  </a:lnTo>
                  <a:lnTo>
                    <a:pt x="11321418" y="6386538"/>
                  </a:lnTo>
                  <a:lnTo>
                    <a:pt x="11346777" y="6379330"/>
                  </a:lnTo>
                  <a:lnTo>
                    <a:pt x="11368624" y="6394630"/>
                  </a:lnTo>
                  <a:lnTo>
                    <a:pt x="11372615" y="6424214"/>
                  </a:lnTo>
                  <a:lnTo>
                    <a:pt x="11373703" y="6455033"/>
                  </a:lnTo>
                  <a:lnTo>
                    <a:pt x="11388719" y="6503571"/>
                  </a:lnTo>
                  <a:lnTo>
                    <a:pt x="11414724" y="6534930"/>
                  </a:lnTo>
                  <a:lnTo>
                    <a:pt x="11439262" y="6562958"/>
                  </a:lnTo>
                  <a:lnTo>
                    <a:pt x="11463809" y="6590980"/>
                  </a:lnTo>
                  <a:lnTo>
                    <a:pt x="11487122" y="6614986"/>
                  </a:lnTo>
                  <a:lnTo>
                    <a:pt x="11492313" y="6637764"/>
                  </a:lnTo>
                  <a:lnTo>
                    <a:pt x="11493079" y="6674116"/>
                  </a:lnTo>
                  <a:lnTo>
                    <a:pt x="11486105" y="6710236"/>
                  </a:lnTo>
                  <a:lnTo>
                    <a:pt x="11485519" y="6745221"/>
                  </a:lnTo>
                  <a:lnTo>
                    <a:pt x="11537125" y="6776680"/>
                  </a:lnTo>
                  <a:lnTo>
                    <a:pt x="11558975" y="6796913"/>
                  </a:lnTo>
                  <a:lnTo>
                    <a:pt x="11568680" y="6773164"/>
                  </a:lnTo>
                  <a:lnTo>
                    <a:pt x="11574565" y="6749350"/>
                  </a:lnTo>
                  <a:lnTo>
                    <a:pt x="11579371" y="6718018"/>
                  </a:lnTo>
                  <a:lnTo>
                    <a:pt x="11585036" y="6685281"/>
                  </a:lnTo>
                  <a:lnTo>
                    <a:pt x="11590028" y="6650103"/>
                  </a:lnTo>
                  <a:lnTo>
                    <a:pt x="11594334" y="6614643"/>
                  </a:lnTo>
                  <a:lnTo>
                    <a:pt x="11600576" y="6578286"/>
                  </a:lnTo>
                  <a:lnTo>
                    <a:pt x="11607143" y="6544908"/>
                  </a:lnTo>
                  <a:lnTo>
                    <a:pt x="11614739" y="6515350"/>
                  </a:lnTo>
                  <a:lnTo>
                    <a:pt x="11623992" y="6488107"/>
                  </a:lnTo>
                  <a:lnTo>
                    <a:pt x="11635414" y="6466423"/>
                  </a:lnTo>
                  <a:lnTo>
                    <a:pt x="11650108" y="6451419"/>
                  </a:lnTo>
                  <a:lnTo>
                    <a:pt x="11715391" y="6456859"/>
                  </a:lnTo>
                  <a:lnTo>
                    <a:pt x="11743953" y="6441889"/>
                  </a:lnTo>
                  <a:lnTo>
                    <a:pt x="11761602" y="6420686"/>
                  </a:lnTo>
                  <a:lnTo>
                    <a:pt x="11769917" y="6399055"/>
                  </a:lnTo>
                  <a:lnTo>
                    <a:pt x="11780556" y="6359584"/>
                  </a:lnTo>
                  <a:lnTo>
                    <a:pt x="11787479" y="6324909"/>
                  </a:lnTo>
                  <a:lnTo>
                    <a:pt x="11799060" y="6295449"/>
                  </a:lnTo>
                  <a:lnTo>
                    <a:pt x="11830308" y="6275487"/>
                  </a:lnTo>
                  <a:lnTo>
                    <a:pt x="11855323" y="6269472"/>
                  </a:lnTo>
                  <a:lnTo>
                    <a:pt x="11893572" y="6267784"/>
                  </a:lnTo>
                  <a:lnTo>
                    <a:pt x="11911028" y="6245974"/>
                  </a:lnTo>
                  <a:lnTo>
                    <a:pt x="11916926" y="6221580"/>
                  </a:lnTo>
                  <a:lnTo>
                    <a:pt x="11926218" y="6199777"/>
                  </a:lnTo>
                  <a:lnTo>
                    <a:pt x="11948245" y="6191666"/>
                  </a:lnTo>
                  <a:lnTo>
                    <a:pt x="11988527" y="6194284"/>
                  </a:lnTo>
                  <a:lnTo>
                    <a:pt x="12014067" y="6198972"/>
                  </a:lnTo>
                  <a:lnTo>
                    <a:pt x="12040481" y="6202495"/>
                  </a:lnTo>
                  <a:lnTo>
                    <a:pt x="12066885" y="6206015"/>
                  </a:lnTo>
                  <a:lnTo>
                    <a:pt x="12094815" y="6208581"/>
                  </a:lnTo>
                  <a:lnTo>
                    <a:pt x="12120727" y="6207935"/>
                  </a:lnTo>
                  <a:lnTo>
                    <a:pt x="12146645" y="6207276"/>
                  </a:lnTo>
                  <a:lnTo>
                    <a:pt x="12170076" y="6202797"/>
                  </a:lnTo>
                  <a:lnTo>
                    <a:pt x="12188742" y="6191613"/>
                  </a:lnTo>
                  <a:lnTo>
                    <a:pt x="12203699" y="6173932"/>
                  </a:lnTo>
                  <a:lnTo>
                    <a:pt x="12213221" y="6153527"/>
                  </a:lnTo>
                  <a:lnTo>
                    <a:pt x="12222929" y="6125564"/>
                  </a:lnTo>
                  <a:lnTo>
                    <a:pt x="12228014" y="6103056"/>
                  </a:lnTo>
                  <a:lnTo>
                    <a:pt x="12233790" y="6065255"/>
                  </a:lnTo>
                  <a:lnTo>
                    <a:pt x="12232261" y="6033829"/>
                  </a:lnTo>
                  <a:lnTo>
                    <a:pt x="12230156" y="6004739"/>
                  </a:lnTo>
                  <a:lnTo>
                    <a:pt x="12226218" y="5970427"/>
                  </a:lnTo>
                  <a:lnTo>
                    <a:pt x="12224110" y="5926372"/>
                  </a:lnTo>
                  <a:lnTo>
                    <a:pt x="12229886" y="5890232"/>
                  </a:lnTo>
                  <a:lnTo>
                    <a:pt x="12242819" y="5853704"/>
                  </a:lnTo>
                  <a:lnTo>
                    <a:pt x="12252679" y="5817557"/>
                  </a:lnTo>
                  <a:lnTo>
                    <a:pt x="12258846" y="5782754"/>
                  </a:lnTo>
                  <a:lnTo>
                    <a:pt x="12262827" y="5746265"/>
                  </a:lnTo>
                  <a:lnTo>
                    <a:pt x="12266278" y="5710106"/>
                  </a:lnTo>
                  <a:lnTo>
                    <a:pt x="12303683" y="5697095"/>
                  </a:lnTo>
                  <a:lnTo>
                    <a:pt x="12321537" y="5712190"/>
                  </a:lnTo>
                  <a:lnTo>
                    <a:pt x="12358607" y="5871332"/>
                  </a:lnTo>
                  <a:lnTo>
                    <a:pt x="12349293" y="5902485"/>
                  </a:lnTo>
                  <a:lnTo>
                    <a:pt x="12327490" y="5930454"/>
                  </a:lnTo>
                  <a:lnTo>
                    <a:pt x="12322209" y="5984156"/>
                  </a:lnTo>
                  <a:lnTo>
                    <a:pt x="12330209" y="6022948"/>
                  </a:lnTo>
                  <a:lnTo>
                    <a:pt x="12338215" y="6061739"/>
                  </a:lnTo>
                  <a:lnTo>
                    <a:pt x="12352499" y="6098909"/>
                  </a:lnTo>
                  <a:lnTo>
                    <a:pt x="12377809" y="6099126"/>
                  </a:lnTo>
                  <a:lnTo>
                    <a:pt x="12400146" y="6073794"/>
                  </a:lnTo>
                  <a:lnTo>
                    <a:pt x="12411432" y="6036178"/>
                  </a:lnTo>
                  <a:lnTo>
                    <a:pt x="12424054" y="5995757"/>
                  </a:lnTo>
                  <a:lnTo>
                    <a:pt x="12436683" y="5955330"/>
                  </a:lnTo>
                  <a:lnTo>
                    <a:pt x="12450474" y="5911719"/>
                  </a:lnTo>
                  <a:lnTo>
                    <a:pt x="12467587" y="5881500"/>
                  </a:lnTo>
                  <a:lnTo>
                    <a:pt x="12489666" y="5842498"/>
                  </a:lnTo>
                  <a:lnTo>
                    <a:pt x="12526433" y="5805561"/>
                  </a:lnTo>
                  <a:lnTo>
                    <a:pt x="12558722" y="5776761"/>
                  </a:lnTo>
                  <a:lnTo>
                    <a:pt x="12591002" y="5747967"/>
                  </a:lnTo>
                  <a:lnTo>
                    <a:pt x="12619125" y="5727398"/>
                  </a:lnTo>
                  <a:lnTo>
                    <a:pt x="12635914" y="5696896"/>
                  </a:lnTo>
                  <a:lnTo>
                    <a:pt x="12619329" y="5662168"/>
                  </a:lnTo>
                  <a:lnTo>
                    <a:pt x="12637610" y="5640740"/>
                  </a:lnTo>
                  <a:lnTo>
                    <a:pt x="12663457" y="5636184"/>
                  </a:lnTo>
                  <a:lnTo>
                    <a:pt x="12689294" y="5652981"/>
                  </a:lnTo>
                  <a:lnTo>
                    <a:pt x="12704437" y="5683066"/>
                  </a:lnTo>
                  <a:lnTo>
                    <a:pt x="12746987" y="5721343"/>
                  </a:lnTo>
                  <a:lnTo>
                    <a:pt x="12776275" y="5732495"/>
                  </a:lnTo>
                  <a:lnTo>
                    <a:pt x="12803551" y="5729151"/>
                  </a:lnTo>
                  <a:lnTo>
                    <a:pt x="12830833" y="5725808"/>
                  </a:lnTo>
                  <a:lnTo>
                    <a:pt x="12855240" y="5707962"/>
                  </a:lnTo>
                  <a:lnTo>
                    <a:pt x="12875639" y="5674744"/>
                  </a:lnTo>
                  <a:lnTo>
                    <a:pt x="12887952" y="5651826"/>
                  </a:lnTo>
                  <a:lnTo>
                    <a:pt x="12898695" y="5626924"/>
                  </a:lnTo>
                  <a:lnTo>
                    <a:pt x="12909643" y="5602648"/>
                  </a:lnTo>
                  <a:lnTo>
                    <a:pt x="12939037" y="5577238"/>
                  </a:lnTo>
                  <a:lnTo>
                    <a:pt x="12964059" y="5564563"/>
                  </a:lnTo>
                  <a:lnTo>
                    <a:pt x="12989077" y="5551894"/>
                  </a:lnTo>
                  <a:lnTo>
                    <a:pt x="13016316" y="5537405"/>
                  </a:lnTo>
                  <a:lnTo>
                    <a:pt x="13034789" y="5515596"/>
                  </a:lnTo>
                  <a:lnTo>
                    <a:pt x="13063820" y="5481342"/>
                  </a:lnTo>
                  <a:lnTo>
                    <a:pt x="13059777" y="5433562"/>
                  </a:lnTo>
                  <a:lnTo>
                    <a:pt x="13083754" y="5408145"/>
                  </a:lnTo>
                  <a:lnTo>
                    <a:pt x="13121906" y="5404399"/>
                  </a:lnTo>
                  <a:lnTo>
                    <a:pt x="13151762" y="5405427"/>
                  </a:lnTo>
                  <a:lnTo>
                    <a:pt x="13181617" y="5406456"/>
                  </a:lnTo>
                  <a:lnTo>
                    <a:pt x="13211935" y="5408956"/>
                  </a:lnTo>
                  <a:lnTo>
                    <a:pt x="13233735" y="5403641"/>
                  </a:lnTo>
                  <a:lnTo>
                    <a:pt x="13249564" y="5324956"/>
                  </a:lnTo>
                  <a:lnTo>
                    <a:pt x="13261944" y="5243556"/>
                  </a:lnTo>
                  <a:lnTo>
                    <a:pt x="13274316" y="5162161"/>
                  </a:lnTo>
                  <a:lnTo>
                    <a:pt x="13283872" y="5077529"/>
                  </a:lnTo>
                  <a:lnTo>
                    <a:pt x="13277770" y="5042886"/>
                  </a:lnTo>
                  <a:lnTo>
                    <a:pt x="13242897" y="5027289"/>
                  </a:lnTo>
                  <a:lnTo>
                    <a:pt x="13204428" y="5017364"/>
                  </a:lnTo>
                  <a:lnTo>
                    <a:pt x="13187236" y="4992792"/>
                  </a:lnTo>
                  <a:lnTo>
                    <a:pt x="13185239" y="4971134"/>
                  </a:lnTo>
                  <a:lnTo>
                    <a:pt x="13184408" y="4949753"/>
                  </a:lnTo>
                  <a:lnTo>
                    <a:pt x="13183583" y="4928379"/>
                  </a:lnTo>
                  <a:lnTo>
                    <a:pt x="13184141" y="4906675"/>
                  </a:lnTo>
                  <a:lnTo>
                    <a:pt x="13183047" y="4884464"/>
                  </a:lnTo>
                  <a:lnTo>
                    <a:pt x="13181286" y="4848633"/>
                  </a:lnTo>
                  <a:lnTo>
                    <a:pt x="13180290" y="4812164"/>
                  </a:lnTo>
                  <a:lnTo>
                    <a:pt x="13178973" y="4775655"/>
                  </a:lnTo>
                  <a:lnTo>
                    <a:pt x="13177646" y="4739137"/>
                  </a:lnTo>
                  <a:lnTo>
                    <a:pt x="13175788" y="4702458"/>
                  </a:lnTo>
                  <a:lnTo>
                    <a:pt x="13172173" y="4666832"/>
                  </a:lnTo>
                  <a:lnTo>
                    <a:pt x="13168889" y="4634530"/>
                  </a:lnTo>
                  <a:lnTo>
                    <a:pt x="13161705" y="4604964"/>
                  </a:lnTo>
                  <a:lnTo>
                    <a:pt x="13155851" y="4574338"/>
                  </a:lnTo>
                  <a:lnTo>
                    <a:pt x="13149994" y="4543718"/>
                  </a:lnTo>
                  <a:lnTo>
                    <a:pt x="13145716" y="4512689"/>
                  </a:lnTo>
                  <a:lnTo>
                    <a:pt x="13149052" y="4479127"/>
                  </a:lnTo>
                  <a:lnTo>
                    <a:pt x="13119125" y="4472327"/>
                  </a:lnTo>
                  <a:lnTo>
                    <a:pt x="13093279" y="4462806"/>
                  </a:lnTo>
                  <a:lnTo>
                    <a:pt x="13093409" y="4433860"/>
                  </a:lnTo>
                  <a:lnTo>
                    <a:pt x="13084994" y="4401980"/>
                  </a:lnTo>
                  <a:lnTo>
                    <a:pt x="13071516" y="4375752"/>
                  </a:lnTo>
                  <a:lnTo>
                    <a:pt x="13130005" y="4340384"/>
                  </a:lnTo>
                  <a:lnTo>
                    <a:pt x="13145043" y="4311867"/>
                  </a:lnTo>
                  <a:lnTo>
                    <a:pt x="13127289" y="4268295"/>
                  </a:lnTo>
                  <a:lnTo>
                    <a:pt x="13116043" y="4244236"/>
                  </a:lnTo>
                  <a:lnTo>
                    <a:pt x="13099715" y="4215503"/>
                  </a:lnTo>
                  <a:lnTo>
                    <a:pt x="13085121" y="4185325"/>
                  </a:lnTo>
                  <a:lnTo>
                    <a:pt x="13070526" y="4155147"/>
                  </a:lnTo>
                  <a:lnTo>
                    <a:pt x="13057020" y="4123384"/>
                  </a:lnTo>
                  <a:lnTo>
                    <a:pt x="13051111" y="4091472"/>
                  </a:lnTo>
                  <a:lnTo>
                    <a:pt x="13045201" y="4059559"/>
                  </a:lnTo>
                  <a:lnTo>
                    <a:pt x="13047185" y="4028240"/>
                  </a:lnTo>
                  <a:lnTo>
                    <a:pt x="13062000" y="3998978"/>
                  </a:lnTo>
                  <a:lnTo>
                    <a:pt x="13032070" y="4000338"/>
                  </a:lnTo>
                  <a:lnTo>
                    <a:pt x="13002143" y="4001696"/>
                  </a:lnTo>
                  <a:lnTo>
                    <a:pt x="12984622" y="3965450"/>
                  </a:lnTo>
                  <a:lnTo>
                    <a:pt x="12979022" y="3943206"/>
                  </a:lnTo>
                  <a:lnTo>
                    <a:pt x="12973429" y="3920961"/>
                  </a:lnTo>
                  <a:lnTo>
                    <a:pt x="12970204" y="3898795"/>
                  </a:lnTo>
                  <a:lnTo>
                    <a:pt x="12978343" y="3866777"/>
                  </a:lnTo>
                  <a:lnTo>
                    <a:pt x="13007591" y="3845271"/>
                  </a:lnTo>
                  <a:lnTo>
                    <a:pt x="13039939" y="3817381"/>
                  </a:lnTo>
                  <a:lnTo>
                    <a:pt x="13078076" y="3794358"/>
                  </a:lnTo>
                  <a:lnTo>
                    <a:pt x="13116400" y="3775900"/>
                  </a:lnTo>
                  <a:lnTo>
                    <a:pt x="13154729" y="3757441"/>
                  </a:lnTo>
                  <a:lnTo>
                    <a:pt x="13194041" y="3742879"/>
                  </a:lnTo>
                  <a:lnTo>
                    <a:pt x="13232020" y="3729656"/>
                  </a:lnTo>
                  <a:lnTo>
                    <a:pt x="13270003" y="3716426"/>
                  </a:lnTo>
                  <a:lnTo>
                    <a:pt x="13305436" y="3705109"/>
                  </a:lnTo>
                  <a:lnTo>
                    <a:pt x="13336755" y="3692928"/>
                  </a:lnTo>
                  <a:lnTo>
                    <a:pt x="13368074" y="3680748"/>
                  </a:lnTo>
                  <a:lnTo>
                    <a:pt x="13394572" y="3667446"/>
                  </a:lnTo>
                  <a:lnTo>
                    <a:pt x="13412927" y="3652120"/>
                  </a:lnTo>
                  <a:lnTo>
                    <a:pt x="13423941" y="3699392"/>
                  </a:lnTo>
                  <a:lnTo>
                    <a:pt x="13443645" y="3714257"/>
                  </a:lnTo>
                  <a:lnTo>
                    <a:pt x="13465612" y="3719466"/>
                  </a:lnTo>
                  <a:lnTo>
                    <a:pt x="13487890" y="3712754"/>
                  </a:lnTo>
                  <a:lnTo>
                    <a:pt x="13496879" y="3689381"/>
                  </a:lnTo>
                  <a:lnTo>
                    <a:pt x="13510859" y="3660284"/>
                  </a:lnTo>
                  <a:lnTo>
                    <a:pt x="13524843" y="3631180"/>
                  </a:lnTo>
                  <a:lnTo>
                    <a:pt x="13544014" y="3595865"/>
                  </a:lnTo>
                  <a:lnTo>
                    <a:pt x="13581590" y="3566426"/>
                  </a:lnTo>
                  <a:lnTo>
                    <a:pt x="13612152" y="3543073"/>
                  </a:lnTo>
                  <a:lnTo>
                    <a:pt x="13706426" y="3511478"/>
                  </a:lnTo>
                  <a:lnTo>
                    <a:pt x="13736650" y="3498419"/>
                  </a:lnTo>
                  <a:lnTo>
                    <a:pt x="13778303" y="3480428"/>
                  </a:lnTo>
                  <a:lnTo>
                    <a:pt x="13820288" y="3461375"/>
                  </a:lnTo>
                  <a:lnTo>
                    <a:pt x="13861796" y="3441294"/>
                  </a:lnTo>
                  <a:lnTo>
                    <a:pt x="13903297" y="3421206"/>
                  </a:lnTo>
                  <a:lnTo>
                    <a:pt x="13943875" y="3399053"/>
                  </a:lnTo>
                  <a:lnTo>
                    <a:pt x="13981485" y="3373281"/>
                  </a:lnTo>
                  <a:lnTo>
                    <a:pt x="14005834" y="3354834"/>
                  </a:lnTo>
                  <a:lnTo>
                    <a:pt x="14023653" y="3340635"/>
                  </a:lnTo>
                  <a:lnTo>
                    <a:pt x="14041475" y="3326438"/>
                  </a:lnTo>
                  <a:lnTo>
                    <a:pt x="14059523" y="3312745"/>
                  </a:lnTo>
                  <a:lnTo>
                    <a:pt x="14075048" y="3298027"/>
                  </a:lnTo>
                  <a:lnTo>
                    <a:pt x="14085475" y="3277865"/>
                  </a:lnTo>
                  <a:lnTo>
                    <a:pt x="14095751" y="3259025"/>
                  </a:lnTo>
                  <a:lnTo>
                    <a:pt x="14106017" y="3240189"/>
                  </a:lnTo>
                  <a:lnTo>
                    <a:pt x="14125671" y="3215497"/>
                  </a:lnTo>
                  <a:lnTo>
                    <a:pt x="14155077" y="3207802"/>
                  </a:lnTo>
                  <a:lnTo>
                    <a:pt x="14180598" y="3204155"/>
                  </a:lnTo>
                  <a:lnTo>
                    <a:pt x="14203202" y="3203264"/>
                  </a:lnTo>
                  <a:lnTo>
                    <a:pt x="14230403" y="3204623"/>
                  </a:lnTo>
                  <a:lnTo>
                    <a:pt x="14253527" y="3205981"/>
                  </a:lnTo>
                  <a:lnTo>
                    <a:pt x="14278381" y="3197408"/>
                  </a:lnTo>
                  <a:lnTo>
                    <a:pt x="14294092" y="3178349"/>
                  </a:lnTo>
                  <a:lnTo>
                    <a:pt x="14303859" y="3155650"/>
                  </a:lnTo>
                  <a:lnTo>
                    <a:pt x="14314866" y="3126619"/>
                  </a:lnTo>
                  <a:lnTo>
                    <a:pt x="14314739" y="3099883"/>
                  </a:lnTo>
                  <a:lnTo>
                    <a:pt x="14281138" y="3080381"/>
                  </a:lnTo>
                  <a:lnTo>
                    <a:pt x="14251053" y="3072283"/>
                  </a:lnTo>
                  <a:lnTo>
                    <a:pt x="14219523" y="3065878"/>
                  </a:lnTo>
                  <a:lnTo>
                    <a:pt x="14187999" y="3059469"/>
                  </a:lnTo>
                  <a:lnTo>
                    <a:pt x="14155359" y="3054926"/>
                  </a:lnTo>
                  <a:lnTo>
                    <a:pt x="14125671" y="3049557"/>
                  </a:lnTo>
                  <a:lnTo>
                    <a:pt x="14110668" y="3027853"/>
                  </a:lnTo>
                  <a:lnTo>
                    <a:pt x="14115554" y="2989049"/>
                  </a:lnTo>
                  <a:lnTo>
                    <a:pt x="14103908" y="2962503"/>
                  </a:lnTo>
                  <a:lnTo>
                    <a:pt x="14054603" y="2948041"/>
                  </a:lnTo>
                  <a:lnTo>
                    <a:pt x="14019988" y="2946960"/>
                  </a:lnTo>
                  <a:lnTo>
                    <a:pt x="13985568" y="2946182"/>
                  </a:lnTo>
                  <a:lnTo>
                    <a:pt x="13951155" y="2945404"/>
                  </a:lnTo>
                  <a:lnTo>
                    <a:pt x="13916769" y="2945304"/>
                  </a:lnTo>
                  <a:lnTo>
                    <a:pt x="13880834" y="2946182"/>
                  </a:lnTo>
                  <a:lnTo>
                    <a:pt x="13853018" y="2946855"/>
                  </a:lnTo>
                  <a:lnTo>
                    <a:pt x="13827997" y="2928184"/>
                  </a:lnTo>
                  <a:lnTo>
                    <a:pt x="13803307" y="2908096"/>
                  </a:lnTo>
                  <a:lnTo>
                    <a:pt x="13778613" y="2888009"/>
                  </a:lnTo>
                  <a:lnTo>
                    <a:pt x="13754339" y="2866779"/>
                  </a:lnTo>
                  <a:lnTo>
                    <a:pt x="13727134" y="2863204"/>
                  </a:lnTo>
                  <a:lnTo>
                    <a:pt x="13637351" y="2850978"/>
                  </a:lnTo>
                  <a:lnTo>
                    <a:pt x="13548941" y="2838737"/>
                  </a:lnTo>
                  <a:lnTo>
                    <a:pt x="13525817" y="2825132"/>
                  </a:lnTo>
                  <a:lnTo>
                    <a:pt x="13508980" y="2810827"/>
                  </a:lnTo>
                  <a:lnTo>
                    <a:pt x="13501291" y="2778065"/>
                  </a:lnTo>
                  <a:lnTo>
                    <a:pt x="13498178" y="2753459"/>
                  </a:lnTo>
                  <a:lnTo>
                    <a:pt x="13487732" y="2733998"/>
                  </a:lnTo>
                  <a:lnTo>
                    <a:pt x="13477286" y="2714535"/>
                  </a:lnTo>
                  <a:lnTo>
                    <a:pt x="13460614" y="2699783"/>
                  </a:lnTo>
                  <a:lnTo>
                    <a:pt x="13430601" y="2693194"/>
                  </a:lnTo>
                  <a:lnTo>
                    <a:pt x="13403139" y="2658294"/>
                  </a:lnTo>
                  <a:lnTo>
                    <a:pt x="13393874" y="2633345"/>
                  </a:lnTo>
                  <a:lnTo>
                    <a:pt x="13384616" y="2608390"/>
                  </a:lnTo>
                  <a:lnTo>
                    <a:pt x="13378027" y="2582506"/>
                  </a:lnTo>
                  <a:lnTo>
                    <a:pt x="13391158" y="2555809"/>
                  </a:lnTo>
                  <a:lnTo>
                    <a:pt x="13412921" y="2557168"/>
                  </a:lnTo>
                  <a:lnTo>
                    <a:pt x="13444330" y="2519946"/>
                  </a:lnTo>
                  <a:lnTo>
                    <a:pt x="13445790" y="2489393"/>
                  </a:lnTo>
                  <a:lnTo>
                    <a:pt x="13453722" y="2468757"/>
                  </a:lnTo>
                  <a:lnTo>
                    <a:pt x="13474127" y="2446994"/>
                  </a:lnTo>
                  <a:lnTo>
                    <a:pt x="13499716" y="2441651"/>
                  </a:lnTo>
                  <a:lnTo>
                    <a:pt x="13523094" y="2445636"/>
                  </a:lnTo>
                  <a:lnTo>
                    <a:pt x="13534107" y="2467056"/>
                  </a:lnTo>
                  <a:lnTo>
                    <a:pt x="13543499" y="2493244"/>
                  </a:lnTo>
                  <a:lnTo>
                    <a:pt x="13566747" y="2500795"/>
                  </a:lnTo>
                  <a:lnTo>
                    <a:pt x="13590982" y="2512890"/>
                  </a:lnTo>
                  <a:lnTo>
                    <a:pt x="13611514" y="2528606"/>
                  </a:lnTo>
                  <a:lnTo>
                    <a:pt x="13638374" y="2507548"/>
                  </a:lnTo>
                  <a:lnTo>
                    <a:pt x="13640839" y="2469924"/>
                  </a:lnTo>
                  <a:lnTo>
                    <a:pt x="13657756" y="2455158"/>
                  </a:lnTo>
                  <a:lnTo>
                    <a:pt x="13693124" y="2456523"/>
                  </a:lnTo>
                  <a:lnTo>
                    <a:pt x="13711697" y="2434734"/>
                  </a:lnTo>
                  <a:lnTo>
                    <a:pt x="13729001" y="2381968"/>
                  </a:lnTo>
                  <a:lnTo>
                    <a:pt x="13752057" y="2373961"/>
                  </a:lnTo>
                  <a:lnTo>
                    <a:pt x="13788334" y="2378987"/>
                  </a:lnTo>
                  <a:lnTo>
                    <a:pt x="13824508" y="2385232"/>
                  </a:lnTo>
                  <a:lnTo>
                    <a:pt x="13849583" y="2400440"/>
                  </a:lnTo>
                  <a:lnTo>
                    <a:pt x="13853914" y="2424769"/>
                  </a:lnTo>
                  <a:lnTo>
                    <a:pt x="13857706" y="2448359"/>
                  </a:lnTo>
                  <a:lnTo>
                    <a:pt x="13861498" y="2471949"/>
                  </a:lnTo>
                  <a:lnTo>
                    <a:pt x="13864084" y="2495084"/>
                  </a:lnTo>
                  <a:lnTo>
                    <a:pt x="13909213" y="2512988"/>
                  </a:lnTo>
                  <a:lnTo>
                    <a:pt x="13932257" y="2513430"/>
                  </a:lnTo>
                  <a:lnTo>
                    <a:pt x="13965421" y="2502984"/>
                  </a:lnTo>
                  <a:lnTo>
                    <a:pt x="13984204" y="2476921"/>
                  </a:lnTo>
                  <a:lnTo>
                    <a:pt x="14001112" y="2444336"/>
                  </a:lnTo>
                  <a:lnTo>
                    <a:pt x="14021703" y="2408849"/>
                  </a:lnTo>
                  <a:lnTo>
                    <a:pt x="14035044" y="2391082"/>
                  </a:lnTo>
                  <a:lnTo>
                    <a:pt x="14056293" y="2376263"/>
                  </a:lnTo>
                  <a:lnTo>
                    <a:pt x="14081829" y="2376666"/>
                  </a:lnTo>
                  <a:lnTo>
                    <a:pt x="14117808" y="2384046"/>
                  </a:lnTo>
                  <a:lnTo>
                    <a:pt x="14144703" y="2391220"/>
                  </a:lnTo>
                  <a:lnTo>
                    <a:pt x="14149921" y="2432543"/>
                  </a:lnTo>
                  <a:lnTo>
                    <a:pt x="14143351" y="2460593"/>
                  </a:lnTo>
                  <a:lnTo>
                    <a:pt x="14136768" y="2488647"/>
                  </a:lnTo>
                  <a:lnTo>
                    <a:pt x="14128769" y="2517084"/>
                  </a:lnTo>
                  <a:lnTo>
                    <a:pt x="14137903" y="2536763"/>
                  </a:lnTo>
                  <a:lnTo>
                    <a:pt x="14173272" y="2551727"/>
                  </a:lnTo>
                  <a:lnTo>
                    <a:pt x="14193382" y="2534212"/>
                  </a:lnTo>
                  <a:lnTo>
                    <a:pt x="14202265" y="2462419"/>
                  </a:lnTo>
                  <a:lnTo>
                    <a:pt x="14216798" y="2433388"/>
                  </a:lnTo>
                  <a:lnTo>
                    <a:pt x="14249444" y="2433388"/>
                  </a:lnTo>
                  <a:lnTo>
                    <a:pt x="14256172" y="2460632"/>
                  </a:lnTo>
                  <a:lnTo>
                    <a:pt x="14250876" y="2498639"/>
                  </a:lnTo>
                  <a:lnTo>
                    <a:pt x="14254879" y="2531322"/>
                  </a:lnTo>
                  <a:lnTo>
                    <a:pt x="14278298" y="2565689"/>
                  </a:lnTo>
                  <a:lnTo>
                    <a:pt x="14277445" y="2599691"/>
                  </a:lnTo>
                  <a:lnTo>
                    <a:pt x="14269836" y="2623815"/>
                  </a:lnTo>
                  <a:lnTo>
                    <a:pt x="14308904" y="2644920"/>
                  </a:lnTo>
                  <a:lnTo>
                    <a:pt x="14336911" y="2640574"/>
                  </a:lnTo>
                  <a:lnTo>
                    <a:pt x="14357012" y="2595682"/>
                  </a:lnTo>
                  <a:lnTo>
                    <a:pt x="14373210" y="2549003"/>
                  </a:lnTo>
                  <a:lnTo>
                    <a:pt x="14389413" y="2502325"/>
                  </a:lnTo>
                  <a:lnTo>
                    <a:pt x="14401800" y="2453291"/>
                  </a:lnTo>
                  <a:lnTo>
                    <a:pt x="14422177" y="2437470"/>
                  </a:lnTo>
                  <a:lnTo>
                    <a:pt x="14453462" y="2442918"/>
                  </a:lnTo>
                  <a:lnTo>
                    <a:pt x="14457967" y="2408849"/>
                  </a:lnTo>
                  <a:lnTo>
                    <a:pt x="14462566" y="2370888"/>
                  </a:lnTo>
                  <a:lnTo>
                    <a:pt x="14480667" y="2347701"/>
                  </a:lnTo>
                  <a:lnTo>
                    <a:pt x="14526450" y="2347504"/>
                  </a:lnTo>
                  <a:lnTo>
                    <a:pt x="14541624" y="2324705"/>
                  </a:lnTo>
                  <a:lnTo>
                    <a:pt x="14544598" y="2294657"/>
                  </a:lnTo>
                  <a:lnTo>
                    <a:pt x="14549484" y="2239538"/>
                  </a:lnTo>
                  <a:lnTo>
                    <a:pt x="14554907" y="2207407"/>
                  </a:lnTo>
                  <a:lnTo>
                    <a:pt x="14569086" y="2179036"/>
                  </a:lnTo>
                  <a:lnTo>
                    <a:pt x="14583259" y="2150671"/>
                  </a:lnTo>
                  <a:lnTo>
                    <a:pt x="14606275" y="2126818"/>
                  </a:lnTo>
                  <a:lnTo>
                    <a:pt x="14643891" y="2085185"/>
                  </a:lnTo>
                  <a:lnTo>
                    <a:pt x="14645249" y="2048457"/>
                  </a:lnTo>
                  <a:lnTo>
                    <a:pt x="14566572" y="1999872"/>
                  </a:lnTo>
                  <a:lnTo>
                    <a:pt x="14548681" y="1984532"/>
                  </a:lnTo>
                  <a:lnTo>
                    <a:pt x="14531634" y="1969885"/>
                  </a:lnTo>
                  <a:lnTo>
                    <a:pt x="14512206" y="1959901"/>
                  </a:lnTo>
                  <a:lnTo>
                    <a:pt x="14494272" y="1946447"/>
                  </a:lnTo>
                  <a:lnTo>
                    <a:pt x="14423752" y="1893524"/>
                  </a:lnTo>
                  <a:lnTo>
                    <a:pt x="14385181" y="1864829"/>
                  </a:lnTo>
                  <a:lnTo>
                    <a:pt x="14343289" y="1843065"/>
                  </a:lnTo>
                  <a:lnTo>
                    <a:pt x="14301391" y="1821316"/>
                  </a:lnTo>
                  <a:lnTo>
                    <a:pt x="14255108" y="1805343"/>
                  </a:lnTo>
                  <a:lnTo>
                    <a:pt x="14167824" y="1776418"/>
                  </a:lnTo>
                  <a:lnTo>
                    <a:pt x="14142046" y="1768286"/>
                  </a:lnTo>
                  <a:lnTo>
                    <a:pt x="14103828" y="1760068"/>
                  </a:lnTo>
                  <a:lnTo>
                    <a:pt x="14076691" y="1764176"/>
                  </a:lnTo>
                  <a:lnTo>
                    <a:pt x="14047019" y="1791810"/>
                  </a:lnTo>
                  <a:lnTo>
                    <a:pt x="14017951" y="1855379"/>
                  </a:lnTo>
                  <a:lnTo>
                    <a:pt x="14004603" y="1893398"/>
                  </a:lnTo>
                  <a:lnTo>
                    <a:pt x="13976586" y="1872657"/>
                  </a:lnTo>
                  <a:lnTo>
                    <a:pt x="13931575" y="1843322"/>
                  </a:lnTo>
                  <a:lnTo>
                    <a:pt x="13895785" y="1838989"/>
                  </a:lnTo>
                  <a:lnTo>
                    <a:pt x="13865278" y="1862896"/>
                  </a:lnTo>
                  <a:lnTo>
                    <a:pt x="13856630" y="1886473"/>
                  </a:lnTo>
                  <a:lnTo>
                    <a:pt x="13850894" y="1911079"/>
                  </a:lnTo>
                  <a:lnTo>
                    <a:pt x="13845155" y="1935684"/>
                  </a:lnTo>
                  <a:lnTo>
                    <a:pt x="13842445" y="1962274"/>
                  </a:lnTo>
                  <a:lnTo>
                    <a:pt x="13838653" y="1985892"/>
                  </a:lnTo>
                  <a:lnTo>
                    <a:pt x="13834867" y="2009501"/>
                  </a:lnTo>
                  <a:lnTo>
                    <a:pt x="13830675" y="2030255"/>
                  </a:lnTo>
                  <a:lnTo>
                    <a:pt x="13816713" y="2061225"/>
                  </a:lnTo>
                  <a:lnTo>
                    <a:pt x="13791044" y="2071579"/>
                  </a:lnTo>
                  <a:lnTo>
                    <a:pt x="13770654" y="2062056"/>
                  </a:lnTo>
                  <a:lnTo>
                    <a:pt x="13772750" y="2026153"/>
                  </a:lnTo>
                  <a:lnTo>
                    <a:pt x="13764252" y="1987033"/>
                  </a:lnTo>
                  <a:lnTo>
                    <a:pt x="13748885" y="1950523"/>
                  </a:lnTo>
                  <a:lnTo>
                    <a:pt x="13733519" y="1914014"/>
                  </a:lnTo>
                  <a:lnTo>
                    <a:pt x="13710819" y="1880557"/>
                  </a:lnTo>
                  <a:lnTo>
                    <a:pt x="13683593" y="1856670"/>
                  </a:lnTo>
                  <a:lnTo>
                    <a:pt x="13643133" y="1832355"/>
                  </a:lnTo>
                  <a:lnTo>
                    <a:pt x="13620053" y="1807512"/>
                  </a:lnTo>
                  <a:lnTo>
                    <a:pt x="13591102" y="1795463"/>
                  </a:lnTo>
                  <a:lnTo>
                    <a:pt x="13556075" y="1780901"/>
                  </a:lnTo>
                  <a:lnTo>
                    <a:pt x="13528278" y="1778349"/>
                  </a:lnTo>
                  <a:lnTo>
                    <a:pt x="13497248" y="1753295"/>
                  </a:lnTo>
                  <a:lnTo>
                    <a:pt x="13475823" y="1768720"/>
                  </a:lnTo>
                  <a:lnTo>
                    <a:pt x="13460865" y="1799308"/>
                  </a:lnTo>
                  <a:lnTo>
                    <a:pt x="13450913" y="1830634"/>
                  </a:lnTo>
                  <a:lnTo>
                    <a:pt x="13437400" y="1849864"/>
                  </a:lnTo>
                  <a:lnTo>
                    <a:pt x="13406351" y="1882134"/>
                  </a:lnTo>
                  <a:lnTo>
                    <a:pt x="13385710" y="1890674"/>
                  </a:lnTo>
                  <a:lnTo>
                    <a:pt x="13365067" y="1899215"/>
                  </a:lnTo>
                  <a:lnTo>
                    <a:pt x="13343226" y="1898793"/>
                  </a:lnTo>
                  <a:lnTo>
                    <a:pt x="13325866" y="1882517"/>
                  </a:lnTo>
                  <a:lnTo>
                    <a:pt x="13331816" y="1832546"/>
                  </a:lnTo>
                  <a:lnTo>
                    <a:pt x="13329949" y="1802262"/>
                  </a:lnTo>
                  <a:lnTo>
                    <a:pt x="13297613" y="1783777"/>
                  </a:lnTo>
                  <a:lnTo>
                    <a:pt x="13275534" y="1779141"/>
                  </a:lnTo>
                  <a:lnTo>
                    <a:pt x="13253455" y="1774498"/>
                  </a:lnTo>
                  <a:lnTo>
                    <a:pt x="13228749" y="1772901"/>
                  </a:lnTo>
                  <a:lnTo>
                    <a:pt x="13204804" y="1770976"/>
                  </a:lnTo>
                  <a:lnTo>
                    <a:pt x="13156918" y="1767119"/>
                  </a:lnTo>
                  <a:lnTo>
                    <a:pt x="13110974" y="1765086"/>
                  </a:lnTo>
                  <a:lnTo>
                    <a:pt x="13097347" y="1747855"/>
                  </a:lnTo>
                  <a:lnTo>
                    <a:pt x="13094209" y="1687260"/>
                  </a:lnTo>
                  <a:lnTo>
                    <a:pt x="13082687" y="1661831"/>
                  </a:lnTo>
                  <a:lnTo>
                    <a:pt x="13047021" y="1652638"/>
                  </a:lnTo>
                  <a:lnTo>
                    <a:pt x="13009978" y="1645680"/>
                  </a:lnTo>
                  <a:lnTo>
                    <a:pt x="12952239" y="1628092"/>
                  </a:lnTo>
                  <a:lnTo>
                    <a:pt x="12911345" y="1611301"/>
                  </a:lnTo>
                  <a:lnTo>
                    <a:pt x="12871559" y="1596870"/>
                  </a:lnTo>
                  <a:lnTo>
                    <a:pt x="12848990" y="1595579"/>
                  </a:lnTo>
                  <a:lnTo>
                    <a:pt x="12834277" y="1611762"/>
                  </a:lnTo>
                  <a:lnTo>
                    <a:pt x="12825307" y="1639038"/>
                  </a:lnTo>
                  <a:lnTo>
                    <a:pt x="12817804" y="1667139"/>
                  </a:lnTo>
                  <a:lnTo>
                    <a:pt x="12815810" y="1699982"/>
                  </a:lnTo>
                  <a:lnTo>
                    <a:pt x="12789892" y="1711925"/>
                  </a:lnTo>
                  <a:lnTo>
                    <a:pt x="12766824" y="1698887"/>
                  </a:lnTo>
                  <a:lnTo>
                    <a:pt x="12752044" y="1678087"/>
                  </a:lnTo>
                  <a:lnTo>
                    <a:pt x="12740788" y="1651675"/>
                  </a:lnTo>
                  <a:lnTo>
                    <a:pt x="12728740" y="1625433"/>
                  </a:lnTo>
                  <a:lnTo>
                    <a:pt x="12714731" y="1603050"/>
                  </a:lnTo>
                  <a:lnTo>
                    <a:pt x="12663447" y="1599588"/>
                  </a:lnTo>
                  <a:lnTo>
                    <a:pt x="12630634" y="1547402"/>
                  </a:lnTo>
                  <a:lnTo>
                    <a:pt x="12604682" y="1511685"/>
                  </a:lnTo>
                  <a:lnTo>
                    <a:pt x="12575037" y="1479890"/>
                  </a:lnTo>
                  <a:lnTo>
                    <a:pt x="12545386" y="1448097"/>
                  </a:lnTo>
                  <a:lnTo>
                    <a:pt x="12511739" y="1420476"/>
                  </a:lnTo>
                  <a:lnTo>
                    <a:pt x="12474380" y="1390120"/>
                  </a:lnTo>
                  <a:lnTo>
                    <a:pt x="12502053" y="1375783"/>
                  </a:lnTo>
                  <a:lnTo>
                    <a:pt x="12524073" y="1365516"/>
                  </a:lnTo>
                  <a:lnTo>
                    <a:pt x="12552549" y="1335832"/>
                  </a:lnTo>
                  <a:lnTo>
                    <a:pt x="12558880" y="1315591"/>
                  </a:lnTo>
                  <a:lnTo>
                    <a:pt x="12555990" y="1282663"/>
                  </a:lnTo>
                  <a:lnTo>
                    <a:pt x="12545452" y="1246213"/>
                  </a:lnTo>
                  <a:lnTo>
                    <a:pt x="12557628" y="1217492"/>
                  </a:lnTo>
                  <a:lnTo>
                    <a:pt x="12596800" y="1217374"/>
                  </a:lnTo>
                  <a:lnTo>
                    <a:pt x="12636798" y="1212909"/>
                  </a:lnTo>
                  <a:lnTo>
                    <a:pt x="12652567" y="1198327"/>
                  </a:lnTo>
                  <a:lnTo>
                    <a:pt x="12648999" y="1138697"/>
                  </a:lnTo>
                  <a:lnTo>
                    <a:pt x="12627059" y="1127801"/>
                  </a:lnTo>
                  <a:lnTo>
                    <a:pt x="12599011" y="1128263"/>
                  </a:lnTo>
                  <a:lnTo>
                    <a:pt x="12572315" y="1124881"/>
                  </a:lnTo>
                  <a:lnTo>
                    <a:pt x="12545610" y="1121498"/>
                  </a:lnTo>
                  <a:lnTo>
                    <a:pt x="12520095" y="1114487"/>
                  </a:lnTo>
                  <a:lnTo>
                    <a:pt x="12499969" y="1078341"/>
                  </a:lnTo>
                  <a:lnTo>
                    <a:pt x="12494106" y="1014659"/>
                  </a:lnTo>
                  <a:lnTo>
                    <a:pt x="12494785" y="990219"/>
                  </a:lnTo>
                  <a:lnTo>
                    <a:pt x="12436255" y="986202"/>
                  </a:lnTo>
                  <a:lnTo>
                    <a:pt x="12381207" y="986922"/>
                  </a:lnTo>
                  <a:lnTo>
                    <a:pt x="12327477" y="984778"/>
                  </a:lnTo>
                  <a:lnTo>
                    <a:pt x="12299786" y="983671"/>
                  </a:lnTo>
                  <a:lnTo>
                    <a:pt x="12261463" y="976680"/>
                  </a:lnTo>
                  <a:lnTo>
                    <a:pt x="12224104" y="971180"/>
                  </a:lnTo>
                  <a:lnTo>
                    <a:pt x="12186748" y="965673"/>
                  </a:lnTo>
                  <a:lnTo>
                    <a:pt x="12150273" y="961847"/>
                  </a:lnTo>
                  <a:lnTo>
                    <a:pt x="12126169" y="967104"/>
                  </a:lnTo>
                  <a:lnTo>
                    <a:pt x="12100198" y="950228"/>
                  </a:lnTo>
                  <a:lnTo>
                    <a:pt x="12070401" y="899091"/>
                  </a:lnTo>
                  <a:lnTo>
                    <a:pt x="12060027" y="878857"/>
                  </a:lnTo>
                  <a:lnTo>
                    <a:pt x="12056288" y="854034"/>
                  </a:lnTo>
                  <a:lnTo>
                    <a:pt x="12045916" y="833801"/>
                  </a:lnTo>
                  <a:lnTo>
                    <a:pt x="12022324" y="787980"/>
                  </a:lnTo>
                  <a:lnTo>
                    <a:pt x="11999541" y="753443"/>
                  </a:lnTo>
                  <a:lnTo>
                    <a:pt x="11972466" y="723626"/>
                  </a:lnTo>
                  <a:lnTo>
                    <a:pt x="11945395" y="693811"/>
                  </a:lnTo>
                  <a:lnTo>
                    <a:pt x="11914597" y="668250"/>
                  </a:lnTo>
                  <a:lnTo>
                    <a:pt x="11873167" y="640656"/>
                  </a:lnTo>
                  <a:lnTo>
                    <a:pt x="11839975" y="616254"/>
                  </a:lnTo>
                  <a:lnTo>
                    <a:pt x="11787225" y="567143"/>
                  </a:lnTo>
                  <a:lnTo>
                    <a:pt x="11745953" y="524336"/>
                  </a:lnTo>
                  <a:lnTo>
                    <a:pt x="11701785" y="486949"/>
                  </a:lnTo>
                  <a:lnTo>
                    <a:pt x="11652464" y="445203"/>
                  </a:lnTo>
                  <a:lnTo>
                    <a:pt x="11591683" y="416166"/>
                  </a:lnTo>
                  <a:lnTo>
                    <a:pt x="11529045" y="390380"/>
                  </a:lnTo>
                  <a:lnTo>
                    <a:pt x="11466401" y="364587"/>
                  </a:lnTo>
                  <a:lnTo>
                    <a:pt x="11401376" y="341696"/>
                  </a:lnTo>
                  <a:lnTo>
                    <a:pt x="11344052" y="312850"/>
                  </a:lnTo>
                  <a:lnTo>
                    <a:pt x="11285950" y="283622"/>
                  </a:lnTo>
                  <a:lnTo>
                    <a:pt x="11234980" y="243689"/>
                  </a:lnTo>
                  <a:lnTo>
                    <a:pt x="11174028" y="220356"/>
                  </a:lnTo>
                  <a:lnTo>
                    <a:pt x="11139854" y="207259"/>
                  </a:lnTo>
                  <a:lnTo>
                    <a:pt x="11100963" y="200565"/>
                  </a:lnTo>
                  <a:lnTo>
                    <a:pt x="11067939" y="187705"/>
                  </a:lnTo>
                  <a:lnTo>
                    <a:pt x="11036480" y="175446"/>
                  </a:lnTo>
                  <a:lnTo>
                    <a:pt x="11001493" y="164438"/>
                  </a:lnTo>
                  <a:lnTo>
                    <a:pt x="10971362" y="149619"/>
                  </a:lnTo>
                  <a:lnTo>
                    <a:pt x="10950020" y="130580"/>
                  </a:lnTo>
                  <a:lnTo>
                    <a:pt x="10917585" y="107992"/>
                  </a:lnTo>
                  <a:lnTo>
                    <a:pt x="10873864" y="79099"/>
                  </a:lnTo>
                  <a:lnTo>
                    <a:pt x="10828542" y="53050"/>
                  </a:lnTo>
                  <a:lnTo>
                    <a:pt x="10783215" y="27000"/>
                  </a:lnTo>
                  <a:lnTo>
                    <a:pt x="10735962" y="4347"/>
                  </a:lnTo>
                  <a:lnTo>
                    <a:pt x="10703403" y="0"/>
                  </a:ln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85" name="Poltava¬0" descr="Poltava¬0">
              <a:extLst>
                <a:ext uri="{FF2B5EF4-FFF2-40B4-BE49-F238E27FC236}">
                  <a16:creationId xmlns:a16="http://schemas.microsoft.com/office/drawing/2014/main" id="{D989C522-EB91-4324-9CCF-39C0073D7955}"/>
                </a:ext>
              </a:extLst>
            </p:cNvPr>
            <p:cNvSpPr/>
            <p:nvPr/>
          </p:nvSpPr>
          <p:spPr>
            <a:xfrm>
              <a:off x="4284158" y="2012131"/>
              <a:ext cx="1170461" cy="821543"/>
            </a:xfrm>
            <a:custGeom>
              <a:avLst/>
              <a:gdLst/>
              <a:ahLst/>
              <a:cxnLst/>
              <a:rect l="0" t="0" r="0" b="0"/>
              <a:pathLst>
                <a:path w="11943911" h="9516532">
                  <a:moveTo>
                    <a:pt x="10216369" y="7272543"/>
                  </a:moveTo>
                  <a:lnTo>
                    <a:pt x="10227317" y="7249856"/>
                  </a:lnTo>
                  <a:lnTo>
                    <a:pt x="10231233" y="7214349"/>
                  </a:lnTo>
                  <a:lnTo>
                    <a:pt x="10227751" y="7153558"/>
                  </a:lnTo>
                  <a:lnTo>
                    <a:pt x="10219107" y="7111923"/>
                  </a:lnTo>
                  <a:lnTo>
                    <a:pt x="10205250" y="7066841"/>
                  </a:lnTo>
                  <a:lnTo>
                    <a:pt x="10189381" y="7033629"/>
                  </a:lnTo>
                  <a:lnTo>
                    <a:pt x="10177010" y="7002297"/>
                  </a:lnTo>
                  <a:lnTo>
                    <a:pt x="10165922" y="6978324"/>
                  </a:lnTo>
                  <a:lnTo>
                    <a:pt x="10144702" y="6945890"/>
                  </a:lnTo>
                  <a:lnTo>
                    <a:pt x="10119587" y="6913543"/>
                  </a:lnTo>
                  <a:lnTo>
                    <a:pt x="10106279" y="6885323"/>
                  </a:lnTo>
                  <a:lnTo>
                    <a:pt x="10094745" y="6851927"/>
                  </a:lnTo>
                  <a:lnTo>
                    <a:pt x="10096057" y="6815338"/>
                  </a:lnTo>
                  <a:lnTo>
                    <a:pt x="10107638" y="6776506"/>
                  </a:lnTo>
                  <a:lnTo>
                    <a:pt x="10122133" y="6737334"/>
                  </a:lnTo>
                  <a:lnTo>
                    <a:pt x="10147703" y="6696260"/>
                  </a:lnTo>
                  <a:lnTo>
                    <a:pt x="10178368" y="6656810"/>
                  </a:lnTo>
                  <a:lnTo>
                    <a:pt x="10239701" y="6577908"/>
                  </a:lnTo>
                  <a:lnTo>
                    <a:pt x="10320251" y="6504599"/>
                  </a:lnTo>
                  <a:lnTo>
                    <a:pt x="10364719" y="6463657"/>
                  </a:lnTo>
                  <a:lnTo>
                    <a:pt x="10385171" y="6457222"/>
                  </a:lnTo>
                  <a:lnTo>
                    <a:pt x="10427333" y="6456859"/>
                  </a:lnTo>
                  <a:lnTo>
                    <a:pt x="10449049" y="6477263"/>
                  </a:lnTo>
                  <a:lnTo>
                    <a:pt x="10464019" y="6506755"/>
                  </a:lnTo>
                  <a:lnTo>
                    <a:pt x="10481695" y="6524872"/>
                  </a:lnTo>
                  <a:lnTo>
                    <a:pt x="10502785" y="6546477"/>
                  </a:lnTo>
                  <a:lnTo>
                    <a:pt x="10529044" y="6566485"/>
                  </a:lnTo>
                  <a:lnTo>
                    <a:pt x="10557864" y="6576556"/>
                  </a:lnTo>
                  <a:lnTo>
                    <a:pt x="10592507" y="6588637"/>
                  </a:lnTo>
                  <a:lnTo>
                    <a:pt x="10663049" y="6596908"/>
                  </a:lnTo>
                  <a:lnTo>
                    <a:pt x="10733330" y="6602401"/>
                  </a:lnTo>
                  <a:lnTo>
                    <a:pt x="10803617" y="6607895"/>
                  </a:lnTo>
                  <a:lnTo>
                    <a:pt x="10872797" y="6610903"/>
                  </a:lnTo>
                  <a:lnTo>
                    <a:pt x="10907434" y="6610560"/>
                  </a:lnTo>
                  <a:lnTo>
                    <a:pt x="10965074" y="6610031"/>
                  </a:lnTo>
                  <a:lnTo>
                    <a:pt x="10999295" y="6592660"/>
                  </a:lnTo>
                  <a:lnTo>
                    <a:pt x="11048895" y="6575198"/>
                  </a:lnTo>
                  <a:lnTo>
                    <a:pt x="11108361" y="6554266"/>
                  </a:lnTo>
                  <a:lnTo>
                    <a:pt x="11167136" y="6522629"/>
                  </a:lnTo>
                  <a:lnTo>
                    <a:pt x="11218925" y="6482704"/>
                  </a:lnTo>
                  <a:lnTo>
                    <a:pt x="11270714" y="6442778"/>
                  </a:lnTo>
                  <a:lnTo>
                    <a:pt x="11315613" y="6395434"/>
                  </a:lnTo>
                  <a:lnTo>
                    <a:pt x="11350864" y="6342601"/>
                  </a:lnTo>
                  <a:lnTo>
                    <a:pt x="11375092" y="6306284"/>
                  </a:lnTo>
                  <a:lnTo>
                    <a:pt x="11390862" y="6263990"/>
                  </a:lnTo>
                  <a:lnTo>
                    <a:pt x="11417511" y="6228345"/>
                  </a:lnTo>
                  <a:lnTo>
                    <a:pt x="11454067" y="6179510"/>
                  </a:lnTo>
                  <a:lnTo>
                    <a:pt x="11492837" y="6132264"/>
                  </a:lnTo>
                  <a:lnTo>
                    <a:pt x="11530410" y="6084167"/>
                  </a:lnTo>
                  <a:lnTo>
                    <a:pt x="11541721" y="6056132"/>
                  </a:lnTo>
                  <a:lnTo>
                    <a:pt x="11540288" y="6034000"/>
                  </a:lnTo>
                  <a:lnTo>
                    <a:pt x="11514088" y="6010713"/>
                  </a:lnTo>
                  <a:lnTo>
                    <a:pt x="11483501" y="5990302"/>
                  </a:lnTo>
                  <a:lnTo>
                    <a:pt x="11475988" y="5968545"/>
                  </a:lnTo>
                  <a:lnTo>
                    <a:pt x="11497243" y="5949822"/>
                  </a:lnTo>
                  <a:lnTo>
                    <a:pt x="11509812" y="5928633"/>
                  </a:lnTo>
                  <a:lnTo>
                    <a:pt x="11514073" y="5900538"/>
                  </a:lnTo>
                  <a:lnTo>
                    <a:pt x="11490952" y="5875840"/>
                  </a:lnTo>
                  <a:lnTo>
                    <a:pt x="11435739" y="5867557"/>
                  </a:lnTo>
                  <a:lnTo>
                    <a:pt x="11407974" y="5850213"/>
                  </a:lnTo>
                  <a:lnTo>
                    <a:pt x="11413415" y="5806687"/>
                  </a:lnTo>
                  <a:lnTo>
                    <a:pt x="11402501" y="5770256"/>
                  </a:lnTo>
                  <a:lnTo>
                    <a:pt x="11369046" y="5751955"/>
                  </a:lnTo>
                  <a:lnTo>
                    <a:pt x="11353574" y="5720993"/>
                  </a:lnTo>
                  <a:lnTo>
                    <a:pt x="11383665" y="5609967"/>
                  </a:lnTo>
                  <a:lnTo>
                    <a:pt x="11405720" y="5584057"/>
                  </a:lnTo>
                  <a:lnTo>
                    <a:pt x="11449801" y="5583844"/>
                  </a:lnTo>
                  <a:lnTo>
                    <a:pt x="11485426" y="5577527"/>
                  </a:lnTo>
                  <a:lnTo>
                    <a:pt x="11514073" y="5559128"/>
                  </a:lnTo>
                  <a:lnTo>
                    <a:pt x="11557034" y="5560136"/>
                  </a:lnTo>
                  <a:lnTo>
                    <a:pt x="11597460" y="5573530"/>
                  </a:lnTo>
                  <a:lnTo>
                    <a:pt x="11637854" y="5587691"/>
                  </a:lnTo>
                  <a:lnTo>
                    <a:pt x="11678249" y="5601856"/>
                  </a:lnTo>
                  <a:lnTo>
                    <a:pt x="11718488" y="5617790"/>
                  </a:lnTo>
                  <a:lnTo>
                    <a:pt x="11760268" y="5623059"/>
                  </a:lnTo>
                  <a:lnTo>
                    <a:pt x="11773266" y="5598736"/>
                  </a:lnTo>
                  <a:lnTo>
                    <a:pt x="11782645" y="5571209"/>
                  </a:lnTo>
                  <a:lnTo>
                    <a:pt x="11798359" y="5555052"/>
                  </a:lnTo>
                  <a:lnTo>
                    <a:pt x="11822841" y="5549775"/>
                  </a:lnTo>
                  <a:lnTo>
                    <a:pt x="11881923" y="5558731"/>
                  </a:lnTo>
                  <a:lnTo>
                    <a:pt x="11908957" y="5539025"/>
                  </a:lnTo>
                  <a:lnTo>
                    <a:pt x="11914774" y="5502299"/>
                  </a:lnTo>
                  <a:lnTo>
                    <a:pt x="11906939" y="5461852"/>
                  </a:lnTo>
                  <a:lnTo>
                    <a:pt x="11886236" y="5444606"/>
                  </a:lnTo>
                  <a:lnTo>
                    <a:pt x="11860926" y="5432630"/>
                  </a:lnTo>
                  <a:lnTo>
                    <a:pt x="11835616" y="5420654"/>
                  </a:lnTo>
                  <a:lnTo>
                    <a:pt x="11805819" y="5414027"/>
                  </a:lnTo>
                  <a:lnTo>
                    <a:pt x="11782038" y="5408143"/>
                  </a:lnTo>
                  <a:lnTo>
                    <a:pt x="11763329" y="5390020"/>
                  </a:lnTo>
                  <a:lnTo>
                    <a:pt x="11773961" y="5352510"/>
                  </a:lnTo>
                  <a:lnTo>
                    <a:pt x="11754833" y="5326531"/>
                  </a:lnTo>
                  <a:lnTo>
                    <a:pt x="11723437" y="5315842"/>
                  </a:lnTo>
                  <a:lnTo>
                    <a:pt x="11700427" y="5314292"/>
                  </a:lnTo>
                  <a:lnTo>
                    <a:pt x="11677408" y="5312741"/>
                  </a:lnTo>
                  <a:lnTo>
                    <a:pt x="11652331" y="5310242"/>
                  </a:lnTo>
                  <a:lnTo>
                    <a:pt x="11633771" y="5297969"/>
                  </a:lnTo>
                  <a:lnTo>
                    <a:pt x="11623173" y="5277387"/>
                  </a:lnTo>
                  <a:lnTo>
                    <a:pt x="11617173" y="5253263"/>
                  </a:lnTo>
                  <a:lnTo>
                    <a:pt x="11624261" y="5232680"/>
                  </a:lnTo>
                  <a:lnTo>
                    <a:pt x="11706349" y="5230471"/>
                  </a:lnTo>
                  <a:lnTo>
                    <a:pt x="11782044" y="5228604"/>
                  </a:lnTo>
                  <a:lnTo>
                    <a:pt x="11819886" y="5227668"/>
                  </a:lnTo>
                  <a:lnTo>
                    <a:pt x="11858393" y="5225438"/>
                  </a:lnTo>
                  <a:lnTo>
                    <a:pt x="11888137" y="5219087"/>
                  </a:lnTo>
                  <a:lnTo>
                    <a:pt x="11917880" y="5212737"/>
                  </a:lnTo>
                  <a:lnTo>
                    <a:pt x="11938995" y="5202633"/>
                  </a:lnTo>
                  <a:lnTo>
                    <a:pt x="11943910" y="5166039"/>
                  </a:lnTo>
                  <a:lnTo>
                    <a:pt x="11910876" y="5115336"/>
                  </a:lnTo>
                  <a:lnTo>
                    <a:pt x="11852734" y="5023410"/>
                  </a:lnTo>
                  <a:lnTo>
                    <a:pt x="11802449" y="4930718"/>
                  </a:lnTo>
                  <a:lnTo>
                    <a:pt x="11777303" y="4884377"/>
                  </a:lnTo>
                  <a:lnTo>
                    <a:pt x="11754042" y="4838443"/>
                  </a:lnTo>
                  <a:lnTo>
                    <a:pt x="11737160" y="4796065"/>
                  </a:lnTo>
                  <a:lnTo>
                    <a:pt x="11720271" y="4753686"/>
                  </a:lnTo>
                  <a:lnTo>
                    <a:pt x="11710200" y="4714657"/>
                  </a:lnTo>
                  <a:lnTo>
                    <a:pt x="11709949" y="4685884"/>
                  </a:lnTo>
                  <a:lnTo>
                    <a:pt x="11722531" y="4665631"/>
                  </a:lnTo>
                  <a:lnTo>
                    <a:pt x="11755224" y="4673241"/>
                  </a:lnTo>
                  <a:lnTo>
                    <a:pt x="11772522" y="4657321"/>
                  </a:lnTo>
                  <a:lnTo>
                    <a:pt x="11759899" y="4542154"/>
                  </a:lnTo>
                  <a:lnTo>
                    <a:pt x="11729845" y="4518689"/>
                  </a:lnTo>
                  <a:lnTo>
                    <a:pt x="11608144" y="4526207"/>
                  </a:lnTo>
                  <a:lnTo>
                    <a:pt x="11582093" y="4526741"/>
                  </a:lnTo>
                  <a:lnTo>
                    <a:pt x="11558240" y="4560448"/>
                  </a:lnTo>
                  <a:lnTo>
                    <a:pt x="11553531" y="4582509"/>
                  </a:lnTo>
                  <a:lnTo>
                    <a:pt x="11548815" y="4604574"/>
                  </a:lnTo>
                  <a:lnTo>
                    <a:pt x="11545664" y="4626687"/>
                  </a:lnTo>
                  <a:lnTo>
                    <a:pt x="11437308" y="4625526"/>
                  </a:lnTo>
                  <a:lnTo>
                    <a:pt x="11354172" y="4579388"/>
                  </a:lnTo>
                  <a:lnTo>
                    <a:pt x="11262445" y="4568909"/>
                  </a:lnTo>
                  <a:lnTo>
                    <a:pt x="11257043" y="4539258"/>
                  </a:lnTo>
                  <a:lnTo>
                    <a:pt x="11258311" y="4493074"/>
                  </a:lnTo>
                  <a:lnTo>
                    <a:pt x="11209344" y="4478196"/>
                  </a:lnTo>
                  <a:lnTo>
                    <a:pt x="11131253" y="4473481"/>
                  </a:lnTo>
                  <a:lnTo>
                    <a:pt x="11096492" y="4454647"/>
                  </a:lnTo>
                  <a:lnTo>
                    <a:pt x="11087271" y="4403985"/>
                  </a:lnTo>
                  <a:lnTo>
                    <a:pt x="11101719" y="4348343"/>
                  </a:lnTo>
                  <a:lnTo>
                    <a:pt x="11085603" y="4299586"/>
                  </a:lnTo>
                  <a:lnTo>
                    <a:pt x="11070769" y="4276068"/>
                  </a:lnTo>
                  <a:lnTo>
                    <a:pt x="11043528" y="4273002"/>
                  </a:lnTo>
                  <a:lnTo>
                    <a:pt x="11016236" y="4260142"/>
                  </a:lnTo>
                  <a:lnTo>
                    <a:pt x="10989593" y="4243900"/>
                  </a:lnTo>
                  <a:lnTo>
                    <a:pt x="10966711" y="4213807"/>
                  </a:lnTo>
                  <a:lnTo>
                    <a:pt x="10956640" y="4193388"/>
                  </a:lnTo>
                  <a:lnTo>
                    <a:pt x="10950947" y="4162209"/>
                  </a:lnTo>
                  <a:lnTo>
                    <a:pt x="10938740" y="4095323"/>
                  </a:lnTo>
                  <a:lnTo>
                    <a:pt x="10931131" y="4038191"/>
                  </a:lnTo>
                  <a:lnTo>
                    <a:pt x="10933262" y="3970416"/>
                  </a:lnTo>
                  <a:lnTo>
                    <a:pt x="10935482" y="3900687"/>
                  </a:lnTo>
                  <a:lnTo>
                    <a:pt x="10948256" y="3849656"/>
                  </a:lnTo>
                  <a:lnTo>
                    <a:pt x="10944148" y="3804474"/>
                  </a:lnTo>
                  <a:lnTo>
                    <a:pt x="10942104" y="3781880"/>
                  </a:lnTo>
                  <a:lnTo>
                    <a:pt x="10935516" y="3761469"/>
                  </a:lnTo>
                  <a:lnTo>
                    <a:pt x="10922385" y="3740543"/>
                  </a:lnTo>
                  <a:lnTo>
                    <a:pt x="10909247" y="3719625"/>
                  </a:lnTo>
                  <a:lnTo>
                    <a:pt x="10888982" y="3697485"/>
                  </a:lnTo>
                  <a:lnTo>
                    <a:pt x="10858447" y="3675254"/>
                  </a:lnTo>
                  <a:lnTo>
                    <a:pt x="10809123" y="3642016"/>
                  </a:lnTo>
                  <a:lnTo>
                    <a:pt x="10788284" y="3639259"/>
                  </a:lnTo>
                  <a:lnTo>
                    <a:pt x="10754519" y="3651406"/>
                  </a:lnTo>
                  <a:lnTo>
                    <a:pt x="10725160" y="3676612"/>
                  </a:lnTo>
                  <a:lnTo>
                    <a:pt x="10686821" y="3696014"/>
                  </a:lnTo>
                  <a:lnTo>
                    <a:pt x="10650345" y="3690217"/>
                  </a:lnTo>
                  <a:lnTo>
                    <a:pt x="10613864" y="3684421"/>
                  </a:lnTo>
                  <a:lnTo>
                    <a:pt x="10563393" y="3665592"/>
                  </a:lnTo>
                  <a:lnTo>
                    <a:pt x="10487115" y="3620846"/>
                  </a:lnTo>
                  <a:lnTo>
                    <a:pt x="10450435" y="3604015"/>
                  </a:lnTo>
                  <a:lnTo>
                    <a:pt x="10429990" y="3593642"/>
                  </a:lnTo>
                  <a:lnTo>
                    <a:pt x="10409545" y="3583275"/>
                  </a:lnTo>
                  <a:lnTo>
                    <a:pt x="10389906" y="3570032"/>
                  </a:lnTo>
                  <a:lnTo>
                    <a:pt x="10384616" y="3542729"/>
                  </a:lnTo>
                  <a:lnTo>
                    <a:pt x="10383742" y="3517471"/>
                  </a:lnTo>
                  <a:lnTo>
                    <a:pt x="10375370" y="3493511"/>
                  </a:lnTo>
                  <a:lnTo>
                    <a:pt x="10320350" y="3471234"/>
                  </a:lnTo>
                  <a:lnTo>
                    <a:pt x="10278142" y="3471412"/>
                  </a:lnTo>
                  <a:lnTo>
                    <a:pt x="10235487" y="3472586"/>
                  </a:lnTo>
                  <a:lnTo>
                    <a:pt x="10192823" y="3473759"/>
                  </a:lnTo>
                  <a:lnTo>
                    <a:pt x="10149238" y="3475283"/>
                  </a:lnTo>
                  <a:lnTo>
                    <a:pt x="10104900" y="3465786"/>
                  </a:lnTo>
                  <a:lnTo>
                    <a:pt x="10071327" y="3458591"/>
                  </a:lnTo>
                  <a:lnTo>
                    <a:pt x="10049061" y="3435687"/>
                  </a:lnTo>
                  <a:lnTo>
                    <a:pt x="10030089" y="3412737"/>
                  </a:lnTo>
                  <a:lnTo>
                    <a:pt x="10011122" y="3389780"/>
                  </a:lnTo>
                  <a:lnTo>
                    <a:pt x="9995492" y="3367014"/>
                  </a:lnTo>
                  <a:lnTo>
                    <a:pt x="9961166" y="3357762"/>
                  </a:lnTo>
                  <a:lnTo>
                    <a:pt x="9923996" y="3352887"/>
                  </a:lnTo>
                  <a:lnTo>
                    <a:pt x="9887508" y="3341868"/>
                  </a:lnTo>
                  <a:lnTo>
                    <a:pt x="9871184" y="3317077"/>
                  </a:lnTo>
                  <a:lnTo>
                    <a:pt x="9849718" y="3276143"/>
                  </a:lnTo>
                  <a:lnTo>
                    <a:pt x="9836944" y="3249512"/>
                  </a:lnTo>
                  <a:lnTo>
                    <a:pt x="9812924" y="3232551"/>
                  </a:lnTo>
                  <a:lnTo>
                    <a:pt x="9782535" y="3227749"/>
                  </a:lnTo>
                  <a:lnTo>
                    <a:pt x="9794683" y="3190745"/>
                  </a:lnTo>
                  <a:lnTo>
                    <a:pt x="9801557" y="3159763"/>
                  </a:lnTo>
                  <a:lnTo>
                    <a:pt x="9769655" y="3040718"/>
                  </a:lnTo>
                  <a:lnTo>
                    <a:pt x="9745222" y="2981443"/>
                  </a:lnTo>
                  <a:lnTo>
                    <a:pt x="9730851" y="2929951"/>
                  </a:lnTo>
                  <a:lnTo>
                    <a:pt x="9709082" y="2883622"/>
                  </a:lnTo>
                  <a:lnTo>
                    <a:pt x="9711125" y="2857433"/>
                  </a:lnTo>
                  <a:lnTo>
                    <a:pt x="9728833" y="2830202"/>
                  </a:lnTo>
                  <a:lnTo>
                    <a:pt x="9753966" y="2802009"/>
                  </a:lnTo>
                  <a:lnTo>
                    <a:pt x="9779112" y="2773810"/>
                  </a:lnTo>
                  <a:lnTo>
                    <a:pt x="9811944" y="2744046"/>
                  </a:lnTo>
                  <a:lnTo>
                    <a:pt x="9845102" y="2714957"/>
                  </a:lnTo>
                  <a:lnTo>
                    <a:pt x="9878269" y="2685860"/>
                  </a:lnTo>
                  <a:lnTo>
                    <a:pt x="9911479" y="2656770"/>
                  </a:lnTo>
                  <a:lnTo>
                    <a:pt x="9937601" y="2627904"/>
                  </a:lnTo>
                  <a:lnTo>
                    <a:pt x="9963718" y="2599031"/>
                  </a:lnTo>
                  <a:lnTo>
                    <a:pt x="9982554" y="2571102"/>
                  </a:lnTo>
                  <a:lnTo>
                    <a:pt x="9986569" y="2543568"/>
                  </a:lnTo>
                  <a:lnTo>
                    <a:pt x="9974672" y="2524087"/>
                  </a:lnTo>
                  <a:lnTo>
                    <a:pt x="9972443" y="2496243"/>
                  </a:lnTo>
                  <a:lnTo>
                    <a:pt x="9972964" y="2468755"/>
                  </a:lnTo>
                  <a:lnTo>
                    <a:pt x="9973491" y="2441275"/>
                  </a:lnTo>
                  <a:lnTo>
                    <a:pt x="9977515" y="2413556"/>
                  </a:lnTo>
                  <a:lnTo>
                    <a:pt x="9975661" y="2392585"/>
                  </a:lnTo>
                  <a:lnTo>
                    <a:pt x="9973748" y="2370465"/>
                  </a:lnTo>
                  <a:lnTo>
                    <a:pt x="9963420" y="2338177"/>
                  </a:lnTo>
                  <a:lnTo>
                    <a:pt x="9957743" y="2305664"/>
                  </a:lnTo>
                  <a:lnTo>
                    <a:pt x="9963420" y="2281051"/>
                  </a:lnTo>
                  <a:lnTo>
                    <a:pt x="9969410" y="2254949"/>
                  </a:lnTo>
                  <a:lnTo>
                    <a:pt x="9987908" y="2223537"/>
                  </a:lnTo>
                  <a:lnTo>
                    <a:pt x="9982461" y="2195357"/>
                  </a:lnTo>
                  <a:lnTo>
                    <a:pt x="9971215" y="2171438"/>
                  </a:lnTo>
                  <a:lnTo>
                    <a:pt x="9952897" y="2145823"/>
                  </a:lnTo>
                  <a:lnTo>
                    <a:pt x="9944376" y="2123269"/>
                  </a:lnTo>
                  <a:lnTo>
                    <a:pt x="9915364" y="2100041"/>
                  </a:lnTo>
                  <a:lnTo>
                    <a:pt x="9888609" y="2087900"/>
                  </a:lnTo>
                  <a:lnTo>
                    <a:pt x="9861854" y="2075758"/>
                  </a:lnTo>
                  <a:lnTo>
                    <a:pt x="9828839" y="2063585"/>
                  </a:lnTo>
                  <a:lnTo>
                    <a:pt x="9794757" y="2052538"/>
                  </a:lnTo>
                  <a:lnTo>
                    <a:pt x="9760673" y="2041492"/>
                  </a:lnTo>
                  <a:lnTo>
                    <a:pt x="9726098" y="2030821"/>
                  </a:lnTo>
                  <a:lnTo>
                    <a:pt x="9695458" y="2022611"/>
                  </a:lnTo>
                  <a:lnTo>
                    <a:pt x="9664830" y="2014406"/>
                  </a:lnTo>
                  <a:lnTo>
                    <a:pt x="9638404" y="2008556"/>
                  </a:lnTo>
                  <a:lnTo>
                    <a:pt x="9601585" y="2000412"/>
                  </a:lnTo>
                  <a:lnTo>
                    <a:pt x="9580408" y="2010080"/>
                  </a:lnTo>
                  <a:lnTo>
                    <a:pt x="9562161" y="2023976"/>
                  </a:lnTo>
                  <a:lnTo>
                    <a:pt x="9543914" y="2037865"/>
                  </a:lnTo>
                  <a:lnTo>
                    <a:pt x="9528836" y="2055881"/>
                  </a:lnTo>
                  <a:lnTo>
                    <a:pt x="9506018" y="2070879"/>
                  </a:lnTo>
                  <a:lnTo>
                    <a:pt x="9480978" y="2092635"/>
                  </a:lnTo>
                  <a:lnTo>
                    <a:pt x="9459305" y="2112090"/>
                  </a:lnTo>
                  <a:lnTo>
                    <a:pt x="9435663" y="2128703"/>
                  </a:lnTo>
                  <a:lnTo>
                    <a:pt x="9412015" y="2145315"/>
                  </a:lnTo>
                  <a:lnTo>
                    <a:pt x="9386525" y="2159435"/>
                  </a:lnTo>
                  <a:lnTo>
                    <a:pt x="9356769" y="2168147"/>
                  </a:lnTo>
                  <a:lnTo>
                    <a:pt x="9310908" y="2132825"/>
                  </a:lnTo>
                  <a:lnTo>
                    <a:pt x="9271924" y="2106088"/>
                  </a:lnTo>
                  <a:lnTo>
                    <a:pt x="9239796" y="2082453"/>
                  </a:lnTo>
                  <a:lnTo>
                    <a:pt x="9218033" y="2079729"/>
                  </a:lnTo>
                  <a:lnTo>
                    <a:pt x="9192779" y="2102382"/>
                  </a:lnTo>
                  <a:lnTo>
                    <a:pt x="9180717" y="2138694"/>
                  </a:lnTo>
                  <a:lnTo>
                    <a:pt x="9178330" y="2160200"/>
                  </a:lnTo>
                  <a:lnTo>
                    <a:pt x="9174507" y="2181746"/>
                  </a:lnTo>
                  <a:lnTo>
                    <a:pt x="9170675" y="2203291"/>
                  </a:lnTo>
                  <a:lnTo>
                    <a:pt x="9164852" y="2224790"/>
                  </a:lnTo>
                  <a:lnTo>
                    <a:pt x="9146074" y="2261122"/>
                  </a:lnTo>
                  <a:lnTo>
                    <a:pt x="9109215" y="2283762"/>
                  </a:lnTo>
                  <a:lnTo>
                    <a:pt x="9071527" y="2278671"/>
                  </a:lnTo>
                  <a:lnTo>
                    <a:pt x="9032649" y="2277992"/>
                  </a:lnTo>
                  <a:lnTo>
                    <a:pt x="8993600" y="2279680"/>
                  </a:lnTo>
                  <a:lnTo>
                    <a:pt x="8953575" y="2281869"/>
                  </a:lnTo>
                  <a:lnTo>
                    <a:pt x="8913921" y="2282924"/>
                  </a:lnTo>
                  <a:lnTo>
                    <a:pt x="8875263" y="2281038"/>
                  </a:lnTo>
                  <a:lnTo>
                    <a:pt x="8850220" y="2273586"/>
                  </a:lnTo>
                  <a:lnTo>
                    <a:pt x="8829567" y="2258563"/>
                  </a:lnTo>
                  <a:lnTo>
                    <a:pt x="8809971" y="2240229"/>
                  </a:lnTo>
                  <a:lnTo>
                    <a:pt x="8789560" y="2223518"/>
                  </a:lnTo>
                  <a:lnTo>
                    <a:pt x="8765093" y="2213428"/>
                  </a:lnTo>
                  <a:lnTo>
                    <a:pt x="8733802" y="2214390"/>
                  </a:lnTo>
                  <a:lnTo>
                    <a:pt x="8701757" y="2220253"/>
                  </a:lnTo>
                  <a:lnTo>
                    <a:pt x="8680751" y="2223907"/>
                  </a:lnTo>
                  <a:lnTo>
                    <a:pt x="8659748" y="2227560"/>
                  </a:lnTo>
                  <a:lnTo>
                    <a:pt x="8637259" y="2232711"/>
                  </a:lnTo>
                  <a:lnTo>
                    <a:pt x="8614104" y="2237512"/>
                  </a:lnTo>
                  <a:lnTo>
                    <a:pt x="8590949" y="2242306"/>
                  </a:lnTo>
                  <a:lnTo>
                    <a:pt x="8567096" y="2247787"/>
                  </a:lnTo>
                  <a:lnTo>
                    <a:pt x="8527808" y="2259875"/>
                  </a:lnTo>
                  <a:lnTo>
                    <a:pt x="8501205" y="2272874"/>
                  </a:lnTo>
                  <a:lnTo>
                    <a:pt x="8473322" y="2292520"/>
                  </a:lnTo>
                  <a:lnTo>
                    <a:pt x="8455807" y="2326286"/>
                  </a:lnTo>
                  <a:lnTo>
                    <a:pt x="8420953" y="2336805"/>
                  </a:lnTo>
                  <a:lnTo>
                    <a:pt x="8397832" y="2309601"/>
                  </a:lnTo>
                  <a:lnTo>
                    <a:pt x="8405989" y="2285121"/>
                  </a:lnTo>
                  <a:lnTo>
                    <a:pt x="8415511" y="2260634"/>
                  </a:lnTo>
                  <a:lnTo>
                    <a:pt x="8419601" y="2234788"/>
                  </a:lnTo>
                  <a:lnTo>
                    <a:pt x="8412801" y="2211666"/>
                  </a:lnTo>
                  <a:lnTo>
                    <a:pt x="8387556" y="2204122"/>
                  </a:lnTo>
                  <a:lnTo>
                    <a:pt x="8363834" y="2203509"/>
                  </a:lnTo>
                  <a:lnTo>
                    <a:pt x="8368844" y="2045811"/>
                  </a:lnTo>
                  <a:lnTo>
                    <a:pt x="8376075" y="2023962"/>
                  </a:lnTo>
                  <a:lnTo>
                    <a:pt x="8433799" y="2024457"/>
                  </a:lnTo>
                  <a:lnTo>
                    <a:pt x="8466119" y="2019755"/>
                  </a:lnTo>
                  <a:lnTo>
                    <a:pt x="8490332" y="2004916"/>
                  </a:lnTo>
                  <a:lnTo>
                    <a:pt x="8514541" y="1990078"/>
                  </a:lnTo>
                  <a:lnTo>
                    <a:pt x="8530183" y="1965466"/>
                  </a:lnTo>
                  <a:lnTo>
                    <a:pt x="8537938" y="1938268"/>
                  </a:lnTo>
                  <a:lnTo>
                    <a:pt x="8545668" y="1911078"/>
                  </a:lnTo>
                  <a:lnTo>
                    <a:pt x="8545872" y="1880985"/>
                  </a:lnTo>
                  <a:lnTo>
                    <a:pt x="8539290" y="1853939"/>
                  </a:lnTo>
                  <a:lnTo>
                    <a:pt x="8532717" y="1826894"/>
                  </a:lnTo>
                  <a:lnTo>
                    <a:pt x="8518643" y="1803046"/>
                  </a:lnTo>
                  <a:lnTo>
                    <a:pt x="8499847" y="1788650"/>
                  </a:lnTo>
                  <a:lnTo>
                    <a:pt x="8477278" y="1773297"/>
                  </a:lnTo>
                  <a:lnTo>
                    <a:pt x="8451670" y="1760476"/>
                  </a:lnTo>
                  <a:lnTo>
                    <a:pt x="8425033" y="1749199"/>
                  </a:lnTo>
                  <a:lnTo>
                    <a:pt x="8396716" y="1739755"/>
                  </a:lnTo>
                  <a:lnTo>
                    <a:pt x="8369030" y="1731445"/>
                  </a:lnTo>
                  <a:lnTo>
                    <a:pt x="8342065" y="1724719"/>
                  </a:lnTo>
                  <a:lnTo>
                    <a:pt x="8335693" y="1690926"/>
                  </a:lnTo>
                  <a:lnTo>
                    <a:pt x="8337975" y="1666228"/>
                  </a:lnTo>
                  <a:lnTo>
                    <a:pt x="8340282" y="1641537"/>
                  </a:lnTo>
                  <a:lnTo>
                    <a:pt x="8341938" y="1617393"/>
                  </a:lnTo>
                  <a:lnTo>
                    <a:pt x="8319911" y="1606340"/>
                  </a:lnTo>
                  <a:lnTo>
                    <a:pt x="8287181" y="1595076"/>
                  </a:lnTo>
                  <a:lnTo>
                    <a:pt x="8278152" y="1503004"/>
                  </a:lnTo>
                  <a:lnTo>
                    <a:pt x="8263908" y="1464365"/>
                  </a:lnTo>
                  <a:lnTo>
                    <a:pt x="8249075" y="1442906"/>
                  </a:lnTo>
                  <a:lnTo>
                    <a:pt x="8227907" y="1434220"/>
                  </a:lnTo>
                  <a:lnTo>
                    <a:pt x="8197109" y="1423721"/>
                  </a:lnTo>
                  <a:lnTo>
                    <a:pt x="8176131" y="1429557"/>
                  </a:lnTo>
                  <a:lnTo>
                    <a:pt x="8159629" y="1444455"/>
                  </a:lnTo>
                  <a:lnTo>
                    <a:pt x="8143860" y="1477284"/>
                  </a:lnTo>
                  <a:lnTo>
                    <a:pt x="8138617" y="1504423"/>
                  </a:lnTo>
                  <a:lnTo>
                    <a:pt x="8112206" y="1516610"/>
                  </a:lnTo>
                  <a:lnTo>
                    <a:pt x="8085054" y="1505709"/>
                  </a:lnTo>
                  <a:lnTo>
                    <a:pt x="8063238" y="1477159"/>
                  </a:lnTo>
                  <a:lnTo>
                    <a:pt x="8047773" y="1445939"/>
                  </a:lnTo>
                  <a:lnTo>
                    <a:pt x="8037035" y="1392712"/>
                  </a:lnTo>
                  <a:lnTo>
                    <a:pt x="8038691" y="1352937"/>
                  </a:lnTo>
                  <a:lnTo>
                    <a:pt x="8037398" y="1316659"/>
                  </a:lnTo>
                  <a:lnTo>
                    <a:pt x="8034049" y="1292661"/>
                  </a:lnTo>
                  <a:lnTo>
                    <a:pt x="8029867" y="1267210"/>
                  </a:lnTo>
                  <a:lnTo>
                    <a:pt x="8027870" y="1240488"/>
                  </a:lnTo>
                  <a:lnTo>
                    <a:pt x="8027870" y="1210837"/>
                  </a:lnTo>
                  <a:lnTo>
                    <a:pt x="8043894" y="1187372"/>
                  </a:lnTo>
                  <a:lnTo>
                    <a:pt x="8059155" y="1162958"/>
                  </a:lnTo>
                  <a:lnTo>
                    <a:pt x="8074416" y="1138544"/>
                  </a:lnTo>
                  <a:lnTo>
                    <a:pt x="8089770" y="1114327"/>
                  </a:lnTo>
                  <a:lnTo>
                    <a:pt x="8089075" y="1085422"/>
                  </a:lnTo>
                  <a:lnTo>
                    <a:pt x="8077758" y="1042786"/>
                  </a:lnTo>
                  <a:lnTo>
                    <a:pt x="8064590" y="1020139"/>
                  </a:lnTo>
                  <a:lnTo>
                    <a:pt x="8051419" y="997486"/>
                  </a:lnTo>
                  <a:lnTo>
                    <a:pt x="8035857" y="976725"/>
                  </a:lnTo>
                  <a:lnTo>
                    <a:pt x="7978388" y="917885"/>
                  </a:lnTo>
                  <a:lnTo>
                    <a:pt x="7916159" y="881758"/>
                  </a:lnTo>
                  <a:lnTo>
                    <a:pt x="7867362" y="837869"/>
                  </a:lnTo>
                  <a:lnTo>
                    <a:pt x="7846709" y="819291"/>
                  </a:lnTo>
                  <a:lnTo>
                    <a:pt x="7831448" y="790115"/>
                  </a:lnTo>
                  <a:lnTo>
                    <a:pt x="7812956" y="769862"/>
                  </a:lnTo>
                  <a:lnTo>
                    <a:pt x="7781293" y="735219"/>
                  </a:lnTo>
                  <a:lnTo>
                    <a:pt x="7745496" y="705529"/>
                  </a:lnTo>
                  <a:lnTo>
                    <a:pt x="7717737" y="667846"/>
                  </a:lnTo>
                  <a:lnTo>
                    <a:pt x="7697701" y="640629"/>
                  </a:lnTo>
                  <a:lnTo>
                    <a:pt x="7679268" y="614183"/>
                  </a:lnTo>
                  <a:lnTo>
                    <a:pt x="7664695" y="586234"/>
                  </a:lnTo>
                  <a:lnTo>
                    <a:pt x="7650113" y="558284"/>
                  </a:lnTo>
                  <a:lnTo>
                    <a:pt x="7638923" y="528423"/>
                  </a:lnTo>
                  <a:lnTo>
                    <a:pt x="7637484" y="493740"/>
                  </a:lnTo>
                  <a:lnTo>
                    <a:pt x="7634880" y="429737"/>
                  </a:lnTo>
                  <a:lnTo>
                    <a:pt x="7632564" y="362937"/>
                  </a:lnTo>
                  <a:lnTo>
                    <a:pt x="7633401" y="296514"/>
                  </a:lnTo>
                  <a:lnTo>
                    <a:pt x="7634219" y="230083"/>
                  </a:lnTo>
                  <a:lnTo>
                    <a:pt x="7639180" y="163698"/>
                  </a:lnTo>
                  <a:lnTo>
                    <a:pt x="7651084" y="100638"/>
                  </a:lnTo>
                  <a:lnTo>
                    <a:pt x="7617244" y="66787"/>
                  </a:lnTo>
                  <a:lnTo>
                    <a:pt x="7531683" y="49594"/>
                  </a:lnTo>
                  <a:lnTo>
                    <a:pt x="7482418" y="21750"/>
                  </a:lnTo>
                  <a:lnTo>
                    <a:pt x="7464481" y="45722"/>
                  </a:lnTo>
                  <a:lnTo>
                    <a:pt x="7467665" y="88061"/>
                  </a:lnTo>
                  <a:lnTo>
                    <a:pt x="7451133" y="116960"/>
                  </a:lnTo>
                  <a:lnTo>
                    <a:pt x="7420623" y="111638"/>
                  </a:lnTo>
                  <a:lnTo>
                    <a:pt x="7380982" y="100533"/>
                  </a:lnTo>
                  <a:lnTo>
                    <a:pt x="7354702" y="97519"/>
                  </a:lnTo>
                  <a:lnTo>
                    <a:pt x="7313752" y="108803"/>
                  </a:lnTo>
                  <a:lnTo>
                    <a:pt x="7290631" y="168651"/>
                  </a:lnTo>
                  <a:lnTo>
                    <a:pt x="7269463" y="175431"/>
                  </a:lnTo>
                  <a:lnTo>
                    <a:pt x="7243279" y="169614"/>
                  </a:lnTo>
                  <a:lnTo>
                    <a:pt x="7219901" y="164576"/>
                  </a:lnTo>
                  <a:lnTo>
                    <a:pt x="7196516" y="159537"/>
                  </a:lnTo>
                  <a:lnTo>
                    <a:pt x="7175544" y="154387"/>
                  </a:lnTo>
                  <a:lnTo>
                    <a:pt x="7155963" y="181577"/>
                  </a:lnTo>
                  <a:lnTo>
                    <a:pt x="7165336" y="210027"/>
                  </a:lnTo>
                  <a:lnTo>
                    <a:pt x="7170933" y="238037"/>
                  </a:lnTo>
                  <a:lnTo>
                    <a:pt x="7175150" y="265596"/>
                  </a:lnTo>
                  <a:lnTo>
                    <a:pt x="7172155" y="292081"/>
                  </a:lnTo>
                  <a:lnTo>
                    <a:pt x="7157309" y="315566"/>
                  </a:lnTo>
                  <a:lnTo>
                    <a:pt x="7118242" y="303365"/>
                  </a:lnTo>
                  <a:lnTo>
                    <a:pt x="7084238" y="269850"/>
                  </a:lnTo>
                  <a:lnTo>
                    <a:pt x="7045769" y="262516"/>
                  </a:lnTo>
                  <a:lnTo>
                    <a:pt x="6983369" y="301730"/>
                  </a:lnTo>
                  <a:lnTo>
                    <a:pt x="6963305" y="328017"/>
                  </a:lnTo>
                  <a:lnTo>
                    <a:pt x="6975019" y="363175"/>
                  </a:lnTo>
                  <a:lnTo>
                    <a:pt x="6986423" y="397593"/>
                  </a:lnTo>
                  <a:lnTo>
                    <a:pt x="6966592" y="421124"/>
                  </a:lnTo>
                  <a:lnTo>
                    <a:pt x="6942361" y="421665"/>
                  </a:lnTo>
                  <a:lnTo>
                    <a:pt x="6917162" y="416185"/>
                  </a:lnTo>
                  <a:lnTo>
                    <a:pt x="6878495" y="395892"/>
                  </a:lnTo>
                  <a:lnTo>
                    <a:pt x="6854121" y="376259"/>
                  </a:lnTo>
                  <a:lnTo>
                    <a:pt x="6788026" y="345625"/>
                  </a:lnTo>
                  <a:lnTo>
                    <a:pt x="6742181" y="329237"/>
                  </a:lnTo>
                  <a:lnTo>
                    <a:pt x="6698891" y="310125"/>
                  </a:lnTo>
                  <a:lnTo>
                    <a:pt x="6655588" y="291013"/>
                  </a:lnTo>
                  <a:lnTo>
                    <a:pt x="6613600" y="268980"/>
                  </a:lnTo>
                  <a:lnTo>
                    <a:pt x="6569664" y="232596"/>
                  </a:lnTo>
                  <a:lnTo>
                    <a:pt x="6547201" y="213985"/>
                  </a:lnTo>
                  <a:lnTo>
                    <a:pt x="6524272" y="189023"/>
                  </a:lnTo>
                  <a:lnTo>
                    <a:pt x="6503023" y="163223"/>
                  </a:lnTo>
                  <a:lnTo>
                    <a:pt x="6481766" y="137424"/>
                  </a:lnTo>
                  <a:lnTo>
                    <a:pt x="6462787" y="109996"/>
                  </a:lnTo>
                  <a:lnTo>
                    <a:pt x="6448614" y="84329"/>
                  </a:lnTo>
                  <a:lnTo>
                    <a:pt x="6407826" y="75393"/>
                  </a:lnTo>
                  <a:lnTo>
                    <a:pt x="6338426" y="98673"/>
                  </a:lnTo>
                  <a:lnTo>
                    <a:pt x="6269063" y="125138"/>
                  </a:lnTo>
                  <a:lnTo>
                    <a:pt x="6199696" y="151603"/>
                  </a:lnTo>
                  <a:lnTo>
                    <a:pt x="6129387" y="181287"/>
                  </a:lnTo>
                  <a:lnTo>
                    <a:pt x="6104480" y="194510"/>
                  </a:lnTo>
                  <a:lnTo>
                    <a:pt x="6073660" y="224431"/>
                  </a:lnTo>
                  <a:lnTo>
                    <a:pt x="6077276" y="252994"/>
                  </a:lnTo>
                  <a:lnTo>
                    <a:pt x="6103628" y="272270"/>
                  </a:lnTo>
                  <a:lnTo>
                    <a:pt x="6200586" y="317861"/>
                  </a:lnTo>
                  <a:lnTo>
                    <a:pt x="6213547" y="347426"/>
                  </a:lnTo>
                  <a:lnTo>
                    <a:pt x="6202623" y="381832"/>
                  </a:lnTo>
                  <a:lnTo>
                    <a:pt x="6153829" y="382300"/>
                  </a:lnTo>
                  <a:lnTo>
                    <a:pt x="6105628" y="375158"/>
                  </a:lnTo>
                  <a:lnTo>
                    <a:pt x="6060951" y="371332"/>
                  </a:lnTo>
                  <a:lnTo>
                    <a:pt x="5971177" y="363175"/>
                  </a:lnTo>
                  <a:lnTo>
                    <a:pt x="5949749" y="362647"/>
                  </a:lnTo>
                  <a:lnTo>
                    <a:pt x="5916774" y="378138"/>
                  </a:lnTo>
                  <a:lnTo>
                    <a:pt x="5890903" y="401564"/>
                  </a:lnTo>
                  <a:lnTo>
                    <a:pt x="5858331" y="441450"/>
                  </a:lnTo>
                  <a:lnTo>
                    <a:pt x="5841197" y="469161"/>
                  </a:lnTo>
                  <a:lnTo>
                    <a:pt x="5816117" y="473349"/>
                  </a:lnTo>
                  <a:lnTo>
                    <a:pt x="5779303" y="469195"/>
                  </a:lnTo>
                  <a:lnTo>
                    <a:pt x="5747919" y="455892"/>
                  </a:lnTo>
                  <a:lnTo>
                    <a:pt x="5718181" y="439346"/>
                  </a:lnTo>
                  <a:lnTo>
                    <a:pt x="5688453" y="422799"/>
                  </a:lnTo>
                  <a:lnTo>
                    <a:pt x="5659528" y="403430"/>
                  </a:lnTo>
                  <a:lnTo>
                    <a:pt x="5628413" y="387655"/>
                  </a:lnTo>
                  <a:lnTo>
                    <a:pt x="5607289" y="376951"/>
                  </a:lnTo>
                  <a:lnTo>
                    <a:pt x="5586199" y="372374"/>
                  </a:lnTo>
                  <a:lnTo>
                    <a:pt x="5564482" y="360451"/>
                  </a:lnTo>
                  <a:lnTo>
                    <a:pt x="5541361" y="347742"/>
                  </a:lnTo>
                  <a:lnTo>
                    <a:pt x="5505351" y="323513"/>
                  </a:lnTo>
                  <a:lnTo>
                    <a:pt x="5478788" y="318290"/>
                  </a:lnTo>
                  <a:lnTo>
                    <a:pt x="5393389" y="301453"/>
                  </a:lnTo>
                  <a:lnTo>
                    <a:pt x="5306681" y="299560"/>
                  </a:lnTo>
                  <a:lnTo>
                    <a:pt x="5221706" y="285644"/>
                  </a:lnTo>
                  <a:lnTo>
                    <a:pt x="5147711" y="273550"/>
                  </a:lnTo>
                  <a:lnTo>
                    <a:pt x="5072298" y="256673"/>
                  </a:lnTo>
                  <a:lnTo>
                    <a:pt x="4998632" y="242118"/>
                  </a:lnTo>
                  <a:lnTo>
                    <a:pt x="4932797" y="229107"/>
                  </a:lnTo>
                  <a:lnTo>
                    <a:pt x="4865185" y="228810"/>
                  </a:lnTo>
                  <a:lnTo>
                    <a:pt x="4797329" y="228513"/>
                  </a:lnTo>
                  <a:lnTo>
                    <a:pt x="4729476" y="228184"/>
                  </a:lnTo>
                  <a:lnTo>
                    <a:pt x="4661328" y="228250"/>
                  </a:lnTo>
                  <a:lnTo>
                    <a:pt x="4594656" y="217632"/>
                  </a:lnTo>
                  <a:lnTo>
                    <a:pt x="4552361" y="210885"/>
                  </a:lnTo>
                  <a:lnTo>
                    <a:pt x="4529048" y="197563"/>
                  </a:lnTo>
                  <a:lnTo>
                    <a:pt x="4507601" y="179546"/>
                  </a:lnTo>
                  <a:lnTo>
                    <a:pt x="4486170" y="161529"/>
                  </a:lnTo>
                  <a:lnTo>
                    <a:pt x="4467883" y="139067"/>
                  </a:lnTo>
                  <a:lnTo>
                    <a:pt x="4438232" y="114256"/>
                  </a:lnTo>
                  <a:lnTo>
                    <a:pt x="4403747" y="107734"/>
                  </a:lnTo>
                  <a:lnTo>
                    <a:pt x="4381106" y="112898"/>
                  </a:lnTo>
                  <a:lnTo>
                    <a:pt x="4358466" y="118055"/>
                  </a:lnTo>
                  <a:lnTo>
                    <a:pt x="4335540" y="124320"/>
                  </a:lnTo>
                  <a:lnTo>
                    <a:pt x="4306655" y="95850"/>
                  </a:lnTo>
                  <a:lnTo>
                    <a:pt x="4297521" y="67057"/>
                  </a:lnTo>
                  <a:lnTo>
                    <a:pt x="4283171" y="43526"/>
                  </a:lnTo>
                  <a:lnTo>
                    <a:pt x="4267144" y="20992"/>
                  </a:lnTo>
                  <a:lnTo>
                    <a:pt x="4244795" y="6212"/>
                  </a:lnTo>
                  <a:lnTo>
                    <a:pt x="4213805" y="1358"/>
                  </a:lnTo>
                  <a:lnTo>
                    <a:pt x="4043775" y="0"/>
                  </a:lnTo>
                  <a:lnTo>
                    <a:pt x="4030005" y="31246"/>
                  </a:lnTo>
                  <a:lnTo>
                    <a:pt x="4024105" y="62889"/>
                  </a:lnTo>
                  <a:lnTo>
                    <a:pt x="4015212" y="93858"/>
                  </a:lnTo>
                  <a:lnTo>
                    <a:pt x="4006323" y="124822"/>
                  </a:lnTo>
                  <a:lnTo>
                    <a:pt x="3995133" y="154043"/>
                  </a:lnTo>
                  <a:lnTo>
                    <a:pt x="3956599" y="179335"/>
                  </a:lnTo>
                  <a:lnTo>
                    <a:pt x="3934538" y="173749"/>
                  </a:lnTo>
                  <a:lnTo>
                    <a:pt x="3907755" y="172747"/>
                  </a:lnTo>
                  <a:lnTo>
                    <a:pt x="3861386" y="179032"/>
                  </a:lnTo>
                  <a:lnTo>
                    <a:pt x="3835351" y="162373"/>
                  </a:lnTo>
                  <a:lnTo>
                    <a:pt x="3816620" y="145549"/>
                  </a:lnTo>
                  <a:lnTo>
                    <a:pt x="3798175" y="128007"/>
                  </a:lnTo>
                  <a:lnTo>
                    <a:pt x="3764000" y="109145"/>
                  </a:lnTo>
                  <a:lnTo>
                    <a:pt x="3736659" y="109244"/>
                  </a:lnTo>
                  <a:lnTo>
                    <a:pt x="3710530" y="115628"/>
                  </a:lnTo>
                  <a:lnTo>
                    <a:pt x="3684399" y="122012"/>
                  </a:lnTo>
                  <a:lnTo>
                    <a:pt x="3658754" y="135604"/>
                  </a:lnTo>
                  <a:lnTo>
                    <a:pt x="3638432" y="149632"/>
                  </a:lnTo>
                  <a:lnTo>
                    <a:pt x="3603988" y="135664"/>
                  </a:lnTo>
                  <a:lnTo>
                    <a:pt x="3584033" y="119704"/>
                  </a:lnTo>
                  <a:lnTo>
                    <a:pt x="3564077" y="103744"/>
                  </a:lnTo>
                  <a:lnTo>
                    <a:pt x="3544686" y="86215"/>
                  </a:lnTo>
                  <a:lnTo>
                    <a:pt x="3520740" y="74588"/>
                  </a:lnTo>
                  <a:lnTo>
                    <a:pt x="3501061" y="66655"/>
                  </a:lnTo>
                  <a:lnTo>
                    <a:pt x="3472492" y="55779"/>
                  </a:lnTo>
                  <a:lnTo>
                    <a:pt x="3472492" y="81618"/>
                  </a:lnTo>
                  <a:lnTo>
                    <a:pt x="3466458" y="108334"/>
                  </a:lnTo>
                  <a:lnTo>
                    <a:pt x="3449827" y="130625"/>
                  </a:lnTo>
                  <a:lnTo>
                    <a:pt x="3431692" y="152349"/>
                  </a:lnTo>
                  <a:lnTo>
                    <a:pt x="3413547" y="174072"/>
                  </a:lnTo>
                  <a:lnTo>
                    <a:pt x="3393902" y="195400"/>
                  </a:lnTo>
                  <a:lnTo>
                    <a:pt x="3379999" y="219004"/>
                  </a:lnTo>
                  <a:lnTo>
                    <a:pt x="3367416" y="240404"/>
                  </a:lnTo>
                  <a:lnTo>
                    <a:pt x="3361038" y="263169"/>
                  </a:lnTo>
                  <a:lnTo>
                    <a:pt x="3354155" y="285651"/>
                  </a:lnTo>
                  <a:lnTo>
                    <a:pt x="3347275" y="308127"/>
                  </a:lnTo>
                  <a:lnTo>
                    <a:pt x="3339809" y="330813"/>
                  </a:lnTo>
                  <a:lnTo>
                    <a:pt x="3321509" y="350941"/>
                  </a:lnTo>
                  <a:lnTo>
                    <a:pt x="3294819" y="369328"/>
                  </a:lnTo>
                  <a:lnTo>
                    <a:pt x="3269487" y="377908"/>
                  </a:lnTo>
                  <a:lnTo>
                    <a:pt x="3246704" y="383586"/>
                  </a:lnTo>
                  <a:lnTo>
                    <a:pt x="3223918" y="389264"/>
                  </a:lnTo>
                  <a:lnTo>
                    <a:pt x="3202682" y="391288"/>
                  </a:lnTo>
                  <a:lnTo>
                    <a:pt x="3165587" y="405811"/>
                  </a:lnTo>
                  <a:lnTo>
                    <a:pt x="3136522" y="440711"/>
                  </a:lnTo>
                  <a:lnTo>
                    <a:pt x="3122541" y="463859"/>
                  </a:lnTo>
                  <a:lnTo>
                    <a:pt x="3110254" y="498917"/>
                  </a:lnTo>
                  <a:lnTo>
                    <a:pt x="3101160" y="552251"/>
                  </a:lnTo>
                  <a:lnTo>
                    <a:pt x="3046282" y="579006"/>
                  </a:lnTo>
                  <a:lnTo>
                    <a:pt x="2983164" y="579982"/>
                  </a:lnTo>
                  <a:lnTo>
                    <a:pt x="2928414" y="610734"/>
                  </a:lnTo>
                  <a:lnTo>
                    <a:pt x="2905891" y="630532"/>
                  </a:lnTo>
                  <a:lnTo>
                    <a:pt x="2891086" y="661673"/>
                  </a:lnTo>
                  <a:lnTo>
                    <a:pt x="2880804" y="699152"/>
                  </a:lnTo>
                  <a:lnTo>
                    <a:pt x="2871571" y="736782"/>
                  </a:lnTo>
                  <a:lnTo>
                    <a:pt x="2865332" y="775904"/>
                  </a:lnTo>
                  <a:lnTo>
                    <a:pt x="2846800" y="798445"/>
                  </a:lnTo>
                  <a:lnTo>
                    <a:pt x="2818113" y="818038"/>
                  </a:lnTo>
                  <a:lnTo>
                    <a:pt x="2785554" y="823809"/>
                  </a:lnTo>
                  <a:lnTo>
                    <a:pt x="2752948" y="825649"/>
                  </a:lnTo>
                  <a:lnTo>
                    <a:pt x="2720343" y="827489"/>
                  </a:lnTo>
                  <a:lnTo>
                    <a:pt x="2686704" y="825912"/>
                  </a:lnTo>
                  <a:lnTo>
                    <a:pt x="2655013" y="831089"/>
                  </a:lnTo>
                  <a:lnTo>
                    <a:pt x="2621183" y="836616"/>
                  </a:lnTo>
                  <a:lnTo>
                    <a:pt x="2582162" y="852404"/>
                  </a:lnTo>
                  <a:lnTo>
                    <a:pt x="2548924" y="862376"/>
                  </a:lnTo>
                  <a:lnTo>
                    <a:pt x="2516699" y="885009"/>
                  </a:lnTo>
                  <a:lnTo>
                    <a:pt x="2479381" y="900777"/>
                  </a:lnTo>
                  <a:lnTo>
                    <a:pt x="2454325" y="907669"/>
                  </a:lnTo>
                  <a:lnTo>
                    <a:pt x="2431942" y="918142"/>
                  </a:lnTo>
                  <a:lnTo>
                    <a:pt x="2409559" y="928615"/>
                  </a:lnTo>
                  <a:lnTo>
                    <a:pt x="2389498" y="943005"/>
                  </a:lnTo>
                  <a:lnTo>
                    <a:pt x="2374816" y="965751"/>
                  </a:lnTo>
                  <a:lnTo>
                    <a:pt x="2366098" y="1001627"/>
                  </a:lnTo>
                  <a:lnTo>
                    <a:pt x="2317335" y="1006797"/>
                  </a:lnTo>
                  <a:lnTo>
                    <a:pt x="2267359" y="1007919"/>
                  </a:lnTo>
                  <a:lnTo>
                    <a:pt x="2217384" y="1009033"/>
                  </a:lnTo>
                  <a:lnTo>
                    <a:pt x="2165852" y="1004904"/>
                  </a:lnTo>
                  <a:lnTo>
                    <a:pt x="2150129" y="985602"/>
                  </a:lnTo>
                  <a:lnTo>
                    <a:pt x="2148514" y="960521"/>
                  </a:lnTo>
                  <a:lnTo>
                    <a:pt x="2113614" y="931365"/>
                  </a:lnTo>
                  <a:lnTo>
                    <a:pt x="2055255" y="932618"/>
                  </a:lnTo>
                  <a:lnTo>
                    <a:pt x="2027966" y="933106"/>
                  </a:lnTo>
                  <a:lnTo>
                    <a:pt x="2011642" y="972550"/>
                  </a:lnTo>
                  <a:lnTo>
                    <a:pt x="1978252" y="988088"/>
                  </a:lnTo>
                  <a:lnTo>
                    <a:pt x="1871905" y="988108"/>
                  </a:lnTo>
                  <a:lnTo>
                    <a:pt x="1764082" y="980708"/>
                  </a:lnTo>
                  <a:lnTo>
                    <a:pt x="1656262" y="973315"/>
                  </a:lnTo>
                  <a:lnTo>
                    <a:pt x="1546727" y="957863"/>
                  </a:lnTo>
                  <a:lnTo>
                    <a:pt x="1511089" y="941264"/>
                  </a:lnTo>
                  <a:lnTo>
                    <a:pt x="1488898" y="912022"/>
                  </a:lnTo>
                  <a:lnTo>
                    <a:pt x="1476592" y="884350"/>
                  </a:lnTo>
                  <a:lnTo>
                    <a:pt x="1471011" y="850307"/>
                  </a:lnTo>
                  <a:lnTo>
                    <a:pt x="1462116" y="817491"/>
                  </a:lnTo>
                  <a:lnTo>
                    <a:pt x="1453226" y="784668"/>
                  </a:lnTo>
                  <a:lnTo>
                    <a:pt x="1440505" y="753837"/>
                  </a:lnTo>
                  <a:lnTo>
                    <a:pt x="1376428" y="737237"/>
                  </a:lnTo>
                  <a:lnTo>
                    <a:pt x="1330093" y="729205"/>
                  </a:lnTo>
                  <a:lnTo>
                    <a:pt x="1309775" y="734514"/>
                  </a:lnTo>
                  <a:lnTo>
                    <a:pt x="1294520" y="751028"/>
                  </a:lnTo>
                  <a:lnTo>
                    <a:pt x="1275901" y="776319"/>
                  </a:lnTo>
                  <a:lnTo>
                    <a:pt x="1254944" y="779715"/>
                  </a:lnTo>
                  <a:lnTo>
                    <a:pt x="1224211" y="804373"/>
                  </a:lnTo>
                  <a:lnTo>
                    <a:pt x="1211799" y="828683"/>
                  </a:lnTo>
                  <a:lnTo>
                    <a:pt x="1190076" y="837889"/>
                  </a:lnTo>
                  <a:lnTo>
                    <a:pt x="1166788" y="818084"/>
                  </a:lnTo>
                  <a:lnTo>
                    <a:pt x="1138476" y="794343"/>
                  </a:lnTo>
                  <a:lnTo>
                    <a:pt x="1118502" y="769816"/>
                  </a:lnTo>
                  <a:lnTo>
                    <a:pt x="1093592" y="742658"/>
                  </a:lnTo>
                  <a:lnTo>
                    <a:pt x="1057827" y="730141"/>
                  </a:lnTo>
                  <a:lnTo>
                    <a:pt x="1017420" y="733135"/>
                  </a:lnTo>
                  <a:lnTo>
                    <a:pt x="952131" y="737211"/>
                  </a:lnTo>
                  <a:lnTo>
                    <a:pt x="938064" y="753237"/>
                  </a:lnTo>
                  <a:lnTo>
                    <a:pt x="922679" y="793743"/>
                  </a:lnTo>
                  <a:lnTo>
                    <a:pt x="913451" y="814167"/>
                  </a:lnTo>
                  <a:lnTo>
                    <a:pt x="879488" y="818493"/>
                  </a:lnTo>
                  <a:lnTo>
                    <a:pt x="858245" y="816930"/>
                  </a:lnTo>
                  <a:lnTo>
                    <a:pt x="817504" y="817992"/>
                  </a:lnTo>
                  <a:lnTo>
                    <a:pt x="779385" y="831069"/>
                  </a:lnTo>
                  <a:lnTo>
                    <a:pt x="754013" y="844141"/>
                  </a:lnTo>
                  <a:lnTo>
                    <a:pt x="731289" y="869742"/>
                  </a:lnTo>
                  <a:lnTo>
                    <a:pt x="710013" y="900435"/>
                  </a:lnTo>
                  <a:lnTo>
                    <a:pt x="688746" y="931128"/>
                  </a:lnTo>
                  <a:lnTo>
                    <a:pt x="668676" y="966635"/>
                  </a:lnTo>
                  <a:lnTo>
                    <a:pt x="647446" y="998369"/>
                  </a:lnTo>
                  <a:lnTo>
                    <a:pt x="626226" y="1030111"/>
                  </a:lnTo>
                  <a:lnTo>
                    <a:pt x="603315" y="1058337"/>
                  </a:lnTo>
                  <a:lnTo>
                    <a:pt x="578077" y="1074540"/>
                  </a:lnTo>
                  <a:lnTo>
                    <a:pt x="553015" y="1088396"/>
                  </a:lnTo>
                  <a:lnTo>
                    <a:pt x="524253" y="1090612"/>
                  </a:lnTo>
                  <a:lnTo>
                    <a:pt x="492389" y="1078622"/>
                  </a:lnTo>
                  <a:lnTo>
                    <a:pt x="459743" y="1037820"/>
                  </a:lnTo>
                  <a:lnTo>
                    <a:pt x="436615" y="1033745"/>
                  </a:lnTo>
                  <a:lnTo>
                    <a:pt x="385998" y="1049025"/>
                  </a:lnTo>
                  <a:lnTo>
                    <a:pt x="345486" y="1048702"/>
                  </a:lnTo>
                  <a:lnTo>
                    <a:pt x="304974" y="1048372"/>
                  </a:lnTo>
                  <a:lnTo>
                    <a:pt x="264105" y="1043683"/>
                  </a:lnTo>
                  <a:lnTo>
                    <a:pt x="240745" y="1047343"/>
                  </a:lnTo>
                  <a:lnTo>
                    <a:pt x="240686" y="1075675"/>
                  </a:lnTo>
                  <a:lnTo>
                    <a:pt x="229428" y="1099086"/>
                  </a:lnTo>
                  <a:lnTo>
                    <a:pt x="216266" y="1122155"/>
                  </a:lnTo>
                  <a:lnTo>
                    <a:pt x="203101" y="1145225"/>
                  </a:lnTo>
                  <a:lnTo>
                    <a:pt x="189127" y="1167786"/>
                  </a:lnTo>
                  <a:lnTo>
                    <a:pt x="183620" y="1194244"/>
                  </a:lnTo>
                  <a:lnTo>
                    <a:pt x="171763" y="1222345"/>
                  </a:lnTo>
                  <a:lnTo>
                    <a:pt x="161218" y="1300040"/>
                  </a:lnTo>
                  <a:lnTo>
                    <a:pt x="140649" y="1329051"/>
                  </a:lnTo>
                  <a:lnTo>
                    <a:pt x="119962" y="1340816"/>
                  </a:lnTo>
                  <a:lnTo>
                    <a:pt x="102009" y="1353386"/>
                  </a:lnTo>
                  <a:lnTo>
                    <a:pt x="84057" y="1365962"/>
                  </a:lnTo>
                  <a:lnTo>
                    <a:pt x="68238" y="1380069"/>
                  </a:lnTo>
                  <a:lnTo>
                    <a:pt x="68005" y="1402353"/>
                  </a:lnTo>
                  <a:lnTo>
                    <a:pt x="89914" y="1411982"/>
                  </a:lnTo>
                  <a:lnTo>
                    <a:pt x="107451" y="1434998"/>
                  </a:lnTo>
                  <a:lnTo>
                    <a:pt x="111209" y="1460659"/>
                  </a:lnTo>
                  <a:lnTo>
                    <a:pt x="95842" y="1502022"/>
                  </a:lnTo>
                  <a:lnTo>
                    <a:pt x="70895" y="1530934"/>
                  </a:lnTo>
                  <a:lnTo>
                    <a:pt x="54400" y="1554696"/>
                  </a:lnTo>
                  <a:lnTo>
                    <a:pt x="39582" y="1580238"/>
                  </a:lnTo>
                  <a:lnTo>
                    <a:pt x="22982" y="1605331"/>
                  </a:lnTo>
                  <a:lnTo>
                    <a:pt x="0" y="1622709"/>
                  </a:lnTo>
                  <a:lnTo>
                    <a:pt x="12238" y="1648554"/>
                  </a:lnTo>
                  <a:lnTo>
                    <a:pt x="41040" y="1636763"/>
                  </a:lnTo>
                  <a:lnTo>
                    <a:pt x="73208" y="1633142"/>
                  </a:lnTo>
                  <a:lnTo>
                    <a:pt x="102009" y="1647189"/>
                  </a:lnTo>
                  <a:lnTo>
                    <a:pt x="113984" y="1667191"/>
                  </a:lnTo>
                  <a:lnTo>
                    <a:pt x="126557" y="1688783"/>
                  </a:lnTo>
                  <a:lnTo>
                    <a:pt x="133294" y="1719284"/>
                  </a:lnTo>
                  <a:lnTo>
                    <a:pt x="137787" y="1750538"/>
                  </a:lnTo>
                  <a:lnTo>
                    <a:pt x="150363" y="1782827"/>
                  </a:lnTo>
                  <a:lnTo>
                    <a:pt x="169199" y="1795218"/>
                  </a:lnTo>
                  <a:lnTo>
                    <a:pt x="186345" y="1807696"/>
                  </a:lnTo>
                  <a:lnTo>
                    <a:pt x="203492" y="1820173"/>
                  </a:lnTo>
                  <a:lnTo>
                    <a:pt x="228513" y="1851222"/>
                  </a:lnTo>
                  <a:lnTo>
                    <a:pt x="232780" y="1883616"/>
                  </a:lnTo>
                  <a:lnTo>
                    <a:pt x="232389" y="1916762"/>
                  </a:lnTo>
                  <a:lnTo>
                    <a:pt x="246193" y="1943715"/>
                  </a:lnTo>
                  <a:lnTo>
                    <a:pt x="267100" y="1963329"/>
                  </a:lnTo>
                  <a:lnTo>
                    <a:pt x="288379" y="1970755"/>
                  </a:lnTo>
                  <a:lnTo>
                    <a:pt x="310118" y="1975002"/>
                  </a:lnTo>
                  <a:lnTo>
                    <a:pt x="331862" y="1979243"/>
                  </a:lnTo>
                  <a:lnTo>
                    <a:pt x="354072" y="1979512"/>
                  </a:lnTo>
                  <a:lnTo>
                    <a:pt x="394026" y="1986813"/>
                  </a:lnTo>
                  <a:lnTo>
                    <a:pt x="427100" y="2011722"/>
                  </a:lnTo>
                  <a:lnTo>
                    <a:pt x="442714" y="2029561"/>
                  </a:lnTo>
                  <a:lnTo>
                    <a:pt x="456499" y="2058777"/>
                  </a:lnTo>
                  <a:lnTo>
                    <a:pt x="465184" y="2105581"/>
                  </a:lnTo>
                  <a:lnTo>
                    <a:pt x="484647" y="2124179"/>
                  </a:lnTo>
                  <a:lnTo>
                    <a:pt x="520145" y="2128802"/>
                  </a:lnTo>
                  <a:lnTo>
                    <a:pt x="552928" y="2102442"/>
                  </a:lnTo>
                  <a:lnTo>
                    <a:pt x="583524" y="2077012"/>
                  </a:lnTo>
                  <a:lnTo>
                    <a:pt x="614108" y="2051582"/>
                  </a:lnTo>
                  <a:lnTo>
                    <a:pt x="643518" y="2026772"/>
                  </a:lnTo>
                  <a:lnTo>
                    <a:pt x="714096" y="2075653"/>
                  </a:lnTo>
                  <a:lnTo>
                    <a:pt x="729019" y="2107216"/>
                  </a:lnTo>
                  <a:lnTo>
                    <a:pt x="732969" y="2151679"/>
                  </a:lnTo>
                  <a:lnTo>
                    <a:pt x="735865" y="2185828"/>
                  </a:lnTo>
                  <a:lnTo>
                    <a:pt x="701347" y="2210189"/>
                  </a:lnTo>
                  <a:lnTo>
                    <a:pt x="571150" y="2258813"/>
                  </a:lnTo>
                  <a:lnTo>
                    <a:pt x="546776" y="2278876"/>
                  </a:lnTo>
                  <a:lnTo>
                    <a:pt x="569925" y="2323292"/>
                  </a:lnTo>
                  <a:lnTo>
                    <a:pt x="593040" y="2377621"/>
                  </a:lnTo>
                  <a:lnTo>
                    <a:pt x="604599" y="2404785"/>
                  </a:lnTo>
                  <a:lnTo>
                    <a:pt x="616524" y="2434231"/>
                  </a:lnTo>
                  <a:lnTo>
                    <a:pt x="624325" y="2464673"/>
                  </a:lnTo>
                  <a:lnTo>
                    <a:pt x="632126" y="2495109"/>
                  </a:lnTo>
                  <a:lnTo>
                    <a:pt x="636163" y="2526599"/>
                  </a:lnTo>
                  <a:lnTo>
                    <a:pt x="632483" y="2557167"/>
                  </a:lnTo>
                  <a:lnTo>
                    <a:pt x="658838" y="2578119"/>
                  </a:lnTo>
                  <a:lnTo>
                    <a:pt x="799790" y="2629256"/>
                  </a:lnTo>
                  <a:lnTo>
                    <a:pt x="822068" y="2637440"/>
                  </a:lnTo>
                  <a:lnTo>
                    <a:pt x="877795" y="2595338"/>
                  </a:lnTo>
                  <a:lnTo>
                    <a:pt x="908605" y="2600693"/>
                  </a:lnTo>
                  <a:lnTo>
                    <a:pt x="946699" y="2678223"/>
                  </a:lnTo>
                  <a:lnTo>
                    <a:pt x="969563" y="2724849"/>
                  </a:lnTo>
                  <a:lnTo>
                    <a:pt x="979764" y="2781578"/>
                  </a:lnTo>
                  <a:lnTo>
                    <a:pt x="995657" y="2830565"/>
                  </a:lnTo>
                  <a:lnTo>
                    <a:pt x="1003421" y="2854525"/>
                  </a:lnTo>
                  <a:lnTo>
                    <a:pt x="1014955" y="2876736"/>
                  </a:lnTo>
                  <a:lnTo>
                    <a:pt x="1029668" y="2895855"/>
                  </a:lnTo>
                  <a:lnTo>
                    <a:pt x="1044367" y="2914973"/>
                  </a:lnTo>
                  <a:lnTo>
                    <a:pt x="1062227" y="2932120"/>
                  </a:lnTo>
                  <a:lnTo>
                    <a:pt x="1081351" y="2947539"/>
                  </a:lnTo>
                  <a:lnTo>
                    <a:pt x="1119597" y="2978383"/>
                  </a:lnTo>
                  <a:lnTo>
                    <a:pt x="1163049" y="3002152"/>
                  </a:lnTo>
                  <a:lnTo>
                    <a:pt x="1203765" y="3025075"/>
                  </a:lnTo>
                  <a:lnTo>
                    <a:pt x="1216779" y="3044860"/>
                  </a:lnTo>
                  <a:lnTo>
                    <a:pt x="1225129" y="3064658"/>
                  </a:lnTo>
                  <a:lnTo>
                    <a:pt x="1220090" y="3109405"/>
                  </a:lnTo>
                  <a:lnTo>
                    <a:pt x="1216100" y="3133885"/>
                  </a:lnTo>
                  <a:lnTo>
                    <a:pt x="1208919" y="3161682"/>
                  </a:lnTo>
                  <a:lnTo>
                    <a:pt x="1201049" y="3189657"/>
                  </a:lnTo>
                  <a:lnTo>
                    <a:pt x="1185301" y="3245603"/>
                  </a:lnTo>
                  <a:lnTo>
                    <a:pt x="1168865" y="3303269"/>
                  </a:lnTo>
                  <a:lnTo>
                    <a:pt x="1176564" y="3337918"/>
                  </a:lnTo>
                  <a:lnTo>
                    <a:pt x="1182427" y="3364231"/>
                  </a:lnTo>
                  <a:lnTo>
                    <a:pt x="1209036" y="3385698"/>
                  </a:lnTo>
                  <a:lnTo>
                    <a:pt x="1217371" y="3414088"/>
                  </a:lnTo>
                  <a:lnTo>
                    <a:pt x="1203173" y="3444848"/>
                  </a:lnTo>
                  <a:lnTo>
                    <a:pt x="1171721" y="3470383"/>
                  </a:lnTo>
                  <a:lnTo>
                    <a:pt x="1142560" y="3487543"/>
                  </a:lnTo>
                  <a:lnTo>
                    <a:pt x="1106730" y="3469051"/>
                  </a:lnTo>
                  <a:lnTo>
                    <a:pt x="1085481" y="3456864"/>
                  </a:lnTo>
                  <a:lnTo>
                    <a:pt x="1063666" y="3463056"/>
                  </a:lnTo>
                  <a:lnTo>
                    <a:pt x="1044637" y="3475058"/>
                  </a:lnTo>
                  <a:lnTo>
                    <a:pt x="1024195" y="3504334"/>
                  </a:lnTo>
                  <a:lnTo>
                    <a:pt x="1017758" y="3531914"/>
                  </a:lnTo>
                  <a:lnTo>
                    <a:pt x="1025587" y="3552826"/>
                  </a:lnTo>
                  <a:lnTo>
                    <a:pt x="1036117" y="3580987"/>
                  </a:lnTo>
                  <a:lnTo>
                    <a:pt x="1052448" y="3605855"/>
                  </a:lnTo>
                  <a:lnTo>
                    <a:pt x="1066388" y="3631720"/>
                  </a:lnTo>
                  <a:lnTo>
                    <a:pt x="1084176" y="3664768"/>
                  </a:lnTo>
                  <a:lnTo>
                    <a:pt x="1126000" y="3737754"/>
                  </a:lnTo>
                  <a:lnTo>
                    <a:pt x="1171123" y="3803102"/>
                  </a:lnTo>
                  <a:lnTo>
                    <a:pt x="1193682" y="3835780"/>
                  </a:lnTo>
                  <a:lnTo>
                    <a:pt x="1217259" y="3865985"/>
                  </a:lnTo>
                  <a:lnTo>
                    <a:pt x="1239134" y="3888796"/>
                  </a:lnTo>
                  <a:lnTo>
                    <a:pt x="1261005" y="3911608"/>
                  </a:lnTo>
                  <a:lnTo>
                    <a:pt x="1281448" y="3927251"/>
                  </a:lnTo>
                  <a:lnTo>
                    <a:pt x="1307037" y="3921843"/>
                  </a:lnTo>
                  <a:lnTo>
                    <a:pt x="1326623" y="3907849"/>
                  </a:lnTo>
                  <a:lnTo>
                    <a:pt x="1346594" y="3899679"/>
                  </a:lnTo>
                  <a:lnTo>
                    <a:pt x="1366549" y="3891507"/>
                  </a:lnTo>
                  <a:lnTo>
                    <a:pt x="1398278" y="3901037"/>
                  </a:lnTo>
                  <a:lnTo>
                    <a:pt x="1425526" y="3930027"/>
                  </a:lnTo>
                  <a:lnTo>
                    <a:pt x="1457790" y="3959968"/>
                  </a:lnTo>
                  <a:lnTo>
                    <a:pt x="1482614" y="3990807"/>
                  </a:lnTo>
                  <a:lnTo>
                    <a:pt x="1498678" y="4030745"/>
                  </a:lnTo>
                  <a:lnTo>
                    <a:pt x="1513892" y="4047938"/>
                  </a:lnTo>
                  <a:lnTo>
                    <a:pt x="1545838" y="4042042"/>
                  </a:lnTo>
                  <a:lnTo>
                    <a:pt x="1569005" y="4023907"/>
                  </a:lnTo>
                  <a:lnTo>
                    <a:pt x="1594145" y="4015294"/>
                  </a:lnTo>
                  <a:lnTo>
                    <a:pt x="1719753" y="4111078"/>
                  </a:lnTo>
                  <a:lnTo>
                    <a:pt x="1738331" y="4124109"/>
                  </a:lnTo>
                  <a:lnTo>
                    <a:pt x="1753828" y="4153662"/>
                  </a:lnTo>
                  <a:lnTo>
                    <a:pt x="1754653" y="4182600"/>
                  </a:lnTo>
                  <a:lnTo>
                    <a:pt x="1755471" y="4211531"/>
                  </a:lnTo>
                  <a:lnTo>
                    <a:pt x="1752278" y="4248318"/>
                  </a:lnTo>
                  <a:lnTo>
                    <a:pt x="1749211" y="4284609"/>
                  </a:lnTo>
                  <a:lnTo>
                    <a:pt x="1743072" y="4357206"/>
                  </a:lnTo>
                  <a:lnTo>
                    <a:pt x="1735262" y="4430462"/>
                  </a:lnTo>
                  <a:lnTo>
                    <a:pt x="1749211" y="4447833"/>
                  </a:lnTo>
                  <a:lnTo>
                    <a:pt x="1802895" y="4478487"/>
                  </a:lnTo>
                  <a:lnTo>
                    <a:pt x="1868482" y="4503349"/>
                  </a:lnTo>
                  <a:lnTo>
                    <a:pt x="1934192" y="4526727"/>
                  </a:lnTo>
                  <a:lnTo>
                    <a:pt x="1999909" y="4550101"/>
                  </a:lnTo>
                  <a:lnTo>
                    <a:pt x="2065666" y="4571646"/>
                  </a:lnTo>
                  <a:lnTo>
                    <a:pt x="2121902" y="4592018"/>
                  </a:lnTo>
                  <a:lnTo>
                    <a:pt x="2155782" y="4604304"/>
                  </a:lnTo>
                  <a:lnTo>
                    <a:pt x="2184134" y="4609995"/>
                  </a:lnTo>
                  <a:lnTo>
                    <a:pt x="2214395" y="4632820"/>
                  </a:lnTo>
                  <a:lnTo>
                    <a:pt x="2225871" y="4658527"/>
                  </a:lnTo>
                  <a:lnTo>
                    <a:pt x="2222243" y="4698024"/>
                  </a:lnTo>
                  <a:lnTo>
                    <a:pt x="2218473" y="4738919"/>
                  </a:lnTo>
                  <a:lnTo>
                    <a:pt x="2214705" y="4779814"/>
                  </a:lnTo>
                  <a:lnTo>
                    <a:pt x="2210808" y="4821897"/>
                  </a:lnTo>
                  <a:lnTo>
                    <a:pt x="2221189" y="4854534"/>
                  </a:lnTo>
                  <a:lnTo>
                    <a:pt x="2227625" y="4874774"/>
                  </a:lnTo>
                  <a:lnTo>
                    <a:pt x="2252477" y="4904859"/>
                  </a:lnTo>
                  <a:lnTo>
                    <a:pt x="2282081" y="4928430"/>
                  </a:lnTo>
                  <a:lnTo>
                    <a:pt x="2332004" y="4959743"/>
                  </a:lnTo>
                  <a:lnTo>
                    <a:pt x="2367496" y="4978697"/>
                  </a:lnTo>
                  <a:lnTo>
                    <a:pt x="2389854" y="5010958"/>
                  </a:lnTo>
                  <a:lnTo>
                    <a:pt x="2392108" y="5059490"/>
                  </a:lnTo>
                  <a:lnTo>
                    <a:pt x="2412203" y="5111293"/>
                  </a:lnTo>
                  <a:lnTo>
                    <a:pt x="2419775" y="5161943"/>
                  </a:lnTo>
                  <a:lnTo>
                    <a:pt x="2423567" y="5187267"/>
                  </a:lnTo>
                  <a:lnTo>
                    <a:pt x="2424742" y="5212855"/>
                  </a:lnTo>
                  <a:lnTo>
                    <a:pt x="2418423" y="5236749"/>
                  </a:lnTo>
                  <a:lnTo>
                    <a:pt x="2412098" y="5260649"/>
                  </a:lnTo>
                  <a:lnTo>
                    <a:pt x="2398942" y="5283593"/>
                  </a:lnTo>
                  <a:lnTo>
                    <a:pt x="2374897" y="5304762"/>
                  </a:lnTo>
                  <a:lnTo>
                    <a:pt x="2335520" y="5320346"/>
                  </a:lnTo>
                  <a:lnTo>
                    <a:pt x="2312324" y="5336049"/>
                  </a:lnTo>
                  <a:lnTo>
                    <a:pt x="2289129" y="5351744"/>
                  </a:lnTo>
                  <a:lnTo>
                    <a:pt x="2267282" y="5370250"/>
                  </a:lnTo>
                  <a:lnTo>
                    <a:pt x="2255066" y="5396939"/>
                  </a:lnTo>
                  <a:lnTo>
                    <a:pt x="2207800" y="5476381"/>
                  </a:lnTo>
                  <a:lnTo>
                    <a:pt x="2146719" y="5547428"/>
                  </a:lnTo>
                  <a:lnTo>
                    <a:pt x="2112374" y="5627127"/>
                  </a:lnTo>
                  <a:lnTo>
                    <a:pt x="2111654" y="5655142"/>
                  </a:lnTo>
                  <a:lnTo>
                    <a:pt x="2133458" y="5704511"/>
                  </a:lnTo>
                  <a:lnTo>
                    <a:pt x="2151822" y="5725062"/>
                  </a:lnTo>
                  <a:lnTo>
                    <a:pt x="2225653" y="5807649"/>
                  </a:lnTo>
                  <a:lnTo>
                    <a:pt x="2291498" y="5888945"/>
                  </a:lnTo>
                  <a:lnTo>
                    <a:pt x="2357208" y="5978062"/>
                  </a:lnTo>
                  <a:lnTo>
                    <a:pt x="2390704" y="6023475"/>
                  </a:lnTo>
                  <a:lnTo>
                    <a:pt x="2404337" y="6088052"/>
                  </a:lnTo>
                  <a:lnTo>
                    <a:pt x="2425217" y="6139920"/>
                  </a:lnTo>
                  <a:lnTo>
                    <a:pt x="2466414" y="6242234"/>
                  </a:lnTo>
                  <a:lnTo>
                    <a:pt x="2501392" y="6323523"/>
                  </a:lnTo>
                  <a:lnTo>
                    <a:pt x="2521797" y="6409244"/>
                  </a:lnTo>
                  <a:lnTo>
                    <a:pt x="2531994" y="6452103"/>
                  </a:lnTo>
                  <a:lnTo>
                    <a:pt x="2538831" y="6496137"/>
                  </a:lnTo>
                  <a:lnTo>
                    <a:pt x="2540837" y="6543905"/>
                  </a:lnTo>
                  <a:lnTo>
                    <a:pt x="2542843" y="6591665"/>
                  </a:lnTo>
                  <a:lnTo>
                    <a:pt x="2540878" y="6642986"/>
                  </a:lnTo>
                  <a:lnTo>
                    <a:pt x="2532674" y="6701688"/>
                  </a:lnTo>
                  <a:lnTo>
                    <a:pt x="2526857" y="6756182"/>
                  </a:lnTo>
                  <a:lnTo>
                    <a:pt x="2558433" y="6780839"/>
                  </a:lnTo>
                  <a:lnTo>
                    <a:pt x="2605692" y="6803494"/>
                  </a:lnTo>
                  <a:lnTo>
                    <a:pt x="2651004" y="6829543"/>
                  </a:lnTo>
                  <a:lnTo>
                    <a:pt x="2696332" y="6855593"/>
                  </a:lnTo>
                  <a:lnTo>
                    <a:pt x="2740056" y="6884486"/>
                  </a:lnTo>
                  <a:lnTo>
                    <a:pt x="2766628" y="6902998"/>
                  </a:lnTo>
                  <a:lnTo>
                    <a:pt x="2789117" y="6923804"/>
                  </a:lnTo>
                  <a:lnTo>
                    <a:pt x="2823970" y="6940930"/>
                  </a:lnTo>
                  <a:lnTo>
                    <a:pt x="2858948" y="6951938"/>
                  </a:lnTo>
                  <a:lnTo>
                    <a:pt x="2890407" y="6964205"/>
                  </a:lnTo>
                  <a:lnTo>
                    <a:pt x="2923428" y="6977065"/>
                  </a:lnTo>
                  <a:lnTo>
                    <a:pt x="2962325" y="6983759"/>
                  </a:lnTo>
                  <a:lnTo>
                    <a:pt x="2996499" y="6996850"/>
                  </a:lnTo>
                  <a:lnTo>
                    <a:pt x="3057457" y="7020181"/>
                  </a:lnTo>
                  <a:lnTo>
                    <a:pt x="3108421" y="7060120"/>
                  </a:lnTo>
                  <a:lnTo>
                    <a:pt x="3166523" y="7089343"/>
                  </a:lnTo>
                  <a:lnTo>
                    <a:pt x="3223844" y="7118196"/>
                  </a:lnTo>
                  <a:lnTo>
                    <a:pt x="3288863" y="7141080"/>
                  </a:lnTo>
                  <a:lnTo>
                    <a:pt x="3351510" y="7166872"/>
                  </a:lnTo>
                  <a:lnTo>
                    <a:pt x="3414155" y="7192666"/>
                  </a:lnTo>
                  <a:lnTo>
                    <a:pt x="3474926" y="7221696"/>
                  </a:lnTo>
                  <a:lnTo>
                    <a:pt x="3524256" y="7263449"/>
                  </a:lnTo>
                  <a:lnTo>
                    <a:pt x="3568421" y="7300828"/>
                  </a:lnTo>
                  <a:lnTo>
                    <a:pt x="3609693" y="7343636"/>
                  </a:lnTo>
                  <a:lnTo>
                    <a:pt x="3652118" y="7383145"/>
                  </a:lnTo>
                  <a:lnTo>
                    <a:pt x="3683530" y="7409071"/>
                  </a:lnTo>
                  <a:lnTo>
                    <a:pt x="3737068" y="7444749"/>
                  </a:lnTo>
                  <a:lnTo>
                    <a:pt x="3767866" y="7470304"/>
                  </a:lnTo>
                  <a:lnTo>
                    <a:pt x="3794938" y="7500120"/>
                  </a:lnTo>
                  <a:lnTo>
                    <a:pt x="3822009" y="7529935"/>
                  </a:lnTo>
                  <a:lnTo>
                    <a:pt x="3844795" y="7564478"/>
                  </a:lnTo>
                  <a:lnTo>
                    <a:pt x="3868390" y="7610300"/>
                  </a:lnTo>
                  <a:lnTo>
                    <a:pt x="3878759" y="7630527"/>
                  </a:lnTo>
                  <a:lnTo>
                    <a:pt x="3882498" y="7655357"/>
                  </a:lnTo>
                  <a:lnTo>
                    <a:pt x="3892873" y="7675590"/>
                  </a:lnTo>
                  <a:lnTo>
                    <a:pt x="3911402" y="7711657"/>
                  </a:lnTo>
                  <a:lnTo>
                    <a:pt x="3948637" y="7743596"/>
                  </a:lnTo>
                  <a:lnTo>
                    <a:pt x="3972734" y="7738347"/>
                  </a:lnTo>
                  <a:lnTo>
                    <a:pt x="4009213" y="7742171"/>
                  </a:lnTo>
                  <a:lnTo>
                    <a:pt x="4046572" y="7747672"/>
                  </a:lnTo>
                  <a:lnTo>
                    <a:pt x="4083934" y="7753179"/>
                  </a:lnTo>
                  <a:lnTo>
                    <a:pt x="4122254" y="7760170"/>
                  </a:lnTo>
                  <a:lnTo>
                    <a:pt x="4149948" y="7761277"/>
                  </a:lnTo>
                  <a:lnTo>
                    <a:pt x="4203675" y="7763421"/>
                  </a:lnTo>
                  <a:lnTo>
                    <a:pt x="4258723" y="7762702"/>
                  </a:lnTo>
                  <a:lnTo>
                    <a:pt x="4317253" y="7766719"/>
                  </a:lnTo>
                  <a:lnTo>
                    <a:pt x="4316574" y="7791159"/>
                  </a:lnTo>
                  <a:lnTo>
                    <a:pt x="4322437" y="7854833"/>
                  </a:lnTo>
                  <a:lnTo>
                    <a:pt x="4329494" y="7878252"/>
                  </a:lnTo>
                  <a:lnTo>
                    <a:pt x="4368087" y="7897996"/>
                  </a:lnTo>
                  <a:lnTo>
                    <a:pt x="4394783" y="7901380"/>
                  </a:lnTo>
                  <a:lnTo>
                    <a:pt x="4421485" y="7904763"/>
                  </a:lnTo>
                  <a:lnTo>
                    <a:pt x="4449533" y="7904295"/>
                  </a:lnTo>
                  <a:lnTo>
                    <a:pt x="4471464" y="7915189"/>
                  </a:lnTo>
                  <a:lnTo>
                    <a:pt x="4482905" y="7960780"/>
                  </a:lnTo>
                  <a:lnTo>
                    <a:pt x="4459269" y="7989409"/>
                  </a:lnTo>
                  <a:lnTo>
                    <a:pt x="4419262" y="7993866"/>
                  </a:lnTo>
                  <a:lnTo>
                    <a:pt x="4380096" y="7993998"/>
                  </a:lnTo>
                  <a:lnTo>
                    <a:pt x="4367923" y="8022713"/>
                  </a:lnTo>
                  <a:lnTo>
                    <a:pt x="4378462" y="8059157"/>
                  </a:lnTo>
                  <a:lnTo>
                    <a:pt x="4381348" y="8092091"/>
                  </a:lnTo>
                  <a:lnTo>
                    <a:pt x="4375017" y="8112330"/>
                  </a:lnTo>
                  <a:lnTo>
                    <a:pt x="4346541" y="8142008"/>
                  </a:lnTo>
                  <a:lnTo>
                    <a:pt x="4324521" y="8152283"/>
                  </a:lnTo>
                  <a:lnTo>
                    <a:pt x="4296848" y="8166614"/>
                  </a:lnTo>
                  <a:lnTo>
                    <a:pt x="4334216" y="8196976"/>
                  </a:lnTo>
                  <a:lnTo>
                    <a:pt x="4367858" y="8224596"/>
                  </a:lnTo>
                  <a:lnTo>
                    <a:pt x="4397509" y="8256390"/>
                  </a:lnTo>
                  <a:lnTo>
                    <a:pt x="4427150" y="8288185"/>
                  </a:lnTo>
                  <a:lnTo>
                    <a:pt x="4453102" y="8323902"/>
                  </a:lnTo>
                  <a:lnTo>
                    <a:pt x="4472313" y="8369288"/>
                  </a:lnTo>
                  <a:lnTo>
                    <a:pt x="4525361" y="8374728"/>
                  </a:lnTo>
                  <a:lnTo>
                    <a:pt x="4544765" y="8389951"/>
                  </a:lnTo>
                  <a:lnTo>
                    <a:pt x="4557651" y="8413909"/>
                  </a:lnTo>
                  <a:lnTo>
                    <a:pt x="4568887" y="8441377"/>
                  </a:lnTo>
                  <a:lnTo>
                    <a:pt x="4579904" y="8466885"/>
                  </a:lnTo>
                  <a:lnTo>
                    <a:pt x="4598684" y="8483875"/>
                  </a:lnTo>
                  <a:lnTo>
                    <a:pt x="4630096" y="8486263"/>
                  </a:lnTo>
                  <a:lnTo>
                    <a:pt x="4640272" y="8443633"/>
                  </a:lnTo>
                  <a:lnTo>
                    <a:pt x="4647785" y="8415532"/>
                  </a:lnTo>
                  <a:lnTo>
                    <a:pt x="4656745" y="8388262"/>
                  </a:lnTo>
                  <a:lnTo>
                    <a:pt x="4671461" y="8372071"/>
                  </a:lnTo>
                  <a:lnTo>
                    <a:pt x="4694027" y="8373364"/>
                  </a:lnTo>
                  <a:lnTo>
                    <a:pt x="4733814" y="8387800"/>
                  </a:lnTo>
                  <a:lnTo>
                    <a:pt x="4774701" y="8404590"/>
                  </a:lnTo>
                  <a:lnTo>
                    <a:pt x="4815083" y="8416890"/>
                  </a:lnTo>
                  <a:lnTo>
                    <a:pt x="4851223" y="8425200"/>
                  </a:lnTo>
                  <a:lnTo>
                    <a:pt x="4887767" y="8433067"/>
                  </a:lnTo>
                  <a:lnTo>
                    <a:pt x="4919824" y="8450900"/>
                  </a:lnTo>
                  <a:lnTo>
                    <a:pt x="4908730" y="8513638"/>
                  </a:lnTo>
                  <a:lnTo>
                    <a:pt x="4933442" y="8541586"/>
                  </a:lnTo>
                  <a:lnTo>
                    <a:pt x="4979389" y="8543617"/>
                  </a:lnTo>
                  <a:lnTo>
                    <a:pt x="5027281" y="8547470"/>
                  </a:lnTo>
                  <a:lnTo>
                    <a:pt x="5051221" y="8549395"/>
                  </a:lnTo>
                  <a:lnTo>
                    <a:pt x="5075926" y="8550990"/>
                  </a:lnTo>
                  <a:lnTo>
                    <a:pt x="5098005" y="8555633"/>
                  </a:lnTo>
                  <a:lnTo>
                    <a:pt x="5120091" y="8560277"/>
                  </a:lnTo>
                  <a:lnTo>
                    <a:pt x="5152411" y="8578756"/>
                  </a:lnTo>
                  <a:lnTo>
                    <a:pt x="5154278" y="8609046"/>
                  </a:lnTo>
                  <a:lnTo>
                    <a:pt x="5144170" y="8643873"/>
                  </a:lnTo>
                  <a:lnTo>
                    <a:pt x="5165694" y="8675285"/>
                  </a:lnTo>
                  <a:lnTo>
                    <a:pt x="5187544" y="8675707"/>
                  </a:lnTo>
                  <a:lnTo>
                    <a:pt x="5208185" y="8667166"/>
                  </a:lnTo>
                  <a:lnTo>
                    <a:pt x="5228828" y="8658633"/>
                  </a:lnTo>
                  <a:lnTo>
                    <a:pt x="5248864" y="8642067"/>
                  </a:lnTo>
                  <a:lnTo>
                    <a:pt x="5273390" y="8607126"/>
                  </a:lnTo>
                  <a:lnTo>
                    <a:pt x="5283334" y="8575801"/>
                  </a:lnTo>
                  <a:lnTo>
                    <a:pt x="5293872" y="8554269"/>
                  </a:lnTo>
                  <a:lnTo>
                    <a:pt x="5310625" y="8534128"/>
                  </a:lnTo>
                  <a:lnTo>
                    <a:pt x="5350746" y="8554849"/>
                  </a:lnTo>
                  <a:lnTo>
                    <a:pt x="5378546" y="8557395"/>
                  </a:lnTo>
                  <a:lnTo>
                    <a:pt x="5413577" y="8571957"/>
                  </a:lnTo>
                  <a:lnTo>
                    <a:pt x="5442521" y="8584005"/>
                  </a:lnTo>
                  <a:lnTo>
                    <a:pt x="5465598" y="8608855"/>
                  </a:lnTo>
                  <a:lnTo>
                    <a:pt x="5489743" y="8626364"/>
                  </a:lnTo>
                  <a:lnTo>
                    <a:pt x="5533293" y="8657051"/>
                  </a:lnTo>
                  <a:lnTo>
                    <a:pt x="5555987" y="8690506"/>
                  </a:lnTo>
                  <a:lnTo>
                    <a:pt x="5571359" y="8727015"/>
                  </a:lnTo>
                  <a:lnTo>
                    <a:pt x="5586720" y="8763525"/>
                  </a:lnTo>
                  <a:lnTo>
                    <a:pt x="5595221" y="8802646"/>
                  </a:lnTo>
                  <a:lnTo>
                    <a:pt x="5593116" y="8838556"/>
                  </a:lnTo>
                  <a:lnTo>
                    <a:pt x="5613521" y="8848078"/>
                  </a:lnTo>
                  <a:lnTo>
                    <a:pt x="5639188" y="8837717"/>
                  </a:lnTo>
                  <a:lnTo>
                    <a:pt x="5653144" y="8806748"/>
                  </a:lnTo>
                  <a:lnTo>
                    <a:pt x="5657339" y="8785993"/>
                  </a:lnTo>
                  <a:lnTo>
                    <a:pt x="5661131" y="8762384"/>
                  </a:lnTo>
                  <a:lnTo>
                    <a:pt x="5664916" y="8738774"/>
                  </a:lnTo>
                  <a:lnTo>
                    <a:pt x="5667633" y="8712184"/>
                  </a:lnTo>
                  <a:lnTo>
                    <a:pt x="5673372" y="8687571"/>
                  </a:lnTo>
                  <a:lnTo>
                    <a:pt x="5679108" y="8662966"/>
                  </a:lnTo>
                  <a:lnTo>
                    <a:pt x="5687752" y="8639396"/>
                  </a:lnTo>
                  <a:lnTo>
                    <a:pt x="5700573" y="8620924"/>
                  </a:lnTo>
                  <a:lnTo>
                    <a:pt x="5754052" y="8619816"/>
                  </a:lnTo>
                  <a:lnTo>
                    <a:pt x="5799063" y="8649150"/>
                  </a:lnTo>
                  <a:lnTo>
                    <a:pt x="5827077" y="8669890"/>
                  </a:lnTo>
                  <a:lnTo>
                    <a:pt x="5840419" y="8631871"/>
                  </a:lnTo>
                  <a:lnTo>
                    <a:pt x="5869496" y="8568302"/>
                  </a:lnTo>
                  <a:lnTo>
                    <a:pt x="5899160" y="8540670"/>
                  </a:lnTo>
                  <a:lnTo>
                    <a:pt x="5926299" y="8536562"/>
                  </a:lnTo>
                  <a:lnTo>
                    <a:pt x="5964523" y="8544778"/>
                  </a:lnTo>
                  <a:lnTo>
                    <a:pt x="5990295" y="8552910"/>
                  </a:lnTo>
                  <a:lnTo>
                    <a:pt x="6077586" y="8581835"/>
                  </a:lnTo>
                  <a:lnTo>
                    <a:pt x="6123868" y="8597801"/>
                  </a:lnTo>
                  <a:lnTo>
                    <a:pt x="6165766" y="8619564"/>
                  </a:lnTo>
                  <a:lnTo>
                    <a:pt x="6207655" y="8641321"/>
                  </a:lnTo>
                  <a:lnTo>
                    <a:pt x="6246230" y="8670016"/>
                  </a:lnTo>
                  <a:lnTo>
                    <a:pt x="6316750" y="8722940"/>
                  </a:lnTo>
                  <a:lnTo>
                    <a:pt x="6334680" y="8736387"/>
                  </a:lnTo>
                  <a:lnTo>
                    <a:pt x="6354108" y="8746378"/>
                  </a:lnTo>
                  <a:lnTo>
                    <a:pt x="6371159" y="8761026"/>
                  </a:lnTo>
                  <a:lnTo>
                    <a:pt x="6389049" y="8776372"/>
                  </a:lnTo>
                  <a:lnTo>
                    <a:pt x="6447387" y="8822529"/>
                  </a:lnTo>
                  <a:lnTo>
                    <a:pt x="6474907" y="8842242"/>
                  </a:lnTo>
                  <a:lnTo>
                    <a:pt x="6531003" y="8880894"/>
                  </a:lnTo>
                  <a:lnTo>
                    <a:pt x="6590147" y="8917444"/>
                  </a:lnTo>
                  <a:lnTo>
                    <a:pt x="6649284" y="8953998"/>
                  </a:lnTo>
                  <a:lnTo>
                    <a:pt x="6711823" y="8987976"/>
                  </a:lnTo>
                  <a:lnTo>
                    <a:pt x="6843437" y="9057373"/>
                  </a:lnTo>
                  <a:lnTo>
                    <a:pt x="6951151" y="9125856"/>
                  </a:lnTo>
                  <a:lnTo>
                    <a:pt x="7062130" y="9189483"/>
                  </a:lnTo>
                  <a:lnTo>
                    <a:pt x="7129215" y="9227997"/>
                  </a:lnTo>
                  <a:lnTo>
                    <a:pt x="7197939" y="9261896"/>
                  </a:lnTo>
                  <a:lnTo>
                    <a:pt x="7263448" y="9303746"/>
                  </a:lnTo>
                  <a:lnTo>
                    <a:pt x="7292305" y="9322193"/>
                  </a:lnTo>
                  <a:lnTo>
                    <a:pt x="7311610" y="9348117"/>
                  </a:lnTo>
                  <a:lnTo>
                    <a:pt x="7336895" y="9370388"/>
                  </a:lnTo>
                  <a:lnTo>
                    <a:pt x="7369752" y="9399359"/>
                  </a:lnTo>
                  <a:lnTo>
                    <a:pt x="7409833" y="9417443"/>
                  </a:lnTo>
                  <a:lnTo>
                    <a:pt x="7442994" y="9443841"/>
                  </a:lnTo>
                  <a:lnTo>
                    <a:pt x="7464927" y="9461291"/>
                  </a:lnTo>
                  <a:lnTo>
                    <a:pt x="7485115" y="9484347"/>
                  </a:lnTo>
                  <a:lnTo>
                    <a:pt x="7505561" y="9503690"/>
                  </a:lnTo>
                  <a:lnTo>
                    <a:pt x="7527159" y="9516531"/>
                  </a:lnTo>
                  <a:lnTo>
                    <a:pt x="7557837" y="9501587"/>
                  </a:lnTo>
                  <a:lnTo>
                    <a:pt x="7574167" y="9485093"/>
                  </a:lnTo>
                  <a:lnTo>
                    <a:pt x="7592613" y="9472412"/>
                  </a:lnTo>
                  <a:lnTo>
                    <a:pt x="7611064" y="9459676"/>
                  </a:lnTo>
                  <a:lnTo>
                    <a:pt x="7632533" y="9452323"/>
                  </a:lnTo>
                  <a:lnTo>
                    <a:pt x="7651102" y="9439766"/>
                  </a:lnTo>
                  <a:lnTo>
                    <a:pt x="7676130" y="9422844"/>
                  </a:lnTo>
                  <a:lnTo>
                    <a:pt x="7706348" y="9398694"/>
                  </a:lnTo>
                  <a:lnTo>
                    <a:pt x="7734074" y="9373112"/>
                  </a:lnTo>
                  <a:lnTo>
                    <a:pt x="7761799" y="9347529"/>
                  </a:lnTo>
                  <a:lnTo>
                    <a:pt x="7787122" y="9319627"/>
                  </a:lnTo>
                  <a:lnTo>
                    <a:pt x="7802085" y="9292858"/>
                  </a:lnTo>
                  <a:lnTo>
                    <a:pt x="7794132" y="9260029"/>
                  </a:lnTo>
                  <a:lnTo>
                    <a:pt x="7740663" y="9231315"/>
                  </a:lnTo>
                  <a:lnTo>
                    <a:pt x="7722078" y="9209973"/>
                  </a:lnTo>
                  <a:lnTo>
                    <a:pt x="7723219" y="9181326"/>
                  </a:lnTo>
                  <a:lnTo>
                    <a:pt x="7724478" y="9154569"/>
                  </a:lnTo>
                  <a:lnTo>
                    <a:pt x="7735457" y="9125558"/>
                  </a:lnTo>
                  <a:lnTo>
                    <a:pt x="7750612" y="9105543"/>
                  </a:lnTo>
                  <a:lnTo>
                    <a:pt x="7766546" y="9091167"/>
                  </a:lnTo>
                  <a:lnTo>
                    <a:pt x="7780344" y="9072509"/>
                  </a:lnTo>
                  <a:lnTo>
                    <a:pt x="7790743" y="9047357"/>
                  </a:lnTo>
                  <a:lnTo>
                    <a:pt x="7791224" y="9023543"/>
                  </a:lnTo>
                  <a:lnTo>
                    <a:pt x="7822332" y="9031660"/>
                  </a:lnTo>
                  <a:lnTo>
                    <a:pt x="7851205" y="9034299"/>
                  </a:lnTo>
                  <a:lnTo>
                    <a:pt x="7872837" y="9005710"/>
                  </a:lnTo>
                  <a:lnTo>
                    <a:pt x="7860596" y="8910644"/>
                  </a:lnTo>
                  <a:lnTo>
                    <a:pt x="7863340" y="8888881"/>
                  </a:lnTo>
                  <a:lnTo>
                    <a:pt x="7862745" y="8864908"/>
                  </a:lnTo>
                  <a:lnTo>
                    <a:pt x="7849608" y="8844385"/>
                  </a:lnTo>
                  <a:lnTo>
                    <a:pt x="7833414" y="8826308"/>
                  </a:lnTo>
                  <a:lnTo>
                    <a:pt x="7817216" y="8808238"/>
                  </a:lnTo>
                  <a:lnTo>
                    <a:pt x="7797127" y="8792049"/>
                  </a:lnTo>
                  <a:lnTo>
                    <a:pt x="7781727" y="8777347"/>
                  </a:lnTo>
                  <a:lnTo>
                    <a:pt x="7765024" y="8761382"/>
                  </a:lnTo>
                  <a:lnTo>
                    <a:pt x="7746182" y="8749141"/>
                  </a:lnTo>
                  <a:lnTo>
                    <a:pt x="7730037" y="8731097"/>
                  </a:lnTo>
                  <a:lnTo>
                    <a:pt x="7713511" y="8678728"/>
                  </a:lnTo>
                  <a:lnTo>
                    <a:pt x="7716438" y="8641327"/>
                  </a:lnTo>
                  <a:lnTo>
                    <a:pt x="7719352" y="8603922"/>
                  </a:lnTo>
                  <a:lnTo>
                    <a:pt x="7727386" y="8566442"/>
                  </a:lnTo>
                  <a:lnTo>
                    <a:pt x="7744138" y="8525997"/>
                  </a:lnTo>
                  <a:lnTo>
                    <a:pt x="7760361" y="8502505"/>
                  </a:lnTo>
                  <a:lnTo>
                    <a:pt x="7769483" y="8478097"/>
                  </a:lnTo>
                  <a:lnTo>
                    <a:pt x="7785413" y="8435461"/>
                  </a:lnTo>
                  <a:lnTo>
                    <a:pt x="7796262" y="8398055"/>
                  </a:lnTo>
                  <a:lnTo>
                    <a:pt x="7807567" y="8365206"/>
                  </a:lnTo>
                  <a:lnTo>
                    <a:pt x="7818878" y="8332349"/>
                  </a:lnTo>
                  <a:lnTo>
                    <a:pt x="7831296" y="8304374"/>
                  </a:lnTo>
                  <a:lnTo>
                    <a:pt x="7847016" y="8282228"/>
                  </a:lnTo>
                  <a:lnTo>
                    <a:pt x="7862726" y="8260090"/>
                  </a:lnTo>
                  <a:lnTo>
                    <a:pt x="7881786" y="8243787"/>
                  </a:lnTo>
                  <a:lnTo>
                    <a:pt x="7910941" y="8233269"/>
                  </a:lnTo>
                  <a:lnTo>
                    <a:pt x="7940092" y="8222742"/>
                  </a:lnTo>
                  <a:lnTo>
                    <a:pt x="7979042" y="8217645"/>
                  </a:lnTo>
                  <a:lnTo>
                    <a:pt x="8030639" y="8219663"/>
                  </a:lnTo>
                  <a:lnTo>
                    <a:pt x="8049159" y="8203407"/>
                  </a:lnTo>
                  <a:lnTo>
                    <a:pt x="8058364" y="8176071"/>
                  </a:lnTo>
                  <a:lnTo>
                    <a:pt x="8055121" y="8151650"/>
                  </a:lnTo>
                  <a:lnTo>
                    <a:pt x="8034716" y="8143491"/>
                  </a:lnTo>
                  <a:lnTo>
                    <a:pt x="7997986" y="8151650"/>
                  </a:lnTo>
                  <a:lnTo>
                    <a:pt x="7960720" y="8135690"/>
                  </a:lnTo>
                  <a:lnTo>
                    <a:pt x="7964295" y="8093397"/>
                  </a:lnTo>
                  <a:lnTo>
                    <a:pt x="7981290" y="8072709"/>
                  </a:lnTo>
                  <a:lnTo>
                    <a:pt x="8003428" y="8052357"/>
                  </a:lnTo>
                  <a:lnTo>
                    <a:pt x="8025569" y="8032005"/>
                  </a:lnTo>
                  <a:lnTo>
                    <a:pt x="8052606" y="8011811"/>
                  </a:lnTo>
                  <a:lnTo>
                    <a:pt x="8079600" y="7989790"/>
                  </a:lnTo>
                  <a:lnTo>
                    <a:pt x="8106594" y="7967770"/>
                  </a:lnTo>
                  <a:lnTo>
                    <a:pt x="8132735" y="7944220"/>
                  </a:lnTo>
                  <a:lnTo>
                    <a:pt x="8153053" y="7916338"/>
                  </a:lnTo>
                  <a:lnTo>
                    <a:pt x="8173365" y="7888454"/>
                  </a:lnTo>
                  <a:lnTo>
                    <a:pt x="8187671" y="7856357"/>
                  </a:lnTo>
                  <a:lnTo>
                    <a:pt x="8189773" y="7818403"/>
                  </a:lnTo>
                  <a:lnTo>
                    <a:pt x="8165294" y="7754472"/>
                  </a:lnTo>
                  <a:lnTo>
                    <a:pt x="8178555" y="7729523"/>
                  </a:lnTo>
                  <a:lnTo>
                    <a:pt x="8227439" y="7725645"/>
                  </a:lnTo>
                  <a:lnTo>
                    <a:pt x="8253323" y="7746875"/>
                  </a:lnTo>
                  <a:lnTo>
                    <a:pt x="8287714" y="7759913"/>
                  </a:lnTo>
                  <a:lnTo>
                    <a:pt x="8310606" y="7768598"/>
                  </a:lnTo>
                  <a:lnTo>
                    <a:pt x="8331532" y="7771243"/>
                  </a:lnTo>
                  <a:lnTo>
                    <a:pt x="8369030" y="7767629"/>
                  </a:lnTo>
                  <a:lnTo>
                    <a:pt x="8401971" y="7753113"/>
                  </a:lnTo>
                  <a:lnTo>
                    <a:pt x="8434769" y="7735986"/>
                  </a:lnTo>
                  <a:lnTo>
                    <a:pt x="8465691" y="7709659"/>
                  </a:lnTo>
                  <a:lnTo>
                    <a:pt x="8499906" y="7687823"/>
                  </a:lnTo>
                  <a:lnTo>
                    <a:pt x="8542918" y="7660369"/>
                  </a:lnTo>
                  <a:lnTo>
                    <a:pt x="8586233" y="7628766"/>
                  </a:lnTo>
                  <a:lnTo>
                    <a:pt x="8630484" y="7603495"/>
                  </a:lnTo>
                  <a:lnTo>
                    <a:pt x="8681483" y="7574379"/>
                  </a:lnTo>
                  <a:lnTo>
                    <a:pt x="8738825" y="7558412"/>
                  </a:lnTo>
                  <a:lnTo>
                    <a:pt x="8789628" y="7531400"/>
                  </a:lnTo>
                  <a:lnTo>
                    <a:pt x="8813896" y="7518500"/>
                  </a:lnTo>
                  <a:lnTo>
                    <a:pt x="8833669" y="7492767"/>
                  </a:lnTo>
                  <a:lnTo>
                    <a:pt x="8861717" y="7483797"/>
                  </a:lnTo>
                  <a:lnTo>
                    <a:pt x="8901113" y="7471188"/>
                  </a:lnTo>
                  <a:lnTo>
                    <a:pt x="8938270" y="7476444"/>
                  </a:lnTo>
                  <a:lnTo>
                    <a:pt x="8977331" y="7472915"/>
                  </a:lnTo>
                  <a:lnTo>
                    <a:pt x="9031567" y="7467982"/>
                  </a:lnTo>
                  <a:lnTo>
                    <a:pt x="9078714" y="7438207"/>
                  </a:lnTo>
                  <a:lnTo>
                    <a:pt x="9131040" y="7423949"/>
                  </a:lnTo>
                  <a:lnTo>
                    <a:pt x="9165608" y="7414511"/>
                  </a:lnTo>
                  <a:lnTo>
                    <a:pt x="9202620" y="7409334"/>
                  </a:lnTo>
                  <a:lnTo>
                    <a:pt x="9238491" y="7402185"/>
                  </a:lnTo>
                  <a:lnTo>
                    <a:pt x="9274364" y="7395030"/>
                  </a:lnTo>
                  <a:lnTo>
                    <a:pt x="9309668" y="7387004"/>
                  </a:lnTo>
                  <a:lnTo>
                    <a:pt x="9341864" y="7369540"/>
                  </a:lnTo>
                  <a:lnTo>
                    <a:pt x="9365587" y="7350389"/>
                  </a:lnTo>
                  <a:lnTo>
                    <a:pt x="9375267" y="7328837"/>
                  </a:lnTo>
                  <a:lnTo>
                    <a:pt x="9382674" y="7304251"/>
                  </a:lnTo>
                  <a:lnTo>
                    <a:pt x="9397690" y="7279776"/>
                  </a:lnTo>
                  <a:lnTo>
                    <a:pt x="9416669" y="7266165"/>
                  </a:lnTo>
                  <a:lnTo>
                    <a:pt x="9435669" y="7252547"/>
                  </a:lnTo>
                  <a:lnTo>
                    <a:pt x="9465453" y="7237405"/>
                  </a:lnTo>
                  <a:lnTo>
                    <a:pt x="9510530" y="7222639"/>
                  </a:lnTo>
                  <a:lnTo>
                    <a:pt x="9543405" y="7224848"/>
                  </a:lnTo>
                  <a:lnTo>
                    <a:pt x="9575596" y="7239469"/>
                  </a:lnTo>
                  <a:lnTo>
                    <a:pt x="9608462" y="7241678"/>
                  </a:lnTo>
                  <a:lnTo>
                    <a:pt x="9647188" y="7196642"/>
                  </a:lnTo>
                  <a:lnTo>
                    <a:pt x="9663035" y="7180609"/>
                  </a:lnTo>
                  <a:lnTo>
                    <a:pt x="9699976" y="7191379"/>
                  </a:lnTo>
                  <a:lnTo>
                    <a:pt x="9736324" y="7206316"/>
                  </a:lnTo>
                  <a:lnTo>
                    <a:pt x="9772669" y="7221247"/>
                  </a:lnTo>
                  <a:lnTo>
                    <a:pt x="9809715" y="7241084"/>
                  </a:lnTo>
                  <a:lnTo>
                    <a:pt x="9817931" y="7275682"/>
                  </a:lnTo>
                  <a:lnTo>
                    <a:pt x="9799926" y="7286821"/>
                  </a:lnTo>
                  <a:lnTo>
                    <a:pt x="9774405" y="7308327"/>
                  </a:lnTo>
                  <a:lnTo>
                    <a:pt x="9759870" y="7336415"/>
                  </a:lnTo>
                  <a:lnTo>
                    <a:pt x="9762164" y="7358658"/>
                  </a:lnTo>
                  <a:lnTo>
                    <a:pt x="9775605" y="7379631"/>
                  </a:lnTo>
                  <a:lnTo>
                    <a:pt x="9801312" y="7394892"/>
                  </a:lnTo>
                  <a:lnTo>
                    <a:pt x="9837800" y="7396183"/>
                  </a:lnTo>
                  <a:lnTo>
                    <a:pt x="9868257" y="7383139"/>
                  </a:lnTo>
                  <a:lnTo>
                    <a:pt x="9891378" y="7360393"/>
                  </a:lnTo>
                  <a:lnTo>
                    <a:pt x="9911783" y="7314374"/>
                  </a:lnTo>
                  <a:lnTo>
                    <a:pt x="9915528" y="7274521"/>
                  </a:lnTo>
                  <a:lnTo>
                    <a:pt x="9922663" y="7238962"/>
                  </a:lnTo>
                  <a:lnTo>
                    <a:pt x="9929462" y="7218557"/>
                  </a:lnTo>
                  <a:lnTo>
                    <a:pt x="9959944" y="7184547"/>
                  </a:lnTo>
                  <a:lnTo>
                    <a:pt x="9983971" y="7178083"/>
                  </a:lnTo>
                  <a:lnTo>
                    <a:pt x="10008351" y="7179113"/>
                  </a:lnTo>
                  <a:lnTo>
                    <a:pt x="10032746" y="7180141"/>
                  </a:lnTo>
                  <a:lnTo>
                    <a:pt x="10057141" y="7189401"/>
                  </a:lnTo>
                  <a:lnTo>
                    <a:pt x="10081807" y="7200876"/>
                  </a:lnTo>
                  <a:lnTo>
                    <a:pt x="10130523" y="7223536"/>
                  </a:lnTo>
                  <a:lnTo>
                    <a:pt x="10176864" y="7259254"/>
                  </a:lnTo>
                  <a:lnTo>
                    <a:pt x="10208310" y="7282488"/>
                  </a:lnTo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86" name="Kharkiv¬0" descr="Kharkiv¬0">
              <a:extLst>
                <a:ext uri="{FF2B5EF4-FFF2-40B4-BE49-F238E27FC236}">
                  <a16:creationId xmlns:a16="http://schemas.microsoft.com/office/drawing/2014/main" id="{6C25B37C-3733-4D52-A3A9-A986CF7C1D5D}"/>
                </a:ext>
              </a:extLst>
            </p:cNvPr>
            <p:cNvSpPr/>
            <p:nvPr/>
          </p:nvSpPr>
          <p:spPr>
            <a:xfrm>
              <a:off x="5235621" y="2061745"/>
              <a:ext cx="1113157" cy="868958"/>
            </a:xfrm>
            <a:custGeom>
              <a:avLst/>
              <a:gdLst/>
              <a:ahLst/>
              <a:cxnLst/>
              <a:rect l="0" t="0" r="0" b="0"/>
              <a:pathLst>
                <a:path w="11359155" h="10065770">
                  <a:moveTo>
                    <a:pt x="2980546" y="499801"/>
                  </a:moveTo>
                  <a:lnTo>
                    <a:pt x="2980066" y="526108"/>
                  </a:lnTo>
                  <a:lnTo>
                    <a:pt x="2971446" y="560151"/>
                  </a:lnTo>
                  <a:lnTo>
                    <a:pt x="2958383" y="588246"/>
                  </a:lnTo>
                  <a:lnTo>
                    <a:pt x="2934692" y="619585"/>
                  </a:lnTo>
                  <a:lnTo>
                    <a:pt x="2908610" y="638518"/>
                  </a:lnTo>
                  <a:lnTo>
                    <a:pt x="2880847" y="646736"/>
                  </a:lnTo>
                  <a:lnTo>
                    <a:pt x="2850430" y="649822"/>
                  </a:lnTo>
                  <a:lnTo>
                    <a:pt x="2818773" y="646373"/>
                  </a:lnTo>
                  <a:lnTo>
                    <a:pt x="2785634" y="638571"/>
                  </a:lnTo>
                  <a:lnTo>
                    <a:pt x="2753075" y="627881"/>
                  </a:lnTo>
                  <a:lnTo>
                    <a:pt x="2720261" y="616617"/>
                  </a:lnTo>
                  <a:lnTo>
                    <a:pt x="2687702" y="607285"/>
                  </a:lnTo>
                  <a:lnTo>
                    <a:pt x="2656250" y="597314"/>
                  </a:lnTo>
                  <a:lnTo>
                    <a:pt x="2626664" y="592776"/>
                  </a:lnTo>
                  <a:lnTo>
                    <a:pt x="2600647" y="595045"/>
                  </a:lnTo>
                  <a:lnTo>
                    <a:pt x="2580065" y="610662"/>
                  </a:lnTo>
                  <a:lnTo>
                    <a:pt x="2564100" y="628396"/>
                  </a:lnTo>
                  <a:lnTo>
                    <a:pt x="2547599" y="642654"/>
                  </a:lnTo>
                  <a:lnTo>
                    <a:pt x="2515232" y="657835"/>
                  </a:lnTo>
                  <a:lnTo>
                    <a:pt x="2476593" y="660117"/>
                  </a:lnTo>
                  <a:lnTo>
                    <a:pt x="2455561" y="657644"/>
                  </a:lnTo>
                  <a:lnTo>
                    <a:pt x="2434701" y="653535"/>
                  </a:lnTo>
                  <a:lnTo>
                    <a:pt x="2392982" y="645318"/>
                  </a:lnTo>
                  <a:lnTo>
                    <a:pt x="2350727" y="629840"/>
                  </a:lnTo>
                  <a:lnTo>
                    <a:pt x="2320444" y="622249"/>
                  </a:lnTo>
                  <a:lnTo>
                    <a:pt x="2295965" y="623608"/>
                  </a:lnTo>
                  <a:lnTo>
                    <a:pt x="2274202" y="634489"/>
                  </a:lnTo>
                  <a:lnTo>
                    <a:pt x="2290576" y="661832"/>
                  </a:lnTo>
                  <a:lnTo>
                    <a:pt x="2308203" y="678015"/>
                  </a:lnTo>
                  <a:lnTo>
                    <a:pt x="2325833" y="694206"/>
                  </a:lnTo>
                  <a:lnTo>
                    <a:pt x="2343388" y="712593"/>
                  </a:lnTo>
                  <a:lnTo>
                    <a:pt x="2342207" y="733782"/>
                  </a:lnTo>
                  <a:lnTo>
                    <a:pt x="2314733" y="748099"/>
                  </a:lnTo>
                  <a:lnTo>
                    <a:pt x="2289072" y="735661"/>
                  </a:lnTo>
                  <a:lnTo>
                    <a:pt x="2257877" y="714742"/>
                  </a:lnTo>
                  <a:lnTo>
                    <a:pt x="2226685" y="693824"/>
                  </a:lnTo>
                  <a:lnTo>
                    <a:pt x="2189286" y="664304"/>
                  </a:lnTo>
                  <a:lnTo>
                    <a:pt x="2150420" y="637213"/>
                  </a:lnTo>
                  <a:lnTo>
                    <a:pt x="2111551" y="610115"/>
                  </a:lnTo>
                  <a:lnTo>
                    <a:pt x="2070344" y="585647"/>
                  </a:lnTo>
                  <a:lnTo>
                    <a:pt x="2032083" y="570558"/>
                  </a:lnTo>
                  <a:lnTo>
                    <a:pt x="1995096" y="558094"/>
                  </a:lnTo>
                  <a:lnTo>
                    <a:pt x="1960258" y="555825"/>
                  </a:lnTo>
                  <a:lnTo>
                    <a:pt x="1928707" y="565118"/>
                  </a:lnTo>
                  <a:lnTo>
                    <a:pt x="1917365" y="594999"/>
                  </a:lnTo>
                  <a:lnTo>
                    <a:pt x="1920543" y="631772"/>
                  </a:lnTo>
                  <a:lnTo>
                    <a:pt x="1927004" y="669726"/>
                  </a:lnTo>
                  <a:lnTo>
                    <a:pt x="1930403" y="708068"/>
                  </a:lnTo>
                  <a:lnTo>
                    <a:pt x="1926009" y="743305"/>
                  </a:lnTo>
                  <a:lnTo>
                    <a:pt x="1913129" y="773543"/>
                  </a:lnTo>
                  <a:lnTo>
                    <a:pt x="1880663" y="783521"/>
                  </a:lnTo>
                  <a:lnTo>
                    <a:pt x="1845750" y="769151"/>
                  </a:lnTo>
                  <a:lnTo>
                    <a:pt x="1811356" y="747572"/>
                  </a:lnTo>
                  <a:lnTo>
                    <a:pt x="1776775" y="725433"/>
                  </a:lnTo>
                  <a:lnTo>
                    <a:pt x="1742374" y="707943"/>
                  </a:lnTo>
                  <a:lnTo>
                    <a:pt x="1710962" y="697926"/>
                  </a:lnTo>
                  <a:lnTo>
                    <a:pt x="1686101" y="712362"/>
                  </a:lnTo>
                  <a:lnTo>
                    <a:pt x="1664831" y="726184"/>
                  </a:lnTo>
                  <a:lnTo>
                    <a:pt x="1645806" y="740588"/>
                  </a:lnTo>
                  <a:lnTo>
                    <a:pt x="1626778" y="754985"/>
                  </a:lnTo>
                  <a:lnTo>
                    <a:pt x="1608801" y="769903"/>
                  </a:lnTo>
                  <a:lnTo>
                    <a:pt x="1653970" y="835799"/>
                  </a:lnTo>
                  <a:lnTo>
                    <a:pt x="1613160" y="883407"/>
                  </a:lnTo>
                  <a:lnTo>
                    <a:pt x="1579413" y="872803"/>
                  </a:lnTo>
                  <a:lnTo>
                    <a:pt x="1545149" y="858921"/>
                  </a:lnTo>
                  <a:lnTo>
                    <a:pt x="1521193" y="851600"/>
                  </a:lnTo>
                  <a:lnTo>
                    <a:pt x="1489388" y="846680"/>
                  </a:lnTo>
                  <a:lnTo>
                    <a:pt x="1460258" y="857727"/>
                  </a:lnTo>
                  <a:lnTo>
                    <a:pt x="1444494" y="879325"/>
                  </a:lnTo>
                  <a:lnTo>
                    <a:pt x="1424527" y="910631"/>
                  </a:lnTo>
                  <a:lnTo>
                    <a:pt x="1423637" y="941172"/>
                  </a:lnTo>
                  <a:lnTo>
                    <a:pt x="1434479" y="963937"/>
                  </a:lnTo>
                  <a:lnTo>
                    <a:pt x="1443130" y="986782"/>
                  </a:lnTo>
                  <a:lnTo>
                    <a:pt x="1451771" y="1009627"/>
                  </a:lnTo>
                  <a:lnTo>
                    <a:pt x="1457653" y="1032307"/>
                  </a:lnTo>
                  <a:lnTo>
                    <a:pt x="1433549" y="1059735"/>
                  </a:lnTo>
                  <a:lnTo>
                    <a:pt x="1405064" y="1076552"/>
                  </a:lnTo>
                  <a:lnTo>
                    <a:pt x="1374272" y="1090830"/>
                  </a:lnTo>
                  <a:lnTo>
                    <a:pt x="1341924" y="1103658"/>
                  </a:lnTo>
                  <a:lnTo>
                    <a:pt x="1316654" y="1117361"/>
                  </a:lnTo>
                  <a:lnTo>
                    <a:pt x="1289918" y="1126937"/>
                  </a:lnTo>
                  <a:lnTo>
                    <a:pt x="1256803" y="1124530"/>
                  </a:lnTo>
                  <a:lnTo>
                    <a:pt x="1239124" y="1107839"/>
                  </a:lnTo>
                  <a:lnTo>
                    <a:pt x="1223271" y="1088575"/>
                  </a:lnTo>
                  <a:lnTo>
                    <a:pt x="1168393" y="1058871"/>
                  </a:lnTo>
                  <a:lnTo>
                    <a:pt x="1123503" y="1035749"/>
                  </a:lnTo>
                  <a:lnTo>
                    <a:pt x="1060936" y="1026227"/>
                  </a:lnTo>
                  <a:lnTo>
                    <a:pt x="1037347" y="1022863"/>
                  </a:lnTo>
                  <a:lnTo>
                    <a:pt x="1013671" y="1020469"/>
                  </a:lnTo>
                  <a:lnTo>
                    <a:pt x="990206" y="1027585"/>
                  </a:lnTo>
                  <a:lnTo>
                    <a:pt x="967156" y="1034576"/>
                  </a:lnTo>
                  <a:lnTo>
                    <a:pt x="941238" y="1064312"/>
                  </a:lnTo>
                  <a:lnTo>
                    <a:pt x="924600" y="1100834"/>
                  </a:lnTo>
                  <a:lnTo>
                    <a:pt x="919475" y="1121437"/>
                  </a:lnTo>
                  <a:lnTo>
                    <a:pt x="914350" y="1142040"/>
                  </a:lnTo>
                  <a:lnTo>
                    <a:pt x="910691" y="1162728"/>
                  </a:lnTo>
                  <a:lnTo>
                    <a:pt x="898338" y="1202568"/>
                  </a:lnTo>
                  <a:lnTo>
                    <a:pt x="875949" y="1235694"/>
                  </a:lnTo>
                  <a:lnTo>
                    <a:pt x="836795" y="1212625"/>
                  </a:lnTo>
                  <a:lnTo>
                    <a:pt x="819537" y="1195465"/>
                  </a:lnTo>
                  <a:lnTo>
                    <a:pt x="793625" y="1175265"/>
                  </a:lnTo>
                  <a:lnTo>
                    <a:pt x="767813" y="1176234"/>
                  </a:lnTo>
                  <a:lnTo>
                    <a:pt x="746729" y="1190803"/>
                  </a:lnTo>
                  <a:lnTo>
                    <a:pt x="719801" y="1209460"/>
                  </a:lnTo>
                  <a:lnTo>
                    <a:pt x="697762" y="1219371"/>
                  </a:lnTo>
                  <a:lnTo>
                    <a:pt x="676895" y="1227905"/>
                  </a:lnTo>
                  <a:lnTo>
                    <a:pt x="656068" y="1240752"/>
                  </a:lnTo>
                  <a:lnTo>
                    <a:pt x="646078" y="1261532"/>
                  </a:lnTo>
                  <a:lnTo>
                    <a:pt x="659010" y="1293010"/>
                  </a:lnTo>
                  <a:lnTo>
                    <a:pt x="676678" y="1322555"/>
                  </a:lnTo>
                  <a:lnTo>
                    <a:pt x="690962" y="1355391"/>
                  </a:lnTo>
                  <a:lnTo>
                    <a:pt x="683648" y="1377973"/>
                  </a:lnTo>
                  <a:lnTo>
                    <a:pt x="671072" y="1408982"/>
                  </a:lnTo>
                  <a:lnTo>
                    <a:pt x="656958" y="1426122"/>
                  </a:lnTo>
                  <a:lnTo>
                    <a:pt x="605209" y="1409799"/>
                  </a:lnTo>
                  <a:lnTo>
                    <a:pt x="572622" y="1386671"/>
                  </a:lnTo>
                  <a:lnTo>
                    <a:pt x="540038" y="1363549"/>
                  </a:lnTo>
                  <a:lnTo>
                    <a:pt x="509984" y="1337915"/>
                  </a:lnTo>
                  <a:lnTo>
                    <a:pt x="495185" y="1316508"/>
                  </a:lnTo>
                  <a:lnTo>
                    <a:pt x="488887" y="1295602"/>
                  </a:lnTo>
                  <a:lnTo>
                    <a:pt x="454291" y="1295536"/>
                  </a:lnTo>
                  <a:lnTo>
                    <a:pt x="435319" y="1335805"/>
                  </a:lnTo>
                  <a:lnTo>
                    <a:pt x="427087" y="1364907"/>
                  </a:lnTo>
                  <a:lnTo>
                    <a:pt x="419379" y="1394268"/>
                  </a:lnTo>
                  <a:lnTo>
                    <a:pt x="413025" y="1419870"/>
                  </a:lnTo>
                  <a:lnTo>
                    <a:pt x="403860" y="1453135"/>
                  </a:lnTo>
                  <a:lnTo>
                    <a:pt x="380835" y="1477799"/>
                  </a:lnTo>
                  <a:lnTo>
                    <a:pt x="350772" y="1496021"/>
                  </a:lnTo>
                  <a:lnTo>
                    <a:pt x="315686" y="1511268"/>
                  </a:lnTo>
                  <a:lnTo>
                    <a:pt x="280184" y="1525408"/>
                  </a:lnTo>
                  <a:lnTo>
                    <a:pt x="251404" y="1538308"/>
                  </a:lnTo>
                  <a:lnTo>
                    <a:pt x="234503" y="1557703"/>
                  </a:lnTo>
                  <a:lnTo>
                    <a:pt x="252973" y="1583898"/>
                  </a:lnTo>
                  <a:lnTo>
                    <a:pt x="271012" y="1608358"/>
                  </a:lnTo>
                  <a:lnTo>
                    <a:pt x="278820" y="1648799"/>
                  </a:lnTo>
                  <a:lnTo>
                    <a:pt x="260322" y="1680217"/>
                  </a:lnTo>
                  <a:lnTo>
                    <a:pt x="254341" y="1706313"/>
                  </a:lnTo>
                  <a:lnTo>
                    <a:pt x="248654" y="1730925"/>
                  </a:lnTo>
                  <a:lnTo>
                    <a:pt x="254341" y="1763444"/>
                  </a:lnTo>
                  <a:lnTo>
                    <a:pt x="264662" y="1795726"/>
                  </a:lnTo>
                  <a:lnTo>
                    <a:pt x="266572" y="1817853"/>
                  </a:lnTo>
                  <a:lnTo>
                    <a:pt x="268402" y="1838817"/>
                  </a:lnTo>
                  <a:lnTo>
                    <a:pt x="264352" y="1866536"/>
                  </a:lnTo>
                  <a:lnTo>
                    <a:pt x="263875" y="1894023"/>
                  </a:lnTo>
                  <a:lnTo>
                    <a:pt x="263348" y="1921504"/>
                  </a:lnTo>
                  <a:lnTo>
                    <a:pt x="265571" y="1949355"/>
                  </a:lnTo>
                  <a:lnTo>
                    <a:pt x="277480" y="1968830"/>
                  </a:lnTo>
                  <a:lnTo>
                    <a:pt x="273477" y="1996363"/>
                  </a:lnTo>
                  <a:lnTo>
                    <a:pt x="254629" y="2024293"/>
                  </a:lnTo>
                  <a:lnTo>
                    <a:pt x="228513" y="2053165"/>
                  </a:lnTo>
                  <a:lnTo>
                    <a:pt x="202393" y="2082037"/>
                  </a:lnTo>
                  <a:lnTo>
                    <a:pt x="169180" y="2111121"/>
                  </a:lnTo>
                  <a:lnTo>
                    <a:pt x="136022" y="2140217"/>
                  </a:lnTo>
                  <a:lnTo>
                    <a:pt x="102855" y="2169308"/>
                  </a:lnTo>
                  <a:lnTo>
                    <a:pt x="70026" y="2199070"/>
                  </a:lnTo>
                  <a:lnTo>
                    <a:pt x="44880" y="2227270"/>
                  </a:lnTo>
                  <a:lnTo>
                    <a:pt x="19753" y="2255470"/>
                  </a:lnTo>
                  <a:lnTo>
                    <a:pt x="2052" y="2282701"/>
                  </a:lnTo>
                  <a:lnTo>
                    <a:pt x="0" y="2308882"/>
                  </a:lnTo>
                  <a:lnTo>
                    <a:pt x="21763" y="2355211"/>
                  </a:lnTo>
                  <a:lnTo>
                    <a:pt x="36140" y="2406711"/>
                  </a:lnTo>
                  <a:lnTo>
                    <a:pt x="55767" y="2454425"/>
                  </a:lnTo>
                  <a:lnTo>
                    <a:pt x="92493" y="2585024"/>
                  </a:lnTo>
                  <a:lnTo>
                    <a:pt x="85597" y="2616008"/>
                  </a:lnTo>
                  <a:lnTo>
                    <a:pt x="72683" y="2633055"/>
                  </a:lnTo>
                  <a:lnTo>
                    <a:pt x="103838" y="2657811"/>
                  </a:lnTo>
                  <a:lnTo>
                    <a:pt x="127855" y="2674775"/>
                  </a:lnTo>
                  <a:lnTo>
                    <a:pt x="140630" y="2701404"/>
                  </a:lnTo>
                  <a:lnTo>
                    <a:pt x="150986" y="2727824"/>
                  </a:lnTo>
                  <a:lnTo>
                    <a:pt x="164576" y="2753669"/>
                  </a:lnTo>
                  <a:lnTo>
                    <a:pt x="196397" y="2774279"/>
                  </a:lnTo>
                  <a:lnTo>
                    <a:pt x="233421" y="2782021"/>
                  </a:lnTo>
                  <a:lnTo>
                    <a:pt x="269316" y="2787672"/>
                  </a:lnTo>
                  <a:lnTo>
                    <a:pt x="302034" y="2815048"/>
                  </a:lnTo>
                  <a:lnTo>
                    <a:pt x="321006" y="2837997"/>
                  </a:lnTo>
                  <a:lnTo>
                    <a:pt x="339976" y="2860956"/>
                  </a:lnTo>
                  <a:lnTo>
                    <a:pt x="362238" y="2883852"/>
                  </a:lnTo>
                  <a:lnTo>
                    <a:pt x="395820" y="2891047"/>
                  </a:lnTo>
                  <a:lnTo>
                    <a:pt x="440143" y="2900544"/>
                  </a:lnTo>
                  <a:lnTo>
                    <a:pt x="483737" y="2899020"/>
                  </a:lnTo>
                  <a:lnTo>
                    <a:pt x="526398" y="2897846"/>
                  </a:lnTo>
                  <a:lnTo>
                    <a:pt x="569050" y="2896673"/>
                  </a:lnTo>
                  <a:lnTo>
                    <a:pt x="611261" y="2896495"/>
                  </a:lnTo>
                  <a:lnTo>
                    <a:pt x="655612" y="2911452"/>
                  </a:lnTo>
                  <a:lnTo>
                    <a:pt x="672247" y="2930268"/>
                  </a:lnTo>
                  <a:lnTo>
                    <a:pt x="677053" y="2955203"/>
                  </a:lnTo>
                  <a:lnTo>
                    <a:pt x="674659" y="2979459"/>
                  </a:lnTo>
                  <a:lnTo>
                    <a:pt x="700459" y="3008536"/>
                  </a:lnTo>
                  <a:lnTo>
                    <a:pt x="720904" y="3018903"/>
                  </a:lnTo>
                  <a:lnTo>
                    <a:pt x="741347" y="3029277"/>
                  </a:lnTo>
                  <a:lnTo>
                    <a:pt x="763795" y="3037757"/>
                  </a:lnTo>
                  <a:lnTo>
                    <a:pt x="854304" y="3090859"/>
                  </a:lnTo>
                  <a:lnTo>
                    <a:pt x="904781" y="3109682"/>
                  </a:lnTo>
                  <a:lnTo>
                    <a:pt x="941260" y="3115478"/>
                  </a:lnTo>
                  <a:lnTo>
                    <a:pt x="977735" y="3121276"/>
                  </a:lnTo>
                  <a:lnTo>
                    <a:pt x="999387" y="3113019"/>
                  </a:lnTo>
                  <a:lnTo>
                    <a:pt x="1032743" y="3090734"/>
                  </a:lnTo>
                  <a:lnTo>
                    <a:pt x="1062313" y="3070594"/>
                  </a:lnTo>
                  <a:lnTo>
                    <a:pt x="1100038" y="3067283"/>
                  </a:lnTo>
                  <a:lnTo>
                    <a:pt x="1137127" y="3088275"/>
                  </a:lnTo>
                  <a:lnTo>
                    <a:pt x="1179896" y="3122746"/>
                  </a:lnTo>
                  <a:lnTo>
                    <a:pt x="1200168" y="3144886"/>
                  </a:lnTo>
                  <a:lnTo>
                    <a:pt x="1213299" y="3165804"/>
                  </a:lnTo>
                  <a:lnTo>
                    <a:pt x="1226430" y="3186730"/>
                  </a:lnTo>
                  <a:lnTo>
                    <a:pt x="1233003" y="3207141"/>
                  </a:lnTo>
                  <a:lnTo>
                    <a:pt x="1235062" y="3229735"/>
                  </a:lnTo>
                  <a:lnTo>
                    <a:pt x="1239149" y="3274924"/>
                  </a:lnTo>
                  <a:lnTo>
                    <a:pt x="1226408" y="3325949"/>
                  </a:lnTo>
                  <a:lnTo>
                    <a:pt x="1224179" y="3395683"/>
                  </a:lnTo>
                  <a:lnTo>
                    <a:pt x="1222049" y="3463458"/>
                  </a:lnTo>
                  <a:lnTo>
                    <a:pt x="1229661" y="3520584"/>
                  </a:lnTo>
                  <a:lnTo>
                    <a:pt x="1241862" y="3587469"/>
                  </a:lnTo>
                  <a:lnTo>
                    <a:pt x="1247551" y="3618651"/>
                  </a:lnTo>
                  <a:lnTo>
                    <a:pt x="1257628" y="3639074"/>
                  </a:lnTo>
                  <a:lnTo>
                    <a:pt x="1280507" y="3669167"/>
                  </a:lnTo>
                  <a:lnTo>
                    <a:pt x="1307151" y="3685403"/>
                  </a:lnTo>
                  <a:lnTo>
                    <a:pt x="1334439" y="3698264"/>
                  </a:lnTo>
                  <a:lnTo>
                    <a:pt x="1361684" y="3701331"/>
                  </a:lnTo>
                  <a:lnTo>
                    <a:pt x="1376523" y="3724847"/>
                  </a:lnTo>
                  <a:lnTo>
                    <a:pt x="1392634" y="3773604"/>
                  </a:lnTo>
                  <a:lnTo>
                    <a:pt x="1378176" y="3829245"/>
                  </a:lnTo>
                  <a:lnTo>
                    <a:pt x="1387403" y="3879914"/>
                  </a:lnTo>
                  <a:lnTo>
                    <a:pt x="1422173" y="3898742"/>
                  </a:lnTo>
                  <a:lnTo>
                    <a:pt x="1500255" y="3903458"/>
                  </a:lnTo>
                  <a:lnTo>
                    <a:pt x="1538386" y="3904394"/>
                  </a:lnTo>
                  <a:lnTo>
                    <a:pt x="1547942" y="3964519"/>
                  </a:lnTo>
                  <a:lnTo>
                    <a:pt x="1553343" y="3994170"/>
                  </a:lnTo>
                  <a:lnTo>
                    <a:pt x="1645080" y="4004642"/>
                  </a:lnTo>
                  <a:lnTo>
                    <a:pt x="1728216" y="4050787"/>
                  </a:lnTo>
                  <a:lnTo>
                    <a:pt x="1822660" y="4060819"/>
                  </a:lnTo>
                  <a:lnTo>
                    <a:pt x="1839714" y="4029829"/>
                  </a:lnTo>
                  <a:lnTo>
                    <a:pt x="1844430" y="4007769"/>
                  </a:lnTo>
                  <a:lnTo>
                    <a:pt x="1849146" y="3985709"/>
                  </a:lnTo>
                  <a:lnTo>
                    <a:pt x="1855167" y="3962871"/>
                  </a:lnTo>
                  <a:lnTo>
                    <a:pt x="1899049" y="3951475"/>
                  </a:lnTo>
                  <a:lnTo>
                    <a:pt x="2020744" y="3943944"/>
                  </a:lnTo>
                  <a:lnTo>
                    <a:pt x="2037574" y="3957444"/>
                  </a:lnTo>
                  <a:lnTo>
                    <a:pt x="2060320" y="4062923"/>
                  </a:lnTo>
                  <a:lnTo>
                    <a:pt x="2046129" y="4098502"/>
                  </a:lnTo>
                  <a:lnTo>
                    <a:pt x="2013430" y="4090891"/>
                  </a:lnTo>
                  <a:lnTo>
                    <a:pt x="2000854" y="4111144"/>
                  </a:lnTo>
                  <a:lnTo>
                    <a:pt x="2001316" y="4139918"/>
                  </a:lnTo>
                  <a:lnTo>
                    <a:pt x="2011170" y="4178940"/>
                  </a:lnTo>
                  <a:lnTo>
                    <a:pt x="2028059" y="4221319"/>
                  </a:lnTo>
                  <a:lnTo>
                    <a:pt x="2044935" y="4263698"/>
                  </a:lnTo>
                  <a:lnTo>
                    <a:pt x="2068202" y="4309638"/>
                  </a:lnTo>
                  <a:lnTo>
                    <a:pt x="2093348" y="4355981"/>
                  </a:lnTo>
                  <a:lnTo>
                    <a:pt x="2143627" y="4448671"/>
                  </a:lnTo>
                  <a:lnTo>
                    <a:pt x="2201781" y="4540597"/>
                  </a:lnTo>
                  <a:lnTo>
                    <a:pt x="2234809" y="4591293"/>
                  </a:lnTo>
                  <a:lnTo>
                    <a:pt x="2229904" y="4627894"/>
                  </a:lnTo>
                  <a:lnTo>
                    <a:pt x="2208779" y="4637991"/>
                  </a:lnTo>
                  <a:lnTo>
                    <a:pt x="2179042" y="4644341"/>
                  </a:lnTo>
                  <a:lnTo>
                    <a:pt x="2149301" y="4650693"/>
                  </a:lnTo>
                  <a:lnTo>
                    <a:pt x="2110785" y="4652928"/>
                  </a:lnTo>
                  <a:lnTo>
                    <a:pt x="2072943" y="4653865"/>
                  </a:lnTo>
                  <a:lnTo>
                    <a:pt x="1997248" y="4655731"/>
                  </a:lnTo>
                  <a:lnTo>
                    <a:pt x="1922896" y="4651220"/>
                  </a:lnTo>
                  <a:lnTo>
                    <a:pt x="1908829" y="4666943"/>
                  </a:lnTo>
                  <a:lnTo>
                    <a:pt x="1911070" y="4690585"/>
                  </a:lnTo>
                  <a:lnTo>
                    <a:pt x="1920614" y="4714782"/>
                  </a:lnTo>
                  <a:lnTo>
                    <a:pt x="1943224" y="4735503"/>
                  </a:lnTo>
                  <a:lnTo>
                    <a:pt x="1968310" y="4738002"/>
                  </a:lnTo>
                  <a:lnTo>
                    <a:pt x="1991326" y="4739553"/>
                  </a:lnTo>
                  <a:lnTo>
                    <a:pt x="2014335" y="4741103"/>
                  </a:lnTo>
                  <a:lnTo>
                    <a:pt x="2035618" y="4742475"/>
                  </a:lnTo>
                  <a:lnTo>
                    <a:pt x="2064860" y="4777764"/>
                  </a:lnTo>
                  <a:lnTo>
                    <a:pt x="2054234" y="4815275"/>
                  </a:lnTo>
                  <a:lnTo>
                    <a:pt x="2072937" y="4833404"/>
                  </a:lnTo>
                  <a:lnTo>
                    <a:pt x="2096718" y="4839281"/>
                  </a:lnTo>
                  <a:lnTo>
                    <a:pt x="2126521" y="4845915"/>
                  </a:lnTo>
                  <a:lnTo>
                    <a:pt x="2151831" y="4857891"/>
                  </a:lnTo>
                  <a:lnTo>
                    <a:pt x="2177144" y="4869861"/>
                  </a:lnTo>
                  <a:lnTo>
                    <a:pt x="2197844" y="4887114"/>
                  </a:lnTo>
                  <a:lnTo>
                    <a:pt x="2206234" y="4913658"/>
                  </a:lnTo>
                  <a:lnTo>
                    <a:pt x="2199856" y="4964280"/>
                  </a:lnTo>
                  <a:lnTo>
                    <a:pt x="2172825" y="4983986"/>
                  </a:lnTo>
                  <a:lnTo>
                    <a:pt x="2113740" y="4975037"/>
                  </a:lnTo>
                  <a:lnTo>
                    <a:pt x="2089261" y="4980307"/>
                  </a:lnTo>
                  <a:lnTo>
                    <a:pt x="2073544" y="4996464"/>
                  </a:lnTo>
                  <a:lnTo>
                    <a:pt x="2064171" y="5023997"/>
                  </a:lnTo>
                  <a:lnTo>
                    <a:pt x="2051174" y="5048320"/>
                  </a:lnTo>
                  <a:lnTo>
                    <a:pt x="2009396" y="5043050"/>
                  </a:lnTo>
                  <a:lnTo>
                    <a:pt x="1969154" y="5027116"/>
                  </a:lnTo>
                  <a:lnTo>
                    <a:pt x="1928759" y="5012951"/>
                  </a:lnTo>
                  <a:lnTo>
                    <a:pt x="1888359" y="4998791"/>
                  </a:lnTo>
                  <a:lnTo>
                    <a:pt x="1847927" y="4985398"/>
                  </a:lnTo>
                  <a:lnTo>
                    <a:pt x="1804981" y="4984389"/>
                  </a:lnTo>
                  <a:lnTo>
                    <a:pt x="1776325" y="5002795"/>
                  </a:lnTo>
                  <a:lnTo>
                    <a:pt x="1740706" y="5009107"/>
                  </a:lnTo>
                  <a:lnTo>
                    <a:pt x="1696625" y="5009318"/>
                  </a:lnTo>
                  <a:lnTo>
                    <a:pt x="1674564" y="5035229"/>
                  </a:lnTo>
                  <a:lnTo>
                    <a:pt x="1643629" y="5128718"/>
                  </a:lnTo>
                  <a:lnTo>
                    <a:pt x="1659945" y="5177217"/>
                  </a:lnTo>
                  <a:lnTo>
                    <a:pt x="1693400" y="5195517"/>
                  </a:lnTo>
                  <a:lnTo>
                    <a:pt x="1704320" y="5231941"/>
                  </a:lnTo>
                  <a:lnTo>
                    <a:pt x="1698882" y="5275467"/>
                  </a:lnTo>
                  <a:lnTo>
                    <a:pt x="1726644" y="5292812"/>
                  </a:lnTo>
                  <a:lnTo>
                    <a:pt x="1781857" y="5301103"/>
                  </a:lnTo>
                  <a:lnTo>
                    <a:pt x="1804981" y="5325801"/>
                  </a:lnTo>
                  <a:lnTo>
                    <a:pt x="1800711" y="5353895"/>
                  </a:lnTo>
                  <a:lnTo>
                    <a:pt x="1788142" y="5375084"/>
                  </a:lnTo>
                  <a:lnTo>
                    <a:pt x="1766893" y="5393807"/>
                  </a:lnTo>
                  <a:lnTo>
                    <a:pt x="1774406" y="5415556"/>
                  </a:lnTo>
                  <a:lnTo>
                    <a:pt x="1804987" y="5435975"/>
                  </a:lnTo>
                  <a:lnTo>
                    <a:pt x="1831215" y="5459254"/>
                  </a:lnTo>
                  <a:lnTo>
                    <a:pt x="1832650" y="5481394"/>
                  </a:lnTo>
                  <a:lnTo>
                    <a:pt x="1821308" y="5509422"/>
                  </a:lnTo>
                  <a:lnTo>
                    <a:pt x="1783739" y="5557518"/>
                  </a:lnTo>
                  <a:lnTo>
                    <a:pt x="1744972" y="5604765"/>
                  </a:lnTo>
                  <a:lnTo>
                    <a:pt x="1708410" y="5653607"/>
                  </a:lnTo>
                  <a:lnTo>
                    <a:pt x="1681760" y="5689245"/>
                  </a:lnTo>
                  <a:lnTo>
                    <a:pt x="1665991" y="5731545"/>
                  </a:lnTo>
                  <a:lnTo>
                    <a:pt x="1641769" y="5767864"/>
                  </a:lnTo>
                  <a:lnTo>
                    <a:pt x="1606512" y="5820694"/>
                  </a:lnTo>
                  <a:lnTo>
                    <a:pt x="1561616" y="5868040"/>
                  </a:lnTo>
                  <a:lnTo>
                    <a:pt x="1509824" y="5907965"/>
                  </a:lnTo>
                  <a:lnTo>
                    <a:pt x="1458035" y="5947884"/>
                  </a:lnTo>
                  <a:lnTo>
                    <a:pt x="1399260" y="5979527"/>
                  </a:lnTo>
                  <a:lnTo>
                    <a:pt x="1339794" y="6000459"/>
                  </a:lnTo>
                  <a:lnTo>
                    <a:pt x="1290200" y="6017915"/>
                  </a:lnTo>
                  <a:lnTo>
                    <a:pt x="1255972" y="6035267"/>
                  </a:lnTo>
                  <a:lnTo>
                    <a:pt x="1198342" y="6035821"/>
                  </a:lnTo>
                  <a:lnTo>
                    <a:pt x="1163705" y="6036151"/>
                  </a:lnTo>
                  <a:lnTo>
                    <a:pt x="1094519" y="6033150"/>
                  </a:lnTo>
                  <a:lnTo>
                    <a:pt x="1024228" y="6027663"/>
                  </a:lnTo>
                  <a:lnTo>
                    <a:pt x="953954" y="6022169"/>
                  </a:lnTo>
                  <a:lnTo>
                    <a:pt x="883409" y="6013900"/>
                  </a:lnTo>
                  <a:lnTo>
                    <a:pt x="848773" y="6001817"/>
                  </a:lnTo>
                  <a:lnTo>
                    <a:pt x="819946" y="5991740"/>
                  </a:lnTo>
                  <a:lnTo>
                    <a:pt x="793684" y="5971738"/>
                  </a:lnTo>
                  <a:lnTo>
                    <a:pt x="772594" y="5950127"/>
                  </a:lnTo>
                  <a:lnTo>
                    <a:pt x="754921" y="5932016"/>
                  </a:lnTo>
                  <a:lnTo>
                    <a:pt x="739948" y="5902525"/>
                  </a:lnTo>
                  <a:lnTo>
                    <a:pt x="718232" y="5882120"/>
                  </a:lnTo>
                  <a:lnTo>
                    <a:pt x="685548" y="5882120"/>
                  </a:lnTo>
                  <a:lnTo>
                    <a:pt x="659268" y="5885556"/>
                  </a:lnTo>
                  <a:lnTo>
                    <a:pt x="611150" y="5929854"/>
                  </a:lnTo>
                  <a:lnTo>
                    <a:pt x="530606" y="6003162"/>
                  </a:lnTo>
                  <a:lnTo>
                    <a:pt x="469273" y="6082064"/>
                  </a:lnTo>
                  <a:lnTo>
                    <a:pt x="438615" y="6121515"/>
                  </a:lnTo>
                  <a:lnTo>
                    <a:pt x="413032" y="6162594"/>
                  </a:lnTo>
                  <a:lnTo>
                    <a:pt x="398543" y="6201761"/>
                  </a:lnTo>
                  <a:lnTo>
                    <a:pt x="386956" y="6240599"/>
                  </a:lnTo>
                  <a:lnTo>
                    <a:pt x="385638" y="6277187"/>
                  </a:lnTo>
                  <a:lnTo>
                    <a:pt x="397178" y="6310578"/>
                  </a:lnTo>
                  <a:lnTo>
                    <a:pt x="410495" y="6338804"/>
                  </a:lnTo>
                  <a:lnTo>
                    <a:pt x="435613" y="6371152"/>
                  </a:lnTo>
                  <a:lnTo>
                    <a:pt x="452952" y="6397630"/>
                  </a:lnTo>
                  <a:lnTo>
                    <a:pt x="465277" y="6420884"/>
                  </a:lnTo>
                  <a:lnTo>
                    <a:pt x="480280" y="6458883"/>
                  </a:lnTo>
                  <a:lnTo>
                    <a:pt x="496155" y="6492095"/>
                  </a:lnTo>
                  <a:lnTo>
                    <a:pt x="505993" y="6524134"/>
                  </a:lnTo>
                  <a:lnTo>
                    <a:pt x="518644" y="6578812"/>
                  </a:lnTo>
                  <a:lnTo>
                    <a:pt x="520966" y="6619345"/>
                  </a:lnTo>
                  <a:lnTo>
                    <a:pt x="521419" y="6658980"/>
                  </a:lnTo>
                  <a:lnTo>
                    <a:pt x="516132" y="6686474"/>
                  </a:lnTo>
                  <a:lnTo>
                    <a:pt x="499181" y="6707755"/>
                  </a:lnTo>
                  <a:lnTo>
                    <a:pt x="525285" y="6739635"/>
                  </a:lnTo>
                  <a:lnTo>
                    <a:pt x="560105" y="6762928"/>
                  </a:lnTo>
                  <a:lnTo>
                    <a:pt x="580497" y="6770150"/>
                  </a:lnTo>
                  <a:lnTo>
                    <a:pt x="623952" y="6760977"/>
                  </a:lnTo>
                  <a:lnTo>
                    <a:pt x="651519" y="6729518"/>
                  </a:lnTo>
                  <a:lnTo>
                    <a:pt x="666449" y="6714601"/>
                  </a:lnTo>
                  <a:lnTo>
                    <a:pt x="683307" y="6702037"/>
                  </a:lnTo>
                  <a:lnTo>
                    <a:pt x="718160" y="6700955"/>
                  </a:lnTo>
                  <a:lnTo>
                    <a:pt x="739855" y="6715768"/>
                  </a:lnTo>
                  <a:lnTo>
                    <a:pt x="756325" y="6743269"/>
                  </a:lnTo>
                  <a:lnTo>
                    <a:pt x="772573" y="6767604"/>
                  </a:lnTo>
                  <a:lnTo>
                    <a:pt x="825524" y="6761688"/>
                  </a:lnTo>
                  <a:lnTo>
                    <a:pt x="882281" y="6738441"/>
                  </a:lnTo>
                  <a:lnTo>
                    <a:pt x="916753" y="6743117"/>
                  </a:lnTo>
                  <a:lnTo>
                    <a:pt x="939576" y="6746198"/>
                  </a:lnTo>
                  <a:lnTo>
                    <a:pt x="963311" y="6758352"/>
                  </a:lnTo>
                  <a:lnTo>
                    <a:pt x="986122" y="6760798"/>
                  </a:lnTo>
                  <a:lnTo>
                    <a:pt x="1011414" y="6763516"/>
                  </a:lnTo>
                  <a:lnTo>
                    <a:pt x="1041719" y="6755081"/>
                  </a:lnTo>
                  <a:lnTo>
                    <a:pt x="1066378" y="6759440"/>
                  </a:lnTo>
                  <a:lnTo>
                    <a:pt x="1106369" y="6766510"/>
                  </a:lnTo>
                  <a:lnTo>
                    <a:pt x="1145747" y="6786130"/>
                  </a:lnTo>
                  <a:lnTo>
                    <a:pt x="1181992" y="6809766"/>
                  </a:lnTo>
                  <a:lnTo>
                    <a:pt x="1218245" y="6833402"/>
                  </a:lnTo>
                  <a:lnTo>
                    <a:pt x="1251489" y="6860586"/>
                  </a:lnTo>
                  <a:lnTo>
                    <a:pt x="1282650" y="6884578"/>
                  </a:lnTo>
                  <a:lnTo>
                    <a:pt x="1307374" y="6953799"/>
                  </a:lnTo>
                  <a:lnTo>
                    <a:pt x="1324120" y="6990590"/>
                  </a:lnTo>
                  <a:lnTo>
                    <a:pt x="1406853" y="7046971"/>
                  </a:lnTo>
                  <a:lnTo>
                    <a:pt x="1439068" y="7077729"/>
                  </a:lnTo>
                  <a:lnTo>
                    <a:pt x="1460831" y="7098128"/>
                  </a:lnTo>
                  <a:lnTo>
                    <a:pt x="1493180" y="7116851"/>
                  </a:lnTo>
                  <a:lnTo>
                    <a:pt x="1544823" y="7129546"/>
                  </a:lnTo>
                  <a:lnTo>
                    <a:pt x="1580529" y="7143018"/>
                  </a:lnTo>
                  <a:lnTo>
                    <a:pt x="1590057" y="7178236"/>
                  </a:lnTo>
                  <a:lnTo>
                    <a:pt x="1588969" y="7202591"/>
                  </a:lnTo>
                  <a:lnTo>
                    <a:pt x="1581894" y="7223266"/>
                  </a:lnTo>
                  <a:lnTo>
                    <a:pt x="1661473" y="7274930"/>
                  </a:lnTo>
                  <a:lnTo>
                    <a:pt x="1700761" y="7295466"/>
                  </a:lnTo>
                  <a:lnTo>
                    <a:pt x="1726130" y="7327709"/>
                  </a:lnTo>
                  <a:lnTo>
                    <a:pt x="1750559" y="7362010"/>
                  </a:lnTo>
                  <a:lnTo>
                    <a:pt x="1774967" y="7396310"/>
                  </a:lnTo>
                  <a:lnTo>
                    <a:pt x="1799195" y="7433229"/>
                  </a:lnTo>
                  <a:lnTo>
                    <a:pt x="1824006" y="7454503"/>
                  </a:lnTo>
                  <a:lnTo>
                    <a:pt x="1857244" y="7482981"/>
                  </a:lnTo>
                  <a:lnTo>
                    <a:pt x="1903790" y="7484318"/>
                  </a:lnTo>
                  <a:lnTo>
                    <a:pt x="1940985" y="7503471"/>
                  </a:lnTo>
                  <a:lnTo>
                    <a:pt x="1967920" y="7517326"/>
                  </a:lnTo>
                  <a:lnTo>
                    <a:pt x="2048147" y="7578407"/>
                  </a:lnTo>
                  <a:lnTo>
                    <a:pt x="2071566" y="7601404"/>
                  </a:lnTo>
                  <a:lnTo>
                    <a:pt x="2090703" y="7620194"/>
                  </a:lnTo>
                  <a:lnTo>
                    <a:pt x="2107849" y="7642358"/>
                  </a:lnTo>
                  <a:lnTo>
                    <a:pt x="2125972" y="7662611"/>
                  </a:lnTo>
                  <a:lnTo>
                    <a:pt x="2144083" y="7682864"/>
                  </a:lnTo>
                  <a:lnTo>
                    <a:pt x="2163275" y="7701759"/>
                  </a:lnTo>
                  <a:lnTo>
                    <a:pt x="2188533" y="7712945"/>
                  </a:lnTo>
                  <a:lnTo>
                    <a:pt x="2212748" y="7723660"/>
                  </a:lnTo>
                  <a:lnTo>
                    <a:pt x="2241016" y="7714666"/>
                  </a:lnTo>
                  <a:lnTo>
                    <a:pt x="2270152" y="7704779"/>
                  </a:lnTo>
                  <a:lnTo>
                    <a:pt x="2299295" y="7694887"/>
                  </a:lnTo>
                  <a:lnTo>
                    <a:pt x="2329538" y="7684356"/>
                  </a:lnTo>
                  <a:lnTo>
                    <a:pt x="2357198" y="7689816"/>
                  </a:lnTo>
                  <a:lnTo>
                    <a:pt x="2520429" y="7721102"/>
                  </a:lnTo>
                  <a:lnTo>
                    <a:pt x="2574676" y="7688859"/>
                  </a:lnTo>
                  <a:lnTo>
                    <a:pt x="2596591" y="7681658"/>
                  </a:lnTo>
                  <a:lnTo>
                    <a:pt x="2621777" y="7693503"/>
                  </a:lnTo>
                  <a:lnTo>
                    <a:pt x="2644688" y="7719447"/>
                  </a:lnTo>
                  <a:lnTo>
                    <a:pt x="2664612" y="7742865"/>
                  </a:lnTo>
                  <a:lnTo>
                    <a:pt x="2684515" y="7766276"/>
                  </a:lnTo>
                  <a:lnTo>
                    <a:pt x="2701906" y="7787954"/>
                  </a:lnTo>
                  <a:lnTo>
                    <a:pt x="2742710" y="7795848"/>
                  </a:lnTo>
                  <a:lnTo>
                    <a:pt x="2764234" y="7790408"/>
                  </a:lnTo>
                  <a:lnTo>
                    <a:pt x="2788384" y="7786398"/>
                  </a:lnTo>
                  <a:lnTo>
                    <a:pt x="2812535" y="7782415"/>
                  </a:lnTo>
                  <a:lnTo>
                    <a:pt x="2839225" y="7778820"/>
                  </a:lnTo>
                  <a:lnTo>
                    <a:pt x="2875439" y="7786398"/>
                  </a:lnTo>
                  <a:lnTo>
                    <a:pt x="2901038" y="7807581"/>
                  </a:lnTo>
                  <a:lnTo>
                    <a:pt x="2917843" y="7841380"/>
                  </a:lnTo>
                  <a:lnTo>
                    <a:pt x="2950250" y="7861210"/>
                  </a:lnTo>
                  <a:lnTo>
                    <a:pt x="3007041" y="7817275"/>
                  </a:lnTo>
                  <a:lnTo>
                    <a:pt x="3028788" y="7802015"/>
                  </a:lnTo>
                  <a:lnTo>
                    <a:pt x="3057707" y="7812236"/>
                  </a:lnTo>
                  <a:lnTo>
                    <a:pt x="3087386" y="7834494"/>
                  </a:lnTo>
                  <a:lnTo>
                    <a:pt x="3120866" y="7857327"/>
                  </a:lnTo>
                  <a:lnTo>
                    <a:pt x="3161084" y="7858486"/>
                  </a:lnTo>
                  <a:lnTo>
                    <a:pt x="3202558" y="7856172"/>
                  </a:lnTo>
                  <a:lnTo>
                    <a:pt x="3222290" y="7863928"/>
                  </a:lnTo>
                  <a:lnTo>
                    <a:pt x="3257317" y="7874532"/>
                  </a:lnTo>
                  <a:lnTo>
                    <a:pt x="3282140" y="7893848"/>
                  </a:lnTo>
                  <a:lnTo>
                    <a:pt x="3303903" y="7933299"/>
                  </a:lnTo>
                  <a:lnTo>
                    <a:pt x="3340444" y="7925175"/>
                  </a:lnTo>
                  <a:lnTo>
                    <a:pt x="3406347" y="7875957"/>
                  </a:lnTo>
                  <a:lnTo>
                    <a:pt x="3443957" y="7881094"/>
                  </a:lnTo>
                  <a:lnTo>
                    <a:pt x="3464666" y="7872738"/>
                  </a:lnTo>
                  <a:lnTo>
                    <a:pt x="3483449" y="7859838"/>
                  </a:lnTo>
                  <a:lnTo>
                    <a:pt x="3502238" y="7846958"/>
                  </a:lnTo>
                  <a:lnTo>
                    <a:pt x="3519372" y="7828942"/>
                  </a:lnTo>
                  <a:lnTo>
                    <a:pt x="3579471" y="7793323"/>
                  </a:lnTo>
                  <a:lnTo>
                    <a:pt x="3621295" y="7768110"/>
                  </a:lnTo>
                  <a:lnTo>
                    <a:pt x="3672516" y="7752389"/>
                  </a:lnTo>
                  <a:lnTo>
                    <a:pt x="3706561" y="7741929"/>
                  </a:lnTo>
                  <a:lnTo>
                    <a:pt x="3743163" y="7738571"/>
                  </a:lnTo>
                  <a:lnTo>
                    <a:pt x="3775893" y="7722460"/>
                  </a:lnTo>
                  <a:lnTo>
                    <a:pt x="3812995" y="7691115"/>
                  </a:lnTo>
                  <a:lnTo>
                    <a:pt x="3853826" y="7684520"/>
                  </a:lnTo>
                  <a:lnTo>
                    <a:pt x="3901988" y="7711342"/>
                  </a:lnTo>
                  <a:lnTo>
                    <a:pt x="3949997" y="7742865"/>
                  </a:lnTo>
                  <a:lnTo>
                    <a:pt x="3998004" y="7774389"/>
                  </a:lnTo>
                  <a:lnTo>
                    <a:pt x="4045973" y="7811142"/>
                  </a:lnTo>
                  <a:lnTo>
                    <a:pt x="4066973" y="7832641"/>
                  </a:lnTo>
                  <a:lnTo>
                    <a:pt x="4045684" y="7857505"/>
                  </a:lnTo>
                  <a:lnTo>
                    <a:pt x="4035691" y="7899290"/>
                  </a:lnTo>
                  <a:lnTo>
                    <a:pt x="4027527" y="7944174"/>
                  </a:lnTo>
                  <a:lnTo>
                    <a:pt x="4128622" y="8069332"/>
                  </a:lnTo>
                  <a:lnTo>
                    <a:pt x="4142327" y="8088847"/>
                  </a:lnTo>
                  <a:lnTo>
                    <a:pt x="4127078" y="8130863"/>
                  </a:lnTo>
                  <a:lnTo>
                    <a:pt x="4100890" y="8175490"/>
                  </a:lnTo>
                  <a:lnTo>
                    <a:pt x="4075137" y="8208049"/>
                  </a:lnTo>
                  <a:lnTo>
                    <a:pt x="4061748" y="8224952"/>
                  </a:lnTo>
                  <a:lnTo>
                    <a:pt x="4021627" y="8239151"/>
                  </a:lnTo>
                  <a:lnTo>
                    <a:pt x="3985359" y="8258383"/>
                  </a:lnTo>
                  <a:lnTo>
                    <a:pt x="3950552" y="8278648"/>
                  </a:lnTo>
                  <a:lnTo>
                    <a:pt x="3924951" y="8303399"/>
                  </a:lnTo>
                  <a:lnTo>
                    <a:pt x="3915996" y="8334547"/>
                  </a:lnTo>
                  <a:lnTo>
                    <a:pt x="3941030" y="8355868"/>
                  </a:lnTo>
                  <a:lnTo>
                    <a:pt x="4051969" y="8334823"/>
                  </a:lnTo>
                  <a:lnTo>
                    <a:pt x="4086928" y="8329699"/>
                  </a:lnTo>
                  <a:lnTo>
                    <a:pt x="4109470" y="8347492"/>
                  </a:lnTo>
                  <a:lnTo>
                    <a:pt x="4130904" y="8368556"/>
                  </a:lnTo>
                  <a:lnTo>
                    <a:pt x="4152351" y="8389621"/>
                  </a:lnTo>
                  <a:lnTo>
                    <a:pt x="4172120" y="8413211"/>
                  </a:lnTo>
                  <a:lnTo>
                    <a:pt x="4190665" y="8433292"/>
                  </a:lnTo>
                  <a:lnTo>
                    <a:pt x="4220582" y="8438238"/>
                  </a:lnTo>
                  <a:lnTo>
                    <a:pt x="4251960" y="8442004"/>
                  </a:lnTo>
                  <a:lnTo>
                    <a:pt x="4283338" y="8445776"/>
                  </a:lnTo>
                  <a:lnTo>
                    <a:pt x="4316716" y="8448691"/>
                  </a:lnTo>
                  <a:lnTo>
                    <a:pt x="4342711" y="8477458"/>
                  </a:lnTo>
                  <a:lnTo>
                    <a:pt x="4317432" y="8514310"/>
                  </a:lnTo>
                  <a:lnTo>
                    <a:pt x="4318613" y="8539938"/>
                  </a:lnTo>
                  <a:lnTo>
                    <a:pt x="4332675" y="8556103"/>
                  </a:lnTo>
                  <a:lnTo>
                    <a:pt x="4356586" y="8559281"/>
                  </a:lnTo>
                  <a:lnTo>
                    <a:pt x="4379822" y="8561701"/>
                  </a:lnTo>
                  <a:lnTo>
                    <a:pt x="4403055" y="8564135"/>
                  </a:lnTo>
                  <a:lnTo>
                    <a:pt x="4426176" y="8565705"/>
                  </a:lnTo>
                  <a:lnTo>
                    <a:pt x="4441034" y="8594347"/>
                  </a:lnTo>
                  <a:lnTo>
                    <a:pt x="4465674" y="8601515"/>
                  </a:lnTo>
                  <a:lnTo>
                    <a:pt x="4481317" y="8619400"/>
                  </a:lnTo>
                  <a:lnTo>
                    <a:pt x="4492733" y="8640597"/>
                  </a:lnTo>
                  <a:lnTo>
                    <a:pt x="4504128" y="8661792"/>
                  </a:lnTo>
                  <a:lnTo>
                    <a:pt x="4511026" y="8686820"/>
                  </a:lnTo>
                  <a:lnTo>
                    <a:pt x="4518570" y="8707244"/>
                  </a:lnTo>
                  <a:lnTo>
                    <a:pt x="4531140" y="8724945"/>
                  </a:lnTo>
                  <a:lnTo>
                    <a:pt x="4552233" y="8733070"/>
                  </a:lnTo>
                  <a:lnTo>
                    <a:pt x="4579779" y="8737172"/>
                  </a:lnTo>
                  <a:lnTo>
                    <a:pt x="4609408" y="8743603"/>
                  </a:lnTo>
                  <a:lnTo>
                    <a:pt x="4639918" y="8757946"/>
                  </a:lnTo>
                  <a:lnTo>
                    <a:pt x="4668189" y="8787498"/>
                  </a:lnTo>
                  <a:lnTo>
                    <a:pt x="4671758" y="8820531"/>
                  </a:lnTo>
                  <a:lnTo>
                    <a:pt x="4659207" y="8849674"/>
                  </a:lnTo>
                  <a:lnTo>
                    <a:pt x="4635571" y="8874550"/>
                  </a:lnTo>
                  <a:lnTo>
                    <a:pt x="4609470" y="8898471"/>
                  </a:lnTo>
                  <a:lnTo>
                    <a:pt x="4574508" y="8917174"/>
                  </a:lnTo>
                  <a:lnTo>
                    <a:pt x="4551235" y="8930317"/>
                  </a:lnTo>
                  <a:lnTo>
                    <a:pt x="4513284" y="9003962"/>
                  </a:lnTo>
                  <a:lnTo>
                    <a:pt x="4521314" y="9024169"/>
                  </a:lnTo>
                  <a:lnTo>
                    <a:pt x="4545710" y="9046718"/>
                  </a:lnTo>
                  <a:lnTo>
                    <a:pt x="4576542" y="9056266"/>
                  </a:lnTo>
                  <a:lnTo>
                    <a:pt x="4604286" y="9073142"/>
                  </a:lnTo>
                  <a:lnTo>
                    <a:pt x="4655672" y="9104423"/>
                  </a:lnTo>
                  <a:lnTo>
                    <a:pt x="4696956" y="9147929"/>
                  </a:lnTo>
                  <a:lnTo>
                    <a:pt x="4737589" y="9191475"/>
                  </a:lnTo>
                  <a:lnTo>
                    <a:pt x="4788963" y="9246589"/>
                  </a:lnTo>
                  <a:lnTo>
                    <a:pt x="4854252" y="9291031"/>
                  </a:lnTo>
                  <a:lnTo>
                    <a:pt x="4915768" y="9338377"/>
                  </a:lnTo>
                  <a:lnTo>
                    <a:pt x="4946535" y="9362046"/>
                  </a:lnTo>
                  <a:lnTo>
                    <a:pt x="4975969" y="9385860"/>
                  </a:lnTo>
                  <a:lnTo>
                    <a:pt x="5002823" y="9413190"/>
                  </a:lnTo>
                  <a:lnTo>
                    <a:pt x="5029683" y="9440518"/>
                  </a:lnTo>
                  <a:lnTo>
                    <a:pt x="5053530" y="9470960"/>
                  </a:lnTo>
                  <a:lnTo>
                    <a:pt x="5072192" y="9505683"/>
                  </a:lnTo>
                  <a:lnTo>
                    <a:pt x="5052482" y="9562616"/>
                  </a:lnTo>
                  <a:lnTo>
                    <a:pt x="5010261" y="9609209"/>
                  </a:lnTo>
                  <a:lnTo>
                    <a:pt x="4990582" y="9666184"/>
                  </a:lnTo>
                  <a:lnTo>
                    <a:pt x="5023786" y="9705930"/>
                  </a:lnTo>
                  <a:lnTo>
                    <a:pt x="5125091" y="9792192"/>
                  </a:lnTo>
                  <a:lnTo>
                    <a:pt x="5145661" y="9828048"/>
                  </a:lnTo>
                  <a:lnTo>
                    <a:pt x="5126490" y="9857983"/>
                  </a:lnTo>
                  <a:lnTo>
                    <a:pt x="5099372" y="9884415"/>
                  </a:lnTo>
                  <a:lnTo>
                    <a:pt x="5073572" y="9911018"/>
                  </a:lnTo>
                  <a:lnTo>
                    <a:pt x="5047772" y="9937629"/>
                  </a:lnTo>
                  <a:lnTo>
                    <a:pt x="5023538" y="9965091"/>
                  </a:lnTo>
                  <a:lnTo>
                    <a:pt x="5009641" y="9998072"/>
                  </a:lnTo>
                  <a:lnTo>
                    <a:pt x="5073625" y="10061198"/>
                  </a:lnTo>
                  <a:lnTo>
                    <a:pt x="5098119" y="10065769"/>
                  </a:lnTo>
                  <a:lnTo>
                    <a:pt x="5114881" y="10046742"/>
                  </a:lnTo>
                  <a:lnTo>
                    <a:pt x="5130703" y="10025283"/>
                  </a:lnTo>
                  <a:lnTo>
                    <a:pt x="5146519" y="10003816"/>
                  </a:lnTo>
                  <a:lnTo>
                    <a:pt x="5161402" y="9980199"/>
                  </a:lnTo>
                  <a:lnTo>
                    <a:pt x="5193568" y="9971243"/>
                  </a:lnTo>
                  <a:lnTo>
                    <a:pt x="5209802" y="9984987"/>
                  </a:lnTo>
                  <a:lnTo>
                    <a:pt x="5225913" y="10000796"/>
                  </a:lnTo>
                  <a:lnTo>
                    <a:pt x="5242027" y="10016603"/>
                  </a:lnTo>
                  <a:lnTo>
                    <a:pt x="5257675" y="10034679"/>
                  </a:lnTo>
                  <a:lnTo>
                    <a:pt x="5287714" y="10047362"/>
                  </a:lnTo>
                  <a:lnTo>
                    <a:pt x="5318407" y="10023917"/>
                  </a:lnTo>
                  <a:lnTo>
                    <a:pt x="5347379" y="9997089"/>
                  </a:lnTo>
                  <a:lnTo>
                    <a:pt x="5424506" y="9968150"/>
                  </a:lnTo>
                  <a:lnTo>
                    <a:pt x="5399769" y="9944198"/>
                  </a:lnTo>
                  <a:lnTo>
                    <a:pt x="5364401" y="9924987"/>
                  </a:lnTo>
                  <a:lnTo>
                    <a:pt x="5334731" y="9908302"/>
                  </a:lnTo>
                  <a:lnTo>
                    <a:pt x="5334908" y="9883471"/>
                  </a:lnTo>
                  <a:lnTo>
                    <a:pt x="5373507" y="9818103"/>
                  </a:lnTo>
                  <a:lnTo>
                    <a:pt x="5403958" y="9761162"/>
                  </a:lnTo>
                  <a:lnTo>
                    <a:pt x="5444932" y="9713792"/>
                  </a:lnTo>
                  <a:lnTo>
                    <a:pt x="5460048" y="9696321"/>
                  </a:lnTo>
                  <a:lnTo>
                    <a:pt x="5479107" y="9682525"/>
                  </a:lnTo>
                  <a:lnTo>
                    <a:pt x="5493897" y="9664824"/>
                  </a:lnTo>
                  <a:lnTo>
                    <a:pt x="5536607" y="9613668"/>
                  </a:lnTo>
                  <a:lnTo>
                    <a:pt x="5575386" y="9558600"/>
                  </a:lnTo>
                  <a:lnTo>
                    <a:pt x="5617678" y="9507041"/>
                  </a:lnTo>
                  <a:lnTo>
                    <a:pt x="5652234" y="9464959"/>
                  </a:lnTo>
                  <a:lnTo>
                    <a:pt x="5703028" y="9447154"/>
                  </a:lnTo>
                  <a:lnTo>
                    <a:pt x="5737376" y="9407748"/>
                  </a:lnTo>
                  <a:lnTo>
                    <a:pt x="5803766" y="9424414"/>
                  </a:lnTo>
                  <a:lnTo>
                    <a:pt x="5844161" y="9458674"/>
                  </a:lnTo>
                  <a:lnTo>
                    <a:pt x="5888353" y="9483919"/>
                  </a:lnTo>
                  <a:lnTo>
                    <a:pt x="5914553" y="9494016"/>
                  </a:lnTo>
                  <a:lnTo>
                    <a:pt x="5963843" y="9519731"/>
                  </a:lnTo>
                  <a:lnTo>
                    <a:pt x="5997181" y="9550231"/>
                  </a:lnTo>
                  <a:lnTo>
                    <a:pt x="6029814" y="9576412"/>
                  </a:lnTo>
                  <a:lnTo>
                    <a:pt x="6051602" y="9608313"/>
                  </a:lnTo>
                  <a:lnTo>
                    <a:pt x="6065183" y="9629462"/>
                  </a:lnTo>
                  <a:lnTo>
                    <a:pt x="6078748" y="9650619"/>
                  </a:lnTo>
                  <a:lnTo>
                    <a:pt x="6093618" y="9669942"/>
                  </a:lnTo>
                  <a:lnTo>
                    <a:pt x="6301854" y="9655308"/>
                  </a:lnTo>
                  <a:lnTo>
                    <a:pt x="6329058" y="9634903"/>
                  </a:lnTo>
                  <a:lnTo>
                    <a:pt x="6361701" y="9556015"/>
                  </a:lnTo>
                  <a:lnTo>
                    <a:pt x="6436456" y="9554347"/>
                  </a:lnTo>
                  <a:lnTo>
                    <a:pt x="6490921" y="9551940"/>
                  </a:lnTo>
                  <a:lnTo>
                    <a:pt x="6535365" y="9549961"/>
                  </a:lnTo>
                  <a:lnTo>
                    <a:pt x="6577356" y="9538261"/>
                  </a:lnTo>
                  <a:lnTo>
                    <a:pt x="6599739" y="9528811"/>
                  </a:lnTo>
                  <a:lnTo>
                    <a:pt x="6582026" y="9485311"/>
                  </a:lnTo>
                  <a:lnTo>
                    <a:pt x="6568451" y="9462164"/>
                  </a:lnTo>
                  <a:lnTo>
                    <a:pt x="6553773" y="9437109"/>
                  </a:lnTo>
                  <a:lnTo>
                    <a:pt x="6539963" y="9412635"/>
                  </a:lnTo>
                  <a:lnTo>
                    <a:pt x="6546688" y="9311179"/>
                  </a:lnTo>
                  <a:lnTo>
                    <a:pt x="6551556" y="9241610"/>
                  </a:lnTo>
                  <a:lnTo>
                    <a:pt x="6560914" y="9200246"/>
                  </a:lnTo>
                  <a:lnTo>
                    <a:pt x="6561652" y="9158844"/>
                  </a:lnTo>
                  <a:lnTo>
                    <a:pt x="6562393" y="9117434"/>
                  </a:lnTo>
                  <a:lnTo>
                    <a:pt x="6554399" y="9076507"/>
                  </a:lnTo>
                  <a:lnTo>
                    <a:pt x="6529009" y="9005136"/>
                  </a:lnTo>
                  <a:lnTo>
                    <a:pt x="6508511" y="8947524"/>
                  </a:lnTo>
                  <a:lnTo>
                    <a:pt x="6497832" y="8892944"/>
                  </a:lnTo>
                  <a:lnTo>
                    <a:pt x="6485483" y="8832390"/>
                  </a:lnTo>
                  <a:lnTo>
                    <a:pt x="6477567" y="8796276"/>
                  </a:lnTo>
                  <a:lnTo>
                    <a:pt x="6474349" y="8759693"/>
                  </a:lnTo>
                  <a:lnTo>
                    <a:pt x="6478702" y="8726297"/>
                  </a:lnTo>
                  <a:lnTo>
                    <a:pt x="6489200" y="8697292"/>
                  </a:lnTo>
                  <a:lnTo>
                    <a:pt x="6514461" y="8679123"/>
                  </a:lnTo>
                  <a:lnTo>
                    <a:pt x="6557590" y="8675971"/>
                  </a:lnTo>
                  <a:lnTo>
                    <a:pt x="6607547" y="8674599"/>
                  </a:lnTo>
                  <a:lnTo>
                    <a:pt x="6665338" y="8705464"/>
                  </a:lnTo>
                  <a:lnTo>
                    <a:pt x="6699181" y="8732886"/>
                  </a:lnTo>
                  <a:lnTo>
                    <a:pt x="6746661" y="8749420"/>
                  </a:lnTo>
                  <a:lnTo>
                    <a:pt x="6802849" y="8768973"/>
                  </a:lnTo>
                  <a:lnTo>
                    <a:pt x="6878299" y="8763552"/>
                  </a:lnTo>
                  <a:lnTo>
                    <a:pt x="6937086" y="8767099"/>
                  </a:lnTo>
                  <a:lnTo>
                    <a:pt x="6983893" y="8742237"/>
                  </a:lnTo>
                  <a:lnTo>
                    <a:pt x="6998903" y="8708010"/>
                  </a:lnTo>
                  <a:lnTo>
                    <a:pt x="7022780" y="8682771"/>
                  </a:lnTo>
                  <a:lnTo>
                    <a:pt x="7053578" y="8650212"/>
                  </a:lnTo>
                  <a:lnTo>
                    <a:pt x="7083970" y="8632334"/>
                  </a:lnTo>
                  <a:lnTo>
                    <a:pt x="7113916" y="8622922"/>
                  </a:lnTo>
                  <a:lnTo>
                    <a:pt x="7143858" y="8613518"/>
                  </a:lnTo>
                  <a:lnTo>
                    <a:pt x="7173751" y="8613603"/>
                  </a:lnTo>
                  <a:lnTo>
                    <a:pt x="7203687" y="8620198"/>
                  </a:lnTo>
                  <a:lnTo>
                    <a:pt x="7233620" y="8626799"/>
                  </a:lnTo>
                  <a:lnTo>
                    <a:pt x="7264049" y="8638763"/>
                  </a:lnTo>
                  <a:lnTo>
                    <a:pt x="7294819" y="8654208"/>
                  </a:lnTo>
                  <a:lnTo>
                    <a:pt x="7325571" y="8669654"/>
                  </a:lnTo>
                  <a:lnTo>
                    <a:pt x="7356211" y="8688772"/>
                  </a:lnTo>
                  <a:lnTo>
                    <a:pt x="7388674" y="8705892"/>
                  </a:lnTo>
                  <a:lnTo>
                    <a:pt x="7423984" y="8724523"/>
                  </a:lnTo>
                  <a:lnTo>
                    <a:pt x="7491173" y="8762812"/>
                  </a:lnTo>
                  <a:lnTo>
                    <a:pt x="7526049" y="8775264"/>
                  </a:lnTo>
                  <a:lnTo>
                    <a:pt x="7553253" y="8786146"/>
                  </a:lnTo>
                  <a:lnTo>
                    <a:pt x="7579354" y="8806036"/>
                  </a:lnTo>
                  <a:lnTo>
                    <a:pt x="7605728" y="8836346"/>
                  </a:lnTo>
                  <a:lnTo>
                    <a:pt x="7629428" y="8859593"/>
                  </a:lnTo>
                  <a:lnTo>
                    <a:pt x="7663671" y="8844576"/>
                  </a:lnTo>
                  <a:lnTo>
                    <a:pt x="7678393" y="8816073"/>
                  </a:lnTo>
                  <a:lnTo>
                    <a:pt x="7686746" y="8784338"/>
                  </a:lnTo>
                  <a:lnTo>
                    <a:pt x="7677345" y="8745291"/>
                  </a:lnTo>
                  <a:lnTo>
                    <a:pt x="7648832" y="8736585"/>
                  </a:lnTo>
                  <a:lnTo>
                    <a:pt x="7621268" y="8727663"/>
                  </a:lnTo>
                  <a:lnTo>
                    <a:pt x="7593319" y="8719300"/>
                  </a:lnTo>
                  <a:lnTo>
                    <a:pt x="7570325" y="8706097"/>
                  </a:lnTo>
                  <a:lnTo>
                    <a:pt x="7555982" y="8685495"/>
                  </a:lnTo>
                  <a:lnTo>
                    <a:pt x="7555982" y="8646044"/>
                  </a:lnTo>
                  <a:lnTo>
                    <a:pt x="7578895" y="8601653"/>
                  </a:lnTo>
                  <a:lnTo>
                    <a:pt x="7594063" y="8578038"/>
                  </a:lnTo>
                  <a:lnTo>
                    <a:pt x="7609213" y="8554427"/>
                  </a:lnTo>
                  <a:lnTo>
                    <a:pt x="7627134" y="8534313"/>
                  </a:lnTo>
                  <a:lnTo>
                    <a:pt x="7649830" y="8534510"/>
                  </a:lnTo>
                  <a:lnTo>
                    <a:pt x="7689195" y="8556565"/>
                  </a:lnTo>
                  <a:lnTo>
                    <a:pt x="7713764" y="8568514"/>
                  </a:lnTo>
                  <a:lnTo>
                    <a:pt x="7738315" y="8580470"/>
                  </a:lnTo>
                  <a:lnTo>
                    <a:pt x="7762884" y="8587732"/>
                  </a:lnTo>
                  <a:lnTo>
                    <a:pt x="7799713" y="8557540"/>
                  </a:lnTo>
                  <a:lnTo>
                    <a:pt x="7803843" y="8529869"/>
                  </a:lnTo>
                  <a:lnTo>
                    <a:pt x="7806255" y="8500508"/>
                  </a:lnTo>
                  <a:lnTo>
                    <a:pt x="7808648" y="8471140"/>
                  </a:lnTo>
                  <a:lnTo>
                    <a:pt x="7810261" y="8440190"/>
                  </a:lnTo>
                  <a:lnTo>
                    <a:pt x="7826663" y="8416178"/>
                  </a:lnTo>
                  <a:lnTo>
                    <a:pt x="7842556" y="8402066"/>
                  </a:lnTo>
                  <a:lnTo>
                    <a:pt x="7882430" y="8394409"/>
                  </a:lnTo>
                  <a:lnTo>
                    <a:pt x="7903297" y="8391263"/>
                  </a:lnTo>
                  <a:lnTo>
                    <a:pt x="7930036" y="8401214"/>
                  </a:lnTo>
                  <a:lnTo>
                    <a:pt x="7949601" y="8418051"/>
                  </a:lnTo>
                  <a:lnTo>
                    <a:pt x="7964868" y="8441503"/>
                  </a:lnTo>
                  <a:lnTo>
                    <a:pt x="7980359" y="8466503"/>
                  </a:lnTo>
                  <a:lnTo>
                    <a:pt x="7999917" y="8489962"/>
                  </a:lnTo>
                  <a:lnTo>
                    <a:pt x="8025789" y="8503969"/>
                  </a:lnTo>
                  <a:lnTo>
                    <a:pt x="8053812" y="8507307"/>
                  </a:lnTo>
                  <a:lnTo>
                    <a:pt x="8083205" y="8507175"/>
                  </a:lnTo>
                  <a:lnTo>
                    <a:pt x="8114193" y="8501979"/>
                  </a:lnTo>
                  <a:lnTo>
                    <a:pt x="8144944" y="8493702"/>
                  </a:lnTo>
                  <a:lnTo>
                    <a:pt x="8171746" y="8485873"/>
                  </a:lnTo>
                  <a:lnTo>
                    <a:pt x="8196898" y="8479061"/>
                  </a:lnTo>
                  <a:lnTo>
                    <a:pt x="8200711" y="8442017"/>
                  </a:lnTo>
                  <a:lnTo>
                    <a:pt x="8200711" y="8420037"/>
                  </a:lnTo>
                  <a:lnTo>
                    <a:pt x="8197183" y="8391105"/>
                  </a:lnTo>
                  <a:lnTo>
                    <a:pt x="8193909" y="8363122"/>
                  </a:lnTo>
                  <a:lnTo>
                    <a:pt x="8190647" y="8335147"/>
                  </a:lnTo>
                  <a:lnTo>
                    <a:pt x="8187925" y="8307349"/>
                  </a:lnTo>
                  <a:lnTo>
                    <a:pt x="8192557" y="8285592"/>
                  </a:lnTo>
                  <a:lnTo>
                    <a:pt x="8198448" y="8265420"/>
                  </a:lnTo>
                  <a:lnTo>
                    <a:pt x="8220245" y="8246439"/>
                  </a:lnTo>
                  <a:lnTo>
                    <a:pt x="8275528" y="8255665"/>
                  </a:lnTo>
                  <a:lnTo>
                    <a:pt x="8298479" y="8212462"/>
                  </a:lnTo>
                  <a:lnTo>
                    <a:pt x="8311278" y="8159564"/>
                  </a:lnTo>
                  <a:lnTo>
                    <a:pt x="8324499" y="8112846"/>
                  </a:lnTo>
                  <a:lnTo>
                    <a:pt x="8403434" y="8076738"/>
                  </a:lnTo>
                  <a:lnTo>
                    <a:pt x="8454966" y="8014529"/>
                  </a:lnTo>
                  <a:lnTo>
                    <a:pt x="8494523" y="7997231"/>
                  </a:lnTo>
                  <a:lnTo>
                    <a:pt x="8537578" y="8004854"/>
                  </a:lnTo>
                  <a:lnTo>
                    <a:pt x="8566618" y="8006753"/>
                  </a:lnTo>
                  <a:lnTo>
                    <a:pt x="8595639" y="8008640"/>
                  </a:lnTo>
                  <a:lnTo>
                    <a:pt x="8624233" y="8007347"/>
                  </a:lnTo>
                  <a:lnTo>
                    <a:pt x="8655524" y="7986514"/>
                  </a:lnTo>
                  <a:lnTo>
                    <a:pt x="8668627" y="7960503"/>
                  </a:lnTo>
                  <a:lnTo>
                    <a:pt x="8671021" y="7935113"/>
                  </a:lnTo>
                  <a:lnTo>
                    <a:pt x="8660820" y="7909723"/>
                  </a:lnTo>
                  <a:lnTo>
                    <a:pt x="8644163" y="7884333"/>
                  </a:lnTo>
                  <a:lnTo>
                    <a:pt x="8628791" y="7857400"/>
                  </a:lnTo>
                  <a:lnTo>
                    <a:pt x="8624344" y="7813391"/>
                  </a:lnTo>
                  <a:lnTo>
                    <a:pt x="8641422" y="7786503"/>
                  </a:lnTo>
                  <a:lnTo>
                    <a:pt x="8644163" y="7756471"/>
                  </a:lnTo>
                  <a:lnTo>
                    <a:pt x="8621473" y="7736370"/>
                  </a:lnTo>
                  <a:lnTo>
                    <a:pt x="8593394" y="7722171"/>
                  </a:lnTo>
                  <a:lnTo>
                    <a:pt x="8578877" y="7695264"/>
                  </a:lnTo>
                  <a:lnTo>
                    <a:pt x="8635327" y="7587707"/>
                  </a:lnTo>
                  <a:lnTo>
                    <a:pt x="8652640" y="7555900"/>
                  </a:lnTo>
                  <a:lnTo>
                    <a:pt x="8675442" y="7540203"/>
                  </a:lnTo>
                  <a:lnTo>
                    <a:pt x="8702591" y="7531221"/>
                  </a:lnTo>
                  <a:lnTo>
                    <a:pt x="8729913" y="7527423"/>
                  </a:lnTo>
                  <a:lnTo>
                    <a:pt x="8755698" y="7522522"/>
                  </a:lnTo>
                  <a:lnTo>
                    <a:pt x="8776837" y="7514517"/>
                  </a:lnTo>
                  <a:lnTo>
                    <a:pt x="8800923" y="7483145"/>
                  </a:lnTo>
                  <a:lnTo>
                    <a:pt x="8804662" y="7447710"/>
                  </a:lnTo>
                  <a:lnTo>
                    <a:pt x="8799658" y="7413549"/>
                  </a:lnTo>
                  <a:lnTo>
                    <a:pt x="8798759" y="7378497"/>
                  </a:lnTo>
                  <a:lnTo>
                    <a:pt x="8819619" y="7337535"/>
                  </a:lnTo>
                  <a:lnTo>
                    <a:pt x="8836741" y="7315812"/>
                  </a:lnTo>
                  <a:lnTo>
                    <a:pt x="8867083" y="7291470"/>
                  </a:lnTo>
                  <a:lnTo>
                    <a:pt x="8918919" y="7261365"/>
                  </a:lnTo>
                  <a:lnTo>
                    <a:pt x="8954960" y="7240433"/>
                  </a:lnTo>
                  <a:lnTo>
                    <a:pt x="8991584" y="7225739"/>
                  </a:lnTo>
                  <a:lnTo>
                    <a:pt x="9027737" y="7206957"/>
                  </a:lnTo>
                  <a:lnTo>
                    <a:pt x="9057323" y="7191611"/>
                  </a:lnTo>
                  <a:lnTo>
                    <a:pt x="9079430" y="7161788"/>
                  </a:lnTo>
                  <a:lnTo>
                    <a:pt x="9105270" y="7141666"/>
                  </a:lnTo>
                  <a:lnTo>
                    <a:pt x="9132003" y="7120900"/>
                  </a:lnTo>
                  <a:lnTo>
                    <a:pt x="9172019" y="7118987"/>
                  </a:lnTo>
                  <a:lnTo>
                    <a:pt x="9201835" y="7102222"/>
                  </a:lnTo>
                  <a:lnTo>
                    <a:pt x="9261651" y="7068576"/>
                  </a:lnTo>
                  <a:lnTo>
                    <a:pt x="9319837" y="7031532"/>
                  </a:lnTo>
                  <a:lnTo>
                    <a:pt x="9378674" y="6996125"/>
                  </a:lnTo>
                  <a:lnTo>
                    <a:pt x="9420166" y="6975106"/>
                  </a:lnTo>
                  <a:lnTo>
                    <a:pt x="9501041" y="6927247"/>
                  </a:lnTo>
                  <a:lnTo>
                    <a:pt x="9575902" y="6879145"/>
                  </a:lnTo>
                  <a:lnTo>
                    <a:pt x="9650750" y="6831040"/>
                  </a:lnTo>
                  <a:lnTo>
                    <a:pt x="9719936" y="6782687"/>
                  </a:lnTo>
                  <a:lnTo>
                    <a:pt x="9697346" y="6726083"/>
                  </a:lnTo>
                  <a:lnTo>
                    <a:pt x="9669112" y="6681448"/>
                  </a:lnTo>
                  <a:lnTo>
                    <a:pt x="9637107" y="6642472"/>
                  </a:lnTo>
                  <a:lnTo>
                    <a:pt x="9614126" y="6634142"/>
                  </a:lnTo>
                  <a:lnTo>
                    <a:pt x="9582785" y="6645401"/>
                  </a:lnTo>
                  <a:lnTo>
                    <a:pt x="9559574" y="6647914"/>
                  </a:lnTo>
                  <a:lnTo>
                    <a:pt x="9525579" y="6648684"/>
                  </a:lnTo>
                  <a:lnTo>
                    <a:pt x="9502443" y="6646554"/>
                  </a:lnTo>
                  <a:lnTo>
                    <a:pt x="9479325" y="6644424"/>
                  </a:lnTo>
                  <a:lnTo>
                    <a:pt x="9454266" y="6640771"/>
                  </a:lnTo>
                  <a:lnTo>
                    <a:pt x="9428996" y="6635673"/>
                  </a:lnTo>
                  <a:lnTo>
                    <a:pt x="9403726" y="6630575"/>
                  </a:lnTo>
                  <a:lnTo>
                    <a:pt x="9378264" y="6624066"/>
                  </a:lnTo>
                  <a:lnTo>
                    <a:pt x="9358265" y="6616633"/>
                  </a:lnTo>
                  <a:lnTo>
                    <a:pt x="9338261" y="6609195"/>
                  </a:lnTo>
                  <a:lnTo>
                    <a:pt x="9316098" y="6592147"/>
                  </a:lnTo>
                  <a:lnTo>
                    <a:pt x="9347810" y="6567258"/>
                  </a:lnTo>
                  <a:lnTo>
                    <a:pt x="9439755" y="6413681"/>
                  </a:lnTo>
                  <a:lnTo>
                    <a:pt x="9449404" y="6381314"/>
                  </a:lnTo>
                  <a:lnTo>
                    <a:pt x="9492955" y="6366272"/>
                  </a:lnTo>
                  <a:lnTo>
                    <a:pt x="9535470" y="6374172"/>
                  </a:lnTo>
                  <a:lnTo>
                    <a:pt x="9579982" y="6371791"/>
                  </a:lnTo>
                  <a:lnTo>
                    <a:pt x="9617599" y="6364075"/>
                  </a:lnTo>
                  <a:lnTo>
                    <a:pt x="9688075" y="6362334"/>
                  </a:lnTo>
                  <a:lnTo>
                    <a:pt x="9767220" y="6357843"/>
                  </a:lnTo>
                  <a:lnTo>
                    <a:pt x="9818014" y="6366351"/>
                  </a:lnTo>
                  <a:lnTo>
                    <a:pt x="9855618" y="6372655"/>
                  </a:lnTo>
                  <a:lnTo>
                    <a:pt x="9897216" y="6384493"/>
                  </a:lnTo>
                  <a:lnTo>
                    <a:pt x="9940425" y="6398996"/>
                  </a:lnTo>
                  <a:lnTo>
                    <a:pt x="9983641" y="6413497"/>
                  </a:lnTo>
                  <a:lnTo>
                    <a:pt x="10028606" y="6430947"/>
                  </a:lnTo>
                  <a:lnTo>
                    <a:pt x="10073726" y="6446603"/>
                  </a:lnTo>
                  <a:lnTo>
                    <a:pt x="10118858" y="6462254"/>
                  </a:lnTo>
                  <a:lnTo>
                    <a:pt x="10163674" y="6476301"/>
                  </a:lnTo>
                  <a:lnTo>
                    <a:pt x="10207032" y="6486048"/>
                  </a:lnTo>
                  <a:lnTo>
                    <a:pt x="10250385" y="6495788"/>
                  </a:lnTo>
                  <a:lnTo>
                    <a:pt x="10291536" y="6501513"/>
                  </a:lnTo>
                  <a:lnTo>
                    <a:pt x="10329443" y="6498289"/>
                  </a:lnTo>
                  <a:lnTo>
                    <a:pt x="10500838" y="6483331"/>
                  </a:lnTo>
                  <a:lnTo>
                    <a:pt x="10517587" y="6442660"/>
                  </a:lnTo>
                  <a:lnTo>
                    <a:pt x="10521239" y="6418035"/>
                  </a:lnTo>
                  <a:lnTo>
                    <a:pt x="10524855" y="6393416"/>
                  </a:lnTo>
                  <a:lnTo>
                    <a:pt x="10528389" y="6369049"/>
                  </a:lnTo>
                  <a:lnTo>
                    <a:pt x="10540444" y="6335810"/>
                  </a:lnTo>
                  <a:lnTo>
                    <a:pt x="10561789" y="6300850"/>
                  </a:lnTo>
                  <a:lnTo>
                    <a:pt x="10601991" y="6286032"/>
                  </a:lnTo>
                  <a:lnTo>
                    <a:pt x="10655582" y="6263463"/>
                  </a:lnTo>
                  <a:lnTo>
                    <a:pt x="10701080" y="6233753"/>
                  </a:lnTo>
                  <a:lnTo>
                    <a:pt x="10745672" y="6208567"/>
                  </a:lnTo>
                  <a:lnTo>
                    <a:pt x="10738870" y="6150077"/>
                  </a:lnTo>
                  <a:lnTo>
                    <a:pt x="10752332" y="6131723"/>
                  </a:lnTo>
                  <a:lnTo>
                    <a:pt x="10774706" y="6116971"/>
                  </a:lnTo>
                  <a:lnTo>
                    <a:pt x="10794637" y="6101110"/>
                  </a:lnTo>
                  <a:lnTo>
                    <a:pt x="10814561" y="6085257"/>
                  </a:lnTo>
                  <a:lnTo>
                    <a:pt x="10831459" y="6068703"/>
                  </a:lnTo>
                  <a:lnTo>
                    <a:pt x="10832724" y="6045344"/>
                  </a:lnTo>
                  <a:lnTo>
                    <a:pt x="10825922" y="6019498"/>
                  </a:lnTo>
                  <a:lnTo>
                    <a:pt x="10819119" y="5993653"/>
                  </a:lnTo>
                  <a:lnTo>
                    <a:pt x="10802797" y="5973254"/>
                  </a:lnTo>
                  <a:lnTo>
                    <a:pt x="10786476" y="5952851"/>
                  </a:lnTo>
                  <a:lnTo>
                    <a:pt x="10765733" y="5940036"/>
                  </a:lnTo>
                  <a:lnTo>
                    <a:pt x="10743359" y="5939041"/>
                  </a:lnTo>
                  <a:lnTo>
                    <a:pt x="10721184" y="5937886"/>
                  </a:lnTo>
                  <a:lnTo>
                    <a:pt x="10699002" y="5936732"/>
                  </a:lnTo>
                  <a:lnTo>
                    <a:pt x="10677813" y="5935974"/>
                  </a:lnTo>
                  <a:lnTo>
                    <a:pt x="10645412" y="5913841"/>
                  </a:lnTo>
                  <a:lnTo>
                    <a:pt x="10631416" y="5880760"/>
                  </a:lnTo>
                  <a:lnTo>
                    <a:pt x="10628017" y="5844370"/>
                  </a:lnTo>
                  <a:lnTo>
                    <a:pt x="10638206" y="5786230"/>
                  </a:lnTo>
                  <a:lnTo>
                    <a:pt x="10655321" y="5746206"/>
                  </a:lnTo>
                  <a:lnTo>
                    <a:pt x="10662701" y="5717538"/>
                  </a:lnTo>
                  <a:lnTo>
                    <a:pt x="10671376" y="5683831"/>
                  </a:lnTo>
                  <a:lnTo>
                    <a:pt x="10676938" y="5629449"/>
                  </a:lnTo>
                  <a:lnTo>
                    <a:pt x="10674942" y="5574711"/>
                  </a:lnTo>
                  <a:lnTo>
                    <a:pt x="10673937" y="5547350"/>
                  </a:lnTo>
                  <a:lnTo>
                    <a:pt x="10671023" y="5519981"/>
                  </a:lnTo>
                  <a:lnTo>
                    <a:pt x="10665411" y="5495823"/>
                  </a:lnTo>
                  <a:lnTo>
                    <a:pt x="10659811" y="5471666"/>
                  </a:lnTo>
                  <a:lnTo>
                    <a:pt x="10651092" y="5449903"/>
                  </a:lnTo>
                  <a:lnTo>
                    <a:pt x="10619906" y="5408499"/>
                  </a:lnTo>
                  <a:lnTo>
                    <a:pt x="10590345" y="5382265"/>
                  </a:lnTo>
                  <a:lnTo>
                    <a:pt x="10567482" y="5358445"/>
                  </a:lnTo>
                  <a:lnTo>
                    <a:pt x="10621562" y="5261764"/>
                  </a:lnTo>
                  <a:lnTo>
                    <a:pt x="10632768" y="5238747"/>
                  </a:lnTo>
                  <a:lnTo>
                    <a:pt x="10649089" y="5225123"/>
                  </a:lnTo>
                  <a:lnTo>
                    <a:pt x="10673193" y="5219009"/>
                  </a:lnTo>
                  <a:lnTo>
                    <a:pt x="10698053" y="5214260"/>
                  </a:lnTo>
                  <a:lnTo>
                    <a:pt x="10722945" y="5209512"/>
                  </a:lnTo>
                  <a:lnTo>
                    <a:pt x="10748407" y="5206208"/>
                  </a:lnTo>
                  <a:lnTo>
                    <a:pt x="10768784" y="5197939"/>
                  </a:lnTo>
                  <a:lnTo>
                    <a:pt x="10783382" y="5165412"/>
                  </a:lnTo>
                  <a:lnTo>
                    <a:pt x="10785106" y="5143530"/>
                  </a:lnTo>
                  <a:lnTo>
                    <a:pt x="10786854" y="5121649"/>
                  </a:lnTo>
                  <a:lnTo>
                    <a:pt x="10786203" y="5096700"/>
                  </a:lnTo>
                  <a:lnTo>
                    <a:pt x="10786464" y="5071441"/>
                  </a:lnTo>
                  <a:lnTo>
                    <a:pt x="10786929" y="5046184"/>
                  </a:lnTo>
                  <a:lnTo>
                    <a:pt x="10788591" y="5019784"/>
                  </a:lnTo>
                  <a:lnTo>
                    <a:pt x="10794624" y="4995270"/>
                  </a:lnTo>
                  <a:lnTo>
                    <a:pt x="10800670" y="4970757"/>
                  </a:lnTo>
                  <a:lnTo>
                    <a:pt x="10810909" y="4948262"/>
                  </a:lnTo>
                  <a:lnTo>
                    <a:pt x="10829996" y="4928622"/>
                  </a:lnTo>
                  <a:lnTo>
                    <a:pt x="10855706" y="4902157"/>
                  </a:lnTo>
                  <a:lnTo>
                    <a:pt x="10902977" y="4883776"/>
                  </a:lnTo>
                  <a:lnTo>
                    <a:pt x="10934727" y="4866050"/>
                  </a:lnTo>
                  <a:lnTo>
                    <a:pt x="10951533" y="4841174"/>
                  </a:lnTo>
                  <a:lnTo>
                    <a:pt x="10947861" y="4801155"/>
                  </a:lnTo>
                  <a:lnTo>
                    <a:pt x="10941170" y="4777645"/>
                  </a:lnTo>
                  <a:lnTo>
                    <a:pt x="10932005" y="4753152"/>
                  </a:lnTo>
                  <a:lnTo>
                    <a:pt x="10913693" y="4704172"/>
                  </a:lnTo>
                  <a:lnTo>
                    <a:pt x="10889118" y="4654049"/>
                  </a:lnTo>
                  <a:lnTo>
                    <a:pt x="10906462" y="4631648"/>
                  </a:lnTo>
                  <a:lnTo>
                    <a:pt x="10937444" y="4638895"/>
                  </a:lnTo>
                  <a:lnTo>
                    <a:pt x="10952109" y="4603012"/>
                  </a:lnTo>
                  <a:lnTo>
                    <a:pt x="10930647" y="4576328"/>
                  </a:lnTo>
                  <a:lnTo>
                    <a:pt x="10904317" y="4552594"/>
                  </a:lnTo>
                  <a:lnTo>
                    <a:pt x="10890352" y="4504431"/>
                  </a:lnTo>
                  <a:lnTo>
                    <a:pt x="10886309" y="4464492"/>
                  </a:lnTo>
                  <a:lnTo>
                    <a:pt x="10865355" y="4437585"/>
                  </a:lnTo>
                  <a:lnTo>
                    <a:pt x="10891784" y="4388579"/>
                  </a:lnTo>
                  <a:lnTo>
                    <a:pt x="10938163" y="4381311"/>
                  </a:lnTo>
                  <a:lnTo>
                    <a:pt x="10968722" y="4354615"/>
                  </a:lnTo>
                  <a:lnTo>
                    <a:pt x="10982334" y="4335207"/>
                  </a:lnTo>
                  <a:lnTo>
                    <a:pt x="10982315" y="4311458"/>
                  </a:lnTo>
                  <a:lnTo>
                    <a:pt x="10979630" y="4282526"/>
                  </a:lnTo>
                  <a:lnTo>
                    <a:pt x="10984765" y="4248548"/>
                  </a:lnTo>
                  <a:lnTo>
                    <a:pt x="10997303" y="4228119"/>
                  </a:lnTo>
                  <a:lnTo>
                    <a:pt x="11009879" y="4207687"/>
                  </a:lnTo>
                  <a:lnTo>
                    <a:pt x="11031273" y="4184810"/>
                  </a:lnTo>
                  <a:lnTo>
                    <a:pt x="11066682" y="4158746"/>
                  </a:lnTo>
                  <a:lnTo>
                    <a:pt x="11081360" y="4130171"/>
                  </a:lnTo>
                  <a:lnTo>
                    <a:pt x="11075624" y="4092870"/>
                  </a:lnTo>
                  <a:lnTo>
                    <a:pt x="11068034" y="4055371"/>
                  </a:lnTo>
                  <a:lnTo>
                    <a:pt x="11060462" y="4017873"/>
                  </a:lnTo>
                  <a:lnTo>
                    <a:pt x="11050478" y="3979563"/>
                  </a:lnTo>
                  <a:lnTo>
                    <a:pt x="11054435" y="3947914"/>
                  </a:lnTo>
                  <a:lnTo>
                    <a:pt x="11057870" y="3920572"/>
                  </a:lnTo>
                  <a:lnTo>
                    <a:pt x="11070663" y="3895755"/>
                  </a:lnTo>
                  <a:lnTo>
                    <a:pt x="11074837" y="3869026"/>
                  </a:lnTo>
                  <a:lnTo>
                    <a:pt x="11077181" y="3842843"/>
                  </a:lnTo>
                  <a:lnTo>
                    <a:pt x="11069783" y="3813595"/>
                  </a:lnTo>
                  <a:lnTo>
                    <a:pt x="11047645" y="3780614"/>
                  </a:lnTo>
                  <a:lnTo>
                    <a:pt x="11024372" y="3769021"/>
                  </a:lnTo>
                  <a:lnTo>
                    <a:pt x="10994749" y="3770444"/>
                  </a:lnTo>
                  <a:lnTo>
                    <a:pt x="10961957" y="3780614"/>
                  </a:lnTo>
                  <a:lnTo>
                    <a:pt x="10929562" y="3792596"/>
                  </a:lnTo>
                  <a:lnTo>
                    <a:pt x="10897471" y="3811611"/>
                  </a:lnTo>
                  <a:lnTo>
                    <a:pt x="10858186" y="3809836"/>
                  </a:lnTo>
                  <a:lnTo>
                    <a:pt x="10851551" y="3784907"/>
                  </a:lnTo>
                  <a:lnTo>
                    <a:pt x="10847694" y="3762927"/>
                  </a:lnTo>
                  <a:lnTo>
                    <a:pt x="10852605" y="3739020"/>
                  </a:lnTo>
                  <a:lnTo>
                    <a:pt x="10938361" y="3617964"/>
                  </a:lnTo>
                  <a:lnTo>
                    <a:pt x="10968251" y="3600250"/>
                  </a:lnTo>
                  <a:lnTo>
                    <a:pt x="10992969" y="3608460"/>
                  </a:lnTo>
                  <a:lnTo>
                    <a:pt x="11019076" y="3617390"/>
                  </a:lnTo>
                  <a:lnTo>
                    <a:pt x="11045214" y="3626287"/>
                  </a:lnTo>
                  <a:lnTo>
                    <a:pt x="11072300" y="3636944"/>
                  </a:lnTo>
                  <a:lnTo>
                    <a:pt x="11093291" y="3609411"/>
                  </a:lnTo>
                  <a:lnTo>
                    <a:pt x="11100658" y="3582846"/>
                  </a:lnTo>
                  <a:lnTo>
                    <a:pt x="11110208" y="3558901"/>
                  </a:lnTo>
                  <a:lnTo>
                    <a:pt x="11119758" y="3534947"/>
                  </a:lnTo>
                  <a:lnTo>
                    <a:pt x="11132396" y="3513376"/>
                  </a:lnTo>
                  <a:lnTo>
                    <a:pt x="11149660" y="3496328"/>
                  </a:lnTo>
                  <a:lnTo>
                    <a:pt x="11233438" y="3457648"/>
                  </a:lnTo>
                  <a:lnTo>
                    <a:pt x="11237828" y="3423058"/>
                  </a:lnTo>
                  <a:lnTo>
                    <a:pt x="11200032" y="3389971"/>
                  </a:lnTo>
                  <a:lnTo>
                    <a:pt x="11159185" y="3358950"/>
                  </a:lnTo>
                  <a:lnTo>
                    <a:pt x="11118326" y="3327927"/>
                  </a:lnTo>
                  <a:lnTo>
                    <a:pt x="11073807" y="3298659"/>
                  </a:lnTo>
                  <a:lnTo>
                    <a:pt x="11055811" y="3286860"/>
                  </a:lnTo>
                  <a:lnTo>
                    <a:pt x="11060239" y="3252197"/>
                  </a:lnTo>
                  <a:lnTo>
                    <a:pt x="11087115" y="3225653"/>
                  </a:lnTo>
                  <a:lnTo>
                    <a:pt x="11120843" y="3203884"/>
                  </a:lnTo>
                  <a:lnTo>
                    <a:pt x="11140160" y="3195726"/>
                  </a:lnTo>
                  <a:lnTo>
                    <a:pt x="11178793" y="3179417"/>
                  </a:lnTo>
                  <a:lnTo>
                    <a:pt x="11222065" y="3170131"/>
                  </a:lnTo>
                  <a:lnTo>
                    <a:pt x="11255781" y="3167163"/>
                  </a:lnTo>
                  <a:lnTo>
                    <a:pt x="11296876" y="3169056"/>
                  </a:lnTo>
                  <a:lnTo>
                    <a:pt x="11326536" y="3163892"/>
                  </a:lnTo>
                  <a:lnTo>
                    <a:pt x="11354516" y="3149205"/>
                  </a:lnTo>
                  <a:lnTo>
                    <a:pt x="11359154" y="3118196"/>
                  </a:lnTo>
                  <a:lnTo>
                    <a:pt x="11276176" y="3066512"/>
                  </a:lnTo>
                  <a:lnTo>
                    <a:pt x="11222586" y="2999343"/>
                  </a:lnTo>
                  <a:lnTo>
                    <a:pt x="11190489" y="2938650"/>
                  </a:lnTo>
                  <a:lnTo>
                    <a:pt x="11164053" y="2888687"/>
                  </a:lnTo>
                  <a:lnTo>
                    <a:pt x="11147477" y="2850180"/>
                  </a:lnTo>
                  <a:lnTo>
                    <a:pt x="11137438" y="2825752"/>
                  </a:lnTo>
                  <a:lnTo>
                    <a:pt x="11115678" y="2829827"/>
                  </a:lnTo>
                  <a:lnTo>
                    <a:pt x="11097229" y="2768257"/>
                  </a:lnTo>
                  <a:lnTo>
                    <a:pt x="11134083" y="2705500"/>
                  </a:lnTo>
                  <a:lnTo>
                    <a:pt x="11117036" y="2657087"/>
                  </a:lnTo>
                  <a:lnTo>
                    <a:pt x="11085118" y="2614879"/>
                  </a:lnTo>
                  <a:lnTo>
                    <a:pt x="11056890" y="2577492"/>
                  </a:lnTo>
                  <a:lnTo>
                    <a:pt x="11041084" y="2536348"/>
                  </a:lnTo>
                  <a:lnTo>
                    <a:pt x="11028626" y="2508820"/>
                  </a:lnTo>
                  <a:lnTo>
                    <a:pt x="11008900" y="2465149"/>
                  </a:lnTo>
                  <a:lnTo>
                    <a:pt x="10958403" y="2412060"/>
                  </a:lnTo>
                  <a:lnTo>
                    <a:pt x="10932049" y="2368724"/>
                  </a:lnTo>
                  <a:lnTo>
                    <a:pt x="10919987" y="2348788"/>
                  </a:lnTo>
                  <a:lnTo>
                    <a:pt x="10898420" y="2331826"/>
                  </a:lnTo>
                  <a:lnTo>
                    <a:pt x="10885806" y="2311593"/>
                  </a:lnTo>
                  <a:lnTo>
                    <a:pt x="10863278" y="2275526"/>
                  </a:lnTo>
                  <a:lnTo>
                    <a:pt x="10835137" y="2238080"/>
                  </a:lnTo>
                  <a:lnTo>
                    <a:pt x="10819150" y="2194619"/>
                  </a:lnTo>
                  <a:lnTo>
                    <a:pt x="10792752" y="2167626"/>
                  </a:lnTo>
                  <a:lnTo>
                    <a:pt x="10735719" y="2132429"/>
                  </a:lnTo>
                  <a:lnTo>
                    <a:pt x="10686067" y="2116661"/>
                  </a:lnTo>
                  <a:lnTo>
                    <a:pt x="10642330" y="2096684"/>
                  </a:lnTo>
                  <a:lnTo>
                    <a:pt x="10561187" y="2059615"/>
                  </a:lnTo>
                  <a:lnTo>
                    <a:pt x="10493173" y="2004508"/>
                  </a:lnTo>
                  <a:lnTo>
                    <a:pt x="10408372" y="1971546"/>
                  </a:lnTo>
                  <a:lnTo>
                    <a:pt x="10346825" y="1947594"/>
                  </a:lnTo>
                  <a:lnTo>
                    <a:pt x="10259934" y="1933606"/>
                  </a:lnTo>
                  <a:lnTo>
                    <a:pt x="10205705" y="1908974"/>
                  </a:lnTo>
                  <a:lnTo>
                    <a:pt x="10161665" y="1878453"/>
                  </a:lnTo>
                  <a:lnTo>
                    <a:pt x="10145858" y="1864089"/>
                  </a:lnTo>
                  <a:lnTo>
                    <a:pt x="10108874" y="1830613"/>
                  </a:lnTo>
                  <a:lnTo>
                    <a:pt x="10091269" y="1751745"/>
                  </a:lnTo>
                  <a:lnTo>
                    <a:pt x="10079208" y="1704948"/>
                  </a:lnTo>
                  <a:lnTo>
                    <a:pt x="10055662" y="1613536"/>
                  </a:lnTo>
                  <a:lnTo>
                    <a:pt x="9963878" y="1519024"/>
                  </a:lnTo>
                  <a:lnTo>
                    <a:pt x="9906461" y="1445148"/>
                  </a:lnTo>
                  <a:lnTo>
                    <a:pt x="9882271" y="1414080"/>
                  </a:lnTo>
                  <a:lnTo>
                    <a:pt x="9864535" y="1376119"/>
                  </a:lnTo>
                  <a:lnTo>
                    <a:pt x="9841176" y="1344490"/>
                  </a:lnTo>
                  <a:lnTo>
                    <a:pt x="9818634" y="1318968"/>
                  </a:lnTo>
                  <a:lnTo>
                    <a:pt x="9782891" y="1265285"/>
                  </a:lnTo>
                  <a:lnTo>
                    <a:pt x="9677775" y="1198763"/>
                  </a:lnTo>
                  <a:lnTo>
                    <a:pt x="9683387" y="1155427"/>
                  </a:lnTo>
                  <a:lnTo>
                    <a:pt x="9686171" y="1133532"/>
                  </a:lnTo>
                  <a:lnTo>
                    <a:pt x="9709953" y="1100274"/>
                  </a:lnTo>
                  <a:lnTo>
                    <a:pt x="9717394" y="1076533"/>
                  </a:lnTo>
                  <a:lnTo>
                    <a:pt x="9745839" y="985444"/>
                  </a:lnTo>
                  <a:lnTo>
                    <a:pt x="9735167" y="950292"/>
                  </a:lnTo>
                  <a:lnTo>
                    <a:pt x="9743240" y="864341"/>
                  </a:lnTo>
                  <a:lnTo>
                    <a:pt x="9746068" y="834203"/>
                  </a:lnTo>
                  <a:lnTo>
                    <a:pt x="9761038" y="806854"/>
                  </a:lnTo>
                  <a:lnTo>
                    <a:pt x="9765000" y="777289"/>
                  </a:lnTo>
                  <a:lnTo>
                    <a:pt x="9767828" y="755420"/>
                  </a:lnTo>
                  <a:lnTo>
                    <a:pt x="9759388" y="726304"/>
                  </a:lnTo>
                  <a:lnTo>
                    <a:pt x="9750037" y="706558"/>
                  </a:lnTo>
                  <a:lnTo>
                    <a:pt x="9716414" y="635848"/>
                  </a:lnTo>
                  <a:lnTo>
                    <a:pt x="9627620" y="643036"/>
                  </a:lnTo>
                  <a:lnTo>
                    <a:pt x="9562327" y="629028"/>
                  </a:lnTo>
                  <a:lnTo>
                    <a:pt x="9524631" y="620950"/>
                  </a:lnTo>
                  <a:lnTo>
                    <a:pt x="9485427" y="604904"/>
                  </a:lnTo>
                  <a:lnTo>
                    <a:pt x="9449435" y="592302"/>
                  </a:lnTo>
                  <a:lnTo>
                    <a:pt x="9405184" y="576830"/>
                  </a:lnTo>
                  <a:lnTo>
                    <a:pt x="9398127" y="541383"/>
                  </a:lnTo>
                  <a:lnTo>
                    <a:pt x="9369180" y="520213"/>
                  </a:lnTo>
                  <a:lnTo>
                    <a:pt x="9327185" y="499894"/>
                  </a:lnTo>
                  <a:lnTo>
                    <a:pt x="9311242" y="480426"/>
                  </a:lnTo>
                  <a:lnTo>
                    <a:pt x="9287950" y="447082"/>
                  </a:lnTo>
                  <a:lnTo>
                    <a:pt x="9194263" y="231765"/>
                  </a:lnTo>
                  <a:lnTo>
                    <a:pt x="9188279" y="210087"/>
                  </a:lnTo>
                  <a:lnTo>
                    <a:pt x="9175021" y="162393"/>
                  </a:lnTo>
                  <a:lnTo>
                    <a:pt x="9216792" y="34069"/>
                  </a:lnTo>
                  <a:lnTo>
                    <a:pt x="9171957" y="613"/>
                  </a:lnTo>
                  <a:lnTo>
                    <a:pt x="9113896" y="613"/>
                  </a:lnTo>
                  <a:lnTo>
                    <a:pt x="9053013" y="5414"/>
                  </a:lnTo>
                  <a:lnTo>
                    <a:pt x="8996489" y="16936"/>
                  </a:lnTo>
                  <a:lnTo>
                    <a:pt x="8973365" y="21631"/>
                  </a:lnTo>
                  <a:lnTo>
                    <a:pt x="8949261" y="33772"/>
                  </a:lnTo>
                  <a:lnTo>
                    <a:pt x="8925759" y="37340"/>
                  </a:lnTo>
                  <a:lnTo>
                    <a:pt x="8864417" y="46672"/>
                  </a:lnTo>
                  <a:lnTo>
                    <a:pt x="8719985" y="40935"/>
                  </a:lnTo>
                  <a:lnTo>
                    <a:pt x="8672763" y="61827"/>
                  </a:lnTo>
                  <a:lnTo>
                    <a:pt x="8632592" y="79574"/>
                  </a:lnTo>
                  <a:lnTo>
                    <a:pt x="8551828" y="203050"/>
                  </a:lnTo>
                  <a:lnTo>
                    <a:pt x="8514974" y="241374"/>
                  </a:lnTo>
                  <a:lnTo>
                    <a:pt x="8403180" y="357688"/>
                  </a:lnTo>
                  <a:lnTo>
                    <a:pt x="8250166" y="392845"/>
                  </a:lnTo>
                  <a:lnTo>
                    <a:pt x="8102838" y="442683"/>
                  </a:lnTo>
                  <a:lnTo>
                    <a:pt x="8062128" y="456473"/>
                  </a:lnTo>
                  <a:lnTo>
                    <a:pt x="8032573" y="479258"/>
                  </a:lnTo>
                  <a:lnTo>
                    <a:pt x="7984495" y="486209"/>
                  </a:lnTo>
                  <a:lnTo>
                    <a:pt x="7954450" y="491221"/>
                  </a:lnTo>
                  <a:lnTo>
                    <a:pt x="7919550" y="492883"/>
                  </a:lnTo>
                  <a:lnTo>
                    <a:pt x="7890647" y="501166"/>
                  </a:lnTo>
                  <a:lnTo>
                    <a:pt x="7844113" y="514514"/>
                  </a:lnTo>
                  <a:lnTo>
                    <a:pt x="7777785" y="552178"/>
                  </a:lnTo>
                  <a:lnTo>
                    <a:pt x="7727419" y="537894"/>
                  </a:lnTo>
                  <a:lnTo>
                    <a:pt x="7705945" y="524401"/>
                  </a:lnTo>
                  <a:lnTo>
                    <a:pt x="7657334" y="494387"/>
                  </a:lnTo>
                  <a:lnTo>
                    <a:pt x="7611885" y="481296"/>
                  </a:lnTo>
                  <a:lnTo>
                    <a:pt x="7565563" y="475328"/>
                  </a:lnTo>
                  <a:lnTo>
                    <a:pt x="7541198" y="475328"/>
                  </a:lnTo>
                  <a:lnTo>
                    <a:pt x="7514794" y="473139"/>
                  </a:lnTo>
                  <a:lnTo>
                    <a:pt x="7490752" y="475328"/>
                  </a:lnTo>
                  <a:lnTo>
                    <a:pt x="7445396" y="479450"/>
                  </a:lnTo>
                  <a:lnTo>
                    <a:pt x="7392519" y="502974"/>
                  </a:lnTo>
                  <a:lnTo>
                    <a:pt x="7346562" y="513414"/>
                  </a:lnTo>
                  <a:lnTo>
                    <a:pt x="7298881" y="524229"/>
                  </a:lnTo>
                  <a:lnTo>
                    <a:pt x="7249359" y="522079"/>
                  </a:lnTo>
                  <a:lnTo>
                    <a:pt x="7201020" y="533812"/>
                  </a:lnTo>
                  <a:lnTo>
                    <a:pt x="7172036" y="542016"/>
                  </a:lnTo>
                  <a:lnTo>
                    <a:pt x="7128808" y="561741"/>
                  </a:lnTo>
                  <a:lnTo>
                    <a:pt x="7099396" y="582337"/>
                  </a:lnTo>
                  <a:lnTo>
                    <a:pt x="7067726" y="596384"/>
                  </a:lnTo>
                  <a:lnTo>
                    <a:pt x="7013661" y="620403"/>
                  </a:lnTo>
                  <a:lnTo>
                    <a:pt x="6957379" y="641440"/>
                  </a:lnTo>
                  <a:lnTo>
                    <a:pt x="6899061" y="661674"/>
                  </a:lnTo>
                  <a:lnTo>
                    <a:pt x="6870882" y="687855"/>
                  </a:lnTo>
                  <a:lnTo>
                    <a:pt x="6781235" y="761560"/>
                  </a:lnTo>
                  <a:lnTo>
                    <a:pt x="6746719" y="777289"/>
                  </a:lnTo>
                  <a:lnTo>
                    <a:pt x="6662126" y="815862"/>
                  </a:lnTo>
                  <a:lnTo>
                    <a:pt x="6526534" y="887404"/>
                  </a:lnTo>
                  <a:lnTo>
                    <a:pt x="6463797" y="955477"/>
                  </a:lnTo>
                  <a:lnTo>
                    <a:pt x="6402973" y="1021465"/>
                  </a:lnTo>
                  <a:lnTo>
                    <a:pt x="6353156" y="1169349"/>
                  </a:lnTo>
                  <a:lnTo>
                    <a:pt x="6269288" y="1207178"/>
                  </a:lnTo>
                  <a:lnTo>
                    <a:pt x="6190214" y="1194087"/>
                  </a:lnTo>
                  <a:lnTo>
                    <a:pt x="6119669" y="1177190"/>
                  </a:lnTo>
                  <a:lnTo>
                    <a:pt x="6097649" y="1171894"/>
                  </a:lnTo>
                  <a:lnTo>
                    <a:pt x="6066665" y="1165841"/>
                  </a:lnTo>
                  <a:lnTo>
                    <a:pt x="6047575" y="1154062"/>
                  </a:lnTo>
                  <a:lnTo>
                    <a:pt x="6005881" y="1128388"/>
                  </a:lnTo>
                  <a:lnTo>
                    <a:pt x="5967493" y="1064885"/>
                  </a:lnTo>
                  <a:lnTo>
                    <a:pt x="5976844" y="1015325"/>
                  </a:lnTo>
                  <a:lnTo>
                    <a:pt x="5986031" y="966589"/>
                  </a:lnTo>
                  <a:lnTo>
                    <a:pt x="6053311" y="925549"/>
                  </a:lnTo>
                  <a:lnTo>
                    <a:pt x="6044855" y="873865"/>
                  </a:lnTo>
                  <a:lnTo>
                    <a:pt x="6025684" y="829277"/>
                  </a:lnTo>
                  <a:lnTo>
                    <a:pt x="5915558" y="822220"/>
                  </a:lnTo>
                  <a:lnTo>
                    <a:pt x="5878909" y="841220"/>
                  </a:lnTo>
                  <a:lnTo>
                    <a:pt x="5826373" y="810468"/>
                  </a:lnTo>
                  <a:lnTo>
                    <a:pt x="5699838" y="670537"/>
                  </a:lnTo>
                  <a:lnTo>
                    <a:pt x="5678028" y="757121"/>
                  </a:lnTo>
                  <a:lnTo>
                    <a:pt x="5560624" y="684795"/>
                  </a:lnTo>
                  <a:lnTo>
                    <a:pt x="5534186" y="668472"/>
                  </a:lnTo>
                  <a:lnTo>
                    <a:pt x="5517647" y="625435"/>
                  </a:lnTo>
                  <a:lnTo>
                    <a:pt x="5439748" y="635465"/>
                  </a:lnTo>
                  <a:lnTo>
                    <a:pt x="5434499" y="700267"/>
                  </a:lnTo>
                  <a:lnTo>
                    <a:pt x="5396042" y="740562"/>
                  </a:lnTo>
                  <a:lnTo>
                    <a:pt x="5363015" y="775040"/>
                  </a:lnTo>
                  <a:lnTo>
                    <a:pt x="5235627" y="839901"/>
                  </a:lnTo>
                  <a:lnTo>
                    <a:pt x="5187934" y="838496"/>
                  </a:lnTo>
                  <a:lnTo>
                    <a:pt x="5161706" y="837711"/>
                  </a:lnTo>
                  <a:lnTo>
                    <a:pt x="5127392" y="828129"/>
                  </a:lnTo>
                  <a:lnTo>
                    <a:pt x="5102240" y="815374"/>
                  </a:lnTo>
                  <a:lnTo>
                    <a:pt x="5046169" y="774103"/>
                  </a:lnTo>
                  <a:lnTo>
                    <a:pt x="5001455" y="739012"/>
                  </a:lnTo>
                  <a:lnTo>
                    <a:pt x="4983900" y="668472"/>
                  </a:lnTo>
                  <a:lnTo>
                    <a:pt x="4978117" y="645371"/>
                  </a:lnTo>
                  <a:lnTo>
                    <a:pt x="4984942" y="616129"/>
                  </a:lnTo>
                  <a:lnTo>
                    <a:pt x="4971662" y="595025"/>
                  </a:lnTo>
                  <a:lnTo>
                    <a:pt x="4957719" y="572959"/>
                  </a:lnTo>
                  <a:lnTo>
                    <a:pt x="4911641" y="562974"/>
                  </a:lnTo>
                  <a:lnTo>
                    <a:pt x="4891406" y="541976"/>
                  </a:lnTo>
                  <a:lnTo>
                    <a:pt x="4848482" y="497513"/>
                  </a:lnTo>
                  <a:lnTo>
                    <a:pt x="4760869" y="368023"/>
                  </a:lnTo>
                  <a:lnTo>
                    <a:pt x="4740423" y="312104"/>
                  </a:lnTo>
                  <a:lnTo>
                    <a:pt x="4727981" y="277863"/>
                  </a:lnTo>
                  <a:lnTo>
                    <a:pt x="4735028" y="208241"/>
                  </a:lnTo>
                  <a:lnTo>
                    <a:pt x="4709145" y="189683"/>
                  </a:lnTo>
                  <a:lnTo>
                    <a:pt x="4685041" y="186431"/>
                  </a:lnTo>
                  <a:lnTo>
                    <a:pt x="4646941" y="200373"/>
                  </a:lnTo>
                  <a:lnTo>
                    <a:pt x="4623451" y="207363"/>
                  </a:lnTo>
                  <a:lnTo>
                    <a:pt x="4647152" y="160672"/>
                  </a:lnTo>
                  <a:lnTo>
                    <a:pt x="4632889" y="121267"/>
                  </a:lnTo>
                  <a:lnTo>
                    <a:pt x="4589447" y="94472"/>
                  </a:lnTo>
                  <a:lnTo>
                    <a:pt x="4549526" y="69860"/>
                  </a:lnTo>
                  <a:lnTo>
                    <a:pt x="4127310" y="0"/>
                  </a:lnTo>
                  <a:lnTo>
                    <a:pt x="4068489" y="3337"/>
                  </a:lnTo>
                  <a:lnTo>
                    <a:pt x="4015354" y="6351"/>
                  </a:lnTo>
                  <a:lnTo>
                    <a:pt x="3963544" y="11113"/>
                  </a:lnTo>
                  <a:lnTo>
                    <a:pt x="3912065" y="21018"/>
                  </a:lnTo>
                  <a:lnTo>
                    <a:pt x="3877381" y="27712"/>
                  </a:lnTo>
                  <a:lnTo>
                    <a:pt x="3841030" y="17365"/>
                  </a:lnTo>
                  <a:lnTo>
                    <a:pt x="3807330" y="21018"/>
                  </a:lnTo>
                  <a:lnTo>
                    <a:pt x="3717134" y="30818"/>
                  </a:lnTo>
                  <a:lnTo>
                    <a:pt x="3628293" y="45294"/>
                  </a:lnTo>
                  <a:lnTo>
                    <a:pt x="3536649" y="59103"/>
                  </a:lnTo>
                  <a:lnTo>
                    <a:pt x="3327517" y="126075"/>
                  </a:lnTo>
                  <a:lnTo>
                    <a:pt x="3398158" y="197122"/>
                  </a:lnTo>
                  <a:lnTo>
                    <a:pt x="3339424" y="240009"/>
                  </a:lnTo>
                  <a:lnTo>
                    <a:pt x="3288332" y="277270"/>
                  </a:lnTo>
                  <a:lnTo>
                    <a:pt x="3199655" y="245469"/>
                  </a:lnTo>
                  <a:lnTo>
                    <a:pt x="3147637" y="297140"/>
                  </a:lnTo>
                  <a:lnTo>
                    <a:pt x="3103212" y="389442"/>
                  </a:lnTo>
                  <a:lnTo>
                    <a:pt x="3192732" y="456368"/>
                  </a:lnTo>
                  <a:lnTo>
                    <a:pt x="3036096" y="478045"/>
                  </a:lnTo>
                  <a:lnTo>
                    <a:pt x="2998412" y="482187"/>
                  </a:lnTo>
                  <a:close/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87" name="Zakarpattia¬0" descr="Zakarpattia¬0">
              <a:extLst>
                <a:ext uri="{FF2B5EF4-FFF2-40B4-BE49-F238E27FC236}">
                  <a16:creationId xmlns:a16="http://schemas.microsoft.com/office/drawing/2014/main" id="{363FCC99-E2FA-44CC-B757-D18DD2A4DA05}"/>
                </a:ext>
              </a:extLst>
            </p:cNvPr>
            <p:cNvSpPr/>
            <p:nvPr/>
          </p:nvSpPr>
          <p:spPr>
            <a:xfrm>
              <a:off x="877516" y="2671432"/>
              <a:ext cx="856980" cy="543075"/>
            </a:xfrm>
            <a:custGeom>
              <a:avLst/>
              <a:gdLst/>
              <a:ahLst/>
              <a:cxnLst/>
              <a:rect l="0" t="0" r="0" b="0"/>
              <a:pathLst>
                <a:path w="8745006" h="6290828">
                  <a:moveTo>
                    <a:pt x="8481235" y="6006520"/>
                  </a:moveTo>
                  <a:lnTo>
                    <a:pt x="8486544" y="5982080"/>
                  </a:lnTo>
                  <a:lnTo>
                    <a:pt x="8493172" y="5953529"/>
                  </a:lnTo>
                  <a:lnTo>
                    <a:pt x="8509382" y="5867908"/>
                  </a:lnTo>
                  <a:lnTo>
                    <a:pt x="8521523" y="5832757"/>
                  </a:lnTo>
                  <a:lnTo>
                    <a:pt x="8539614" y="5800238"/>
                  </a:lnTo>
                  <a:lnTo>
                    <a:pt x="8557703" y="5767718"/>
                  </a:lnTo>
                  <a:lnTo>
                    <a:pt x="8581729" y="5738569"/>
                  </a:lnTo>
                  <a:lnTo>
                    <a:pt x="8617143" y="5684622"/>
                  </a:lnTo>
                  <a:lnTo>
                    <a:pt x="8639348" y="5650798"/>
                  </a:lnTo>
                  <a:lnTo>
                    <a:pt x="8654464" y="5607937"/>
                  </a:lnTo>
                  <a:lnTo>
                    <a:pt x="8679716" y="5575807"/>
                  </a:lnTo>
                  <a:lnTo>
                    <a:pt x="8701393" y="5548174"/>
                  </a:lnTo>
                  <a:lnTo>
                    <a:pt x="8725853" y="5524928"/>
                  </a:lnTo>
                  <a:lnTo>
                    <a:pt x="8745005" y="5494195"/>
                  </a:lnTo>
                  <a:lnTo>
                    <a:pt x="8683527" y="5406620"/>
                  </a:lnTo>
                  <a:lnTo>
                    <a:pt x="8650909" y="5356519"/>
                  </a:lnTo>
                  <a:lnTo>
                    <a:pt x="8614426" y="5307850"/>
                  </a:lnTo>
                  <a:lnTo>
                    <a:pt x="8577943" y="5259172"/>
                  </a:lnTo>
                  <a:lnTo>
                    <a:pt x="8537490" y="5212527"/>
                  </a:lnTo>
                  <a:lnTo>
                    <a:pt x="8467524" y="5150065"/>
                  </a:lnTo>
                  <a:lnTo>
                    <a:pt x="8416296" y="5104324"/>
                  </a:lnTo>
                  <a:lnTo>
                    <a:pt x="8363899" y="5055093"/>
                  </a:lnTo>
                  <a:lnTo>
                    <a:pt x="8332864" y="4999082"/>
                  </a:lnTo>
                  <a:lnTo>
                    <a:pt x="8317346" y="4971073"/>
                  </a:lnTo>
                  <a:lnTo>
                    <a:pt x="8306952" y="4941205"/>
                  </a:lnTo>
                  <a:lnTo>
                    <a:pt x="8305659" y="4909306"/>
                  </a:lnTo>
                  <a:lnTo>
                    <a:pt x="8304373" y="4877412"/>
                  </a:lnTo>
                  <a:lnTo>
                    <a:pt x="8311080" y="4843957"/>
                  </a:lnTo>
                  <a:lnTo>
                    <a:pt x="8330146" y="4807289"/>
                  </a:lnTo>
                  <a:lnTo>
                    <a:pt x="8340599" y="4787188"/>
                  </a:lnTo>
                  <a:lnTo>
                    <a:pt x="8357396" y="4765280"/>
                  </a:lnTo>
                  <a:lnTo>
                    <a:pt x="8370949" y="4743365"/>
                  </a:lnTo>
                  <a:lnTo>
                    <a:pt x="8384501" y="4721443"/>
                  </a:lnTo>
                  <a:lnTo>
                    <a:pt x="8395284" y="4698969"/>
                  </a:lnTo>
                  <a:lnTo>
                    <a:pt x="8396795" y="4675352"/>
                  </a:lnTo>
                  <a:lnTo>
                    <a:pt x="8353987" y="4602286"/>
                  </a:lnTo>
                  <a:lnTo>
                    <a:pt x="8340751" y="4582436"/>
                  </a:lnTo>
                  <a:lnTo>
                    <a:pt x="8322470" y="4544350"/>
                  </a:lnTo>
                  <a:lnTo>
                    <a:pt x="8305046" y="4522415"/>
                  </a:lnTo>
                  <a:lnTo>
                    <a:pt x="8292061" y="4495806"/>
                  </a:lnTo>
                  <a:lnTo>
                    <a:pt x="8274162" y="4459078"/>
                  </a:lnTo>
                  <a:lnTo>
                    <a:pt x="8259713" y="4418791"/>
                  </a:lnTo>
                  <a:lnTo>
                    <a:pt x="8240370" y="4382908"/>
                  </a:lnTo>
                  <a:lnTo>
                    <a:pt x="7998785" y="4153971"/>
                  </a:lnTo>
                  <a:lnTo>
                    <a:pt x="7961953" y="4123154"/>
                  </a:lnTo>
                  <a:lnTo>
                    <a:pt x="7926122" y="4102241"/>
                  </a:lnTo>
                  <a:lnTo>
                    <a:pt x="7894876" y="4076864"/>
                  </a:lnTo>
                  <a:lnTo>
                    <a:pt x="7875098" y="4048816"/>
                  </a:lnTo>
                  <a:lnTo>
                    <a:pt x="7854812" y="4012419"/>
                  </a:lnTo>
                  <a:lnTo>
                    <a:pt x="7833668" y="3995252"/>
                  </a:lnTo>
                  <a:lnTo>
                    <a:pt x="7788296" y="3991598"/>
                  </a:lnTo>
                  <a:lnTo>
                    <a:pt x="7742923" y="3986884"/>
                  </a:lnTo>
                  <a:lnTo>
                    <a:pt x="7697649" y="3995252"/>
                  </a:lnTo>
                  <a:lnTo>
                    <a:pt x="7685686" y="3971920"/>
                  </a:lnTo>
                  <a:lnTo>
                    <a:pt x="7691074" y="3941457"/>
                  </a:lnTo>
                  <a:lnTo>
                    <a:pt x="7693573" y="3909564"/>
                  </a:lnTo>
                  <a:lnTo>
                    <a:pt x="7696264" y="3876735"/>
                  </a:lnTo>
                  <a:lnTo>
                    <a:pt x="7690883" y="3844454"/>
                  </a:lnTo>
                  <a:lnTo>
                    <a:pt x="7673169" y="3814347"/>
                  </a:lnTo>
                  <a:lnTo>
                    <a:pt x="7655020" y="3790883"/>
                  </a:lnTo>
                  <a:lnTo>
                    <a:pt x="7624756" y="3781789"/>
                  </a:lnTo>
                  <a:lnTo>
                    <a:pt x="7603803" y="3761297"/>
                  </a:lnTo>
                  <a:lnTo>
                    <a:pt x="7573513" y="3719474"/>
                  </a:lnTo>
                  <a:lnTo>
                    <a:pt x="7537149" y="3720495"/>
                  </a:lnTo>
                  <a:lnTo>
                    <a:pt x="7524453" y="3737583"/>
                  </a:lnTo>
                  <a:lnTo>
                    <a:pt x="7518234" y="3760256"/>
                  </a:lnTo>
                  <a:lnTo>
                    <a:pt x="7508586" y="3785784"/>
                  </a:lnTo>
                  <a:lnTo>
                    <a:pt x="7498945" y="3811307"/>
                  </a:lnTo>
                  <a:lnTo>
                    <a:pt x="7485623" y="3839170"/>
                  </a:lnTo>
                  <a:lnTo>
                    <a:pt x="7460977" y="3866038"/>
                  </a:lnTo>
                  <a:lnTo>
                    <a:pt x="7438291" y="3890730"/>
                  </a:lnTo>
                  <a:lnTo>
                    <a:pt x="7398972" y="3905081"/>
                  </a:lnTo>
                  <a:lnTo>
                    <a:pt x="7357609" y="3912282"/>
                  </a:lnTo>
                  <a:lnTo>
                    <a:pt x="7316240" y="3919483"/>
                  </a:lnTo>
                  <a:lnTo>
                    <a:pt x="7272924" y="3919550"/>
                  </a:lnTo>
                  <a:lnTo>
                    <a:pt x="7243346" y="3919082"/>
                  </a:lnTo>
                  <a:lnTo>
                    <a:pt x="7194471" y="3918303"/>
                  </a:lnTo>
                  <a:lnTo>
                    <a:pt x="7154664" y="3914781"/>
                  </a:lnTo>
                  <a:lnTo>
                    <a:pt x="7120931" y="3905482"/>
                  </a:lnTo>
                  <a:lnTo>
                    <a:pt x="7087205" y="3896178"/>
                  </a:lnTo>
                  <a:lnTo>
                    <a:pt x="7059671" y="3881741"/>
                  </a:lnTo>
                  <a:lnTo>
                    <a:pt x="7037960" y="3861956"/>
                  </a:lnTo>
                  <a:lnTo>
                    <a:pt x="7016250" y="3842172"/>
                  </a:lnTo>
                  <a:lnTo>
                    <a:pt x="7000449" y="3816649"/>
                  </a:lnTo>
                  <a:lnTo>
                    <a:pt x="6987635" y="3784420"/>
                  </a:lnTo>
                  <a:lnTo>
                    <a:pt x="6974821" y="3752197"/>
                  </a:lnTo>
                  <a:lnTo>
                    <a:pt x="6964751" y="3712713"/>
                  </a:lnTo>
                  <a:lnTo>
                    <a:pt x="6957707" y="3666088"/>
                  </a:lnTo>
                  <a:lnTo>
                    <a:pt x="6947076" y="3595740"/>
                  </a:lnTo>
                  <a:lnTo>
                    <a:pt x="6943020" y="3549780"/>
                  </a:lnTo>
                  <a:lnTo>
                    <a:pt x="6944109" y="3504222"/>
                  </a:lnTo>
                  <a:lnTo>
                    <a:pt x="6945190" y="3458665"/>
                  </a:lnTo>
                  <a:lnTo>
                    <a:pt x="6952366" y="3413602"/>
                  </a:lnTo>
                  <a:lnTo>
                    <a:pt x="6964507" y="3346439"/>
                  </a:lnTo>
                  <a:lnTo>
                    <a:pt x="6969400" y="3319386"/>
                  </a:lnTo>
                  <a:lnTo>
                    <a:pt x="6983230" y="3291115"/>
                  </a:lnTo>
                  <a:lnTo>
                    <a:pt x="6979470" y="3262111"/>
                  </a:lnTo>
                  <a:lnTo>
                    <a:pt x="6974966" y="3227434"/>
                  </a:lnTo>
                  <a:lnTo>
                    <a:pt x="6961790" y="3187297"/>
                  </a:lnTo>
                  <a:lnTo>
                    <a:pt x="6956171" y="3166417"/>
                  </a:lnTo>
                  <a:lnTo>
                    <a:pt x="6953137" y="3144028"/>
                  </a:lnTo>
                  <a:lnTo>
                    <a:pt x="6957714" y="3101603"/>
                  </a:lnTo>
                  <a:lnTo>
                    <a:pt x="6965838" y="3059277"/>
                  </a:lnTo>
                  <a:lnTo>
                    <a:pt x="6969954" y="3037672"/>
                  </a:lnTo>
                  <a:lnTo>
                    <a:pt x="6974069" y="3016075"/>
                  </a:lnTo>
                  <a:lnTo>
                    <a:pt x="6968596" y="2975107"/>
                  </a:lnTo>
                  <a:lnTo>
                    <a:pt x="6950559" y="2959252"/>
                  </a:lnTo>
                  <a:lnTo>
                    <a:pt x="6912829" y="2954702"/>
                  </a:lnTo>
                  <a:lnTo>
                    <a:pt x="6875469" y="2963757"/>
                  </a:lnTo>
                  <a:lnTo>
                    <a:pt x="6857062" y="2975107"/>
                  </a:lnTo>
                  <a:lnTo>
                    <a:pt x="6820243" y="2997806"/>
                  </a:lnTo>
                  <a:lnTo>
                    <a:pt x="6785646" y="3032891"/>
                  </a:lnTo>
                  <a:lnTo>
                    <a:pt x="6757763" y="3052637"/>
                  </a:lnTo>
                  <a:lnTo>
                    <a:pt x="6731812" y="3071016"/>
                  </a:lnTo>
                  <a:lnTo>
                    <a:pt x="6675538" y="3099051"/>
                  </a:lnTo>
                  <a:lnTo>
                    <a:pt x="6646230" y="3108402"/>
                  </a:lnTo>
                  <a:lnTo>
                    <a:pt x="6621407" y="3116323"/>
                  </a:lnTo>
                  <a:lnTo>
                    <a:pt x="6593550" y="3117833"/>
                  </a:lnTo>
                  <a:lnTo>
                    <a:pt x="6565977" y="3119284"/>
                  </a:lnTo>
                  <a:lnTo>
                    <a:pt x="6538403" y="3120735"/>
                  </a:lnTo>
                  <a:lnTo>
                    <a:pt x="6511965" y="3123181"/>
                  </a:lnTo>
                  <a:lnTo>
                    <a:pt x="6488447" y="3134249"/>
                  </a:lnTo>
                  <a:lnTo>
                    <a:pt x="6416061" y="3179707"/>
                  </a:lnTo>
                  <a:lnTo>
                    <a:pt x="6393381" y="3199815"/>
                  </a:lnTo>
                  <a:lnTo>
                    <a:pt x="6378497" y="3227671"/>
                  </a:lnTo>
                  <a:lnTo>
                    <a:pt x="6359227" y="3247146"/>
                  </a:lnTo>
                  <a:lnTo>
                    <a:pt x="6340273" y="3266298"/>
                  </a:lnTo>
                  <a:lnTo>
                    <a:pt x="6309916" y="3283945"/>
                  </a:lnTo>
                  <a:lnTo>
                    <a:pt x="6277615" y="3292031"/>
                  </a:lnTo>
                  <a:lnTo>
                    <a:pt x="6244099" y="3297907"/>
                  </a:lnTo>
                  <a:lnTo>
                    <a:pt x="6213196" y="3294306"/>
                  </a:lnTo>
                  <a:lnTo>
                    <a:pt x="6187841" y="3279784"/>
                  </a:lnTo>
                  <a:lnTo>
                    <a:pt x="6169692" y="3265204"/>
                  </a:lnTo>
                  <a:lnTo>
                    <a:pt x="6159278" y="3224019"/>
                  </a:lnTo>
                  <a:lnTo>
                    <a:pt x="6157173" y="3201978"/>
                  </a:lnTo>
                  <a:lnTo>
                    <a:pt x="6160160" y="3177307"/>
                  </a:lnTo>
                  <a:lnTo>
                    <a:pt x="6166078" y="3151922"/>
                  </a:lnTo>
                  <a:lnTo>
                    <a:pt x="6177911" y="3101169"/>
                  </a:lnTo>
                  <a:lnTo>
                    <a:pt x="6198860" y="3047130"/>
                  </a:lnTo>
                  <a:lnTo>
                    <a:pt x="6194641" y="3007745"/>
                  </a:lnTo>
                  <a:lnTo>
                    <a:pt x="6185515" y="2973404"/>
                  </a:lnTo>
                  <a:lnTo>
                    <a:pt x="6168404" y="2941433"/>
                  </a:lnTo>
                  <a:lnTo>
                    <a:pt x="6149756" y="2911169"/>
                  </a:lnTo>
                  <a:lnTo>
                    <a:pt x="6132282" y="2881281"/>
                  </a:lnTo>
                  <a:lnTo>
                    <a:pt x="6112096" y="2863106"/>
                  </a:lnTo>
                  <a:lnTo>
                    <a:pt x="6091267" y="2851320"/>
                  </a:lnTo>
                  <a:lnTo>
                    <a:pt x="6070439" y="2839541"/>
                  </a:lnTo>
                  <a:lnTo>
                    <a:pt x="6048447" y="2834272"/>
                  </a:lnTo>
                  <a:lnTo>
                    <a:pt x="6027338" y="2832281"/>
                  </a:lnTo>
                  <a:lnTo>
                    <a:pt x="5985118" y="2828291"/>
                  </a:lnTo>
                  <a:lnTo>
                    <a:pt x="5946161" y="2836118"/>
                  </a:lnTo>
                  <a:lnTo>
                    <a:pt x="5921243" y="2821400"/>
                  </a:lnTo>
                  <a:lnTo>
                    <a:pt x="5899989" y="2796042"/>
                  </a:lnTo>
                  <a:lnTo>
                    <a:pt x="5893571" y="2752773"/>
                  </a:lnTo>
                  <a:lnTo>
                    <a:pt x="5860087" y="2719732"/>
                  </a:lnTo>
                  <a:lnTo>
                    <a:pt x="5830635" y="2705447"/>
                  </a:lnTo>
                  <a:lnTo>
                    <a:pt x="5802905" y="2689462"/>
                  </a:lnTo>
                  <a:lnTo>
                    <a:pt x="5775175" y="2673469"/>
                  </a:lnTo>
                  <a:lnTo>
                    <a:pt x="5748274" y="2655570"/>
                  </a:lnTo>
                  <a:lnTo>
                    <a:pt x="5729454" y="2625531"/>
                  </a:lnTo>
                  <a:lnTo>
                    <a:pt x="5717107" y="2605811"/>
                  </a:lnTo>
                  <a:lnTo>
                    <a:pt x="5714048" y="2583831"/>
                  </a:lnTo>
                  <a:lnTo>
                    <a:pt x="5714492" y="2561600"/>
                  </a:lnTo>
                  <a:lnTo>
                    <a:pt x="5714954" y="2539367"/>
                  </a:lnTo>
                  <a:lnTo>
                    <a:pt x="5719353" y="2516676"/>
                  </a:lnTo>
                  <a:lnTo>
                    <a:pt x="5724013" y="2494951"/>
                  </a:lnTo>
                  <a:lnTo>
                    <a:pt x="5728676" y="2473221"/>
                  </a:lnTo>
                  <a:lnTo>
                    <a:pt x="5733535" y="2435102"/>
                  </a:lnTo>
                  <a:lnTo>
                    <a:pt x="5729835" y="2400526"/>
                  </a:lnTo>
                  <a:lnTo>
                    <a:pt x="5702973" y="2375695"/>
                  </a:lnTo>
                  <a:lnTo>
                    <a:pt x="5665525" y="2367089"/>
                  </a:lnTo>
                  <a:lnTo>
                    <a:pt x="5632157" y="2356741"/>
                  </a:lnTo>
                  <a:lnTo>
                    <a:pt x="5568526" y="2349704"/>
                  </a:lnTo>
                  <a:lnTo>
                    <a:pt x="5533586" y="2358932"/>
                  </a:lnTo>
                  <a:lnTo>
                    <a:pt x="5510261" y="2365071"/>
                  </a:lnTo>
                  <a:lnTo>
                    <a:pt x="5481502" y="2378822"/>
                  </a:lnTo>
                  <a:lnTo>
                    <a:pt x="5451973" y="2386135"/>
                  </a:lnTo>
                  <a:lnTo>
                    <a:pt x="5422203" y="2392038"/>
                  </a:lnTo>
                  <a:lnTo>
                    <a:pt x="5394691" y="2388391"/>
                  </a:lnTo>
                  <a:lnTo>
                    <a:pt x="5370361" y="2371165"/>
                  </a:lnTo>
                  <a:lnTo>
                    <a:pt x="5340565" y="2341072"/>
                  </a:lnTo>
                  <a:lnTo>
                    <a:pt x="5324817" y="2307281"/>
                  </a:lnTo>
                  <a:lnTo>
                    <a:pt x="5299631" y="2274590"/>
                  </a:lnTo>
                  <a:lnTo>
                    <a:pt x="5282778" y="2252740"/>
                  </a:lnTo>
                  <a:lnTo>
                    <a:pt x="5259781" y="2234380"/>
                  </a:lnTo>
                  <a:lnTo>
                    <a:pt x="5243863" y="2212023"/>
                  </a:lnTo>
                  <a:lnTo>
                    <a:pt x="5226202" y="2187167"/>
                  </a:lnTo>
                  <a:lnTo>
                    <a:pt x="5210903" y="2156989"/>
                  </a:lnTo>
                  <a:lnTo>
                    <a:pt x="5193536" y="2129053"/>
                  </a:lnTo>
                  <a:lnTo>
                    <a:pt x="5176169" y="2101110"/>
                  </a:lnTo>
                  <a:lnTo>
                    <a:pt x="5156545" y="2076175"/>
                  </a:lnTo>
                  <a:lnTo>
                    <a:pt x="5126886" y="2062398"/>
                  </a:lnTo>
                  <a:lnTo>
                    <a:pt x="5080778" y="2040998"/>
                  </a:lnTo>
                  <a:lnTo>
                    <a:pt x="5035301" y="2019399"/>
                  </a:lnTo>
                  <a:lnTo>
                    <a:pt x="4989506" y="2001191"/>
                  </a:lnTo>
                  <a:lnTo>
                    <a:pt x="4943711" y="1982989"/>
                  </a:lnTo>
                  <a:lnTo>
                    <a:pt x="4897023" y="1968216"/>
                  </a:lnTo>
                  <a:lnTo>
                    <a:pt x="4846685" y="1959023"/>
                  </a:lnTo>
                  <a:lnTo>
                    <a:pt x="4813682" y="1941962"/>
                  </a:lnTo>
                  <a:lnTo>
                    <a:pt x="4781755" y="1921683"/>
                  </a:lnTo>
                  <a:lnTo>
                    <a:pt x="4751471" y="1914139"/>
                  </a:lnTo>
                  <a:lnTo>
                    <a:pt x="4713110" y="1916881"/>
                  </a:lnTo>
                  <a:lnTo>
                    <a:pt x="4676811" y="1934978"/>
                  </a:lnTo>
                  <a:lnTo>
                    <a:pt x="4639935" y="1944066"/>
                  </a:lnTo>
                  <a:lnTo>
                    <a:pt x="4591192" y="1956082"/>
                  </a:lnTo>
                  <a:lnTo>
                    <a:pt x="4557962" y="1957466"/>
                  </a:lnTo>
                  <a:lnTo>
                    <a:pt x="4525678" y="1953589"/>
                  </a:lnTo>
                  <a:lnTo>
                    <a:pt x="4493395" y="1949704"/>
                  </a:lnTo>
                  <a:lnTo>
                    <a:pt x="4462460" y="1940274"/>
                  </a:lnTo>
                  <a:lnTo>
                    <a:pt x="4415502" y="1927744"/>
                  </a:lnTo>
                  <a:lnTo>
                    <a:pt x="4389063" y="1920687"/>
                  </a:lnTo>
                  <a:lnTo>
                    <a:pt x="4358269" y="1917429"/>
                  </a:lnTo>
                  <a:lnTo>
                    <a:pt x="4332530" y="1908697"/>
                  </a:lnTo>
                  <a:lnTo>
                    <a:pt x="4306740" y="1899952"/>
                  </a:lnTo>
                  <a:lnTo>
                    <a:pt x="4293589" y="1882200"/>
                  </a:lnTo>
                  <a:lnTo>
                    <a:pt x="4286283" y="1859730"/>
                  </a:lnTo>
                  <a:lnTo>
                    <a:pt x="4278975" y="1837261"/>
                  </a:lnTo>
                  <a:lnTo>
                    <a:pt x="4277937" y="1810348"/>
                  </a:lnTo>
                  <a:lnTo>
                    <a:pt x="4276762" y="1784925"/>
                  </a:lnTo>
                  <a:lnTo>
                    <a:pt x="4275588" y="1759494"/>
                  </a:lnTo>
                  <a:lnTo>
                    <a:pt x="4274638" y="1734527"/>
                  </a:lnTo>
                  <a:lnTo>
                    <a:pt x="4259844" y="1699296"/>
                  </a:lnTo>
                  <a:lnTo>
                    <a:pt x="4219633" y="1689708"/>
                  </a:lnTo>
                  <a:lnTo>
                    <a:pt x="4196398" y="1697178"/>
                  </a:lnTo>
                  <a:lnTo>
                    <a:pt x="4174858" y="1720321"/>
                  </a:lnTo>
                  <a:lnTo>
                    <a:pt x="4154344" y="1752279"/>
                  </a:lnTo>
                  <a:lnTo>
                    <a:pt x="4134894" y="1784978"/>
                  </a:lnTo>
                  <a:lnTo>
                    <a:pt x="4113945" y="1812069"/>
                  </a:lnTo>
                  <a:lnTo>
                    <a:pt x="4090415" y="1827085"/>
                  </a:lnTo>
                  <a:lnTo>
                    <a:pt x="4065931" y="1825727"/>
                  </a:lnTo>
                  <a:lnTo>
                    <a:pt x="4045060" y="1796603"/>
                  </a:lnTo>
                  <a:lnTo>
                    <a:pt x="4037835" y="1767797"/>
                  </a:lnTo>
                  <a:lnTo>
                    <a:pt x="4040090" y="1738674"/>
                  </a:lnTo>
                  <a:lnTo>
                    <a:pt x="4042327" y="1709920"/>
                  </a:lnTo>
                  <a:lnTo>
                    <a:pt x="4048803" y="1680930"/>
                  </a:lnTo>
                  <a:lnTo>
                    <a:pt x="4038732" y="1650263"/>
                  </a:lnTo>
                  <a:lnTo>
                    <a:pt x="4014122" y="1643721"/>
                  </a:lnTo>
                  <a:lnTo>
                    <a:pt x="3984132" y="1672468"/>
                  </a:lnTo>
                  <a:lnTo>
                    <a:pt x="3957184" y="1704012"/>
                  </a:lnTo>
                  <a:lnTo>
                    <a:pt x="3921755" y="1719634"/>
                  </a:lnTo>
                  <a:lnTo>
                    <a:pt x="3873808" y="1725729"/>
                  </a:lnTo>
                  <a:lnTo>
                    <a:pt x="3817152" y="1728228"/>
                  </a:lnTo>
                  <a:lnTo>
                    <a:pt x="3781382" y="1722747"/>
                  </a:lnTo>
                  <a:lnTo>
                    <a:pt x="3749009" y="1711471"/>
                  </a:lnTo>
                  <a:lnTo>
                    <a:pt x="3716638" y="1700194"/>
                  </a:lnTo>
                  <a:lnTo>
                    <a:pt x="3687435" y="1682882"/>
                  </a:lnTo>
                  <a:lnTo>
                    <a:pt x="3661956" y="1661145"/>
                  </a:lnTo>
                  <a:lnTo>
                    <a:pt x="3636480" y="1639408"/>
                  </a:lnTo>
                  <a:lnTo>
                    <a:pt x="3613934" y="1613193"/>
                  </a:lnTo>
                  <a:lnTo>
                    <a:pt x="3593947" y="1583615"/>
                  </a:lnTo>
                  <a:lnTo>
                    <a:pt x="3573961" y="1554031"/>
                  </a:lnTo>
                  <a:lnTo>
                    <a:pt x="3556804" y="1521846"/>
                  </a:lnTo>
                  <a:lnTo>
                    <a:pt x="3540899" y="1487039"/>
                  </a:lnTo>
                  <a:lnTo>
                    <a:pt x="3523175" y="1448248"/>
                  </a:lnTo>
                  <a:lnTo>
                    <a:pt x="3510620" y="1405407"/>
                  </a:lnTo>
                  <a:lnTo>
                    <a:pt x="3497373" y="1364625"/>
                  </a:lnTo>
                  <a:lnTo>
                    <a:pt x="3484125" y="1323835"/>
                  </a:lnTo>
                  <a:lnTo>
                    <a:pt x="3470643" y="1284582"/>
                  </a:lnTo>
                  <a:lnTo>
                    <a:pt x="3452487" y="1253085"/>
                  </a:lnTo>
                  <a:lnTo>
                    <a:pt x="3434329" y="1221587"/>
                  </a:lnTo>
                  <a:lnTo>
                    <a:pt x="3411489" y="1197352"/>
                  </a:lnTo>
                  <a:lnTo>
                    <a:pt x="3379035" y="1186438"/>
                  </a:lnTo>
                  <a:lnTo>
                    <a:pt x="3343467" y="1179188"/>
                  </a:lnTo>
                  <a:lnTo>
                    <a:pt x="3321907" y="1180996"/>
                  </a:lnTo>
                  <a:lnTo>
                    <a:pt x="3300347" y="1182804"/>
                  </a:lnTo>
                  <a:lnTo>
                    <a:pt x="3276523" y="1188197"/>
                  </a:lnTo>
                  <a:lnTo>
                    <a:pt x="3248457" y="1198677"/>
                  </a:lnTo>
                  <a:lnTo>
                    <a:pt x="3132457" y="1232384"/>
                  </a:lnTo>
                  <a:lnTo>
                    <a:pt x="3108356" y="1244921"/>
                  </a:lnTo>
                  <a:lnTo>
                    <a:pt x="3084488" y="1257359"/>
                  </a:lnTo>
                  <a:lnTo>
                    <a:pt x="3050677" y="1276325"/>
                  </a:lnTo>
                  <a:lnTo>
                    <a:pt x="3024024" y="1280289"/>
                  </a:lnTo>
                  <a:lnTo>
                    <a:pt x="2987480" y="1285723"/>
                  </a:lnTo>
                  <a:lnTo>
                    <a:pt x="2954055" y="1276708"/>
                  </a:lnTo>
                  <a:lnTo>
                    <a:pt x="2927450" y="1257167"/>
                  </a:lnTo>
                  <a:lnTo>
                    <a:pt x="2900843" y="1237627"/>
                  </a:lnTo>
                  <a:lnTo>
                    <a:pt x="2881347" y="1208227"/>
                  </a:lnTo>
                  <a:lnTo>
                    <a:pt x="2874402" y="1171473"/>
                  </a:lnTo>
                  <a:lnTo>
                    <a:pt x="2876630" y="1124696"/>
                  </a:lnTo>
                  <a:lnTo>
                    <a:pt x="2838101" y="1077384"/>
                  </a:lnTo>
                  <a:lnTo>
                    <a:pt x="2789240" y="1066186"/>
                  </a:lnTo>
                  <a:lnTo>
                    <a:pt x="2756064" y="1039535"/>
                  </a:lnTo>
                  <a:lnTo>
                    <a:pt x="2721038" y="1011395"/>
                  </a:lnTo>
                  <a:lnTo>
                    <a:pt x="2698940" y="982483"/>
                  </a:lnTo>
                  <a:lnTo>
                    <a:pt x="2669011" y="949759"/>
                  </a:lnTo>
                  <a:lnTo>
                    <a:pt x="2654635" y="934044"/>
                  </a:lnTo>
                  <a:lnTo>
                    <a:pt x="2632286" y="904873"/>
                  </a:lnTo>
                  <a:lnTo>
                    <a:pt x="2613028" y="874709"/>
                  </a:lnTo>
                  <a:lnTo>
                    <a:pt x="2599857" y="845269"/>
                  </a:lnTo>
                  <a:lnTo>
                    <a:pt x="2592840" y="815104"/>
                  </a:lnTo>
                  <a:lnTo>
                    <a:pt x="2587530" y="786357"/>
                  </a:lnTo>
                  <a:lnTo>
                    <a:pt x="2587314" y="756786"/>
                  </a:lnTo>
                  <a:lnTo>
                    <a:pt x="2591478" y="726686"/>
                  </a:lnTo>
                  <a:lnTo>
                    <a:pt x="2597308" y="696356"/>
                  </a:lnTo>
                  <a:lnTo>
                    <a:pt x="2612463" y="648616"/>
                  </a:lnTo>
                  <a:lnTo>
                    <a:pt x="2628102" y="614646"/>
                  </a:lnTo>
                  <a:lnTo>
                    <a:pt x="2645886" y="578427"/>
                  </a:lnTo>
                  <a:lnTo>
                    <a:pt x="2650008" y="545122"/>
                  </a:lnTo>
                  <a:lnTo>
                    <a:pt x="2627188" y="511798"/>
                  </a:lnTo>
                  <a:lnTo>
                    <a:pt x="2604556" y="491902"/>
                  </a:lnTo>
                  <a:lnTo>
                    <a:pt x="2587224" y="476120"/>
                  </a:lnTo>
                  <a:lnTo>
                    <a:pt x="2569715" y="460088"/>
                  </a:lnTo>
                  <a:lnTo>
                    <a:pt x="2547590" y="495179"/>
                  </a:lnTo>
                  <a:lnTo>
                    <a:pt x="2507146" y="492733"/>
                  </a:lnTo>
                  <a:lnTo>
                    <a:pt x="2391338" y="475988"/>
                  </a:lnTo>
                  <a:lnTo>
                    <a:pt x="2442833" y="415182"/>
                  </a:lnTo>
                  <a:lnTo>
                    <a:pt x="2395609" y="378476"/>
                  </a:lnTo>
                  <a:lnTo>
                    <a:pt x="2357226" y="348659"/>
                  </a:lnTo>
                  <a:lnTo>
                    <a:pt x="2327450" y="377769"/>
                  </a:lnTo>
                  <a:lnTo>
                    <a:pt x="2296315" y="364877"/>
                  </a:lnTo>
                  <a:lnTo>
                    <a:pt x="2275338" y="347769"/>
                  </a:lnTo>
                  <a:lnTo>
                    <a:pt x="2264733" y="315798"/>
                  </a:lnTo>
                  <a:lnTo>
                    <a:pt x="2248708" y="294146"/>
                  </a:lnTo>
                  <a:lnTo>
                    <a:pt x="2181909" y="226964"/>
                  </a:lnTo>
                  <a:lnTo>
                    <a:pt x="2153154" y="223758"/>
                  </a:lnTo>
                  <a:lnTo>
                    <a:pt x="2108459" y="251616"/>
                  </a:lnTo>
                  <a:lnTo>
                    <a:pt x="2084124" y="256060"/>
                  </a:lnTo>
                  <a:lnTo>
                    <a:pt x="2053732" y="261627"/>
                  </a:lnTo>
                  <a:lnTo>
                    <a:pt x="2027910" y="245199"/>
                  </a:lnTo>
                  <a:lnTo>
                    <a:pt x="1998431" y="249254"/>
                  </a:lnTo>
                  <a:lnTo>
                    <a:pt x="1942217" y="257017"/>
                  </a:lnTo>
                  <a:lnTo>
                    <a:pt x="1900560" y="292932"/>
                  </a:lnTo>
                  <a:lnTo>
                    <a:pt x="1837928" y="273741"/>
                  </a:lnTo>
                  <a:lnTo>
                    <a:pt x="1791511" y="259544"/>
                  </a:lnTo>
                  <a:lnTo>
                    <a:pt x="1740248" y="217315"/>
                  </a:lnTo>
                  <a:lnTo>
                    <a:pt x="1707348" y="182607"/>
                  </a:lnTo>
                  <a:lnTo>
                    <a:pt x="1653727" y="126056"/>
                  </a:lnTo>
                  <a:lnTo>
                    <a:pt x="1617299" y="0"/>
                  </a:lnTo>
                  <a:lnTo>
                    <a:pt x="1515561" y="22107"/>
                  </a:lnTo>
                  <a:lnTo>
                    <a:pt x="1490652" y="27528"/>
                  </a:lnTo>
                  <a:lnTo>
                    <a:pt x="1463916" y="37512"/>
                  </a:lnTo>
                  <a:lnTo>
                    <a:pt x="1447551" y="58833"/>
                  </a:lnTo>
                  <a:lnTo>
                    <a:pt x="1438220" y="79060"/>
                  </a:lnTo>
                  <a:lnTo>
                    <a:pt x="1386576" y="178082"/>
                  </a:lnTo>
                  <a:lnTo>
                    <a:pt x="1423386" y="298737"/>
                  </a:lnTo>
                  <a:lnTo>
                    <a:pt x="1394503" y="336314"/>
                  </a:lnTo>
                  <a:lnTo>
                    <a:pt x="1375778" y="350955"/>
                  </a:lnTo>
                  <a:lnTo>
                    <a:pt x="1346301" y="419918"/>
                  </a:lnTo>
                  <a:lnTo>
                    <a:pt x="1376608" y="468061"/>
                  </a:lnTo>
                  <a:lnTo>
                    <a:pt x="1364578" y="509054"/>
                  </a:lnTo>
                  <a:lnTo>
                    <a:pt x="1337948" y="599807"/>
                  </a:lnTo>
                  <a:lnTo>
                    <a:pt x="1187774" y="503106"/>
                  </a:lnTo>
                  <a:lnTo>
                    <a:pt x="1114302" y="617871"/>
                  </a:lnTo>
                  <a:lnTo>
                    <a:pt x="1090966" y="654360"/>
                  </a:lnTo>
                  <a:lnTo>
                    <a:pt x="1102421" y="729047"/>
                  </a:lnTo>
                  <a:lnTo>
                    <a:pt x="1092539" y="771578"/>
                  </a:lnTo>
                  <a:lnTo>
                    <a:pt x="1078278" y="832785"/>
                  </a:lnTo>
                  <a:lnTo>
                    <a:pt x="998770" y="845770"/>
                  </a:lnTo>
                  <a:lnTo>
                    <a:pt x="991884" y="889910"/>
                  </a:lnTo>
                  <a:lnTo>
                    <a:pt x="982745" y="948249"/>
                  </a:lnTo>
                  <a:lnTo>
                    <a:pt x="1011564" y="997004"/>
                  </a:lnTo>
                  <a:lnTo>
                    <a:pt x="983723" y="1057216"/>
                  </a:lnTo>
                  <a:lnTo>
                    <a:pt x="955434" y="1118449"/>
                  </a:lnTo>
                  <a:lnTo>
                    <a:pt x="834441" y="1188904"/>
                  </a:lnTo>
                  <a:lnTo>
                    <a:pt x="797375" y="1284371"/>
                  </a:lnTo>
                  <a:lnTo>
                    <a:pt x="779119" y="1331426"/>
                  </a:lnTo>
                  <a:lnTo>
                    <a:pt x="849828" y="1515410"/>
                  </a:lnTo>
                  <a:lnTo>
                    <a:pt x="839542" y="1571375"/>
                  </a:lnTo>
                  <a:lnTo>
                    <a:pt x="822114" y="1666269"/>
                  </a:lnTo>
                  <a:lnTo>
                    <a:pt x="662461" y="1686864"/>
                  </a:lnTo>
                  <a:lnTo>
                    <a:pt x="689920" y="1818928"/>
                  </a:lnTo>
                  <a:lnTo>
                    <a:pt x="707113" y="1905025"/>
                  </a:lnTo>
                  <a:lnTo>
                    <a:pt x="689900" y="1979580"/>
                  </a:lnTo>
                  <a:lnTo>
                    <a:pt x="658635" y="2058322"/>
                  </a:lnTo>
                  <a:lnTo>
                    <a:pt x="644077" y="2094963"/>
                  </a:lnTo>
                  <a:lnTo>
                    <a:pt x="640379" y="2132219"/>
                  </a:lnTo>
                  <a:lnTo>
                    <a:pt x="619189" y="2167139"/>
                  </a:lnTo>
                  <a:lnTo>
                    <a:pt x="561444" y="2262184"/>
                  </a:lnTo>
                  <a:lnTo>
                    <a:pt x="427890" y="2235422"/>
                  </a:lnTo>
                  <a:lnTo>
                    <a:pt x="368913" y="2326280"/>
                  </a:lnTo>
                  <a:lnTo>
                    <a:pt x="329573" y="2386874"/>
                  </a:lnTo>
                  <a:lnTo>
                    <a:pt x="309298" y="2481729"/>
                  </a:lnTo>
                  <a:lnTo>
                    <a:pt x="270979" y="2522148"/>
                  </a:lnTo>
                  <a:lnTo>
                    <a:pt x="247026" y="2547421"/>
                  </a:lnTo>
                  <a:lnTo>
                    <a:pt x="210173" y="2558639"/>
                  </a:lnTo>
                  <a:lnTo>
                    <a:pt x="181205" y="2575198"/>
                  </a:lnTo>
                  <a:lnTo>
                    <a:pt x="162205" y="2586079"/>
                  </a:lnTo>
                  <a:lnTo>
                    <a:pt x="146945" y="2607011"/>
                  </a:lnTo>
                  <a:lnTo>
                    <a:pt x="129518" y="2620083"/>
                  </a:lnTo>
                  <a:lnTo>
                    <a:pt x="88031" y="2651198"/>
                  </a:lnTo>
                  <a:lnTo>
                    <a:pt x="40425" y="2672136"/>
                  </a:lnTo>
                  <a:lnTo>
                    <a:pt x="27503" y="2730258"/>
                  </a:lnTo>
                  <a:lnTo>
                    <a:pt x="23422" y="2758827"/>
                  </a:lnTo>
                  <a:lnTo>
                    <a:pt x="22061" y="2791445"/>
                  </a:lnTo>
                  <a:lnTo>
                    <a:pt x="34304" y="2824644"/>
                  </a:lnTo>
                  <a:lnTo>
                    <a:pt x="34304" y="2858120"/>
                  </a:lnTo>
                  <a:lnTo>
                    <a:pt x="34304" y="2889703"/>
                  </a:lnTo>
                  <a:lnTo>
                    <a:pt x="28013" y="2923344"/>
                  </a:lnTo>
                  <a:lnTo>
                    <a:pt x="30223" y="2954695"/>
                  </a:lnTo>
                  <a:lnTo>
                    <a:pt x="35281" y="2980599"/>
                  </a:lnTo>
                  <a:lnTo>
                    <a:pt x="45780" y="3017202"/>
                  </a:lnTo>
                  <a:lnTo>
                    <a:pt x="75470" y="3050420"/>
                  </a:lnTo>
                  <a:lnTo>
                    <a:pt x="77830" y="3074392"/>
                  </a:lnTo>
                  <a:lnTo>
                    <a:pt x="79955" y="3096262"/>
                  </a:lnTo>
                  <a:lnTo>
                    <a:pt x="62910" y="3117279"/>
                  </a:lnTo>
                  <a:lnTo>
                    <a:pt x="38214" y="3140763"/>
                  </a:lnTo>
                  <a:lnTo>
                    <a:pt x="17981" y="3157364"/>
                  </a:lnTo>
                  <a:lnTo>
                    <a:pt x="15962" y="3201741"/>
                  </a:lnTo>
                  <a:lnTo>
                    <a:pt x="0" y="3239720"/>
                  </a:lnTo>
                  <a:lnTo>
                    <a:pt x="3019" y="3286584"/>
                  </a:lnTo>
                  <a:lnTo>
                    <a:pt x="5144" y="3319526"/>
                  </a:lnTo>
                  <a:lnTo>
                    <a:pt x="15813" y="3354082"/>
                  </a:lnTo>
                  <a:lnTo>
                    <a:pt x="17981" y="3387235"/>
                  </a:lnTo>
                  <a:lnTo>
                    <a:pt x="19702" y="3414103"/>
                  </a:lnTo>
                  <a:lnTo>
                    <a:pt x="16515" y="3575329"/>
                  </a:lnTo>
                  <a:lnTo>
                    <a:pt x="7099" y="3596709"/>
                  </a:lnTo>
                  <a:lnTo>
                    <a:pt x="28820" y="3602189"/>
                  </a:lnTo>
                  <a:lnTo>
                    <a:pt x="48883" y="3612945"/>
                  </a:lnTo>
                  <a:lnTo>
                    <a:pt x="69668" y="3621190"/>
                  </a:lnTo>
                  <a:lnTo>
                    <a:pt x="121568" y="3593815"/>
                  </a:lnTo>
                  <a:lnTo>
                    <a:pt x="167985" y="3577070"/>
                  </a:lnTo>
                  <a:lnTo>
                    <a:pt x="224731" y="3559983"/>
                  </a:lnTo>
                  <a:lnTo>
                    <a:pt x="262306" y="3570139"/>
                  </a:lnTo>
                  <a:lnTo>
                    <a:pt x="309063" y="3600791"/>
                  </a:lnTo>
                  <a:lnTo>
                    <a:pt x="330784" y="3616771"/>
                  </a:lnTo>
                  <a:lnTo>
                    <a:pt x="365086" y="3613875"/>
                  </a:lnTo>
                  <a:lnTo>
                    <a:pt x="389315" y="3613032"/>
                  </a:lnTo>
                  <a:lnTo>
                    <a:pt x="423320" y="3645677"/>
                  </a:lnTo>
                  <a:lnTo>
                    <a:pt x="413799" y="3685121"/>
                  </a:lnTo>
                  <a:lnTo>
                    <a:pt x="375713" y="3719123"/>
                  </a:lnTo>
                  <a:lnTo>
                    <a:pt x="365448" y="3766435"/>
                  </a:lnTo>
                  <a:lnTo>
                    <a:pt x="357563" y="3820078"/>
                  </a:lnTo>
                  <a:lnTo>
                    <a:pt x="386594" y="3863308"/>
                  </a:lnTo>
                  <a:lnTo>
                    <a:pt x="441258" y="3871729"/>
                  </a:lnTo>
                  <a:lnTo>
                    <a:pt x="555429" y="3837549"/>
                  </a:lnTo>
                  <a:lnTo>
                    <a:pt x="583824" y="3846985"/>
                  </a:lnTo>
                  <a:lnTo>
                    <a:pt x="607882" y="3947215"/>
                  </a:lnTo>
                  <a:lnTo>
                    <a:pt x="552326" y="3973185"/>
                  </a:lnTo>
                  <a:lnTo>
                    <a:pt x="593345" y="4110861"/>
                  </a:lnTo>
                  <a:lnTo>
                    <a:pt x="602357" y="4141125"/>
                  </a:lnTo>
                  <a:lnTo>
                    <a:pt x="625883" y="4156300"/>
                  </a:lnTo>
                  <a:lnTo>
                    <a:pt x="640952" y="4181591"/>
                  </a:lnTo>
                  <a:lnTo>
                    <a:pt x="665499" y="4222737"/>
                  </a:lnTo>
                  <a:lnTo>
                    <a:pt x="665691" y="4276255"/>
                  </a:lnTo>
                  <a:lnTo>
                    <a:pt x="695360" y="4316253"/>
                  </a:lnTo>
                  <a:lnTo>
                    <a:pt x="731108" y="4364541"/>
                  </a:lnTo>
                  <a:lnTo>
                    <a:pt x="779501" y="4381714"/>
                  </a:lnTo>
                  <a:lnTo>
                    <a:pt x="791934" y="4446832"/>
                  </a:lnTo>
                  <a:lnTo>
                    <a:pt x="802816" y="4471319"/>
                  </a:lnTo>
                  <a:lnTo>
                    <a:pt x="826407" y="4490654"/>
                  </a:lnTo>
                  <a:lnTo>
                    <a:pt x="875629" y="4466208"/>
                  </a:lnTo>
                  <a:lnTo>
                    <a:pt x="895309" y="4446832"/>
                  </a:lnTo>
                  <a:lnTo>
                    <a:pt x="943681" y="4445045"/>
                  </a:lnTo>
                  <a:lnTo>
                    <a:pt x="1056471" y="4480664"/>
                  </a:lnTo>
                  <a:lnTo>
                    <a:pt x="1073177" y="4505612"/>
                  </a:lnTo>
                  <a:lnTo>
                    <a:pt x="1170069" y="4448190"/>
                  </a:lnTo>
                  <a:lnTo>
                    <a:pt x="1188645" y="4437224"/>
                  </a:lnTo>
                  <a:lnTo>
                    <a:pt x="1212193" y="4437394"/>
                  </a:lnTo>
                  <a:lnTo>
                    <a:pt x="1229918" y="4450908"/>
                  </a:lnTo>
                  <a:lnTo>
                    <a:pt x="1284326" y="4492482"/>
                  </a:lnTo>
                  <a:lnTo>
                    <a:pt x="1333803" y="4656892"/>
                  </a:lnTo>
                  <a:lnTo>
                    <a:pt x="1402663" y="4706624"/>
                  </a:lnTo>
                  <a:lnTo>
                    <a:pt x="1420346" y="4719419"/>
                  </a:lnTo>
                  <a:lnTo>
                    <a:pt x="1459218" y="4718529"/>
                  </a:lnTo>
                  <a:lnTo>
                    <a:pt x="1481555" y="4727029"/>
                  </a:lnTo>
                  <a:lnTo>
                    <a:pt x="1523763" y="4757294"/>
                  </a:lnTo>
                  <a:lnTo>
                    <a:pt x="1463383" y="4795504"/>
                  </a:lnTo>
                  <a:lnTo>
                    <a:pt x="1466592" y="4827680"/>
                  </a:lnTo>
                  <a:lnTo>
                    <a:pt x="1492883" y="4846853"/>
                  </a:lnTo>
                  <a:lnTo>
                    <a:pt x="1519640" y="4869848"/>
                  </a:lnTo>
                  <a:lnTo>
                    <a:pt x="1533837" y="4893228"/>
                  </a:lnTo>
                  <a:lnTo>
                    <a:pt x="1571052" y="4980491"/>
                  </a:lnTo>
                  <a:lnTo>
                    <a:pt x="1572688" y="5005868"/>
                  </a:lnTo>
                  <a:lnTo>
                    <a:pt x="1569500" y="5038178"/>
                  </a:lnTo>
                  <a:lnTo>
                    <a:pt x="1572688" y="5064991"/>
                  </a:lnTo>
                  <a:lnTo>
                    <a:pt x="1584929" y="5086122"/>
                  </a:lnTo>
                  <a:lnTo>
                    <a:pt x="1591241" y="5107457"/>
                  </a:lnTo>
                  <a:lnTo>
                    <a:pt x="1581338" y="5131350"/>
                  </a:lnTo>
                  <a:lnTo>
                    <a:pt x="1587650" y="5152771"/>
                  </a:lnTo>
                  <a:lnTo>
                    <a:pt x="1594154" y="5174791"/>
                  </a:lnTo>
                  <a:lnTo>
                    <a:pt x="1651324" y="5226732"/>
                  </a:lnTo>
                  <a:lnTo>
                    <a:pt x="1673342" y="5233023"/>
                  </a:lnTo>
                  <a:lnTo>
                    <a:pt x="1726327" y="5262990"/>
                  </a:lnTo>
                  <a:lnTo>
                    <a:pt x="1803411" y="5296994"/>
                  </a:lnTo>
                  <a:lnTo>
                    <a:pt x="1862410" y="5267027"/>
                  </a:lnTo>
                  <a:lnTo>
                    <a:pt x="1882749" y="5256699"/>
                  </a:lnTo>
                  <a:lnTo>
                    <a:pt x="1898264" y="5238972"/>
                  </a:lnTo>
                  <a:lnTo>
                    <a:pt x="1919539" y="5228941"/>
                  </a:lnTo>
                  <a:lnTo>
                    <a:pt x="1951206" y="5214023"/>
                  </a:lnTo>
                  <a:lnTo>
                    <a:pt x="1988483" y="5207225"/>
                  </a:lnTo>
                  <a:lnTo>
                    <a:pt x="2018833" y="5189497"/>
                  </a:lnTo>
                  <a:lnTo>
                    <a:pt x="2040086" y="5177039"/>
                  </a:lnTo>
                  <a:lnTo>
                    <a:pt x="2055112" y="5153792"/>
                  </a:lnTo>
                  <a:lnTo>
                    <a:pt x="2084122" y="5158211"/>
                  </a:lnTo>
                  <a:lnTo>
                    <a:pt x="2105418" y="5161443"/>
                  </a:lnTo>
                  <a:lnTo>
                    <a:pt x="2125566" y="5185547"/>
                  </a:lnTo>
                  <a:lnTo>
                    <a:pt x="2146692" y="5192215"/>
                  </a:lnTo>
                  <a:lnTo>
                    <a:pt x="2179464" y="5178490"/>
                  </a:lnTo>
                  <a:lnTo>
                    <a:pt x="2201100" y="5152777"/>
                  </a:lnTo>
                  <a:lnTo>
                    <a:pt x="2253786" y="5115449"/>
                  </a:lnTo>
                  <a:lnTo>
                    <a:pt x="2306196" y="5196554"/>
                  </a:lnTo>
                  <a:lnTo>
                    <a:pt x="2337119" y="5231665"/>
                  </a:lnTo>
                  <a:lnTo>
                    <a:pt x="2359797" y="5257378"/>
                  </a:lnTo>
                  <a:lnTo>
                    <a:pt x="2389530" y="5279867"/>
                  </a:lnTo>
                  <a:lnTo>
                    <a:pt x="2409210" y="5307836"/>
                  </a:lnTo>
                  <a:lnTo>
                    <a:pt x="2435054" y="5315993"/>
                  </a:lnTo>
                  <a:lnTo>
                    <a:pt x="2472161" y="5358591"/>
                  </a:lnTo>
                  <a:lnTo>
                    <a:pt x="2486061" y="5403858"/>
                  </a:lnTo>
                  <a:lnTo>
                    <a:pt x="2513945" y="5450655"/>
                  </a:lnTo>
                  <a:lnTo>
                    <a:pt x="2546973" y="5506000"/>
                  </a:lnTo>
                  <a:lnTo>
                    <a:pt x="2606736" y="5521768"/>
                  </a:lnTo>
                  <a:lnTo>
                    <a:pt x="2577874" y="5611161"/>
                  </a:lnTo>
                  <a:lnTo>
                    <a:pt x="2567546" y="5649247"/>
                  </a:lnTo>
                  <a:lnTo>
                    <a:pt x="2541659" y="5671651"/>
                  </a:lnTo>
                  <a:lnTo>
                    <a:pt x="2513945" y="5687333"/>
                  </a:lnTo>
                  <a:lnTo>
                    <a:pt x="2516815" y="5721251"/>
                  </a:lnTo>
                  <a:lnTo>
                    <a:pt x="2519386" y="5755340"/>
                  </a:lnTo>
                  <a:lnTo>
                    <a:pt x="2490737" y="5812682"/>
                  </a:lnTo>
                  <a:lnTo>
                    <a:pt x="2429613" y="5808343"/>
                  </a:lnTo>
                  <a:lnTo>
                    <a:pt x="2466338" y="5899523"/>
                  </a:lnTo>
                  <a:lnTo>
                    <a:pt x="2488655" y="5924434"/>
                  </a:lnTo>
                  <a:lnTo>
                    <a:pt x="2527505" y="5937946"/>
                  </a:lnTo>
                  <a:lnTo>
                    <a:pt x="2566993" y="5953933"/>
                  </a:lnTo>
                  <a:lnTo>
                    <a:pt x="2587205" y="5969107"/>
                  </a:lnTo>
                  <a:lnTo>
                    <a:pt x="2596280" y="5989512"/>
                  </a:lnTo>
                  <a:lnTo>
                    <a:pt x="2615960" y="6004258"/>
                  </a:lnTo>
                  <a:lnTo>
                    <a:pt x="2681462" y="5965195"/>
                  </a:lnTo>
                  <a:lnTo>
                    <a:pt x="2755784" y="6004719"/>
                  </a:lnTo>
                  <a:lnTo>
                    <a:pt x="2773744" y="5902241"/>
                  </a:lnTo>
                  <a:lnTo>
                    <a:pt x="2780395" y="5848215"/>
                  </a:lnTo>
                  <a:lnTo>
                    <a:pt x="2776507" y="5815915"/>
                  </a:lnTo>
                  <a:lnTo>
                    <a:pt x="2758164" y="5784754"/>
                  </a:lnTo>
                  <a:lnTo>
                    <a:pt x="2750620" y="5762146"/>
                  </a:lnTo>
                  <a:lnTo>
                    <a:pt x="2742839" y="5729962"/>
                  </a:lnTo>
                  <a:lnTo>
                    <a:pt x="2804223" y="5644572"/>
                  </a:lnTo>
                  <a:lnTo>
                    <a:pt x="2897651" y="5734982"/>
                  </a:lnTo>
                  <a:lnTo>
                    <a:pt x="2949212" y="5760780"/>
                  </a:lnTo>
                  <a:lnTo>
                    <a:pt x="3007658" y="5793643"/>
                  </a:lnTo>
                  <a:lnTo>
                    <a:pt x="3037986" y="5809583"/>
                  </a:lnTo>
                  <a:lnTo>
                    <a:pt x="3116389" y="5825140"/>
                  </a:lnTo>
                  <a:lnTo>
                    <a:pt x="3122339" y="5804267"/>
                  </a:lnTo>
                  <a:lnTo>
                    <a:pt x="3168203" y="5762146"/>
                  </a:lnTo>
                  <a:lnTo>
                    <a:pt x="3210263" y="5727667"/>
                  </a:lnTo>
                  <a:lnTo>
                    <a:pt x="3275765" y="5715639"/>
                  </a:lnTo>
                  <a:lnTo>
                    <a:pt x="3298782" y="5679168"/>
                  </a:lnTo>
                  <a:lnTo>
                    <a:pt x="3331236" y="5627780"/>
                  </a:lnTo>
                  <a:lnTo>
                    <a:pt x="3353849" y="5534991"/>
                  </a:lnTo>
                  <a:lnTo>
                    <a:pt x="3368153" y="5475142"/>
                  </a:lnTo>
                  <a:lnTo>
                    <a:pt x="3382775" y="5414014"/>
                  </a:lnTo>
                  <a:lnTo>
                    <a:pt x="3378971" y="5353064"/>
                  </a:lnTo>
                  <a:lnTo>
                    <a:pt x="3414399" y="5296954"/>
                  </a:lnTo>
                  <a:lnTo>
                    <a:pt x="3428809" y="5274169"/>
                  </a:lnTo>
                  <a:lnTo>
                    <a:pt x="3449148" y="5257893"/>
                  </a:lnTo>
                  <a:lnTo>
                    <a:pt x="3468807" y="5239829"/>
                  </a:lnTo>
                  <a:lnTo>
                    <a:pt x="3499411" y="5211728"/>
                  </a:lnTo>
                  <a:lnTo>
                    <a:pt x="3527189" y="5195241"/>
                  </a:lnTo>
                  <a:lnTo>
                    <a:pt x="3569462" y="5190855"/>
                  </a:lnTo>
                  <a:lnTo>
                    <a:pt x="3654814" y="5181972"/>
                  </a:lnTo>
                  <a:lnTo>
                    <a:pt x="3700445" y="5280420"/>
                  </a:lnTo>
                  <a:lnTo>
                    <a:pt x="3778932" y="5294238"/>
                  </a:lnTo>
                  <a:lnTo>
                    <a:pt x="3811768" y="5300014"/>
                  </a:lnTo>
                  <a:lnTo>
                    <a:pt x="3843945" y="5277954"/>
                  </a:lnTo>
                  <a:lnTo>
                    <a:pt x="3878227" y="5277915"/>
                  </a:lnTo>
                  <a:lnTo>
                    <a:pt x="3905750" y="5290491"/>
                  </a:lnTo>
                  <a:lnTo>
                    <a:pt x="3928554" y="5325517"/>
                  </a:lnTo>
                  <a:lnTo>
                    <a:pt x="3945046" y="5341331"/>
                  </a:lnTo>
                  <a:lnTo>
                    <a:pt x="3980242" y="5399393"/>
                  </a:lnTo>
                  <a:lnTo>
                    <a:pt x="3984790" y="5472036"/>
                  </a:lnTo>
                  <a:lnTo>
                    <a:pt x="4018328" y="5517310"/>
                  </a:lnTo>
                  <a:lnTo>
                    <a:pt x="4051907" y="5562617"/>
                  </a:lnTo>
                  <a:lnTo>
                    <a:pt x="4162870" y="5602576"/>
                  </a:lnTo>
                  <a:lnTo>
                    <a:pt x="4214196" y="5641083"/>
                  </a:lnTo>
                  <a:lnTo>
                    <a:pt x="4240124" y="5660465"/>
                  </a:lnTo>
                  <a:lnTo>
                    <a:pt x="4277806" y="5727035"/>
                  </a:lnTo>
                  <a:lnTo>
                    <a:pt x="4306690" y="5760780"/>
                  </a:lnTo>
                  <a:lnTo>
                    <a:pt x="4337570" y="5796953"/>
                  </a:lnTo>
                  <a:lnTo>
                    <a:pt x="4398035" y="5753942"/>
                  </a:lnTo>
                  <a:lnTo>
                    <a:pt x="4433188" y="5760780"/>
                  </a:lnTo>
                  <a:lnTo>
                    <a:pt x="4475121" y="5769031"/>
                  </a:lnTo>
                  <a:lnTo>
                    <a:pt x="4535479" y="5803627"/>
                  </a:lnTo>
                  <a:lnTo>
                    <a:pt x="4574648" y="5823353"/>
                  </a:lnTo>
                  <a:lnTo>
                    <a:pt x="4650352" y="5875592"/>
                  </a:lnTo>
                  <a:lnTo>
                    <a:pt x="4712220" y="5891149"/>
                  </a:lnTo>
                  <a:lnTo>
                    <a:pt x="4764141" y="5860713"/>
                  </a:lnTo>
                  <a:lnTo>
                    <a:pt x="4782759" y="5817911"/>
                  </a:lnTo>
                  <a:lnTo>
                    <a:pt x="4801993" y="5768945"/>
                  </a:lnTo>
                  <a:lnTo>
                    <a:pt x="4820207" y="5740977"/>
                  </a:lnTo>
                  <a:lnTo>
                    <a:pt x="4872808" y="5735746"/>
                  </a:lnTo>
                  <a:lnTo>
                    <a:pt x="4891575" y="5706372"/>
                  </a:lnTo>
                  <a:lnTo>
                    <a:pt x="4953570" y="5754067"/>
                  </a:lnTo>
                  <a:lnTo>
                    <a:pt x="5046442" y="5824711"/>
                  </a:lnTo>
                  <a:lnTo>
                    <a:pt x="5132623" y="5764645"/>
                  </a:lnTo>
                  <a:lnTo>
                    <a:pt x="5227539" y="5800224"/>
                  </a:lnTo>
                  <a:lnTo>
                    <a:pt x="5253723" y="5810084"/>
                  </a:lnTo>
                  <a:lnTo>
                    <a:pt x="5289811" y="5853953"/>
                  </a:lnTo>
                  <a:lnTo>
                    <a:pt x="5320033" y="5843752"/>
                  </a:lnTo>
                  <a:lnTo>
                    <a:pt x="5363327" y="5867084"/>
                  </a:lnTo>
                  <a:lnTo>
                    <a:pt x="5419031" y="5843752"/>
                  </a:lnTo>
                  <a:lnTo>
                    <a:pt x="5464215" y="5843752"/>
                  </a:lnTo>
                  <a:lnTo>
                    <a:pt x="5500855" y="5843752"/>
                  </a:lnTo>
                  <a:lnTo>
                    <a:pt x="5538197" y="5854587"/>
                  </a:lnTo>
                  <a:lnTo>
                    <a:pt x="5575751" y="5853274"/>
                  </a:lnTo>
                  <a:lnTo>
                    <a:pt x="5693048" y="5827771"/>
                  </a:lnTo>
                  <a:lnTo>
                    <a:pt x="5733683" y="5866451"/>
                  </a:lnTo>
                  <a:lnTo>
                    <a:pt x="5827388" y="5917198"/>
                  </a:lnTo>
                  <a:lnTo>
                    <a:pt x="5849215" y="5929016"/>
                  </a:lnTo>
                  <a:lnTo>
                    <a:pt x="5876972" y="5936416"/>
                  </a:lnTo>
                  <a:lnTo>
                    <a:pt x="5894038" y="5955291"/>
                  </a:lnTo>
                  <a:lnTo>
                    <a:pt x="5932485" y="5997710"/>
                  </a:lnTo>
                  <a:lnTo>
                    <a:pt x="5918012" y="6063637"/>
                  </a:lnTo>
                  <a:lnTo>
                    <a:pt x="5948445" y="6106267"/>
                  </a:lnTo>
                  <a:lnTo>
                    <a:pt x="5978349" y="6148178"/>
                  </a:lnTo>
                  <a:lnTo>
                    <a:pt x="6090055" y="6146522"/>
                  </a:lnTo>
                  <a:lnTo>
                    <a:pt x="6123912" y="6110343"/>
                  </a:lnTo>
                  <a:lnTo>
                    <a:pt x="6141105" y="6091983"/>
                  </a:lnTo>
                  <a:lnTo>
                    <a:pt x="6175791" y="6061080"/>
                  </a:lnTo>
                  <a:lnTo>
                    <a:pt x="6201442" y="6061376"/>
                  </a:lnTo>
                  <a:lnTo>
                    <a:pt x="6287050" y="6056536"/>
                  </a:lnTo>
                  <a:lnTo>
                    <a:pt x="6270707" y="6025717"/>
                  </a:lnTo>
                  <a:lnTo>
                    <a:pt x="6312976" y="5997445"/>
                  </a:lnTo>
                  <a:lnTo>
                    <a:pt x="6332385" y="5984486"/>
                  </a:lnTo>
                  <a:lnTo>
                    <a:pt x="6357379" y="5975603"/>
                  </a:lnTo>
                  <a:lnTo>
                    <a:pt x="6378266" y="5964806"/>
                  </a:lnTo>
                  <a:lnTo>
                    <a:pt x="6418969" y="5978452"/>
                  </a:lnTo>
                  <a:lnTo>
                    <a:pt x="6496500" y="5983379"/>
                  </a:lnTo>
                  <a:lnTo>
                    <a:pt x="6562982" y="5978069"/>
                  </a:lnTo>
                  <a:lnTo>
                    <a:pt x="6617661" y="5997445"/>
                  </a:lnTo>
                  <a:lnTo>
                    <a:pt x="6669391" y="6015766"/>
                  </a:lnTo>
                  <a:lnTo>
                    <a:pt x="6704166" y="6064225"/>
                  </a:lnTo>
                  <a:lnTo>
                    <a:pt x="6757763" y="6077699"/>
                  </a:lnTo>
                  <a:lnTo>
                    <a:pt x="6782270" y="6083904"/>
                  </a:lnTo>
                  <a:lnTo>
                    <a:pt x="6810812" y="6098104"/>
                  </a:lnTo>
                  <a:lnTo>
                    <a:pt x="6832536" y="6129726"/>
                  </a:lnTo>
                  <a:lnTo>
                    <a:pt x="6885453" y="6218394"/>
                  </a:lnTo>
                  <a:lnTo>
                    <a:pt x="6921752" y="6228807"/>
                  </a:lnTo>
                  <a:lnTo>
                    <a:pt x="7002599" y="6234123"/>
                  </a:lnTo>
                  <a:lnTo>
                    <a:pt x="7033437" y="6236160"/>
                  </a:lnTo>
                  <a:lnTo>
                    <a:pt x="7083189" y="6200417"/>
                  </a:lnTo>
                  <a:lnTo>
                    <a:pt x="7077411" y="6166117"/>
                  </a:lnTo>
                  <a:lnTo>
                    <a:pt x="7107847" y="6178779"/>
                  </a:lnTo>
                  <a:lnTo>
                    <a:pt x="7177535" y="6226302"/>
                  </a:lnTo>
                  <a:lnTo>
                    <a:pt x="7284438" y="6290827"/>
                  </a:lnTo>
                  <a:lnTo>
                    <a:pt x="7358974" y="6265410"/>
                  </a:lnTo>
                  <a:lnTo>
                    <a:pt x="7378013" y="6253162"/>
                  </a:lnTo>
                  <a:lnTo>
                    <a:pt x="7411087" y="6224178"/>
                  </a:lnTo>
                  <a:lnTo>
                    <a:pt x="7447682" y="6205646"/>
                  </a:lnTo>
                  <a:lnTo>
                    <a:pt x="7485471" y="6183798"/>
                  </a:lnTo>
                  <a:lnTo>
                    <a:pt x="7512293" y="6168240"/>
                  </a:lnTo>
                  <a:lnTo>
                    <a:pt x="7539582" y="6151153"/>
                  </a:lnTo>
                  <a:lnTo>
                    <a:pt x="7569800" y="6142988"/>
                  </a:lnTo>
                  <a:lnTo>
                    <a:pt x="7654941" y="6119952"/>
                  </a:lnTo>
                  <a:lnTo>
                    <a:pt x="7717045" y="6179207"/>
                  </a:lnTo>
                  <a:lnTo>
                    <a:pt x="7787432" y="6138912"/>
                  </a:lnTo>
                  <a:lnTo>
                    <a:pt x="7870765" y="6091225"/>
                  </a:lnTo>
                  <a:lnTo>
                    <a:pt x="7818679" y="6023257"/>
                  </a:lnTo>
                  <a:lnTo>
                    <a:pt x="7964261" y="5981129"/>
                  </a:lnTo>
                  <a:lnTo>
                    <a:pt x="8073604" y="5949506"/>
                  </a:lnTo>
                  <a:lnTo>
                    <a:pt x="8168267" y="6023508"/>
                  </a:lnTo>
                  <a:lnTo>
                    <a:pt x="8271663" y="6027379"/>
                  </a:lnTo>
                  <a:lnTo>
                    <a:pt x="8358465" y="6030664"/>
                  </a:lnTo>
                  <a:lnTo>
                    <a:pt x="8342347" y="5987572"/>
                  </a:lnTo>
                  <a:lnTo>
                    <a:pt x="8477054" y="6026021"/>
                  </a:lnTo>
                </a:path>
              </a:pathLst>
            </a:custGeom>
            <a:solidFill>
              <a:schemeClr val="tx2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88" name="Ivano-Frankivsk¬0" descr="Ivano-Frankivsk¬0">
              <a:extLst>
                <a:ext uri="{FF2B5EF4-FFF2-40B4-BE49-F238E27FC236}">
                  <a16:creationId xmlns:a16="http://schemas.microsoft.com/office/drawing/2014/main" id="{8A7C6C8A-76C2-4F2F-927C-6CB0CEBED64C}"/>
                </a:ext>
              </a:extLst>
            </p:cNvPr>
            <p:cNvSpPr/>
            <p:nvPr/>
          </p:nvSpPr>
          <p:spPr>
            <a:xfrm>
              <a:off x="1353393" y="2476792"/>
              <a:ext cx="727004" cy="823008"/>
            </a:xfrm>
            <a:custGeom>
              <a:avLst/>
              <a:gdLst/>
              <a:ahLst/>
              <a:cxnLst/>
              <a:rect l="0" t="0" r="0" b="0"/>
              <a:pathLst>
                <a:path w="7418671" h="9533502">
                  <a:moveTo>
                    <a:pt x="4885970" y="9491260"/>
                  </a:moveTo>
                  <a:lnTo>
                    <a:pt x="4885970" y="9465415"/>
                  </a:lnTo>
                  <a:lnTo>
                    <a:pt x="4883247" y="9411006"/>
                  </a:lnTo>
                  <a:lnTo>
                    <a:pt x="4889881" y="9342083"/>
                  </a:lnTo>
                  <a:lnTo>
                    <a:pt x="4894029" y="9307598"/>
                  </a:lnTo>
                  <a:lnTo>
                    <a:pt x="4903652" y="9274986"/>
                  </a:lnTo>
                  <a:lnTo>
                    <a:pt x="4913273" y="9242374"/>
                  </a:lnTo>
                  <a:lnTo>
                    <a:pt x="4928890" y="9212480"/>
                  </a:lnTo>
                  <a:lnTo>
                    <a:pt x="4959418" y="9153930"/>
                  </a:lnTo>
                  <a:lnTo>
                    <a:pt x="5017908" y="9039673"/>
                  </a:lnTo>
                  <a:lnTo>
                    <a:pt x="5039598" y="9011883"/>
                  </a:lnTo>
                  <a:lnTo>
                    <a:pt x="5062021" y="8956109"/>
                  </a:lnTo>
                  <a:lnTo>
                    <a:pt x="5073925" y="8919119"/>
                  </a:lnTo>
                  <a:lnTo>
                    <a:pt x="5077756" y="8881891"/>
                  </a:lnTo>
                  <a:lnTo>
                    <a:pt x="5081588" y="8844662"/>
                  </a:lnTo>
                  <a:lnTo>
                    <a:pt x="5077691" y="8806827"/>
                  </a:lnTo>
                  <a:lnTo>
                    <a:pt x="5060076" y="8767634"/>
                  </a:lnTo>
                  <a:lnTo>
                    <a:pt x="5043997" y="8733097"/>
                  </a:lnTo>
                  <a:lnTo>
                    <a:pt x="5029904" y="8696073"/>
                  </a:lnTo>
                  <a:lnTo>
                    <a:pt x="5023349" y="8658818"/>
                  </a:lnTo>
                  <a:lnTo>
                    <a:pt x="5018614" y="8576547"/>
                  </a:lnTo>
                  <a:lnTo>
                    <a:pt x="5026257" y="8546910"/>
                  </a:lnTo>
                  <a:lnTo>
                    <a:pt x="5021990" y="8521440"/>
                  </a:lnTo>
                  <a:lnTo>
                    <a:pt x="5017723" y="8495964"/>
                  </a:lnTo>
                  <a:lnTo>
                    <a:pt x="5001684" y="8473936"/>
                  </a:lnTo>
                  <a:lnTo>
                    <a:pt x="4948543" y="8409899"/>
                  </a:lnTo>
                  <a:lnTo>
                    <a:pt x="4933843" y="8392200"/>
                  </a:lnTo>
                  <a:lnTo>
                    <a:pt x="4922467" y="8369691"/>
                  </a:lnTo>
                  <a:lnTo>
                    <a:pt x="4914533" y="8343252"/>
                  </a:lnTo>
                  <a:lnTo>
                    <a:pt x="4906599" y="8316814"/>
                  </a:lnTo>
                  <a:lnTo>
                    <a:pt x="4902035" y="8287617"/>
                  </a:lnTo>
                  <a:lnTo>
                    <a:pt x="4898211" y="8257558"/>
                  </a:lnTo>
                  <a:lnTo>
                    <a:pt x="4890560" y="8197446"/>
                  </a:lnTo>
                  <a:lnTo>
                    <a:pt x="4887698" y="8134121"/>
                  </a:lnTo>
                  <a:lnTo>
                    <a:pt x="4880530" y="8090252"/>
                  </a:lnTo>
                  <a:lnTo>
                    <a:pt x="4874997" y="8056386"/>
                  </a:lnTo>
                  <a:lnTo>
                    <a:pt x="4878294" y="8022080"/>
                  </a:lnTo>
                  <a:lnTo>
                    <a:pt x="4887329" y="7986883"/>
                  </a:lnTo>
                  <a:lnTo>
                    <a:pt x="4896371" y="7951679"/>
                  </a:lnTo>
                  <a:lnTo>
                    <a:pt x="4911730" y="7916469"/>
                  </a:lnTo>
                  <a:lnTo>
                    <a:pt x="4929496" y="7882142"/>
                  </a:lnTo>
                  <a:lnTo>
                    <a:pt x="4965024" y="7813503"/>
                  </a:lnTo>
                  <a:lnTo>
                    <a:pt x="5012467" y="7749058"/>
                  </a:lnTo>
                  <a:lnTo>
                    <a:pt x="5047836" y="7697155"/>
                  </a:lnTo>
                  <a:lnTo>
                    <a:pt x="5063927" y="7673546"/>
                  </a:lnTo>
                  <a:lnTo>
                    <a:pt x="5072316" y="7645024"/>
                  </a:lnTo>
                  <a:lnTo>
                    <a:pt x="5077756" y="7615543"/>
                  </a:lnTo>
                  <a:lnTo>
                    <a:pt x="5083197" y="7586071"/>
                  </a:lnTo>
                  <a:lnTo>
                    <a:pt x="5085855" y="7554752"/>
                  </a:lnTo>
                  <a:lnTo>
                    <a:pt x="5090004" y="7524415"/>
                  </a:lnTo>
                  <a:lnTo>
                    <a:pt x="5094138" y="7494073"/>
                  </a:lnTo>
                  <a:lnTo>
                    <a:pt x="5099553" y="7464929"/>
                  </a:lnTo>
                  <a:lnTo>
                    <a:pt x="5111767" y="7438721"/>
                  </a:lnTo>
                  <a:lnTo>
                    <a:pt x="5123974" y="7412514"/>
                  </a:lnTo>
                  <a:lnTo>
                    <a:pt x="5141978" y="7389160"/>
                  </a:lnTo>
                  <a:lnTo>
                    <a:pt x="5171609" y="7372073"/>
                  </a:lnTo>
                  <a:lnTo>
                    <a:pt x="5221499" y="7374882"/>
                  </a:lnTo>
                  <a:lnTo>
                    <a:pt x="5251862" y="7370715"/>
                  </a:lnTo>
                  <a:lnTo>
                    <a:pt x="5282225" y="7366546"/>
                  </a:lnTo>
                  <a:lnTo>
                    <a:pt x="5311256" y="7357981"/>
                  </a:lnTo>
                  <a:lnTo>
                    <a:pt x="5351907" y="7307292"/>
                  </a:lnTo>
                  <a:lnTo>
                    <a:pt x="5386372" y="7270268"/>
                  </a:lnTo>
                  <a:lnTo>
                    <a:pt x="5411004" y="7233329"/>
                  </a:lnTo>
                  <a:lnTo>
                    <a:pt x="5422855" y="7215563"/>
                  </a:lnTo>
                  <a:lnTo>
                    <a:pt x="5437575" y="7180043"/>
                  </a:lnTo>
                  <a:lnTo>
                    <a:pt x="5457253" y="7147642"/>
                  </a:lnTo>
                  <a:lnTo>
                    <a:pt x="5477612" y="7115445"/>
                  </a:lnTo>
                  <a:lnTo>
                    <a:pt x="5502185" y="7092780"/>
                  </a:lnTo>
                  <a:lnTo>
                    <a:pt x="5530708" y="7085070"/>
                  </a:lnTo>
                  <a:lnTo>
                    <a:pt x="5561981" y="7085135"/>
                  </a:lnTo>
                  <a:lnTo>
                    <a:pt x="5583750" y="7083711"/>
                  </a:lnTo>
                  <a:lnTo>
                    <a:pt x="5605527" y="7082247"/>
                  </a:lnTo>
                  <a:lnTo>
                    <a:pt x="5630001" y="7071471"/>
                  </a:lnTo>
                  <a:lnTo>
                    <a:pt x="5638561" y="7052023"/>
                  </a:lnTo>
                  <a:lnTo>
                    <a:pt x="5625925" y="7018422"/>
                  </a:lnTo>
                  <a:lnTo>
                    <a:pt x="5605415" y="6985948"/>
                  </a:lnTo>
                  <a:lnTo>
                    <a:pt x="5594744" y="6938003"/>
                  </a:lnTo>
                  <a:lnTo>
                    <a:pt x="5595595" y="6913220"/>
                  </a:lnTo>
                  <a:lnTo>
                    <a:pt x="5597363" y="6882402"/>
                  </a:lnTo>
                  <a:lnTo>
                    <a:pt x="5599256" y="6847027"/>
                  </a:lnTo>
                  <a:lnTo>
                    <a:pt x="5618347" y="6795843"/>
                  </a:lnTo>
                  <a:lnTo>
                    <a:pt x="5635468" y="6769147"/>
                  </a:lnTo>
                  <a:lnTo>
                    <a:pt x="5654494" y="6750464"/>
                  </a:lnTo>
                  <a:lnTo>
                    <a:pt x="5673520" y="6731774"/>
                  </a:lnTo>
                  <a:lnTo>
                    <a:pt x="5694637" y="6721703"/>
                  </a:lnTo>
                  <a:lnTo>
                    <a:pt x="5734048" y="6708487"/>
                  </a:lnTo>
                  <a:lnTo>
                    <a:pt x="5770110" y="6700139"/>
                  </a:lnTo>
                  <a:lnTo>
                    <a:pt x="5803651" y="6686704"/>
                  </a:lnTo>
                  <a:lnTo>
                    <a:pt x="5839448" y="6644069"/>
                  </a:lnTo>
                  <a:lnTo>
                    <a:pt x="5859365" y="6615150"/>
                  </a:lnTo>
                  <a:lnTo>
                    <a:pt x="5878925" y="6585882"/>
                  </a:lnTo>
                  <a:lnTo>
                    <a:pt x="5898485" y="6556606"/>
                  </a:lnTo>
                  <a:lnTo>
                    <a:pt x="5918455" y="6526647"/>
                  </a:lnTo>
                  <a:lnTo>
                    <a:pt x="5938774" y="6497470"/>
                  </a:lnTo>
                  <a:lnTo>
                    <a:pt x="5951865" y="6478675"/>
                  </a:lnTo>
                  <a:lnTo>
                    <a:pt x="5968062" y="6463334"/>
                  </a:lnTo>
                  <a:lnTo>
                    <a:pt x="5980942" y="6444421"/>
                  </a:lnTo>
                  <a:lnTo>
                    <a:pt x="6014457" y="6395111"/>
                  </a:lnTo>
                  <a:lnTo>
                    <a:pt x="6040046" y="6342319"/>
                  </a:lnTo>
                  <a:lnTo>
                    <a:pt x="6080235" y="6297520"/>
                  </a:lnTo>
                  <a:lnTo>
                    <a:pt x="6111106" y="6263068"/>
                  </a:lnTo>
                  <a:lnTo>
                    <a:pt x="6153312" y="6228623"/>
                  </a:lnTo>
                  <a:lnTo>
                    <a:pt x="6197215" y="6195503"/>
                  </a:lnTo>
                  <a:lnTo>
                    <a:pt x="6241111" y="6162376"/>
                  </a:lnTo>
                  <a:lnTo>
                    <a:pt x="6286444" y="6131552"/>
                  </a:lnTo>
                  <a:lnTo>
                    <a:pt x="6322353" y="6105727"/>
                  </a:lnTo>
                  <a:lnTo>
                    <a:pt x="6356588" y="6081114"/>
                  </a:lnTo>
                  <a:lnTo>
                    <a:pt x="6388428" y="6041208"/>
                  </a:lnTo>
                  <a:lnTo>
                    <a:pt x="6427087" y="6017315"/>
                  </a:lnTo>
                  <a:lnTo>
                    <a:pt x="6478996" y="5985224"/>
                  </a:lnTo>
                  <a:lnTo>
                    <a:pt x="6537097" y="5961153"/>
                  </a:lnTo>
                  <a:lnTo>
                    <a:pt x="6597110" y="5942503"/>
                  </a:lnTo>
                  <a:lnTo>
                    <a:pt x="6657124" y="5923853"/>
                  </a:lnTo>
                  <a:lnTo>
                    <a:pt x="6718601" y="5910373"/>
                  </a:lnTo>
                  <a:lnTo>
                    <a:pt x="6778015" y="5901701"/>
                  </a:lnTo>
                  <a:lnTo>
                    <a:pt x="6825221" y="5896589"/>
                  </a:lnTo>
                  <a:lnTo>
                    <a:pt x="6929190" y="5892941"/>
                  </a:lnTo>
                  <a:lnTo>
                    <a:pt x="6952120" y="5901701"/>
                  </a:lnTo>
                  <a:lnTo>
                    <a:pt x="6982087" y="5913221"/>
                  </a:lnTo>
                  <a:lnTo>
                    <a:pt x="7015564" y="5923721"/>
                  </a:lnTo>
                  <a:lnTo>
                    <a:pt x="7044614" y="5937069"/>
                  </a:lnTo>
                  <a:lnTo>
                    <a:pt x="7065388" y="5946605"/>
                  </a:lnTo>
                  <a:lnTo>
                    <a:pt x="7087000" y="5963039"/>
                  </a:lnTo>
                  <a:lnTo>
                    <a:pt x="7109904" y="5972431"/>
                  </a:lnTo>
                  <a:lnTo>
                    <a:pt x="7133322" y="5979942"/>
                  </a:lnTo>
                  <a:lnTo>
                    <a:pt x="7157222" y="5978518"/>
                  </a:lnTo>
                  <a:lnTo>
                    <a:pt x="7180634" y="5964266"/>
                  </a:lnTo>
                  <a:lnTo>
                    <a:pt x="7198098" y="5936046"/>
                  </a:lnTo>
                  <a:lnTo>
                    <a:pt x="7206433" y="5907385"/>
                  </a:lnTo>
                  <a:lnTo>
                    <a:pt x="7211920" y="5877220"/>
                  </a:lnTo>
                  <a:lnTo>
                    <a:pt x="7217407" y="5847048"/>
                  </a:lnTo>
                  <a:lnTo>
                    <a:pt x="7220533" y="5815366"/>
                  </a:lnTo>
                  <a:lnTo>
                    <a:pt x="7226884" y="5784720"/>
                  </a:lnTo>
                  <a:lnTo>
                    <a:pt x="7232530" y="5757477"/>
                  </a:lnTo>
                  <a:lnTo>
                    <a:pt x="7241458" y="5727852"/>
                  </a:lnTo>
                  <a:lnTo>
                    <a:pt x="7244565" y="5700390"/>
                  </a:lnTo>
                  <a:lnTo>
                    <a:pt x="7246991" y="5678753"/>
                  </a:lnTo>
                  <a:lnTo>
                    <a:pt x="7276425" y="5291460"/>
                  </a:lnTo>
                  <a:lnTo>
                    <a:pt x="7270410" y="5269209"/>
                  </a:lnTo>
                  <a:lnTo>
                    <a:pt x="7263776" y="5244657"/>
                  </a:lnTo>
                  <a:lnTo>
                    <a:pt x="7250283" y="5225280"/>
                  </a:lnTo>
                  <a:lnTo>
                    <a:pt x="7241848" y="5202554"/>
                  </a:lnTo>
                  <a:lnTo>
                    <a:pt x="7227115" y="5162958"/>
                  </a:lnTo>
                  <a:lnTo>
                    <a:pt x="7214262" y="5121649"/>
                  </a:lnTo>
                  <a:lnTo>
                    <a:pt x="7201038" y="5081498"/>
                  </a:lnTo>
                  <a:lnTo>
                    <a:pt x="7188502" y="5043393"/>
                  </a:lnTo>
                  <a:lnTo>
                    <a:pt x="7165947" y="5003903"/>
                  </a:lnTo>
                  <a:lnTo>
                    <a:pt x="7156154" y="4964525"/>
                  </a:lnTo>
                  <a:lnTo>
                    <a:pt x="7150627" y="4942274"/>
                  </a:lnTo>
                  <a:lnTo>
                    <a:pt x="7132695" y="4882583"/>
                  </a:lnTo>
                  <a:lnTo>
                    <a:pt x="7120785" y="4821698"/>
                  </a:lnTo>
                  <a:lnTo>
                    <a:pt x="7114830" y="4791257"/>
                  </a:lnTo>
                  <a:lnTo>
                    <a:pt x="7110807" y="4760722"/>
                  </a:lnTo>
                  <a:lnTo>
                    <a:pt x="7109904" y="4734646"/>
                  </a:lnTo>
                  <a:lnTo>
                    <a:pt x="7109000" y="4708576"/>
                  </a:lnTo>
                  <a:lnTo>
                    <a:pt x="7110846" y="4687156"/>
                  </a:lnTo>
                  <a:lnTo>
                    <a:pt x="7179275" y="4604067"/>
                  </a:lnTo>
                  <a:lnTo>
                    <a:pt x="7201612" y="4577846"/>
                  </a:lnTo>
                  <a:lnTo>
                    <a:pt x="7221140" y="4556333"/>
                  </a:lnTo>
                  <a:lnTo>
                    <a:pt x="7248647" y="4536060"/>
                  </a:lnTo>
                  <a:lnTo>
                    <a:pt x="7283903" y="4512985"/>
                  </a:lnTo>
                  <a:lnTo>
                    <a:pt x="7319476" y="4491129"/>
                  </a:lnTo>
                  <a:lnTo>
                    <a:pt x="7350663" y="4465331"/>
                  </a:lnTo>
                  <a:lnTo>
                    <a:pt x="7374023" y="4441542"/>
                  </a:lnTo>
                  <a:lnTo>
                    <a:pt x="7400752" y="4418380"/>
                  </a:lnTo>
                  <a:lnTo>
                    <a:pt x="7418670" y="4389159"/>
                  </a:lnTo>
                  <a:lnTo>
                    <a:pt x="7414588" y="4348350"/>
                  </a:lnTo>
                  <a:lnTo>
                    <a:pt x="7393333" y="4322181"/>
                  </a:lnTo>
                  <a:lnTo>
                    <a:pt x="7370561" y="4306511"/>
                  </a:lnTo>
                  <a:lnTo>
                    <a:pt x="7347940" y="4298023"/>
                  </a:lnTo>
                  <a:lnTo>
                    <a:pt x="7328505" y="4289280"/>
                  </a:lnTo>
                  <a:lnTo>
                    <a:pt x="7307401" y="4273801"/>
                  </a:lnTo>
                  <a:lnTo>
                    <a:pt x="7305383" y="4252914"/>
                  </a:lnTo>
                  <a:lnTo>
                    <a:pt x="7311213" y="4232734"/>
                  </a:lnTo>
                  <a:lnTo>
                    <a:pt x="7327535" y="4206889"/>
                  </a:lnTo>
                  <a:lnTo>
                    <a:pt x="7342235" y="4191634"/>
                  </a:lnTo>
                  <a:lnTo>
                    <a:pt x="7359085" y="4178617"/>
                  </a:lnTo>
                  <a:lnTo>
                    <a:pt x="7377861" y="4167445"/>
                  </a:lnTo>
                  <a:lnTo>
                    <a:pt x="7384667" y="4137525"/>
                  </a:lnTo>
                  <a:lnTo>
                    <a:pt x="7380901" y="4115569"/>
                  </a:lnTo>
                  <a:lnTo>
                    <a:pt x="7372104" y="4094181"/>
                  </a:lnTo>
                  <a:lnTo>
                    <a:pt x="7360180" y="4074952"/>
                  </a:lnTo>
                  <a:lnTo>
                    <a:pt x="7345038" y="4059131"/>
                  </a:lnTo>
                  <a:lnTo>
                    <a:pt x="7324185" y="4047153"/>
                  </a:lnTo>
                  <a:lnTo>
                    <a:pt x="7304414" y="4039589"/>
                  </a:lnTo>
                  <a:lnTo>
                    <a:pt x="7281292" y="4028708"/>
                  </a:lnTo>
                  <a:lnTo>
                    <a:pt x="7260888" y="4013744"/>
                  </a:lnTo>
                  <a:lnTo>
                    <a:pt x="7245699" y="3997772"/>
                  </a:lnTo>
                  <a:lnTo>
                    <a:pt x="7232925" y="3978599"/>
                  </a:lnTo>
                  <a:lnTo>
                    <a:pt x="7222801" y="3959335"/>
                  </a:lnTo>
                  <a:lnTo>
                    <a:pt x="7209421" y="3936095"/>
                  </a:lnTo>
                  <a:lnTo>
                    <a:pt x="7195374" y="3911839"/>
                  </a:lnTo>
                  <a:lnTo>
                    <a:pt x="7181992" y="3889964"/>
                  </a:lnTo>
                  <a:lnTo>
                    <a:pt x="7167497" y="3872164"/>
                  </a:lnTo>
                  <a:lnTo>
                    <a:pt x="7143597" y="3856126"/>
                  </a:lnTo>
                  <a:lnTo>
                    <a:pt x="7104463" y="3843721"/>
                  </a:lnTo>
                  <a:lnTo>
                    <a:pt x="7065395" y="3835200"/>
                  </a:lnTo>
                  <a:lnTo>
                    <a:pt x="7026557" y="3830478"/>
                  </a:lnTo>
                  <a:lnTo>
                    <a:pt x="6990206" y="3824675"/>
                  </a:lnTo>
                  <a:lnTo>
                    <a:pt x="6956420" y="3817374"/>
                  </a:lnTo>
                  <a:lnTo>
                    <a:pt x="6932322" y="3804019"/>
                  </a:lnTo>
                  <a:lnTo>
                    <a:pt x="6912676" y="3790671"/>
                  </a:lnTo>
                  <a:lnTo>
                    <a:pt x="6891526" y="3778438"/>
                  </a:lnTo>
                  <a:lnTo>
                    <a:pt x="6871260" y="3764820"/>
                  </a:lnTo>
                  <a:lnTo>
                    <a:pt x="6851469" y="3751227"/>
                  </a:lnTo>
                  <a:lnTo>
                    <a:pt x="6830715" y="3738552"/>
                  </a:lnTo>
                  <a:lnTo>
                    <a:pt x="6806769" y="3731166"/>
                  </a:lnTo>
                  <a:lnTo>
                    <a:pt x="6756252" y="3721307"/>
                  </a:lnTo>
                  <a:lnTo>
                    <a:pt x="6735847" y="3696826"/>
                  </a:lnTo>
                  <a:lnTo>
                    <a:pt x="6726291" y="3675221"/>
                  </a:lnTo>
                  <a:lnTo>
                    <a:pt x="6720923" y="3653135"/>
                  </a:lnTo>
                  <a:lnTo>
                    <a:pt x="6720890" y="3631531"/>
                  </a:lnTo>
                  <a:lnTo>
                    <a:pt x="6727096" y="3611454"/>
                  </a:lnTo>
                  <a:lnTo>
                    <a:pt x="6749261" y="3586031"/>
                  </a:lnTo>
                  <a:lnTo>
                    <a:pt x="6767390" y="3573171"/>
                  </a:lnTo>
                  <a:lnTo>
                    <a:pt x="6780739" y="3554000"/>
                  </a:lnTo>
                  <a:lnTo>
                    <a:pt x="6782097" y="3529520"/>
                  </a:lnTo>
                  <a:lnTo>
                    <a:pt x="6756252" y="3507757"/>
                  </a:lnTo>
                  <a:lnTo>
                    <a:pt x="6731719" y="3492200"/>
                  </a:lnTo>
                  <a:lnTo>
                    <a:pt x="6704614" y="3479788"/>
                  </a:lnTo>
                  <a:lnTo>
                    <a:pt x="6678722" y="3472388"/>
                  </a:lnTo>
                  <a:lnTo>
                    <a:pt x="6654414" y="3467680"/>
                  </a:lnTo>
                  <a:lnTo>
                    <a:pt x="6633824" y="3481904"/>
                  </a:lnTo>
                  <a:lnTo>
                    <a:pt x="6629755" y="3510474"/>
                  </a:lnTo>
                  <a:lnTo>
                    <a:pt x="6633824" y="3540395"/>
                  </a:lnTo>
                  <a:lnTo>
                    <a:pt x="6635182" y="3568958"/>
                  </a:lnTo>
                  <a:lnTo>
                    <a:pt x="6620225" y="3593445"/>
                  </a:lnTo>
                  <a:lnTo>
                    <a:pt x="6586710" y="3604385"/>
                  </a:lnTo>
                  <a:lnTo>
                    <a:pt x="6564459" y="3597520"/>
                  </a:lnTo>
                  <a:lnTo>
                    <a:pt x="6542207" y="3590654"/>
                  </a:lnTo>
                  <a:lnTo>
                    <a:pt x="6517503" y="3577525"/>
                  </a:lnTo>
                  <a:lnTo>
                    <a:pt x="6492363" y="3564876"/>
                  </a:lnTo>
                  <a:lnTo>
                    <a:pt x="6467224" y="3552227"/>
                  </a:lnTo>
                  <a:lnTo>
                    <a:pt x="6441596" y="3540620"/>
                  </a:lnTo>
                  <a:lnTo>
                    <a:pt x="6418916" y="3534947"/>
                  </a:lnTo>
                  <a:lnTo>
                    <a:pt x="6396236" y="3529276"/>
                  </a:lnTo>
                  <a:lnTo>
                    <a:pt x="6361784" y="3544471"/>
                  </a:lnTo>
                  <a:lnTo>
                    <a:pt x="6347368" y="3577273"/>
                  </a:lnTo>
                  <a:lnTo>
                    <a:pt x="6354444" y="3617766"/>
                  </a:lnTo>
                  <a:lnTo>
                    <a:pt x="6362991" y="3640604"/>
                  </a:lnTo>
                  <a:lnTo>
                    <a:pt x="6371308" y="3662809"/>
                  </a:lnTo>
                  <a:lnTo>
                    <a:pt x="6379623" y="3685014"/>
                  </a:lnTo>
                  <a:lnTo>
                    <a:pt x="6387722" y="3707002"/>
                  </a:lnTo>
                  <a:lnTo>
                    <a:pt x="6388988" y="3728098"/>
                  </a:lnTo>
                  <a:lnTo>
                    <a:pt x="6390255" y="3749196"/>
                  </a:lnTo>
                  <a:lnTo>
                    <a:pt x="6384827" y="3769673"/>
                  </a:lnTo>
                  <a:lnTo>
                    <a:pt x="6367225" y="3786589"/>
                  </a:lnTo>
                  <a:lnTo>
                    <a:pt x="6350777" y="3799885"/>
                  </a:lnTo>
                  <a:lnTo>
                    <a:pt x="6324233" y="3795499"/>
                  </a:lnTo>
                  <a:lnTo>
                    <a:pt x="6297135" y="3779591"/>
                  </a:lnTo>
                  <a:lnTo>
                    <a:pt x="6271586" y="3764279"/>
                  </a:lnTo>
                  <a:lnTo>
                    <a:pt x="6243498" y="3760434"/>
                  </a:lnTo>
                  <a:lnTo>
                    <a:pt x="6213624" y="3774145"/>
                  </a:lnTo>
                  <a:lnTo>
                    <a:pt x="6191761" y="3808352"/>
                  </a:lnTo>
                  <a:lnTo>
                    <a:pt x="6175432" y="3848449"/>
                  </a:lnTo>
                  <a:lnTo>
                    <a:pt x="6168639" y="3869559"/>
                  </a:lnTo>
                  <a:lnTo>
                    <a:pt x="6161840" y="3890670"/>
                  </a:lnTo>
                  <a:lnTo>
                    <a:pt x="6154553" y="3910765"/>
                  </a:lnTo>
                  <a:lnTo>
                    <a:pt x="6131036" y="3945342"/>
                  </a:lnTo>
                  <a:lnTo>
                    <a:pt x="6114284" y="3959151"/>
                  </a:lnTo>
                  <a:lnTo>
                    <a:pt x="6089744" y="3966135"/>
                  </a:lnTo>
                  <a:lnTo>
                    <a:pt x="6052319" y="3956309"/>
                  </a:lnTo>
                  <a:lnTo>
                    <a:pt x="6021072" y="3943324"/>
                  </a:lnTo>
                  <a:lnTo>
                    <a:pt x="5995893" y="3925333"/>
                  </a:lnTo>
                  <a:lnTo>
                    <a:pt x="5976378" y="3903912"/>
                  </a:lnTo>
                  <a:lnTo>
                    <a:pt x="5963716" y="3873299"/>
                  </a:lnTo>
                  <a:lnTo>
                    <a:pt x="5957807" y="3832839"/>
                  </a:lnTo>
                  <a:lnTo>
                    <a:pt x="5957807" y="3805635"/>
                  </a:lnTo>
                  <a:lnTo>
                    <a:pt x="5960524" y="3782507"/>
                  </a:lnTo>
                  <a:lnTo>
                    <a:pt x="5968689" y="3760751"/>
                  </a:lnTo>
                  <a:lnTo>
                    <a:pt x="5985011" y="3738981"/>
                  </a:lnTo>
                  <a:lnTo>
                    <a:pt x="6017056" y="3718966"/>
                  </a:lnTo>
                  <a:lnTo>
                    <a:pt x="6043494" y="3714501"/>
                  </a:lnTo>
                  <a:lnTo>
                    <a:pt x="6069940" y="3710036"/>
                  </a:lnTo>
                  <a:lnTo>
                    <a:pt x="6101682" y="3707470"/>
                  </a:lnTo>
                  <a:lnTo>
                    <a:pt x="6133271" y="3704977"/>
                  </a:lnTo>
                  <a:lnTo>
                    <a:pt x="6164861" y="3702484"/>
                  </a:lnTo>
                  <a:lnTo>
                    <a:pt x="6195705" y="3699371"/>
                  </a:lnTo>
                  <a:lnTo>
                    <a:pt x="6221682" y="3692738"/>
                  </a:lnTo>
                  <a:lnTo>
                    <a:pt x="6247659" y="3686102"/>
                  </a:lnTo>
                  <a:lnTo>
                    <a:pt x="6267847" y="3676988"/>
                  </a:lnTo>
                  <a:lnTo>
                    <a:pt x="6279262" y="3653273"/>
                  </a:lnTo>
                  <a:lnTo>
                    <a:pt x="6277303" y="3628734"/>
                  </a:lnTo>
                  <a:lnTo>
                    <a:pt x="6265209" y="3608402"/>
                  </a:lnTo>
                  <a:lnTo>
                    <a:pt x="6233540" y="3593082"/>
                  </a:lnTo>
                  <a:lnTo>
                    <a:pt x="6177451" y="3585814"/>
                  </a:lnTo>
                  <a:lnTo>
                    <a:pt x="6142596" y="3554969"/>
                  </a:lnTo>
                  <a:lnTo>
                    <a:pt x="6128338" y="3525563"/>
                  </a:lnTo>
                  <a:lnTo>
                    <a:pt x="6108784" y="3505033"/>
                  </a:lnTo>
                  <a:lnTo>
                    <a:pt x="6088419" y="3486040"/>
                  </a:lnTo>
                  <a:lnTo>
                    <a:pt x="6061142" y="3480493"/>
                  </a:lnTo>
                  <a:lnTo>
                    <a:pt x="6024448" y="3492786"/>
                  </a:lnTo>
                  <a:lnTo>
                    <a:pt x="6004703" y="3502349"/>
                  </a:lnTo>
                  <a:lnTo>
                    <a:pt x="5988658" y="3521243"/>
                  </a:lnTo>
                  <a:lnTo>
                    <a:pt x="5974123" y="3540395"/>
                  </a:lnTo>
                  <a:lnTo>
                    <a:pt x="5959588" y="3559540"/>
                  </a:lnTo>
                  <a:lnTo>
                    <a:pt x="5946378" y="3579035"/>
                  </a:lnTo>
                  <a:lnTo>
                    <a:pt x="5927879" y="3590721"/>
                  </a:lnTo>
                  <a:lnTo>
                    <a:pt x="5893869" y="3583915"/>
                  </a:lnTo>
                  <a:lnTo>
                    <a:pt x="5885764" y="3554428"/>
                  </a:lnTo>
                  <a:lnTo>
                    <a:pt x="5891093" y="3518190"/>
                  </a:lnTo>
                  <a:lnTo>
                    <a:pt x="5904751" y="3479182"/>
                  </a:lnTo>
                  <a:lnTo>
                    <a:pt x="5919490" y="3439144"/>
                  </a:lnTo>
                  <a:lnTo>
                    <a:pt x="5939018" y="3398249"/>
                  </a:lnTo>
                  <a:lnTo>
                    <a:pt x="5944195" y="3373083"/>
                  </a:lnTo>
                  <a:lnTo>
                    <a:pt x="5949662" y="3346564"/>
                  </a:lnTo>
                  <a:lnTo>
                    <a:pt x="5925624" y="3321148"/>
                  </a:lnTo>
                  <a:lnTo>
                    <a:pt x="5931955" y="3294195"/>
                  </a:lnTo>
                  <a:lnTo>
                    <a:pt x="5937521" y="3270539"/>
                  </a:lnTo>
                  <a:lnTo>
                    <a:pt x="5985070" y="3157324"/>
                  </a:lnTo>
                  <a:lnTo>
                    <a:pt x="5971406" y="3136410"/>
                  </a:lnTo>
                  <a:lnTo>
                    <a:pt x="5949999" y="3134993"/>
                  </a:lnTo>
                  <a:lnTo>
                    <a:pt x="5920849" y="3145466"/>
                  </a:lnTo>
                  <a:lnTo>
                    <a:pt x="5893869" y="3159539"/>
                  </a:lnTo>
                  <a:lnTo>
                    <a:pt x="5866890" y="3173599"/>
                  </a:lnTo>
                  <a:lnTo>
                    <a:pt x="5841783" y="3191326"/>
                  </a:lnTo>
                  <a:lnTo>
                    <a:pt x="5827222" y="3207141"/>
                  </a:lnTo>
                  <a:lnTo>
                    <a:pt x="5792961" y="3239615"/>
                  </a:lnTo>
                  <a:lnTo>
                    <a:pt x="5791859" y="3266990"/>
                  </a:lnTo>
                  <a:lnTo>
                    <a:pt x="5779487" y="3293007"/>
                  </a:lnTo>
                  <a:lnTo>
                    <a:pt x="5760573" y="3336361"/>
                  </a:lnTo>
                  <a:lnTo>
                    <a:pt x="5757724" y="3358343"/>
                  </a:lnTo>
                  <a:lnTo>
                    <a:pt x="5759057" y="3381840"/>
                  </a:lnTo>
                  <a:lnTo>
                    <a:pt x="5756497" y="3404368"/>
                  </a:lnTo>
                  <a:lnTo>
                    <a:pt x="5753938" y="3426903"/>
                  </a:lnTo>
                  <a:lnTo>
                    <a:pt x="5747733" y="3449089"/>
                  </a:lnTo>
                  <a:lnTo>
                    <a:pt x="5730652" y="3466941"/>
                  </a:lnTo>
                  <a:lnTo>
                    <a:pt x="5699366" y="3469658"/>
                  </a:lnTo>
                  <a:lnTo>
                    <a:pt x="5678051" y="3473852"/>
                  </a:lnTo>
                  <a:lnTo>
                    <a:pt x="5649970" y="3466823"/>
                  </a:lnTo>
                  <a:lnTo>
                    <a:pt x="5631359" y="3446529"/>
                  </a:lnTo>
                  <a:lnTo>
                    <a:pt x="5620874" y="3421100"/>
                  </a:lnTo>
                  <a:lnTo>
                    <a:pt x="5615610" y="3374982"/>
                  </a:lnTo>
                  <a:lnTo>
                    <a:pt x="5618921" y="3339362"/>
                  </a:lnTo>
                  <a:lnTo>
                    <a:pt x="5610955" y="3315950"/>
                  </a:lnTo>
                  <a:lnTo>
                    <a:pt x="5559436" y="3228371"/>
                  </a:lnTo>
                  <a:lnTo>
                    <a:pt x="5547024" y="3211217"/>
                  </a:lnTo>
                  <a:lnTo>
                    <a:pt x="5548382" y="3164967"/>
                  </a:lnTo>
                  <a:lnTo>
                    <a:pt x="5570145" y="3136404"/>
                  </a:lnTo>
                  <a:lnTo>
                    <a:pt x="5602790" y="3124165"/>
                  </a:lnTo>
                  <a:lnTo>
                    <a:pt x="5616857" y="3099236"/>
                  </a:lnTo>
                  <a:lnTo>
                    <a:pt x="5609589" y="3073839"/>
                  </a:lnTo>
                  <a:lnTo>
                    <a:pt x="5596795" y="3052834"/>
                  </a:lnTo>
                  <a:lnTo>
                    <a:pt x="5562119" y="3041154"/>
                  </a:lnTo>
                  <a:lnTo>
                    <a:pt x="5536821" y="3033564"/>
                  </a:lnTo>
                  <a:lnTo>
                    <a:pt x="5513021" y="3024872"/>
                  </a:lnTo>
                  <a:lnTo>
                    <a:pt x="5489213" y="3016179"/>
                  </a:lnTo>
                  <a:lnTo>
                    <a:pt x="5466190" y="3006135"/>
                  </a:lnTo>
                  <a:lnTo>
                    <a:pt x="5443649" y="2993585"/>
                  </a:lnTo>
                  <a:lnTo>
                    <a:pt x="5426172" y="2978713"/>
                  </a:lnTo>
                  <a:lnTo>
                    <a:pt x="5406717" y="2951332"/>
                  </a:lnTo>
                  <a:lnTo>
                    <a:pt x="5385159" y="2920138"/>
                  </a:lnTo>
                  <a:lnTo>
                    <a:pt x="5359992" y="2891576"/>
                  </a:lnTo>
                  <a:lnTo>
                    <a:pt x="5331436" y="2875247"/>
                  </a:lnTo>
                  <a:lnTo>
                    <a:pt x="5298106" y="2877970"/>
                  </a:lnTo>
                  <a:lnTo>
                    <a:pt x="5262144" y="2904073"/>
                  </a:lnTo>
                  <a:lnTo>
                    <a:pt x="5240736" y="2917090"/>
                  </a:lnTo>
                  <a:lnTo>
                    <a:pt x="5220576" y="2928296"/>
                  </a:lnTo>
                  <a:lnTo>
                    <a:pt x="5200409" y="2939506"/>
                  </a:lnTo>
                  <a:lnTo>
                    <a:pt x="5163444" y="2952775"/>
                  </a:lnTo>
                  <a:lnTo>
                    <a:pt x="5126420" y="2955302"/>
                  </a:lnTo>
                  <a:lnTo>
                    <a:pt x="5088942" y="2939374"/>
                  </a:lnTo>
                  <a:lnTo>
                    <a:pt x="5070067" y="2924220"/>
                  </a:lnTo>
                  <a:lnTo>
                    <a:pt x="5049188" y="2899733"/>
                  </a:lnTo>
                  <a:lnTo>
                    <a:pt x="5035589" y="2882052"/>
                  </a:lnTo>
                  <a:lnTo>
                    <a:pt x="5023349" y="2860289"/>
                  </a:lnTo>
                  <a:lnTo>
                    <a:pt x="5013825" y="2837160"/>
                  </a:lnTo>
                  <a:lnTo>
                    <a:pt x="5011109" y="2814039"/>
                  </a:lnTo>
                  <a:lnTo>
                    <a:pt x="5009750" y="2770512"/>
                  </a:lnTo>
                  <a:lnTo>
                    <a:pt x="5008392" y="2726986"/>
                  </a:lnTo>
                  <a:lnTo>
                    <a:pt x="4999073" y="2701998"/>
                  </a:lnTo>
                  <a:lnTo>
                    <a:pt x="4968736" y="2675803"/>
                  </a:lnTo>
                  <a:lnTo>
                    <a:pt x="4948048" y="2662382"/>
                  </a:lnTo>
                  <a:lnTo>
                    <a:pt x="4926780" y="2650815"/>
                  </a:lnTo>
                  <a:lnTo>
                    <a:pt x="4884236" y="2627686"/>
                  </a:lnTo>
                  <a:lnTo>
                    <a:pt x="4837484" y="2610777"/>
                  </a:lnTo>
                  <a:lnTo>
                    <a:pt x="4812523" y="2599130"/>
                  </a:lnTo>
                  <a:lnTo>
                    <a:pt x="4787271" y="2577282"/>
                  </a:lnTo>
                  <a:lnTo>
                    <a:pt x="4768357" y="2543437"/>
                  </a:lnTo>
                  <a:lnTo>
                    <a:pt x="4758115" y="2514796"/>
                  </a:lnTo>
                  <a:lnTo>
                    <a:pt x="4757917" y="2483074"/>
                  </a:lnTo>
                  <a:lnTo>
                    <a:pt x="4763555" y="2456305"/>
                  </a:lnTo>
                  <a:lnTo>
                    <a:pt x="4801371" y="2430737"/>
                  </a:lnTo>
                  <a:lnTo>
                    <a:pt x="4826102" y="2430954"/>
                  </a:lnTo>
                  <a:lnTo>
                    <a:pt x="4850608" y="2437266"/>
                  </a:lnTo>
                  <a:lnTo>
                    <a:pt x="4875108" y="2443577"/>
                  </a:lnTo>
                  <a:lnTo>
                    <a:pt x="4899022" y="2457077"/>
                  </a:lnTo>
                  <a:lnTo>
                    <a:pt x="4922698" y="2469910"/>
                  </a:lnTo>
                  <a:lnTo>
                    <a:pt x="4946373" y="2482737"/>
                  </a:lnTo>
                  <a:lnTo>
                    <a:pt x="4970345" y="2494964"/>
                  </a:lnTo>
                  <a:lnTo>
                    <a:pt x="4994786" y="2502555"/>
                  </a:lnTo>
                  <a:lnTo>
                    <a:pt x="5019234" y="2510159"/>
                  </a:lnTo>
                  <a:lnTo>
                    <a:pt x="5044142" y="2513331"/>
                  </a:lnTo>
                  <a:lnTo>
                    <a:pt x="5070958" y="2503914"/>
                  </a:lnTo>
                  <a:lnTo>
                    <a:pt x="5087280" y="2485646"/>
                  </a:lnTo>
                  <a:lnTo>
                    <a:pt x="5102277" y="2464503"/>
                  </a:lnTo>
                  <a:lnTo>
                    <a:pt x="5110408" y="2442705"/>
                  </a:lnTo>
                  <a:lnTo>
                    <a:pt x="5109050" y="2419578"/>
                  </a:lnTo>
                  <a:lnTo>
                    <a:pt x="5096005" y="2396832"/>
                  </a:lnTo>
                  <a:lnTo>
                    <a:pt x="5084563" y="2376058"/>
                  </a:lnTo>
                  <a:lnTo>
                    <a:pt x="5078581" y="2352759"/>
                  </a:lnTo>
                  <a:lnTo>
                    <a:pt x="5076932" y="2328621"/>
                  </a:lnTo>
                  <a:lnTo>
                    <a:pt x="5077763" y="2303962"/>
                  </a:lnTo>
                  <a:lnTo>
                    <a:pt x="5078423" y="2279343"/>
                  </a:lnTo>
                  <a:lnTo>
                    <a:pt x="5077104" y="2255134"/>
                  </a:lnTo>
                  <a:lnTo>
                    <a:pt x="5072323" y="2231873"/>
                  </a:lnTo>
                  <a:lnTo>
                    <a:pt x="5063756" y="2211944"/>
                  </a:lnTo>
                  <a:lnTo>
                    <a:pt x="5052076" y="2189936"/>
                  </a:lnTo>
                  <a:lnTo>
                    <a:pt x="5033597" y="2174517"/>
                  </a:lnTo>
                  <a:lnTo>
                    <a:pt x="5009757" y="2163860"/>
                  </a:lnTo>
                  <a:lnTo>
                    <a:pt x="4986885" y="2158684"/>
                  </a:lnTo>
                  <a:lnTo>
                    <a:pt x="4964621" y="2158155"/>
                  </a:lnTo>
                  <a:lnTo>
                    <a:pt x="4943109" y="2158419"/>
                  </a:lnTo>
                  <a:lnTo>
                    <a:pt x="4919051" y="2155610"/>
                  </a:lnTo>
                  <a:lnTo>
                    <a:pt x="4894306" y="2143786"/>
                  </a:lnTo>
                  <a:lnTo>
                    <a:pt x="4872985" y="2130332"/>
                  </a:lnTo>
                  <a:lnTo>
                    <a:pt x="4849777" y="2116516"/>
                  </a:lnTo>
                  <a:lnTo>
                    <a:pt x="4828753" y="2109149"/>
                  </a:lnTo>
                  <a:lnTo>
                    <a:pt x="4798021" y="2119232"/>
                  </a:lnTo>
                  <a:lnTo>
                    <a:pt x="4772630" y="2137778"/>
                  </a:lnTo>
                  <a:lnTo>
                    <a:pt x="4747240" y="2159791"/>
                  </a:lnTo>
                  <a:lnTo>
                    <a:pt x="4725128" y="2180743"/>
                  </a:lnTo>
                  <a:lnTo>
                    <a:pt x="4706780" y="2195958"/>
                  </a:lnTo>
                  <a:lnTo>
                    <a:pt x="4685551" y="2197646"/>
                  </a:lnTo>
                  <a:lnTo>
                    <a:pt x="4669565" y="2182385"/>
                  </a:lnTo>
                  <a:lnTo>
                    <a:pt x="4657463" y="2163867"/>
                  </a:lnTo>
                  <a:lnTo>
                    <a:pt x="4641906" y="2136056"/>
                  </a:lnTo>
                  <a:lnTo>
                    <a:pt x="4635469" y="2113608"/>
                  </a:lnTo>
                  <a:lnTo>
                    <a:pt x="4630497" y="2072666"/>
                  </a:lnTo>
                  <a:lnTo>
                    <a:pt x="4635700" y="2037371"/>
                  </a:lnTo>
                  <a:lnTo>
                    <a:pt x="4641589" y="2003459"/>
                  </a:lnTo>
                  <a:lnTo>
                    <a:pt x="4643410" y="1967907"/>
                  </a:lnTo>
                  <a:lnTo>
                    <a:pt x="4632977" y="1927196"/>
                  </a:lnTo>
                  <a:lnTo>
                    <a:pt x="4624594" y="1905769"/>
                  </a:lnTo>
                  <a:lnTo>
                    <a:pt x="4613244" y="1881177"/>
                  </a:lnTo>
                  <a:lnTo>
                    <a:pt x="4607138" y="1859183"/>
                  </a:lnTo>
                  <a:lnTo>
                    <a:pt x="4606808" y="1824704"/>
                  </a:lnTo>
                  <a:lnTo>
                    <a:pt x="4629198" y="1798456"/>
                  </a:lnTo>
                  <a:lnTo>
                    <a:pt x="4662904" y="1772129"/>
                  </a:lnTo>
                  <a:lnTo>
                    <a:pt x="4679787" y="1757364"/>
                  </a:lnTo>
                  <a:lnTo>
                    <a:pt x="4696294" y="1738747"/>
                  </a:lnTo>
                  <a:lnTo>
                    <a:pt x="4707789" y="1713640"/>
                  </a:lnTo>
                  <a:lnTo>
                    <a:pt x="4719284" y="1688539"/>
                  </a:lnTo>
                  <a:lnTo>
                    <a:pt x="4725028" y="1657115"/>
                  </a:lnTo>
                  <a:lnTo>
                    <a:pt x="4720029" y="1612989"/>
                  </a:lnTo>
                  <a:lnTo>
                    <a:pt x="4714589" y="1578985"/>
                  </a:lnTo>
                  <a:lnTo>
                    <a:pt x="4708125" y="1545055"/>
                  </a:lnTo>
                  <a:lnTo>
                    <a:pt x="4699288" y="1509541"/>
                  </a:lnTo>
                  <a:lnTo>
                    <a:pt x="4688750" y="1478327"/>
                  </a:lnTo>
                  <a:lnTo>
                    <a:pt x="4677868" y="1454136"/>
                  </a:lnTo>
                  <a:lnTo>
                    <a:pt x="4655485" y="1439530"/>
                  </a:lnTo>
                  <a:lnTo>
                    <a:pt x="4624436" y="1434998"/>
                  </a:lnTo>
                  <a:lnTo>
                    <a:pt x="4603438" y="1431893"/>
                  </a:lnTo>
                  <a:lnTo>
                    <a:pt x="4577243" y="1420667"/>
                  </a:lnTo>
                  <a:lnTo>
                    <a:pt x="4564310" y="1390133"/>
                  </a:lnTo>
                  <a:lnTo>
                    <a:pt x="4559529" y="1358637"/>
                  </a:lnTo>
                  <a:lnTo>
                    <a:pt x="4554596" y="1324132"/>
                  </a:lnTo>
                  <a:lnTo>
                    <a:pt x="4550864" y="1287049"/>
                  </a:lnTo>
                  <a:lnTo>
                    <a:pt x="4547289" y="1249820"/>
                  </a:lnTo>
                  <a:lnTo>
                    <a:pt x="4543279" y="1215394"/>
                  </a:lnTo>
                  <a:lnTo>
                    <a:pt x="4537766" y="1186674"/>
                  </a:lnTo>
                  <a:lnTo>
                    <a:pt x="4524161" y="1155969"/>
                  </a:lnTo>
                  <a:lnTo>
                    <a:pt x="4511518" y="1127011"/>
                  </a:lnTo>
                  <a:lnTo>
                    <a:pt x="4508247" y="1081847"/>
                  </a:lnTo>
                  <a:lnTo>
                    <a:pt x="4519063" y="1057624"/>
                  </a:lnTo>
                  <a:lnTo>
                    <a:pt x="4530967" y="1037628"/>
                  </a:lnTo>
                  <a:lnTo>
                    <a:pt x="4542863" y="1017633"/>
                  </a:lnTo>
                  <a:lnTo>
                    <a:pt x="4555447" y="981863"/>
                  </a:lnTo>
                  <a:lnTo>
                    <a:pt x="4555974" y="959843"/>
                  </a:lnTo>
                  <a:lnTo>
                    <a:pt x="4529602" y="936971"/>
                  </a:lnTo>
                  <a:lnTo>
                    <a:pt x="4508307" y="903885"/>
                  </a:lnTo>
                  <a:lnTo>
                    <a:pt x="4495684" y="856974"/>
                  </a:lnTo>
                  <a:lnTo>
                    <a:pt x="4483358" y="819997"/>
                  </a:lnTo>
                  <a:lnTo>
                    <a:pt x="4472562" y="787589"/>
                  </a:lnTo>
                  <a:lnTo>
                    <a:pt x="4461213" y="746846"/>
                  </a:lnTo>
                  <a:lnTo>
                    <a:pt x="4446631" y="716622"/>
                  </a:lnTo>
                  <a:lnTo>
                    <a:pt x="4421445" y="664443"/>
                  </a:lnTo>
                  <a:lnTo>
                    <a:pt x="4389697" y="614744"/>
                  </a:lnTo>
                  <a:lnTo>
                    <a:pt x="4363660" y="562921"/>
                  </a:lnTo>
                  <a:lnTo>
                    <a:pt x="4344278" y="524342"/>
                  </a:lnTo>
                  <a:lnTo>
                    <a:pt x="4331590" y="495218"/>
                  </a:lnTo>
                  <a:lnTo>
                    <a:pt x="4317411" y="467704"/>
                  </a:lnTo>
                  <a:lnTo>
                    <a:pt x="4303232" y="440197"/>
                  </a:lnTo>
                  <a:lnTo>
                    <a:pt x="4286968" y="414530"/>
                  </a:lnTo>
                  <a:lnTo>
                    <a:pt x="4258927" y="380652"/>
                  </a:lnTo>
                  <a:lnTo>
                    <a:pt x="4232402" y="348613"/>
                  </a:lnTo>
                  <a:lnTo>
                    <a:pt x="4208647" y="317373"/>
                  </a:lnTo>
                  <a:lnTo>
                    <a:pt x="4185473" y="285440"/>
                  </a:lnTo>
                  <a:lnTo>
                    <a:pt x="4162305" y="253501"/>
                  </a:lnTo>
                  <a:lnTo>
                    <a:pt x="4139803" y="220619"/>
                  </a:lnTo>
                  <a:lnTo>
                    <a:pt x="4118825" y="184783"/>
                  </a:lnTo>
                  <a:lnTo>
                    <a:pt x="4090869" y="183735"/>
                  </a:lnTo>
                  <a:lnTo>
                    <a:pt x="4065776" y="186149"/>
                  </a:lnTo>
                  <a:lnTo>
                    <a:pt x="4040418" y="180464"/>
                  </a:lnTo>
                  <a:lnTo>
                    <a:pt x="4014969" y="167345"/>
                  </a:lnTo>
                  <a:lnTo>
                    <a:pt x="3989604" y="152145"/>
                  </a:lnTo>
                  <a:lnTo>
                    <a:pt x="3965058" y="137696"/>
                  </a:lnTo>
                  <a:lnTo>
                    <a:pt x="3924314" y="156226"/>
                  </a:lnTo>
                  <a:lnTo>
                    <a:pt x="3877741" y="132017"/>
                  </a:lnTo>
                  <a:lnTo>
                    <a:pt x="3846785" y="104537"/>
                  </a:lnTo>
                  <a:lnTo>
                    <a:pt x="3815829" y="77055"/>
                  </a:lnTo>
                  <a:lnTo>
                    <a:pt x="3784721" y="47661"/>
                  </a:lnTo>
                  <a:lnTo>
                    <a:pt x="3741709" y="20484"/>
                  </a:lnTo>
                  <a:lnTo>
                    <a:pt x="3708134" y="12663"/>
                  </a:lnTo>
                  <a:lnTo>
                    <a:pt x="3676762" y="6601"/>
                  </a:lnTo>
                  <a:lnTo>
                    <a:pt x="3624972" y="0"/>
                  </a:lnTo>
                  <a:lnTo>
                    <a:pt x="3571052" y="15519"/>
                  </a:lnTo>
                  <a:lnTo>
                    <a:pt x="3516328" y="35883"/>
                  </a:lnTo>
                  <a:lnTo>
                    <a:pt x="3460488" y="51493"/>
                  </a:lnTo>
                  <a:lnTo>
                    <a:pt x="3404649" y="67109"/>
                  </a:lnTo>
                  <a:lnTo>
                    <a:pt x="3347689" y="77490"/>
                  </a:lnTo>
                  <a:lnTo>
                    <a:pt x="3306788" y="70532"/>
                  </a:lnTo>
                  <a:lnTo>
                    <a:pt x="3263208" y="57659"/>
                  </a:lnTo>
                  <a:lnTo>
                    <a:pt x="3234699" y="50135"/>
                  </a:lnTo>
                  <a:lnTo>
                    <a:pt x="3206182" y="42604"/>
                  </a:lnTo>
                  <a:lnTo>
                    <a:pt x="3177416" y="38040"/>
                  </a:lnTo>
                  <a:lnTo>
                    <a:pt x="3143867" y="59268"/>
                  </a:lnTo>
                  <a:lnTo>
                    <a:pt x="3121801" y="92303"/>
                  </a:lnTo>
                  <a:lnTo>
                    <a:pt x="3103823" y="128904"/>
                  </a:lnTo>
                  <a:lnTo>
                    <a:pt x="3092414" y="156695"/>
                  </a:lnTo>
                  <a:lnTo>
                    <a:pt x="3079224" y="182705"/>
                  </a:lnTo>
                  <a:lnTo>
                    <a:pt x="3064715" y="222243"/>
                  </a:lnTo>
                  <a:lnTo>
                    <a:pt x="3087224" y="245917"/>
                  </a:lnTo>
                  <a:lnTo>
                    <a:pt x="3105478" y="280006"/>
                  </a:lnTo>
                  <a:lnTo>
                    <a:pt x="3117719" y="307211"/>
                  </a:lnTo>
                  <a:lnTo>
                    <a:pt x="3124168" y="328354"/>
                  </a:lnTo>
                  <a:lnTo>
                    <a:pt x="3127591" y="351357"/>
                  </a:lnTo>
                  <a:lnTo>
                    <a:pt x="3127241" y="376582"/>
                  </a:lnTo>
                  <a:lnTo>
                    <a:pt x="3122849" y="404729"/>
                  </a:lnTo>
                  <a:lnTo>
                    <a:pt x="3110998" y="440282"/>
                  </a:lnTo>
                  <a:lnTo>
                    <a:pt x="3095118" y="459473"/>
                  </a:lnTo>
                  <a:lnTo>
                    <a:pt x="3075551" y="478599"/>
                  </a:lnTo>
                  <a:lnTo>
                    <a:pt x="3055984" y="497723"/>
                  </a:lnTo>
                  <a:lnTo>
                    <a:pt x="3032961" y="516302"/>
                  </a:lnTo>
                  <a:lnTo>
                    <a:pt x="3011620" y="535724"/>
                  </a:lnTo>
                  <a:lnTo>
                    <a:pt x="2990285" y="555152"/>
                  </a:lnTo>
                  <a:lnTo>
                    <a:pt x="2970599" y="575880"/>
                  </a:lnTo>
                  <a:lnTo>
                    <a:pt x="2958576" y="596938"/>
                  </a:lnTo>
                  <a:lnTo>
                    <a:pt x="2946548" y="617995"/>
                  </a:lnTo>
                  <a:lnTo>
                    <a:pt x="2942050" y="639554"/>
                  </a:lnTo>
                  <a:lnTo>
                    <a:pt x="2950413" y="663586"/>
                  </a:lnTo>
                  <a:lnTo>
                    <a:pt x="2964334" y="689589"/>
                  </a:lnTo>
                  <a:lnTo>
                    <a:pt x="2990905" y="711030"/>
                  </a:lnTo>
                  <a:lnTo>
                    <a:pt x="3025225" y="730235"/>
                  </a:lnTo>
                  <a:lnTo>
                    <a:pt x="3060573" y="748905"/>
                  </a:lnTo>
                  <a:lnTo>
                    <a:pt x="3093251" y="768696"/>
                  </a:lnTo>
                  <a:lnTo>
                    <a:pt x="3117719" y="790082"/>
                  </a:lnTo>
                  <a:lnTo>
                    <a:pt x="3118114" y="817333"/>
                  </a:lnTo>
                  <a:lnTo>
                    <a:pt x="3105478" y="854013"/>
                  </a:lnTo>
                  <a:lnTo>
                    <a:pt x="3083135" y="881593"/>
                  </a:lnTo>
                  <a:lnTo>
                    <a:pt x="3054368" y="902606"/>
                  </a:lnTo>
                  <a:lnTo>
                    <a:pt x="3022507" y="923386"/>
                  </a:lnTo>
                  <a:lnTo>
                    <a:pt x="2989771" y="945347"/>
                  </a:lnTo>
                  <a:lnTo>
                    <a:pt x="2974900" y="961472"/>
                  </a:lnTo>
                  <a:lnTo>
                    <a:pt x="2961294" y="985951"/>
                  </a:lnTo>
                  <a:lnTo>
                    <a:pt x="2953136" y="1014514"/>
                  </a:lnTo>
                  <a:lnTo>
                    <a:pt x="2943613" y="1041718"/>
                  </a:lnTo>
                  <a:lnTo>
                    <a:pt x="2924573" y="1062123"/>
                  </a:lnTo>
                  <a:lnTo>
                    <a:pt x="2893267" y="1073538"/>
                  </a:lnTo>
                  <a:lnTo>
                    <a:pt x="2852498" y="1077917"/>
                  </a:lnTo>
                  <a:lnTo>
                    <a:pt x="2829640" y="1078643"/>
                  </a:lnTo>
                  <a:lnTo>
                    <a:pt x="2804876" y="1079804"/>
                  </a:lnTo>
                  <a:lnTo>
                    <a:pt x="2780105" y="1080964"/>
                  </a:lnTo>
                  <a:lnTo>
                    <a:pt x="2752895" y="1082368"/>
                  </a:lnTo>
                  <a:lnTo>
                    <a:pt x="2725981" y="1086602"/>
                  </a:lnTo>
                  <a:lnTo>
                    <a:pt x="2699067" y="1090844"/>
                  </a:lnTo>
                  <a:lnTo>
                    <a:pt x="2672569" y="1096950"/>
                  </a:lnTo>
                  <a:lnTo>
                    <a:pt x="2645728" y="1108367"/>
                  </a:lnTo>
                  <a:lnTo>
                    <a:pt x="2618662" y="1127986"/>
                  </a:lnTo>
                  <a:lnTo>
                    <a:pt x="2607510" y="1156753"/>
                  </a:lnTo>
                  <a:lnTo>
                    <a:pt x="2609007" y="1189977"/>
                  </a:lnTo>
                  <a:lnTo>
                    <a:pt x="2618550" y="1223005"/>
                  </a:lnTo>
                  <a:lnTo>
                    <a:pt x="2634833" y="1249437"/>
                  </a:lnTo>
                  <a:lnTo>
                    <a:pt x="2656616" y="1263432"/>
                  </a:lnTo>
                  <a:lnTo>
                    <a:pt x="2684486" y="1266506"/>
                  </a:lnTo>
                  <a:lnTo>
                    <a:pt x="2713075" y="1252194"/>
                  </a:lnTo>
                  <a:lnTo>
                    <a:pt x="2740945" y="1226705"/>
                  </a:lnTo>
                  <a:lnTo>
                    <a:pt x="2767707" y="1199533"/>
                  </a:lnTo>
                  <a:lnTo>
                    <a:pt x="2793084" y="1174994"/>
                  </a:lnTo>
                  <a:lnTo>
                    <a:pt x="2817116" y="1160057"/>
                  </a:lnTo>
                  <a:lnTo>
                    <a:pt x="2840819" y="1153575"/>
                  </a:lnTo>
                  <a:lnTo>
                    <a:pt x="2859303" y="1167166"/>
                  </a:lnTo>
                  <a:lnTo>
                    <a:pt x="2878330" y="1179104"/>
                  </a:lnTo>
                  <a:lnTo>
                    <a:pt x="2902791" y="1194450"/>
                  </a:lnTo>
                  <a:lnTo>
                    <a:pt x="2917774" y="1222630"/>
                  </a:lnTo>
                  <a:lnTo>
                    <a:pt x="2916053" y="1248699"/>
                  </a:lnTo>
                  <a:lnTo>
                    <a:pt x="2900449" y="1275448"/>
                  </a:lnTo>
                  <a:lnTo>
                    <a:pt x="2881047" y="1302882"/>
                  </a:lnTo>
                  <a:lnTo>
                    <a:pt x="2865509" y="1331043"/>
                  </a:lnTo>
                  <a:lnTo>
                    <a:pt x="2868194" y="1402684"/>
                  </a:lnTo>
                  <a:lnTo>
                    <a:pt x="2876457" y="1459624"/>
                  </a:lnTo>
                  <a:lnTo>
                    <a:pt x="2878330" y="1516432"/>
                  </a:lnTo>
                  <a:lnTo>
                    <a:pt x="2900383" y="1548028"/>
                  </a:lnTo>
                  <a:lnTo>
                    <a:pt x="2935455" y="1558594"/>
                  </a:lnTo>
                  <a:lnTo>
                    <a:pt x="2972110" y="1560335"/>
                  </a:lnTo>
                  <a:lnTo>
                    <a:pt x="3010340" y="1554135"/>
                  </a:lnTo>
                  <a:lnTo>
                    <a:pt x="3048353" y="1543636"/>
                  </a:lnTo>
                  <a:lnTo>
                    <a:pt x="3084671" y="1535386"/>
                  </a:lnTo>
                  <a:lnTo>
                    <a:pt x="3110022" y="1554465"/>
                  </a:lnTo>
                  <a:lnTo>
                    <a:pt x="3128606" y="1584446"/>
                  </a:lnTo>
                  <a:lnTo>
                    <a:pt x="3146043" y="1609507"/>
                  </a:lnTo>
                  <a:lnTo>
                    <a:pt x="3171263" y="1636321"/>
                  </a:lnTo>
                  <a:lnTo>
                    <a:pt x="3193896" y="1659251"/>
                  </a:lnTo>
                  <a:lnTo>
                    <a:pt x="3200214" y="1686297"/>
                  </a:lnTo>
                  <a:lnTo>
                    <a:pt x="3188455" y="1710942"/>
                  </a:lnTo>
                  <a:lnTo>
                    <a:pt x="3176696" y="1735581"/>
                  </a:lnTo>
                  <a:lnTo>
                    <a:pt x="3153542" y="1769610"/>
                  </a:lnTo>
                  <a:lnTo>
                    <a:pt x="3113643" y="1823833"/>
                  </a:lnTo>
                  <a:lnTo>
                    <a:pt x="3096727" y="1839676"/>
                  </a:lnTo>
                  <a:lnTo>
                    <a:pt x="3070710" y="1851532"/>
                  </a:lnTo>
                  <a:lnTo>
                    <a:pt x="3046994" y="1853762"/>
                  </a:lnTo>
                  <a:lnTo>
                    <a:pt x="3024810" y="1839721"/>
                  </a:lnTo>
                  <a:lnTo>
                    <a:pt x="3003884" y="1818835"/>
                  </a:lnTo>
                  <a:lnTo>
                    <a:pt x="2980340" y="1802078"/>
                  </a:lnTo>
                  <a:lnTo>
                    <a:pt x="2953288" y="1791010"/>
                  </a:lnTo>
                  <a:lnTo>
                    <a:pt x="2908983" y="1797408"/>
                  </a:lnTo>
                  <a:lnTo>
                    <a:pt x="2864725" y="1808876"/>
                  </a:lnTo>
                  <a:lnTo>
                    <a:pt x="2820473" y="1820345"/>
                  </a:lnTo>
                  <a:lnTo>
                    <a:pt x="2776122" y="1837756"/>
                  </a:lnTo>
                  <a:lnTo>
                    <a:pt x="2750468" y="1849680"/>
                  </a:lnTo>
                  <a:lnTo>
                    <a:pt x="2729094" y="1860898"/>
                  </a:lnTo>
                  <a:lnTo>
                    <a:pt x="2710364" y="1873751"/>
                  </a:lnTo>
                  <a:lnTo>
                    <a:pt x="2690619" y="1885048"/>
                  </a:lnTo>
                  <a:lnTo>
                    <a:pt x="2657394" y="1904886"/>
                  </a:lnTo>
                  <a:lnTo>
                    <a:pt x="2623193" y="1925060"/>
                  </a:lnTo>
                  <a:lnTo>
                    <a:pt x="2604852" y="1935921"/>
                  </a:lnTo>
                  <a:lnTo>
                    <a:pt x="2569636" y="1953872"/>
                  </a:lnTo>
                  <a:lnTo>
                    <a:pt x="2534195" y="1968018"/>
                  </a:lnTo>
                  <a:lnTo>
                    <a:pt x="2494771" y="1977501"/>
                  </a:lnTo>
                  <a:lnTo>
                    <a:pt x="2463887" y="1979619"/>
                  </a:lnTo>
                  <a:lnTo>
                    <a:pt x="2432026" y="1976091"/>
                  </a:lnTo>
                  <a:lnTo>
                    <a:pt x="2409057" y="1972100"/>
                  </a:lnTo>
                  <a:lnTo>
                    <a:pt x="2387122" y="1969074"/>
                  </a:lnTo>
                  <a:lnTo>
                    <a:pt x="2365708" y="1969706"/>
                  </a:lnTo>
                  <a:lnTo>
                    <a:pt x="2345132" y="1976176"/>
                  </a:lnTo>
                  <a:lnTo>
                    <a:pt x="2314664" y="1990632"/>
                  </a:lnTo>
                  <a:lnTo>
                    <a:pt x="2296165" y="2000663"/>
                  </a:lnTo>
                  <a:lnTo>
                    <a:pt x="2277660" y="2010695"/>
                  </a:lnTo>
                  <a:lnTo>
                    <a:pt x="2258304" y="2022486"/>
                  </a:lnTo>
                  <a:lnTo>
                    <a:pt x="2237675" y="2031949"/>
                  </a:lnTo>
                  <a:lnTo>
                    <a:pt x="2217040" y="2041406"/>
                  </a:lnTo>
                  <a:lnTo>
                    <a:pt x="2195270" y="2049525"/>
                  </a:lnTo>
                  <a:lnTo>
                    <a:pt x="2154942" y="2057893"/>
                  </a:lnTo>
                  <a:lnTo>
                    <a:pt x="2119335" y="2052348"/>
                  </a:lnTo>
                  <a:lnTo>
                    <a:pt x="2081270" y="2039460"/>
                  </a:lnTo>
                  <a:lnTo>
                    <a:pt x="2045592" y="2024919"/>
                  </a:lnTo>
                  <a:lnTo>
                    <a:pt x="2013243" y="2014268"/>
                  </a:lnTo>
                  <a:lnTo>
                    <a:pt x="1980896" y="2003618"/>
                  </a:lnTo>
                  <a:lnTo>
                    <a:pt x="1951687" y="1996034"/>
                  </a:lnTo>
                  <a:lnTo>
                    <a:pt x="1923468" y="1995223"/>
                  </a:lnTo>
                  <a:lnTo>
                    <a:pt x="1895248" y="1994410"/>
                  </a:lnTo>
                  <a:lnTo>
                    <a:pt x="1868901" y="2000346"/>
                  </a:lnTo>
                  <a:lnTo>
                    <a:pt x="1843214" y="2016986"/>
                  </a:lnTo>
                  <a:lnTo>
                    <a:pt x="1817533" y="2033625"/>
                  </a:lnTo>
                  <a:lnTo>
                    <a:pt x="1791786" y="2060994"/>
                  </a:lnTo>
                  <a:lnTo>
                    <a:pt x="1767043" y="2102680"/>
                  </a:lnTo>
                  <a:lnTo>
                    <a:pt x="1756346" y="2120703"/>
                  </a:lnTo>
                  <a:lnTo>
                    <a:pt x="1749362" y="2140766"/>
                  </a:lnTo>
                  <a:lnTo>
                    <a:pt x="1736884" y="2157997"/>
                  </a:lnTo>
                  <a:lnTo>
                    <a:pt x="1715359" y="2169328"/>
                  </a:lnTo>
                  <a:lnTo>
                    <a:pt x="1672960" y="2166980"/>
                  </a:lnTo>
                  <a:lnTo>
                    <a:pt x="1615644" y="2134183"/>
                  </a:lnTo>
                  <a:lnTo>
                    <a:pt x="1560293" y="2110837"/>
                  </a:lnTo>
                  <a:lnTo>
                    <a:pt x="1532620" y="2099165"/>
                  </a:lnTo>
                  <a:lnTo>
                    <a:pt x="1505350" y="2090143"/>
                  </a:lnTo>
                  <a:lnTo>
                    <a:pt x="1481404" y="2087716"/>
                  </a:lnTo>
                  <a:lnTo>
                    <a:pt x="1457458" y="2085289"/>
                  </a:lnTo>
                  <a:lnTo>
                    <a:pt x="1435768" y="2090268"/>
                  </a:lnTo>
                  <a:lnTo>
                    <a:pt x="1420195" y="2106755"/>
                  </a:lnTo>
                  <a:lnTo>
                    <a:pt x="1401705" y="2126336"/>
                  </a:lnTo>
                  <a:lnTo>
                    <a:pt x="1386020" y="2154193"/>
                  </a:lnTo>
                  <a:lnTo>
                    <a:pt x="1369868" y="2176126"/>
                  </a:lnTo>
                  <a:lnTo>
                    <a:pt x="1323556" y="2194823"/>
                  </a:lnTo>
                  <a:lnTo>
                    <a:pt x="1269403" y="2197699"/>
                  </a:lnTo>
                  <a:lnTo>
                    <a:pt x="1220597" y="2203238"/>
                  </a:lnTo>
                  <a:lnTo>
                    <a:pt x="1171277" y="2206055"/>
                  </a:lnTo>
                  <a:lnTo>
                    <a:pt x="1121961" y="2208864"/>
                  </a:lnTo>
                  <a:lnTo>
                    <a:pt x="1071708" y="2208428"/>
                  </a:lnTo>
                  <a:lnTo>
                    <a:pt x="1024377" y="2201979"/>
                  </a:lnTo>
                  <a:lnTo>
                    <a:pt x="936687" y="2190023"/>
                  </a:lnTo>
                  <a:lnTo>
                    <a:pt x="868058" y="2166122"/>
                  </a:lnTo>
                  <a:lnTo>
                    <a:pt x="801304" y="2159811"/>
                  </a:lnTo>
                  <a:lnTo>
                    <a:pt x="767927" y="2156652"/>
                  </a:lnTo>
                  <a:lnTo>
                    <a:pt x="734908" y="2157971"/>
                  </a:lnTo>
                  <a:lnTo>
                    <a:pt x="700650" y="2167969"/>
                  </a:lnTo>
                  <a:lnTo>
                    <a:pt x="666392" y="2177974"/>
                  </a:lnTo>
                  <a:lnTo>
                    <a:pt x="631051" y="2196835"/>
                  </a:lnTo>
                  <a:lnTo>
                    <a:pt x="591834" y="2227818"/>
                  </a:lnTo>
                  <a:lnTo>
                    <a:pt x="551156" y="2267929"/>
                  </a:lnTo>
                  <a:lnTo>
                    <a:pt x="515004" y="2300151"/>
                  </a:lnTo>
                  <a:lnTo>
                    <a:pt x="502901" y="2340155"/>
                  </a:lnTo>
                  <a:lnTo>
                    <a:pt x="495260" y="2381525"/>
                  </a:lnTo>
                  <a:lnTo>
                    <a:pt x="487619" y="2422896"/>
                  </a:lnTo>
                  <a:lnTo>
                    <a:pt x="484146" y="2465808"/>
                  </a:lnTo>
                  <a:lnTo>
                    <a:pt x="478938" y="2494423"/>
                  </a:lnTo>
                  <a:lnTo>
                    <a:pt x="474433" y="2519161"/>
                  </a:lnTo>
                  <a:lnTo>
                    <a:pt x="463295" y="2544518"/>
                  </a:lnTo>
                  <a:lnTo>
                    <a:pt x="455814" y="2567871"/>
                  </a:lnTo>
                  <a:lnTo>
                    <a:pt x="447865" y="2592721"/>
                  </a:lnTo>
                  <a:lnTo>
                    <a:pt x="446399" y="2622153"/>
                  </a:lnTo>
                  <a:lnTo>
                    <a:pt x="431330" y="2644042"/>
                  </a:lnTo>
                  <a:lnTo>
                    <a:pt x="407017" y="2679325"/>
                  </a:lnTo>
                  <a:lnTo>
                    <a:pt x="245691" y="2821577"/>
                  </a:lnTo>
                  <a:lnTo>
                    <a:pt x="205537" y="2852158"/>
                  </a:lnTo>
                  <a:lnTo>
                    <a:pt x="182359" y="2865374"/>
                  </a:lnTo>
                  <a:lnTo>
                    <a:pt x="160059" y="2878471"/>
                  </a:lnTo>
                  <a:lnTo>
                    <a:pt x="143166" y="2894207"/>
                  </a:lnTo>
                  <a:lnTo>
                    <a:pt x="137305" y="2930927"/>
                  </a:lnTo>
                  <a:lnTo>
                    <a:pt x="135267" y="2955375"/>
                  </a:lnTo>
                  <a:lnTo>
                    <a:pt x="133447" y="2980012"/>
                  </a:lnTo>
                  <a:lnTo>
                    <a:pt x="131620" y="3004651"/>
                  </a:lnTo>
                  <a:lnTo>
                    <a:pt x="130631" y="3028822"/>
                  </a:lnTo>
                  <a:lnTo>
                    <a:pt x="128006" y="3053467"/>
                  </a:lnTo>
                  <a:lnTo>
                    <a:pt x="125381" y="3078105"/>
                  </a:lnTo>
                  <a:lnTo>
                    <a:pt x="121116" y="3102552"/>
                  </a:lnTo>
                  <a:lnTo>
                    <a:pt x="117124" y="3126915"/>
                  </a:lnTo>
                  <a:lnTo>
                    <a:pt x="113135" y="3151276"/>
                  </a:lnTo>
                  <a:lnTo>
                    <a:pt x="109442" y="3176554"/>
                  </a:lnTo>
                  <a:lnTo>
                    <a:pt x="103522" y="3200368"/>
                  </a:lnTo>
                  <a:lnTo>
                    <a:pt x="94616" y="3225442"/>
                  </a:lnTo>
                  <a:lnTo>
                    <a:pt x="79785" y="3262341"/>
                  </a:lnTo>
                  <a:lnTo>
                    <a:pt x="70756" y="3284242"/>
                  </a:lnTo>
                  <a:lnTo>
                    <a:pt x="62716" y="3305102"/>
                  </a:lnTo>
                  <a:lnTo>
                    <a:pt x="54677" y="3325962"/>
                  </a:lnTo>
                  <a:lnTo>
                    <a:pt x="48061" y="3346241"/>
                  </a:lnTo>
                  <a:lnTo>
                    <a:pt x="39288" y="3380937"/>
                  </a:lnTo>
                  <a:lnTo>
                    <a:pt x="40956" y="3403036"/>
                  </a:lnTo>
                  <a:lnTo>
                    <a:pt x="63110" y="3421264"/>
                  </a:lnTo>
                  <a:lnTo>
                    <a:pt x="79992" y="3439783"/>
                  </a:lnTo>
                  <a:lnTo>
                    <a:pt x="94004" y="3460161"/>
                  </a:lnTo>
                  <a:lnTo>
                    <a:pt x="108016" y="3480546"/>
                  </a:lnTo>
                  <a:lnTo>
                    <a:pt x="119420" y="3502019"/>
                  </a:lnTo>
                  <a:lnTo>
                    <a:pt x="126649" y="3524092"/>
                  </a:lnTo>
                  <a:lnTo>
                    <a:pt x="141107" y="3568238"/>
                  </a:lnTo>
                  <a:lnTo>
                    <a:pt x="143410" y="3616018"/>
                  </a:lnTo>
                  <a:lnTo>
                    <a:pt x="138891" y="3664194"/>
                  </a:lnTo>
                  <a:lnTo>
                    <a:pt x="134373" y="3712371"/>
                  </a:lnTo>
                  <a:lnTo>
                    <a:pt x="122951" y="3761172"/>
                  </a:lnTo>
                  <a:lnTo>
                    <a:pt x="110326" y="3809737"/>
                  </a:lnTo>
                  <a:lnTo>
                    <a:pt x="97702" y="3858295"/>
                  </a:lnTo>
                  <a:lnTo>
                    <a:pt x="83454" y="3905891"/>
                  </a:lnTo>
                  <a:lnTo>
                    <a:pt x="73601" y="3951192"/>
                  </a:lnTo>
                  <a:lnTo>
                    <a:pt x="66203" y="3986382"/>
                  </a:lnTo>
                  <a:lnTo>
                    <a:pt x="61359" y="4009681"/>
                  </a:lnTo>
                  <a:lnTo>
                    <a:pt x="56519" y="4032982"/>
                  </a:lnTo>
                  <a:lnTo>
                    <a:pt x="50465" y="4058385"/>
                  </a:lnTo>
                  <a:lnTo>
                    <a:pt x="43677" y="4084494"/>
                  </a:lnTo>
                  <a:lnTo>
                    <a:pt x="36888" y="4110604"/>
                  </a:lnTo>
                  <a:lnTo>
                    <a:pt x="29442" y="4136852"/>
                  </a:lnTo>
                  <a:lnTo>
                    <a:pt x="20553" y="4159306"/>
                  </a:lnTo>
                  <a:lnTo>
                    <a:pt x="0" y="4199311"/>
                  </a:lnTo>
                  <a:lnTo>
                    <a:pt x="40966" y="4222908"/>
                  </a:lnTo>
                  <a:lnTo>
                    <a:pt x="87654" y="4237673"/>
                  </a:lnTo>
                  <a:lnTo>
                    <a:pt x="133449" y="4255875"/>
                  </a:lnTo>
                  <a:lnTo>
                    <a:pt x="179244" y="4274085"/>
                  </a:lnTo>
                  <a:lnTo>
                    <a:pt x="224720" y="4295690"/>
                  </a:lnTo>
                  <a:lnTo>
                    <a:pt x="270829" y="4317090"/>
                  </a:lnTo>
                  <a:lnTo>
                    <a:pt x="300488" y="4330860"/>
                  </a:lnTo>
                  <a:lnTo>
                    <a:pt x="320112" y="4355795"/>
                  </a:lnTo>
                  <a:lnTo>
                    <a:pt x="337479" y="4383737"/>
                  </a:lnTo>
                  <a:lnTo>
                    <a:pt x="354845" y="4411680"/>
                  </a:lnTo>
                  <a:lnTo>
                    <a:pt x="370145" y="4441852"/>
                  </a:lnTo>
                  <a:lnTo>
                    <a:pt x="387806" y="4466709"/>
                  </a:lnTo>
                  <a:lnTo>
                    <a:pt x="403725" y="4489072"/>
                  </a:lnTo>
                  <a:lnTo>
                    <a:pt x="426720" y="4507432"/>
                  </a:lnTo>
                  <a:lnTo>
                    <a:pt x="443574" y="4529280"/>
                  </a:lnTo>
                  <a:lnTo>
                    <a:pt x="468759" y="4561965"/>
                  </a:lnTo>
                  <a:lnTo>
                    <a:pt x="484507" y="4595757"/>
                  </a:lnTo>
                  <a:lnTo>
                    <a:pt x="514304" y="4625856"/>
                  </a:lnTo>
                  <a:lnTo>
                    <a:pt x="538634" y="4643077"/>
                  </a:lnTo>
                  <a:lnTo>
                    <a:pt x="566146" y="4646723"/>
                  </a:lnTo>
                  <a:lnTo>
                    <a:pt x="595916" y="4640821"/>
                  </a:lnTo>
                  <a:lnTo>
                    <a:pt x="625445" y="4633507"/>
                  </a:lnTo>
                  <a:lnTo>
                    <a:pt x="654203" y="4619757"/>
                  </a:lnTo>
                  <a:lnTo>
                    <a:pt x="677528" y="4613616"/>
                  </a:lnTo>
                  <a:lnTo>
                    <a:pt x="712468" y="4604391"/>
                  </a:lnTo>
                  <a:lnTo>
                    <a:pt x="776100" y="4611427"/>
                  </a:lnTo>
                  <a:lnTo>
                    <a:pt x="809467" y="4621780"/>
                  </a:lnTo>
                  <a:lnTo>
                    <a:pt x="846915" y="4630387"/>
                  </a:lnTo>
                  <a:lnTo>
                    <a:pt x="873780" y="4655211"/>
                  </a:lnTo>
                  <a:lnTo>
                    <a:pt x="877477" y="4689787"/>
                  </a:lnTo>
                  <a:lnTo>
                    <a:pt x="872617" y="4727913"/>
                  </a:lnTo>
                  <a:lnTo>
                    <a:pt x="867956" y="4749636"/>
                  </a:lnTo>
                  <a:lnTo>
                    <a:pt x="863294" y="4771360"/>
                  </a:lnTo>
                  <a:lnTo>
                    <a:pt x="858879" y="4794060"/>
                  </a:lnTo>
                  <a:lnTo>
                    <a:pt x="858435" y="4816285"/>
                  </a:lnTo>
                  <a:lnTo>
                    <a:pt x="857973" y="4838516"/>
                  </a:lnTo>
                  <a:lnTo>
                    <a:pt x="861053" y="4860497"/>
                  </a:lnTo>
                  <a:lnTo>
                    <a:pt x="873397" y="4880216"/>
                  </a:lnTo>
                  <a:lnTo>
                    <a:pt x="892216" y="4910256"/>
                  </a:lnTo>
                  <a:lnTo>
                    <a:pt x="919118" y="4928154"/>
                  </a:lnTo>
                  <a:lnTo>
                    <a:pt x="946848" y="4944147"/>
                  </a:lnTo>
                  <a:lnTo>
                    <a:pt x="974577" y="4960133"/>
                  </a:lnTo>
                  <a:lnTo>
                    <a:pt x="1004029" y="4974424"/>
                  </a:lnTo>
                  <a:lnTo>
                    <a:pt x="1027099" y="4997196"/>
                  </a:lnTo>
                  <a:lnTo>
                    <a:pt x="1043932" y="5050726"/>
                  </a:lnTo>
                  <a:lnTo>
                    <a:pt x="1065185" y="5076084"/>
                  </a:lnTo>
                  <a:lnTo>
                    <a:pt x="1090104" y="5090804"/>
                  </a:lnTo>
                  <a:lnTo>
                    <a:pt x="1129062" y="5082975"/>
                  </a:lnTo>
                  <a:lnTo>
                    <a:pt x="1171279" y="5086966"/>
                  </a:lnTo>
                  <a:lnTo>
                    <a:pt x="1192390" y="5088958"/>
                  </a:lnTo>
                  <a:lnTo>
                    <a:pt x="1214381" y="5094227"/>
                  </a:lnTo>
                  <a:lnTo>
                    <a:pt x="1235210" y="5106011"/>
                  </a:lnTo>
                  <a:lnTo>
                    <a:pt x="1256038" y="5117790"/>
                  </a:lnTo>
                  <a:lnTo>
                    <a:pt x="1276224" y="5135972"/>
                  </a:lnTo>
                  <a:lnTo>
                    <a:pt x="1293699" y="5165860"/>
                  </a:lnTo>
                  <a:lnTo>
                    <a:pt x="1312347" y="5196117"/>
                  </a:lnTo>
                  <a:lnTo>
                    <a:pt x="1329456" y="5228091"/>
                  </a:lnTo>
                  <a:lnTo>
                    <a:pt x="1338585" y="5262430"/>
                  </a:lnTo>
                  <a:lnTo>
                    <a:pt x="1342806" y="5301815"/>
                  </a:lnTo>
                  <a:lnTo>
                    <a:pt x="1321853" y="5355853"/>
                  </a:lnTo>
                  <a:lnTo>
                    <a:pt x="1310021" y="5406615"/>
                  </a:lnTo>
                  <a:lnTo>
                    <a:pt x="1304105" y="5431991"/>
                  </a:lnTo>
                  <a:lnTo>
                    <a:pt x="1301113" y="5456663"/>
                  </a:lnTo>
                  <a:lnTo>
                    <a:pt x="1303221" y="5478703"/>
                  </a:lnTo>
                  <a:lnTo>
                    <a:pt x="1305324" y="5500744"/>
                  </a:lnTo>
                  <a:lnTo>
                    <a:pt x="1331784" y="5534469"/>
                  </a:lnTo>
                  <a:lnTo>
                    <a:pt x="1357139" y="5548998"/>
                  </a:lnTo>
                  <a:lnTo>
                    <a:pt x="1388041" y="5552592"/>
                  </a:lnTo>
                  <a:lnTo>
                    <a:pt x="1421556" y="5546716"/>
                  </a:lnTo>
                  <a:lnTo>
                    <a:pt x="1453864" y="5538631"/>
                  </a:lnTo>
                  <a:lnTo>
                    <a:pt x="1484214" y="5520983"/>
                  </a:lnTo>
                  <a:lnTo>
                    <a:pt x="1503168" y="5501832"/>
                  </a:lnTo>
                  <a:lnTo>
                    <a:pt x="1522438" y="5482357"/>
                  </a:lnTo>
                  <a:lnTo>
                    <a:pt x="1537322" y="5454500"/>
                  </a:lnTo>
                  <a:lnTo>
                    <a:pt x="1557575" y="5436541"/>
                  </a:lnTo>
                  <a:lnTo>
                    <a:pt x="1629262" y="5390377"/>
                  </a:lnTo>
                  <a:lnTo>
                    <a:pt x="1655906" y="5377874"/>
                  </a:lnTo>
                  <a:lnTo>
                    <a:pt x="1682344" y="5375420"/>
                  </a:lnTo>
                  <a:lnTo>
                    <a:pt x="1709918" y="5373976"/>
                  </a:lnTo>
                  <a:lnTo>
                    <a:pt x="1737491" y="5372525"/>
                  </a:lnTo>
                  <a:lnTo>
                    <a:pt x="1765348" y="5371001"/>
                  </a:lnTo>
                  <a:lnTo>
                    <a:pt x="1790171" y="5363087"/>
                  </a:lnTo>
                  <a:lnTo>
                    <a:pt x="1819479" y="5353743"/>
                  </a:lnTo>
                  <a:lnTo>
                    <a:pt x="1875753" y="5325708"/>
                  </a:lnTo>
                  <a:lnTo>
                    <a:pt x="1901711" y="5307321"/>
                  </a:lnTo>
                  <a:lnTo>
                    <a:pt x="1929587" y="5287577"/>
                  </a:lnTo>
                  <a:lnTo>
                    <a:pt x="1964191" y="5252491"/>
                  </a:lnTo>
                  <a:lnTo>
                    <a:pt x="2001003" y="5229791"/>
                  </a:lnTo>
                  <a:lnTo>
                    <a:pt x="2019410" y="5218441"/>
                  </a:lnTo>
                  <a:lnTo>
                    <a:pt x="2056770" y="5209386"/>
                  </a:lnTo>
                  <a:lnTo>
                    <a:pt x="2094500" y="5213938"/>
                  </a:lnTo>
                  <a:lnTo>
                    <a:pt x="2112537" y="5229791"/>
                  </a:lnTo>
                  <a:lnTo>
                    <a:pt x="2119501" y="5250202"/>
                  </a:lnTo>
                  <a:lnTo>
                    <a:pt x="2113895" y="5292358"/>
                  </a:lnTo>
                  <a:lnTo>
                    <a:pt x="2109779" y="5313963"/>
                  </a:lnTo>
                  <a:lnTo>
                    <a:pt x="2103831" y="5336075"/>
                  </a:lnTo>
                  <a:lnTo>
                    <a:pt x="2097085" y="5398713"/>
                  </a:lnTo>
                  <a:lnTo>
                    <a:pt x="2100118" y="5421104"/>
                  </a:lnTo>
                  <a:lnTo>
                    <a:pt x="2105731" y="5441983"/>
                  </a:lnTo>
                  <a:lnTo>
                    <a:pt x="2111349" y="5462862"/>
                  </a:lnTo>
                  <a:lnTo>
                    <a:pt x="2123411" y="5516795"/>
                  </a:lnTo>
                  <a:lnTo>
                    <a:pt x="2127171" y="5545806"/>
                  </a:lnTo>
                  <a:lnTo>
                    <a:pt x="2113341" y="5574072"/>
                  </a:lnTo>
                  <a:lnTo>
                    <a:pt x="2108454" y="5601124"/>
                  </a:lnTo>
                  <a:lnTo>
                    <a:pt x="2096307" y="5668287"/>
                  </a:lnTo>
                  <a:lnTo>
                    <a:pt x="2089131" y="5713349"/>
                  </a:lnTo>
                  <a:lnTo>
                    <a:pt x="2088050" y="5758908"/>
                  </a:lnTo>
                  <a:lnTo>
                    <a:pt x="2086968" y="5804465"/>
                  </a:lnTo>
                  <a:lnTo>
                    <a:pt x="2091024" y="5850425"/>
                  </a:lnTo>
                  <a:lnTo>
                    <a:pt x="2101648" y="5920772"/>
                  </a:lnTo>
                  <a:lnTo>
                    <a:pt x="2108692" y="5967399"/>
                  </a:lnTo>
                  <a:lnTo>
                    <a:pt x="2118762" y="6006882"/>
                  </a:lnTo>
                  <a:lnTo>
                    <a:pt x="2131576" y="6039111"/>
                  </a:lnTo>
                  <a:lnTo>
                    <a:pt x="2144390" y="6071334"/>
                  </a:lnTo>
                  <a:lnTo>
                    <a:pt x="2160191" y="6096856"/>
                  </a:lnTo>
                  <a:lnTo>
                    <a:pt x="2181901" y="6116641"/>
                  </a:lnTo>
                  <a:lnTo>
                    <a:pt x="2203612" y="6136426"/>
                  </a:lnTo>
                  <a:lnTo>
                    <a:pt x="2231146" y="6150868"/>
                  </a:lnTo>
                  <a:lnTo>
                    <a:pt x="2264872" y="6160167"/>
                  </a:lnTo>
                  <a:lnTo>
                    <a:pt x="2298605" y="6169466"/>
                  </a:lnTo>
                  <a:lnTo>
                    <a:pt x="2338418" y="6172994"/>
                  </a:lnTo>
                  <a:lnTo>
                    <a:pt x="2387294" y="6173772"/>
                  </a:lnTo>
                  <a:lnTo>
                    <a:pt x="2416865" y="6174228"/>
                  </a:lnTo>
                  <a:lnTo>
                    <a:pt x="2460187" y="6174161"/>
                  </a:lnTo>
                  <a:lnTo>
                    <a:pt x="2501550" y="6166967"/>
                  </a:lnTo>
                  <a:lnTo>
                    <a:pt x="2542913" y="6159765"/>
                  </a:lnTo>
                  <a:lnTo>
                    <a:pt x="2582239" y="6145421"/>
                  </a:lnTo>
                  <a:lnTo>
                    <a:pt x="2604925" y="6120723"/>
                  </a:lnTo>
                  <a:lnTo>
                    <a:pt x="2629564" y="6093856"/>
                  </a:lnTo>
                  <a:lnTo>
                    <a:pt x="2642886" y="6065993"/>
                  </a:lnTo>
                  <a:lnTo>
                    <a:pt x="2652534" y="6040470"/>
                  </a:lnTo>
                  <a:lnTo>
                    <a:pt x="2662175" y="6014948"/>
                  </a:lnTo>
                  <a:lnTo>
                    <a:pt x="2668394" y="5992267"/>
                  </a:lnTo>
                  <a:lnTo>
                    <a:pt x="2681097" y="5975180"/>
                  </a:lnTo>
                  <a:lnTo>
                    <a:pt x="2717460" y="5974158"/>
                  </a:lnTo>
                  <a:lnTo>
                    <a:pt x="2733994" y="6002556"/>
                  </a:lnTo>
                  <a:lnTo>
                    <a:pt x="2768697" y="6036474"/>
                  </a:lnTo>
                  <a:lnTo>
                    <a:pt x="2798967" y="6045568"/>
                  </a:lnTo>
                  <a:lnTo>
                    <a:pt x="2817116" y="6069033"/>
                  </a:lnTo>
                  <a:lnTo>
                    <a:pt x="2834830" y="6099138"/>
                  </a:lnTo>
                  <a:lnTo>
                    <a:pt x="2840212" y="6131420"/>
                  </a:lnTo>
                  <a:lnTo>
                    <a:pt x="2837514" y="6164250"/>
                  </a:lnTo>
                  <a:lnTo>
                    <a:pt x="2835028" y="6196143"/>
                  </a:lnTo>
                  <a:lnTo>
                    <a:pt x="2829633" y="6226605"/>
                  </a:lnTo>
                  <a:lnTo>
                    <a:pt x="2841590" y="6249944"/>
                  </a:lnTo>
                  <a:lnTo>
                    <a:pt x="2886864" y="6241568"/>
                  </a:lnTo>
                  <a:lnTo>
                    <a:pt x="2932237" y="6246290"/>
                  </a:lnTo>
                  <a:lnTo>
                    <a:pt x="2977609" y="6249944"/>
                  </a:lnTo>
                  <a:lnTo>
                    <a:pt x="2998753" y="6267105"/>
                  </a:lnTo>
                  <a:lnTo>
                    <a:pt x="3019046" y="6303501"/>
                  </a:lnTo>
                  <a:lnTo>
                    <a:pt x="3028780" y="6323438"/>
                  </a:lnTo>
                  <a:lnTo>
                    <a:pt x="3070063" y="6356927"/>
                  </a:lnTo>
                  <a:lnTo>
                    <a:pt x="3105900" y="6377839"/>
                  </a:lnTo>
                  <a:lnTo>
                    <a:pt x="3136758" y="6403645"/>
                  </a:lnTo>
                  <a:lnTo>
                    <a:pt x="3382358" y="6633985"/>
                  </a:lnTo>
                  <a:lnTo>
                    <a:pt x="3403654" y="6673475"/>
                  </a:lnTo>
                  <a:lnTo>
                    <a:pt x="3418103" y="6713770"/>
                  </a:lnTo>
                  <a:lnTo>
                    <a:pt x="3436002" y="6750497"/>
                  </a:lnTo>
                  <a:lnTo>
                    <a:pt x="3448987" y="6777101"/>
                  </a:lnTo>
                  <a:lnTo>
                    <a:pt x="3466411" y="6799035"/>
                  </a:lnTo>
                  <a:lnTo>
                    <a:pt x="3480886" y="6823945"/>
                  </a:lnTo>
                  <a:lnTo>
                    <a:pt x="3497934" y="6856972"/>
                  </a:lnTo>
                  <a:lnTo>
                    <a:pt x="3539819" y="6913760"/>
                  </a:lnTo>
                  <a:lnTo>
                    <a:pt x="3539232" y="6953653"/>
                  </a:lnTo>
                  <a:lnTo>
                    <a:pt x="3528449" y="6976136"/>
                  </a:lnTo>
                  <a:lnTo>
                    <a:pt x="3514890" y="6998051"/>
                  </a:lnTo>
                  <a:lnTo>
                    <a:pt x="3501337" y="7019964"/>
                  </a:lnTo>
                  <a:lnTo>
                    <a:pt x="3484540" y="7041873"/>
                  </a:lnTo>
                  <a:lnTo>
                    <a:pt x="3474087" y="7061982"/>
                  </a:lnTo>
                  <a:lnTo>
                    <a:pt x="3455028" y="7098641"/>
                  </a:lnTo>
                  <a:lnTo>
                    <a:pt x="3448314" y="7132098"/>
                  </a:lnTo>
                  <a:lnTo>
                    <a:pt x="3449600" y="7163991"/>
                  </a:lnTo>
                  <a:lnTo>
                    <a:pt x="3450887" y="7195890"/>
                  </a:lnTo>
                  <a:lnTo>
                    <a:pt x="3461287" y="7225765"/>
                  </a:lnTo>
                  <a:lnTo>
                    <a:pt x="3476805" y="7253767"/>
                  </a:lnTo>
                  <a:lnTo>
                    <a:pt x="3507840" y="7309777"/>
                  </a:lnTo>
                  <a:lnTo>
                    <a:pt x="3560237" y="7359015"/>
                  </a:lnTo>
                  <a:lnTo>
                    <a:pt x="3611465" y="7404751"/>
                  </a:lnTo>
                  <a:lnTo>
                    <a:pt x="3681431" y="7467211"/>
                  </a:lnTo>
                  <a:lnTo>
                    <a:pt x="3721884" y="7513856"/>
                  </a:lnTo>
                  <a:lnTo>
                    <a:pt x="3758367" y="7562534"/>
                  </a:lnTo>
                  <a:lnTo>
                    <a:pt x="3794850" y="7611204"/>
                  </a:lnTo>
                  <a:lnTo>
                    <a:pt x="3827468" y="7661306"/>
                  </a:lnTo>
                  <a:lnTo>
                    <a:pt x="3882147" y="7731198"/>
                  </a:lnTo>
                  <a:lnTo>
                    <a:pt x="3869794" y="7779612"/>
                  </a:lnTo>
                  <a:lnTo>
                    <a:pt x="3845334" y="7802865"/>
                  </a:lnTo>
                  <a:lnTo>
                    <a:pt x="3823657" y="7830491"/>
                  </a:lnTo>
                  <a:lnTo>
                    <a:pt x="3798411" y="7862629"/>
                  </a:lnTo>
                  <a:lnTo>
                    <a:pt x="3783289" y="7905482"/>
                  </a:lnTo>
                  <a:lnTo>
                    <a:pt x="3761091" y="7939308"/>
                  </a:lnTo>
                  <a:lnTo>
                    <a:pt x="3725676" y="7993260"/>
                  </a:lnTo>
                  <a:lnTo>
                    <a:pt x="3701651" y="8022410"/>
                  </a:lnTo>
                  <a:lnTo>
                    <a:pt x="3683555" y="8054923"/>
                  </a:lnTo>
                  <a:lnTo>
                    <a:pt x="3665464" y="8087442"/>
                  </a:lnTo>
                  <a:lnTo>
                    <a:pt x="3653323" y="8122599"/>
                  </a:lnTo>
                  <a:lnTo>
                    <a:pt x="3641387" y="8188226"/>
                  </a:lnTo>
                  <a:lnTo>
                    <a:pt x="3633229" y="8224953"/>
                  </a:lnTo>
                  <a:lnTo>
                    <a:pt x="3625183" y="8261205"/>
                  </a:lnTo>
                  <a:lnTo>
                    <a:pt x="3627452" y="8282566"/>
                  </a:lnTo>
                  <a:lnTo>
                    <a:pt x="3684768" y="8297971"/>
                  </a:lnTo>
                  <a:lnTo>
                    <a:pt x="3769506" y="8340397"/>
                  </a:lnTo>
                  <a:lnTo>
                    <a:pt x="3803252" y="8381371"/>
                  </a:lnTo>
                  <a:lnTo>
                    <a:pt x="3827844" y="8411251"/>
                  </a:lnTo>
                  <a:lnTo>
                    <a:pt x="3843633" y="8452061"/>
                  </a:lnTo>
                  <a:lnTo>
                    <a:pt x="3878065" y="8475223"/>
                  </a:lnTo>
                  <a:lnTo>
                    <a:pt x="3916256" y="8500982"/>
                  </a:lnTo>
                  <a:lnTo>
                    <a:pt x="3968540" y="8507999"/>
                  </a:lnTo>
                  <a:lnTo>
                    <a:pt x="3985522" y="8559558"/>
                  </a:lnTo>
                  <a:lnTo>
                    <a:pt x="4006388" y="8622849"/>
                  </a:lnTo>
                  <a:lnTo>
                    <a:pt x="3931536" y="8678274"/>
                  </a:lnTo>
                  <a:lnTo>
                    <a:pt x="3997762" y="8751345"/>
                  </a:lnTo>
                  <a:lnTo>
                    <a:pt x="4030255" y="8787221"/>
                  </a:lnTo>
                  <a:lnTo>
                    <a:pt x="4119840" y="8863221"/>
                  </a:lnTo>
                  <a:lnTo>
                    <a:pt x="4165068" y="8877841"/>
                  </a:lnTo>
                  <a:lnTo>
                    <a:pt x="4196565" y="8888004"/>
                  </a:lnTo>
                  <a:lnTo>
                    <a:pt x="4225893" y="8884641"/>
                  </a:lnTo>
                  <a:lnTo>
                    <a:pt x="4257562" y="8900962"/>
                  </a:lnTo>
                  <a:lnTo>
                    <a:pt x="4284041" y="8914568"/>
                  </a:lnTo>
                  <a:lnTo>
                    <a:pt x="4297791" y="8947338"/>
                  </a:lnTo>
                  <a:lnTo>
                    <a:pt x="4326933" y="8959453"/>
                  </a:lnTo>
                  <a:lnTo>
                    <a:pt x="4371304" y="8977945"/>
                  </a:lnTo>
                  <a:lnTo>
                    <a:pt x="4426121" y="8962599"/>
                  </a:lnTo>
                  <a:lnTo>
                    <a:pt x="4476552" y="8988022"/>
                  </a:lnTo>
                  <a:lnTo>
                    <a:pt x="4521905" y="9010888"/>
                  </a:lnTo>
                  <a:lnTo>
                    <a:pt x="4637883" y="9270562"/>
                  </a:lnTo>
                  <a:lnTo>
                    <a:pt x="4687385" y="9329428"/>
                  </a:lnTo>
                  <a:lnTo>
                    <a:pt x="4698735" y="9348513"/>
                  </a:lnTo>
                  <a:lnTo>
                    <a:pt x="4715947" y="9378395"/>
                  </a:lnTo>
                  <a:lnTo>
                    <a:pt x="4741153" y="9438330"/>
                  </a:lnTo>
                  <a:lnTo>
                    <a:pt x="4744642" y="9514500"/>
                  </a:lnTo>
                  <a:lnTo>
                    <a:pt x="4819322" y="9529378"/>
                  </a:lnTo>
                  <a:lnTo>
                    <a:pt x="4840169" y="9533501"/>
                  </a:lnTo>
                  <a:lnTo>
                    <a:pt x="4863297" y="9532056"/>
                  </a:lnTo>
                  <a:lnTo>
                    <a:pt x="4883254" y="9523937"/>
                  </a:lnTo>
                  <a:close/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89" name="Chernivtsi¬0" descr="Chernivtsi¬0">
              <a:extLst>
                <a:ext uri="{FF2B5EF4-FFF2-40B4-BE49-F238E27FC236}">
                  <a16:creationId xmlns:a16="http://schemas.microsoft.com/office/drawing/2014/main" id="{480AADD6-3499-4062-9E9C-D98E3B976EB1}"/>
                </a:ext>
              </a:extLst>
            </p:cNvPr>
            <p:cNvSpPr/>
            <p:nvPr/>
          </p:nvSpPr>
          <p:spPr>
            <a:xfrm>
              <a:off x="1831124" y="2862276"/>
              <a:ext cx="890017" cy="436579"/>
            </a:xfrm>
            <a:custGeom>
              <a:avLst/>
              <a:gdLst/>
              <a:ahLst/>
              <a:cxnLst/>
              <a:rect l="0" t="0" r="0" b="0"/>
              <a:pathLst>
                <a:path w="9082132" h="5057210">
                  <a:moveTo>
                    <a:pt x="5106420" y="821342"/>
                  </a:moveTo>
                  <a:lnTo>
                    <a:pt x="5091325" y="837868"/>
                  </a:lnTo>
                  <a:lnTo>
                    <a:pt x="5076077" y="857890"/>
                  </a:lnTo>
                  <a:lnTo>
                    <a:pt x="5060322" y="877702"/>
                  </a:lnTo>
                  <a:lnTo>
                    <a:pt x="5043715" y="895001"/>
                  </a:lnTo>
                  <a:lnTo>
                    <a:pt x="5024023" y="907973"/>
                  </a:lnTo>
                  <a:lnTo>
                    <a:pt x="5001898" y="911779"/>
                  </a:lnTo>
                  <a:lnTo>
                    <a:pt x="4981144" y="907241"/>
                  </a:lnTo>
                  <a:lnTo>
                    <a:pt x="4961009" y="899367"/>
                  </a:lnTo>
                  <a:lnTo>
                    <a:pt x="4941436" y="887918"/>
                  </a:lnTo>
                  <a:lnTo>
                    <a:pt x="4922660" y="874596"/>
                  </a:lnTo>
                  <a:lnTo>
                    <a:pt x="4905038" y="862738"/>
                  </a:lnTo>
                  <a:lnTo>
                    <a:pt x="4871326" y="853585"/>
                  </a:lnTo>
                  <a:lnTo>
                    <a:pt x="4832534" y="852061"/>
                  </a:lnTo>
                  <a:lnTo>
                    <a:pt x="4807044" y="852839"/>
                  </a:lnTo>
                  <a:lnTo>
                    <a:pt x="4786481" y="841147"/>
                  </a:lnTo>
                  <a:lnTo>
                    <a:pt x="4769092" y="823446"/>
                  </a:lnTo>
                  <a:lnTo>
                    <a:pt x="4752631" y="806590"/>
                  </a:lnTo>
                  <a:lnTo>
                    <a:pt x="4736176" y="789726"/>
                  </a:lnTo>
                  <a:lnTo>
                    <a:pt x="4720256" y="774367"/>
                  </a:lnTo>
                  <a:lnTo>
                    <a:pt x="4699587" y="764422"/>
                  </a:lnTo>
                  <a:lnTo>
                    <a:pt x="4657604" y="756726"/>
                  </a:lnTo>
                  <a:lnTo>
                    <a:pt x="4627499" y="761704"/>
                  </a:lnTo>
                  <a:lnTo>
                    <a:pt x="4597386" y="766684"/>
                  </a:lnTo>
                  <a:lnTo>
                    <a:pt x="4562447" y="776219"/>
                  </a:lnTo>
                  <a:lnTo>
                    <a:pt x="4525482" y="783467"/>
                  </a:lnTo>
                  <a:lnTo>
                    <a:pt x="4488518" y="790716"/>
                  </a:lnTo>
                  <a:lnTo>
                    <a:pt x="4450116" y="795708"/>
                  </a:lnTo>
                  <a:lnTo>
                    <a:pt x="4412583" y="794348"/>
                  </a:lnTo>
                  <a:lnTo>
                    <a:pt x="4375052" y="792990"/>
                  </a:lnTo>
                  <a:lnTo>
                    <a:pt x="4338292" y="785261"/>
                  </a:lnTo>
                  <a:lnTo>
                    <a:pt x="4306484" y="764422"/>
                  </a:lnTo>
                  <a:lnTo>
                    <a:pt x="4286555" y="744221"/>
                  </a:lnTo>
                  <a:lnTo>
                    <a:pt x="4269758" y="714102"/>
                  </a:lnTo>
                  <a:lnTo>
                    <a:pt x="4259648" y="681174"/>
                  </a:lnTo>
                  <a:lnTo>
                    <a:pt x="4255388" y="646367"/>
                  </a:lnTo>
                  <a:lnTo>
                    <a:pt x="4256159" y="610721"/>
                  </a:lnTo>
                  <a:lnTo>
                    <a:pt x="4258876" y="575101"/>
                  </a:lnTo>
                  <a:lnTo>
                    <a:pt x="4264324" y="540248"/>
                  </a:lnTo>
                  <a:lnTo>
                    <a:pt x="4271124" y="507346"/>
                  </a:lnTo>
                  <a:lnTo>
                    <a:pt x="4276505" y="475948"/>
                  </a:lnTo>
                  <a:lnTo>
                    <a:pt x="4279346" y="448974"/>
                  </a:lnTo>
                  <a:lnTo>
                    <a:pt x="4277922" y="427100"/>
                  </a:lnTo>
                  <a:lnTo>
                    <a:pt x="4267040" y="402613"/>
                  </a:lnTo>
                  <a:lnTo>
                    <a:pt x="4248344" y="385353"/>
                  </a:lnTo>
                  <a:lnTo>
                    <a:pt x="4225612" y="375157"/>
                  </a:lnTo>
                  <a:lnTo>
                    <a:pt x="4207193" y="356361"/>
                  </a:lnTo>
                  <a:lnTo>
                    <a:pt x="4184044" y="337567"/>
                  </a:lnTo>
                  <a:lnTo>
                    <a:pt x="4154169" y="326203"/>
                  </a:lnTo>
                  <a:lnTo>
                    <a:pt x="4125580" y="329164"/>
                  </a:lnTo>
                  <a:lnTo>
                    <a:pt x="4107431" y="341602"/>
                  </a:lnTo>
                  <a:lnTo>
                    <a:pt x="4098376" y="382214"/>
                  </a:lnTo>
                  <a:lnTo>
                    <a:pt x="4097050" y="404267"/>
                  </a:lnTo>
                  <a:lnTo>
                    <a:pt x="4102135" y="428932"/>
                  </a:lnTo>
                  <a:lnTo>
                    <a:pt x="4110615" y="454303"/>
                  </a:lnTo>
                  <a:lnTo>
                    <a:pt x="4119103" y="479673"/>
                  </a:lnTo>
                  <a:lnTo>
                    <a:pt x="4130611" y="505360"/>
                  </a:lnTo>
                  <a:lnTo>
                    <a:pt x="4141902" y="527757"/>
                  </a:lnTo>
                  <a:lnTo>
                    <a:pt x="4153193" y="550146"/>
                  </a:lnTo>
                  <a:lnTo>
                    <a:pt x="4163395" y="569034"/>
                  </a:lnTo>
                  <a:lnTo>
                    <a:pt x="4178042" y="596226"/>
                  </a:lnTo>
                  <a:lnTo>
                    <a:pt x="4199033" y="625684"/>
                  </a:lnTo>
                  <a:lnTo>
                    <a:pt x="4207278" y="651511"/>
                  </a:lnTo>
                  <a:lnTo>
                    <a:pt x="4192228" y="692339"/>
                  </a:lnTo>
                  <a:lnTo>
                    <a:pt x="4169502" y="719082"/>
                  </a:lnTo>
                  <a:lnTo>
                    <a:pt x="4144230" y="728163"/>
                  </a:lnTo>
                  <a:lnTo>
                    <a:pt x="4117423" y="723626"/>
                  </a:lnTo>
                  <a:lnTo>
                    <a:pt x="4090238" y="715870"/>
                  </a:lnTo>
                  <a:lnTo>
                    <a:pt x="4061200" y="695327"/>
                  </a:lnTo>
                  <a:lnTo>
                    <a:pt x="4037169" y="676016"/>
                  </a:lnTo>
                  <a:lnTo>
                    <a:pt x="4015452" y="658560"/>
                  </a:lnTo>
                  <a:lnTo>
                    <a:pt x="3985201" y="638420"/>
                  </a:lnTo>
                  <a:lnTo>
                    <a:pt x="3970514" y="613445"/>
                  </a:lnTo>
                  <a:lnTo>
                    <a:pt x="3956744" y="581076"/>
                  </a:lnTo>
                  <a:lnTo>
                    <a:pt x="3939234" y="547667"/>
                  </a:lnTo>
                  <a:lnTo>
                    <a:pt x="3920847" y="520615"/>
                  </a:lnTo>
                  <a:lnTo>
                    <a:pt x="3924270" y="497829"/>
                  </a:lnTo>
                  <a:lnTo>
                    <a:pt x="3929837" y="460786"/>
                  </a:lnTo>
                  <a:lnTo>
                    <a:pt x="3960911" y="409477"/>
                  </a:lnTo>
                  <a:lnTo>
                    <a:pt x="3981402" y="379496"/>
                  </a:lnTo>
                  <a:lnTo>
                    <a:pt x="3980044" y="350927"/>
                  </a:lnTo>
                  <a:lnTo>
                    <a:pt x="3974596" y="323723"/>
                  </a:lnTo>
                  <a:lnTo>
                    <a:pt x="3966979" y="304011"/>
                  </a:lnTo>
                  <a:lnTo>
                    <a:pt x="3964612" y="271334"/>
                  </a:lnTo>
                  <a:lnTo>
                    <a:pt x="3970982" y="242812"/>
                  </a:lnTo>
                  <a:lnTo>
                    <a:pt x="3971872" y="213550"/>
                  </a:lnTo>
                  <a:lnTo>
                    <a:pt x="3944458" y="164753"/>
                  </a:lnTo>
                  <a:lnTo>
                    <a:pt x="3910665" y="156417"/>
                  </a:lnTo>
                  <a:lnTo>
                    <a:pt x="3889410" y="167886"/>
                  </a:lnTo>
                  <a:lnTo>
                    <a:pt x="3877822" y="203070"/>
                  </a:lnTo>
                  <a:lnTo>
                    <a:pt x="3867139" y="239395"/>
                  </a:lnTo>
                  <a:lnTo>
                    <a:pt x="3856456" y="275713"/>
                  </a:lnTo>
                  <a:lnTo>
                    <a:pt x="3847011" y="313534"/>
                  </a:lnTo>
                  <a:lnTo>
                    <a:pt x="3833136" y="330530"/>
                  </a:lnTo>
                  <a:lnTo>
                    <a:pt x="3800101" y="344207"/>
                  </a:lnTo>
                  <a:lnTo>
                    <a:pt x="3770959" y="341333"/>
                  </a:lnTo>
                  <a:lnTo>
                    <a:pt x="3744718" y="327806"/>
                  </a:lnTo>
                  <a:lnTo>
                    <a:pt x="3719980" y="313224"/>
                  </a:lnTo>
                  <a:lnTo>
                    <a:pt x="3698751" y="293539"/>
                  </a:lnTo>
                  <a:lnTo>
                    <a:pt x="3670249" y="329363"/>
                  </a:lnTo>
                  <a:lnTo>
                    <a:pt x="3662347" y="361987"/>
                  </a:lnTo>
                  <a:lnTo>
                    <a:pt x="3650865" y="390378"/>
                  </a:lnTo>
                  <a:lnTo>
                    <a:pt x="3639390" y="418762"/>
                  </a:lnTo>
                  <a:lnTo>
                    <a:pt x="3624493" y="442789"/>
                  </a:lnTo>
                  <a:lnTo>
                    <a:pt x="3605981" y="459744"/>
                  </a:lnTo>
                  <a:lnTo>
                    <a:pt x="3587469" y="476706"/>
                  </a:lnTo>
                  <a:lnTo>
                    <a:pt x="3565540" y="487053"/>
                  </a:lnTo>
                  <a:lnTo>
                    <a:pt x="3536609" y="488307"/>
                  </a:lnTo>
                  <a:lnTo>
                    <a:pt x="3507683" y="489572"/>
                  </a:lnTo>
                  <a:lnTo>
                    <a:pt x="3471879" y="481171"/>
                  </a:lnTo>
                  <a:lnTo>
                    <a:pt x="3429158" y="462468"/>
                  </a:lnTo>
                  <a:lnTo>
                    <a:pt x="3408984" y="453636"/>
                  </a:lnTo>
                  <a:lnTo>
                    <a:pt x="3389219" y="434242"/>
                  </a:lnTo>
                  <a:lnTo>
                    <a:pt x="3366586" y="425740"/>
                  </a:lnTo>
                  <a:lnTo>
                    <a:pt x="3298553" y="434775"/>
                  </a:lnTo>
                  <a:lnTo>
                    <a:pt x="3270009" y="427100"/>
                  </a:lnTo>
                  <a:lnTo>
                    <a:pt x="3256965" y="408310"/>
                  </a:lnTo>
                  <a:lnTo>
                    <a:pt x="3261852" y="378132"/>
                  </a:lnTo>
                  <a:lnTo>
                    <a:pt x="3274924" y="350287"/>
                  </a:lnTo>
                  <a:lnTo>
                    <a:pt x="3272352" y="316627"/>
                  </a:lnTo>
                  <a:lnTo>
                    <a:pt x="3247251" y="288889"/>
                  </a:lnTo>
                  <a:lnTo>
                    <a:pt x="3212371" y="260069"/>
                  </a:lnTo>
                  <a:lnTo>
                    <a:pt x="3196563" y="227155"/>
                  </a:lnTo>
                  <a:lnTo>
                    <a:pt x="3179423" y="191469"/>
                  </a:lnTo>
                  <a:lnTo>
                    <a:pt x="3161194" y="153701"/>
                  </a:lnTo>
                  <a:lnTo>
                    <a:pt x="3150155" y="135248"/>
                  </a:lnTo>
                  <a:lnTo>
                    <a:pt x="3134853" y="116624"/>
                  </a:lnTo>
                  <a:lnTo>
                    <a:pt x="3102703" y="81612"/>
                  </a:lnTo>
                  <a:lnTo>
                    <a:pt x="3078092" y="61128"/>
                  </a:lnTo>
                  <a:lnTo>
                    <a:pt x="3048434" y="50405"/>
                  </a:lnTo>
                  <a:lnTo>
                    <a:pt x="3017016" y="50326"/>
                  </a:lnTo>
                  <a:lnTo>
                    <a:pt x="2986462" y="56815"/>
                  </a:lnTo>
                  <a:lnTo>
                    <a:pt x="2960511" y="73763"/>
                  </a:lnTo>
                  <a:lnTo>
                    <a:pt x="2942204" y="100651"/>
                  </a:lnTo>
                  <a:lnTo>
                    <a:pt x="2928295" y="130110"/>
                  </a:lnTo>
                  <a:lnTo>
                    <a:pt x="2930887" y="155533"/>
                  </a:lnTo>
                  <a:lnTo>
                    <a:pt x="2928598" y="179546"/>
                  </a:lnTo>
                  <a:lnTo>
                    <a:pt x="2926323" y="203558"/>
                  </a:lnTo>
                  <a:lnTo>
                    <a:pt x="2920025" y="226758"/>
                  </a:lnTo>
                  <a:lnTo>
                    <a:pt x="2890513" y="251634"/>
                  </a:lnTo>
                  <a:lnTo>
                    <a:pt x="2867094" y="262055"/>
                  </a:lnTo>
                  <a:lnTo>
                    <a:pt x="2836105" y="250276"/>
                  </a:lnTo>
                  <a:lnTo>
                    <a:pt x="2816162" y="223329"/>
                  </a:lnTo>
                  <a:lnTo>
                    <a:pt x="2798468" y="165433"/>
                  </a:lnTo>
                  <a:lnTo>
                    <a:pt x="2796107" y="117283"/>
                  </a:lnTo>
                  <a:lnTo>
                    <a:pt x="2774165" y="89419"/>
                  </a:lnTo>
                  <a:lnTo>
                    <a:pt x="2742490" y="78584"/>
                  </a:lnTo>
                  <a:lnTo>
                    <a:pt x="2709608" y="69371"/>
                  </a:lnTo>
                  <a:lnTo>
                    <a:pt x="2676732" y="60151"/>
                  </a:lnTo>
                  <a:lnTo>
                    <a:pt x="2642182" y="53524"/>
                  </a:lnTo>
                  <a:lnTo>
                    <a:pt x="2605870" y="47172"/>
                  </a:lnTo>
                  <a:lnTo>
                    <a:pt x="2565021" y="54698"/>
                  </a:lnTo>
                  <a:lnTo>
                    <a:pt x="2530062" y="53042"/>
                  </a:lnTo>
                  <a:lnTo>
                    <a:pt x="2496870" y="48690"/>
                  </a:lnTo>
                  <a:lnTo>
                    <a:pt x="2476208" y="32908"/>
                  </a:lnTo>
                  <a:lnTo>
                    <a:pt x="2475654" y="0"/>
                  </a:lnTo>
                  <a:lnTo>
                    <a:pt x="2444473" y="25792"/>
                  </a:lnTo>
                  <a:lnTo>
                    <a:pt x="2408900" y="47648"/>
                  </a:lnTo>
                  <a:lnTo>
                    <a:pt x="2389643" y="58931"/>
                  </a:lnTo>
                  <a:lnTo>
                    <a:pt x="2346136" y="91002"/>
                  </a:lnTo>
                  <a:lnTo>
                    <a:pt x="2326609" y="112509"/>
                  </a:lnTo>
                  <a:lnTo>
                    <a:pt x="2304272" y="138737"/>
                  </a:lnTo>
                  <a:lnTo>
                    <a:pt x="2244423" y="209466"/>
                  </a:lnTo>
                  <a:lnTo>
                    <a:pt x="2233997" y="243239"/>
                  </a:lnTo>
                  <a:lnTo>
                    <a:pt x="2234901" y="269315"/>
                  </a:lnTo>
                  <a:lnTo>
                    <a:pt x="2235804" y="295391"/>
                  </a:lnTo>
                  <a:lnTo>
                    <a:pt x="2239827" y="325926"/>
                  </a:lnTo>
                  <a:lnTo>
                    <a:pt x="2245782" y="356369"/>
                  </a:lnTo>
                  <a:lnTo>
                    <a:pt x="2257686" y="417252"/>
                  </a:lnTo>
                  <a:lnTo>
                    <a:pt x="2275624" y="476937"/>
                  </a:lnTo>
                  <a:lnTo>
                    <a:pt x="2281150" y="499188"/>
                  </a:lnTo>
                  <a:lnTo>
                    <a:pt x="2290944" y="538572"/>
                  </a:lnTo>
                  <a:lnTo>
                    <a:pt x="2313492" y="578056"/>
                  </a:lnTo>
                  <a:lnTo>
                    <a:pt x="2326035" y="616169"/>
                  </a:lnTo>
                  <a:lnTo>
                    <a:pt x="2339252" y="656312"/>
                  </a:lnTo>
                  <a:lnTo>
                    <a:pt x="2352112" y="697629"/>
                  </a:lnTo>
                  <a:lnTo>
                    <a:pt x="2366838" y="737225"/>
                  </a:lnTo>
                  <a:lnTo>
                    <a:pt x="2375280" y="759943"/>
                  </a:lnTo>
                  <a:lnTo>
                    <a:pt x="2388773" y="779326"/>
                  </a:lnTo>
                  <a:lnTo>
                    <a:pt x="2395407" y="803872"/>
                  </a:lnTo>
                  <a:lnTo>
                    <a:pt x="2401421" y="826129"/>
                  </a:lnTo>
                  <a:lnTo>
                    <a:pt x="2371982" y="1213422"/>
                  </a:lnTo>
                  <a:lnTo>
                    <a:pt x="2369562" y="1235060"/>
                  </a:lnTo>
                  <a:lnTo>
                    <a:pt x="2366455" y="1262515"/>
                  </a:lnTo>
                  <a:lnTo>
                    <a:pt x="2357526" y="1292140"/>
                  </a:lnTo>
                  <a:lnTo>
                    <a:pt x="2351874" y="1319389"/>
                  </a:lnTo>
                  <a:lnTo>
                    <a:pt x="2345530" y="1350035"/>
                  </a:lnTo>
                  <a:lnTo>
                    <a:pt x="2342404" y="1381717"/>
                  </a:lnTo>
                  <a:lnTo>
                    <a:pt x="2336917" y="1411883"/>
                  </a:lnTo>
                  <a:lnTo>
                    <a:pt x="2331430" y="1442055"/>
                  </a:lnTo>
                  <a:lnTo>
                    <a:pt x="2323094" y="1470709"/>
                  </a:lnTo>
                  <a:lnTo>
                    <a:pt x="2305631" y="1498935"/>
                  </a:lnTo>
                  <a:lnTo>
                    <a:pt x="2282212" y="1513187"/>
                  </a:lnTo>
                  <a:lnTo>
                    <a:pt x="2258319" y="1514611"/>
                  </a:lnTo>
                  <a:lnTo>
                    <a:pt x="2234901" y="1507100"/>
                  </a:lnTo>
                  <a:lnTo>
                    <a:pt x="2211996" y="1497709"/>
                  </a:lnTo>
                  <a:lnTo>
                    <a:pt x="2190385" y="1481274"/>
                  </a:lnTo>
                  <a:lnTo>
                    <a:pt x="2169611" y="1471732"/>
                  </a:lnTo>
                  <a:lnTo>
                    <a:pt x="2140561" y="1458384"/>
                  </a:lnTo>
                  <a:lnTo>
                    <a:pt x="2107084" y="1447884"/>
                  </a:lnTo>
                  <a:lnTo>
                    <a:pt x="2077117" y="1436370"/>
                  </a:lnTo>
                  <a:lnTo>
                    <a:pt x="2054187" y="1427612"/>
                  </a:lnTo>
                  <a:lnTo>
                    <a:pt x="1950218" y="1431226"/>
                  </a:lnTo>
                  <a:lnTo>
                    <a:pt x="1920693" y="1430928"/>
                  </a:lnTo>
                  <a:lnTo>
                    <a:pt x="1843598" y="1445036"/>
                  </a:lnTo>
                  <a:lnTo>
                    <a:pt x="1782120" y="1458522"/>
                  </a:lnTo>
                  <a:lnTo>
                    <a:pt x="1722107" y="1477172"/>
                  </a:lnTo>
                  <a:lnTo>
                    <a:pt x="1662094" y="1495822"/>
                  </a:lnTo>
                  <a:lnTo>
                    <a:pt x="1603993" y="1519893"/>
                  </a:lnTo>
                  <a:lnTo>
                    <a:pt x="1552077" y="1551984"/>
                  </a:lnTo>
                  <a:lnTo>
                    <a:pt x="1513424" y="1575871"/>
                  </a:lnTo>
                  <a:lnTo>
                    <a:pt x="1481584" y="1615784"/>
                  </a:lnTo>
                  <a:lnTo>
                    <a:pt x="1447344" y="1640396"/>
                  </a:lnTo>
                  <a:lnTo>
                    <a:pt x="1411441" y="1666215"/>
                  </a:lnTo>
                  <a:lnTo>
                    <a:pt x="1366108" y="1697047"/>
                  </a:lnTo>
                  <a:lnTo>
                    <a:pt x="1322205" y="1730166"/>
                  </a:lnTo>
                  <a:lnTo>
                    <a:pt x="1278309" y="1763292"/>
                  </a:lnTo>
                  <a:lnTo>
                    <a:pt x="1236103" y="1797737"/>
                  </a:lnTo>
                  <a:lnTo>
                    <a:pt x="1205232" y="1832183"/>
                  </a:lnTo>
                  <a:lnTo>
                    <a:pt x="1165043" y="1876988"/>
                  </a:lnTo>
                  <a:lnTo>
                    <a:pt x="1139454" y="1929780"/>
                  </a:lnTo>
                  <a:lnTo>
                    <a:pt x="1105932" y="1979084"/>
                  </a:lnTo>
                  <a:lnTo>
                    <a:pt x="1093059" y="1998005"/>
                  </a:lnTo>
                  <a:lnTo>
                    <a:pt x="1076855" y="2013344"/>
                  </a:lnTo>
                  <a:lnTo>
                    <a:pt x="1063771" y="2032133"/>
                  </a:lnTo>
                  <a:lnTo>
                    <a:pt x="1043445" y="2061310"/>
                  </a:lnTo>
                  <a:lnTo>
                    <a:pt x="1023482" y="2091277"/>
                  </a:lnTo>
                  <a:lnTo>
                    <a:pt x="1003922" y="2120545"/>
                  </a:lnTo>
                  <a:lnTo>
                    <a:pt x="984361" y="2149819"/>
                  </a:lnTo>
                  <a:lnTo>
                    <a:pt x="964445" y="2178738"/>
                  </a:lnTo>
                  <a:lnTo>
                    <a:pt x="941350" y="2206239"/>
                  </a:lnTo>
                  <a:lnTo>
                    <a:pt x="912708" y="2229380"/>
                  </a:lnTo>
                  <a:lnTo>
                    <a:pt x="877504" y="2240223"/>
                  </a:lnTo>
                  <a:lnTo>
                    <a:pt x="839340" y="2249765"/>
                  </a:lnTo>
                  <a:lnTo>
                    <a:pt x="798517" y="2266443"/>
                  </a:lnTo>
                  <a:lnTo>
                    <a:pt x="779491" y="2285133"/>
                  </a:lnTo>
                  <a:lnTo>
                    <a:pt x="760458" y="2303818"/>
                  </a:lnTo>
                  <a:lnTo>
                    <a:pt x="743344" y="2330514"/>
                  </a:lnTo>
                  <a:lnTo>
                    <a:pt x="727800" y="2372187"/>
                  </a:lnTo>
                  <a:lnTo>
                    <a:pt x="722762" y="2409633"/>
                  </a:lnTo>
                  <a:lnTo>
                    <a:pt x="720598" y="2447889"/>
                  </a:lnTo>
                  <a:lnTo>
                    <a:pt x="719748" y="2472666"/>
                  </a:lnTo>
                  <a:lnTo>
                    <a:pt x="726435" y="2502765"/>
                  </a:lnTo>
                  <a:lnTo>
                    <a:pt x="742474" y="2536518"/>
                  </a:lnTo>
                  <a:lnTo>
                    <a:pt x="759370" y="2569657"/>
                  </a:lnTo>
                  <a:lnTo>
                    <a:pt x="754998" y="2606134"/>
                  </a:lnTo>
                  <a:lnTo>
                    <a:pt x="730530" y="2616910"/>
                  </a:lnTo>
                  <a:lnTo>
                    <a:pt x="708754" y="2618381"/>
                  </a:lnTo>
                  <a:lnTo>
                    <a:pt x="686978" y="2619845"/>
                  </a:lnTo>
                  <a:lnTo>
                    <a:pt x="663783" y="2619324"/>
                  </a:lnTo>
                  <a:lnTo>
                    <a:pt x="640635" y="2620524"/>
                  </a:lnTo>
                  <a:lnTo>
                    <a:pt x="614902" y="2638779"/>
                  </a:lnTo>
                  <a:lnTo>
                    <a:pt x="592097" y="2666101"/>
                  </a:lnTo>
                  <a:lnTo>
                    <a:pt x="562578" y="2714712"/>
                  </a:lnTo>
                  <a:lnTo>
                    <a:pt x="547859" y="2750232"/>
                  </a:lnTo>
                  <a:lnTo>
                    <a:pt x="536007" y="2767999"/>
                  </a:lnTo>
                  <a:lnTo>
                    <a:pt x="511375" y="2804937"/>
                  </a:lnTo>
                  <a:lnTo>
                    <a:pt x="476904" y="2841961"/>
                  </a:lnTo>
                  <a:lnTo>
                    <a:pt x="448954" y="2876815"/>
                  </a:lnTo>
                  <a:lnTo>
                    <a:pt x="407228" y="2901209"/>
                  </a:lnTo>
                  <a:lnTo>
                    <a:pt x="376866" y="2905378"/>
                  </a:lnTo>
                  <a:lnTo>
                    <a:pt x="346503" y="2909545"/>
                  </a:lnTo>
                  <a:lnTo>
                    <a:pt x="314293" y="2908570"/>
                  </a:lnTo>
                  <a:lnTo>
                    <a:pt x="266981" y="2923823"/>
                  </a:lnTo>
                  <a:lnTo>
                    <a:pt x="248977" y="2947177"/>
                  </a:lnTo>
                  <a:lnTo>
                    <a:pt x="236764" y="2973384"/>
                  </a:lnTo>
                  <a:lnTo>
                    <a:pt x="224557" y="2999598"/>
                  </a:lnTo>
                  <a:lnTo>
                    <a:pt x="219148" y="3028742"/>
                  </a:lnTo>
                  <a:lnTo>
                    <a:pt x="215001" y="3059078"/>
                  </a:lnTo>
                  <a:lnTo>
                    <a:pt x="210859" y="3089415"/>
                  </a:lnTo>
                  <a:lnTo>
                    <a:pt x="208201" y="3120741"/>
                  </a:lnTo>
                  <a:lnTo>
                    <a:pt x="202760" y="3150214"/>
                  </a:lnTo>
                  <a:lnTo>
                    <a:pt x="197319" y="3179687"/>
                  </a:lnTo>
                  <a:lnTo>
                    <a:pt x="188931" y="3208215"/>
                  </a:lnTo>
                  <a:lnTo>
                    <a:pt x="172833" y="3231826"/>
                  </a:lnTo>
                  <a:lnTo>
                    <a:pt x="137464" y="3283721"/>
                  </a:lnTo>
                  <a:lnTo>
                    <a:pt x="90027" y="3348172"/>
                  </a:lnTo>
                  <a:lnTo>
                    <a:pt x="54500" y="3416813"/>
                  </a:lnTo>
                  <a:lnTo>
                    <a:pt x="36733" y="3451132"/>
                  </a:lnTo>
                  <a:lnTo>
                    <a:pt x="21367" y="3486349"/>
                  </a:lnTo>
                  <a:lnTo>
                    <a:pt x="12332" y="3521546"/>
                  </a:lnTo>
                  <a:lnTo>
                    <a:pt x="3297" y="3556743"/>
                  </a:lnTo>
                  <a:lnTo>
                    <a:pt x="0" y="3591057"/>
                  </a:lnTo>
                  <a:lnTo>
                    <a:pt x="5533" y="3624921"/>
                  </a:lnTo>
                  <a:lnTo>
                    <a:pt x="12701" y="3668790"/>
                  </a:lnTo>
                  <a:lnTo>
                    <a:pt x="15564" y="3732115"/>
                  </a:lnTo>
                  <a:lnTo>
                    <a:pt x="23214" y="3792228"/>
                  </a:lnTo>
                  <a:lnTo>
                    <a:pt x="27039" y="3822288"/>
                  </a:lnTo>
                  <a:lnTo>
                    <a:pt x="31602" y="3851477"/>
                  </a:lnTo>
                  <a:lnTo>
                    <a:pt x="39536" y="3877922"/>
                  </a:lnTo>
                  <a:lnTo>
                    <a:pt x="47470" y="3904360"/>
                  </a:lnTo>
                  <a:lnTo>
                    <a:pt x="58846" y="3926863"/>
                  </a:lnTo>
                  <a:lnTo>
                    <a:pt x="73539" y="3944570"/>
                  </a:lnTo>
                  <a:lnTo>
                    <a:pt x="126688" y="4008599"/>
                  </a:lnTo>
                  <a:lnTo>
                    <a:pt x="142727" y="4030633"/>
                  </a:lnTo>
                  <a:lnTo>
                    <a:pt x="146994" y="4056109"/>
                  </a:lnTo>
                  <a:lnTo>
                    <a:pt x="151260" y="4081579"/>
                  </a:lnTo>
                  <a:lnTo>
                    <a:pt x="143617" y="4111216"/>
                  </a:lnTo>
                  <a:lnTo>
                    <a:pt x="148352" y="4193488"/>
                  </a:lnTo>
                  <a:lnTo>
                    <a:pt x="154901" y="4230742"/>
                  </a:lnTo>
                  <a:lnTo>
                    <a:pt x="169001" y="4267766"/>
                  </a:lnTo>
                  <a:lnTo>
                    <a:pt x="185079" y="4302303"/>
                  </a:lnTo>
                  <a:lnTo>
                    <a:pt x="202655" y="4341496"/>
                  </a:lnTo>
                  <a:lnTo>
                    <a:pt x="206592" y="4379333"/>
                  </a:lnTo>
                  <a:lnTo>
                    <a:pt x="202760" y="4416560"/>
                  </a:lnTo>
                  <a:lnTo>
                    <a:pt x="198929" y="4453782"/>
                  </a:lnTo>
                  <a:lnTo>
                    <a:pt x="187025" y="4490779"/>
                  </a:lnTo>
                  <a:lnTo>
                    <a:pt x="171474" y="4529452"/>
                  </a:lnTo>
                  <a:lnTo>
                    <a:pt x="150858" y="4559083"/>
                  </a:lnTo>
                  <a:lnTo>
                    <a:pt x="84421" y="4688601"/>
                  </a:lnTo>
                  <a:lnTo>
                    <a:pt x="53893" y="4747149"/>
                  </a:lnTo>
                  <a:lnTo>
                    <a:pt x="38270" y="4777045"/>
                  </a:lnTo>
                  <a:lnTo>
                    <a:pt x="28655" y="4809655"/>
                  </a:lnTo>
                  <a:lnTo>
                    <a:pt x="19033" y="4842267"/>
                  </a:lnTo>
                  <a:lnTo>
                    <a:pt x="14878" y="4876752"/>
                  </a:lnTo>
                  <a:lnTo>
                    <a:pt x="8250" y="4945676"/>
                  </a:lnTo>
                  <a:lnTo>
                    <a:pt x="10967" y="5000084"/>
                  </a:lnTo>
                  <a:lnTo>
                    <a:pt x="10967" y="5025929"/>
                  </a:lnTo>
                  <a:lnTo>
                    <a:pt x="12325" y="5057209"/>
                  </a:lnTo>
                  <a:lnTo>
                    <a:pt x="58285" y="5042126"/>
                  </a:lnTo>
                  <a:lnTo>
                    <a:pt x="101647" y="5021959"/>
                  </a:lnTo>
                  <a:lnTo>
                    <a:pt x="148346" y="5010966"/>
                  </a:lnTo>
                  <a:lnTo>
                    <a:pt x="183094" y="5002808"/>
                  </a:lnTo>
                  <a:lnTo>
                    <a:pt x="221351" y="5008327"/>
                  </a:lnTo>
                  <a:lnTo>
                    <a:pt x="255803" y="5000084"/>
                  </a:lnTo>
                  <a:lnTo>
                    <a:pt x="312849" y="4979172"/>
                  </a:lnTo>
                  <a:lnTo>
                    <a:pt x="374781" y="4977642"/>
                  </a:lnTo>
                  <a:lnTo>
                    <a:pt x="429908" y="4952475"/>
                  </a:lnTo>
                  <a:lnTo>
                    <a:pt x="556411" y="4893991"/>
                  </a:lnTo>
                  <a:lnTo>
                    <a:pt x="583570" y="4874437"/>
                  </a:lnTo>
                  <a:lnTo>
                    <a:pt x="673491" y="4821303"/>
                  </a:lnTo>
                  <a:lnTo>
                    <a:pt x="792384" y="4684136"/>
                  </a:lnTo>
                  <a:lnTo>
                    <a:pt x="824370" y="4608347"/>
                  </a:lnTo>
                  <a:lnTo>
                    <a:pt x="845750" y="4557723"/>
                  </a:lnTo>
                  <a:lnTo>
                    <a:pt x="855504" y="4490266"/>
                  </a:lnTo>
                  <a:lnTo>
                    <a:pt x="885577" y="4445123"/>
                  </a:lnTo>
                  <a:lnTo>
                    <a:pt x="962071" y="4330398"/>
                  </a:lnTo>
                  <a:lnTo>
                    <a:pt x="1012522" y="4414476"/>
                  </a:lnTo>
                  <a:lnTo>
                    <a:pt x="1022961" y="4230215"/>
                  </a:lnTo>
                  <a:lnTo>
                    <a:pt x="1044000" y="4220732"/>
                  </a:lnTo>
                  <a:lnTo>
                    <a:pt x="1063659" y="4171302"/>
                  </a:lnTo>
                  <a:lnTo>
                    <a:pt x="1090968" y="4152678"/>
                  </a:lnTo>
                  <a:lnTo>
                    <a:pt x="1134561" y="4122969"/>
                  </a:lnTo>
                  <a:lnTo>
                    <a:pt x="1256507" y="4070987"/>
                  </a:lnTo>
                  <a:lnTo>
                    <a:pt x="1309959" y="4046586"/>
                  </a:lnTo>
                  <a:lnTo>
                    <a:pt x="1341054" y="4032433"/>
                  </a:lnTo>
                  <a:lnTo>
                    <a:pt x="1368554" y="4010117"/>
                  </a:lnTo>
                  <a:lnTo>
                    <a:pt x="1399735" y="3996260"/>
                  </a:lnTo>
                  <a:lnTo>
                    <a:pt x="1473525" y="3963484"/>
                  </a:lnTo>
                  <a:lnTo>
                    <a:pt x="1536691" y="4005098"/>
                  </a:lnTo>
                  <a:lnTo>
                    <a:pt x="1610561" y="4000336"/>
                  </a:lnTo>
                  <a:lnTo>
                    <a:pt x="1669565" y="3996511"/>
                  </a:lnTo>
                  <a:lnTo>
                    <a:pt x="1746073" y="3982780"/>
                  </a:lnTo>
                  <a:lnTo>
                    <a:pt x="1800995" y="3960885"/>
                  </a:lnTo>
                  <a:lnTo>
                    <a:pt x="1822837" y="3952173"/>
                  </a:lnTo>
                  <a:lnTo>
                    <a:pt x="1840650" y="3937724"/>
                  </a:lnTo>
                  <a:lnTo>
                    <a:pt x="1863561" y="3930965"/>
                  </a:lnTo>
                  <a:lnTo>
                    <a:pt x="1907048" y="3918130"/>
                  </a:lnTo>
                  <a:lnTo>
                    <a:pt x="1950719" y="3910560"/>
                  </a:lnTo>
                  <a:lnTo>
                    <a:pt x="1995499" y="3903760"/>
                  </a:lnTo>
                  <a:lnTo>
                    <a:pt x="2067614" y="3892753"/>
                  </a:lnTo>
                  <a:lnTo>
                    <a:pt x="2176067" y="3884932"/>
                  </a:lnTo>
                  <a:lnTo>
                    <a:pt x="2248499" y="3887439"/>
                  </a:lnTo>
                  <a:lnTo>
                    <a:pt x="2324499" y="3890029"/>
                  </a:lnTo>
                  <a:lnTo>
                    <a:pt x="2401646" y="3902487"/>
                  </a:lnTo>
                  <a:lnTo>
                    <a:pt x="2478371" y="3896961"/>
                  </a:lnTo>
                  <a:lnTo>
                    <a:pt x="2513225" y="3894494"/>
                  </a:lnTo>
                  <a:lnTo>
                    <a:pt x="2550229" y="3900998"/>
                  </a:lnTo>
                  <a:lnTo>
                    <a:pt x="2585829" y="3898320"/>
                  </a:lnTo>
                  <a:lnTo>
                    <a:pt x="2668376" y="3892114"/>
                  </a:lnTo>
                  <a:lnTo>
                    <a:pt x="2751664" y="3878594"/>
                  </a:lnTo>
                  <a:lnTo>
                    <a:pt x="2834740" y="3880631"/>
                  </a:lnTo>
                  <a:lnTo>
                    <a:pt x="2866560" y="3881489"/>
                  </a:lnTo>
                  <a:lnTo>
                    <a:pt x="2945772" y="3895345"/>
                  </a:lnTo>
                  <a:lnTo>
                    <a:pt x="2966684" y="3892879"/>
                  </a:lnTo>
                  <a:lnTo>
                    <a:pt x="3048038" y="3883270"/>
                  </a:lnTo>
                  <a:lnTo>
                    <a:pt x="3104894" y="3779216"/>
                  </a:lnTo>
                  <a:lnTo>
                    <a:pt x="3177516" y="3748694"/>
                  </a:lnTo>
                  <a:lnTo>
                    <a:pt x="3250218" y="3718173"/>
                  </a:lnTo>
                  <a:lnTo>
                    <a:pt x="3322585" y="3766038"/>
                  </a:lnTo>
                  <a:lnTo>
                    <a:pt x="3393783" y="3755501"/>
                  </a:lnTo>
                  <a:lnTo>
                    <a:pt x="3459370" y="3745806"/>
                  </a:lnTo>
                  <a:lnTo>
                    <a:pt x="3412506" y="3647449"/>
                  </a:lnTo>
                  <a:lnTo>
                    <a:pt x="3644059" y="3692928"/>
                  </a:lnTo>
                  <a:lnTo>
                    <a:pt x="3695810" y="3705893"/>
                  </a:lnTo>
                  <a:lnTo>
                    <a:pt x="3733190" y="3703427"/>
                  </a:lnTo>
                  <a:lnTo>
                    <a:pt x="3759056" y="3674053"/>
                  </a:lnTo>
                  <a:lnTo>
                    <a:pt x="3782797" y="3664366"/>
                  </a:lnTo>
                  <a:lnTo>
                    <a:pt x="3818416" y="3649824"/>
                  </a:lnTo>
                  <a:lnTo>
                    <a:pt x="3853890" y="3643109"/>
                  </a:lnTo>
                  <a:lnTo>
                    <a:pt x="3891613" y="3637161"/>
                  </a:lnTo>
                  <a:lnTo>
                    <a:pt x="3918494" y="3632994"/>
                  </a:lnTo>
                  <a:lnTo>
                    <a:pt x="3949205" y="3638521"/>
                  </a:lnTo>
                  <a:lnTo>
                    <a:pt x="3973218" y="3638521"/>
                  </a:lnTo>
                  <a:lnTo>
                    <a:pt x="4001338" y="3637161"/>
                  </a:lnTo>
                  <a:lnTo>
                    <a:pt x="4095046" y="3640598"/>
                  </a:lnTo>
                  <a:lnTo>
                    <a:pt x="4121485" y="3645319"/>
                  </a:lnTo>
                  <a:lnTo>
                    <a:pt x="4300497" y="3655436"/>
                  </a:lnTo>
                  <a:lnTo>
                    <a:pt x="4434328" y="3548743"/>
                  </a:lnTo>
                  <a:lnTo>
                    <a:pt x="4494604" y="3504789"/>
                  </a:lnTo>
                  <a:lnTo>
                    <a:pt x="4528733" y="3328730"/>
                  </a:lnTo>
                  <a:lnTo>
                    <a:pt x="4564906" y="3261741"/>
                  </a:lnTo>
                  <a:lnTo>
                    <a:pt x="4607199" y="3183359"/>
                  </a:lnTo>
                  <a:lnTo>
                    <a:pt x="4693916" y="3192289"/>
                  </a:lnTo>
                  <a:lnTo>
                    <a:pt x="4715890" y="3151566"/>
                  </a:lnTo>
                  <a:lnTo>
                    <a:pt x="4738180" y="3110249"/>
                  </a:lnTo>
                  <a:lnTo>
                    <a:pt x="4729212" y="3065325"/>
                  </a:lnTo>
                  <a:lnTo>
                    <a:pt x="4743093" y="3023704"/>
                  </a:lnTo>
                  <a:lnTo>
                    <a:pt x="4758354" y="2977882"/>
                  </a:lnTo>
                  <a:lnTo>
                    <a:pt x="4787425" y="2932278"/>
                  </a:lnTo>
                  <a:lnTo>
                    <a:pt x="4807024" y="2887684"/>
                  </a:lnTo>
                  <a:lnTo>
                    <a:pt x="4824389" y="2848153"/>
                  </a:lnTo>
                  <a:lnTo>
                    <a:pt x="4832739" y="2804713"/>
                  </a:lnTo>
                  <a:lnTo>
                    <a:pt x="4853268" y="2766628"/>
                  </a:lnTo>
                  <a:lnTo>
                    <a:pt x="4865067" y="2744778"/>
                  </a:lnTo>
                  <a:lnTo>
                    <a:pt x="4887292" y="2722085"/>
                  </a:lnTo>
                  <a:lnTo>
                    <a:pt x="4891354" y="2697262"/>
                  </a:lnTo>
                  <a:lnTo>
                    <a:pt x="4896861" y="2663464"/>
                  </a:lnTo>
                  <a:lnTo>
                    <a:pt x="4869169" y="2639241"/>
                  </a:lnTo>
                  <a:lnTo>
                    <a:pt x="4866873" y="2607486"/>
                  </a:lnTo>
                  <a:lnTo>
                    <a:pt x="4872994" y="2581430"/>
                  </a:lnTo>
                  <a:lnTo>
                    <a:pt x="4928080" y="2586910"/>
                  </a:lnTo>
                  <a:lnTo>
                    <a:pt x="5010286" y="2582405"/>
                  </a:lnTo>
                  <a:lnTo>
                    <a:pt x="5043697" y="2528591"/>
                  </a:lnTo>
                  <a:lnTo>
                    <a:pt x="5090883" y="2534968"/>
                  </a:lnTo>
                  <a:lnTo>
                    <a:pt x="5102397" y="2569525"/>
                  </a:lnTo>
                  <a:lnTo>
                    <a:pt x="5144354" y="2557154"/>
                  </a:lnTo>
                  <a:lnTo>
                    <a:pt x="5167983" y="2550182"/>
                  </a:lnTo>
                  <a:lnTo>
                    <a:pt x="5178997" y="2520130"/>
                  </a:lnTo>
                  <a:lnTo>
                    <a:pt x="5214023" y="2517749"/>
                  </a:lnTo>
                  <a:lnTo>
                    <a:pt x="5247261" y="2527108"/>
                  </a:lnTo>
                  <a:lnTo>
                    <a:pt x="5280690" y="2498537"/>
                  </a:lnTo>
                  <a:lnTo>
                    <a:pt x="5295740" y="2444296"/>
                  </a:lnTo>
                  <a:lnTo>
                    <a:pt x="5334783" y="2457861"/>
                  </a:lnTo>
                  <a:lnTo>
                    <a:pt x="5378671" y="2383385"/>
                  </a:lnTo>
                  <a:lnTo>
                    <a:pt x="5414626" y="2413523"/>
                  </a:lnTo>
                  <a:lnTo>
                    <a:pt x="5464003" y="2418411"/>
                  </a:lnTo>
                  <a:lnTo>
                    <a:pt x="5495222" y="2418806"/>
                  </a:lnTo>
                  <a:lnTo>
                    <a:pt x="5543043" y="2426739"/>
                  </a:lnTo>
                  <a:lnTo>
                    <a:pt x="5600721" y="2461983"/>
                  </a:lnTo>
                  <a:lnTo>
                    <a:pt x="5628374" y="2459687"/>
                  </a:lnTo>
                  <a:lnTo>
                    <a:pt x="5755484" y="2377350"/>
                  </a:lnTo>
                  <a:lnTo>
                    <a:pt x="5780036" y="2341902"/>
                  </a:lnTo>
                  <a:lnTo>
                    <a:pt x="5782734" y="2307938"/>
                  </a:lnTo>
                  <a:lnTo>
                    <a:pt x="5799967" y="2281031"/>
                  </a:lnTo>
                  <a:lnTo>
                    <a:pt x="5834609" y="2263774"/>
                  </a:lnTo>
                  <a:lnTo>
                    <a:pt x="5864088" y="2281031"/>
                  </a:lnTo>
                  <a:lnTo>
                    <a:pt x="5878861" y="2312318"/>
                  </a:lnTo>
                  <a:lnTo>
                    <a:pt x="5907298" y="2306706"/>
                  </a:lnTo>
                  <a:lnTo>
                    <a:pt x="5948998" y="2240355"/>
                  </a:lnTo>
                  <a:lnTo>
                    <a:pt x="5969719" y="2200726"/>
                  </a:lnTo>
                  <a:lnTo>
                    <a:pt x="5984769" y="2182510"/>
                  </a:lnTo>
                  <a:lnTo>
                    <a:pt x="5989042" y="2147729"/>
                  </a:lnTo>
                  <a:lnTo>
                    <a:pt x="6001514" y="2083205"/>
                  </a:lnTo>
                  <a:lnTo>
                    <a:pt x="6020131" y="2012138"/>
                  </a:lnTo>
                  <a:lnTo>
                    <a:pt x="6034817" y="1959729"/>
                  </a:lnTo>
                  <a:lnTo>
                    <a:pt x="6085611" y="1939620"/>
                  </a:lnTo>
                  <a:lnTo>
                    <a:pt x="6111438" y="1929464"/>
                  </a:lnTo>
                  <a:lnTo>
                    <a:pt x="6160280" y="1939488"/>
                  </a:lnTo>
                  <a:lnTo>
                    <a:pt x="6174029" y="1912417"/>
                  </a:lnTo>
                  <a:lnTo>
                    <a:pt x="6175962" y="1866852"/>
                  </a:lnTo>
                  <a:lnTo>
                    <a:pt x="6175922" y="1760542"/>
                  </a:lnTo>
                  <a:lnTo>
                    <a:pt x="6224355" y="1739669"/>
                  </a:lnTo>
                  <a:lnTo>
                    <a:pt x="6305756" y="1772486"/>
                  </a:lnTo>
                  <a:lnTo>
                    <a:pt x="6314296" y="2024128"/>
                  </a:lnTo>
                  <a:lnTo>
                    <a:pt x="6501835" y="2010350"/>
                  </a:lnTo>
                  <a:lnTo>
                    <a:pt x="6543020" y="2004442"/>
                  </a:lnTo>
                  <a:lnTo>
                    <a:pt x="6577789" y="1998828"/>
                  </a:lnTo>
                  <a:lnTo>
                    <a:pt x="6598411" y="1962742"/>
                  </a:lnTo>
                  <a:lnTo>
                    <a:pt x="6620360" y="1924320"/>
                  </a:lnTo>
                  <a:lnTo>
                    <a:pt x="6581727" y="1716204"/>
                  </a:lnTo>
                  <a:lnTo>
                    <a:pt x="6567126" y="1667580"/>
                  </a:lnTo>
                  <a:lnTo>
                    <a:pt x="6555440" y="1628769"/>
                  </a:lnTo>
                  <a:lnTo>
                    <a:pt x="6524640" y="1587841"/>
                  </a:lnTo>
                  <a:lnTo>
                    <a:pt x="6534480" y="1545158"/>
                  </a:lnTo>
                  <a:lnTo>
                    <a:pt x="6559409" y="1514176"/>
                  </a:lnTo>
                  <a:lnTo>
                    <a:pt x="6648309" y="1562847"/>
                  </a:lnTo>
                  <a:lnTo>
                    <a:pt x="6689540" y="1558764"/>
                  </a:lnTo>
                  <a:lnTo>
                    <a:pt x="6713091" y="1518298"/>
                  </a:lnTo>
                  <a:lnTo>
                    <a:pt x="6727902" y="1437239"/>
                  </a:lnTo>
                  <a:lnTo>
                    <a:pt x="6753471" y="1422744"/>
                  </a:lnTo>
                  <a:lnTo>
                    <a:pt x="6898672" y="1549881"/>
                  </a:lnTo>
                  <a:lnTo>
                    <a:pt x="6924853" y="1568287"/>
                  </a:lnTo>
                  <a:lnTo>
                    <a:pt x="6990254" y="1614280"/>
                  </a:lnTo>
                  <a:lnTo>
                    <a:pt x="7062066" y="1636934"/>
                  </a:lnTo>
                  <a:lnTo>
                    <a:pt x="7137051" y="1659423"/>
                  </a:lnTo>
                  <a:lnTo>
                    <a:pt x="7172543" y="1670047"/>
                  </a:lnTo>
                  <a:lnTo>
                    <a:pt x="7218596" y="1679056"/>
                  </a:lnTo>
                  <a:lnTo>
                    <a:pt x="7251307" y="1653981"/>
                  </a:lnTo>
                  <a:lnTo>
                    <a:pt x="7308840" y="1541091"/>
                  </a:lnTo>
                  <a:lnTo>
                    <a:pt x="7356337" y="1642084"/>
                  </a:lnTo>
                  <a:lnTo>
                    <a:pt x="7439011" y="1632224"/>
                  </a:lnTo>
                  <a:lnTo>
                    <a:pt x="7444728" y="1589807"/>
                  </a:lnTo>
                  <a:lnTo>
                    <a:pt x="7435040" y="1558731"/>
                  </a:lnTo>
                  <a:lnTo>
                    <a:pt x="7425413" y="1534291"/>
                  </a:lnTo>
                  <a:lnTo>
                    <a:pt x="7411834" y="1505643"/>
                  </a:lnTo>
                  <a:lnTo>
                    <a:pt x="7411279" y="1438822"/>
                  </a:lnTo>
                  <a:lnTo>
                    <a:pt x="7436295" y="1415952"/>
                  </a:lnTo>
                  <a:lnTo>
                    <a:pt x="7462733" y="1410933"/>
                  </a:lnTo>
                  <a:lnTo>
                    <a:pt x="7501049" y="1419479"/>
                  </a:lnTo>
                  <a:lnTo>
                    <a:pt x="7566597" y="1469602"/>
                  </a:lnTo>
                  <a:lnTo>
                    <a:pt x="7599517" y="1485330"/>
                  </a:lnTo>
                  <a:lnTo>
                    <a:pt x="7629545" y="1499654"/>
                  </a:lnTo>
                  <a:lnTo>
                    <a:pt x="7663640" y="1506624"/>
                  </a:lnTo>
                  <a:lnTo>
                    <a:pt x="7693370" y="1520692"/>
                  </a:lnTo>
                  <a:lnTo>
                    <a:pt x="7775193" y="1559418"/>
                  </a:lnTo>
                  <a:lnTo>
                    <a:pt x="7861125" y="1592999"/>
                  </a:lnTo>
                  <a:lnTo>
                    <a:pt x="7951810" y="1605028"/>
                  </a:lnTo>
                  <a:lnTo>
                    <a:pt x="8040710" y="1609446"/>
                  </a:lnTo>
                  <a:lnTo>
                    <a:pt x="8073691" y="1634395"/>
                  </a:lnTo>
                  <a:lnTo>
                    <a:pt x="8159920" y="1594146"/>
                  </a:lnTo>
                  <a:lnTo>
                    <a:pt x="8189083" y="1580541"/>
                  </a:lnTo>
                  <a:lnTo>
                    <a:pt x="8216069" y="1559503"/>
                  </a:lnTo>
                  <a:lnTo>
                    <a:pt x="8234733" y="1532939"/>
                  </a:lnTo>
                  <a:lnTo>
                    <a:pt x="8252625" y="1507429"/>
                  </a:lnTo>
                  <a:lnTo>
                    <a:pt x="8260829" y="1476236"/>
                  </a:lnTo>
                  <a:lnTo>
                    <a:pt x="8278259" y="1451321"/>
                  </a:lnTo>
                  <a:lnTo>
                    <a:pt x="8308372" y="1408433"/>
                  </a:lnTo>
                  <a:lnTo>
                    <a:pt x="8349622" y="1374259"/>
                  </a:lnTo>
                  <a:lnTo>
                    <a:pt x="8374828" y="1327547"/>
                  </a:lnTo>
                  <a:lnTo>
                    <a:pt x="8450617" y="1203471"/>
                  </a:lnTo>
                  <a:lnTo>
                    <a:pt x="8468469" y="1215585"/>
                  </a:lnTo>
                  <a:lnTo>
                    <a:pt x="8599259" y="1232330"/>
                  </a:lnTo>
                  <a:lnTo>
                    <a:pt x="8620534" y="1235094"/>
                  </a:lnTo>
                  <a:lnTo>
                    <a:pt x="8705227" y="1263142"/>
                  </a:lnTo>
                  <a:lnTo>
                    <a:pt x="8668480" y="1321586"/>
                  </a:lnTo>
                  <a:lnTo>
                    <a:pt x="8710792" y="1361543"/>
                  </a:lnTo>
                  <a:lnTo>
                    <a:pt x="8732555" y="1361543"/>
                  </a:lnTo>
                  <a:lnTo>
                    <a:pt x="8780144" y="1329961"/>
                  </a:lnTo>
                  <a:lnTo>
                    <a:pt x="8821903" y="1242994"/>
                  </a:lnTo>
                  <a:lnTo>
                    <a:pt x="8903943" y="1211918"/>
                  </a:lnTo>
                  <a:lnTo>
                    <a:pt x="8930171" y="1204782"/>
                  </a:lnTo>
                  <a:lnTo>
                    <a:pt x="8962302" y="1169758"/>
                  </a:lnTo>
                  <a:lnTo>
                    <a:pt x="8985555" y="1154793"/>
                  </a:lnTo>
                  <a:lnTo>
                    <a:pt x="9014203" y="1136301"/>
                  </a:lnTo>
                  <a:lnTo>
                    <a:pt x="9052520" y="1134627"/>
                  </a:lnTo>
                  <a:lnTo>
                    <a:pt x="9082131" y="1118067"/>
                  </a:lnTo>
                  <a:lnTo>
                    <a:pt x="9067173" y="1101758"/>
                  </a:lnTo>
                  <a:lnTo>
                    <a:pt x="9046973" y="1095347"/>
                  </a:lnTo>
                  <a:lnTo>
                    <a:pt x="9016842" y="1071829"/>
                  </a:lnTo>
                  <a:lnTo>
                    <a:pt x="8997677" y="1047442"/>
                  </a:lnTo>
                  <a:lnTo>
                    <a:pt x="8981447" y="980886"/>
                  </a:lnTo>
                  <a:lnTo>
                    <a:pt x="8967874" y="912689"/>
                  </a:lnTo>
                  <a:lnTo>
                    <a:pt x="8954309" y="844483"/>
                  </a:lnTo>
                  <a:lnTo>
                    <a:pt x="8943395" y="775257"/>
                  </a:lnTo>
                  <a:lnTo>
                    <a:pt x="8937953" y="745382"/>
                  </a:lnTo>
                  <a:lnTo>
                    <a:pt x="8934175" y="724641"/>
                  </a:lnTo>
                  <a:lnTo>
                    <a:pt x="8930171" y="702660"/>
                  </a:lnTo>
                  <a:lnTo>
                    <a:pt x="8924348" y="681458"/>
                  </a:lnTo>
                  <a:lnTo>
                    <a:pt x="8918525" y="660248"/>
                  </a:lnTo>
                  <a:lnTo>
                    <a:pt x="8911330" y="638854"/>
                  </a:lnTo>
                  <a:lnTo>
                    <a:pt x="8897336" y="592446"/>
                  </a:lnTo>
                  <a:lnTo>
                    <a:pt x="8890998" y="562051"/>
                  </a:lnTo>
                  <a:lnTo>
                    <a:pt x="8882186" y="531833"/>
                  </a:lnTo>
                  <a:lnTo>
                    <a:pt x="8873370" y="501614"/>
                  </a:lnTo>
                  <a:lnTo>
                    <a:pt x="8861987" y="472393"/>
                  </a:lnTo>
                  <a:lnTo>
                    <a:pt x="8846818" y="448863"/>
                  </a:lnTo>
                  <a:lnTo>
                    <a:pt x="8823843" y="420768"/>
                  </a:lnTo>
                  <a:lnTo>
                    <a:pt x="8796348" y="400779"/>
                  </a:lnTo>
                  <a:lnTo>
                    <a:pt x="8767930" y="380848"/>
                  </a:lnTo>
                  <a:lnTo>
                    <a:pt x="8741986" y="360939"/>
                  </a:lnTo>
                  <a:lnTo>
                    <a:pt x="8707831" y="331163"/>
                  </a:lnTo>
                  <a:lnTo>
                    <a:pt x="8671354" y="306043"/>
                  </a:lnTo>
                  <a:lnTo>
                    <a:pt x="8653113" y="293480"/>
                  </a:lnTo>
                  <a:lnTo>
                    <a:pt x="8634370" y="281160"/>
                  </a:lnTo>
                  <a:lnTo>
                    <a:pt x="8596799" y="265629"/>
                  </a:lnTo>
                  <a:lnTo>
                    <a:pt x="8559815" y="262516"/>
                  </a:lnTo>
                  <a:lnTo>
                    <a:pt x="8531167" y="273985"/>
                  </a:lnTo>
                  <a:lnTo>
                    <a:pt x="8512299" y="291850"/>
                  </a:lnTo>
                  <a:lnTo>
                    <a:pt x="8499966" y="314201"/>
                  </a:lnTo>
                  <a:lnTo>
                    <a:pt x="8488815" y="338094"/>
                  </a:lnTo>
                  <a:lnTo>
                    <a:pt x="8483156" y="366730"/>
                  </a:lnTo>
                  <a:lnTo>
                    <a:pt x="8470046" y="390372"/>
                  </a:lnTo>
                  <a:lnTo>
                    <a:pt x="8451270" y="404214"/>
                  </a:lnTo>
                  <a:lnTo>
                    <a:pt x="8419712" y="416217"/>
                  </a:lnTo>
                  <a:lnTo>
                    <a:pt x="8392945" y="420622"/>
                  </a:lnTo>
                  <a:lnTo>
                    <a:pt x="8359007" y="411488"/>
                  </a:lnTo>
                  <a:lnTo>
                    <a:pt x="8341292" y="393880"/>
                  </a:lnTo>
                  <a:lnTo>
                    <a:pt x="8323143" y="372684"/>
                  </a:lnTo>
                  <a:lnTo>
                    <a:pt x="8304995" y="351495"/>
                  </a:lnTo>
                  <a:lnTo>
                    <a:pt x="8286060" y="326402"/>
                  </a:lnTo>
                  <a:lnTo>
                    <a:pt x="8261936" y="308760"/>
                  </a:lnTo>
                  <a:lnTo>
                    <a:pt x="8236644" y="292793"/>
                  </a:lnTo>
                  <a:lnTo>
                    <a:pt x="8205609" y="283918"/>
                  </a:lnTo>
                  <a:lnTo>
                    <a:pt x="8168078" y="284279"/>
                  </a:lnTo>
                  <a:lnTo>
                    <a:pt x="8135559" y="291824"/>
                  </a:lnTo>
                  <a:lnTo>
                    <a:pt x="8105387" y="306662"/>
                  </a:lnTo>
                  <a:lnTo>
                    <a:pt x="8079666" y="329164"/>
                  </a:lnTo>
                  <a:lnTo>
                    <a:pt x="8071719" y="351614"/>
                  </a:lnTo>
                  <a:lnTo>
                    <a:pt x="8079449" y="374729"/>
                  </a:lnTo>
                  <a:lnTo>
                    <a:pt x="8095995" y="394454"/>
                  </a:lnTo>
                  <a:lnTo>
                    <a:pt x="8121168" y="394652"/>
                  </a:lnTo>
                  <a:lnTo>
                    <a:pt x="8154485" y="403977"/>
                  </a:lnTo>
                  <a:lnTo>
                    <a:pt x="8177845" y="420418"/>
                  </a:lnTo>
                  <a:lnTo>
                    <a:pt x="8193455" y="456789"/>
                  </a:lnTo>
                  <a:lnTo>
                    <a:pt x="8188199" y="491538"/>
                  </a:lnTo>
                  <a:lnTo>
                    <a:pt x="8172166" y="537273"/>
                  </a:lnTo>
                  <a:lnTo>
                    <a:pt x="8151412" y="559188"/>
                  </a:lnTo>
                  <a:lnTo>
                    <a:pt x="8122191" y="577937"/>
                  </a:lnTo>
                  <a:lnTo>
                    <a:pt x="8095995" y="590322"/>
                  </a:lnTo>
                  <a:lnTo>
                    <a:pt x="8074575" y="592809"/>
                  </a:lnTo>
                  <a:lnTo>
                    <a:pt x="8048625" y="585219"/>
                  </a:lnTo>
                  <a:lnTo>
                    <a:pt x="7993920" y="564972"/>
                  </a:lnTo>
                  <a:lnTo>
                    <a:pt x="7964763" y="552937"/>
                  </a:lnTo>
                  <a:lnTo>
                    <a:pt x="7934129" y="530475"/>
                  </a:lnTo>
                  <a:lnTo>
                    <a:pt x="7914517" y="516091"/>
                  </a:lnTo>
                  <a:lnTo>
                    <a:pt x="7890603" y="495112"/>
                  </a:lnTo>
                  <a:lnTo>
                    <a:pt x="7861883" y="483702"/>
                  </a:lnTo>
                  <a:lnTo>
                    <a:pt x="7834838" y="488307"/>
                  </a:lnTo>
                  <a:lnTo>
                    <a:pt x="7812593" y="492099"/>
                  </a:lnTo>
                  <a:lnTo>
                    <a:pt x="7783146" y="515517"/>
                  </a:lnTo>
                  <a:lnTo>
                    <a:pt x="7759701" y="545781"/>
                  </a:lnTo>
                  <a:lnTo>
                    <a:pt x="7738585" y="577740"/>
                  </a:lnTo>
                  <a:lnTo>
                    <a:pt x="7713782" y="603928"/>
                  </a:lnTo>
                  <a:lnTo>
                    <a:pt x="7681624" y="622162"/>
                  </a:lnTo>
                  <a:lnTo>
                    <a:pt x="7658008" y="621609"/>
                  </a:lnTo>
                  <a:lnTo>
                    <a:pt x="7608639" y="620455"/>
                  </a:lnTo>
                  <a:lnTo>
                    <a:pt x="7557738" y="614552"/>
                  </a:lnTo>
                  <a:lnTo>
                    <a:pt x="7508389" y="610727"/>
                  </a:lnTo>
                  <a:lnTo>
                    <a:pt x="7474130" y="591767"/>
                  </a:lnTo>
                  <a:lnTo>
                    <a:pt x="7434481" y="588206"/>
                  </a:lnTo>
                  <a:lnTo>
                    <a:pt x="7410264" y="594682"/>
                  </a:lnTo>
                  <a:lnTo>
                    <a:pt x="7385969" y="599846"/>
                  </a:lnTo>
                  <a:lnTo>
                    <a:pt x="7361679" y="605010"/>
                  </a:lnTo>
                  <a:lnTo>
                    <a:pt x="7337950" y="608281"/>
                  </a:lnTo>
                  <a:lnTo>
                    <a:pt x="7316603" y="598488"/>
                  </a:lnTo>
                  <a:lnTo>
                    <a:pt x="7295691" y="588891"/>
                  </a:lnTo>
                  <a:lnTo>
                    <a:pt x="7283425" y="564135"/>
                  </a:lnTo>
                  <a:lnTo>
                    <a:pt x="7271711" y="541362"/>
                  </a:lnTo>
                  <a:lnTo>
                    <a:pt x="7259998" y="518584"/>
                  </a:lnTo>
                  <a:lnTo>
                    <a:pt x="7247647" y="498067"/>
                  </a:lnTo>
                  <a:lnTo>
                    <a:pt x="7226827" y="495112"/>
                  </a:lnTo>
                  <a:lnTo>
                    <a:pt x="7178796" y="518999"/>
                  </a:lnTo>
                  <a:lnTo>
                    <a:pt x="7139603" y="530414"/>
                  </a:lnTo>
                  <a:lnTo>
                    <a:pt x="7109853" y="516875"/>
                  </a:lnTo>
                  <a:lnTo>
                    <a:pt x="7076772" y="507972"/>
                  </a:lnTo>
                  <a:lnTo>
                    <a:pt x="7044564" y="518234"/>
                  </a:lnTo>
                  <a:lnTo>
                    <a:pt x="7021291" y="536983"/>
                  </a:lnTo>
                  <a:lnTo>
                    <a:pt x="7002996" y="561450"/>
                  </a:lnTo>
                  <a:lnTo>
                    <a:pt x="6987432" y="587606"/>
                  </a:lnTo>
                  <a:lnTo>
                    <a:pt x="6971867" y="613755"/>
                  </a:lnTo>
                  <a:lnTo>
                    <a:pt x="6959021" y="642271"/>
                  </a:lnTo>
                  <a:lnTo>
                    <a:pt x="6945270" y="667859"/>
                  </a:lnTo>
                  <a:lnTo>
                    <a:pt x="6933888" y="686067"/>
                  </a:lnTo>
                  <a:lnTo>
                    <a:pt x="6914460" y="707053"/>
                  </a:lnTo>
                  <a:lnTo>
                    <a:pt x="6892148" y="723895"/>
                  </a:lnTo>
                  <a:lnTo>
                    <a:pt x="6868314" y="733887"/>
                  </a:lnTo>
                  <a:lnTo>
                    <a:pt x="6841605" y="739730"/>
                  </a:lnTo>
                  <a:lnTo>
                    <a:pt x="6813373" y="738735"/>
                  </a:lnTo>
                  <a:lnTo>
                    <a:pt x="6784975" y="733591"/>
                  </a:lnTo>
                  <a:lnTo>
                    <a:pt x="6755066" y="722953"/>
                  </a:lnTo>
                  <a:lnTo>
                    <a:pt x="6734438" y="708654"/>
                  </a:lnTo>
                  <a:lnTo>
                    <a:pt x="6719475" y="690973"/>
                  </a:lnTo>
                  <a:lnTo>
                    <a:pt x="6700428" y="667846"/>
                  </a:lnTo>
                  <a:lnTo>
                    <a:pt x="6687951" y="649881"/>
                  </a:lnTo>
                  <a:lnTo>
                    <a:pt x="6674826" y="631410"/>
                  </a:lnTo>
                  <a:lnTo>
                    <a:pt x="6662342" y="613437"/>
                  </a:lnTo>
                  <a:lnTo>
                    <a:pt x="6649707" y="595474"/>
                  </a:lnTo>
                  <a:lnTo>
                    <a:pt x="6635844" y="573057"/>
                  </a:lnTo>
                  <a:lnTo>
                    <a:pt x="6625622" y="553590"/>
                  </a:lnTo>
                  <a:lnTo>
                    <a:pt x="6623030" y="529135"/>
                  </a:lnTo>
                  <a:lnTo>
                    <a:pt x="6629705" y="507346"/>
                  </a:lnTo>
                  <a:lnTo>
                    <a:pt x="6638937" y="483578"/>
                  </a:lnTo>
                  <a:lnTo>
                    <a:pt x="6648295" y="457726"/>
                  </a:lnTo>
                  <a:lnTo>
                    <a:pt x="6654178" y="433891"/>
                  </a:lnTo>
                  <a:lnTo>
                    <a:pt x="6652101" y="410513"/>
                  </a:lnTo>
                  <a:lnTo>
                    <a:pt x="6640309" y="391480"/>
                  </a:lnTo>
                  <a:lnTo>
                    <a:pt x="6619799" y="375217"/>
                  </a:lnTo>
                  <a:lnTo>
                    <a:pt x="6599619" y="366973"/>
                  </a:lnTo>
                  <a:lnTo>
                    <a:pt x="6578008" y="363175"/>
                  </a:lnTo>
                  <a:lnTo>
                    <a:pt x="6556178" y="365246"/>
                  </a:lnTo>
                  <a:lnTo>
                    <a:pt x="6535951" y="373627"/>
                  </a:lnTo>
                  <a:lnTo>
                    <a:pt x="6516417" y="393478"/>
                  </a:lnTo>
                  <a:lnTo>
                    <a:pt x="6507046" y="419508"/>
                  </a:lnTo>
                  <a:lnTo>
                    <a:pt x="6503761" y="447643"/>
                  </a:lnTo>
                  <a:lnTo>
                    <a:pt x="6505153" y="477879"/>
                  </a:lnTo>
                  <a:lnTo>
                    <a:pt x="6508609" y="507504"/>
                  </a:lnTo>
                  <a:lnTo>
                    <a:pt x="6512672" y="533791"/>
                  </a:lnTo>
                  <a:lnTo>
                    <a:pt x="6514663" y="556735"/>
                  </a:lnTo>
                  <a:lnTo>
                    <a:pt x="6509361" y="595855"/>
                  </a:lnTo>
                  <a:lnTo>
                    <a:pt x="6502488" y="630024"/>
                  </a:lnTo>
                  <a:lnTo>
                    <a:pt x="6488224" y="655613"/>
                  </a:lnTo>
                  <a:lnTo>
                    <a:pt x="6472924" y="678951"/>
                  </a:lnTo>
                  <a:lnTo>
                    <a:pt x="6449116" y="692114"/>
                  </a:lnTo>
                  <a:lnTo>
                    <a:pt x="6416135" y="690973"/>
                  </a:lnTo>
                  <a:lnTo>
                    <a:pt x="6400927" y="665775"/>
                  </a:lnTo>
                  <a:lnTo>
                    <a:pt x="6395974" y="626404"/>
                  </a:lnTo>
                  <a:lnTo>
                    <a:pt x="6394668" y="603822"/>
                  </a:lnTo>
                  <a:lnTo>
                    <a:pt x="6391648" y="579441"/>
                  </a:lnTo>
                  <a:lnTo>
                    <a:pt x="6388635" y="555053"/>
                  </a:lnTo>
                  <a:lnTo>
                    <a:pt x="6383418" y="528971"/>
                  </a:lnTo>
                  <a:lnTo>
                    <a:pt x="6371250" y="505988"/>
                  </a:lnTo>
                  <a:lnTo>
                    <a:pt x="6359075" y="483003"/>
                  </a:lnTo>
                  <a:lnTo>
                    <a:pt x="6339997" y="462975"/>
                  </a:lnTo>
                  <a:lnTo>
                    <a:pt x="6310036" y="447497"/>
                  </a:lnTo>
                  <a:lnTo>
                    <a:pt x="6271950" y="448855"/>
                  </a:lnTo>
                  <a:lnTo>
                    <a:pt x="6257838" y="472636"/>
                  </a:lnTo>
                  <a:lnTo>
                    <a:pt x="6256010" y="509178"/>
                  </a:lnTo>
                  <a:lnTo>
                    <a:pt x="6279984" y="541251"/>
                  </a:lnTo>
                  <a:lnTo>
                    <a:pt x="6297426" y="562254"/>
                  </a:lnTo>
                  <a:lnTo>
                    <a:pt x="6312754" y="582158"/>
                  </a:lnTo>
                  <a:lnTo>
                    <a:pt x="6328086" y="602061"/>
                  </a:lnTo>
                  <a:lnTo>
                    <a:pt x="6341943" y="621635"/>
                  </a:lnTo>
                  <a:lnTo>
                    <a:pt x="6357018" y="659654"/>
                  </a:lnTo>
                  <a:lnTo>
                    <a:pt x="6350838" y="696415"/>
                  </a:lnTo>
                  <a:lnTo>
                    <a:pt x="6327975" y="735081"/>
                  </a:lnTo>
                  <a:lnTo>
                    <a:pt x="6299149" y="754898"/>
                  </a:lnTo>
                  <a:lnTo>
                    <a:pt x="6277392" y="767145"/>
                  </a:lnTo>
                  <a:lnTo>
                    <a:pt x="6252905" y="772585"/>
                  </a:lnTo>
                  <a:lnTo>
                    <a:pt x="6229782" y="772585"/>
                  </a:lnTo>
                  <a:lnTo>
                    <a:pt x="6205295" y="765780"/>
                  </a:lnTo>
                  <a:lnTo>
                    <a:pt x="6173159" y="742652"/>
                  </a:lnTo>
                  <a:lnTo>
                    <a:pt x="6150387" y="712744"/>
                  </a:lnTo>
                  <a:lnTo>
                    <a:pt x="6129125" y="680092"/>
                  </a:lnTo>
                  <a:lnTo>
                    <a:pt x="6103953" y="650601"/>
                  </a:lnTo>
                  <a:lnTo>
                    <a:pt x="6084239" y="639284"/>
                  </a:lnTo>
                  <a:lnTo>
                    <a:pt x="6064527" y="627973"/>
                  </a:lnTo>
                  <a:lnTo>
                    <a:pt x="6039282" y="619782"/>
                  </a:lnTo>
                  <a:lnTo>
                    <a:pt x="6003987" y="617521"/>
                  </a:lnTo>
                  <a:lnTo>
                    <a:pt x="5974066" y="620237"/>
                  </a:lnTo>
                  <a:lnTo>
                    <a:pt x="5948220" y="631118"/>
                  </a:lnTo>
                  <a:lnTo>
                    <a:pt x="5925099" y="650165"/>
                  </a:lnTo>
                  <a:lnTo>
                    <a:pt x="5906052" y="673286"/>
                  </a:lnTo>
                  <a:lnTo>
                    <a:pt x="5904694" y="700491"/>
                  </a:lnTo>
                  <a:lnTo>
                    <a:pt x="5906151" y="722564"/>
                  </a:lnTo>
                  <a:lnTo>
                    <a:pt x="5911394" y="743707"/>
                  </a:lnTo>
                  <a:lnTo>
                    <a:pt x="5927354" y="767251"/>
                  </a:lnTo>
                  <a:lnTo>
                    <a:pt x="5986411" y="769869"/>
                  </a:lnTo>
                  <a:lnTo>
                    <a:pt x="6012513" y="768023"/>
                  </a:lnTo>
                  <a:lnTo>
                    <a:pt x="6049860" y="768966"/>
                  </a:lnTo>
                  <a:lnTo>
                    <a:pt x="6071993" y="776669"/>
                  </a:lnTo>
                  <a:lnTo>
                    <a:pt x="6090710" y="791045"/>
                  </a:lnTo>
                  <a:lnTo>
                    <a:pt x="6118566" y="816693"/>
                  </a:lnTo>
                  <a:lnTo>
                    <a:pt x="6137151" y="833576"/>
                  </a:lnTo>
                  <a:lnTo>
                    <a:pt x="6167211" y="856915"/>
                  </a:lnTo>
                  <a:lnTo>
                    <a:pt x="6198490" y="878038"/>
                  </a:lnTo>
                  <a:lnTo>
                    <a:pt x="6216177" y="893642"/>
                  </a:lnTo>
                  <a:lnTo>
                    <a:pt x="6233866" y="909245"/>
                  </a:lnTo>
                  <a:lnTo>
                    <a:pt x="6248756" y="927698"/>
                  </a:lnTo>
                  <a:lnTo>
                    <a:pt x="6249786" y="953912"/>
                  </a:lnTo>
                  <a:lnTo>
                    <a:pt x="6235218" y="969814"/>
                  </a:lnTo>
                  <a:lnTo>
                    <a:pt x="6213507" y="987039"/>
                  </a:lnTo>
                  <a:lnTo>
                    <a:pt x="6186045" y="993845"/>
                  </a:lnTo>
                  <a:lnTo>
                    <a:pt x="6157258" y="989360"/>
                  </a:lnTo>
                  <a:lnTo>
                    <a:pt x="6136352" y="985628"/>
                  </a:lnTo>
                  <a:lnTo>
                    <a:pt x="6111444" y="984777"/>
                  </a:lnTo>
                  <a:lnTo>
                    <a:pt x="6076438" y="994597"/>
                  </a:lnTo>
                  <a:lnTo>
                    <a:pt x="6055670" y="990217"/>
                  </a:lnTo>
                  <a:lnTo>
                    <a:pt x="6033518" y="985541"/>
                  </a:lnTo>
                  <a:lnTo>
                    <a:pt x="6018792" y="968851"/>
                  </a:lnTo>
                  <a:lnTo>
                    <a:pt x="6003987" y="950767"/>
                  </a:lnTo>
                  <a:lnTo>
                    <a:pt x="5989181" y="932690"/>
                  </a:lnTo>
                  <a:lnTo>
                    <a:pt x="5974488" y="912425"/>
                  </a:lnTo>
                  <a:lnTo>
                    <a:pt x="5953655" y="901799"/>
                  </a:lnTo>
                  <a:lnTo>
                    <a:pt x="5920356" y="900020"/>
                  </a:lnTo>
                  <a:lnTo>
                    <a:pt x="5890324" y="912326"/>
                  </a:lnTo>
                  <a:lnTo>
                    <a:pt x="5874767" y="927646"/>
                  </a:lnTo>
                  <a:lnTo>
                    <a:pt x="5867967" y="953485"/>
                  </a:lnTo>
                  <a:lnTo>
                    <a:pt x="5877483" y="982047"/>
                  </a:lnTo>
                  <a:lnTo>
                    <a:pt x="5889335" y="1003559"/>
                  </a:lnTo>
                  <a:lnTo>
                    <a:pt x="5900050" y="1024010"/>
                  </a:lnTo>
                  <a:lnTo>
                    <a:pt x="5910127" y="1043260"/>
                  </a:lnTo>
                  <a:lnTo>
                    <a:pt x="5922375" y="1070465"/>
                  </a:lnTo>
                  <a:lnTo>
                    <a:pt x="5934614" y="1099028"/>
                  </a:lnTo>
                  <a:lnTo>
                    <a:pt x="5938690" y="1119662"/>
                  </a:lnTo>
                  <a:lnTo>
                    <a:pt x="5942535" y="1149629"/>
                  </a:lnTo>
                  <a:lnTo>
                    <a:pt x="5922375" y="1176556"/>
                  </a:lnTo>
                  <a:lnTo>
                    <a:pt x="5891563" y="1195721"/>
                  </a:lnTo>
                  <a:lnTo>
                    <a:pt x="5870683" y="1199685"/>
                  </a:lnTo>
                  <a:lnTo>
                    <a:pt x="5849812" y="1203649"/>
                  </a:lnTo>
                  <a:lnTo>
                    <a:pt x="5826385" y="1204638"/>
                  </a:lnTo>
                  <a:lnTo>
                    <a:pt x="5805394" y="1201043"/>
                  </a:lnTo>
                  <a:lnTo>
                    <a:pt x="5784409" y="1197449"/>
                  </a:lnTo>
                  <a:lnTo>
                    <a:pt x="5752351" y="1177916"/>
                  </a:lnTo>
                  <a:lnTo>
                    <a:pt x="5734862" y="1163465"/>
                  </a:lnTo>
                  <a:lnTo>
                    <a:pt x="5708819" y="1134390"/>
                  </a:lnTo>
                  <a:lnTo>
                    <a:pt x="5689206" y="1104165"/>
                  </a:lnTo>
                  <a:lnTo>
                    <a:pt x="5674030" y="1072127"/>
                  </a:lnTo>
                  <a:lnTo>
                    <a:pt x="5661217" y="1037820"/>
                  </a:lnTo>
                  <a:lnTo>
                    <a:pt x="5648449" y="1002682"/>
                  </a:lnTo>
                  <a:lnTo>
                    <a:pt x="5633471" y="964899"/>
                  </a:lnTo>
                  <a:lnTo>
                    <a:pt x="5620322" y="940564"/>
                  </a:lnTo>
                  <a:lnTo>
                    <a:pt x="5602726" y="915398"/>
                  </a:lnTo>
                  <a:lnTo>
                    <a:pt x="5585132" y="890233"/>
                  </a:lnTo>
                  <a:lnTo>
                    <a:pt x="5563559" y="863707"/>
                  </a:lnTo>
                  <a:lnTo>
                    <a:pt x="5540161" y="839228"/>
                  </a:lnTo>
                  <a:lnTo>
                    <a:pt x="5516754" y="814747"/>
                  </a:lnTo>
                  <a:lnTo>
                    <a:pt x="5491477" y="791770"/>
                  </a:lnTo>
                  <a:lnTo>
                    <a:pt x="5466706" y="775297"/>
                  </a:lnTo>
                  <a:lnTo>
                    <a:pt x="5441936" y="758830"/>
                  </a:lnTo>
                  <a:lnTo>
                    <a:pt x="5417666" y="749213"/>
                  </a:lnTo>
                  <a:lnTo>
                    <a:pt x="5395976" y="748092"/>
                  </a:lnTo>
                  <a:lnTo>
                    <a:pt x="5374859" y="748423"/>
                  </a:lnTo>
                  <a:lnTo>
                    <a:pt x="5344673" y="756521"/>
                  </a:lnTo>
                  <a:lnTo>
                    <a:pt x="5324864" y="764144"/>
                  </a:lnTo>
                  <a:lnTo>
                    <a:pt x="5304842" y="772573"/>
                  </a:lnTo>
                  <a:lnTo>
                    <a:pt x="5276279" y="780737"/>
                  </a:lnTo>
                  <a:lnTo>
                    <a:pt x="5243621" y="784944"/>
                  </a:lnTo>
                  <a:lnTo>
                    <a:pt x="5216443" y="784748"/>
                  </a:lnTo>
                  <a:lnTo>
                    <a:pt x="5191949" y="783455"/>
                  </a:lnTo>
                  <a:lnTo>
                    <a:pt x="5169112" y="786588"/>
                  </a:lnTo>
                  <a:lnTo>
                    <a:pt x="5144050" y="796644"/>
                  </a:lnTo>
                  <a:lnTo>
                    <a:pt x="5114413" y="818817"/>
                  </a:lnTo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90" name="Ternopil¬0" descr="Ternopil¬0">
              <a:extLst>
                <a:ext uri="{FF2B5EF4-FFF2-40B4-BE49-F238E27FC236}">
                  <a16:creationId xmlns:a16="http://schemas.microsoft.com/office/drawing/2014/main" id="{FFD22AA8-189A-46E8-88DD-C19997996E29}"/>
                </a:ext>
              </a:extLst>
            </p:cNvPr>
            <p:cNvSpPr/>
            <p:nvPr/>
          </p:nvSpPr>
          <p:spPr>
            <a:xfrm>
              <a:off x="1756505" y="2139543"/>
              <a:ext cx="575030" cy="801444"/>
            </a:xfrm>
            <a:custGeom>
              <a:avLst/>
              <a:gdLst/>
              <a:ahLst/>
              <a:cxnLst/>
              <a:rect l="0" t="0" r="0" b="0"/>
              <a:pathLst>
                <a:path w="5867863" h="9283712">
                  <a:moveTo>
                    <a:pt x="4391725" y="0"/>
                  </a:moveTo>
                  <a:lnTo>
                    <a:pt x="4367126" y="4689"/>
                  </a:lnTo>
                  <a:lnTo>
                    <a:pt x="4341597" y="17589"/>
                  </a:lnTo>
                  <a:lnTo>
                    <a:pt x="4316069" y="30489"/>
                  </a:lnTo>
                  <a:lnTo>
                    <a:pt x="4290256" y="51605"/>
                  </a:lnTo>
                  <a:lnTo>
                    <a:pt x="4265425" y="74714"/>
                  </a:lnTo>
                  <a:lnTo>
                    <a:pt x="4215773" y="120931"/>
                  </a:lnTo>
                  <a:lnTo>
                    <a:pt x="4171033" y="175946"/>
                  </a:lnTo>
                  <a:lnTo>
                    <a:pt x="4149811" y="198493"/>
                  </a:lnTo>
                  <a:lnTo>
                    <a:pt x="4083407" y="269026"/>
                  </a:lnTo>
                  <a:lnTo>
                    <a:pt x="4018347" y="324469"/>
                  </a:lnTo>
                  <a:lnTo>
                    <a:pt x="3953942" y="399803"/>
                  </a:lnTo>
                  <a:lnTo>
                    <a:pt x="3924331" y="434433"/>
                  </a:lnTo>
                  <a:lnTo>
                    <a:pt x="3885955" y="457554"/>
                  </a:lnTo>
                  <a:lnTo>
                    <a:pt x="3843761" y="471892"/>
                  </a:lnTo>
                  <a:lnTo>
                    <a:pt x="3801573" y="486236"/>
                  </a:lnTo>
                  <a:lnTo>
                    <a:pt x="3755811" y="492296"/>
                  </a:lnTo>
                  <a:lnTo>
                    <a:pt x="3711823" y="492296"/>
                  </a:lnTo>
                  <a:lnTo>
                    <a:pt x="3678354" y="488043"/>
                  </a:lnTo>
                  <a:lnTo>
                    <a:pt x="3625654" y="488617"/>
                  </a:lnTo>
                  <a:lnTo>
                    <a:pt x="3562145" y="489448"/>
                  </a:lnTo>
                  <a:lnTo>
                    <a:pt x="3500998" y="495020"/>
                  </a:lnTo>
                  <a:lnTo>
                    <a:pt x="3439843" y="500600"/>
                  </a:lnTo>
                  <a:lnTo>
                    <a:pt x="3381241" y="510716"/>
                  </a:lnTo>
                  <a:lnTo>
                    <a:pt x="3354089" y="530388"/>
                  </a:lnTo>
                  <a:lnTo>
                    <a:pt x="3323931" y="557560"/>
                  </a:lnTo>
                  <a:lnTo>
                    <a:pt x="3310570" y="573915"/>
                  </a:lnTo>
                  <a:lnTo>
                    <a:pt x="3297201" y="590264"/>
                  </a:lnTo>
                  <a:lnTo>
                    <a:pt x="3284850" y="607853"/>
                  </a:lnTo>
                  <a:lnTo>
                    <a:pt x="3270189" y="625665"/>
                  </a:lnTo>
                  <a:lnTo>
                    <a:pt x="3246229" y="634192"/>
                  </a:lnTo>
                  <a:lnTo>
                    <a:pt x="3216711" y="626958"/>
                  </a:lnTo>
                  <a:lnTo>
                    <a:pt x="3187852" y="580886"/>
                  </a:lnTo>
                  <a:lnTo>
                    <a:pt x="3173184" y="550786"/>
                  </a:lnTo>
                  <a:lnTo>
                    <a:pt x="3128616" y="570195"/>
                  </a:lnTo>
                  <a:lnTo>
                    <a:pt x="3103179" y="597656"/>
                  </a:lnTo>
                  <a:lnTo>
                    <a:pt x="3077974" y="622876"/>
                  </a:lnTo>
                  <a:lnTo>
                    <a:pt x="3052768" y="648101"/>
                  </a:lnTo>
                  <a:lnTo>
                    <a:pt x="3027306" y="671625"/>
                  </a:lnTo>
                  <a:lnTo>
                    <a:pt x="2997721" y="682724"/>
                  </a:lnTo>
                  <a:lnTo>
                    <a:pt x="2974599" y="677283"/>
                  </a:lnTo>
                  <a:lnTo>
                    <a:pt x="2960327" y="654122"/>
                  </a:lnTo>
                  <a:lnTo>
                    <a:pt x="2953509" y="621557"/>
                  </a:lnTo>
                  <a:lnTo>
                    <a:pt x="2937871" y="597036"/>
                  </a:lnTo>
                  <a:lnTo>
                    <a:pt x="2902326" y="603572"/>
                  </a:lnTo>
                  <a:lnTo>
                    <a:pt x="2879381" y="611994"/>
                  </a:lnTo>
                  <a:lnTo>
                    <a:pt x="2855456" y="619737"/>
                  </a:lnTo>
                  <a:lnTo>
                    <a:pt x="2832578" y="617864"/>
                  </a:lnTo>
                  <a:lnTo>
                    <a:pt x="2811375" y="599754"/>
                  </a:lnTo>
                  <a:lnTo>
                    <a:pt x="2804253" y="571613"/>
                  </a:lnTo>
                  <a:lnTo>
                    <a:pt x="2796411" y="546705"/>
                  </a:lnTo>
                  <a:lnTo>
                    <a:pt x="2660114" y="535526"/>
                  </a:lnTo>
                  <a:lnTo>
                    <a:pt x="2634546" y="534464"/>
                  </a:lnTo>
                  <a:lnTo>
                    <a:pt x="2608707" y="549428"/>
                  </a:lnTo>
                  <a:lnTo>
                    <a:pt x="2598544" y="568883"/>
                  </a:lnTo>
                  <a:lnTo>
                    <a:pt x="2583264" y="603282"/>
                  </a:lnTo>
                  <a:lnTo>
                    <a:pt x="2570331" y="642944"/>
                  </a:lnTo>
                  <a:lnTo>
                    <a:pt x="2566539" y="681366"/>
                  </a:lnTo>
                  <a:lnTo>
                    <a:pt x="2564943" y="720151"/>
                  </a:lnTo>
                  <a:lnTo>
                    <a:pt x="2573576" y="754121"/>
                  </a:lnTo>
                  <a:lnTo>
                    <a:pt x="2595102" y="780658"/>
                  </a:lnTo>
                  <a:lnTo>
                    <a:pt x="2615328" y="795418"/>
                  </a:lnTo>
                  <a:lnTo>
                    <a:pt x="2634717" y="809426"/>
                  </a:lnTo>
                  <a:lnTo>
                    <a:pt x="2653585" y="829626"/>
                  </a:lnTo>
                  <a:lnTo>
                    <a:pt x="2660385" y="860912"/>
                  </a:lnTo>
                  <a:lnTo>
                    <a:pt x="2641846" y="881244"/>
                  </a:lnTo>
                  <a:lnTo>
                    <a:pt x="2630141" y="900534"/>
                  </a:lnTo>
                  <a:lnTo>
                    <a:pt x="2623664" y="922120"/>
                  </a:lnTo>
                  <a:lnTo>
                    <a:pt x="2617188" y="943711"/>
                  </a:lnTo>
                  <a:lnTo>
                    <a:pt x="2615849" y="966615"/>
                  </a:lnTo>
                  <a:lnTo>
                    <a:pt x="2615500" y="994214"/>
                  </a:lnTo>
                  <a:lnTo>
                    <a:pt x="2582677" y="1010306"/>
                  </a:lnTo>
                  <a:lnTo>
                    <a:pt x="2559733" y="1013254"/>
                  </a:lnTo>
                  <a:lnTo>
                    <a:pt x="2536790" y="1016202"/>
                  </a:lnTo>
                  <a:lnTo>
                    <a:pt x="2512732" y="1017535"/>
                  </a:lnTo>
                  <a:lnTo>
                    <a:pt x="2475404" y="1044541"/>
                  </a:lnTo>
                  <a:lnTo>
                    <a:pt x="2465848" y="1083879"/>
                  </a:lnTo>
                  <a:lnTo>
                    <a:pt x="2467834" y="1106618"/>
                  </a:lnTo>
                  <a:lnTo>
                    <a:pt x="2474277" y="1137344"/>
                  </a:lnTo>
                  <a:lnTo>
                    <a:pt x="2477390" y="1163037"/>
                  </a:lnTo>
                  <a:lnTo>
                    <a:pt x="2476196" y="1188731"/>
                  </a:lnTo>
                  <a:lnTo>
                    <a:pt x="2472681" y="1214564"/>
                  </a:lnTo>
                  <a:lnTo>
                    <a:pt x="2469165" y="1240396"/>
                  </a:lnTo>
                  <a:lnTo>
                    <a:pt x="2463929" y="1266604"/>
                  </a:lnTo>
                  <a:lnTo>
                    <a:pt x="2441460" y="1258387"/>
                  </a:lnTo>
                  <a:lnTo>
                    <a:pt x="2429385" y="1238641"/>
                  </a:lnTo>
                  <a:lnTo>
                    <a:pt x="2408578" y="1215540"/>
                  </a:lnTo>
                  <a:lnTo>
                    <a:pt x="2351624" y="1208061"/>
                  </a:lnTo>
                  <a:lnTo>
                    <a:pt x="2321697" y="1218646"/>
                  </a:lnTo>
                  <a:lnTo>
                    <a:pt x="2313658" y="1258855"/>
                  </a:lnTo>
                  <a:lnTo>
                    <a:pt x="2310815" y="1279854"/>
                  </a:lnTo>
                  <a:lnTo>
                    <a:pt x="2307973" y="1300852"/>
                  </a:lnTo>
                  <a:lnTo>
                    <a:pt x="2306647" y="1321922"/>
                  </a:lnTo>
                  <a:lnTo>
                    <a:pt x="2300283" y="1359573"/>
                  </a:lnTo>
                  <a:lnTo>
                    <a:pt x="2310815" y="1395468"/>
                  </a:lnTo>
                  <a:lnTo>
                    <a:pt x="2319012" y="1419382"/>
                  </a:lnTo>
                  <a:lnTo>
                    <a:pt x="2338019" y="1448518"/>
                  </a:lnTo>
                  <a:lnTo>
                    <a:pt x="2360204" y="1470037"/>
                  </a:lnTo>
                  <a:lnTo>
                    <a:pt x="2383847" y="1484130"/>
                  </a:lnTo>
                  <a:lnTo>
                    <a:pt x="2408750" y="1497485"/>
                  </a:lnTo>
                  <a:lnTo>
                    <a:pt x="2435063" y="1513563"/>
                  </a:lnTo>
                  <a:lnTo>
                    <a:pt x="2464542" y="1544645"/>
                  </a:lnTo>
                  <a:lnTo>
                    <a:pt x="2459418" y="1575291"/>
                  </a:lnTo>
                  <a:lnTo>
                    <a:pt x="2475397" y="1594061"/>
                  </a:lnTo>
                  <a:lnTo>
                    <a:pt x="2520289" y="1647110"/>
                  </a:lnTo>
                  <a:lnTo>
                    <a:pt x="2533888" y="1674315"/>
                  </a:lnTo>
                  <a:lnTo>
                    <a:pt x="2540001" y="1697416"/>
                  </a:lnTo>
                  <a:lnTo>
                    <a:pt x="2541386" y="1721943"/>
                  </a:lnTo>
                  <a:lnTo>
                    <a:pt x="2536618" y="1745044"/>
                  </a:lnTo>
                  <a:lnTo>
                    <a:pt x="2520295" y="1769524"/>
                  </a:lnTo>
                  <a:lnTo>
                    <a:pt x="2494450" y="1772242"/>
                  </a:lnTo>
                  <a:lnTo>
                    <a:pt x="2467246" y="1768166"/>
                  </a:lnTo>
                  <a:lnTo>
                    <a:pt x="2440042" y="1764091"/>
                  </a:lnTo>
                  <a:lnTo>
                    <a:pt x="2411480" y="1765449"/>
                  </a:lnTo>
                  <a:lnTo>
                    <a:pt x="2387586" y="1784581"/>
                  </a:lnTo>
                  <a:lnTo>
                    <a:pt x="2375135" y="1803205"/>
                  </a:lnTo>
                  <a:lnTo>
                    <a:pt x="2366206" y="1839226"/>
                  </a:lnTo>
                  <a:lnTo>
                    <a:pt x="2376111" y="1874265"/>
                  </a:lnTo>
                  <a:lnTo>
                    <a:pt x="2390561" y="1911863"/>
                  </a:lnTo>
                  <a:lnTo>
                    <a:pt x="2405188" y="1950924"/>
                  </a:lnTo>
                  <a:lnTo>
                    <a:pt x="2410115" y="1992604"/>
                  </a:lnTo>
                  <a:lnTo>
                    <a:pt x="2400328" y="2018852"/>
                  </a:lnTo>
                  <a:lnTo>
                    <a:pt x="2388952" y="2042733"/>
                  </a:lnTo>
                  <a:lnTo>
                    <a:pt x="2374753" y="2061976"/>
                  </a:lnTo>
                  <a:lnTo>
                    <a:pt x="2360554" y="2081212"/>
                  </a:lnTo>
                  <a:lnTo>
                    <a:pt x="2344568" y="2096830"/>
                  </a:lnTo>
                  <a:lnTo>
                    <a:pt x="2325786" y="2108219"/>
                  </a:lnTo>
                  <a:lnTo>
                    <a:pt x="2307003" y="2119609"/>
                  </a:lnTo>
                  <a:lnTo>
                    <a:pt x="2285398" y="2125926"/>
                  </a:lnTo>
                  <a:lnTo>
                    <a:pt x="2261855" y="2128623"/>
                  </a:lnTo>
                  <a:lnTo>
                    <a:pt x="2238317" y="2131321"/>
                  </a:lnTo>
                  <a:lnTo>
                    <a:pt x="2212795" y="2130036"/>
                  </a:lnTo>
                  <a:lnTo>
                    <a:pt x="2184325" y="2123184"/>
                  </a:lnTo>
                  <a:lnTo>
                    <a:pt x="2154674" y="2133998"/>
                  </a:lnTo>
                  <a:lnTo>
                    <a:pt x="2137910" y="2157569"/>
                  </a:lnTo>
                  <a:lnTo>
                    <a:pt x="2112236" y="2172150"/>
                  </a:lnTo>
                  <a:lnTo>
                    <a:pt x="2077975" y="2191618"/>
                  </a:lnTo>
                  <a:lnTo>
                    <a:pt x="2036955" y="2190319"/>
                  </a:lnTo>
                  <a:lnTo>
                    <a:pt x="2002055" y="2203436"/>
                  </a:lnTo>
                  <a:lnTo>
                    <a:pt x="1958746" y="2219674"/>
                  </a:lnTo>
                  <a:lnTo>
                    <a:pt x="1921828" y="2254335"/>
                  </a:lnTo>
                  <a:lnTo>
                    <a:pt x="1879641" y="2274167"/>
                  </a:lnTo>
                  <a:lnTo>
                    <a:pt x="1859618" y="2283578"/>
                  </a:lnTo>
                  <a:lnTo>
                    <a:pt x="1692292" y="2303217"/>
                  </a:lnTo>
                  <a:lnTo>
                    <a:pt x="1656568" y="2309529"/>
                  </a:lnTo>
                  <a:lnTo>
                    <a:pt x="1616465" y="2316604"/>
                  </a:lnTo>
                  <a:lnTo>
                    <a:pt x="1574850" y="2344344"/>
                  </a:lnTo>
                  <a:lnTo>
                    <a:pt x="1550469" y="2347615"/>
                  </a:lnTo>
                  <a:lnTo>
                    <a:pt x="1334967" y="2369911"/>
                  </a:lnTo>
                  <a:lnTo>
                    <a:pt x="1319087" y="2387059"/>
                  </a:lnTo>
                  <a:lnTo>
                    <a:pt x="1285427" y="2553303"/>
                  </a:lnTo>
                  <a:lnTo>
                    <a:pt x="1294283" y="2589792"/>
                  </a:lnTo>
                  <a:lnTo>
                    <a:pt x="1309293" y="2617570"/>
                  </a:lnTo>
                  <a:lnTo>
                    <a:pt x="1317880" y="2637335"/>
                  </a:lnTo>
                  <a:lnTo>
                    <a:pt x="1350465" y="2681422"/>
                  </a:lnTo>
                  <a:lnTo>
                    <a:pt x="1370428" y="2704333"/>
                  </a:lnTo>
                  <a:lnTo>
                    <a:pt x="1383169" y="2729829"/>
                  </a:lnTo>
                  <a:lnTo>
                    <a:pt x="1395904" y="2755331"/>
                  </a:lnTo>
                  <a:lnTo>
                    <a:pt x="1402084" y="2782100"/>
                  </a:lnTo>
                  <a:lnTo>
                    <a:pt x="1394051" y="2820964"/>
                  </a:lnTo>
                  <a:lnTo>
                    <a:pt x="1389131" y="2844764"/>
                  </a:lnTo>
                  <a:lnTo>
                    <a:pt x="1366847" y="2871290"/>
                  </a:lnTo>
                  <a:lnTo>
                    <a:pt x="1338330" y="2891120"/>
                  </a:lnTo>
                  <a:lnTo>
                    <a:pt x="1317880" y="2901217"/>
                  </a:lnTo>
                  <a:lnTo>
                    <a:pt x="1285433" y="2917236"/>
                  </a:lnTo>
                  <a:lnTo>
                    <a:pt x="1262555" y="2927029"/>
                  </a:lnTo>
                  <a:lnTo>
                    <a:pt x="1238985" y="2931137"/>
                  </a:lnTo>
                  <a:lnTo>
                    <a:pt x="1215422" y="2935253"/>
                  </a:lnTo>
                  <a:lnTo>
                    <a:pt x="1191146" y="2933241"/>
                  </a:lnTo>
                  <a:lnTo>
                    <a:pt x="1154656" y="2927062"/>
                  </a:lnTo>
                  <a:lnTo>
                    <a:pt x="1137760" y="2891634"/>
                  </a:lnTo>
                  <a:lnTo>
                    <a:pt x="1114242" y="2873465"/>
                  </a:lnTo>
                  <a:lnTo>
                    <a:pt x="1095078" y="2885923"/>
                  </a:lnTo>
                  <a:lnTo>
                    <a:pt x="1077120" y="2908022"/>
                  </a:lnTo>
                  <a:lnTo>
                    <a:pt x="1059168" y="2930116"/>
                  </a:lnTo>
                  <a:lnTo>
                    <a:pt x="1042015" y="2962087"/>
                  </a:lnTo>
                  <a:lnTo>
                    <a:pt x="1026794" y="2996434"/>
                  </a:lnTo>
                  <a:lnTo>
                    <a:pt x="996352" y="3065126"/>
                  </a:lnTo>
                  <a:lnTo>
                    <a:pt x="971450" y="3143757"/>
                  </a:lnTo>
                  <a:lnTo>
                    <a:pt x="956064" y="3174622"/>
                  </a:lnTo>
                  <a:lnTo>
                    <a:pt x="936918" y="3213024"/>
                  </a:lnTo>
                  <a:lnTo>
                    <a:pt x="915195" y="3251070"/>
                  </a:lnTo>
                  <a:lnTo>
                    <a:pt x="894857" y="3288878"/>
                  </a:lnTo>
                  <a:lnTo>
                    <a:pt x="883229" y="3310471"/>
                  </a:lnTo>
                  <a:lnTo>
                    <a:pt x="874867" y="3332313"/>
                  </a:lnTo>
                  <a:lnTo>
                    <a:pt x="859488" y="3352809"/>
                  </a:lnTo>
                  <a:lnTo>
                    <a:pt x="833880" y="3386945"/>
                  </a:lnTo>
                  <a:lnTo>
                    <a:pt x="796336" y="3412875"/>
                  </a:lnTo>
                  <a:lnTo>
                    <a:pt x="756113" y="3434421"/>
                  </a:lnTo>
                  <a:lnTo>
                    <a:pt x="715891" y="3455960"/>
                  </a:lnTo>
                  <a:lnTo>
                    <a:pt x="674171" y="3473186"/>
                  </a:lnTo>
                  <a:lnTo>
                    <a:pt x="637781" y="3491546"/>
                  </a:lnTo>
                  <a:lnTo>
                    <a:pt x="600902" y="3510158"/>
                  </a:lnTo>
                  <a:lnTo>
                    <a:pt x="564689" y="3533285"/>
                  </a:lnTo>
                  <a:lnTo>
                    <a:pt x="527599" y="3551396"/>
                  </a:lnTo>
                  <a:lnTo>
                    <a:pt x="463484" y="3582721"/>
                  </a:lnTo>
                  <a:lnTo>
                    <a:pt x="389456" y="3602658"/>
                  </a:lnTo>
                  <a:lnTo>
                    <a:pt x="329014" y="3641171"/>
                  </a:lnTo>
                  <a:lnTo>
                    <a:pt x="304468" y="3656814"/>
                  </a:lnTo>
                  <a:lnTo>
                    <a:pt x="263216" y="3704357"/>
                  </a:lnTo>
                  <a:lnTo>
                    <a:pt x="246044" y="3729583"/>
                  </a:lnTo>
                  <a:lnTo>
                    <a:pt x="203190" y="3728989"/>
                  </a:lnTo>
                  <a:lnTo>
                    <a:pt x="171231" y="3718702"/>
                  </a:lnTo>
                  <a:lnTo>
                    <a:pt x="139100" y="3708084"/>
                  </a:lnTo>
                  <a:lnTo>
                    <a:pt x="102710" y="3704833"/>
                  </a:lnTo>
                  <a:lnTo>
                    <a:pt x="63773" y="3714620"/>
                  </a:lnTo>
                  <a:lnTo>
                    <a:pt x="54633" y="3734510"/>
                  </a:lnTo>
                  <a:lnTo>
                    <a:pt x="63773" y="3755574"/>
                  </a:lnTo>
                  <a:lnTo>
                    <a:pt x="63773" y="3821714"/>
                  </a:lnTo>
                  <a:lnTo>
                    <a:pt x="50109" y="3864476"/>
                  </a:lnTo>
                  <a:lnTo>
                    <a:pt x="44734" y="3909129"/>
                  </a:lnTo>
                  <a:lnTo>
                    <a:pt x="48216" y="3938694"/>
                  </a:lnTo>
                  <a:lnTo>
                    <a:pt x="46989" y="3960754"/>
                  </a:lnTo>
                  <a:lnTo>
                    <a:pt x="42010" y="3983941"/>
                  </a:lnTo>
                  <a:lnTo>
                    <a:pt x="35844" y="4011442"/>
                  </a:lnTo>
                  <a:lnTo>
                    <a:pt x="26420" y="4038046"/>
                  </a:lnTo>
                  <a:lnTo>
                    <a:pt x="14806" y="4060113"/>
                  </a:lnTo>
                  <a:lnTo>
                    <a:pt x="0" y="4078289"/>
                  </a:lnTo>
                  <a:lnTo>
                    <a:pt x="26262" y="4127222"/>
                  </a:lnTo>
                  <a:lnTo>
                    <a:pt x="48763" y="4160112"/>
                  </a:lnTo>
                  <a:lnTo>
                    <a:pt x="71931" y="4192043"/>
                  </a:lnTo>
                  <a:lnTo>
                    <a:pt x="95105" y="4223982"/>
                  </a:lnTo>
                  <a:lnTo>
                    <a:pt x="118861" y="4255216"/>
                  </a:lnTo>
                  <a:lnTo>
                    <a:pt x="145385" y="4287261"/>
                  </a:lnTo>
                  <a:lnTo>
                    <a:pt x="173427" y="4321133"/>
                  </a:lnTo>
                  <a:lnTo>
                    <a:pt x="189690" y="4346800"/>
                  </a:lnTo>
                  <a:lnTo>
                    <a:pt x="203869" y="4374314"/>
                  </a:lnTo>
                  <a:lnTo>
                    <a:pt x="218048" y="4401821"/>
                  </a:lnTo>
                  <a:lnTo>
                    <a:pt x="230737" y="4430951"/>
                  </a:lnTo>
                  <a:lnTo>
                    <a:pt x="250119" y="4469524"/>
                  </a:lnTo>
                  <a:lnTo>
                    <a:pt x="276156" y="4521347"/>
                  </a:lnTo>
                  <a:lnTo>
                    <a:pt x="307903" y="4571053"/>
                  </a:lnTo>
                  <a:lnTo>
                    <a:pt x="333089" y="4623225"/>
                  </a:lnTo>
                  <a:lnTo>
                    <a:pt x="347671" y="4653449"/>
                  </a:lnTo>
                  <a:lnTo>
                    <a:pt x="359020" y="4694192"/>
                  </a:lnTo>
                  <a:lnTo>
                    <a:pt x="369817" y="4726600"/>
                  </a:lnTo>
                  <a:lnTo>
                    <a:pt x="382142" y="4763585"/>
                  </a:lnTo>
                  <a:lnTo>
                    <a:pt x="394765" y="4810488"/>
                  </a:lnTo>
                  <a:lnTo>
                    <a:pt x="416060" y="4843580"/>
                  </a:lnTo>
                  <a:lnTo>
                    <a:pt x="442439" y="4866446"/>
                  </a:lnTo>
                  <a:lnTo>
                    <a:pt x="441905" y="4888466"/>
                  </a:lnTo>
                  <a:lnTo>
                    <a:pt x="429322" y="4924236"/>
                  </a:lnTo>
                  <a:lnTo>
                    <a:pt x="417425" y="4944231"/>
                  </a:lnTo>
                  <a:lnTo>
                    <a:pt x="405521" y="4964227"/>
                  </a:lnTo>
                  <a:lnTo>
                    <a:pt x="394706" y="4988450"/>
                  </a:lnTo>
                  <a:lnTo>
                    <a:pt x="397020" y="5020404"/>
                  </a:lnTo>
                  <a:lnTo>
                    <a:pt x="403997" y="5047521"/>
                  </a:lnTo>
                  <a:lnTo>
                    <a:pt x="417247" y="5077620"/>
                  </a:lnTo>
                  <a:lnTo>
                    <a:pt x="426942" y="5107456"/>
                  </a:lnTo>
                  <a:lnTo>
                    <a:pt x="431723" y="5138570"/>
                  </a:lnTo>
                  <a:lnTo>
                    <a:pt x="435765" y="5174283"/>
                  </a:lnTo>
                  <a:lnTo>
                    <a:pt x="439188" y="5212197"/>
                  </a:lnTo>
                  <a:lnTo>
                    <a:pt x="443673" y="5248639"/>
                  </a:lnTo>
                  <a:lnTo>
                    <a:pt x="448303" y="5281839"/>
                  </a:lnTo>
                  <a:lnTo>
                    <a:pt x="454146" y="5308766"/>
                  </a:lnTo>
                  <a:lnTo>
                    <a:pt x="471833" y="5331893"/>
                  </a:lnTo>
                  <a:lnTo>
                    <a:pt x="500395" y="5340052"/>
                  </a:lnTo>
                  <a:lnTo>
                    <a:pt x="521414" y="5342122"/>
                  </a:lnTo>
                  <a:lnTo>
                    <a:pt x="551454" y="5350399"/>
                  </a:lnTo>
                  <a:lnTo>
                    <a:pt x="569939" y="5370771"/>
                  </a:lnTo>
                  <a:lnTo>
                    <a:pt x="580471" y="5399095"/>
                  </a:lnTo>
                  <a:lnTo>
                    <a:pt x="590165" y="5433904"/>
                  </a:lnTo>
                  <a:lnTo>
                    <a:pt x="598145" y="5470433"/>
                  </a:lnTo>
                  <a:lnTo>
                    <a:pt x="603955" y="5500743"/>
                  </a:lnTo>
                  <a:lnTo>
                    <a:pt x="611480" y="5563718"/>
                  </a:lnTo>
                  <a:lnTo>
                    <a:pt x="605743" y="5595142"/>
                  </a:lnTo>
                  <a:lnTo>
                    <a:pt x="594248" y="5620249"/>
                  </a:lnTo>
                  <a:lnTo>
                    <a:pt x="582752" y="5645350"/>
                  </a:lnTo>
                  <a:lnTo>
                    <a:pt x="566246" y="5663967"/>
                  </a:lnTo>
                  <a:lnTo>
                    <a:pt x="549363" y="5678740"/>
                  </a:lnTo>
                  <a:lnTo>
                    <a:pt x="532480" y="5693505"/>
                  </a:lnTo>
                  <a:lnTo>
                    <a:pt x="504477" y="5718184"/>
                  </a:lnTo>
                  <a:lnTo>
                    <a:pt x="487991" y="5745618"/>
                  </a:lnTo>
                  <a:lnTo>
                    <a:pt x="499703" y="5787786"/>
                  </a:lnTo>
                  <a:lnTo>
                    <a:pt x="511053" y="5812372"/>
                  </a:lnTo>
                  <a:lnTo>
                    <a:pt x="519435" y="5833799"/>
                  </a:lnTo>
                  <a:lnTo>
                    <a:pt x="528213" y="5856229"/>
                  </a:lnTo>
                  <a:lnTo>
                    <a:pt x="528958" y="5892288"/>
                  </a:lnTo>
                  <a:lnTo>
                    <a:pt x="525159" y="5926854"/>
                  </a:lnTo>
                  <a:lnTo>
                    <a:pt x="519158" y="5961100"/>
                  </a:lnTo>
                  <a:lnTo>
                    <a:pt x="519442" y="5999747"/>
                  </a:lnTo>
                  <a:lnTo>
                    <a:pt x="528358" y="6042659"/>
                  </a:lnTo>
                  <a:lnTo>
                    <a:pt x="543921" y="6070470"/>
                  </a:lnTo>
                  <a:lnTo>
                    <a:pt x="556030" y="6088996"/>
                  </a:lnTo>
                  <a:lnTo>
                    <a:pt x="572010" y="6104249"/>
                  </a:lnTo>
                  <a:lnTo>
                    <a:pt x="593239" y="6102561"/>
                  </a:lnTo>
                  <a:lnTo>
                    <a:pt x="611593" y="6087352"/>
                  </a:lnTo>
                  <a:lnTo>
                    <a:pt x="633698" y="6066394"/>
                  </a:lnTo>
                  <a:lnTo>
                    <a:pt x="659089" y="6044381"/>
                  </a:lnTo>
                  <a:lnTo>
                    <a:pt x="684479" y="6025835"/>
                  </a:lnTo>
                  <a:lnTo>
                    <a:pt x="708511" y="6016068"/>
                  </a:lnTo>
                  <a:lnTo>
                    <a:pt x="736236" y="6023125"/>
                  </a:lnTo>
                  <a:lnTo>
                    <a:pt x="759443" y="6036935"/>
                  </a:lnTo>
                  <a:lnTo>
                    <a:pt x="780764" y="6050389"/>
                  </a:lnTo>
                  <a:lnTo>
                    <a:pt x="805509" y="6062213"/>
                  </a:lnTo>
                  <a:lnTo>
                    <a:pt x="829567" y="6065030"/>
                  </a:lnTo>
                  <a:lnTo>
                    <a:pt x="851079" y="6064766"/>
                  </a:lnTo>
                  <a:lnTo>
                    <a:pt x="873344" y="6065293"/>
                  </a:lnTo>
                  <a:lnTo>
                    <a:pt x="896215" y="6070470"/>
                  </a:lnTo>
                  <a:lnTo>
                    <a:pt x="920056" y="6081120"/>
                  </a:lnTo>
                  <a:lnTo>
                    <a:pt x="938541" y="6096539"/>
                  </a:lnTo>
                  <a:lnTo>
                    <a:pt x="950221" y="6118554"/>
                  </a:lnTo>
                  <a:lnTo>
                    <a:pt x="958781" y="6138476"/>
                  </a:lnTo>
                  <a:lnTo>
                    <a:pt x="963589" y="6161737"/>
                  </a:lnTo>
                  <a:lnTo>
                    <a:pt x="964881" y="6185954"/>
                  </a:lnTo>
                  <a:lnTo>
                    <a:pt x="964221" y="6210565"/>
                  </a:lnTo>
                  <a:lnTo>
                    <a:pt x="963390" y="6235224"/>
                  </a:lnTo>
                  <a:lnTo>
                    <a:pt x="965039" y="6259368"/>
                  </a:lnTo>
                  <a:lnTo>
                    <a:pt x="971021" y="6282661"/>
                  </a:lnTo>
                  <a:lnTo>
                    <a:pt x="982463" y="6303435"/>
                  </a:lnTo>
                  <a:lnTo>
                    <a:pt x="995508" y="6326187"/>
                  </a:lnTo>
                  <a:lnTo>
                    <a:pt x="996867" y="6349308"/>
                  </a:lnTo>
                  <a:lnTo>
                    <a:pt x="988735" y="6371112"/>
                  </a:lnTo>
                  <a:lnTo>
                    <a:pt x="973738" y="6392255"/>
                  </a:lnTo>
                  <a:lnTo>
                    <a:pt x="957416" y="6410517"/>
                  </a:lnTo>
                  <a:lnTo>
                    <a:pt x="930601" y="6419934"/>
                  </a:lnTo>
                  <a:lnTo>
                    <a:pt x="905692" y="6416762"/>
                  </a:lnTo>
                  <a:lnTo>
                    <a:pt x="881244" y="6409158"/>
                  </a:lnTo>
                  <a:lnTo>
                    <a:pt x="856804" y="6401574"/>
                  </a:lnTo>
                  <a:lnTo>
                    <a:pt x="832832" y="6389346"/>
                  </a:lnTo>
                  <a:lnTo>
                    <a:pt x="809156" y="6376513"/>
                  </a:lnTo>
                  <a:lnTo>
                    <a:pt x="785480" y="6363686"/>
                  </a:lnTo>
                  <a:lnTo>
                    <a:pt x="761567" y="6350180"/>
                  </a:lnTo>
                  <a:lnTo>
                    <a:pt x="737067" y="6343869"/>
                  </a:lnTo>
                  <a:lnTo>
                    <a:pt x="712560" y="6337557"/>
                  </a:lnTo>
                  <a:lnTo>
                    <a:pt x="687829" y="6337340"/>
                  </a:lnTo>
                  <a:lnTo>
                    <a:pt x="660896" y="6349308"/>
                  </a:lnTo>
                  <a:lnTo>
                    <a:pt x="644395" y="6389683"/>
                  </a:lnTo>
                  <a:lnTo>
                    <a:pt x="644573" y="6421405"/>
                  </a:lnTo>
                  <a:lnTo>
                    <a:pt x="654815" y="6450040"/>
                  </a:lnTo>
                  <a:lnTo>
                    <a:pt x="667695" y="6473089"/>
                  </a:lnTo>
                  <a:lnTo>
                    <a:pt x="683701" y="6504928"/>
                  </a:lnTo>
                  <a:lnTo>
                    <a:pt x="709863" y="6519338"/>
                  </a:lnTo>
                  <a:lnTo>
                    <a:pt x="770694" y="6534296"/>
                  </a:lnTo>
                  <a:lnTo>
                    <a:pt x="813238" y="6557424"/>
                  </a:lnTo>
                  <a:lnTo>
                    <a:pt x="834507" y="6568985"/>
                  </a:lnTo>
                  <a:lnTo>
                    <a:pt x="855195" y="6582406"/>
                  </a:lnTo>
                  <a:lnTo>
                    <a:pt x="885532" y="6608607"/>
                  </a:lnTo>
                  <a:lnTo>
                    <a:pt x="894850" y="6633595"/>
                  </a:lnTo>
                  <a:lnTo>
                    <a:pt x="896209" y="6677115"/>
                  </a:lnTo>
                  <a:lnTo>
                    <a:pt x="897567" y="6720649"/>
                  </a:lnTo>
                  <a:lnTo>
                    <a:pt x="900284" y="6743770"/>
                  </a:lnTo>
                  <a:lnTo>
                    <a:pt x="909807" y="6766892"/>
                  </a:lnTo>
                  <a:lnTo>
                    <a:pt x="922047" y="6788655"/>
                  </a:lnTo>
                  <a:lnTo>
                    <a:pt x="935646" y="6806336"/>
                  </a:lnTo>
                  <a:lnTo>
                    <a:pt x="956526" y="6830829"/>
                  </a:lnTo>
                  <a:lnTo>
                    <a:pt x="975400" y="6845977"/>
                  </a:lnTo>
                  <a:lnTo>
                    <a:pt x="1012872" y="6861911"/>
                  </a:lnTo>
                  <a:lnTo>
                    <a:pt x="1049903" y="6859386"/>
                  </a:lnTo>
                  <a:lnTo>
                    <a:pt x="1086867" y="6846109"/>
                  </a:lnTo>
                  <a:lnTo>
                    <a:pt x="1107034" y="6834905"/>
                  </a:lnTo>
                  <a:lnTo>
                    <a:pt x="1127195" y="6823693"/>
                  </a:lnTo>
                  <a:lnTo>
                    <a:pt x="1148602" y="6810682"/>
                  </a:lnTo>
                  <a:lnTo>
                    <a:pt x="1172323" y="6796813"/>
                  </a:lnTo>
                  <a:lnTo>
                    <a:pt x="1201869" y="6778084"/>
                  </a:lnTo>
                  <a:lnTo>
                    <a:pt x="1232173" y="6790013"/>
                  </a:lnTo>
                  <a:lnTo>
                    <a:pt x="1259865" y="6811849"/>
                  </a:lnTo>
                  <a:lnTo>
                    <a:pt x="1283369" y="6841632"/>
                  </a:lnTo>
                  <a:lnTo>
                    <a:pt x="1302903" y="6871625"/>
                  </a:lnTo>
                  <a:lnTo>
                    <a:pt x="1321896" y="6895618"/>
                  </a:lnTo>
                  <a:lnTo>
                    <a:pt x="1352648" y="6912738"/>
                  </a:lnTo>
                  <a:lnTo>
                    <a:pt x="1375671" y="6922782"/>
                  </a:lnTo>
                  <a:lnTo>
                    <a:pt x="1399479" y="6931475"/>
                  </a:lnTo>
                  <a:lnTo>
                    <a:pt x="1423279" y="6940167"/>
                  </a:lnTo>
                  <a:lnTo>
                    <a:pt x="1448578" y="6947757"/>
                  </a:lnTo>
                  <a:lnTo>
                    <a:pt x="1472926" y="6955961"/>
                  </a:lnTo>
                  <a:lnTo>
                    <a:pt x="1490772" y="6968835"/>
                  </a:lnTo>
                  <a:lnTo>
                    <a:pt x="1501324" y="6992049"/>
                  </a:lnTo>
                  <a:lnTo>
                    <a:pt x="1500124" y="7015810"/>
                  </a:lnTo>
                  <a:lnTo>
                    <a:pt x="1456597" y="7043013"/>
                  </a:lnTo>
                  <a:lnTo>
                    <a:pt x="1434834" y="7071576"/>
                  </a:lnTo>
                  <a:lnTo>
                    <a:pt x="1433476" y="7117820"/>
                  </a:lnTo>
                  <a:lnTo>
                    <a:pt x="1445887" y="7134974"/>
                  </a:lnTo>
                  <a:lnTo>
                    <a:pt x="1496087" y="7218669"/>
                  </a:lnTo>
                  <a:lnTo>
                    <a:pt x="1505333" y="7245972"/>
                  </a:lnTo>
                  <a:lnTo>
                    <a:pt x="1502056" y="7281591"/>
                  </a:lnTo>
                  <a:lnTo>
                    <a:pt x="1505564" y="7312330"/>
                  </a:lnTo>
                  <a:lnTo>
                    <a:pt x="1510708" y="7341499"/>
                  </a:lnTo>
                  <a:lnTo>
                    <a:pt x="1524914" y="7364772"/>
                  </a:lnTo>
                  <a:lnTo>
                    <a:pt x="1553173" y="7377619"/>
                  </a:lnTo>
                  <a:lnTo>
                    <a:pt x="1575411" y="7378477"/>
                  </a:lnTo>
                  <a:lnTo>
                    <a:pt x="1596225" y="7374052"/>
                  </a:lnTo>
                  <a:lnTo>
                    <a:pt x="1634178" y="7355692"/>
                  </a:lnTo>
                  <a:lnTo>
                    <a:pt x="1640384" y="7333506"/>
                  </a:lnTo>
                  <a:lnTo>
                    <a:pt x="1642949" y="7310978"/>
                  </a:lnTo>
                  <a:lnTo>
                    <a:pt x="1645509" y="7288443"/>
                  </a:lnTo>
                  <a:lnTo>
                    <a:pt x="1644182" y="7264952"/>
                  </a:lnTo>
                  <a:lnTo>
                    <a:pt x="1647025" y="7242964"/>
                  </a:lnTo>
                  <a:lnTo>
                    <a:pt x="1651153" y="7211106"/>
                  </a:lnTo>
                  <a:lnTo>
                    <a:pt x="1678311" y="7173593"/>
                  </a:lnTo>
                  <a:lnTo>
                    <a:pt x="1694416" y="7139761"/>
                  </a:lnTo>
                  <a:lnTo>
                    <a:pt x="1713673" y="7113744"/>
                  </a:lnTo>
                  <a:lnTo>
                    <a:pt x="1728234" y="7097936"/>
                  </a:lnTo>
                  <a:lnTo>
                    <a:pt x="1753341" y="7080210"/>
                  </a:lnTo>
                  <a:lnTo>
                    <a:pt x="1780321" y="7066142"/>
                  </a:lnTo>
                  <a:lnTo>
                    <a:pt x="1807301" y="7052075"/>
                  </a:lnTo>
                  <a:lnTo>
                    <a:pt x="1836450" y="7041603"/>
                  </a:lnTo>
                  <a:lnTo>
                    <a:pt x="1857858" y="7043021"/>
                  </a:lnTo>
                  <a:lnTo>
                    <a:pt x="1871522" y="7063933"/>
                  </a:lnTo>
                  <a:lnTo>
                    <a:pt x="1823980" y="7177148"/>
                  </a:lnTo>
                  <a:lnTo>
                    <a:pt x="1818406" y="7200804"/>
                  </a:lnTo>
                  <a:lnTo>
                    <a:pt x="1812076" y="7227751"/>
                  </a:lnTo>
                  <a:lnTo>
                    <a:pt x="1836114" y="7253167"/>
                  </a:lnTo>
                  <a:lnTo>
                    <a:pt x="1830647" y="7279692"/>
                  </a:lnTo>
                  <a:lnTo>
                    <a:pt x="1825470" y="7304858"/>
                  </a:lnTo>
                  <a:lnTo>
                    <a:pt x="1805942" y="7345747"/>
                  </a:lnTo>
                  <a:lnTo>
                    <a:pt x="1791203" y="7385785"/>
                  </a:lnTo>
                  <a:lnTo>
                    <a:pt x="1783837" y="7405807"/>
                  </a:lnTo>
                  <a:lnTo>
                    <a:pt x="1774880" y="7442916"/>
                  </a:lnTo>
                  <a:lnTo>
                    <a:pt x="1773561" y="7478047"/>
                  </a:lnTo>
                  <a:lnTo>
                    <a:pt x="1793927" y="7500048"/>
                  </a:lnTo>
                  <a:lnTo>
                    <a:pt x="1832830" y="7485631"/>
                  </a:lnTo>
                  <a:lnTo>
                    <a:pt x="1846040" y="7466143"/>
                  </a:lnTo>
                  <a:lnTo>
                    <a:pt x="1860574" y="7446992"/>
                  </a:lnTo>
                  <a:lnTo>
                    <a:pt x="1875110" y="7427840"/>
                  </a:lnTo>
                  <a:lnTo>
                    <a:pt x="1891155" y="7408945"/>
                  </a:lnTo>
                  <a:lnTo>
                    <a:pt x="1910900" y="7399389"/>
                  </a:lnTo>
                  <a:lnTo>
                    <a:pt x="1931371" y="7389478"/>
                  </a:lnTo>
                  <a:lnTo>
                    <a:pt x="1961226" y="7389867"/>
                  </a:lnTo>
                  <a:lnTo>
                    <a:pt x="1985456" y="7401361"/>
                  </a:lnTo>
                  <a:lnTo>
                    <a:pt x="2014790" y="7432166"/>
                  </a:lnTo>
                  <a:lnTo>
                    <a:pt x="2029048" y="7461566"/>
                  </a:lnTo>
                  <a:lnTo>
                    <a:pt x="2051002" y="7480994"/>
                  </a:lnTo>
                  <a:lnTo>
                    <a:pt x="2119992" y="7499679"/>
                  </a:lnTo>
                  <a:lnTo>
                    <a:pt x="2142329" y="7505212"/>
                  </a:lnTo>
                  <a:lnTo>
                    <a:pt x="2158598" y="7524593"/>
                  </a:lnTo>
                  <a:lnTo>
                    <a:pt x="2166618" y="7546291"/>
                  </a:lnTo>
                  <a:lnTo>
                    <a:pt x="2154298" y="7583585"/>
                  </a:lnTo>
                  <a:lnTo>
                    <a:pt x="2134111" y="7592699"/>
                  </a:lnTo>
                  <a:lnTo>
                    <a:pt x="2108134" y="7599333"/>
                  </a:lnTo>
                  <a:lnTo>
                    <a:pt x="2082157" y="7605974"/>
                  </a:lnTo>
                  <a:lnTo>
                    <a:pt x="2051312" y="7609081"/>
                  </a:lnTo>
                  <a:lnTo>
                    <a:pt x="2019723" y="7611574"/>
                  </a:lnTo>
                  <a:lnTo>
                    <a:pt x="1988133" y="7614073"/>
                  </a:lnTo>
                  <a:lnTo>
                    <a:pt x="1956392" y="7616633"/>
                  </a:lnTo>
                  <a:lnTo>
                    <a:pt x="1929946" y="7621098"/>
                  </a:lnTo>
                  <a:lnTo>
                    <a:pt x="1903507" y="7625561"/>
                  </a:lnTo>
                  <a:lnTo>
                    <a:pt x="1881995" y="7633027"/>
                  </a:lnTo>
                  <a:lnTo>
                    <a:pt x="1864808" y="7653511"/>
                  </a:lnTo>
                  <a:lnTo>
                    <a:pt x="1851150" y="7674516"/>
                  </a:lnTo>
                  <a:lnTo>
                    <a:pt x="1845123" y="7696370"/>
                  </a:lnTo>
                  <a:lnTo>
                    <a:pt x="1843995" y="7720429"/>
                  </a:lnTo>
                  <a:lnTo>
                    <a:pt x="1845967" y="7761456"/>
                  </a:lnTo>
                  <a:lnTo>
                    <a:pt x="1856499" y="7795202"/>
                  </a:lnTo>
                  <a:lnTo>
                    <a:pt x="1871377" y="7821800"/>
                  </a:lnTo>
                  <a:lnTo>
                    <a:pt x="1893312" y="7842059"/>
                  </a:lnTo>
                  <a:lnTo>
                    <a:pt x="1923154" y="7856409"/>
                  </a:lnTo>
                  <a:lnTo>
                    <a:pt x="1955897" y="7868346"/>
                  </a:lnTo>
                  <a:lnTo>
                    <a:pt x="2000736" y="7865748"/>
                  </a:lnTo>
                  <a:lnTo>
                    <a:pt x="2017487" y="7851938"/>
                  </a:lnTo>
                  <a:lnTo>
                    <a:pt x="2041005" y="7817362"/>
                  </a:lnTo>
                  <a:lnTo>
                    <a:pt x="2048292" y="7797273"/>
                  </a:lnTo>
                  <a:lnTo>
                    <a:pt x="2055091" y="7776162"/>
                  </a:lnTo>
                  <a:lnTo>
                    <a:pt x="2061884" y="7755052"/>
                  </a:lnTo>
                  <a:lnTo>
                    <a:pt x="2068571" y="7733409"/>
                  </a:lnTo>
                  <a:lnTo>
                    <a:pt x="2087861" y="7696496"/>
                  </a:lnTo>
                  <a:lnTo>
                    <a:pt x="2120381" y="7671429"/>
                  </a:lnTo>
                  <a:lnTo>
                    <a:pt x="2148943" y="7668712"/>
                  </a:lnTo>
                  <a:lnTo>
                    <a:pt x="2174789" y="7680953"/>
                  </a:lnTo>
                  <a:lnTo>
                    <a:pt x="2193301" y="7692440"/>
                  </a:lnTo>
                  <a:lnTo>
                    <a:pt x="2219074" y="7705868"/>
                  </a:lnTo>
                  <a:lnTo>
                    <a:pt x="2247531" y="7699094"/>
                  </a:lnTo>
                  <a:lnTo>
                    <a:pt x="2271279" y="7676276"/>
                  </a:lnTo>
                  <a:lnTo>
                    <a:pt x="2276713" y="7655799"/>
                  </a:lnTo>
                  <a:lnTo>
                    <a:pt x="2275440" y="7634701"/>
                  </a:lnTo>
                  <a:lnTo>
                    <a:pt x="2274174" y="7613611"/>
                  </a:lnTo>
                  <a:lnTo>
                    <a:pt x="2266075" y="7591617"/>
                  </a:lnTo>
                  <a:lnTo>
                    <a:pt x="2257760" y="7569412"/>
                  </a:lnTo>
                  <a:lnTo>
                    <a:pt x="2249443" y="7547207"/>
                  </a:lnTo>
                  <a:lnTo>
                    <a:pt x="2240896" y="7524369"/>
                  </a:lnTo>
                  <a:lnTo>
                    <a:pt x="2233813" y="7483876"/>
                  </a:lnTo>
                  <a:lnTo>
                    <a:pt x="2248236" y="7451080"/>
                  </a:lnTo>
                  <a:lnTo>
                    <a:pt x="2282688" y="7435886"/>
                  </a:lnTo>
                  <a:lnTo>
                    <a:pt x="2305367" y="7441557"/>
                  </a:lnTo>
                  <a:lnTo>
                    <a:pt x="2328047" y="7447229"/>
                  </a:lnTo>
                  <a:lnTo>
                    <a:pt x="2353675" y="7458830"/>
                  </a:lnTo>
                  <a:lnTo>
                    <a:pt x="2378815" y="7471479"/>
                  </a:lnTo>
                  <a:lnTo>
                    <a:pt x="2403955" y="7484128"/>
                  </a:lnTo>
                  <a:lnTo>
                    <a:pt x="2428659" y="7497265"/>
                  </a:lnTo>
                  <a:lnTo>
                    <a:pt x="2450911" y="7504123"/>
                  </a:lnTo>
                  <a:lnTo>
                    <a:pt x="2473156" y="7510988"/>
                  </a:lnTo>
                  <a:lnTo>
                    <a:pt x="2506677" y="7500048"/>
                  </a:lnTo>
                  <a:lnTo>
                    <a:pt x="2521634" y="7475567"/>
                  </a:lnTo>
                  <a:lnTo>
                    <a:pt x="2520282" y="7446998"/>
                  </a:lnTo>
                  <a:lnTo>
                    <a:pt x="2516207" y="7417077"/>
                  </a:lnTo>
                  <a:lnTo>
                    <a:pt x="2520282" y="7388515"/>
                  </a:lnTo>
                  <a:lnTo>
                    <a:pt x="2540859" y="7374275"/>
                  </a:lnTo>
                  <a:lnTo>
                    <a:pt x="2565167" y="7378991"/>
                  </a:lnTo>
                  <a:lnTo>
                    <a:pt x="2591059" y="7386385"/>
                  </a:lnTo>
                  <a:lnTo>
                    <a:pt x="2618164" y="7398796"/>
                  </a:lnTo>
                  <a:lnTo>
                    <a:pt x="2642697" y="7414354"/>
                  </a:lnTo>
                  <a:lnTo>
                    <a:pt x="2662943" y="7429027"/>
                  </a:lnTo>
                  <a:lnTo>
                    <a:pt x="2667184" y="7460597"/>
                  </a:lnTo>
                  <a:lnTo>
                    <a:pt x="2653836" y="7479768"/>
                  </a:lnTo>
                  <a:lnTo>
                    <a:pt x="2635706" y="7492628"/>
                  </a:lnTo>
                  <a:lnTo>
                    <a:pt x="2620934" y="7509563"/>
                  </a:lnTo>
                  <a:lnTo>
                    <a:pt x="2609017" y="7527475"/>
                  </a:lnTo>
                  <a:lnTo>
                    <a:pt x="2605654" y="7548784"/>
                  </a:lnTo>
                  <a:lnTo>
                    <a:pt x="2610059" y="7570778"/>
                  </a:lnTo>
                  <a:lnTo>
                    <a:pt x="2616601" y="7593774"/>
                  </a:lnTo>
                  <a:lnTo>
                    <a:pt x="2627997" y="7613070"/>
                  </a:lnTo>
                  <a:lnTo>
                    <a:pt x="2684871" y="7636067"/>
                  </a:lnTo>
                  <a:lnTo>
                    <a:pt x="2706634" y="7640143"/>
                  </a:lnTo>
                  <a:lnTo>
                    <a:pt x="2727653" y="7651545"/>
                  </a:lnTo>
                  <a:lnTo>
                    <a:pt x="2748182" y="7664103"/>
                  </a:lnTo>
                  <a:lnTo>
                    <a:pt x="2767842" y="7678229"/>
                  </a:lnTo>
                  <a:lnTo>
                    <a:pt x="2788992" y="7690653"/>
                  </a:lnTo>
                  <a:lnTo>
                    <a:pt x="2809265" y="7703889"/>
                  </a:lnTo>
                  <a:lnTo>
                    <a:pt x="2829049" y="7716313"/>
                  </a:lnTo>
                  <a:lnTo>
                    <a:pt x="2859162" y="7728139"/>
                  </a:lnTo>
                  <a:lnTo>
                    <a:pt x="2894154" y="7734404"/>
                  </a:lnTo>
                  <a:lnTo>
                    <a:pt x="2932425" y="7739436"/>
                  </a:lnTo>
                  <a:lnTo>
                    <a:pt x="2971328" y="7744975"/>
                  </a:lnTo>
                  <a:lnTo>
                    <a:pt x="3010495" y="7755660"/>
                  </a:lnTo>
                  <a:lnTo>
                    <a:pt x="3048040" y="7774804"/>
                  </a:lnTo>
                  <a:lnTo>
                    <a:pt x="3068444" y="7796561"/>
                  </a:lnTo>
                  <a:lnTo>
                    <a:pt x="3081825" y="7818442"/>
                  </a:lnTo>
                  <a:lnTo>
                    <a:pt x="3095873" y="7842698"/>
                  </a:lnTo>
                  <a:lnTo>
                    <a:pt x="3109253" y="7865932"/>
                  </a:lnTo>
                  <a:lnTo>
                    <a:pt x="3119377" y="7885202"/>
                  </a:lnTo>
                  <a:lnTo>
                    <a:pt x="3132151" y="7904367"/>
                  </a:lnTo>
                  <a:lnTo>
                    <a:pt x="3147339" y="7920340"/>
                  </a:lnTo>
                  <a:lnTo>
                    <a:pt x="3167737" y="7935305"/>
                  </a:lnTo>
                  <a:lnTo>
                    <a:pt x="3190865" y="7946186"/>
                  </a:lnTo>
                  <a:lnTo>
                    <a:pt x="3210630" y="7953756"/>
                  </a:lnTo>
                  <a:lnTo>
                    <a:pt x="3231484" y="7965734"/>
                  </a:lnTo>
                  <a:lnTo>
                    <a:pt x="3246632" y="7981548"/>
                  </a:lnTo>
                  <a:lnTo>
                    <a:pt x="3258556" y="8000784"/>
                  </a:lnTo>
                  <a:lnTo>
                    <a:pt x="3267353" y="8022166"/>
                  </a:lnTo>
                  <a:lnTo>
                    <a:pt x="3271112" y="8044120"/>
                  </a:lnTo>
                  <a:lnTo>
                    <a:pt x="3269430" y="8065157"/>
                  </a:lnTo>
                  <a:lnTo>
                    <a:pt x="3245537" y="8085220"/>
                  </a:lnTo>
                  <a:lnTo>
                    <a:pt x="3228681" y="8098237"/>
                  </a:lnTo>
                  <a:lnTo>
                    <a:pt x="3213987" y="8113492"/>
                  </a:lnTo>
                  <a:lnTo>
                    <a:pt x="3197665" y="8139337"/>
                  </a:lnTo>
                  <a:lnTo>
                    <a:pt x="3191835" y="8159517"/>
                  </a:lnTo>
                  <a:lnTo>
                    <a:pt x="3193853" y="8180397"/>
                  </a:lnTo>
                  <a:lnTo>
                    <a:pt x="3214950" y="8195875"/>
                  </a:lnTo>
                  <a:lnTo>
                    <a:pt x="3234392" y="8204620"/>
                  </a:lnTo>
                  <a:lnTo>
                    <a:pt x="3257005" y="8213108"/>
                  </a:lnTo>
                  <a:lnTo>
                    <a:pt x="3279778" y="8228778"/>
                  </a:lnTo>
                  <a:lnTo>
                    <a:pt x="3301040" y="8254953"/>
                  </a:lnTo>
                  <a:lnTo>
                    <a:pt x="3305116" y="8295756"/>
                  </a:lnTo>
                  <a:lnTo>
                    <a:pt x="3287190" y="8324983"/>
                  </a:lnTo>
                  <a:lnTo>
                    <a:pt x="3260468" y="8348145"/>
                  </a:lnTo>
                  <a:lnTo>
                    <a:pt x="3237102" y="8371926"/>
                  </a:lnTo>
                  <a:lnTo>
                    <a:pt x="3237630" y="8404842"/>
                  </a:lnTo>
                  <a:lnTo>
                    <a:pt x="3258318" y="8420624"/>
                  </a:lnTo>
                  <a:lnTo>
                    <a:pt x="3291510" y="8424976"/>
                  </a:lnTo>
                  <a:lnTo>
                    <a:pt x="3326469" y="8426625"/>
                  </a:lnTo>
                  <a:lnTo>
                    <a:pt x="3367319" y="8419100"/>
                  </a:lnTo>
                  <a:lnTo>
                    <a:pt x="3403630" y="8425450"/>
                  </a:lnTo>
                  <a:lnTo>
                    <a:pt x="3438181" y="8432085"/>
                  </a:lnTo>
                  <a:lnTo>
                    <a:pt x="3471057" y="8441299"/>
                  </a:lnTo>
                  <a:lnTo>
                    <a:pt x="3503938" y="8450518"/>
                  </a:lnTo>
                  <a:lnTo>
                    <a:pt x="3535614" y="8461353"/>
                  </a:lnTo>
                  <a:lnTo>
                    <a:pt x="3551310" y="8475309"/>
                  </a:lnTo>
                  <a:lnTo>
                    <a:pt x="3559916" y="8537366"/>
                  </a:lnTo>
                  <a:lnTo>
                    <a:pt x="3571714" y="8575960"/>
                  </a:lnTo>
                  <a:lnTo>
                    <a:pt x="3584740" y="8612508"/>
                  </a:lnTo>
                  <a:lnTo>
                    <a:pt x="3610374" y="8631904"/>
                  </a:lnTo>
                  <a:lnTo>
                    <a:pt x="3651968" y="8623568"/>
                  </a:lnTo>
                  <a:lnTo>
                    <a:pt x="3681473" y="8598692"/>
                  </a:lnTo>
                  <a:lnTo>
                    <a:pt x="3687765" y="8575492"/>
                  </a:lnTo>
                  <a:lnTo>
                    <a:pt x="3690053" y="8551473"/>
                  </a:lnTo>
                  <a:lnTo>
                    <a:pt x="3692329" y="8527461"/>
                  </a:lnTo>
                  <a:lnTo>
                    <a:pt x="3689717" y="8502044"/>
                  </a:lnTo>
                  <a:lnTo>
                    <a:pt x="3703652" y="8472585"/>
                  </a:lnTo>
                  <a:lnTo>
                    <a:pt x="3721959" y="8445691"/>
                  </a:lnTo>
                  <a:lnTo>
                    <a:pt x="3747911" y="8428747"/>
                  </a:lnTo>
                  <a:lnTo>
                    <a:pt x="3778464" y="8422259"/>
                  </a:lnTo>
                  <a:lnTo>
                    <a:pt x="3809883" y="8422325"/>
                  </a:lnTo>
                  <a:lnTo>
                    <a:pt x="3839540" y="8433062"/>
                  </a:lnTo>
                  <a:lnTo>
                    <a:pt x="3864158" y="8453544"/>
                  </a:lnTo>
                  <a:lnTo>
                    <a:pt x="3896302" y="8488558"/>
                  </a:lnTo>
                  <a:lnTo>
                    <a:pt x="3911602" y="8507175"/>
                  </a:lnTo>
                  <a:lnTo>
                    <a:pt x="3922643" y="8525635"/>
                  </a:lnTo>
                  <a:lnTo>
                    <a:pt x="3933683" y="8544086"/>
                  </a:lnTo>
                  <a:lnTo>
                    <a:pt x="3958012" y="8599081"/>
                  </a:lnTo>
                  <a:lnTo>
                    <a:pt x="3973826" y="8632003"/>
                  </a:lnTo>
                  <a:lnTo>
                    <a:pt x="4008700" y="8660823"/>
                  </a:lnTo>
                  <a:lnTo>
                    <a:pt x="4032816" y="8687493"/>
                  </a:lnTo>
                  <a:lnTo>
                    <a:pt x="4036371" y="8722221"/>
                  </a:lnTo>
                  <a:lnTo>
                    <a:pt x="4023301" y="8750066"/>
                  </a:lnTo>
                  <a:lnTo>
                    <a:pt x="4018414" y="8780244"/>
                  </a:lnTo>
                  <a:lnTo>
                    <a:pt x="4031458" y="8799032"/>
                  </a:lnTo>
                  <a:lnTo>
                    <a:pt x="4060001" y="8806735"/>
                  </a:lnTo>
                  <a:lnTo>
                    <a:pt x="4119659" y="8794548"/>
                  </a:lnTo>
                  <a:lnTo>
                    <a:pt x="4150668" y="8806174"/>
                  </a:lnTo>
                  <a:lnTo>
                    <a:pt x="4170433" y="8825564"/>
                  </a:lnTo>
                  <a:lnTo>
                    <a:pt x="4190600" y="8834400"/>
                  </a:lnTo>
                  <a:lnTo>
                    <a:pt x="4233328" y="8853105"/>
                  </a:lnTo>
                  <a:lnTo>
                    <a:pt x="4269132" y="8861499"/>
                  </a:lnTo>
                  <a:lnTo>
                    <a:pt x="4298057" y="8860239"/>
                  </a:lnTo>
                  <a:lnTo>
                    <a:pt x="4326989" y="8858980"/>
                  </a:lnTo>
                  <a:lnTo>
                    <a:pt x="4348918" y="8848632"/>
                  </a:lnTo>
                  <a:lnTo>
                    <a:pt x="4367428" y="8831676"/>
                  </a:lnTo>
                  <a:lnTo>
                    <a:pt x="4385940" y="8814721"/>
                  </a:lnTo>
                  <a:lnTo>
                    <a:pt x="4400839" y="8790696"/>
                  </a:lnTo>
                  <a:lnTo>
                    <a:pt x="4412314" y="8762305"/>
                  </a:lnTo>
                  <a:lnTo>
                    <a:pt x="4423796" y="8733915"/>
                  </a:lnTo>
                  <a:lnTo>
                    <a:pt x="4431696" y="8701295"/>
                  </a:lnTo>
                  <a:lnTo>
                    <a:pt x="4439519" y="8665736"/>
                  </a:lnTo>
                  <a:lnTo>
                    <a:pt x="4481429" y="8685158"/>
                  </a:lnTo>
                  <a:lnTo>
                    <a:pt x="4506173" y="8699739"/>
                  </a:lnTo>
                  <a:lnTo>
                    <a:pt x="4532407" y="8713259"/>
                  </a:lnTo>
                  <a:lnTo>
                    <a:pt x="4561550" y="8716147"/>
                  </a:lnTo>
                  <a:lnTo>
                    <a:pt x="4594584" y="8702456"/>
                  </a:lnTo>
                  <a:lnTo>
                    <a:pt x="4608460" y="8685468"/>
                  </a:lnTo>
                  <a:lnTo>
                    <a:pt x="4617903" y="8647646"/>
                  </a:lnTo>
                  <a:lnTo>
                    <a:pt x="4628588" y="8611321"/>
                  </a:lnTo>
                  <a:lnTo>
                    <a:pt x="4639271" y="8575004"/>
                  </a:lnTo>
                  <a:lnTo>
                    <a:pt x="4650858" y="8539820"/>
                  </a:lnTo>
                  <a:lnTo>
                    <a:pt x="4672114" y="8528351"/>
                  </a:lnTo>
                  <a:lnTo>
                    <a:pt x="4705905" y="8536680"/>
                  </a:lnTo>
                  <a:lnTo>
                    <a:pt x="4726713" y="8572768"/>
                  </a:lnTo>
                  <a:lnTo>
                    <a:pt x="4735299" y="8600050"/>
                  </a:lnTo>
                  <a:lnTo>
                    <a:pt x="4729245" y="8629002"/>
                  </a:lnTo>
                  <a:lnTo>
                    <a:pt x="4721819" y="8656602"/>
                  </a:lnTo>
                  <a:lnTo>
                    <a:pt x="4733236" y="8685633"/>
                  </a:lnTo>
                  <a:lnTo>
                    <a:pt x="4740826" y="8716688"/>
                  </a:lnTo>
                  <a:lnTo>
                    <a:pt x="4742850" y="8751424"/>
                  </a:lnTo>
                  <a:lnTo>
                    <a:pt x="4722360" y="8781411"/>
                  </a:lnTo>
                  <a:lnTo>
                    <a:pt x="4691285" y="8832720"/>
                  </a:lnTo>
                  <a:lnTo>
                    <a:pt x="4685719" y="8869762"/>
                  </a:lnTo>
                  <a:lnTo>
                    <a:pt x="4682296" y="8892549"/>
                  </a:lnTo>
                  <a:lnTo>
                    <a:pt x="4700682" y="8919600"/>
                  </a:lnTo>
                  <a:lnTo>
                    <a:pt x="4718193" y="8953010"/>
                  </a:lnTo>
                  <a:lnTo>
                    <a:pt x="4731969" y="8985377"/>
                  </a:lnTo>
                  <a:lnTo>
                    <a:pt x="4746649" y="9010346"/>
                  </a:lnTo>
                  <a:lnTo>
                    <a:pt x="4776900" y="9030494"/>
                  </a:lnTo>
                  <a:lnTo>
                    <a:pt x="4798618" y="9047944"/>
                  </a:lnTo>
                  <a:lnTo>
                    <a:pt x="4822649" y="9067260"/>
                  </a:lnTo>
                  <a:lnTo>
                    <a:pt x="4851686" y="9087803"/>
                  </a:lnTo>
                  <a:lnTo>
                    <a:pt x="4878870" y="9095552"/>
                  </a:lnTo>
                  <a:lnTo>
                    <a:pt x="4905679" y="9100089"/>
                  </a:lnTo>
                  <a:lnTo>
                    <a:pt x="4930951" y="9091016"/>
                  </a:lnTo>
                  <a:lnTo>
                    <a:pt x="4953676" y="9064267"/>
                  </a:lnTo>
                  <a:lnTo>
                    <a:pt x="4967750" y="9041995"/>
                  </a:lnTo>
                  <a:lnTo>
                    <a:pt x="4960482" y="8997618"/>
                  </a:lnTo>
                  <a:lnTo>
                    <a:pt x="4939491" y="8968158"/>
                  </a:lnTo>
                  <a:lnTo>
                    <a:pt x="4924844" y="8940967"/>
                  </a:lnTo>
                  <a:lnTo>
                    <a:pt x="4914642" y="8922080"/>
                  </a:lnTo>
                  <a:lnTo>
                    <a:pt x="4903351" y="8899683"/>
                  </a:lnTo>
                  <a:lnTo>
                    <a:pt x="4892060" y="8877294"/>
                  </a:lnTo>
                  <a:lnTo>
                    <a:pt x="4880552" y="8851601"/>
                  </a:lnTo>
                  <a:lnTo>
                    <a:pt x="4872064" y="8826236"/>
                  </a:lnTo>
                  <a:lnTo>
                    <a:pt x="4863584" y="8800866"/>
                  </a:lnTo>
                  <a:lnTo>
                    <a:pt x="4858499" y="8776194"/>
                  </a:lnTo>
                  <a:lnTo>
                    <a:pt x="4859825" y="8754148"/>
                  </a:lnTo>
                  <a:lnTo>
                    <a:pt x="4861150" y="8732093"/>
                  </a:lnTo>
                  <a:lnTo>
                    <a:pt x="4887028" y="8701098"/>
                  </a:lnTo>
                  <a:lnTo>
                    <a:pt x="4915617" y="8698137"/>
                  </a:lnTo>
                  <a:lnTo>
                    <a:pt x="4945492" y="8709507"/>
                  </a:lnTo>
                  <a:lnTo>
                    <a:pt x="4968640" y="8728301"/>
                  </a:lnTo>
                  <a:lnTo>
                    <a:pt x="4987060" y="8747097"/>
                  </a:lnTo>
                  <a:lnTo>
                    <a:pt x="5009792" y="8757293"/>
                  </a:lnTo>
                  <a:lnTo>
                    <a:pt x="5028489" y="8774553"/>
                  </a:lnTo>
                  <a:lnTo>
                    <a:pt x="5039370" y="8799032"/>
                  </a:lnTo>
                  <a:lnTo>
                    <a:pt x="5040795" y="8820914"/>
                  </a:lnTo>
                  <a:lnTo>
                    <a:pt x="5037953" y="8847880"/>
                  </a:lnTo>
                  <a:lnTo>
                    <a:pt x="5032571" y="8879286"/>
                  </a:lnTo>
                  <a:lnTo>
                    <a:pt x="5025773" y="8912182"/>
                  </a:lnTo>
                  <a:lnTo>
                    <a:pt x="5020325" y="8947041"/>
                  </a:lnTo>
                  <a:lnTo>
                    <a:pt x="5017607" y="8982661"/>
                  </a:lnTo>
                  <a:lnTo>
                    <a:pt x="5016835" y="9018307"/>
                  </a:lnTo>
                  <a:lnTo>
                    <a:pt x="5021095" y="9053114"/>
                  </a:lnTo>
                  <a:lnTo>
                    <a:pt x="5031207" y="9086036"/>
                  </a:lnTo>
                  <a:lnTo>
                    <a:pt x="5048010" y="9116161"/>
                  </a:lnTo>
                  <a:lnTo>
                    <a:pt x="5067933" y="9136362"/>
                  </a:lnTo>
                  <a:lnTo>
                    <a:pt x="5099734" y="9157194"/>
                  </a:lnTo>
                  <a:lnTo>
                    <a:pt x="5136493" y="9164930"/>
                  </a:lnTo>
                  <a:lnTo>
                    <a:pt x="5174026" y="9166288"/>
                  </a:lnTo>
                  <a:lnTo>
                    <a:pt x="5211557" y="9167642"/>
                  </a:lnTo>
                  <a:lnTo>
                    <a:pt x="5249959" y="9162656"/>
                  </a:lnTo>
                  <a:lnTo>
                    <a:pt x="5286924" y="9155407"/>
                  </a:lnTo>
                  <a:lnTo>
                    <a:pt x="5323888" y="9148153"/>
                  </a:lnTo>
                  <a:lnTo>
                    <a:pt x="5358828" y="9138624"/>
                  </a:lnTo>
                  <a:lnTo>
                    <a:pt x="5388940" y="9133644"/>
                  </a:lnTo>
                  <a:lnTo>
                    <a:pt x="5419046" y="9128666"/>
                  </a:lnTo>
                  <a:lnTo>
                    <a:pt x="5444067" y="9128204"/>
                  </a:lnTo>
                  <a:lnTo>
                    <a:pt x="5481697" y="9146307"/>
                  </a:lnTo>
                  <a:lnTo>
                    <a:pt x="5497625" y="9161666"/>
                  </a:lnTo>
                  <a:lnTo>
                    <a:pt x="5514078" y="9178530"/>
                  </a:lnTo>
                  <a:lnTo>
                    <a:pt x="5530533" y="9195386"/>
                  </a:lnTo>
                  <a:lnTo>
                    <a:pt x="5547924" y="9213079"/>
                  </a:lnTo>
                  <a:lnTo>
                    <a:pt x="5568479" y="9224773"/>
                  </a:lnTo>
                  <a:lnTo>
                    <a:pt x="5593975" y="9224001"/>
                  </a:lnTo>
                  <a:lnTo>
                    <a:pt x="5632767" y="9225517"/>
                  </a:lnTo>
                  <a:lnTo>
                    <a:pt x="5658257" y="9230213"/>
                  </a:lnTo>
                  <a:lnTo>
                    <a:pt x="5684102" y="9246536"/>
                  </a:lnTo>
                  <a:lnTo>
                    <a:pt x="5702877" y="9259858"/>
                  </a:lnTo>
                  <a:lnTo>
                    <a:pt x="5722451" y="9271307"/>
                  </a:lnTo>
                  <a:lnTo>
                    <a:pt x="5742593" y="9279181"/>
                  </a:lnTo>
                  <a:lnTo>
                    <a:pt x="5763340" y="9283711"/>
                  </a:lnTo>
                  <a:lnTo>
                    <a:pt x="5785466" y="9279906"/>
                  </a:lnTo>
                  <a:lnTo>
                    <a:pt x="5805158" y="9266934"/>
                  </a:lnTo>
                  <a:lnTo>
                    <a:pt x="5821763" y="9249635"/>
                  </a:lnTo>
                  <a:lnTo>
                    <a:pt x="5837519" y="9229824"/>
                  </a:lnTo>
                  <a:lnTo>
                    <a:pt x="5852766" y="9209808"/>
                  </a:lnTo>
                  <a:lnTo>
                    <a:pt x="5867862" y="9193282"/>
                  </a:lnTo>
                  <a:lnTo>
                    <a:pt x="5866833" y="9169738"/>
                  </a:lnTo>
                  <a:lnTo>
                    <a:pt x="5848288" y="9151767"/>
                  </a:lnTo>
                  <a:lnTo>
                    <a:pt x="5829262" y="9133915"/>
                  </a:lnTo>
                  <a:lnTo>
                    <a:pt x="5809740" y="9116181"/>
                  </a:lnTo>
                  <a:lnTo>
                    <a:pt x="5802018" y="9087321"/>
                  </a:lnTo>
                  <a:lnTo>
                    <a:pt x="5797422" y="9062986"/>
                  </a:lnTo>
                  <a:lnTo>
                    <a:pt x="5790200" y="9038427"/>
                  </a:lnTo>
                  <a:lnTo>
                    <a:pt x="5781258" y="9015233"/>
                  </a:lnTo>
                  <a:lnTo>
                    <a:pt x="5769216" y="8993608"/>
                  </a:lnTo>
                  <a:lnTo>
                    <a:pt x="5753474" y="8974496"/>
                  </a:lnTo>
                  <a:lnTo>
                    <a:pt x="5782037" y="8939135"/>
                  </a:lnTo>
                  <a:lnTo>
                    <a:pt x="5812115" y="8945801"/>
                  </a:lnTo>
                  <a:lnTo>
                    <a:pt x="5836444" y="8935051"/>
                  </a:lnTo>
                  <a:lnTo>
                    <a:pt x="5837802" y="8899683"/>
                  </a:lnTo>
                  <a:lnTo>
                    <a:pt x="5809240" y="8890167"/>
                  </a:lnTo>
                  <a:lnTo>
                    <a:pt x="5788018" y="8879853"/>
                  </a:lnTo>
                  <a:lnTo>
                    <a:pt x="5767896" y="8867837"/>
                  </a:lnTo>
                  <a:lnTo>
                    <a:pt x="5752114" y="8853441"/>
                  </a:lnTo>
                  <a:lnTo>
                    <a:pt x="5735793" y="8828960"/>
                  </a:lnTo>
                  <a:lnTo>
                    <a:pt x="5713680" y="8814960"/>
                  </a:lnTo>
                  <a:lnTo>
                    <a:pt x="5684458" y="8802151"/>
                  </a:lnTo>
                  <a:lnTo>
                    <a:pt x="5652821" y="8789510"/>
                  </a:lnTo>
                  <a:lnTo>
                    <a:pt x="5620929" y="8775092"/>
                  </a:lnTo>
                  <a:lnTo>
                    <a:pt x="5594932" y="8757682"/>
                  </a:lnTo>
                  <a:lnTo>
                    <a:pt x="5579368" y="8735101"/>
                  </a:lnTo>
                  <a:lnTo>
                    <a:pt x="5584974" y="8704943"/>
                  </a:lnTo>
                  <a:lnTo>
                    <a:pt x="5595526" y="8680937"/>
                  </a:lnTo>
                  <a:lnTo>
                    <a:pt x="5607937" y="8658930"/>
                  </a:lnTo>
                  <a:lnTo>
                    <a:pt x="5620381" y="8635690"/>
                  </a:lnTo>
                  <a:lnTo>
                    <a:pt x="5630847" y="8606006"/>
                  </a:lnTo>
                  <a:lnTo>
                    <a:pt x="5637858" y="8565079"/>
                  </a:lnTo>
                  <a:lnTo>
                    <a:pt x="5642408" y="8535454"/>
                  </a:lnTo>
                  <a:lnTo>
                    <a:pt x="5620177" y="8526986"/>
                  </a:lnTo>
                  <a:lnTo>
                    <a:pt x="5607001" y="8549396"/>
                  </a:lnTo>
                  <a:lnTo>
                    <a:pt x="5595268" y="8567148"/>
                  </a:lnTo>
                  <a:lnTo>
                    <a:pt x="5575259" y="8584995"/>
                  </a:lnTo>
                  <a:lnTo>
                    <a:pt x="5549249" y="8588522"/>
                  </a:lnTo>
                  <a:lnTo>
                    <a:pt x="5522243" y="8581394"/>
                  </a:lnTo>
                  <a:lnTo>
                    <a:pt x="5506514" y="8561649"/>
                  </a:lnTo>
                  <a:lnTo>
                    <a:pt x="5503725" y="8539952"/>
                  </a:lnTo>
                  <a:lnTo>
                    <a:pt x="5511362" y="8512021"/>
                  </a:lnTo>
                  <a:lnTo>
                    <a:pt x="5520646" y="8483229"/>
                  </a:lnTo>
                  <a:lnTo>
                    <a:pt x="5527683" y="8452174"/>
                  </a:lnTo>
                  <a:lnTo>
                    <a:pt x="5489684" y="8441246"/>
                  </a:lnTo>
                  <a:lnTo>
                    <a:pt x="5465171" y="8440593"/>
                  </a:lnTo>
                  <a:lnTo>
                    <a:pt x="5443349" y="8437217"/>
                  </a:lnTo>
                  <a:lnTo>
                    <a:pt x="5421525" y="8433853"/>
                  </a:lnTo>
                  <a:lnTo>
                    <a:pt x="5387582" y="8416812"/>
                  </a:lnTo>
                  <a:lnTo>
                    <a:pt x="5360312" y="8392337"/>
                  </a:lnTo>
                  <a:lnTo>
                    <a:pt x="5346838" y="8354239"/>
                  </a:lnTo>
                  <a:lnTo>
                    <a:pt x="5345091" y="8331270"/>
                  </a:lnTo>
                  <a:lnTo>
                    <a:pt x="5348138" y="8301196"/>
                  </a:lnTo>
                  <a:lnTo>
                    <a:pt x="5353908" y="8274513"/>
                  </a:lnTo>
                  <a:lnTo>
                    <a:pt x="5364130" y="8248991"/>
                  </a:lnTo>
                  <a:lnTo>
                    <a:pt x="5373976" y="8223667"/>
                  </a:lnTo>
                  <a:lnTo>
                    <a:pt x="5379760" y="8195652"/>
                  </a:lnTo>
                  <a:lnTo>
                    <a:pt x="5381804" y="8167346"/>
                  </a:lnTo>
                  <a:lnTo>
                    <a:pt x="5380782" y="8139337"/>
                  </a:lnTo>
                  <a:lnTo>
                    <a:pt x="5379094" y="8110083"/>
                  </a:lnTo>
                  <a:lnTo>
                    <a:pt x="5377037" y="8081533"/>
                  </a:lnTo>
                  <a:lnTo>
                    <a:pt x="5375348" y="8053643"/>
                  </a:lnTo>
                  <a:lnTo>
                    <a:pt x="5380782" y="8030514"/>
                  </a:lnTo>
                  <a:lnTo>
                    <a:pt x="5395745" y="8010117"/>
                  </a:lnTo>
                  <a:lnTo>
                    <a:pt x="5409351" y="7989712"/>
                  </a:lnTo>
                  <a:lnTo>
                    <a:pt x="5413427" y="7966591"/>
                  </a:lnTo>
                  <a:lnTo>
                    <a:pt x="5405751" y="7945552"/>
                  </a:lnTo>
                  <a:lnTo>
                    <a:pt x="5390707" y="7930457"/>
                  </a:lnTo>
                  <a:lnTo>
                    <a:pt x="5359969" y="7904783"/>
                  </a:lnTo>
                  <a:lnTo>
                    <a:pt x="5331815" y="7882255"/>
                  </a:lnTo>
                  <a:lnTo>
                    <a:pt x="5313685" y="7857523"/>
                  </a:lnTo>
                  <a:lnTo>
                    <a:pt x="5318434" y="7831375"/>
                  </a:lnTo>
                  <a:lnTo>
                    <a:pt x="5330456" y="7810167"/>
                  </a:lnTo>
                  <a:lnTo>
                    <a:pt x="5348407" y="7785838"/>
                  </a:lnTo>
                  <a:lnTo>
                    <a:pt x="5363101" y="7770723"/>
                  </a:lnTo>
                  <a:lnTo>
                    <a:pt x="5360377" y="7740794"/>
                  </a:lnTo>
                  <a:lnTo>
                    <a:pt x="5361737" y="7710873"/>
                  </a:lnTo>
                  <a:lnTo>
                    <a:pt x="5393267" y="7704496"/>
                  </a:lnTo>
                  <a:lnTo>
                    <a:pt x="5428126" y="7706368"/>
                  </a:lnTo>
                  <a:lnTo>
                    <a:pt x="5455588" y="7690468"/>
                  </a:lnTo>
                  <a:lnTo>
                    <a:pt x="5450155" y="7656466"/>
                  </a:lnTo>
                  <a:lnTo>
                    <a:pt x="5412048" y="7643961"/>
                  </a:lnTo>
                  <a:lnTo>
                    <a:pt x="5387588" y="7633343"/>
                  </a:lnTo>
                  <a:lnTo>
                    <a:pt x="5363127" y="7622725"/>
                  </a:lnTo>
                  <a:lnTo>
                    <a:pt x="5340250" y="7610208"/>
                  </a:lnTo>
                  <a:lnTo>
                    <a:pt x="5325643" y="7589006"/>
                  </a:lnTo>
                  <a:lnTo>
                    <a:pt x="5315499" y="7568054"/>
                  </a:lnTo>
                  <a:lnTo>
                    <a:pt x="5301663" y="7551376"/>
                  </a:lnTo>
                  <a:lnTo>
                    <a:pt x="5281489" y="7536768"/>
                  </a:lnTo>
                  <a:lnTo>
                    <a:pt x="5270145" y="7517629"/>
                  </a:lnTo>
                  <a:lnTo>
                    <a:pt x="5271973" y="7493242"/>
                  </a:lnTo>
                  <a:lnTo>
                    <a:pt x="5274282" y="7462417"/>
                  </a:lnTo>
                  <a:lnTo>
                    <a:pt x="5275238" y="7431157"/>
                  </a:lnTo>
                  <a:lnTo>
                    <a:pt x="5277413" y="7399389"/>
                  </a:lnTo>
                  <a:lnTo>
                    <a:pt x="5279584" y="7367622"/>
                  </a:lnTo>
                  <a:lnTo>
                    <a:pt x="5282743" y="7335980"/>
                  </a:lnTo>
                  <a:lnTo>
                    <a:pt x="5288295" y="7305537"/>
                  </a:lnTo>
                  <a:lnTo>
                    <a:pt x="5296902" y="7270426"/>
                  </a:lnTo>
                  <a:lnTo>
                    <a:pt x="5306886" y="7234549"/>
                  </a:lnTo>
                  <a:lnTo>
                    <a:pt x="5310059" y="7198080"/>
                  </a:lnTo>
                  <a:lnTo>
                    <a:pt x="5282849" y="7176317"/>
                  </a:lnTo>
                  <a:lnTo>
                    <a:pt x="5216200" y="7203520"/>
                  </a:lnTo>
                  <a:lnTo>
                    <a:pt x="5192070" y="7190826"/>
                  </a:lnTo>
                  <a:lnTo>
                    <a:pt x="5194443" y="7164076"/>
                  </a:lnTo>
                  <a:lnTo>
                    <a:pt x="5204204" y="7133766"/>
                  </a:lnTo>
                  <a:lnTo>
                    <a:pt x="5217327" y="7101894"/>
                  </a:lnTo>
                  <a:lnTo>
                    <a:pt x="5229805" y="7071584"/>
                  </a:lnTo>
                  <a:lnTo>
                    <a:pt x="5240806" y="7042440"/>
                  </a:lnTo>
                  <a:lnTo>
                    <a:pt x="5243741" y="7014893"/>
                  </a:lnTo>
                  <a:lnTo>
                    <a:pt x="5235245" y="6989972"/>
                  </a:lnTo>
                  <a:lnTo>
                    <a:pt x="5221871" y="6967641"/>
                  </a:lnTo>
                  <a:lnTo>
                    <a:pt x="5205094" y="6949729"/>
                  </a:lnTo>
                  <a:lnTo>
                    <a:pt x="5189003" y="6934205"/>
                  </a:lnTo>
                  <a:lnTo>
                    <a:pt x="5172680" y="6909718"/>
                  </a:lnTo>
                  <a:lnTo>
                    <a:pt x="5180436" y="6882091"/>
                  </a:lnTo>
                  <a:lnTo>
                    <a:pt x="5242045" y="6858034"/>
                  </a:lnTo>
                  <a:lnTo>
                    <a:pt x="5259521" y="6826239"/>
                  </a:lnTo>
                  <a:lnTo>
                    <a:pt x="5247018" y="6805994"/>
                  </a:lnTo>
                  <a:lnTo>
                    <a:pt x="5232529" y="6785944"/>
                  </a:lnTo>
                  <a:lnTo>
                    <a:pt x="5218040" y="6765889"/>
                  </a:lnTo>
                  <a:lnTo>
                    <a:pt x="5201460" y="6747014"/>
                  </a:lnTo>
                  <a:lnTo>
                    <a:pt x="5212124" y="6717931"/>
                  </a:lnTo>
                  <a:lnTo>
                    <a:pt x="5236341" y="6712603"/>
                  </a:lnTo>
                  <a:lnTo>
                    <a:pt x="5272237" y="6715102"/>
                  </a:lnTo>
                  <a:lnTo>
                    <a:pt x="5297818" y="6719297"/>
                  </a:lnTo>
                  <a:lnTo>
                    <a:pt x="5303767" y="6688835"/>
                  </a:lnTo>
                  <a:lnTo>
                    <a:pt x="5297818" y="6664889"/>
                  </a:lnTo>
                  <a:lnTo>
                    <a:pt x="5289324" y="6640553"/>
                  </a:lnTo>
                  <a:lnTo>
                    <a:pt x="5279101" y="6618494"/>
                  </a:lnTo>
                  <a:lnTo>
                    <a:pt x="5266532" y="6596875"/>
                  </a:lnTo>
                  <a:lnTo>
                    <a:pt x="5253329" y="6574050"/>
                  </a:lnTo>
                  <a:lnTo>
                    <a:pt x="5224957" y="6524634"/>
                  </a:lnTo>
                  <a:lnTo>
                    <a:pt x="5216800" y="6497141"/>
                  </a:lnTo>
                  <a:lnTo>
                    <a:pt x="5216206" y="6474461"/>
                  </a:lnTo>
                  <a:lnTo>
                    <a:pt x="5215612" y="6451781"/>
                  </a:lnTo>
                  <a:lnTo>
                    <a:pt x="5236605" y="6417329"/>
                  </a:lnTo>
                  <a:lnTo>
                    <a:pt x="5266189" y="6386148"/>
                  </a:lnTo>
                  <a:lnTo>
                    <a:pt x="5285579" y="6368362"/>
                  </a:lnTo>
                  <a:lnTo>
                    <a:pt x="5304960" y="6350581"/>
                  </a:lnTo>
                  <a:lnTo>
                    <a:pt x="5326638" y="6330152"/>
                  </a:lnTo>
                  <a:lnTo>
                    <a:pt x="5345428" y="6303079"/>
                  </a:lnTo>
                  <a:lnTo>
                    <a:pt x="5346020" y="6280406"/>
                  </a:lnTo>
                  <a:lnTo>
                    <a:pt x="5341101" y="6257871"/>
                  </a:lnTo>
                  <a:lnTo>
                    <a:pt x="5333180" y="6235066"/>
                  </a:lnTo>
                  <a:lnTo>
                    <a:pt x="5325266" y="6212261"/>
                  </a:lnTo>
                  <a:lnTo>
                    <a:pt x="5314054" y="6189568"/>
                  </a:lnTo>
                  <a:lnTo>
                    <a:pt x="5303260" y="6168417"/>
                  </a:lnTo>
                  <a:lnTo>
                    <a:pt x="5292463" y="6147268"/>
                  </a:lnTo>
                  <a:lnTo>
                    <a:pt x="5281397" y="6127627"/>
                  </a:lnTo>
                  <a:lnTo>
                    <a:pt x="5265267" y="6092227"/>
                  </a:lnTo>
                  <a:lnTo>
                    <a:pt x="5261092" y="6063684"/>
                  </a:lnTo>
                  <a:lnTo>
                    <a:pt x="5261619" y="6040707"/>
                  </a:lnTo>
                  <a:lnTo>
                    <a:pt x="5261751" y="6019043"/>
                  </a:lnTo>
                  <a:lnTo>
                    <a:pt x="5268617" y="5977733"/>
                  </a:lnTo>
                  <a:lnTo>
                    <a:pt x="5285572" y="5938546"/>
                  </a:lnTo>
                  <a:lnTo>
                    <a:pt x="5300530" y="5912699"/>
                  </a:lnTo>
                  <a:lnTo>
                    <a:pt x="5308120" y="5892302"/>
                  </a:lnTo>
                  <a:lnTo>
                    <a:pt x="5297917" y="5856539"/>
                  </a:lnTo>
                  <a:lnTo>
                    <a:pt x="5279379" y="5841891"/>
                  </a:lnTo>
                  <a:lnTo>
                    <a:pt x="5259726" y="5822924"/>
                  </a:lnTo>
                  <a:lnTo>
                    <a:pt x="5240073" y="5803957"/>
                  </a:lnTo>
                  <a:lnTo>
                    <a:pt x="5219088" y="5780921"/>
                  </a:lnTo>
                  <a:lnTo>
                    <a:pt x="5209400" y="5739953"/>
                  </a:lnTo>
                  <a:lnTo>
                    <a:pt x="5213225" y="5706391"/>
                  </a:lnTo>
                  <a:lnTo>
                    <a:pt x="5222412" y="5675534"/>
                  </a:lnTo>
                  <a:lnTo>
                    <a:pt x="5229799" y="5644736"/>
                  </a:lnTo>
                  <a:lnTo>
                    <a:pt x="5237191" y="5613944"/>
                  </a:lnTo>
                  <a:lnTo>
                    <a:pt x="5243305" y="5582658"/>
                  </a:lnTo>
                  <a:lnTo>
                    <a:pt x="5242045" y="5548167"/>
                  </a:lnTo>
                  <a:lnTo>
                    <a:pt x="5238471" y="5521491"/>
                  </a:lnTo>
                  <a:lnTo>
                    <a:pt x="5237442" y="5495948"/>
                  </a:lnTo>
                  <a:lnTo>
                    <a:pt x="5250210" y="5470637"/>
                  </a:lnTo>
                  <a:lnTo>
                    <a:pt x="5278370" y="5436640"/>
                  </a:lnTo>
                  <a:lnTo>
                    <a:pt x="5309972" y="5422429"/>
                  </a:lnTo>
                  <a:lnTo>
                    <a:pt x="5337262" y="5412147"/>
                  </a:lnTo>
                  <a:lnTo>
                    <a:pt x="5364552" y="5401866"/>
                  </a:lnTo>
                  <a:lnTo>
                    <a:pt x="5387450" y="5396412"/>
                  </a:lnTo>
                  <a:lnTo>
                    <a:pt x="5406825" y="5362488"/>
                  </a:lnTo>
                  <a:lnTo>
                    <a:pt x="5401252" y="5340644"/>
                  </a:lnTo>
                  <a:lnTo>
                    <a:pt x="5395753" y="5316930"/>
                  </a:lnTo>
                  <a:lnTo>
                    <a:pt x="5390253" y="5293215"/>
                  </a:lnTo>
                  <a:lnTo>
                    <a:pt x="5385221" y="5267388"/>
                  </a:lnTo>
                  <a:lnTo>
                    <a:pt x="5391678" y="5243483"/>
                  </a:lnTo>
                  <a:lnTo>
                    <a:pt x="5417502" y="5223019"/>
                  </a:lnTo>
                  <a:lnTo>
                    <a:pt x="5431029" y="5204414"/>
                  </a:lnTo>
                  <a:lnTo>
                    <a:pt x="5442095" y="5168288"/>
                  </a:lnTo>
                  <a:lnTo>
                    <a:pt x="5431122" y="5133308"/>
                  </a:lnTo>
                  <a:lnTo>
                    <a:pt x="5408678" y="5096990"/>
                  </a:lnTo>
                  <a:lnTo>
                    <a:pt x="5393036" y="5077535"/>
                  </a:lnTo>
                  <a:lnTo>
                    <a:pt x="5377393" y="5058087"/>
                  </a:lnTo>
                  <a:lnTo>
                    <a:pt x="5359236" y="5036844"/>
                  </a:lnTo>
                  <a:lnTo>
                    <a:pt x="5342710" y="5013604"/>
                  </a:lnTo>
                  <a:lnTo>
                    <a:pt x="5332329" y="4990120"/>
                  </a:lnTo>
                  <a:lnTo>
                    <a:pt x="5334044" y="4963641"/>
                  </a:lnTo>
                  <a:lnTo>
                    <a:pt x="5344068" y="4936074"/>
                  </a:lnTo>
                  <a:lnTo>
                    <a:pt x="5354145" y="4908369"/>
                  </a:lnTo>
                  <a:lnTo>
                    <a:pt x="5368192" y="4881455"/>
                  </a:lnTo>
                  <a:lnTo>
                    <a:pt x="5367191" y="4859903"/>
                  </a:lnTo>
                  <a:lnTo>
                    <a:pt x="5365884" y="4831724"/>
                  </a:lnTo>
                  <a:lnTo>
                    <a:pt x="5355701" y="4804704"/>
                  </a:lnTo>
                  <a:lnTo>
                    <a:pt x="5345428" y="4778291"/>
                  </a:lnTo>
                  <a:lnTo>
                    <a:pt x="5335158" y="4751879"/>
                  </a:lnTo>
                  <a:lnTo>
                    <a:pt x="5324317" y="4724820"/>
                  </a:lnTo>
                  <a:lnTo>
                    <a:pt x="5320947" y="4698037"/>
                  </a:lnTo>
                  <a:lnTo>
                    <a:pt x="5323169" y="4663487"/>
                  </a:lnTo>
                  <a:lnTo>
                    <a:pt x="5332323" y="4626496"/>
                  </a:lnTo>
                  <a:lnTo>
                    <a:pt x="5334546" y="4590586"/>
                  </a:lnTo>
                  <a:lnTo>
                    <a:pt x="5322127" y="4560574"/>
                  </a:lnTo>
                  <a:lnTo>
                    <a:pt x="5295287" y="4536264"/>
                  </a:lnTo>
                  <a:lnTo>
                    <a:pt x="5261098" y="4514416"/>
                  </a:lnTo>
                  <a:lnTo>
                    <a:pt x="5226850" y="4493496"/>
                  </a:lnTo>
                  <a:lnTo>
                    <a:pt x="5200134" y="4470039"/>
                  </a:lnTo>
                  <a:lnTo>
                    <a:pt x="5189009" y="4442321"/>
                  </a:lnTo>
                  <a:lnTo>
                    <a:pt x="5185481" y="4418540"/>
                  </a:lnTo>
                  <a:lnTo>
                    <a:pt x="5181154" y="4393722"/>
                  </a:lnTo>
                  <a:lnTo>
                    <a:pt x="5176762" y="4368873"/>
                  </a:lnTo>
                  <a:lnTo>
                    <a:pt x="5172370" y="4344023"/>
                  </a:lnTo>
                  <a:lnTo>
                    <a:pt x="5167846" y="4318811"/>
                  </a:lnTo>
                  <a:lnTo>
                    <a:pt x="5161805" y="4294060"/>
                  </a:lnTo>
                  <a:lnTo>
                    <a:pt x="5155757" y="4269316"/>
                  </a:lnTo>
                  <a:lnTo>
                    <a:pt x="5148523" y="4244084"/>
                  </a:lnTo>
                  <a:lnTo>
                    <a:pt x="5140042" y="4220614"/>
                  </a:lnTo>
                  <a:lnTo>
                    <a:pt x="5131554" y="4197142"/>
                  </a:lnTo>
                  <a:lnTo>
                    <a:pt x="5121827" y="4174990"/>
                  </a:lnTo>
                  <a:lnTo>
                    <a:pt x="5110115" y="4153959"/>
                  </a:lnTo>
                  <a:lnTo>
                    <a:pt x="5090363" y="4118485"/>
                  </a:lnTo>
                  <a:lnTo>
                    <a:pt x="5074264" y="4091842"/>
                  </a:lnTo>
                  <a:lnTo>
                    <a:pt x="5062505" y="4069629"/>
                  </a:lnTo>
                  <a:lnTo>
                    <a:pt x="5050754" y="4047418"/>
                  </a:lnTo>
                  <a:lnTo>
                    <a:pt x="5039384" y="4012504"/>
                  </a:lnTo>
                  <a:lnTo>
                    <a:pt x="5036693" y="3975453"/>
                  </a:lnTo>
                  <a:lnTo>
                    <a:pt x="5042100" y="3952655"/>
                  </a:lnTo>
                  <a:lnTo>
                    <a:pt x="5047516" y="3929850"/>
                  </a:lnTo>
                  <a:lnTo>
                    <a:pt x="5057447" y="3902250"/>
                  </a:lnTo>
                  <a:lnTo>
                    <a:pt x="5072029" y="3865597"/>
                  </a:lnTo>
                  <a:lnTo>
                    <a:pt x="5082910" y="3838398"/>
                  </a:lnTo>
                  <a:lnTo>
                    <a:pt x="5091483" y="3818449"/>
                  </a:lnTo>
                  <a:lnTo>
                    <a:pt x="5101534" y="3798494"/>
                  </a:lnTo>
                  <a:lnTo>
                    <a:pt x="5114191" y="3781267"/>
                  </a:lnTo>
                  <a:lnTo>
                    <a:pt x="5127070" y="3764627"/>
                  </a:lnTo>
                  <a:lnTo>
                    <a:pt x="5149472" y="3756893"/>
                  </a:lnTo>
                  <a:lnTo>
                    <a:pt x="5177698" y="3742252"/>
                  </a:lnTo>
                  <a:lnTo>
                    <a:pt x="5207152" y="3729926"/>
                  </a:lnTo>
                  <a:lnTo>
                    <a:pt x="5231169" y="3714626"/>
                  </a:lnTo>
                  <a:lnTo>
                    <a:pt x="5255328" y="3687869"/>
                  </a:lnTo>
                  <a:lnTo>
                    <a:pt x="5262456" y="3664293"/>
                  </a:lnTo>
                  <a:lnTo>
                    <a:pt x="5269580" y="3640717"/>
                  </a:lnTo>
                  <a:lnTo>
                    <a:pt x="5274150" y="3611040"/>
                  </a:lnTo>
                  <a:lnTo>
                    <a:pt x="5277413" y="3581322"/>
                  </a:lnTo>
                  <a:lnTo>
                    <a:pt x="5280678" y="3551606"/>
                  </a:lnTo>
                  <a:lnTo>
                    <a:pt x="5283039" y="3521686"/>
                  </a:lnTo>
                  <a:lnTo>
                    <a:pt x="5285579" y="3494270"/>
                  </a:lnTo>
                  <a:lnTo>
                    <a:pt x="5288110" y="3466855"/>
                  </a:lnTo>
                  <a:lnTo>
                    <a:pt x="5290161" y="3441577"/>
                  </a:lnTo>
                  <a:lnTo>
                    <a:pt x="5302508" y="3399896"/>
                  </a:lnTo>
                  <a:lnTo>
                    <a:pt x="5325023" y="3370490"/>
                  </a:lnTo>
                  <a:lnTo>
                    <a:pt x="5350551" y="3347823"/>
                  </a:lnTo>
                  <a:lnTo>
                    <a:pt x="5375665" y="3327874"/>
                  </a:lnTo>
                  <a:lnTo>
                    <a:pt x="5397111" y="3302484"/>
                  </a:lnTo>
                  <a:lnTo>
                    <a:pt x="5413282" y="3267075"/>
                  </a:lnTo>
                  <a:lnTo>
                    <a:pt x="5416157" y="3238553"/>
                  </a:lnTo>
                  <a:lnTo>
                    <a:pt x="5417107" y="3212813"/>
                  </a:lnTo>
                  <a:lnTo>
                    <a:pt x="5409332" y="3185667"/>
                  </a:lnTo>
                  <a:lnTo>
                    <a:pt x="5391374" y="3165929"/>
                  </a:lnTo>
                  <a:lnTo>
                    <a:pt x="5365963" y="3146805"/>
                  </a:lnTo>
                  <a:lnTo>
                    <a:pt x="5337994" y="3124943"/>
                  </a:lnTo>
                  <a:lnTo>
                    <a:pt x="5319852" y="3109900"/>
                  </a:lnTo>
                  <a:lnTo>
                    <a:pt x="5301900" y="3094368"/>
                  </a:lnTo>
                  <a:lnTo>
                    <a:pt x="5283955" y="3078845"/>
                  </a:lnTo>
                  <a:lnTo>
                    <a:pt x="5266663" y="3063194"/>
                  </a:lnTo>
                  <a:lnTo>
                    <a:pt x="5254292" y="3045408"/>
                  </a:lnTo>
                  <a:lnTo>
                    <a:pt x="5241927" y="3027615"/>
                  </a:lnTo>
                  <a:lnTo>
                    <a:pt x="5234106" y="3008027"/>
                  </a:lnTo>
                  <a:lnTo>
                    <a:pt x="5232529" y="2986917"/>
                  </a:lnTo>
                  <a:lnTo>
                    <a:pt x="5230952" y="2965808"/>
                  </a:lnTo>
                  <a:lnTo>
                    <a:pt x="5235786" y="2943036"/>
                  </a:lnTo>
                  <a:lnTo>
                    <a:pt x="5250216" y="2917546"/>
                  </a:lnTo>
                  <a:lnTo>
                    <a:pt x="5269559" y="2879802"/>
                  </a:lnTo>
                  <a:lnTo>
                    <a:pt x="5295814" y="2858700"/>
                  </a:lnTo>
                  <a:lnTo>
                    <a:pt x="5315505" y="2845457"/>
                  </a:lnTo>
                  <a:lnTo>
                    <a:pt x="5332323" y="2830413"/>
                  </a:lnTo>
                  <a:lnTo>
                    <a:pt x="5341344" y="2810089"/>
                  </a:lnTo>
                  <a:lnTo>
                    <a:pt x="5348784" y="2763000"/>
                  </a:lnTo>
                  <a:lnTo>
                    <a:pt x="5349510" y="2728477"/>
                  </a:lnTo>
                  <a:lnTo>
                    <a:pt x="5350241" y="2693960"/>
                  </a:lnTo>
                  <a:lnTo>
                    <a:pt x="5349641" y="2658907"/>
                  </a:lnTo>
                  <a:lnTo>
                    <a:pt x="5349311" y="2625201"/>
                  </a:lnTo>
                  <a:lnTo>
                    <a:pt x="5346034" y="2594731"/>
                  </a:lnTo>
                  <a:lnTo>
                    <a:pt x="5338628" y="2565253"/>
                  </a:lnTo>
                  <a:lnTo>
                    <a:pt x="5331222" y="2535780"/>
                  </a:lnTo>
                  <a:lnTo>
                    <a:pt x="5320096" y="2508160"/>
                  </a:lnTo>
                  <a:lnTo>
                    <a:pt x="5301900" y="2494522"/>
                  </a:lnTo>
                  <a:lnTo>
                    <a:pt x="5272896" y="2472463"/>
                  </a:lnTo>
                  <a:lnTo>
                    <a:pt x="5243852" y="2451292"/>
                  </a:lnTo>
                  <a:lnTo>
                    <a:pt x="5216206" y="2429233"/>
                  </a:lnTo>
                  <a:lnTo>
                    <a:pt x="5188746" y="2406224"/>
                  </a:lnTo>
                  <a:lnTo>
                    <a:pt x="5175285" y="2383451"/>
                  </a:lnTo>
                  <a:lnTo>
                    <a:pt x="5171322" y="2359861"/>
                  </a:lnTo>
                  <a:lnTo>
                    <a:pt x="5167358" y="2336277"/>
                  </a:lnTo>
                  <a:lnTo>
                    <a:pt x="5172252" y="2312332"/>
                  </a:lnTo>
                  <a:lnTo>
                    <a:pt x="5179486" y="2287772"/>
                  </a:lnTo>
                  <a:lnTo>
                    <a:pt x="5186713" y="2263212"/>
                  </a:lnTo>
                  <a:lnTo>
                    <a:pt x="5196488" y="2238891"/>
                  </a:lnTo>
                  <a:lnTo>
                    <a:pt x="5202608" y="2212966"/>
                  </a:lnTo>
                  <a:lnTo>
                    <a:pt x="5208727" y="2187035"/>
                  </a:lnTo>
                  <a:lnTo>
                    <a:pt x="5211261" y="2159040"/>
                  </a:lnTo>
                  <a:lnTo>
                    <a:pt x="5203967" y="2131347"/>
                  </a:lnTo>
                  <a:lnTo>
                    <a:pt x="5196699" y="2103761"/>
                  </a:lnTo>
                  <a:lnTo>
                    <a:pt x="5174038" y="2072864"/>
                  </a:lnTo>
                  <a:lnTo>
                    <a:pt x="5148252" y="2050303"/>
                  </a:lnTo>
                  <a:lnTo>
                    <a:pt x="5120936" y="2035576"/>
                  </a:lnTo>
                  <a:lnTo>
                    <a:pt x="5095150" y="2019815"/>
                  </a:lnTo>
                  <a:lnTo>
                    <a:pt x="5072919" y="1998611"/>
                  </a:lnTo>
                  <a:lnTo>
                    <a:pt x="5065223" y="1979012"/>
                  </a:lnTo>
                  <a:lnTo>
                    <a:pt x="5058529" y="1950752"/>
                  </a:lnTo>
                  <a:lnTo>
                    <a:pt x="5063766" y="1925653"/>
                  </a:lnTo>
                  <a:lnTo>
                    <a:pt x="5076111" y="1902840"/>
                  </a:lnTo>
                  <a:lnTo>
                    <a:pt x="5090257" y="1880161"/>
                  </a:lnTo>
                  <a:lnTo>
                    <a:pt x="5102774" y="1857507"/>
                  </a:lnTo>
                  <a:lnTo>
                    <a:pt x="5110115" y="1833469"/>
                  </a:lnTo>
                  <a:lnTo>
                    <a:pt x="5115324" y="1798272"/>
                  </a:lnTo>
                  <a:lnTo>
                    <a:pt x="5098204" y="1754977"/>
                  </a:lnTo>
                  <a:lnTo>
                    <a:pt x="5080193" y="1715129"/>
                  </a:lnTo>
                  <a:lnTo>
                    <a:pt x="5062183" y="1675284"/>
                  </a:lnTo>
                  <a:lnTo>
                    <a:pt x="5042820" y="1639743"/>
                  </a:lnTo>
                  <a:lnTo>
                    <a:pt x="5054380" y="1585527"/>
                  </a:lnTo>
                  <a:lnTo>
                    <a:pt x="5072240" y="1554900"/>
                  </a:lnTo>
                  <a:lnTo>
                    <a:pt x="5101753" y="1532590"/>
                  </a:lnTo>
                  <a:lnTo>
                    <a:pt x="5138684" y="1513821"/>
                  </a:lnTo>
                  <a:lnTo>
                    <a:pt x="5177554" y="1499285"/>
                  </a:lnTo>
                  <a:lnTo>
                    <a:pt x="5214064" y="1487553"/>
                  </a:lnTo>
                  <a:lnTo>
                    <a:pt x="5243417" y="1478459"/>
                  </a:lnTo>
                  <a:lnTo>
                    <a:pt x="5278146" y="1468026"/>
                  </a:lnTo>
                  <a:lnTo>
                    <a:pt x="5301413" y="1467848"/>
                  </a:lnTo>
                  <a:lnTo>
                    <a:pt x="5335047" y="1453701"/>
                  </a:lnTo>
                  <a:lnTo>
                    <a:pt x="5353591" y="1402288"/>
                  </a:lnTo>
                  <a:lnTo>
                    <a:pt x="5362791" y="1368409"/>
                  </a:lnTo>
                  <a:lnTo>
                    <a:pt x="5340211" y="1337968"/>
                  </a:lnTo>
                  <a:lnTo>
                    <a:pt x="5296466" y="1338357"/>
                  </a:lnTo>
                  <a:lnTo>
                    <a:pt x="5271993" y="1336583"/>
                  </a:lnTo>
                  <a:lnTo>
                    <a:pt x="5242026" y="1331426"/>
                  </a:lnTo>
                  <a:lnTo>
                    <a:pt x="5203973" y="1304354"/>
                  </a:lnTo>
                  <a:lnTo>
                    <a:pt x="5196871" y="1276213"/>
                  </a:lnTo>
                  <a:lnTo>
                    <a:pt x="5229323" y="1229976"/>
                  </a:lnTo>
                  <a:lnTo>
                    <a:pt x="5252024" y="1228254"/>
                  </a:lnTo>
                  <a:lnTo>
                    <a:pt x="5271979" y="1221377"/>
                  </a:lnTo>
                  <a:lnTo>
                    <a:pt x="5291698" y="1213106"/>
                  </a:lnTo>
                  <a:lnTo>
                    <a:pt x="5309393" y="1191568"/>
                  </a:lnTo>
                  <a:lnTo>
                    <a:pt x="5326387" y="1146570"/>
                  </a:lnTo>
                  <a:lnTo>
                    <a:pt x="5344860" y="1108755"/>
                  </a:lnTo>
                  <a:lnTo>
                    <a:pt x="5342795" y="1077285"/>
                  </a:lnTo>
                  <a:lnTo>
                    <a:pt x="5319232" y="1061120"/>
                  </a:lnTo>
                  <a:lnTo>
                    <a:pt x="5293742" y="1041830"/>
                  </a:lnTo>
                  <a:lnTo>
                    <a:pt x="5268254" y="1022547"/>
                  </a:lnTo>
                  <a:lnTo>
                    <a:pt x="5241248" y="999689"/>
                  </a:lnTo>
                  <a:lnTo>
                    <a:pt x="5232535" y="975182"/>
                  </a:lnTo>
                  <a:lnTo>
                    <a:pt x="5245263" y="930514"/>
                  </a:lnTo>
                  <a:lnTo>
                    <a:pt x="5290802" y="929901"/>
                  </a:lnTo>
                  <a:lnTo>
                    <a:pt x="5320392" y="931392"/>
                  </a:lnTo>
                  <a:lnTo>
                    <a:pt x="5349510" y="930297"/>
                  </a:lnTo>
                  <a:lnTo>
                    <a:pt x="5378632" y="929202"/>
                  </a:lnTo>
                  <a:lnTo>
                    <a:pt x="5407723" y="925126"/>
                  </a:lnTo>
                  <a:lnTo>
                    <a:pt x="5435204" y="916692"/>
                  </a:lnTo>
                  <a:lnTo>
                    <a:pt x="5458306" y="909609"/>
                  </a:lnTo>
                  <a:lnTo>
                    <a:pt x="5481453" y="884047"/>
                  </a:lnTo>
                  <a:lnTo>
                    <a:pt x="5491076" y="851389"/>
                  </a:lnTo>
                  <a:lnTo>
                    <a:pt x="5485430" y="816053"/>
                  </a:lnTo>
                  <a:lnTo>
                    <a:pt x="5467848" y="782030"/>
                  </a:lnTo>
                  <a:lnTo>
                    <a:pt x="5444001" y="751786"/>
                  </a:lnTo>
                  <a:lnTo>
                    <a:pt x="5408883" y="725743"/>
                  </a:lnTo>
                  <a:lnTo>
                    <a:pt x="5372921" y="712184"/>
                  </a:lnTo>
                  <a:lnTo>
                    <a:pt x="5335910" y="701783"/>
                  </a:lnTo>
                  <a:lnTo>
                    <a:pt x="5298894" y="691383"/>
                  </a:lnTo>
                  <a:lnTo>
                    <a:pt x="5261394" y="682935"/>
                  </a:lnTo>
                  <a:lnTo>
                    <a:pt x="5236617" y="678662"/>
                  </a:lnTo>
                  <a:lnTo>
                    <a:pt x="5251858" y="649070"/>
                  </a:lnTo>
                  <a:lnTo>
                    <a:pt x="5308219" y="623845"/>
                  </a:lnTo>
                  <a:lnTo>
                    <a:pt x="5333193" y="620171"/>
                  </a:lnTo>
                  <a:lnTo>
                    <a:pt x="5347274" y="596773"/>
                  </a:lnTo>
                  <a:lnTo>
                    <a:pt x="5346911" y="557124"/>
                  </a:lnTo>
                  <a:lnTo>
                    <a:pt x="5344074" y="518155"/>
                  </a:lnTo>
                  <a:lnTo>
                    <a:pt x="5341239" y="479186"/>
                  </a:lnTo>
                  <a:lnTo>
                    <a:pt x="5335679" y="440975"/>
                  </a:lnTo>
                  <a:lnTo>
                    <a:pt x="5323671" y="412063"/>
                  </a:lnTo>
                  <a:lnTo>
                    <a:pt x="5229818" y="397099"/>
                  </a:lnTo>
                  <a:lnTo>
                    <a:pt x="5220659" y="366769"/>
                  </a:lnTo>
                  <a:lnTo>
                    <a:pt x="5223368" y="326237"/>
                  </a:lnTo>
                  <a:lnTo>
                    <a:pt x="5233893" y="286924"/>
                  </a:lnTo>
                  <a:lnTo>
                    <a:pt x="5244426" y="247600"/>
                  </a:lnTo>
                  <a:lnTo>
                    <a:pt x="5261876" y="210391"/>
                  </a:lnTo>
                  <a:lnTo>
                    <a:pt x="5281503" y="186267"/>
                  </a:lnTo>
                  <a:lnTo>
                    <a:pt x="5315051" y="145028"/>
                  </a:lnTo>
                  <a:lnTo>
                    <a:pt x="5337341" y="133883"/>
                  </a:lnTo>
                  <a:lnTo>
                    <a:pt x="5348085" y="105347"/>
                  </a:lnTo>
                  <a:lnTo>
                    <a:pt x="5337078" y="87475"/>
                  </a:lnTo>
                  <a:lnTo>
                    <a:pt x="5307348" y="33924"/>
                  </a:lnTo>
                  <a:lnTo>
                    <a:pt x="5281503" y="23043"/>
                  </a:lnTo>
                  <a:lnTo>
                    <a:pt x="5262839" y="48657"/>
                  </a:lnTo>
                  <a:lnTo>
                    <a:pt x="5248923" y="65508"/>
                  </a:lnTo>
                  <a:lnTo>
                    <a:pt x="5232535" y="78816"/>
                  </a:lnTo>
                  <a:lnTo>
                    <a:pt x="5216141" y="92118"/>
                  </a:lnTo>
                  <a:lnTo>
                    <a:pt x="5196231" y="102960"/>
                  </a:lnTo>
                  <a:lnTo>
                    <a:pt x="5167246" y="114177"/>
                  </a:lnTo>
                  <a:lnTo>
                    <a:pt x="5086992" y="145464"/>
                  </a:lnTo>
                  <a:lnTo>
                    <a:pt x="5061062" y="151769"/>
                  </a:lnTo>
                  <a:lnTo>
                    <a:pt x="5005453" y="126972"/>
                  </a:lnTo>
                  <a:lnTo>
                    <a:pt x="4949615" y="99214"/>
                  </a:lnTo>
                  <a:lnTo>
                    <a:pt x="4893768" y="71462"/>
                  </a:lnTo>
                  <a:lnTo>
                    <a:pt x="4838180" y="40367"/>
                  </a:lnTo>
                  <a:lnTo>
                    <a:pt x="4814953" y="31207"/>
                  </a:lnTo>
                  <a:lnTo>
                    <a:pt x="4769686" y="18341"/>
                  </a:lnTo>
                  <a:lnTo>
                    <a:pt x="4725289" y="10116"/>
                  </a:lnTo>
                  <a:lnTo>
                    <a:pt x="4699726" y="20813"/>
                  </a:lnTo>
                  <a:lnTo>
                    <a:pt x="4674850" y="35289"/>
                  </a:lnTo>
                  <a:lnTo>
                    <a:pt x="4649982" y="49765"/>
                  </a:lnTo>
                  <a:lnTo>
                    <a:pt x="4625124" y="68416"/>
                  </a:lnTo>
                  <a:lnTo>
                    <a:pt x="4598679" y="81533"/>
                  </a:lnTo>
                  <a:lnTo>
                    <a:pt x="4572241" y="94657"/>
                  </a:lnTo>
                  <a:lnTo>
                    <a:pt x="4544799" y="101239"/>
                  </a:lnTo>
                  <a:lnTo>
                    <a:pt x="4514350" y="92414"/>
                  </a:lnTo>
                  <a:lnTo>
                    <a:pt x="4483428" y="80333"/>
                  </a:lnTo>
                  <a:lnTo>
                    <a:pt x="4466742" y="66569"/>
                  </a:lnTo>
                  <a:lnTo>
                    <a:pt x="4450057" y="52812"/>
                  </a:lnTo>
                  <a:lnTo>
                    <a:pt x="4432145" y="33766"/>
                  </a:lnTo>
                  <a:lnTo>
                    <a:pt x="4413692" y="8085"/>
                  </a:lnTo>
                  <a:close/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91" name="Lviv¬0" descr="Lviv¬0">
              <a:extLst>
                <a:ext uri="{FF2B5EF4-FFF2-40B4-BE49-F238E27FC236}">
                  <a16:creationId xmlns:a16="http://schemas.microsoft.com/office/drawing/2014/main" id="{EEF84179-ECE3-48B6-9972-949E5B7513D0}"/>
                </a:ext>
              </a:extLst>
            </p:cNvPr>
            <p:cNvSpPr/>
            <p:nvPr/>
          </p:nvSpPr>
          <p:spPr>
            <a:xfrm>
              <a:off x="1051086" y="1970904"/>
              <a:ext cx="954466" cy="869648"/>
            </a:xfrm>
            <a:custGeom>
              <a:avLst/>
              <a:gdLst/>
              <a:ahLst/>
              <a:cxnLst/>
              <a:rect l="0" t="0" r="0" b="0"/>
              <a:pathLst>
                <a:path w="9739805" h="10073762">
                  <a:moveTo>
                    <a:pt x="9497890" y="3285890"/>
                  </a:moveTo>
                  <a:lnTo>
                    <a:pt x="9440454" y="3249539"/>
                  </a:lnTo>
                  <a:lnTo>
                    <a:pt x="9384517" y="3226219"/>
                  </a:lnTo>
                  <a:lnTo>
                    <a:pt x="9336486" y="3199319"/>
                  </a:lnTo>
                  <a:lnTo>
                    <a:pt x="9296554" y="3176916"/>
                  </a:lnTo>
                  <a:lnTo>
                    <a:pt x="9246776" y="3154790"/>
                  </a:lnTo>
                  <a:lnTo>
                    <a:pt x="9214064" y="3121783"/>
                  </a:lnTo>
                  <a:lnTo>
                    <a:pt x="9155812" y="3062996"/>
                  </a:lnTo>
                  <a:lnTo>
                    <a:pt x="9086209" y="3002085"/>
                  </a:lnTo>
                  <a:lnTo>
                    <a:pt x="9039708" y="2959370"/>
                  </a:lnTo>
                  <a:lnTo>
                    <a:pt x="9002559" y="2926640"/>
                  </a:lnTo>
                  <a:lnTo>
                    <a:pt x="8965153" y="2900075"/>
                  </a:lnTo>
                  <a:lnTo>
                    <a:pt x="8944815" y="2885639"/>
                  </a:lnTo>
                  <a:lnTo>
                    <a:pt x="8903939" y="2861989"/>
                  </a:lnTo>
                  <a:lnTo>
                    <a:pt x="8877751" y="2760830"/>
                  </a:lnTo>
                  <a:lnTo>
                    <a:pt x="8862932" y="2693542"/>
                  </a:lnTo>
                  <a:lnTo>
                    <a:pt x="8861778" y="2626670"/>
                  </a:lnTo>
                  <a:lnTo>
                    <a:pt x="8860618" y="2559805"/>
                  </a:lnTo>
                  <a:lnTo>
                    <a:pt x="8871954" y="2492814"/>
                  </a:lnTo>
                  <a:lnTo>
                    <a:pt x="8899863" y="2392716"/>
                  </a:lnTo>
                  <a:lnTo>
                    <a:pt x="8880006" y="2354037"/>
                  </a:lnTo>
                  <a:lnTo>
                    <a:pt x="8852255" y="2328785"/>
                  </a:lnTo>
                  <a:lnTo>
                    <a:pt x="8824504" y="2303540"/>
                  </a:lnTo>
                  <a:lnTo>
                    <a:pt x="8794042" y="2278024"/>
                  </a:lnTo>
                  <a:lnTo>
                    <a:pt x="8783298" y="2244040"/>
                  </a:lnTo>
                  <a:lnTo>
                    <a:pt x="8803288" y="2209094"/>
                  </a:lnTo>
                  <a:lnTo>
                    <a:pt x="8815983" y="2192047"/>
                  </a:lnTo>
                  <a:lnTo>
                    <a:pt x="8833644" y="2175203"/>
                  </a:lnTo>
                  <a:lnTo>
                    <a:pt x="8852255" y="2158762"/>
                  </a:lnTo>
                  <a:lnTo>
                    <a:pt x="8870866" y="2142321"/>
                  </a:lnTo>
                  <a:lnTo>
                    <a:pt x="8889859" y="2126078"/>
                  </a:lnTo>
                  <a:lnTo>
                    <a:pt x="8906663" y="2108436"/>
                  </a:lnTo>
                  <a:lnTo>
                    <a:pt x="8923467" y="2090795"/>
                  </a:lnTo>
                  <a:lnTo>
                    <a:pt x="8937461" y="2071953"/>
                  </a:lnTo>
                  <a:lnTo>
                    <a:pt x="8944748" y="2051311"/>
                  </a:lnTo>
                  <a:lnTo>
                    <a:pt x="8952425" y="2029535"/>
                  </a:lnTo>
                  <a:lnTo>
                    <a:pt x="8956923" y="2006486"/>
                  </a:lnTo>
                  <a:lnTo>
                    <a:pt x="8956989" y="1983298"/>
                  </a:lnTo>
                  <a:lnTo>
                    <a:pt x="8957054" y="1960110"/>
                  </a:lnTo>
                  <a:lnTo>
                    <a:pt x="8953797" y="1936441"/>
                  </a:lnTo>
                  <a:lnTo>
                    <a:pt x="8946107" y="1915291"/>
                  </a:lnTo>
                  <a:lnTo>
                    <a:pt x="8938418" y="1894135"/>
                  </a:lnTo>
                  <a:lnTo>
                    <a:pt x="8926342" y="1875201"/>
                  </a:lnTo>
                  <a:lnTo>
                    <a:pt x="8910746" y="1859518"/>
                  </a:lnTo>
                  <a:lnTo>
                    <a:pt x="8895148" y="1843842"/>
                  </a:lnTo>
                  <a:lnTo>
                    <a:pt x="8875904" y="1832275"/>
                  </a:lnTo>
                  <a:lnTo>
                    <a:pt x="8852255" y="1825515"/>
                  </a:lnTo>
                  <a:lnTo>
                    <a:pt x="8831151" y="1819480"/>
                  </a:lnTo>
                  <a:lnTo>
                    <a:pt x="8809236" y="1809700"/>
                  </a:lnTo>
                  <a:lnTo>
                    <a:pt x="8786966" y="1814633"/>
                  </a:lnTo>
                  <a:lnTo>
                    <a:pt x="8757322" y="1821195"/>
                  </a:lnTo>
                  <a:lnTo>
                    <a:pt x="8735862" y="1832281"/>
                  </a:lnTo>
                  <a:lnTo>
                    <a:pt x="8717594" y="1843196"/>
                  </a:lnTo>
                  <a:lnTo>
                    <a:pt x="8699332" y="1854117"/>
                  </a:lnTo>
                  <a:lnTo>
                    <a:pt x="8668626" y="1875840"/>
                  </a:lnTo>
                  <a:lnTo>
                    <a:pt x="8633212" y="1892717"/>
                  </a:lnTo>
                  <a:lnTo>
                    <a:pt x="8608778" y="1896245"/>
                  </a:lnTo>
                  <a:lnTo>
                    <a:pt x="8584344" y="1899774"/>
                  </a:lnTo>
                  <a:lnTo>
                    <a:pt x="8554192" y="1899028"/>
                  </a:lnTo>
                  <a:lnTo>
                    <a:pt x="8512202" y="1890805"/>
                  </a:lnTo>
                  <a:lnTo>
                    <a:pt x="8467469" y="1885641"/>
                  </a:lnTo>
                  <a:lnTo>
                    <a:pt x="8442811" y="1861154"/>
                  </a:lnTo>
                  <a:lnTo>
                    <a:pt x="8439309" y="1829617"/>
                  </a:lnTo>
                  <a:lnTo>
                    <a:pt x="8439705" y="1792804"/>
                  </a:lnTo>
                  <a:lnTo>
                    <a:pt x="8442738" y="1769076"/>
                  </a:lnTo>
                  <a:lnTo>
                    <a:pt x="8445554" y="1743903"/>
                  </a:lnTo>
                  <a:lnTo>
                    <a:pt x="8448377" y="1718730"/>
                  </a:lnTo>
                  <a:lnTo>
                    <a:pt x="8451436" y="1692825"/>
                  </a:lnTo>
                  <a:lnTo>
                    <a:pt x="8450995" y="1667732"/>
                  </a:lnTo>
                  <a:lnTo>
                    <a:pt x="8450533" y="1642638"/>
                  </a:lnTo>
                  <a:lnTo>
                    <a:pt x="8447586" y="1618593"/>
                  </a:lnTo>
                  <a:lnTo>
                    <a:pt x="8438754" y="1597002"/>
                  </a:lnTo>
                  <a:lnTo>
                    <a:pt x="8429924" y="1575410"/>
                  </a:lnTo>
                  <a:lnTo>
                    <a:pt x="8414861" y="1555909"/>
                  </a:lnTo>
                  <a:lnTo>
                    <a:pt x="8392504" y="1541235"/>
                  </a:lnTo>
                  <a:lnTo>
                    <a:pt x="8365987" y="1523039"/>
                  </a:lnTo>
                  <a:lnTo>
                    <a:pt x="8206159" y="1550752"/>
                  </a:lnTo>
                  <a:lnTo>
                    <a:pt x="8184778" y="1551286"/>
                  </a:lnTo>
                  <a:lnTo>
                    <a:pt x="8155154" y="1540048"/>
                  </a:lnTo>
                  <a:lnTo>
                    <a:pt x="8128623" y="1519109"/>
                  </a:lnTo>
                  <a:lnTo>
                    <a:pt x="8112663" y="1498381"/>
                  </a:lnTo>
                  <a:lnTo>
                    <a:pt x="8095985" y="1478662"/>
                  </a:lnTo>
                  <a:lnTo>
                    <a:pt x="8079306" y="1458937"/>
                  </a:lnTo>
                  <a:lnTo>
                    <a:pt x="8061546" y="1440207"/>
                  </a:lnTo>
                  <a:lnTo>
                    <a:pt x="8041576" y="1426972"/>
                  </a:lnTo>
                  <a:lnTo>
                    <a:pt x="8021607" y="1413742"/>
                  </a:lnTo>
                  <a:lnTo>
                    <a:pt x="7999772" y="1406521"/>
                  </a:lnTo>
                  <a:lnTo>
                    <a:pt x="7972205" y="1412014"/>
                  </a:lnTo>
                  <a:lnTo>
                    <a:pt x="7964951" y="1435044"/>
                  </a:lnTo>
                  <a:lnTo>
                    <a:pt x="7965867" y="1462432"/>
                  </a:lnTo>
                  <a:lnTo>
                    <a:pt x="7970846" y="1492261"/>
                  </a:lnTo>
                  <a:lnTo>
                    <a:pt x="7975542" y="1522637"/>
                  </a:lnTo>
                  <a:lnTo>
                    <a:pt x="7979367" y="1553198"/>
                  </a:lnTo>
                  <a:lnTo>
                    <a:pt x="7965406" y="1576597"/>
                  </a:lnTo>
                  <a:lnTo>
                    <a:pt x="7927788" y="1586773"/>
                  </a:lnTo>
                  <a:lnTo>
                    <a:pt x="7854677" y="1576472"/>
                  </a:lnTo>
                  <a:lnTo>
                    <a:pt x="7803540" y="1538511"/>
                  </a:lnTo>
                  <a:lnTo>
                    <a:pt x="7778816" y="1517599"/>
                  </a:lnTo>
                  <a:lnTo>
                    <a:pt x="7754652" y="1505378"/>
                  </a:lnTo>
                  <a:lnTo>
                    <a:pt x="7728734" y="1500426"/>
                  </a:lnTo>
                  <a:lnTo>
                    <a:pt x="7702816" y="1495473"/>
                  </a:lnTo>
                  <a:lnTo>
                    <a:pt x="7675968" y="1497834"/>
                  </a:lnTo>
                  <a:lnTo>
                    <a:pt x="7644399" y="1504501"/>
                  </a:lnTo>
                  <a:lnTo>
                    <a:pt x="7622338" y="1509164"/>
                  </a:lnTo>
                  <a:lnTo>
                    <a:pt x="7588929" y="1517619"/>
                  </a:lnTo>
                  <a:lnTo>
                    <a:pt x="7568228" y="1526265"/>
                  </a:lnTo>
                  <a:lnTo>
                    <a:pt x="7515297" y="1561198"/>
                  </a:lnTo>
                  <a:lnTo>
                    <a:pt x="7481175" y="1584755"/>
                  </a:lnTo>
                  <a:lnTo>
                    <a:pt x="7447053" y="1608305"/>
                  </a:lnTo>
                  <a:lnTo>
                    <a:pt x="7414005" y="1628597"/>
                  </a:lnTo>
                  <a:lnTo>
                    <a:pt x="7360758" y="1606511"/>
                  </a:lnTo>
                  <a:lnTo>
                    <a:pt x="7324645" y="1588685"/>
                  </a:lnTo>
                  <a:lnTo>
                    <a:pt x="7288023" y="1575232"/>
                  </a:lnTo>
                  <a:lnTo>
                    <a:pt x="7238271" y="1562378"/>
                  </a:lnTo>
                  <a:lnTo>
                    <a:pt x="7213217" y="1550745"/>
                  </a:lnTo>
                  <a:lnTo>
                    <a:pt x="7189601" y="1538445"/>
                  </a:lnTo>
                  <a:lnTo>
                    <a:pt x="7174261" y="1519525"/>
                  </a:lnTo>
                  <a:lnTo>
                    <a:pt x="7171050" y="1492261"/>
                  </a:lnTo>
                  <a:lnTo>
                    <a:pt x="7175824" y="1455679"/>
                  </a:lnTo>
                  <a:lnTo>
                    <a:pt x="7178865" y="1430974"/>
                  </a:lnTo>
                  <a:lnTo>
                    <a:pt x="7179075" y="1404444"/>
                  </a:lnTo>
                  <a:lnTo>
                    <a:pt x="7167290" y="1361781"/>
                  </a:lnTo>
                  <a:lnTo>
                    <a:pt x="7151528" y="1346105"/>
                  </a:lnTo>
                  <a:lnTo>
                    <a:pt x="7131605" y="1335837"/>
                  </a:lnTo>
                  <a:lnTo>
                    <a:pt x="7111682" y="1325568"/>
                  </a:lnTo>
                  <a:lnTo>
                    <a:pt x="7088165" y="1320325"/>
                  </a:lnTo>
                  <a:lnTo>
                    <a:pt x="7064957" y="1316791"/>
                  </a:lnTo>
                  <a:lnTo>
                    <a:pt x="7041750" y="1313256"/>
                  </a:lnTo>
                  <a:lnTo>
                    <a:pt x="7018720" y="1311442"/>
                  </a:lnTo>
                  <a:lnTo>
                    <a:pt x="6980608" y="1305817"/>
                  </a:lnTo>
                  <a:lnTo>
                    <a:pt x="6957500" y="1293669"/>
                  </a:lnTo>
                  <a:lnTo>
                    <a:pt x="6949342" y="1271906"/>
                  </a:lnTo>
                  <a:lnTo>
                    <a:pt x="6950700" y="1247425"/>
                  </a:lnTo>
                  <a:lnTo>
                    <a:pt x="6952059" y="1218856"/>
                  </a:lnTo>
                  <a:lnTo>
                    <a:pt x="6946532" y="1196783"/>
                  </a:lnTo>
                  <a:lnTo>
                    <a:pt x="6925231" y="1179056"/>
                  </a:lnTo>
                  <a:lnTo>
                    <a:pt x="6889487" y="1178053"/>
                  </a:lnTo>
                  <a:lnTo>
                    <a:pt x="6849693" y="1181266"/>
                  </a:lnTo>
                  <a:lnTo>
                    <a:pt x="6809589" y="1183007"/>
                  </a:lnTo>
                  <a:lnTo>
                    <a:pt x="6773871" y="1179412"/>
                  </a:lnTo>
                  <a:lnTo>
                    <a:pt x="6744946" y="1166598"/>
                  </a:lnTo>
                  <a:lnTo>
                    <a:pt x="6731974" y="1142666"/>
                  </a:lnTo>
                  <a:lnTo>
                    <a:pt x="6723546" y="1118205"/>
                  </a:lnTo>
                  <a:lnTo>
                    <a:pt x="6716291" y="1091931"/>
                  </a:lnTo>
                  <a:lnTo>
                    <a:pt x="6708245" y="1068756"/>
                  </a:lnTo>
                  <a:lnTo>
                    <a:pt x="6684095" y="1056991"/>
                  </a:lnTo>
                  <a:lnTo>
                    <a:pt x="6657788" y="1051761"/>
                  </a:lnTo>
                  <a:lnTo>
                    <a:pt x="6632410" y="1067879"/>
                  </a:lnTo>
                  <a:lnTo>
                    <a:pt x="6617131" y="1102496"/>
                  </a:lnTo>
                  <a:lnTo>
                    <a:pt x="6626753" y="1134903"/>
                  </a:lnTo>
                  <a:lnTo>
                    <a:pt x="6626970" y="1164448"/>
                  </a:lnTo>
                  <a:lnTo>
                    <a:pt x="6624636" y="1193591"/>
                  </a:lnTo>
                  <a:lnTo>
                    <a:pt x="6607541" y="1219641"/>
                  </a:lnTo>
                  <a:lnTo>
                    <a:pt x="6567121" y="1241984"/>
                  </a:lnTo>
                  <a:lnTo>
                    <a:pt x="6510372" y="1249444"/>
                  </a:lnTo>
                  <a:lnTo>
                    <a:pt x="6489677" y="1229850"/>
                  </a:lnTo>
                  <a:lnTo>
                    <a:pt x="6472405" y="1200311"/>
                  </a:lnTo>
                  <a:lnTo>
                    <a:pt x="6471067" y="1173648"/>
                  </a:lnTo>
                  <a:lnTo>
                    <a:pt x="6482640" y="1145514"/>
                  </a:lnTo>
                  <a:lnTo>
                    <a:pt x="6485509" y="1115488"/>
                  </a:lnTo>
                  <a:lnTo>
                    <a:pt x="6485707" y="1085013"/>
                  </a:lnTo>
                  <a:lnTo>
                    <a:pt x="6474456" y="1056193"/>
                  </a:lnTo>
                  <a:lnTo>
                    <a:pt x="6446065" y="1031159"/>
                  </a:lnTo>
                  <a:lnTo>
                    <a:pt x="6424025" y="1017461"/>
                  </a:lnTo>
                  <a:lnTo>
                    <a:pt x="6388043" y="997360"/>
                  </a:lnTo>
                  <a:lnTo>
                    <a:pt x="6354930" y="974027"/>
                  </a:lnTo>
                  <a:lnTo>
                    <a:pt x="6321817" y="950694"/>
                  </a:lnTo>
                  <a:lnTo>
                    <a:pt x="6292635" y="923893"/>
                  </a:lnTo>
                  <a:lnTo>
                    <a:pt x="6285559" y="895139"/>
                  </a:lnTo>
                  <a:lnTo>
                    <a:pt x="6296862" y="872888"/>
                  </a:lnTo>
                  <a:lnTo>
                    <a:pt x="6332019" y="847062"/>
                  </a:lnTo>
                  <a:lnTo>
                    <a:pt x="6377386" y="831089"/>
                  </a:lnTo>
                  <a:lnTo>
                    <a:pt x="6426491" y="829038"/>
                  </a:lnTo>
                  <a:lnTo>
                    <a:pt x="6471904" y="818968"/>
                  </a:lnTo>
                  <a:lnTo>
                    <a:pt x="6494616" y="813929"/>
                  </a:lnTo>
                  <a:lnTo>
                    <a:pt x="6516492" y="806471"/>
                  </a:lnTo>
                  <a:lnTo>
                    <a:pt x="6535835" y="794481"/>
                  </a:lnTo>
                  <a:lnTo>
                    <a:pt x="6555184" y="782492"/>
                  </a:lnTo>
                  <a:lnTo>
                    <a:pt x="6572846" y="765846"/>
                  </a:lnTo>
                  <a:lnTo>
                    <a:pt x="6586160" y="741431"/>
                  </a:lnTo>
                  <a:lnTo>
                    <a:pt x="6600043" y="707612"/>
                  </a:lnTo>
                  <a:lnTo>
                    <a:pt x="6602206" y="674599"/>
                  </a:lnTo>
                  <a:lnTo>
                    <a:pt x="6591601" y="639421"/>
                  </a:lnTo>
                  <a:lnTo>
                    <a:pt x="6575932" y="602120"/>
                  </a:lnTo>
                  <a:lnTo>
                    <a:pt x="6539594" y="568731"/>
                  </a:lnTo>
                  <a:lnTo>
                    <a:pt x="6514072" y="538764"/>
                  </a:lnTo>
                  <a:lnTo>
                    <a:pt x="6486762" y="506712"/>
                  </a:lnTo>
                  <a:lnTo>
                    <a:pt x="6462532" y="484085"/>
                  </a:lnTo>
                  <a:lnTo>
                    <a:pt x="6421578" y="472115"/>
                  </a:lnTo>
                  <a:lnTo>
                    <a:pt x="6401391" y="466213"/>
                  </a:lnTo>
                  <a:lnTo>
                    <a:pt x="6373970" y="468039"/>
                  </a:lnTo>
                  <a:lnTo>
                    <a:pt x="6354423" y="476554"/>
                  </a:lnTo>
                  <a:lnTo>
                    <a:pt x="6331452" y="495897"/>
                  </a:lnTo>
                  <a:lnTo>
                    <a:pt x="6297798" y="512924"/>
                  </a:lnTo>
                  <a:lnTo>
                    <a:pt x="6239427" y="481361"/>
                  </a:lnTo>
                  <a:lnTo>
                    <a:pt x="6201230" y="450359"/>
                  </a:lnTo>
                  <a:lnTo>
                    <a:pt x="6163031" y="419349"/>
                  </a:lnTo>
                  <a:lnTo>
                    <a:pt x="6127465" y="385887"/>
                  </a:lnTo>
                  <a:lnTo>
                    <a:pt x="6118008" y="349365"/>
                  </a:lnTo>
                  <a:lnTo>
                    <a:pt x="6133216" y="319779"/>
                  </a:lnTo>
                  <a:lnTo>
                    <a:pt x="6148760" y="292127"/>
                  </a:lnTo>
                  <a:lnTo>
                    <a:pt x="6146135" y="255935"/>
                  </a:lnTo>
                  <a:lnTo>
                    <a:pt x="6101303" y="219352"/>
                  </a:lnTo>
                  <a:lnTo>
                    <a:pt x="6051604" y="191918"/>
                  </a:lnTo>
                  <a:lnTo>
                    <a:pt x="6026754" y="178201"/>
                  </a:lnTo>
                  <a:lnTo>
                    <a:pt x="6001193" y="166962"/>
                  </a:lnTo>
                  <a:lnTo>
                    <a:pt x="5978156" y="160632"/>
                  </a:lnTo>
                  <a:lnTo>
                    <a:pt x="5955121" y="154307"/>
                  </a:lnTo>
                  <a:lnTo>
                    <a:pt x="5922384" y="160632"/>
                  </a:lnTo>
                  <a:lnTo>
                    <a:pt x="5901353" y="190263"/>
                  </a:lnTo>
                  <a:lnTo>
                    <a:pt x="5883572" y="223501"/>
                  </a:lnTo>
                  <a:lnTo>
                    <a:pt x="5857094" y="244967"/>
                  </a:lnTo>
                  <a:lnTo>
                    <a:pt x="5825511" y="255618"/>
                  </a:lnTo>
                  <a:lnTo>
                    <a:pt x="5798907" y="258796"/>
                  </a:lnTo>
                  <a:lnTo>
                    <a:pt x="5774123" y="259924"/>
                  </a:lnTo>
                  <a:lnTo>
                    <a:pt x="5747810" y="262239"/>
                  </a:lnTo>
                  <a:lnTo>
                    <a:pt x="5716102" y="271208"/>
                  </a:lnTo>
                  <a:lnTo>
                    <a:pt x="5676190" y="291211"/>
                  </a:lnTo>
                  <a:lnTo>
                    <a:pt x="5636257" y="318797"/>
                  </a:lnTo>
                  <a:lnTo>
                    <a:pt x="5625863" y="337454"/>
                  </a:lnTo>
                  <a:lnTo>
                    <a:pt x="5588893" y="328010"/>
                  </a:lnTo>
                  <a:lnTo>
                    <a:pt x="5563291" y="314333"/>
                  </a:lnTo>
                  <a:lnTo>
                    <a:pt x="5537690" y="300654"/>
                  </a:lnTo>
                  <a:lnTo>
                    <a:pt x="5507822" y="285368"/>
                  </a:lnTo>
                  <a:lnTo>
                    <a:pt x="5477603" y="281687"/>
                  </a:lnTo>
                  <a:lnTo>
                    <a:pt x="5446318" y="210153"/>
                  </a:lnTo>
                  <a:lnTo>
                    <a:pt x="5427271" y="189194"/>
                  </a:lnTo>
                  <a:lnTo>
                    <a:pt x="5404671" y="171137"/>
                  </a:lnTo>
                  <a:lnTo>
                    <a:pt x="5376424" y="161001"/>
                  </a:lnTo>
                  <a:lnTo>
                    <a:pt x="5348383" y="151108"/>
                  </a:lnTo>
                  <a:lnTo>
                    <a:pt x="5322953" y="136600"/>
                  </a:lnTo>
                  <a:lnTo>
                    <a:pt x="5308517" y="108485"/>
                  </a:lnTo>
                  <a:lnTo>
                    <a:pt x="5310297" y="59974"/>
                  </a:lnTo>
                  <a:lnTo>
                    <a:pt x="5291884" y="28371"/>
                  </a:lnTo>
                  <a:lnTo>
                    <a:pt x="5273571" y="17812"/>
                  </a:lnTo>
                  <a:lnTo>
                    <a:pt x="5255256" y="7247"/>
                  </a:lnTo>
                  <a:lnTo>
                    <a:pt x="5232431" y="0"/>
                  </a:lnTo>
                  <a:lnTo>
                    <a:pt x="5208281" y="125"/>
                  </a:lnTo>
                  <a:lnTo>
                    <a:pt x="5184130" y="256"/>
                  </a:lnTo>
                  <a:lnTo>
                    <a:pt x="5158159" y="7129"/>
                  </a:lnTo>
                  <a:lnTo>
                    <a:pt x="5136192" y="21888"/>
                  </a:lnTo>
                  <a:lnTo>
                    <a:pt x="5115926" y="35506"/>
                  </a:lnTo>
                  <a:lnTo>
                    <a:pt x="5100441" y="57883"/>
                  </a:lnTo>
                  <a:lnTo>
                    <a:pt x="5088584" y="87177"/>
                  </a:lnTo>
                  <a:lnTo>
                    <a:pt x="5084297" y="147771"/>
                  </a:lnTo>
                  <a:lnTo>
                    <a:pt x="5065370" y="222037"/>
                  </a:lnTo>
                  <a:lnTo>
                    <a:pt x="5066820" y="255842"/>
                  </a:lnTo>
                  <a:lnTo>
                    <a:pt x="5072861" y="284365"/>
                  </a:lnTo>
                  <a:lnTo>
                    <a:pt x="5087225" y="307533"/>
                  </a:lnTo>
                  <a:lnTo>
                    <a:pt x="5093200" y="349034"/>
                  </a:lnTo>
                  <a:lnTo>
                    <a:pt x="5112708" y="422212"/>
                  </a:lnTo>
                  <a:lnTo>
                    <a:pt x="5182845" y="447141"/>
                  </a:lnTo>
                  <a:lnTo>
                    <a:pt x="5178360" y="502037"/>
                  </a:lnTo>
                  <a:lnTo>
                    <a:pt x="5134306" y="557447"/>
                  </a:lnTo>
                  <a:lnTo>
                    <a:pt x="5085992" y="548583"/>
                  </a:lnTo>
                  <a:lnTo>
                    <a:pt x="5050505" y="594530"/>
                  </a:lnTo>
                  <a:lnTo>
                    <a:pt x="5049614" y="623119"/>
                  </a:lnTo>
                  <a:lnTo>
                    <a:pt x="5031946" y="642099"/>
                  </a:lnTo>
                  <a:lnTo>
                    <a:pt x="5008337" y="655743"/>
                  </a:lnTo>
                  <a:lnTo>
                    <a:pt x="4967804" y="679116"/>
                  </a:lnTo>
                  <a:lnTo>
                    <a:pt x="4922002" y="680033"/>
                  </a:lnTo>
                  <a:lnTo>
                    <a:pt x="4879116" y="693830"/>
                  </a:lnTo>
                  <a:lnTo>
                    <a:pt x="4853488" y="717775"/>
                  </a:lnTo>
                  <a:lnTo>
                    <a:pt x="4828790" y="719668"/>
                  </a:lnTo>
                  <a:lnTo>
                    <a:pt x="4810892" y="741668"/>
                  </a:lnTo>
                  <a:lnTo>
                    <a:pt x="4788047" y="801959"/>
                  </a:lnTo>
                  <a:lnTo>
                    <a:pt x="4797504" y="828484"/>
                  </a:lnTo>
                  <a:lnTo>
                    <a:pt x="4815126" y="846660"/>
                  </a:lnTo>
                  <a:lnTo>
                    <a:pt x="4837607" y="872459"/>
                  </a:lnTo>
                  <a:lnTo>
                    <a:pt x="4830703" y="910967"/>
                  </a:lnTo>
                  <a:lnTo>
                    <a:pt x="4823349" y="933218"/>
                  </a:lnTo>
                  <a:lnTo>
                    <a:pt x="4815548" y="956854"/>
                  </a:lnTo>
                  <a:lnTo>
                    <a:pt x="4797570" y="978254"/>
                  </a:lnTo>
                  <a:lnTo>
                    <a:pt x="4787988" y="1001231"/>
                  </a:lnTo>
                  <a:lnTo>
                    <a:pt x="4765565" y="1054940"/>
                  </a:lnTo>
                  <a:lnTo>
                    <a:pt x="4749579" y="1109005"/>
                  </a:lnTo>
                  <a:lnTo>
                    <a:pt x="4732215" y="1164455"/>
                  </a:lnTo>
                  <a:lnTo>
                    <a:pt x="4721887" y="1188236"/>
                  </a:lnTo>
                  <a:lnTo>
                    <a:pt x="4703863" y="1207896"/>
                  </a:lnTo>
                  <a:lnTo>
                    <a:pt x="4684613" y="1224303"/>
                  </a:lnTo>
                  <a:lnTo>
                    <a:pt x="4607782" y="1265792"/>
                  </a:lnTo>
                  <a:lnTo>
                    <a:pt x="4187074" y="1219074"/>
                  </a:lnTo>
                  <a:lnTo>
                    <a:pt x="4062999" y="1231103"/>
                  </a:lnTo>
                  <a:lnTo>
                    <a:pt x="3989485" y="1238245"/>
                  </a:lnTo>
                  <a:lnTo>
                    <a:pt x="3804816" y="1305342"/>
                  </a:lnTo>
                  <a:lnTo>
                    <a:pt x="3735191" y="1338561"/>
                  </a:lnTo>
                  <a:lnTo>
                    <a:pt x="3625333" y="1390990"/>
                  </a:lnTo>
                  <a:lnTo>
                    <a:pt x="3636556" y="1461166"/>
                  </a:lnTo>
                  <a:lnTo>
                    <a:pt x="3616854" y="1569798"/>
                  </a:lnTo>
                  <a:lnTo>
                    <a:pt x="3612435" y="1613383"/>
                  </a:lnTo>
                  <a:lnTo>
                    <a:pt x="3567972" y="1698675"/>
                  </a:lnTo>
                  <a:lnTo>
                    <a:pt x="3480366" y="1676655"/>
                  </a:lnTo>
                  <a:lnTo>
                    <a:pt x="3430507" y="1727580"/>
                  </a:lnTo>
                  <a:lnTo>
                    <a:pt x="3392399" y="1766471"/>
                  </a:lnTo>
                  <a:lnTo>
                    <a:pt x="3380774" y="1827678"/>
                  </a:lnTo>
                  <a:lnTo>
                    <a:pt x="3348895" y="1869035"/>
                  </a:lnTo>
                  <a:lnTo>
                    <a:pt x="3297228" y="1936052"/>
                  </a:lnTo>
                  <a:lnTo>
                    <a:pt x="3226774" y="2008458"/>
                  </a:lnTo>
                  <a:lnTo>
                    <a:pt x="3153026" y="2049946"/>
                  </a:lnTo>
                  <a:lnTo>
                    <a:pt x="2968549" y="2183183"/>
                  </a:lnTo>
                  <a:lnTo>
                    <a:pt x="2925022" y="2224473"/>
                  </a:lnTo>
                  <a:lnTo>
                    <a:pt x="2860859" y="2257843"/>
                  </a:lnTo>
                  <a:lnTo>
                    <a:pt x="2818417" y="2293416"/>
                  </a:lnTo>
                  <a:lnTo>
                    <a:pt x="2764434" y="2338671"/>
                  </a:lnTo>
                  <a:lnTo>
                    <a:pt x="2732065" y="2406466"/>
                  </a:lnTo>
                  <a:lnTo>
                    <a:pt x="2682397" y="2456641"/>
                  </a:lnTo>
                  <a:lnTo>
                    <a:pt x="2642186" y="2497305"/>
                  </a:lnTo>
                  <a:lnTo>
                    <a:pt x="2590924" y="2527377"/>
                  </a:lnTo>
                  <a:lnTo>
                    <a:pt x="2547737" y="2565456"/>
                  </a:lnTo>
                  <a:lnTo>
                    <a:pt x="2470440" y="2633661"/>
                  </a:lnTo>
                  <a:lnTo>
                    <a:pt x="2326408" y="2769747"/>
                  </a:lnTo>
                  <a:lnTo>
                    <a:pt x="2262096" y="2847019"/>
                  </a:lnTo>
                  <a:lnTo>
                    <a:pt x="2231534" y="2888488"/>
                  </a:lnTo>
                  <a:lnTo>
                    <a:pt x="2207178" y="2943146"/>
                  </a:lnTo>
                  <a:lnTo>
                    <a:pt x="2172322" y="2980322"/>
                  </a:lnTo>
                  <a:lnTo>
                    <a:pt x="2148881" y="3005356"/>
                  </a:lnTo>
                  <a:lnTo>
                    <a:pt x="2115322" y="3022701"/>
                  </a:lnTo>
                  <a:lnTo>
                    <a:pt x="2089350" y="3044253"/>
                  </a:lnTo>
                  <a:lnTo>
                    <a:pt x="2054390" y="3073257"/>
                  </a:lnTo>
                  <a:lnTo>
                    <a:pt x="2025485" y="3106694"/>
                  </a:lnTo>
                  <a:lnTo>
                    <a:pt x="1992777" y="3136740"/>
                  </a:lnTo>
                  <a:lnTo>
                    <a:pt x="1955626" y="3170855"/>
                  </a:lnTo>
                  <a:lnTo>
                    <a:pt x="1967528" y="3224795"/>
                  </a:lnTo>
                  <a:lnTo>
                    <a:pt x="1946529" y="3263243"/>
                  </a:lnTo>
                  <a:lnTo>
                    <a:pt x="1919283" y="3313167"/>
                  </a:lnTo>
                  <a:lnTo>
                    <a:pt x="1862984" y="3325070"/>
                  </a:lnTo>
                  <a:lnTo>
                    <a:pt x="1824112" y="3363894"/>
                  </a:lnTo>
                  <a:lnTo>
                    <a:pt x="1720885" y="3422747"/>
                  </a:lnTo>
                  <a:lnTo>
                    <a:pt x="1686306" y="3525378"/>
                  </a:lnTo>
                  <a:lnTo>
                    <a:pt x="1607840" y="3591050"/>
                  </a:lnTo>
                  <a:lnTo>
                    <a:pt x="1560892" y="3630368"/>
                  </a:lnTo>
                  <a:lnTo>
                    <a:pt x="1585716" y="3653108"/>
                  </a:lnTo>
                  <a:lnTo>
                    <a:pt x="1560233" y="3686267"/>
                  </a:lnTo>
                  <a:lnTo>
                    <a:pt x="1535835" y="3718034"/>
                  </a:lnTo>
                  <a:lnTo>
                    <a:pt x="1504742" y="3746538"/>
                  </a:lnTo>
                  <a:lnTo>
                    <a:pt x="1479981" y="3778754"/>
                  </a:lnTo>
                  <a:lnTo>
                    <a:pt x="1444064" y="3825472"/>
                  </a:lnTo>
                  <a:lnTo>
                    <a:pt x="1412015" y="3878244"/>
                  </a:lnTo>
                  <a:lnTo>
                    <a:pt x="1380687" y="3928379"/>
                  </a:lnTo>
                  <a:lnTo>
                    <a:pt x="1355970" y="3967909"/>
                  </a:lnTo>
                  <a:lnTo>
                    <a:pt x="1282498" y="4049969"/>
                  </a:lnTo>
                  <a:lnTo>
                    <a:pt x="1250107" y="4091602"/>
                  </a:lnTo>
                  <a:lnTo>
                    <a:pt x="1223882" y="4125329"/>
                  </a:lnTo>
                  <a:lnTo>
                    <a:pt x="1197400" y="4185330"/>
                  </a:lnTo>
                  <a:lnTo>
                    <a:pt x="1153109" y="4233598"/>
                  </a:lnTo>
                  <a:lnTo>
                    <a:pt x="1091092" y="4228262"/>
                  </a:lnTo>
                  <a:lnTo>
                    <a:pt x="1073282" y="4257544"/>
                  </a:lnTo>
                  <a:lnTo>
                    <a:pt x="1056025" y="4285942"/>
                  </a:lnTo>
                  <a:lnTo>
                    <a:pt x="1044738" y="4370231"/>
                  </a:lnTo>
                  <a:lnTo>
                    <a:pt x="1043357" y="4404451"/>
                  </a:lnTo>
                  <a:lnTo>
                    <a:pt x="1038299" y="4527506"/>
                  </a:lnTo>
                  <a:lnTo>
                    <a:pt x="838711" y="4422793"/>
                  </a:lnTo>
                  <a:lnTo>
                    <a:pt x="817565" y="4677850"/>
                  </a:lnTo>
                  <a:lnTo>
                    <a:pt x="808596" y="4802262"/>
                  </a:lnTo>
                  <a:lnTo>
                    <a:pt x="721054" y="4801326"/>
                  </a:lnTo>
                  <a:lnTo>
                    <a:pt x="666583" y="4887318"/>
                  </a:lnTo>
                  <a:lnTo>
                    <a:pt x="649134" y="4914865"/>
                  </a:lnTo>
                  <a:lnTo>
                    <a:pt x="649431" y="4945471"/>
                  </a:lnTo>
                  <a:lnTo>
                    <a:pt x="627137" y="4971654"/>
                  </a:lnTo>
                  <a:lnTo>
                    <a:pt x="591262" y="4980450"/>
                  </a:lnTo>
                  <a:lnTo>
                    <a:pt x="552474" y="4964597"/>
                  </a:lnTo>
                  <a:lnTo>
                    <a:pt x="518321" y="4983893"/>
                  </a:lnTo>
                  <a:lnTo>
                    <a:pt x="430503" y="5033586"/>
                  </a:lnTo>
                  <a:lnTo>
                    <a:pt x="441236" y="5082315"/>
                  </a:lnTo>
                  <a:lnTo>
                    <a:pt x="408145" y="5167522"/>
                  </a:lnTo>
                  <a:lnTo>
                    <a:pt x="361069" y="5288729"/>
                  </a:lnTo>
                  <a:lnTo>
                    <a:pt x="304770" y="5351803"/>
                  </a:lnTo>
                  <a:lnTo>
                    <a:pt x="217717" y="5443643"/>
                  </a:lnTo>
                  <a:lnTo>
                    <a:pt x="179568" y="5483892"/>
                  </a:lnTo>
                  <a:lnTo>
                    <a:pt x="144798" y="5538683"/>
                  </a:lnTo>
                  <a:lnTo>
                    <a:pt x="111622" y="5583739"/>
                  </a:lnTo>
                  <a:lnTo>
                    <a:pt x="97849" y="5602443"/>
                  </a:lnTo>
                  <a:lnTo>
                    <a:pt x="82101" y="5621785"/>
                  </a:lnTo>
                  <a:lnTo>
                    <a:pt x="73536" y="5643588"/>
                  </a:lnTo>
                  <a:lnTo>
                    <a:pt x="65757" y="5663438"/>
                  </a:lnTo>
                  <a:lnTo>
                    <a:pt x="58573" y="5703437"/>
                  </a:lnTo>
                  <a:lnTo>
                    <a:pt x="46289" y="5743607"/>
                  </a:lnTo>
                  <a:lnTo>
                    <a:pt x="15345" y="5782009"/>
                  </a:lnTo>
                  <a:lnTo>
                    <a:pt x="5526" y="5823133"/>
                  </a:lnTo>
                  <a:lnTo>
                    <a:pt x="0" y="5846151"/>
                  </a:lnTo>
                  <a:lnTo>
                    <a:pt x="4166" y="5888424"/>
                  </a:lnTo>
                  <a:lnTo>
                    <a:pt x="18172" y="5913037"/>
                  </a:lnTo>
                  <a:lnTo>
                    <a:pt x="43356" y="5929998"/>
                  </a:lnTo>
                  <a:lnTo>
                    <a:pt x="59934" y="5952355"/>
                  </a:lnTo>
                  <a:lnTo>
                    <a:pt x="74981" y="5978326"/>
                  </a:lnTo>
                  <a:lnTo>
                    <a:pt x="99040" y="6014432"/>
                  </a:lnTo>
                  <a:lnTo>
                    <a:pt x="121015" y="6098366"/>
                  </a:lnTo>
                  <a:lnTo>
                    <a:pt x="122503" y="6127819"/>
                  </a:lnTo>
                  <a:lnTo>
                    <a:pt x="124395" y="6165674"/>
                  </a:lnTo>
                  <a:lnTo>
                    <a:pt x="143140" y="6214258"/>
                  </a:lnTo>
                  <a:lnTo>
                    <a:pt x="138826" y="6250239"/>
                  </a:lnTo>
                  <a:lnTo>
                    <a:pt x="133555" y="6294426"/>
                  </a:lnTo>
                  <a:lnTo>
                    <a:pt x="112748" y="6331318"/>
                  </a:lnTo>
                  <a:lnTo>
                    <a:pt x="125224" y="6378095"/>
                  </a:lnTo>
                  <a:lnTo>
                    <a:pt x="142184" y="6441769"/>
                  </a:lnTo>
                  <a:lnTo>
                    <a:pt x="241457" y="6455585"/>
                  </a:lnTo>
                  <a:lnTo>
                    <a:pt x="285728" y="6550843"/>
                  </a:lnTo>
                  <a:lnTo>
                    <a:pt x="313441" y="6610461"/>
                  </a:lnTo>
                  <a:lnTo>
                    <a:pt x="282580" y="6778440"/>
                  </a:lnTo>
                  <a:lnTo>
                    <a:pt x="293889" y="6859608"/>
                  </a:lnTo>
                  <a:lnTo>
                    <a:pt x="305237" y="6940944"/>
                  </a:lnTo>
                  <a:lnTo>
                    <a:pt x="370059" y="6987914"/>
                  </a:lnTo>
                  <a:lnTo>
                    <a:pt x="370059" y="7090839"/>
                  </a:lnTo>
                  <a:lnTo>
                    <a:pt x="370059" y="7144634"/>
                  </a:lnTo>
                  <a:lnTo>
                    <a:pt x="331804" y="7250898"/>
                  </a:lnTo>
                  <a:lnTo>
                    <a:pt x="307490" y="7300313"/>
                  </a:lnTo>
                  <a:lnTo>
                    <a:pt x="282391" y="7351338"/>
                  </a:lnTo>
                  <a:lnTo>
                    <a:pt x="275824" y="7412782"/>
                  </a:lnTo>
                  <a:lnTo>
                    <a:pt x="242201" y="7460813"/>
                  </a:lnTo>
                  <a:lnTo>
                    <a:pt x="240944" y="7580471"/>
                  </a:lnTo>
                  <a:lnTo>
                    <a:pt x="149493" y="7682488"/>
                  </a:lnTo>
                  <a:lnTo>
                    <a:pt x="159227" y="7750541"/>
                  </a:lnTo>
                  <a:lnTo>
                    <a:pt x="215420" y="7774190"/>
                  </a:lnTo>
                  <a:lnTo>
                    <a:pt x="219054" y="7715852"/>
                  </a:lnTo>
                  <a:lnTo>
                    <a:pt x="242199" y="7694768"/>
                  </a:lnTo>
                  <a:lnTo>
                    <a:pt x="267809" y="7687612"/>
                  </a:lnTo>
                  <a:lnTo>
                    <a:pt x="293886" y="7698850"/>
                  </a:lnTo>
                  <a:lnTo>
                    <a:pt x="294992" y="7734581"/>
                  </a:lnTo>
                  <a:lnTo>
                    <a:pt x="277564" y="7766863"/>
                  </a:lnTo>
                  <a:lnTo>
                    <a:pt x="278922" y="7789986"/>
                  </a:lnTo>
                  <a:lnTo>
                    <a:pt x="298730" y="7809578"/>
                  </a:lnTo>
                  <a:lnTo>
                    <a:pt x="346485" y="7821351"/>
                  </a:lnTo>
                  <a:lnTo>
                    <a:pt x="383572" y="7814128"/>
                  </a:lnTo>
                  <a:lnTo>
                    <a:pt x="431264" y="7829430"/>
                  </a:lnTo>
                  <a:lnTo>
                    <a:pt x="461932" y="7859778"/>
                  </a:lnTo>
                  <a:lnTo>
                    <a:pt x="451667" y="7920564"/>
                  </a:lnTo>
                  <a:lnTo>
                    <a:pt x="461911" y="7940863"/>
                  </a:lnTo>
                  <a:lnTo>
                    <a:pt x="547221" y="7967275"/>
                  </a:lnTo>
                  <a:lnTo>
                    <a:pt x="576806" y="8000818"/>
                  </a:lnTo>
                  <a:lnTo>
                    <a:pt x="591512" y="8017476"/>
                  </a:lnTo>
                  <a:lnTo>
                    <a:pt x="590619" y="8044364"/>
                  </a:lnTo>
                  <a:lnTo>
                    <a:pt x="616251" y="8051143"/>
                  </a:lnTo>
                  <a:lnTo>
                    <a:pt x="642519" y="8049230"/>
                  </a:lnTo>
                  <a:lnTo>
                    <a:pt x="671934" y="8041812"/>
                  </a:lnTo>
                  <a:lnTo>
                    <a:pt x="692422" y="8063383"/>
                  </a:lnTo>
                  <a:lnTo>
                    <a:pt x="695482" y="8102531"/>
                  </a:lnTo>
                  <a:lnTo>
                    <a:pt x="721305" y="8137240"/>
                  </a:lnTo>
                  <a:lnTo>
                    <a:pt x="750443" y="8123001"/>
                  </a:lnTo>
                  <a:lnTo>
                    <a:pt x="775394" y="8147713"/>
                  </a:lnTo>
                  <a:lnTo>
                    <a:pt x="775394" y="8184439"/>
                  </a:lnTo>
                  <a:lnTo>
                    <a:pt x="692422" y="8263585"/>
                  </a:lnTo>
                  <a:lnTo>
                    <a:pt x="732569" y="8235978"/>
                  </a:lnTo>
                  <a:lnTo>
                    <a:pt x="729148" y="8319101"/>
                  </a:lnTo>
                  <a:lnTo>
                    <a:pt x="727999" y="8347049"/>
                  </a:lnTo>
                  <a:lnTo>
                    <a:pt x="720327" y="8371339"/>
                  </a:lnTo>
                  <a:lnTo>
                    <a:pt x="727789" y="8399355"/>
                  </a:lnTo>
                  <a:lnTo>
                    <a:pt x="748704" y="8428556"/>
                  </a:lnTo>
                  <a:lnTo>
                    <a:pt x="748195" y="8468719"/>
                  </a:lnTo>
                  <a:lnTo>
                    <a:pt x="786483" y="8505050"/>
                  </a:lnTo>
                  <a:lnTo>
                    <a:pt x="814712" y="8509601"/>
                  </a:lnTo>
                  <a:lnTo>
                    <a:pt x="798522" y="8574818"/>
                  </a:lnTo>
                  <a:lnTo>
                    <a:pt x="816031" y="8590850"/>
                  </a:lnTo>
                  <a:lnTo>
                    <a:pt x="833364" y="8606626"/>
                  </a:lnTo>
                  <a:lnTo>
                    <a:pt x="855996" y="8626528"/>
                  </a:lnTo>
                  <a:lnTo>
                    <a:pt x="871984" y="8640555"/>
                  </a:lnTo>
                  <a:lnTo>
                    <a:pt x="878572" y="8685256"/>
                  </a:lnTo>
                  <a:lnTo>
                    <a:pt x="856910" y="8729376"/>
                  </a:lnTo>
                  <a:lnTo>
                    <a:pt x="841270" y="8763340"/>
                  </a:lnTo>
                  <a:lnTo>
                    <a:pt x="831167" y="8795174"/>
                  </a:lnTo>
                  <a:lnTo>
                    <a:pt x="822922" y="8826203"/>
                  </a:lnTo>
                  <a:lnTo>
                    <a:pt x="817647" y="8856632"/>
                  </a:lnTo>
                  <a:lnTo>
                    <a:pt x="816207" y="8886302"/>
                  </a:lnTo>
                  <a:lnTo>
                    <a:pt x="818466" y="8915215"/>
                  </a:lnTo>
                  <a:lnTo>
                    <a:pt x="824830" y="8944448"/>
                  </a:lnTo>
                  <a:lnTo>
                    <a:pt x="835250" y="8974719"/>
                  </a:lnTo>
                  <a:lnTo>
                    <a:pt x="850777" y="9004516"/>
                  </a:lnTo>
                  <a:lnTo>
                    <a:pt x="871410" y="9034688"/>
                  </a:lnTo>
                  <a:lnTo>
                    <a:pt x="897819" y="9064489"/>
                  </a:lnTo>
                  <a:lnTo>
                    <a:pt x="927748" y="9097213"/>
                  </a:lnTo>
                  <a:lnTo>
                    <a:pt x="949847" y="9126126"/>
                  </a:lnTo>
                  <a:lnTo>
                    <a:pt x="984872" y="9154267"/>
                  </a:lnTo>
                  <a:lnTo>
                    <a:pt x="1018048" y="9180916"/>
                  </a:lnTo>
                  <a:lnTo>
                    <a:pt x="1066909" y="9192114"/>
                  </a:lnTo>
                  <a:lnTo>
                    <a:pt x="1093688" y="9224996"/>
                  </a:lnTo>
                  <a:lnTo>
                    <a:pt x="1100040" y="9269433"/>
                  </a:lnTo>
                  <a:lnTo>
                    <a:pt x="1110155" y="9322957"/>
                  </a:lnTo>
                  <a:lnTo>
                    <a:pt x="1129650" y="9352357"/>
                  </a:lnTo>
                  <a:lnTo>
                    <a:pt x="1156257" y="9371891"/>
                  </a:lnTo>
                  <a:lnTo>
                    <a:pt x="1182863" y="9391432"/>
                  </a:lnTo>
                  <a:lnTo>
                    <a:pt x="1216288" y="9400453"/>
                  </a:lnTo>
                  <a:lnTo>
                    <a:pt x="1252831" y="9395019"/>
                  </a:lnTo>
                  <a:lnTo>
                    <a:pt x="1279484" y="9391055"/>
                  </a:lnTo>
                  <a:lnTo>
                    <a:pt x="1313296" y="9372083"/>
                  </a:lnTo>
                  <a:lnTo>
                    <a:pt x="1337164" y="9359651"/>
                  </a:lnTo>
                  <a:lnTo>
                    <a:pt x="1361265" y="9347114"/>
                  </a:lnTo>
                  <a:lnTo>
                    <a:pt x="1470463" y="9317424"/>
                  </a:lnTo>
                  <a:lnTo>
                    <a:pt x="1505330" y="9302929"/>
                  </a:lnTo>
                  <a:lnTo>
                    <a:pt x="1529154" y="9297528"/>
                  </a:lnTo>
                  <a:lnTo>
                    <a:pt x="1550715" y="9295720"/>
                  </a:lnTo>
                  <a:lnTo>
                    <a:pt x="1572275" y="9293920"/>
                  </a:lnTo>
                  <a:lnTo>
                    <a:pt x="1607843" y="9301168"/>
                  </a:lnTo>
                  <a:lnTo>
                    <a:pt x="1640296" y="9312082"/>
                  </a:lnTo>
                  <a:lnTo>
                    <a:pt x="1663137" y="9336319"/>
                  </a:lnTo>
                  <a:lnTo>
                    <a:pt x="1681294" y="9367815"/>
                  </a:lnTo>
                  <a:lnTo>
                    <a:pt x="1699451" y="9399312"/>
                  </a:lnTo>
                  <a:lnTo>
                    <a:pt x="1712933" y="9438559"/>
                  </a:lnTo>
                  <a:lnTo>
                    <a:pt x="1726180" y="9479349"/>
                  </a:lnTo>
                  <a:lnTo>
                    <a:pt x="1739427" y="9520137"/>
                  </a:lnTo>
                  <a:lnTo>
                    <a:pt x="1751982" y="9562972"/>
                  </a:lnTo>
                  <a:lnTo>
                    <a:pt x="1769706" y="9601770"/>
                  </a:lnTo>
                  <a:lnTo>
                    <a:pt x="1785612" y="9636578"/>
                  </a:lnTo>
                  <a:lnTo>
                    <a:pt x="1802768" y="9668761"/>
                  </a:lnTo>
                  <a:lnTo>
                    <a:pt x="1822754" y="9698345"/>
                  </a:lnTo>
                  <a:lnTo>
                    <a:pt x="1842741" y="9727923"/>
                  </a:lnTo>
                  <a:lnTo>
                    <a:pt x="1865287" y="9754139"/>
                  </a:lnTo>
                  <a:lnTo>
                    <a:pt x="1890764" y="9775875"/>
                  </a:lnTo>
                  <a:lnTo>
                    <a:pt x="1916242" y="9797612"/>
                  </a:lnTo>
                  <a:lnTo>
                    <a:pt x="1945444" y="9814924"/>
                  </a:lnTo>
                  <a:lnTo>
                    <a:pt x="1977817" y="9826201"/>
                  </a:lnTo>
                  <a:lnTo>
                    <a:pt x="2010189" y="9837478"/>
                  </a:lnTo>
                  <a:lnTo>
                    <a:pt x="2045959" y="9842958"/>
                  </a:lnTo>
                  <a:lnTo>
                    <a:pt x="2086633" y="9841164"/>
                  </a:lnTo>
                  <a:lnTo>
                    <a:pt x="2135069" y="9841205"/>
                  </a:lnTo>
                  <a:lnTo>
                    <a:pt x="2185991" y="9818742"/>
                  </a:lnTo>
                  <a:lnTo>
                    <a:pt x="2212941" y="9787199"/>
                  </a:lnTo>
                  <a:lnTo>
                    <a:pt x="2240336" y="9760912"/>
                  </a:lnTo>
                  <a:lnTo>
                    <a:pt x="2267540" y="9764994"/>
                  </a:lnTo>
                  <a:lnTo>
                    <a:pt x="2277613" y="9795660"/>
                  </a:lnTo>
                  <a:lnTo>
                    <a:pt x="2271135" y="9824650"/>
                  </a:lnTo>
                  <a:lnTo>
                    <a:pt x="2268898" y="9853405"/>
                  </a:lnTo>
                  <a:lnTo>
                    <a:pt x="2266647" y="9882528"/>
                  </a:lnTo>
                  <a:lnTo>
                    <a:pt x="2273868" y="9911335"/>
                  </a:lnTo>
                  <a:lnTo>
                    <a:pt x="2294738" y="9940457"/>
                  </a:lnTo>
                  <a:lnTo>
                    <a:pt x="2319222" y="9941815"/>
                  </a:lnTo>
                  <a:lnTo>
                    <a:pt x="2342752" y="9926799"/>
                  </a:lnTo>
                  <a:lnTo>
                    <a:pt x="2363701" y="9899708"/>
                  </a:lnTo>
                  <a:lnTo>
                    <a:pt x="2383151" y="9867011"/>
                  </a:lnTo>
                  <a:lnTo>
                    <a:pt x="2403666" y="9835051"/>
                  </a:lnTo>
                  <a:lnTo>
                    <a:pt x="2425205" y="9811910"/>
                  </a:lnTo>
                  <a:lnTo>
                    <a:pt x="2448441" y="9804438"/>
                  </a:lnTo>
                  <a:lnTo>
                    <a:pt x="2474412" y="9803469"/>
                  </a:lnTo>
                  <a:lnTo>
                    <a:pt x="2496048" y="9831642"/>
                  </a:lnTo>
                  <a:lnTo>
                    <a:pt x="2504395" y="9874224"/>
                  </a:lnTo>
                  <a:lnTo>
                    <a:pt x="2505569" y="9899649"/>
                  </a:lnTo>
                  <a:lnTo>
                    <a:pt x="2506743" y="9925078"/>
                  </a:lnTo>
                  <a:lnTo>
                    <a:pt x="2507778" y="9951992"/>
                  </a:lnTo>
                  <a:lnTo>
                    <a:pt x="2515091" y="9974462"/>
                  </a:lnTo>
                  <a:lnTo>
                    <a:pt x="2522396" y="9996930"/>
                  </a:lnTo>
                  <a:lnTo>
                    <a:pt x="2535547" y="10014684"/>
                  </a:lnTo>
                  <a:lnTo>
                    <a:pt x="2561337" y="10023428"/>
                  </a:lnTo>
                  <a:lnTo>
                    <a:pt x="2587076" y="10032160"/>
                  </a:lnTo>
                  <a:lnTo>
                    <a:pt x="2617870" y="10035417"/>
                  </a:lnTo>
                  <a:lnTo>
                    <a:pt x="2644309" y="10042474"/>
                  </a:lnTo>
                  <a:lnTo>
                    <a:pt x="2691268" y="10055004"/>
                  </a:lnTo>
                  <a:lnTo>
                    <a:pt x="2722202" y="10064436"/>
                  </a:lnTo>
                  <a:lnTo>
                    <a:pt x="2754485" y="10068313"/>
                  </a:lnTo>
                  <a:lnTo>
                    <a:pt x="2786769" y="10072197"/>
                  </a:lnTo>
                  <a:lnTo>
                    <a:pt x="2820000" y="10070806"/>
                  </a:lnTo>
                  <a:lnTo>
                    <a:pt x="2868742" y="10058796"/>
                  </a:lnTo>
                  <a:lnTo>
                    <a:pt x="2905618" y="10049702"/>
                  </a:lnTo>
                  <a:lnTo>
                    <a:pt x="2941917" y="10031613"/>
                  </a:lnTo>
                  <a:lnTo>
                    <a:pt x="2980279" y="10028869"/>
                  </a:lnTo>
                  <a:lnTo>
                    <a:pt x="3010562" y="10036413"/>
                  </a:lnTo>
                  <a:lnTo>
                    <a:pt x="3042150" y="10056475"/>
                  </a:lnTo>
                  <a:lnTo>
                    <a:pt x="3074132" y="10073761"/>
                  </a:lnTo>
                  <a:lnTo>
                    <a:pt x="3097850" y="10038464"/>
                  </a:lnTo>
                  <a:lnTo>
                    <a:pt x="3114305" y="9996897"/>
                  </a:lnTo>
                  <a:lnTo>
                    <a:pt x="3121751" y="9970649"/>
                  </a:lnTo>
                  <a:lnTo>
                    <a:pt x="3128540" y="9944539"/>
                  </a:lnTo>
                  <a:lnTo>
                    <a:pt x="3135329" y="9918431"/>
                  </a:lnTo>
                  <a:lnTo>
                    <a:pt x="3141380" y="9893028"/>
                  </a:lnTo>
                  <a:lnTo>
                    <a:pt x="3146223" y="9869727"/>
                  </a:lnTo>
                  <a:lnTo>
                    <a:pt x="3151064" y="9846427"/>
                  </a:lnTo>
                  <a:lnTo>
                    <a:pt x="3155413" y="9825271"/>
                  </a:lnTo>
                  <a:lnTo>
                    <a:pt x="3168317" y="9765936"/>
                  </a:lnTo>
                  <a:lnTo>
                    <a:pt x="3182565" y="9718341"/>
                  </a:lnTo>
                  <a:lnTo>
                    <a:pt x="3195190" y="9669776"/>
                  </a:lnTo>
                  <a:lnTo>
                    <a:pt x="3207815" y="9621218"/>
                  </a:lnTo>
                  <a:lnTo>
                    <a:pt x="3219235" y="9572416"/>
                  </a:lnTo>
                  <a:lnTo>
                    <a:pt x="3223754" y="9524233"/>
                  </a:lnTo>
                  <a:lnTo>
                    <a:pt x="3228271" y="9476058"/>
                  </a:lnTo>
                  <a:lnTo>
                    <a:pt x="3225970" y="9428278"/>
                  </a:lnTo>
                  <a:lnTo>
                    <a:pt x="3211512" y="9384138"/>
                  </a:lnTo>
                  <a:lnTo>
                    <a:pt x="3204284" y="9362065"/>
                  </a:lnTo>
                  <a:lnTo>
                    <a:pt x="3192880" y="9340585"/>
                  </a:lnTo>
                  <a:lnTo>
                    <a:pt x="3178868" y="9320207"/>
                  </a:lnTo>
                  <a:lnTo>
                    <a:pt x="3164855" y="9299828"/>
                  </a:lnTo>
                  <a:lnTo>
                    <a:pt x="3147974" y="9281310"/>
                  </a:lnTo>
                  <a:lnTo>
                    <a:pt x="3125819" y="9263082"/>
                  </a:lnTo>
                  <a:lnTo>
                    <a:pt x="3124151" y="9240982"/>
                  </a:lnTo>
                  <a:lnTo>
                    <a:pt x="3132922" y="9206280"/>
                  </a:lnTo>
                  <a:lnTo>
                    <a:pt x="3139541" y="9186001"/>
                  </a:lnTo>
                  <a:lnTo>
                    <a:pt x="3147579" y="9165140"/>
                  </a:lnTo>
                  <a:lnTo>
                    <a:pt x="3155619" y="9144287"/>
                  </a:lnTo>
                  <a:lnTo>
                    <a:pt x="3164648" y="9122386"/>
                  </a:lnTo>
                  <a:lnTo>
                    <a:pt x="3179480" y="9085488"/>
                  </a:lnTo>
                  <a:lnTo>
                    <a:pt x="3188385" y="9060407"/>
                  </a:lnTo>
                  <a:lnTo>
                    <a:pt x="3194307" y="9036599"/>
                  </a:lnTo>
                  <a:lnTo>
                    <a:pt x="3197998" y="9011322"/>
                  </a:lnTo>
                  <a:lnTo>
                    <a:pt x="3201987" y="8986961"/>
                  </a:lnTo>
                  <a:lnTo>
                    <a:pt x="3205977" y="8962591"/>
                  </a:lnTo>
                  <a:lnTo>
                    <a:pt x="3210245" y="8938151"/>
                  </a:lnTo>
                  <a:lnTo>
                    <a:pt x="3212869" y="8913506"/>
                  </a:lnTo>
                  <a:lnTo>
                    <a:pt x="3215494" y="8888867"/>
                  </a:lnTo>
                  <a:lnTo>
                    <a:pt x="3216489" y="8864697"/>
                  </a:lnTo>
                  <a:lnTo>
                    <a:pt x="3218310" y="8840058"/>
                  </a:lnTo>
                  <a:lnTo>
                    <a:pt x="3220136" y="8815421"/>
                  </a:lnTo>
                  <a:lnTo>
                    <a:pt x="3222168" y="8790966"/>
                  </a:lnTo>
                  <a:lnTo>
                    <a:pt x="3223751" y="8766605"/>
                  </a:lnTo>
                  <a:lnTo>
                    <a:pt x="3238509" y="8743594"/>
                  </a:lnTo>
                  <a:lnTo>
                    <a:pt x="3259708" y="8729403"/>
                  </a:lnTo>
                  <a:lnTo>
                    <a:pt x="3280934" y="8718020"/>
                  </a:lnTo>
                  <a:lnTo>
                    <a:pt x="3330554" y="8681623"/>
                  </a:lnTo>
                  <a:lnTo>
                    <a:pt x="3491880" y="8539363"/>
                  </a:lnTo>
                  <a:lnTo>
                    <a:pt x="3516194" y="8504088"/>
                  </a:lnTo>
                  <a:lnTo>
                    <a:pt x="3531262" y="8482199"/>
                  </a:lnTo>
                  <a:lnTo>
                    <a:pt x="3532729" y="8452759"/>
                  </a:lnTo>
                  <a:lnTo>
                    <a:pt x="3540677" y="8427917"/>
                  </a:lnTo>
                  <a:lnTo>
                    <a:pt x="3548158" y="8404557"/>
                  </a:lnTo>
                  <a:lnTo>
                    <a:pt x="3559296" y="8379207"/>
                  </a:lnTo>
                  <a:lnTo>
                    <a:pt x="3563800" y="8354469"/>
                  </a:lnTo>
                  <a:lnTo>
                    <a:pt x="3569010" y="8325847"/>
                  </a:lnTo>
                  <a:lnTo>
                    <a:pt x="3572482" y="8282941"/>
                  </a:lnTo>
                  <a:lnTo>
                    <a:pt x="3580123" y="8241570"/>
                  </a:lnTo>
                  <a:lnTo>
                    <a:pt x="3587764" y="8200195"/>
                  </a:lnTo>
                  <a:lnTo>
                    <a:pt x="3599867" y="8160189"/>
                  </a:lnTo>
                  <a:lnTo>
                    <a:pt x="3619569" y="8138195"/>
                  </a:lnTo>
                  <a:lnTo>
                    <a:pt x="3671001" y="8099681"/>
                  </a:lnTo>
                  <a:lnTo>
                    <a:pt x="3715914" y="8056881"/>
                  </a:lnTo>
                  <a:lnTo>
                    <a:pt x="3751254" y="8038020"/>
                  </a:lnTo>
                  <a:lnTo>
                    <a:pt x="3785513" y="8028014"/>
                  </a:lnTo>
                  <a:lnTo>
                    <a:pt x="3819772" y="8018017"/>
                  </a:lnTo>
                  <a:lnTo>
                    <a:pt x="3852791" y="8016697"/>
                  </a:lnTo>
                  <a:lnTo>
                    <a:pt x="3886167" y="8019857"/>
                  </a:lnTo>
                  <a:lnTo>
                    <a:pt x="3952921" y="8026168"/>
                  </a:lnTo>
                  <a:lnTo>
                    <a:pt x="4021550" y="8050061"/>
                  </a:lnTo>
                  <a:lnTo>
                    <a:pt x="4109240" y="8062019"/>
                  </a:lnTo>
                  <a:lnTo>
                    <a:pt x="4156573" y="8068474"/>
                  </a:lnTo>
                  <a:lnTo>
                    <a:pt x="4206824" y="8068916"/>
                  </a:lnTo>
                  <a:lnTo>
                    <a:pt x="4256142" y="8066094"/>
                  </a:lnTo>
                  <a:lnTo>
                    <a:pt x="4305460" y="8063284"/>
                  </a:lnTo>
                  <a:lnTo>
                    <a:pt x="4354266" y="8057744"/>
                  </a:lnTo>
                  <a:lnTo>
                    <a:pt x="4401682" y="8055219"/>
                  </a:lnTo>
                  <a:lnTo>
                    <a:pt x="4449737" y="8042951"/>
                  </a:lnTo>
                  <a:lnTo>
                    <a:pt x="4470883" y="8014239"/>
                  </a:lnTo>
                  <a:lnTo>
                    <a:pt x="4486568" y="7986375"/>
                  </a:lnTo>
                  <a:lnTo>
                    <a:pt x="4505058" y="7966801"/>
                  </a:lnTo>
                  <a:lnTo>
                    <a:pt x="4520631" y="7950314"/>
                  </a:lnTo>
                  <a:lnTo>
                    <a:pt x="4542321" y="7945334"/>
                  </a:lnTo>
                  <a:lnTo>
                    <a:pt x="4566267" y="7947762"/>
                  </a:lnTo>
                  <a:lnTo>
                    <a:pt x="4590213" y="7950188"/>
                  </a:lnTo>
                  <a:lnTo>
                    <a:pt x="4617483" y="7959211"/>
                  </a:lnTo>
                  <a:lnTo>
                    <a:pt x="4645155" y="7970883"/>
                  </a:lnTo>
                  <a:lnTo>
                    <a:pt x="4700507" y="7994229"/>
                  </a:lnTo>
                  <a:lnTo>
                    <a:pt x="4757822" y="8027025"/>
                  </a:lnTo>
                  <a:lnTo>
                    <a:pt x="4800221" y="8029374"/>
                  </a:lnTo>
                  <a:lnTo>
                    <a:pt x="4821753" y="8018043"/>
                  </a:lnTo>
                  <a:lnTo>
                    <a:pt x="4834225" y="8000804"/>
                  </a:lnTo>
                  <a:lnTo>
                    <a:pt x="4841209" y="7980743"/>
                  </a:lnTo>
                  <a:lnTo>
                    <a:pt x="4851912" y="7962725"/>
                  </a:lnTo>
                  <a:lnTo>
                    <a:pt x="4876649" y="7921040"/>
                  </a:lnTo>
                  <a:lnTo>
                    <a:pt x="4902396" y="7893671"/>
                  </a:lnTo>
                  <a:lnTo>
                    <a:pt x="4928083" y="7877031"/>
                  </a:lnTo>
                  <a:lnTo>
                    <a:pt x="4953764" y="7860392"/>
                  </a:lnTo>
                  <a:lnTo>
                    <a:pt x="4980110" y="7854456"/>
                  </a:lnTo>
                  <a:lnTo>
                    <a:pt x="5008330" y="7855268"/>
                  </a:lnTo>
                  <a:lnTo>
                    <a:pt x="5036550" y="7856079"/>
                  </a:lnTo>
                  <a:lnTo>
                    <a:pt x="5065759" y="7863657"/>
                  </a:lnTo>
                  <a:lnTo>
                    <a:pt x="5098106" y="7874308"/>
                  </a:lnTo>
                  <a:lnTo>
                    <a:pt x="5130455" y="7884958"/>
                  </a:lnTo>
                  <a:lnTo>
                    <a:pt x="5166133" y="7899500"/>
                  </a:lnTo>
                  <a:lnTo>
                    <a:pt x="5204198" y="7912394"/>
                  </a:lnTo>
                  <a:lnTo>
                    <a:pt x="5239805" y="7917945"/>
                  </a:lnTo>
                  <a:lnTo>
                    <a:pt x="5280132" y="7909564"/>
                  </a:lnTo>
                  <a:lnTo>
                    <a:pt x="5301902" y="7901452"/>
                  </a:lnTo>
                  <a:lnTo>
                    <a:pt x="5322538" y="7891989"/>
                  </a:lnTo>
                  <a:lnTo>
                    <a:pt x="5343173" y="7882532"/>
                  </a:lnTo>
                  <a:lnTo>
                    <a:pt x="5362523" y="7870733"/>
                  </a:lnTo>
                  <a:lnTo>
                    <a:pt x="5381028" y="7860702"/>
                  </a:lnTo>
                  <a:lnTo>
                    <a:pt x="5399527" y="7850672"/>
                  </a:lnTo>
                  <a:lnTo>
                    <a:pt x="5429995" y="7836221"/>
                  </a:lnTo>
                  <a:lnTo>
                    <a:pt x="5450571" y="7829706"/>
                  </a:lnTo>
                  <a:lnTo>
                    <a:pt x="5471985" y="7829093"/>
                  </a:lnTo>
                  <a:lnTo>
                    <a:pt x="5493926" y="7832140"/>
                  </a:lnTo>
                  <a:lnTo>
                    <a:pt x="5516896" y="7836130"/>
                  </a:lnTo>
                  <a:lnTo>
                    <a:pt x="5538962" y="7839031"/>
                  </a:lnTo>
                  <a:lnTo>
                    <a:pt x="5579640" y="7837541"/>
                  </a:lnTo>
                  <a:lnTo>
                    <a:pt x="5600342" y="7834132"/>
                  </a:lnTo>
                  <a:lnTo>
                    <a:pt x="5637774" y="7821984"/>
                  </a:lnTo>
                  <a:lnTo>
                    <a:pt x="5672107" y="7804935"/>
                  </a:lnTo>
                  <a:lnTo>
                    <a:pt x="5708056" y="7785097"/>
                  </a:lnTo>
                  <a:lnTo>
                    <a:pt x="5742257" y="7764917"/>
                  </a:lnTo>
                  <a:lnTo>
                    <a:pt x="5775482" y="7745088"/>
                  </a:lnTo>
                  <a:lnTo>
                    <a:pt x="5795227" y="7733791"/>
                  </a:lnTo>
                  <a:lnTo>
                    <a:pt x="5813956" y="7720929"/>
                  </a:lnTo>
                  <a:lnTo>
                    <a:pt x="5835331" y="7709719"/>
                  </a:lnTo>
                  <a:lnTo>
                    <a:pt x="5860992" y="7697794"/>
                  </a:lnTo>
                  <a:lnTo>
                    <a:pt x="5905336" y="7680378"/>
                  </a:lnTo>
                  <a:lnTo>
                    <a:pt x="5949588" y="7668915"/>
                  </a:lnTo>
                  <a:lnTo>
                    <a:pt x="5993846" y="7657448"/>
                  </a:lnTo>
                  <a:lnTo>
                    <a:pt x="6038150" y="7651044"/>
                  </a:lnTo>
                  <a:lnTo>
                    <a:pt x="6065203" y="7662110"/>
                  </a:lnTo>
                  <a:lnTo>
                    <a:pt x="6088747" y="7678867"/>
                  </a:lnTo>
                  <a:lnTo>
                    <a:pt x="6109672" y="7699760"/>
                  </a:lnTo>
                  <a:lnTo>
                    <a:pt x="6131857" y="7713801"/>
                  </a:lnTo>
                  <a:lnTo>
                    <a:pt x="6155573" y="7711566"/>
                  </a:lnTo>
                  <a:lnTo>
                    <a:pt x="6181590" y="7699707"/>
                  </a:lnTo>
                  <a:lnTo>
                    <a:pt x="6198506" y="7683873"/>
                  </a:lnTo>
                  <a:lnTo>
                    <a:pt x="6238405" y="7629650"/>
                  </a:lnTo>
                  <a:lnTo>
                    <a:pt x="6261559" y="7595621"/>
                  </a:lnTo>
                  <a:lnTo>
                    <a:pt x="6273318" y="7570974"/>
                  </a:lnTo>
                  <a:lnTo>
                    <a:pt x="6285077" y="7546337"/>
                  </a:lnTo>
                  <a:lnTo>
                    <a:pt x="6278759" y="7519290"/>
                  </a:lnTo>
                  <a:lnTo>
                    <a:pt x="6256126" y="7496360"/>
                  </a:lnTo>
                  <a:lnTo>
                    <a:pt x="6239308" y="7478481"/>
                  </a:lnTo>
                  <a:lnTo>
                    <a:pt x="6222557" y="7458031"/>
                  </a:lnTo>
                  <a:lnTo>
                    <a:pt x="6204375" y="7430925"/>
                  </a:lnTo>
                  <a:lnTo>
                    <a:pt x="6186265" y="7394152"/>
                  </a:lnTo>
                  <a:lnTo>
                    <a:pt x="6151919" y="7399138"/>
                  </a:lnTo>
                  <a:lnTo>
                    <a:pt x="6114513" y="7408212"/>
                  </a:lnTo>
                  <a:lnTo>
                    <a:pt x="6076091" y="7417273"/>
                  </a:lnTo>
                  <a:lnTo>
                    <a:pt x="6038282" y="7421686"/>
                  </a:lnTo>
                  <a:lnTo>
                    <a:pt x="6002353" y="7415579"/>
                  </a:lnTo>
                  <a:lnTo>
                    <a:pt x="5969992" y="7394152"/>
                  </a:lnTo>
                  <a:lnTo>
                    <a:pt x="5961320" y="7319656"/>
                  </a:lnTo>
                  <a:lnTo>
                    <a:pt x="5953056" y="7262723"/>
                  </a:lnTo>
                  <a:lnTo>
                    <a:pt x="5950946" y="7206441"/>
                  </a:lnTo>
                  <a:lnTo>
                    <a:pt x="5957224" y="7176790"/>
                  </a:lnTo>
                  <a:lnTo>
                    <a:pt x="5974602" y="7149046"/>
                  </a:lnTo>
                  <a:lnTo>
                    <a:pt x="5993114" y="7122113"/>
                  </a:lnTo>
                  <a:lnTo>
                    <a:pt x="6005888" y="7096524"/>
                  </a:lnTo>
                  <a:lnTo>
                    <a:pt x="5999385" y="7068799"/>
                  </a:lnTo>
                  <a:lnTo>
                    <a:pt x="5963193" y="7039135"/>
                  </a:lnTo>
                  <a:lnTo>
                    <a:pt x="5944166" y="7027198"/>
                  </a:lnTo>
                  <a:lnTo>
                    <a:pt x="5925681" y="7013613"/>
                  </a:lnTo>
                  <a:lnTo>
                    <a:pt x="5901986" y="7020096"/>
                  </a:lnTo>
                  <a:lnTo>
                    <a:pt x="5877947" y="7035033"/>
                  </a:lnTo>
                  <a:lnTo>
                    <a:pt x="5852570" y="7059567"/>
                  </a:lnTo>
                  <a:lnTo>
                    <a:pt x="5825815" y="7086745"/>
                  </a:lnTo>
                  <a:lnTo>
                    <a:pt x="5797938" y="7112233"/>
                  </a:lnTo>
                  <a:lnTo>
                    <a:pt x="5769349" y="7126552"/>
                  </a:lnTo>
                  <a:lnTo>
                    <a:pt x="5741479" y="7123465"/>
                  </a:lnTo>
                  <a:lnTo>
                    <a:pt x="5719695" y="7109477"/>
                  </a:lnTo>
                  <a:lnTo>
                    <a:pt x="5703413" y="7083044"/>
                  </a:lnTo>
                  <a:lnTo>
                    <a:pt x="5693870" y="7050017"/>
                  </a:lnTo>
                  <a:lnTo>
                    <a:pt x="5692380" y="7016792"/>
                  </a:lnTo>
                  <a:lnTo>
                    <a:pt x="5703531" y="6988025"/>
                  </a:lnTo>
                  <a:lnTo>
                    <a:pt x="5730597" y="6968405"/>
                  </a:lnTo>
                  <a:lnTo>
                    <a:pt x="5757438" y="6956982"/>
                  </a:lnTo>
                  <a:lnTo>
                    <a:pt x="5783937" y="6950876"/>
                  </a:lnTo>
                  <a:lnTo>
                    <a:pt x="5810850" y="6946642"/>
                  </a:lnTo>
                  <a:lnTo>
                    <a:pt x="5837764" y="6942402"/>
                  </a:lnTo>
                  <a:lnTo>
                    <a:pt x="5864975" y="6941003"/>
                  </a:lnTo>
                  <a:lnTo>
                    <a:pt x="5889739" y="6939842"/>
                  </a:lnTo>
                  <a:lnTo>
                    <a:pt x="5914509" y="6938675"/>
                  </a:lnTo>
                  <a:lnTo>
                    <a:pt x="5937367" y="6937949"/>
                  </a:lnTo>
                  <a:lnTo>
                    <a:pt x="5978137" y="6933577"/>
                  </a:lnTo>
                  <a:lnTo>
                    <a:pt x="6009436" y="6922161"/>
                  </a:lnTo>
                  <a:lnTo>
                    <a:pt x="6028482" y="6901758"/>
                  </a:lnTo>
                  <a:lnTo>
                    <a:pt x="6038006" y="6874553"/>
                  </a:lnTo>
                  <a:lnTo>
                    <a:pt x="6046163" y="6845990"/>
                  </a:lnTo>
                  <a:lnTo>
                    <a:pt x="6059769" y="6821504"/>
                  </a:lnTo>
                  <a:lnTo>
                    <a:pt x="6074647" y="6805379"/>
                  </a:lnTo>
                  <a:lnTo>
                    <a:pt x="6107370" y="6783418"/>
                  </a:lnTo>
                  <a:lnTo>
                    <a:pt x="6139237" y="6762644"/>
                  </a:lnTo>
                  <a:lnTo>
                    <a:pt x="6168004" y="6741632"/>
                  </a:lnTo>
                  <a:lnTo>
                    <a:pt x="6190347" y="6714053"/>
                  </a:lnTo>
                  <a:lnTo>
                    <a:pt x="6202971" y="6677371"/>
                  </a:lnTo>
                  <a:lnTo>
                    <a:pt x="6202588" y="6650122"/>
                  </a:lnTo>
                  <a:lnTo>
                    <a:pt x="6178121" y="6628728"/>
                  </a:lnTo>
                  <a:lnTo>
                    <a:pt x="6145443" y="6608943"/>
                  </a:lnTo>
                  <a:lnTo>
                    <a:pt x="6110094" y="6590273"/>
                  </a:lnTo>
                  <a:lnTo>
                    <a:pt x="6075775" y="6571069"/>
                  </a:lnTo>
                  <a:lnTo>
                    <a:pt x="6049203" y="6549629"/>
                  </a:lnTo>
                  <a:lnTo>
                    <a:pt x="6035282" y="6523626"/>
                  </a:lnTo>
                  <a:lnTo>
                    <a:pt x="6026919" y="6499593"/>
                  </a:lnTo>
                  <a:lnTo>
                    <a:pt x="6031417" y="6478035"/>
                  </a:lnTo>
                  <a:lnTo>
                    <a:pt x="6043446" y="6456971"/>
                  </a:lnTo>
                  <a:lnTo>
                    <a:pt x="6055469" y="6435913"/>
                  </a:lnTo>
                  <a:lnTo>
                    <a:pt x="6075154" y="6415192"/>
                  </a:lnTo>
                  <a:lnTo>
                    <a:pt x="6096489" y="6395764"/>
                  </a:lnTo>
                  <a:lnTo>
                    <a:pt x="6117830" y="6376342"/>
                  </a:lnTo>
                  <a:lnTo>
                    <a:pt x="6140853" y="6357763"/>
                  </a:lnTo>
                  <a:lnTo>
                    <a:pt x="6160420" y="6338638"/>
                  </a:lnTo>
                  <a:lnTo>
                    <a:pt x="6179994" y="6319506"/>
                  </a:lnTo>
                  <a:lnTo>
                    <a:pt x="6195861" y="6300315"/>
                  </a:lnTo>
                  <a:lnTo>
                    <a:pt x="6202588" y="6280147"/>
                  </a:lnTo>
                  <a:lnTo>
                    <a:pt x="6210897" y="6249949"/>
                  </a:lnTo>
                  <a:lnTo>
                    <a:pt x="6213318" y="6223294"/>
                  </a:lnTo>
                  <a:lnTo>
                    <a:pt x="6210752" y="6199895"/>
                  </a:lnTo>
                  <a:lnTo>
                    <a:pt x="6206229" y="6177149"/>
                  </a:lnTo>
                  <a:lnTo>
                    <a:pt x="6198948" y="6157350"/>
                  </a:lnTo>
                  <a:lnTo>
                    <a:pt x="6172093" y="6105957"/>
                  </a:lnTo>
                  <a:lnTo>
                    <a:pt x="6149585" y="6082280"/>
                  </a:lnTo>
                  <a:lnTo>
                    <a:pt x="6156344" y="6061158"/>
                  </a:lnTo>
                  <a:lnTo>
                    <a:pt x="6168584" y="6033953"/>
                  </a:lnTo>
                  <a:lnTo>
                    <a:pt x="6180825" y="6008108"/>
                  </a:lnTo>
                  <a:lnTo>
                    <a:pt x="6196534" y="5969773"/>
                  </a:lnTo>
                  <a:lnTo>
                    <a:pt x="6216806" y="5934905"/>
                  </a:lnTo>
                  <a:lnTo>
                    <a:pt x="6247480" y="5907449"/>
                  </a:lnTo>
                  <a:lnTo>
                    <a:pt x="6291052" y="5902650"/>
                  </a:lnTo>
                  <a:lnTo>
                    <a:pt x="6319568" y="5910173"/>
                  </a:lnTo>
                  <a:lnTo>
                    <a:pt x="6348078" y="5917698"/>
                  </a:lnTo>
                  <a:lnTo>
                    <a:pt x="6376469" y="5927986"/>
                  </a:lnTo>
                  <a:lnTo>
                    <a:pt x="6432559" y="5937530"/>
                  </a:lnTo>
                  <a:lnTo>
                    <a:pt x="6489519" y="5927143"/>
                  </a:lnTo>
                  <a:lnTo>
                    <a:pt x="6545358" y="5911533"/>
                  </a:lnTo>
                  <a:lnTo>
                    <a:pt x="6601197" y="5895915"/>
                  </a:lnTo>
                  <a:lnTo>
                    <a:pt x="6655921" y="5875557"/>
                  </a:lnTo>
                  <a:lnTo>
                    <a:pt x="6696341" y="5863923"/>
                  </a:lnTo>
                  <a:lnTo>
                    <a:pt x="6748092" y="5863990"/>
                  </a:lnTo>
                  <a:lnTo>
                    <a:pt x="6793003" y="5872695"/>
                  </a:lnTo>
                  <a:lnTo>
                    <a:pt x="6826578" y="5880522"/>
                  </a:lnTo>
                  <a:lnTo>
                    <a:pt x="6854125" y="5897927"/>
                  </a:lnTo>
                  <a:lnTo>
                    <a:pt x="6900698" y="5937094"/>
                  </a:lnTo>
                  <a:lnTo>
                    <a:pt x="6931654" y="5964574"/>
                  </a:lnTo>
                  <a:lnTo>
                    <a:pt x="6962617" y="5992057"/>
                  </a:lnTo>
                  <a:lnTo>
                    <a:pt x="6993706" y="6017664"/>
                  </a:lnTo>
                  <a:lnTo>
                    <a:pt x="7037753" y="5994497"/>
                  </a:lnTo>
                  <a:lnTo>
                    <a:pt x="7062048" y="6004902"/>
                  </a:lnTo>
                  <a:lnTo>
                    <a:pt x="7086905" y="6019458"/>
                  </a:lnTo>
                  <a:lnTo>
                    <a:pt x="7112559" y="6033947"/>
                  </a:lnTo>
                  <a:lnTo>
                    <a:pt x="7137580" y="6045098"/>
                  </a:lnTo>
                  <a:lnTo>
                    <a:pt x="7163716" y="6047269"/>
                  </a:lnTo>
                  <a:lnTo>
                    <a:pt x="7190096" y="6035305"/>
                  </a:lnTo>
                  <a:lnTo>
                    <a:pt x="7213217" y="6013542"/>
                  </a:lnTo>
                  <a:lnTo>
                    <a:pt x="7224825" y="5991475"/>
                  </a:lnTo>
                  <a:lnTo>
                    <a:pt x="7234248" y="5964878"/>
                  </a:lnTo>
                  <a:lnTo>
                    <a:pt x="7240421" y="5937371"/>
                  </a:lnTo>
                  <a:lnTo>
                    <a:pt x="7245420" y="5914190"/>
                  </a:lnTo>
                  <a:lnTo>
                    <a:pt x="7246620" y="5892123"/>
                  </a:lnTo>
                  <a:lnTo>
                    <a:pt x="7243145" y="5862559"/>
                  </a:lnTo>
                  <a:lnTo>
                    <a:pt x="7248520" y="5817904"/>
                  </a:lnTo>
                  <a:lnTo>
                    <a:pt x="7262184" y="5775143"/>
                  </a:lnTo>
                  <a:lnTo>
                    <a:pt x="7262184" y="5729262"/>
                  </a:lnTo>
                  <a:lnTo>
                    <a:pt x="7253051" y="5687945"/>
                  </a:lnTo>
                  <a:lnTo>
                    <a:pt x="7262184" y="5668048"/>
                  </a:lnTo>
                  <a:lnTo>
                    <a:pt x="7301121" y="5658261"/>
                  </a:lnTo>
                  <a:lnTo>
                    <a:pt x="7337511" y="5661520"/>
                  </a:lnTo>
                  <a:lnTo>
                    <a:pt x="7369642" y="5672130"/>
                  </a:lnTo>
                  <a:lnTo>
                    <a:pt x="7401601" y="5682432"/>
                  </a:lnTo>
                  <a:lnTo>
                    <a:pt x="7428633" y="5694013"/>
                  </a:lnTo>
                  <a:lnTo>
                    <a:pt x="7461627" y="5657787"/>
                  </a:lnTo>
                  <a:lnTo>
                    <a:pt x="7502879" y="5610244"/>
                  </a:lnTo>
                  <a:lnTo>
                    <a:pt x="7527425" y="5594602"/>
                  </a:lnTo>
                  <a:lnTo>
                    <a:pt x="7587867" y="5556094"/>
                  </a:lnTo>
                  <a:lnTo>
                    <a:pt x="7661895" y="5536157"/>
                  </a:lnTo>
                  <a:lnTo>
                    <a:pt x="7726017" y="5504830"/>
                  </a:lnTo>
                  <a:lnTo>
                    <a:pt x="7763100" y="5486721"/>
                  </a:lnTo>
                  <a:lnTo>
                    <a:pt x="7799313" y="5463586"/>
                  </a:lnTo>
                  <a:lnTo>
                    <a:pt x="7836192" y="5444983"/>
                  </a:lnTo>
                  <a:lnTo>
                    <a:pt x="7872582" y="5426615"/>
                  </a:lnTo>
                  <a:lnTo>
                    <a:pt x="7914308" y="5409390"/>
                  </a:lnTo>
                  <a:lnTo>
                    <a:pt x="7954530" y="5387850"/>
                  </a:lnTo>
                  <a:lnTo>
                    <a:pt x="7994753" y="5366312"/>
                  </a:lnTo>
                  <a:lnTo>
                    <a:pt x="8032298" y="5340374"/>
                  </a:lnTo>
                  <a:lnTo>
                    <a:pt x="8057905" y="5306239"/>
                  </a:lnTo>
                  <a:lnTo>
                    <a:pt x="8073278" y="5285741"/>
                  </a:lnTo>
                  <a:lnTo>
                    <a:pt x="8081640" y="5263899"/>
                  </a:lnTo>
                  <a:lnTo>
                    <a:pt x="8093268" y="5242308"/>
                  </a:lnTo>
                  <a:lnTo>
                    <a:pt x="8113606" y="5204500"/>
                  </a:lnTo>
                  <a:lnTo>
                    <a:pt x="8135329" y="5166460"/>
                  </a:lnTo>
                  <a:lnTo>
                    <a:pt x="8154475" y="5128052"/>
                  </a:lnTo>
                  <a:lnTo>
                    <a:pt x="8169868" y="5097193"/>
                  </a:lnTo>
                  <a:lnTo>
                    <a:pt x="8194770" y="5018556"/>
                  </a:lnTo>
                  <a:lnTo>
                    <a:pt x="8225212" y="4949863"/>
                  </a:lnTo>
                  <a:lnTo>
                    <a:pt x="8240426" y="4915518"/>
                  </a:lnTo>
                  <a:lnTo>
                    <a:pt x="8257579" y="4883552"/>
                  </a:lnTo>
                  <a:lnTo>
                    <a:pt x="8275537" y="4861453"/>
                  </a:lnTo>
                  <a:lnTo>
                    <a:pt x="8293495" y="4839359"/>
                  </a:lnTo>
                  <a:lnTo>
                    <a:pt x="8312653" y="4826901"/>
                  </a:lnTo>
                  <a:lnTo>
                    <a:pt x="8336171" y="4845071"/>
                  </a:lnTo>
                  <a:lnTo>
                    <a:pt x="8343907" y="4869359"/>
                  </a:lnTo>
                  <a:lnTo>
                    <a:pt x="8389557" y="4886684"/>
                  </a:lnTo>
                  <a:lnTo>
                    <a:pt x="8413833" y="4888690"/>
                  </a:lnTo>
                  <a:lnTo>
                    <a:pt x="8437402" y="4884574"/>
                  </a:lnTo>
                  <a:lnTo>
                    <a:pt x="8460966" y="4880459"/>
                  </a:lnTo>
                  <a:lnTo>
                    <a:pt x="8483844" y="4870665"/>
                  </a:lnTo>
                  <a:lnTo>
                    <a:pt x="8516291" y="4854647"/>
                  </a:lnTo>
                  <a:lnTo>
                    <a:pt x="8536741" y="4844550"/>
                  </a:lnTo>
                  <a:lnTo>
                    <a:pt x="8565258" y="4824725"/>
                  </a:lnTo>
                  <a:lnTo>
                    <a:pt x="8587536" y="4798201"/>
                  </a:lnTo>
                  <a:lnTo>
                    <a:pt x="8592462" y="4774399"/>
                  </a:lnTo>
                  <a:lnTo>
                    <a:pt x="8600501" y="4735536"/>
                  </a:lnTo>
                  <a:lnTo>
                    <a:pt x="8594322" y="4708760"/>
                  </a:lnTo>
                  <a:lnTo>
                    <a:pt x="8581580" y="4683265"/>
                  </a:lnTo>
                  <a:lnTo>
                    <a:pt x="8568839" y="4657761"/>
                  </a:lnTo>
                  <a:lnTo>
                    <a:pt x="8548876" y="4634857"/>
                  </a:lnTo>
                  <a:lnTo>
                    <a:pt x="8528531" y="4604369"/>
                  </a:lnTo>
                  <a:lnTo>
                    <a:pt x="8507704" y="4571005"/>
                  </a:lnTo>
                  <a:lnTo>
                    <a:pt x="8492701" y="4543229"/>
                  </a:lnTo>
                  <a:lnTo>
                    <a:pt x="8487728" y="4522757"/>
                  </a:lnTo>
                  <a:lnTo>
                    <a:pt x="8517505" y="4340494"/>
                  </a:lnTo>
                  <a:lnTo>
                    <a:pt x="8533378" y="4323341"/>
                  </a:lnTo>
                  <a:lnTo>
                    <a:pt x="8731331" y="4303405"/>
                  </a:lnTo>
                  <a:lnTo>
                    <a:pt x="8773261" y="4297772"/>
                  </a:lnTo>
                  <a:lnTo>
                    <a:pt x="8814876" y="4270041"/>
                  </a:lnTo>
                  <a:lnTo>
                    <a:pt x="8854979" y="4262965"/>
                  </a:lnTo>
                  <a:lnTo>
                    <a:pt x="8890703" y="4256646"/>
                  </a:lnTo>
                  <a:lnTo>
                    <a:pt x="9058036" y="4237013"/>
                  </a:lnTo>
                  <a:lnTo>
                    <a:pt x="9078052" y="4227597"/>
                  </a:lnTo>
                  <a:lnTo>
                    <a:pt x="9120239" y="4207765"/>
                  </a:lnTo>
                  <a:lnTo>
                    <a:pt x="9157157" y="4173102"/>
                  </a:lnTo>
                  <a:lnTo>
                    <a:pt x="9200473" y="4156866"/>
                  </a:lnTo>
                  <a:lnTo>
                    <a:pt x="9235366" y="4143755"/>
                  </a:lnTo>
                  <a:lnTo>
                    <a:pt x="9276386" y="4145048"/>
                  </a:lnTo>
                  <a:lnTo>
                    <a:pt x="9310647" y="4125580"/>
                  </a:lnTo>
                  <a:lnTo>
                    <a:pt x="9336321" y="4111005"/>
                  </a:lnTo>
                  <a:lnTo>
                    <a:pt x="9353092" y="4087435"/>
                  </a:lnTo>
                  <a:lnTo>
                    <a:pt x="9382736" y="4076612"/>
                  </a:lnTo>
                  <a:lnTo>
                    <a:pt x="9411206" y="4083464"/>
                  </a:lnTo>
                  <a:lnTo>
                    <a:pt x="9436728" y="4084751"/>
                  </a:lnTo>
                  <a:lnTo>
                    <a:pt x="9460266" y="4082054"/>
                  </a:lnTo>
                  <a:lnTo>
                    <a:pt x="9483809" y="4079362"/>
                  </a:lnTo>
                  <a:lnTo>
                    <a:pt x="9505414" y="4073045"/>
                  </a:lnTo>
                  <a:lnTo>
                    <a:pt x="9524197" y="4061649"/>
                  </a:lnTo>
                  <a:lnTo>
                    <a:pt x="9542979" y="4050259"/>
                  </a:lnTo>
                  <a:lnTo>
                    <a:pt x="9558965" y="4034649"/>
                  </a:lnTo>
                  <a:lnTo>
                    <a:pt x="9573164" y="4015405"/>
                  </a:lnTo>
                  <a:lnTo>
                    <a:pt x="9587369" y="3996161"/>
                  </a:lnTo>
                  <a:lnTo>
                    <a:pt x="9598739" y="3972281"/>
                  </a:lnTo>
                  <a:lnTo>
                    <a:pt x="9608533" y="3946034"/>
                  </a:lnTo>
                  <a:lnTo>
                    <a:pt x="9608862" y="3923854"/>
                  </a:lnTo>
                  <a:lnTo>
                    <a:pt x="9596285" y="3884825"/>
                  </a:lnTo>
                  <a:lnTo>
                    <a:pt x="9580464" y="3845843"/>
                  </a:lnTo>
                  <a:lnTo>
                    <a:pt x="9568587" y="3809553"/>
                  </a:lnTo>
                  <a:lnTo>
                    <a:pt x="9569088" y="3774652"/>
                  </a:lnTo>
                  <a:lnTo>
                    <a:pt x="9586004" y="3738017"/>
                  </a:lnTo>
                  <a:lnTo>
                    <a:pt x="9609891" y="3718885"/>
                  </a:lnTo>
                  <a:lnTo>
                    <a:pt x="9638453" y="3717527"/>
                  </a:lnTo>
                  <a:lnTo>
                    <a:pt x="9665657" y="3721603"/>
                  </a:lnTo>
                  <a:lnTo>
                    <a:pt x="9692861" y="3725671"/>
                  </a:lnTo>
                  <a:lnTo>
                    <a:pt x="9718706" y="3722955"/>
                  </a:lnTo>
                  <a:lnTo>
                    <a:pt x="9735029" y="3698474"/>
                  </a:lnTo>
                  <a:lnTo>
                    <a:pt x="9739804" y="3675372"/>
                  </a:lnTo>
                  <a:lnTo>
                    <a:pt x="9738419" y="3650846"/>
                  </a:lnTo>
                  <a:lnTo>
                    <a:pt x="9732306" y="3627743"/>
                  </a:lnTo>
                  <a:lnTo>
                    <a:pt x="9724220" y="3607022"/>
                  </a:lnTo>
                  <a:lnTo>
                    <a:pt x="9673815" y="3547490"/>
                  </a:lnTo>
                  <a:lnTo>
                    <a:pt x="9657836" y="3528728"/>
                  </a:lnTo>
                  <a:lnTo>
                    <a:pt x="9662960" y="3498075"/>
                  </a:lnTo>
                  <a:lnTo>
                    <a:pt x="9646611" y="3480842"/>
                  </a:lnTo>
                  <a:lnTo>
                    <a:pt x="9619935" y="3458407"/>
                  </a:lnTo>
                  <a:lnTo>
                    <a:pt x="9594399" y="3443429"/>
                  </a:lnTo>
                  <a:lnTo>
                    <a:pt x="9570440" y="3430517"/>
                  </a:lnTo>
                  <a:lnTo>
                    <a:pt x="9546738" y="3414471"/>
                  </a:lnTo>
                  <a:lnTo>
                    <a:pt x="9526135" y="3389430"/>
                  </a:lnTo>
                  <a:lnTo>
                    <a:pt x="9509232" y="3348905"/>
                  </a:lnTo>
                  <a:lnTo>
                    <a:pt x="9498694" y="3313008"/>
                  </a:lnTo>
                  <a:close/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92" name="Khmelnytsky¬0" descr="Khmelnytsky¬0">
              <a:extLst>
                <a:ext uri="{FF2B5EF4-FFF2-40B4-BE49-F238E27FC236}">
                  <a16:creationId xmlns:a16="http://schemas.microsoft.com/office/drawing/2014/main" id="{1DB41228-28BA-4DE8-8799-6FE1B9889ED9}"/>
                </a:ext>
              </a:extLst>
            </p:cNvPr>
            <p:cNvSpPr/>
            <p:nvPr/>
          </p:nvSpPr>
          <p:spPr>
            <a:xfrm>
              <a:off x="2250084" y="1994736"/>
              <a:ext cx="599041" cy="971534"/>
            </a:xfrm>
            <a:custGeom>
              <a:avLst/>
              <a:gdLst/>
              <a:ahLst/>
              <a:cxnLst/>
              <a:rect l="0" t="0" r="0" b="0"/>
              <a:pathLst>
                <a:path w="6112888" h="11253986">
                  <a:moveTo>
                    <a:pt x="4288341" y="10295067"/>
                  </a:moveTo>
                  <a:lnTo>
                    <a:pt x="4292741" y="10266965"/>
                  </a:lnTo>
                  <a:lnTo>
                    <a:pt x="4300054" y="10236939"/>
                  </a:lnTo>
                  <a:lnTo>
                    <a:pt x="4314834" y="10192363"/>
                  </a:lnTo>
                  <a:lnTo>
                    <a:pt x="4327483" y="10163010"/>
                  </a:lnTo>
                  <a:lnTo>
                    <a:pt x="4338985" y="10133669"/>
                  </a:lnTo>
                  <a:lnTo>
                    <a:pt x="4350493" y="10104328"/>
                  </a:lnTo>
                  <a:lnTo>
                    <a:pt x="4361790" y="10074922"/>
                  </a:lnTo>
                  <a:lnTo>
                    <a:pt x="4370270" y="10045251"/>
                  </a:lnTo>
                  <a:lnTo>
                    <a:pt x="4378751" y="10015588"/>
                  </a:lnTo>
                  <a:lnTo>
                    <a:pt x="4384449" y="9984822"/>
                  </a:lnTo>
                  <a:lnTo>
                    <a:pt x="4385235" y="9954123"/>
                  </a:lnTo>
                  <a:lnTo>
                    <a:pt x="4385952" y="9925877"/>
                  </a:lnTo>
                  <a:lnTo>
                    <a:pt x="4382965" y="9895916"/>
                  </a:lnTo>
                  <a:lnTo>
                    <a:pt x="4382517" y="9865706"/>
                  </a:lnTo>
                  <a:lnTo>
                    <a:pt x="4382055" y="9835507"/>
                  </a:lnTo>
                  <a:lnTo>
                    <a:pt x="4384535" y="9806252"/>
                  </a:lnTo>
                  <a:lnTo>
                    <a:pt x="4393398" y="9778658"/>
                  </a:lnTo>
                  <a:lnTo>
                    <a:pt x="4404002" y="9754746"/>
                  </a:lnTo>
                  <a:lnTo>
                    <a:pt x="4397435" y="9727970"/>
                  </a:lnTo>
                  <a:lnTo>
                    <a:pt x="4386599" y="9705205"/>
                  </a:lnTo>
                  <a:lnTo>
                    <a:pt x="4382860" y="9678343"/>
                  </a:lnTo>
                  <a:lnTo>
                    <a:pt x="4370257" y="9593559"/>
                  </a:lnTo>
                  <a:lnTo>
                    <a:pt x="4381159" y="9571908"/>
                  </a:lnTo>
                  <a:lnTo>
                    <a:pt x="4446065" y="9582019"/>
                  </a:lnTo>
                  <a:lnTo>
                    <a:pt x="4470420" y="9586470"/>
                  </a:lnTo>
                  <a:lnTo>
                    <a:pt x="4491334" y="9571908"/>
                  </a:lnTo>
                  <a:lnTo>
                    <a:pt x="4492751" y="9550337"/>
                  </a:lnTo>
                  <a:lnTo>
                    <a:pt x="4482074" y="9522361"/>
                  </a:lnTo>
                  <a:lnTo>
                    <a:pt x="4470671" y="9504469"/>
                  </a:lnTo>
                  <a:lnTo>
                    <a:pt x="4458695" y="9486214"/>
                  </a:lnTo>
                  <a:lnTo>
                    <a:pt x="4447504" y="9467485"/>
                  </a:lnTo>
                  <a:lnTo>
                    <a:pt x="4433258" y="9430355"/>
                  </a:lnTo>
                  <a:lnTo>
                    <a:pt x="4421645" y="9400072"/>
                  </a:lnTo>
                  <a:lnTo>
                    <a:pt x="4413803" y="9371957"/>
                  </a:lnTo>
                  <a:lnTo>
                    <a:pt x="4401979" y="9329558"/>
                  </a:lnTo>
                  <a:lnTo>
                    <a:pt x="4390095" y="9282406"/>
                  </a:lnTo>
                  <a:lnTo>
                    <a:pt x="4382523" y="9234580"/>
                  </a:lnTo>
                  <a:lnTo>
                    <a:pt x="4374945" y="9186747"/>
                  </a:lnTo>
                  <a:lnTo>
                    <a:pt x="4371755" y="9138181"/>
                  </a:lnTo>
                  <a:lnTo>
                    <a:pt x="4379807" y="9094477"/>
                  </a:lnTo>
                  <a:lnTo>
                    <a:pt x="4383670" y="9073545"/>
                  </a:lnTo>
                  <a:lnTo>
                    <a:pt x="4392957" y="9052864"/>
                  </a:lnTo>
                  <a:lnTo>
                    <a:pt x="4396129" y="9031905"/>
                  </a:lnTo>
                  <a:lnTo>
                    <a:pt x="4347412" y="8839123"/>
                  </a:lnTo>
                  <a:lnTo>
                    <a:pt x="4329520" y="8796276"/>
                  </a:lnTo>
                  <a:lnTo>
                    <a:pt x="4307988" y="8760353"/>
                  </a:lnTo>
                  <a:lnTo>
                    <a:pt x="4290030" y="8725862"/>
                  </a:lnTo>
                  <a:lnTo>
                    <a:pt x="4286568" y="8701203"/>
                  </a:lnTo>
                  <a:lnTo>
                    <a:pt x="4293493" y="8668909"/>
                  </a:lnTo>
                  <a:lnTo>
                    <a:pt x="4307711" y="8649690"/>
                  </a:lnTo>
                  <a:lnTo>
                    <a:pt x="4373001" y="8619769"/>
                  </a:lnTo>
                  <a:lnTo>
                    <a:pt x="4393478" y="8600177"/>
                  </a:lnTo>
                  <a:lnTo>
                    <a:pt x="4390609" y="8568627"/>
                  </a:lnTo>
                  <a:lnTo>
                    <a:pt x="4373001" y="8531351"/>
                  </a:lnTo>
                  <a:lnTo>
                    <a:pt x="4351804" y="8495403"/>
                  </a:lnTo>
                  <a:lnTo>
                    <a:pt x="4320789" y="8461663"/>
                  </a:lnTo>
                  <a:lnTo>
                    <a:pt x="4306353" y="8443620"/>
                  </a:lnTo>
                  <a:lnTo>
                    <a:pt x="4308205" y="8406728"/>
                  </a:lnTo>
                  <a:lnTo>
                    <a:pt x="4327990" y="8372955"/>
                  </a:lnTo>
                  <a:lnTo>
                    <a:pt x="4343839" y="8353922"/>
                  </a:lnTo>
                  <a:lnTo>
                    <a:pt x="4353961" y="8332767"/>
                  </a:lnTo>
                  <a:lnTo>
                    <a:pt x="4364090" y="8311604"/>
                  </a:lnTo>
                  <a:lnTo>
                    <a:pt x="4368978" y="8288079"/>
                  </a:lnTo>
                  <a:lnTo>
                    <a:pt x="4363484" y="8259312"/>
                  </a:lnTo>
                  <a:lnTo>
                    <a:pt x="4384951" y="8229898"/>
                  </a:lnTo>
                  <a:lnTo>
                    <a:pt x="4432962" y="8187625"/>
                  </a:lnTo>
                  <a:lnTo>
                    <a:pt x="4479654" y="8172193"/>
                  </a:lnTo>
                  <a:lnTo>
                    <a:pt x="4500869" y="8139614"/>
                  </a:lnTo>
                  <a:lnTo>
                    <a:pt x="4526497" y="8100257"/>
                  </a:lnTo>
                  <a:lnTo>
                    <a:pt x="4525218" y="8058900"/>
                  </a:lnTo>
                  <a:lnTo>
                    <a:pt x="4534872" y="8028081"/>
                  </a:lnTo>
                  <a:lnTo>
                    <a:pt x="4546915" y="8000072"/>
                  </a:lnTo>
                  <a:lnTo>
                    <a:pt x="4577238" y="7982636"/>
                  </a:lnTo>
                  <a:lnTo>
                    <a:pt x="4600479" y="7978098"/>
                  </a:lnTo>
                  <a:lnTo>
                    <a:pt x="4635523" y="7979114"/>
                  </a:lnTo>
                  <a:lnTo>
                    <a:pt x="4653204" y="7946469"/>
                  </a:lnTo>
                  <a:lnTo>
                    <a:pt x="4630651" y="7890446"/>
                  </a:lnTo>
                  <a:lnTo>
                    <a:pt x="4638241" y="7870299"/>
                  </a:lnTo>
                  <a:lnTo>
                    <a:pt x="4647995" y="7844302"/>
                  </a:lnTo>
                  <a:lnTo>
                    <a:pt x="4681767" y="7814525"/>
                  </a:lnTo>
                  <a:lnTo>
                    <a:pt x="4698836" y="7792827"/>
                  </a:lnTo>
                  <a:lnTo>
                    <a:pt x="4688996" y="7736659"/>
                  </a:lnTo>
                  <a:lnTo>
                    <a:pt x="4704890" y="7702993"/>
                  </a:lnTo>
                  <a:lnTo>
                    <a:pt x="4725294" y="7681230"/>
                  </a:lnTo>
                  <a:lnTo>
                    <a:pt x="4766782" y="7680768"/>
                  </a:lnTo>
                  <a:lnTo>
                    <a:pt x="4810500" y="7677701"/>
                  </a:lnTo>
                  <a:lnTo>
                    <a:pt x="4851791" y="7679870"/>
                  </a:lnTo>
                  <a:lnTo>
                    <a:pt x="4877431" y="7681222"/>
                  </a:lnTo>
                  <a:lnTo>
                    <a:pt x="4901510" y="7688390"/>
                  </a:lnTo>
                  <a:lnTo>
                    <a:pt x="4926603" y="7694835"/>
                  </a:lnTo>
                  <a:lnTo>
                    <a:pt x="4951696" y="7701270"/>
                  </a:lnTo>
                  <a:lnTo>
                    <a:pt x="4976961" y="7706639"/>
                  </a:lnTo>
                  <a:lnTo>
                    <a:pt x="5002774" y="7704351"/>
                  </a:lnTo>
                  <a:lnTo>
                    <a:pt x="5034186" y="7680543"/>
                  </a:lnTo>
                  <a:lnTo>
                    <a:pt x="5049775" y="7646684"/>
                  </a:lnTo>
                  <a:lnTo>
                    <a:pt x="5062623" y="7610499"/>
                  </a:lnTo>
                  <a:lnTo>
                    <a:pt x="5075470" y="7574312"/>
                  </a:lnTo>
                  <a:lnTo>
                    <a:pt x="5086542" y="7535732"/>
                  </a:lnTo>
                  <a:lnTo>
                    <a:pt x="5108873" y="7505764"/>
                  </a:lnTo>
                  <a:lnTo>
                    <a:pt x="5153758" y="7502290"/>
                  </a:lnTo>
                  <a:lnTo>
                    <a:pt x="5187761" y="7511206"/>
                  </a:lnTo>
                  <a:lnTo>
                    <a:pt x="5221765" y="7520122"/>
                  </a:lnTo>
                  <a:lnTo>
                    <a:pt x="5255960" y="7532527"/>
                  </a:lnTo>
                  <a:lnTo>
                    <a:pt x="5305355" y="7549187"/>
                  </a:lnTo>
                  <a:lnTo>
                    <a:pt x="5337493" y="7592988"/>
                  </a:lnTo>
                  <a:lnTo>
                    <a:pt x="5375472" y="7610499"/>
                  </a:lnTo>
                  <a:lnTo>
                    <a:pt x="5394934" y="7619488"/>
                  </a:lnTo>
                  <a:lnTo>
                    <a:pt x="5416156" y="7620714"/>
                  </a:lnTo>
                  <a:lnTo>
                    <a:pt x="5438039" y="7622745"/>
                  </a:lnTo>
                  <a:lnTo>
                    <a:pt x="5459919" y="7624769"/>
                  </a:lnTo>
                  <a:lnTo>
                    <a:pt x="5481650" y="7626966"/>
                  </a:lnTo>
                  <a:lnTo>
                    <a:pt x="5499246" y="7639068"/>
                  </a:lnTo>
                  <a:lnTo>
                    <a:pt x="5522604" y="7655113"/>
                  </a:lnTo>
                  <a:lnTo>
                    <a:pt x="5542263" y="7680741"/>
                  </a:lnTo>
                  <a:lnTo>
                    <a:pt x="5565893" y="7696193"/>
                  </a:lnTo>
                  <a:lnTo>
                    <a:pt x="5587281" y="7710181"/>
                  </a:lnTo>
                  <a:lnTo>
                    <a:pt x="5625300" y="7725757"/>
                  </a:lnTo>
                  <a:lnTo>
                    <a:pt x="5650229" y="7731555"/>
                  </a:lnTo>
                  <a:lnTo>
                    <a:pt x="5671003" y="7736395"/>
                  </a:lnTo>
                  <a:lnTo>
                    <a:pt x="5701914" y="7732913"/>
                  </a:lnTo>
                  <a:lnTo>
                    <a:pt x="5727238" y="7722401"/>
                  </a:lnTo>
                  <a:lnTo>
                    <a:pt x="5757369" y="7692744"/>
                  </a:lnTo>
                  <a:lnTo>
                    <a:pt x="5772452" y="7662744"/>
                  </a:lnTo>
                  <a:lnTo>
                    <a:pt x="5791690" y="7630904"/>
                  </a:lnTo>
                  <a:lnTo>
                    <a:pt x="5809371" y="7613215"/>
                  </a:lnTo>
                  <a:lnTo>
                    <a:pt x="5827863" y="7599115"/>
                  </a:lnTo>
                  <a:lnTo>
                    <a:pt x="5885272" y="7573205"/>
                  </a:lnTo>
                  <a:lnTo>
                    <a:pt x="5911459" y="7562614"/>
                  </a:lnTo>
                  <a:lnTo>
                    <a:pt x="5939949" y="7558814"/>
                  </a:lnTo>
                  <a:lnTo>
                    <a:pt x="5968446" y="7555009"/>
                  </a:lnTo>
                  <a:lnTo>
                    <a:pt x="5998842" y="7557991"/>
                  </a:lnTo>
                  <a:lnTo>
                    <a:pt x="6061013" y="7558814"/>
                  </a:lnTo>
                  <a:lnTo>
                    <a:pt x="6097034" y="7538984"/>
                  </a:lnTo>
                  <a:lnTo>
                    <a:pt x="6112887" y="7516402"/>
                  </a:lnTo>
                  <a:lnTo>
                    <a:pt x="6108112" y="7492542"/>
                  </a:lnTo>
                  <a:lnTo>
                    <a:pt x="6100463" y="7467680"/>
                  </a:lnTo>
                  <a:lnTo>
                    <a:pt x="6092800" y="7442816"/>
                  </a:lnTo>
                  <a:lnTo>
                    <a:pt x="6081726" y="7417373"/>
                  </a:lnTo>
                  <a:lnTo>
                    <a:pt x="6072738" y="7376980"/>
                  </a:lnTo>
                  <a:lnTo>
                    <a:pt x="6075917" y="7349710"/>
                  </a:lnTo>
                  <a:lnTo>
                    <a:pt x="6077334" y="7322137"/>
                  </a:lnTo>
                  <a:lnTo>
                    <a:pt x="6078759" y="7294563"/>
                  </a:lnTo>
                  <a:lnTo>
                    <a:pt x="6077862" y="7266996"/>
                  </a:lnTo>
                  <a:lnTo>
                    <a:pt x="6066459" y="7240525"/>
                  </a:lnTo>
                  <a:lnTo>
                    <a:pt x="6053494" y="7210472"/>
                  </a:lnTo>
                  <a:lnTo>
                    <a:pt x="6036321" y="7190390"/>
                  </a:lnTo>
                  <a:lnTo>
                    <a:pt x="6020209" y="7168436"/>
                  </a:lnTo>
                  <a:lnTo>
                    <a:pt x="6004099" y="7146475"/>
                  </a:lnTo>
                  <a:lnTo>
                    <a:pt x="5989385" y="7122245"/>
                  </a:lnTo>
                  <a:lnTo>
                    <a:pt x="5982125" y="7086824"/>
                  </a:lnTo>
                  <a:lnTo>
                    <a:pt x="5983404" y="7058472"/>
                  </a:lnTo>
                  <a:lnTo>
                    <a:pt x="5989444" y="7023347"/>
                  </a:lnTo>
                  <a:lnTo>
                    <a:pt x="6000761" y="7004981"/>
                  </a:lnTo>
                  <a:lnTo>
                    <a:pt x="6026058" y="6975515"/>
                  </a:lnTo>
                  <a:lnTo>
                    <a:pt x="6051496" y="6953521"/>
                  </a:lnTo>
                  <a:lnTo>
                    <a:pt x="6070383" y="6929779"/>
                  </a:lnTo>
                  <a:lnTo>
                    <a:pt x="6070739" y="6895657"/>
                  </a:lnTo>
                  <a:lnTo>
                    <a:pt x="6062371" y="6873380"/>
                  </a:lnTo>
                  <a:lnTo>
                    <a:pt x="6041972" y="6841988"/>
                  </a:lnTo>
                  <a:lnTo>
                    <a:pt x="6014940" y="6814165"/>
                  </a:lnTo>
                  <a:lnTo>
                    <a:pt x="5975899" y="6768705"/>
                  </a:lnTo>
                  <a:lnTo>
                    <a:pt x="5972607" y="6744054"/>
                  </a:lnTo>
                  <a:lnTo>
                    <a:pt x="5968803" y="6715530"/>
                  </a:lnTo>
                  <a:lnTo>
                    <a:pt x="5981134" y="6679246"/>
                  </a:lnTo>
                  <a:lnTo>
                    <a:pt x="5983489" y="6647477"/>
                  </a:lnTo>
                  <a:lnTo>
                    <a:pt x="5983291" y="6617287"/>
                  </a:lnTo>
                  <a:lnTo>
                    <a:pt x="5970062" y="6593333"/>
                  </a:lnTo>
                  <a:lnTo>
                    <a:pt x="5937239" y="6578106"/>
                  </a:lnTo>
                  <a:lnTo>
                    <a:pt x="5902511" y="6568676"/>
                  </a:lnTo>
                  <a:lnTo>
                    <a:pt x="5858351" y="6553626"/>
                  </a:lnTo>
                  <a:lnTo>
                    <a:pt x="5846085" y="6524747"/>
                  </a:lnTo>
                  <a:lnTo>
                    <a:pt x="5846130" y="6484565"/>
                  </a:lnTo>
                  <a:lnTo>
                    <a:pt x="5847463" y="6463461"/>
                  </a:lnTo>
                  <a:lnTo>
                    <a:pt x="5836740" y="6428613"/>
                  </a:lnTo>
                  <a:lnTo>
                    <a:pt x="5808025" y="6398561"/>
                  </a:lnTo>
                  <a:lnTo>
                    <a:pt x="5792257" y="6376664"/>
                  </a:lnTo>
                  <a:lnTo>
                    <a:pt x="5798502" y="6341435"/>
                  </a:lnTo>
                  <a:lnTo>
                    <a:pt x="5822204" y="6313696"/>
                  </a:lnTo>
                  <a:lnTo>
                    <a:pt x="5842028" y="6303349"/>
                  </a:lnTo>
                  <a:lnTo>
                    <a:pt x="5881677" y="6282655"/>
                  </a:lnTo>
                  <a:lnTo>
                    <a:pt x="5935202" y="6271449"/>
                  </a:lnTo>
                  <a:lnTo>
                    <a:pt x="5959008" y="6266623"/>
                  </a:lnTo>
                  <a:lnTo>
                    <a:pt x="5951333" y="6210242"/>
                  </a:lnTo>
                  <a:lnTo>
                    <a:pt x="5935881" y="6167330"/>
                  </a:lnTo>
                  <a:lnTo>
                    <a:pt x="5920435" y="6124410"/>
                  </a:lnTo>
                  <a:lnTo>
                    <a:pt x="5900941" y="6083792"/>
                  </a:lnTo>
                  <a:lnTo>
                    <a:pt x="5845953" y="6077631"/>
                  </a:lnTo>
                  <a:lnTo>
                    <a:pt x="5799168" y="6083798"/>
                  </a:lnTo>
                  <a:lnTo>
                    <a:pt x="5753618" y="6087076"/>
                  </a:lnTo>
                  <a:lnTo>
                    <a:pt x="5708065" y="6090353"/>
                  </a:lnTo>
                  <a:lnTo>
                    <a:pt x="5663247" y="6089787"/>
                  </a:lnTo>
                  <a:lnTo>
                    <a:pt x="5623038" y="6074836"/>
                  </a:lnTo>
                  <a:lnTo>
                    <a:pt x="5596553" y="6061191"/>
                  </a:lnTo>
                  <a:lnTo>
                    <a:pt x="5578793" y="6039507"/>
                  </a:lnTo>
                  <a:lnTo>
                    <a:pt x="5569989" y="6013629"/>
                  </a:lnTo>
                  <a:lnTo>
                    <a:pt x="5569330" y="5985818"/>
                  </a:lnTo>
                  <a:lnTo>
                    <a:pt x="5578799" y="5959821"/>
                  </a:lnTo>
                  <a:lnTo>
                    <a:pt x="5599909" y="5937451"/>
                  </a:lnTo>
                  <a:lnTo>
                    <a:pt x="5617993" y="5923576"/>
                  </a:lnTo>
                  <a:lnTo>
                    <a:pt x="5663307" y="5911975"/>
                  </a:lnTo>
                  <a:lnTo>
                    <a:pt x="5673358" y="5891207"/>
                  </a:lnTo>
                  <a:lnTo>
                    <a:pt x="5661341" y="5864089"/>
                  </a:lnTo>
                  <a:lnTo>
                    <a:pt x="5620975" y="5835962"/>
                  </a:lnTo>
                  <a:lnTo>
                    <a:pt x="5583588" y="5806871"/>
                  </a:lnTo>
                  <a:lnTo>
                    <a:pt x="5546201" y="5777788"/>
                  </a:lnTo>
                  <a:lnTo>
                    <a:pt x="5511195" y="5748665"/>
                  </a:lnTo>
                  <a:lnTo>
                    <a:pt x="5513879" y="5708305"/>
                  </a:lnTo>
                  <a:lnTo>
                    <a:pt x="5516459" y="5668339"/>
                  </a:lnTo>
                  <a:lnTo>
                    <a:pt x="5525097" y="5634131"/>
                  </a:lnTo>
                  <a:lnTo>
                    <a:pt x="5535056" y="5601098"/>
                  </a:lnTo>
                  <a:lnTo>
                    <a:pt x="5553232" y="5577389"/>
                  </a:lnTo>
                  <a:lnTo>
                    <a:pt x="5582228" y="5567483"/>
                  </a:lnTo>
                  <a:lnTo>
                    <a:pt x="5616060" y="5562405"/>
                  </a:lnTo>
                  <a:lnTo>
                    <a:pt x="5648475" y="5593408"/>
                  </a:lnTo>
                  <a:lnTo>
                    <a:pt x="5681521" y="5604204"/>
                  </a:lnTo>
                  <a:lnTo>
                    <a:pt x="5712702" y="5595913"/>
                  </a:lnTo>
                  <a:lnTo>
                    <a:pt x="5737394" y="5568968"/>
                  </a:lnTo>
                  <a:lnTo>
                    <a:pt x="5753610" y="5533474"/>
                  </a:lnTo>
                  <a:lnTo>
                    <a:pt x="5759341" y="5498811"/>
                  </a:lnTo>
                  <a:lnTo>
                    <a:pt x="5744575" y="5470994"/>
                  </a:lnTo>
                  <a:lnTo>
                    <a:pt x="5731445" y="5454507"/>
                  </a:lnTo>
                  <a:lnTo>
                    <a:pt x="5702322" y="5424736"/>
                  </a:lnTo>
                  <a:lnTo>
                    <a:pt x="5671998" y="5398812"/>
                  </a:lnTo>
                  <a:lnTo>
                    <a:pt x="5667283" y="5363345"/>
                  </a:lnTo>
                  <a:lnTo>
                    <a:pt x="5702540" y="5334334"/>
                  </a:lnTo>
                  <a:lnTo>
                    <a:pt x="5750339" y="5260946"/>
                  </a:lnTo>
                  <a:lnTo>
                    <a:pt x="5777946" y="5200992"/>
                  </a:lnTo>
                  <a:lnTo>
                    <a:pt x="5806659" y="5139019"/>
                  </a:lnTo>
                  <a:lnTo>
                    <a:pt x="5833765" y="5080503"/>
                  </a:lnTo>
                  <a:lnTo>
                    <a:pt x="5850913" y="5042271"/>
                  </a:lnTo>
                  <a:lnTo>
                    <a:pt x="5848821" y="5007081"/>
                  </a:lnTo>
                  <a:lnTo>
                    <a:pt x="5842530" y="4973369"/>
                  </a:lnTo>
                  <a:lnTo>
                    <a:pt x="5829782" y="4955391"/>
                  </a:lnTo>
                  <a:lnTo>
                    <a:pt x="5817034" y="4937413"/>
                  </a:lnTo>
                  <a:lnTo>
                    <a:pt x="5797314" y="4918051"/>
                  </a:lnTo>
                  <a:lnTo>
                    <a:pt x="5769933" y="4895542"/>
                  </a:lnTo>
                  <a:lnTo>
                    <a:pt x="5744919" y="4874985"/>
                  </a:lnTo>
                  <a:lnTo>
                    <a:pt x="5716099" y="4862819"/>
                  </a:lnTo>
                  <a:lnTo>
                    <a:pt x="5686963" y="4850657"/>
                  </a:lnTo>
                  <a:lnTo>
                    <a:pt x="5657827" y="4838496"/>
                  </a:lnTo>
                  <a:lnTo>
                    <a:pt x="5628875" y="4826605"/>
                  </a:lnTo>
                  <a:lnTo>
                    <a:pt x="5603985" y="4805773"/>
                  </a:lnTo>
                  <a:lnTo>
                    <a:pt x="5617195" y="4750784"/>
                  </a:lnTo>
                  <a:lnTo>
                    <a:pt x="5633913" y="4714637"/>
                  </a:lnTo>
                  <a:lnTo>
                    <a:pt x="5650632" y="4678490"/>
                  </a:lnTo>
                  <a:lnTo>
                    <a:pt x="5669493" y="4644310"/>
                  </a:lnTo>
                  <a:lnTo>
                    <a:pt x="5702243" y="4635412"/>
                  </a:lnTo>
                  <a:lnTo>
                    <a:pt x="5724851" y="4642384"/>
                  </a:lnTo>
                  <a:lnTo>
                    <a:pt x="5746812" y="4649348"/>
                  </a:lnTo>
                  <a:lnTo>
                    <a:pt x="5768766" y="4656312"/>
                  </a:lnTo>
                  <a:lnTo>
                    <a:pt x="5790028" y="4662688"/>
                  </a:lnTo>
                  <a:lnTo>
                    <a:pt x="5813459" y="4662946"/>
                  </a:lnTo>
                  <a:lnTo>
                    <a:pt x="5858456" y="4633065"/>
                  </a:lnTo>
                  <a:lnTo>
                    <a:pt x="5884190" y="4608538"/>
                  </a:lnTo>
                  <a:lnTo>
                    <a:pt x="5909923" y="4584019"/>
                  </a:lnTo>
                  <a:lnTo>
                    <a:pt x="5932294" y="4556644"/>
                  </a:lnTo>
                  <a:lnTo>
                    <a:pt x="5931329" y="4524301"/>
                  </a:lnTo>
                  <a:lnTo>
                    <a:pt x="5909211" y="4506845"/>
                  </a:lnTo>
                  <a:lnTo>
                    <a:pt x="5884190" y="4491564"/>
                  </a:lnTo>
                  <a:lnTo>
                    <a:pt x="5859168" y="4476284"/>
                  </a:lnTo>
                  <a:lnTo>
                    <a:pt x="5832439" y="4463469"/>
                  </a:lnTo>
                  <a:lnTo>
                    <a:pt x="5855627" y="4442598"/>
                  </a:lnTo>
                  <a:lnTo>
                    <a:pt x="5893336" y="4440217"/>
                  </a:lnTo>
                  <a:lnTo>
                    <a:pt x="5955672" y="4443277"/>
                  </a:lnTo>
                  <a:lnTo>
                    <a:pt x="5997285" y="4447497"/>
                  </a:lnTo>
                  <a:lnTo>
                    <a:pt x="6015000" y="4420906"/>
                  </a:lnTo>
                  <a:lnTo>
                    <a:pt x="6022471" y="4371774"/>
                  </a:lnTo>
                  <a:lnTo>
                    <a:pt x="6028367" y="4351469"/>
                  </a:lnTo>
                  <a:lnTo>
                    <a:pt x="6010714" y="4334600"/>
                  </a:lnTo>
                  <a:lnTo>
                    <a:pt x="5989391" y="4329857"/>
                  </a:lnTo>
                  <a:lnTo>
                    <a:pt x="5967160" y="4328347"/>
                  </a:lnTo>
                  <a:lnTo>
                    <a:pt x="5944929" y="4326830"/>
                  </a:lnTo>
                  <a:lnTo>
                    <a:pt x="5922276" y="4327417"/>
                  </a:lnTo>
                  <a:lnTo>
                    <a:pt x="5899153" y="4324272"/>
                  </a:lnTo>
                  <a:lnTo>
                    <a:pt x="5867419" y="4319945"/>
                  </a:lnTo>
                  <a:lnTo>
                    <a:pt x="5835335" y="4307053"/>
                  </a:lnTo>
                  <a:lnTo>
                    <a:pt x="5805295" y="4291627"/>
                  </a:lnTo>
                  <a:lnTo>
                    <a:pt x="5775261" y="4276202"/>
                  </a:lnTo>
                  <a:lnTo>
                    <a:pt x="5746435" y="4258197"/>
                  </a:lnTo>
                  <a:lnTo>
                    <a:pt x="5718242" y="4245377"/>
                  </a:lnTo>
                  <a:lnTo>
                    <a:pt x="5683210" y="4229450"/>
                  </a:lnTo>
                  <a:lnTo>
                    <a:pt x="5647584" y="4222413"/>
                  </a:lnTo>
                  <a:lnTo>
                    <a:pt x="5610791" y="4216815"/>
                  </a:lnTo>
                  <a:lnTo>
                    <a:pt x="5573991" y="4211215"/>
                  </a:lnTo>
                  <a:lnTo>
                    <a:pt x="5536045" y="4207443"/>
                  </a:lnTo>
                  <a:lnTo>
                    <a:pt x="5499252" y="4200492"/>
                  </a:lnTo>
                  <a:lnTo>
                    <a:pt x="5478425" y="4196554"/>
                  </a:lnTo>
                  <a:lnTo>
                    <a:pt x="5457400" y="4187644"/>
                  </a:lnTo>
                  <a:lnTo>
                    <a:pt x="5436687" y="4182811"/>
                  </a:lnTo>
                  <a:lnTo>
                    <a:pt x="5409073" y="4176368"/>
                  </a:lnTo>
                  <a:lnTo>
                    <a:pt x="5376838" y="4181453"/>
                  </a:lnTo>
                  <a:lnTo>
                    <a:pt x="5343150" y="4178538"/>
                  </a:lnTo>
                  <a:lnTo>
                    <a:pt x="5312907" y="4154248"/>
                  </a:lnTo>
                  <a:lnTo>
                    <a:pt x="5268100" y="4106040"/>
                  </a:lnTo>
                  <a:lnTo>
                    <a:pt x="5260549" y="4076515"/>
                  </a:lnTo>
                  <a:lnTo>
                    <a:pt x="5253058" y="4045433"/>
                  </a:lnTo>
                  <a:lnTo>
                    <a:pt x="5245565" y="4014351"/>
                  </a:lnTo>
                  <a:lnTo>
                    <a:pt x="5238139" y="3982161"/>
                  </a:lnTo>
                  <a:lnTo>
                    <a:pt x="5204090" y="3940698"/>
                  </a:lnTo>
                  <a:lnTo>
                    <a:pt x="5186383" y="3919134"/>
                  </a:lnTo>
                  <a:lnTo>
                    <a:pt x="5157003" y="3888348"/>
                  </a:lnTo>
                  <a:lnTo>
                    <a:pt x="5130636" y="3855004"/>
                  </a:lnTo>
                  <a:lnTo>
                    <a:pt x="5104270" y="3821661"/>
                  </a:lnTo>
                  <a:lnTo>
                    <a:pt x="5081319" y="3786201"/>
                  </a:lnTo>
                  <a:lnTo>
                    <a:pt x="5078952" y="3755711"/>
                  </a:lnTo>
                  <a:lnTo>
                    <a:pt x="5099337" y="3707404"/>
                  </a:lnTo>
                  <a:lnTo>
                    <a:pt x="5102740" y="3675558"/>
                  </a:lnTo>
                  <a:lnTo>
                    <a:pt x="5095275" y="3655054"/>
                  </a:lnTo>
                  <a:lnTo>
                    <a:pt x="5087809" y="3634549"/>
                  </a:lnTo>
                  <a:lnTo>
                    <a:pt x="5047665" y="3621051"/>
                  </a:lnTo>
                  <a:lnTo>
                    <a:pt x="5025803" y="3616889"/>
                  </a:lnTo>
                  <a:lnTo>
                    <a:pt x="4999747" y="3617614"/>
                  </a:lnTo>
                  <a:lnTo>
                    <a:pt x="4976935" y="3618333"/>
                  </a:lnTo>
                  <a:lnTo>
                    <a:pt x="4954124" y="3619053"/>
                  </a:lnTo>
                  <a:lnTo>
                    <a:pt x="4923885" y="3614258"/>
                  </a:lnTo>
                  <a:lnTo>
                    <a:pt x="4899003" y="3592217"/>
                  </a:lnTo>
                  <a:lnTo>
                    <a:pt x="4883262" y="3575638"/>
                  </a:lnTo>
                  <a:lnTo>
                    <a:pt x="4882641" y="3535718"/>
                  </a:lnTo>
                  <a:lnTo>
                    <a:pt x="4885801" y="3494560"/>
                  </a:lnTo>
                  <a:lnTo>
                    <a:pt x="4888967" y="3453401"/>
                  </a:lnTo>
                  <a:lnTo>
                    <a:pt x="4896332" y="3412163"/>
                  </a:lnTo>
                  <a:lnTo>
                    <a:pt x="4906462" y="3380771"/>
                  </a:lnTo>
                  <a:lnTo>
                    <a:pt x="4945083" y="3379472"/>
                  </a:lnTo>
                  <a:lnTo>
                    <a:pt x="4970135" y="3377587"/>
                  </a:lnTo>
                  <a:lnTo>
                    <a:pt x="4995190" y="3375727"/>
                  </a:lnTo>
                  <a:lnTo>
                    <a:pt x="5020179" y="3371414"/>
                  </a:lnTo>
                  <a:lnTo>
                    <a:pt x="5030183" y="3333117"/>
                  </a:lnTo>
                  <a:lnTo>
                    <a:pt x="5020983" y="3304924"/>
                  </a:lnTo>
                  <a:lnTo>
                    <a:pt x="5008221" y="3278287"/>
                  </a:lnTo>
                  <a:lnTo>
                    <a:pt x="4995461" y="3251657"/>
                  </a:lnTo>
                  <a:lnTo>
                    <a:pt x="4977971" y="3227143"/>
                  </a:lnTo>
                  <a:lnTo>
                    <a:pt x="4960613" y="3202116"/>
                  </a:lnTo>
                  <a:lnTo>
                    <a:pt x="4943263" y="3177094"/>
                  </a:lnTo>
                  <a:lnTo>
                    <a:pt x="4926563" y="3151981"/>
                  </a:lnTo>
                  <a:lnTo>
                    <a:pt x="4913004" y="3125945"/>
                  </a:lnTo>
                  <a:lnTo>
                    <a:pt x="4899451" y="3099915"/>
                  </a:lnTo>
                  <a:lnTo>
                    <a:pt x="4889889" y="3072638"/>
                  </a:lnTo>
                  <a:lnTo>
                    <a:pt x="4888525" y="3042974"/>
                  </a:lnTo>
                  <a:lnTo>
                    <a:pt x="4912134" y="3049747"/>
                  </a:lnTo>
                  <a:lnTo>
                    <a:pt x="4935644" y="3055248"/>
                  </a:lnTo>
                  <a:lnTo>
                    <a:pt x="4959254" y="3059296"/>
                  </a:lnTo>
                  <a:lnTo>
                    <a:pt x="4982680" y="3064295"/>
                  </a:lnTo>
                  <a:lnTo>
                    <a:pt x="5006559" y="3067896"/>
                  </a:lnTo>
                  <a:lnTo>
                    <a:pt x="5029984" y="3070172"/>
                  </a:lnTo>
                  <a:lnTo>
                    <a:pt x="5082487" y="3077347"/>
                  </a:lnTo>
                  <a:lnTo>
                    <a:pt x="5114677" y="3075474"/>
                  </a:lnTo>
                  <a:lnTo>
                    <a:pt x="5136077" y="3067455"/>
                  </a:lnTo>
                  <a:lnTo>
                    <a:pt x="5157484" y="3059435"/>
                  </a:lnTo>
                  <a:lnTo>
                    <a:pt x="5178245" y="3032092"/>
                  </a:lnTo>
                  <a:lnTo>
                    <a:pt x="5195734" y="3003497"/>
                  </a:lnTo>
                  <a:lnTo>
                    <a:pt x="5228769" y="2981793"/>
                  </a:lnTo>
                  <a:lnTo>
                    <a:pt x="5253862" y="2974816"/>
                  </a:lnTo>
                  <a:lnTo>
                    <a:pt x="5296584" y="2976326"/>
                  </a:lnTo>
                  <a:lnTo>
                    <a:pt x="5309753" y="2945020"/>
                  </a:lnTo>
                  <a:lnTo>
                    <a:pt x="5318347" y="2904230"/>
                  </a:lnTo>
                  <a:lnTo>
                    <a:pt x="5322238" y="2883556"/>
                  </a:lnTo>
                  <a:lnTo>
                    <a:pt x="5325114" y="2861641"/>
                  </a:lnTo>
                  <a:lnTo>
                    <a:pt x="5325187" y="2821689"/>
                  </a:lnTo>
                  <a:lnTo>
                    <a:pt x="5312907" y="2787257"/>
                  </a:lnTo>
                  <a:lnTo>
                    <a:pt x="5287958" y="2759413"/>
                  </a:lnTo>
                  <a:lnTo>
                    <a:pt x="5263939" y="2751889"/>
                  </a:lnTo>
                  <a:lnTo>
                    <a:pt x="5234651" y="2742722"/>
                  </a:lnTo>
                  <a:lnTo>
                    <a:pt x="5205113" y="2742029"/>
                  </a:lnTo>
                  <a:lnTo>
                    <a:pt x="5179609" y="2723326"/>
                  </a:lnTo>
                  <a:lnTo>
                    <a:pt x="5166117" y="2689527"/>
                  </a:lnTo>
                  <a:lnTo>
                    <a:pt x="5167364" y="2667560"/>
                  </a:lnTo>
                  <a:lnTo>
                    <a:pt x="5168610" y="2645592"/>
                  </a:lnTo>
                  <a:lnTo>
                    <a:pt x="5174737" y="2620940"/>
                  </a:lnTo>
                  <a:lnTo>
                    <a:pt x="5183685" y="2598187"/>
                  </a:lnTo>
                  <a:lnTo>
                    <a:pt x="5192641" y="2575435"/>
                  </a:lnTo>
                  <a:lnTo>
                    <a:pt x="5204485" y="2554753"/>
                  </a:lnTo>
                  <a:lnTo>
                    <a:pt x="5217689" y="2538339"/>
                  </a:lnTo>
                  <a:lnTo>
                    <a:pt x="5230899" y="2521924"/>
                  </a:lnTo>
                  <a:lnTo>
                    <a:pt x="5258498" y="2507052"/>
                  </a:lnTo>
                  <a:lnTo>
                    <a:pt x="5271140" y="2479789"/>
                  </a:lnTo>
                  <a:lnTo>
                    <a:pt x="5248342" y="2439112"/>
                  </a:lnTo>
                  <a:lnTo>
                    <a:pt x="5192740" y="2421873"/>
                  </a:lnTo>
                  <a:lnTo>
                    <a:pt x="5182716" y="2399496"/>
                  </a:lnTo>
                  <a:lnTo>
                    <a:pt x="5181628" y="2377812"/>
                  </a:lnTo>
                  <a:lnTo>
                    <a:pt x="5188164" y="2352639"/>
                  </a:lnTo>
                  <a:lnTo>
                    <a:pt x="5259849" y="2315266"/>
                  </a:lnTo>
                  <a:lnTo>
                    <a:pt x="5273844" y="2295930"/>
                  </a:lnTo>
                  <a:lnTo>
                    <a:pt x="5283209" y="2269814"/>
                  </a:lnTo>
                  <a:lnTo>
                    <a:pt x="5272097" y="2229572"/>
                  </a:lnTo>
                  <a:lnTo>
                    <a:pt x="5263714" y="2209128"/>
                  </a:lnTo>
                  <a:lnTo>
                    <a:pt x="5249166" y="2189138"/>
                  </a:lnTo>
                  <a:lnTo>
                    <a:pt x="5232653" y="2169723"/>
                  </a:lnTo>
                  <a:lnTo>
                    <a:pt x="5199631" y="2130899"/>
                  </a:lnTo>
                  <a:lnTo>
                    <a:pt x="5157880" y="2095274"/>
                  </a:lnTo>
                  <a:lnTo>
                    <a:pt x="5136077" y="2071789"/>
                  </a:lnTo>
                  <a:lnTo>
                    <a:pt x="5119815" y="2054266"/>
                  </a:lnTo>
                  <a:lnTo>
                    <a:pt x="5108913" y="2005972"/>
                  </a:lnTo>
                  <a:lnTo>
                    <a:pt x="5111596" y="1982019"/>
                  </a:lnTo>
                  <a:lnTo>
                    <a:pt x="5123369" y="1917488"/>
                  </a:lnTo>
                  <a:lnTo>
                    <a:pt x="5127919" y="1863680"/>
                  </a:lnTo>
                  <a:lnTo>
                    <a:pt x="5130194" y="1836779"/>
                  </a:lnTo>
                  <a:lnTo>
                    <a:pt x="5131460" y="1809074"/>
                  </a:lnTo>
                  <a:lnTo>
                    <a:pt x="5129278" y="1787509"/>
                  </a:lnTo>
                  <a:lnTo>
                    <a:pt x="5127095" y="1765943"/>
                  </a:lnTo>
                  <a:lnTo>
                    <a:pt x="5111596" y="1745342"/>
                  </a:lnTo>
                  <a:lnTo>
                    <a:pt x="5060756" y="1735779"/>
                  </a:lnTo>
                  <a:lnTo>
                    <a:pt x="5027261" y="1746707"/>
                  </a:lnTo>
                  <a:lnTo>
                    <a:pt x="5005584" y="1808870"/>
                  </a:lnTo>
                  <a:lnTo>
                    <a:pt x="4987863" y="1824638"/>
                  </a:lnTo>
                  <a:lnTo>
                    <a:pt x="4967413" y="1839200"/>
                  </a:lnTo>
                  <a:lnTo>
                    <a:pt x="4958074" y="1878242"/>
                  </a:lnTo>
                  <a:lnTo>
                    <a:pt x="4946830" y="1914408"/>
                  </a:lnTo>
                  <a:lnTo>
                    <a:pt x="4919810" y="1945292"/>
                  </a:lnTo>
                  <a:lnTo>
                    <a:pt x="4855714" y="1944897"/>
                  </a:lnTo>
                  <a:lnTo>
                    <a:pt x="4801471" y="1938493"/>
                  </a:lnTo>
                  <a:lnTo>
                    <a:pt x="4747228" y="1932096"/>
                  </a:lnTo>
                  <a:lnTo>
                    <a:pt x="4693803" y="1922810"/>
                  </a:lnTo>
                  <a:lnTo>
                    <a:pt x="4687162" y="1898442"/>
                  </a:lnTo>
                  <a:lnTo>
                    <a:pt x="4695372" y="1865039"/>
                  </a:lnTo>
                  <a:lnTo>
                    <a:pt x="4701045" y="1830046"/>
                  </a:lnTo>
                  <a:lnTo>
                    <a:pt x="4684491" y="1789877"/>
                  </a:lnTo>
                  <a:lnTo>
                    <a:pt x="4655928" y="1768470"/>
                  </a:lnTo>
                  <a:lnTo>
                    <a:pt x="4626877" y="1756427"/>
                  </a:lnTo>
                  <a:lnTo>
                    <a:pt x="4583438" y="1751745"/>
                  </a:lnTo>
                  <a:lnTo>
                    <a:pt x="4556306" y="1757087"/>
                  </a:lnTo>
                  <a:lnTo>
                    <a:pt x="4538948" y="1745342"/>
                  </a:lnTo>
                  <a:lnTo>
                    <a:pt x="4521623" y="1714543"/>
                  </a:lnTo>
                  <a:lnTo>
                    <a:pt x="4519909" y="1693657"/>
                  </a:lnTo>
                  <a:lnTo>
                    <a:pt x="4518188" y="1672765"/>
                  </a:lnTo>
                  <a:lnTo>
                    <a:pt x="4517594" y="1650685"/>
                  </a:lnTo>
                  <a:lnTo>
                    <a:pt x="4479640" y="1630458"/>
                  </a:lnTo>
                  <a:lnTo>
                    <a:pt x="4451896" y="1644690"/>
                  </a:lnTo>
                  <a:lnTo>
                    <a:pt x="4428826" y="1660333"/>
                  </a:lnTo>
                  <a:lnTo>
                    <a:pt x="4396129" y="1650130"/>
                  </a:lnTo>
                  <a:lnTo>
                    <a:pt x="4379807" y="1617486"/>
                  </a:lnTo>
                  <a:lnTo>
                    <a:pt x="4385247" y="1597082"/>
                  </a:lnTo>
                  <a:lnTo>
                    <a:pt x="4429709" y="1561462"/>
                  </a:lnTo>
                  <a:lnTo>
                    <a:pt x="4410307" y="1518147"/>
                  </a:lnTo>
                  <a:lnTo>
                    <a:pt x="4370284" y="1504588"/>
                  </a:lnTo>
                  <a:lnTo>
                    <a:pt x="4346587" y="1488542"/>
                  </a:lnTo>
                  <a:lnTo>
                    <a:pt x="4322655" y="1467504"/>
                  </a:lnTo>
                  <a:lnTo>
                    <a:pt x="4299553" y="1450180"/>
                  </a:lnTo>
                  <a:lnTo>
                    <a:pt x="4276623" y="1432987"/>
                  </a:lnTo>
                  <a:lnTo>
                    <a:pt x="4251840" y="1410353"/>
                  </a:lnTo>
                  <a:lnTo>
                    <a:pt x="4227464" y="1395772"/>
                  </a:lnTo>
                  <a:lnTo>
                    <a:pt x="4206176" y="1383043"/>
                  </a:lnTo>
                  <a:lnTo>
                    <a:pt x="4183134" y="1372677"/>
                  </a:lnTo>
                  <a:lnTo>
                    <a:pt x="4159451" y="1361769"/>
                  </a:lnTo>
                  <a:lnTo>
                    <a:pt x="4135775" y="1350860"/>
                  </a:lnTo>
                  <a:lnTo>
                    <a:pt x="4110932" y="1340005"/>
                  </a:lnTo>
                  <a:lnTo>
                    <a:pt x="4088727" y="1327765"/>
                  </a:lnTo>
                  <a:lnTo>
                    <a:pt x="4069814" y="1317339"/>
                  </a:lnTo>
                  <a:lnTo>
                    <a:pt x="4050635" y="1288314"/>
                  </a:lnTo>
                  <a:lnTo>
                    <a:pt x="4039800" y="1257200"/>
                  </a:lnTo>
                  <a:lnTo>
                    <a:pt x="4034273" y="1224218"/>
                  </a:lnTo>
                  <a:lnTo>
                    <a:pt x="4027514" y="1193104"/>
                  </a:lnTo>
                  <a:lnTo>
                    <a:pt x="4015893" y="1164145"/>
                  </a:lnTo>
                  <a:lnTo>
                    <a:pt x="3979720" y="1134653"/>
                  </a:lnTo>
                  <a:lnTo>
                    <a:pt x="3952233" y="1128164"/>
                  </a:lnTo>
                  <a:lnTo>
                    <a:pt x="3924139" y="1125090"/>
                  </a:lnTo>
                  <a:lnTo>
                    <a:pt x="3896044" y="1122024"/>
                  </a:lnTo>
                  <a:lnTo>
                    <a:pt x="3868313" y="1122973"/>
                  </a:lnTo>
                  <a:lnTo>
                    <a:pt x="3845251" y="1118291"/>
                  </a:lnTo>
                  <a:lnTo>
                    <a:pt x="3822181" y="1113609"/>
                  </a:lnTo>
                  <a:lnTo>
                    <a:pt x="3803141" y="1102701"/>
                  </a:lnTo>
                  <a:lnTo>
                    <a:pt x="3794917" y="1078847"/>
                  </a:lnTo>
                  <a:lnTo>
                    <a:pt x="3786701" y="1054993"/>
                  </a:lnTo>
                  <a:lnTo>
                    <a:pt x="3789366" y="1017000"/>
                  </a:lnTo>
                  <a:lnTo>
                    <a:pt x="3805806" y="956426"/>
                  </a:lnTo>
                  <a:lnTo>
                    <a:pt x="3835727" y="847610"/>
                  </a:lnTo>
                  <a:lnTo>
                    <a:pt x="3847723" y="803371"/>
                  </a:lnTo>
                  <a:lnTo>
                    <a:pt x="3855802" y="773727"/>
                  </a:lnTo>
                  <a:lnTo>
                    <a:pt x="3869730" y="748317"/>
                  </a:lnTo>
                  <a:lnTo>
                    <a:pt x="3883659" y="722907"/>
                  </a:lnTo>
                  <a:lnTo>
                    <a:pt x="3903252" y="701671"/>
                  </a:lnTo>
                  <a:lnTo>
                    <a:pt x="3937744" y="669429"/>
                  </a:lnTo>
                  <a:lnTo>
                    <a:pt x="3972083" y="648418"/>
                  </a:lnTo>
                  <a:lnTo>
                    <a:pt x="3993978" y="638473"/>
                  </a:lnTo>
                  <a:lnTo>
                    <a:pt x="4015273" y="627261"/>
                  </a:lnTo>
                  <a:lnTo>
                    <a:pt x="4036568" y="616043"/>
                  </a:lnTo>
                  <a:lnTo>
                    <a:pt x="4057059" y="603025"/>
                  </a:lnTo>
                  <a:lnTo>
                    <a:pt x="4073764" y="586452"/>
                  </a:lnTo>
                  <a:lnTo>
                    <a:pt x="4040558" y="560422"/>
                  </a:lnTo>
                  <a:lnTo>
                    <a:pt x="4012319" y="555285"/>
                  </a:lnTo>
                  <a:lnTo>
                    <a:pt x="3983988" y="549732"/>
                  </a:lnTo>
                  <a:lnTo>
                    <a:pt x="3955648" y="544462"/>
                  </a:lnTo>
                  <a:lnTo>
                    <a:pt x="3927996" y="535961"/>
                  </a:lnTo>
                  <a:lnTo>
                    <a:pt x="3901016" y="522528"/>
                  </a:lnTo>
                  <a:lnTo>
                    <a:pt x="3886073" y="498984"/>
                  </a:lnTo>
                  <a:lnTo>
                    <a:pt x="3877875" y="475341"/>
                  </a:lnTo>
                  <a:lnTo>
                    <a:pt x="3873813" y="451797"/>
                  </a:lnTo>
                  <a:lnTo>
                    <a:pt x="3870013" y="429078"/>
                  </a:lnTo>
                  <a:lnTo>
                    <a:pt x="3864012" y="406497"/>
                  </a:lnTo>
                  <a:lnTo>
                    <a:pt x="3852050" y="383784"/>
                  </a:lnTo>
                  <a:lnTo>
                    <a:pt x="3828927" y="381067"/>
                  </a:lnTo>
                  <a:lnTo>
                    <a:pt x="3799001" y="375626"/>
                  </a:lnTo>
                  <a:lnTo>
                    <a:pt x="3777633" y="371161"/>
                  </a:lnTo>
                  <a:lnTo>
                    <a:pt x="3754589" y="359561"/>
                  </a:lnTo>
                  <a:lnTo>
                    <a:pt x="3741776" y="331651"/>
                  </a:lnTo>
                  <a:lnTo>
                    <a:pt x="3739257" y="310785"/>
                  </a:lnTo>
                  <a:lnTo>
                    <a:pt x="3732088" y="282123"/>
                  </a:lnTo>
                  <a:lnTo>
                    <a:pt x="3716029" y="266810"/>
                  </a:lnTo>
                  <a:lnTo>
                    <a:pt x="3694266" y="257287"/>
                  </a:lnTo>
                  <a:lnTo>
                    <a:pt x="3665928" y="248450"/>
                  </a:lnTo>
                  <a:lnTo>
                    <a:pt x="3643940" y="240964"/>
                  </a:lnTo>
                  <a:lnTo>
                    <a:pt x="3592125" y="238768"/>
                  </a:lnTo>
                  <a:lnTo>
                    <a:pt x="3551447" y="228725"/>
                  </a:lnTo>
                  <a:lnTo>
                    <a:pt x="3501794" y="216464"/>
                  </a:lnTo>
                  <a:lnTo>
                    <a:pt x="3455222" y="200723"/>
                  </a:lnTo>
                  <a:lnTo>
                    <a:pt x="3445737" y="175807"/>
                  </a:lnTo>
                  <a:lnTo>
                    <a:pt x="3449754" y="140775"/>
                  </a:lnTo>
                  <a:lnTo>
                    <a:pt x="3453513" y="106310"/>
                  </a:lnTo>
                  <a:lnTo>
                    <a:pt x="3457265" y="71838"/>
                  </a:lnTo>
                  <a:lnTo>
                    <a:pt x="3459620" y="37374"/>
                  </a:lnTo>
                  <a:lnTo>
                    <a:pt x="3440680" y="8837"/>
                  </a:lnTo>
                  <a:lnTo>
                    <a:pt x="3411173" y="3139"/>
                  </a:lnTo>
                  <a:lnTo>
                    <a:pt x="3380059" y="1570"/>
                  </a:lnTo>
                  <a:lnTo>
                    <a:pt x="3348951" y="0"/>
                  </a:lnTo>
                  <a:lnTo>
                    <a:pt x="3316491" y="2098"/>
                  </a:lnTo>
                  <a:lnTo>
                    <a:pt x="3289215" y="25067"/>
                  </a:lnTo>
                  <a:lnTo>
                    <a:pt x="3278761" y="47417"/>
                  </a:lnTo>
                  <a:lnTo>
                    <a:pt x="3271242" y="70941"/>
                  </a:lnTo>
                  <a:lnTo>
                    <a:pt x="3263725" y="94466"/>
                  </a:lnTo>
                  <a:lnTo>
                    <a:pt x="3258844" y="119612"/>
                  </a:lnTo>
                  <a:lnTo>
                    <a:pt x="3256279" y="141672"/>
                  </a:lnTo>
                  <a:lnTo>
                    <a:pt x="3209672" y="172404"/>
                  </a:lnTo>
                  <a:lnTo>
                    <a:pt x="3166509" y="186557"/>
                  </a:lnTo>
                  <a:lnTo>
                    <a:pt x="3123346" y="200716"/>
                  </a:lnTo>
                  <a:lnTo>
                    <a:pt x="3076245" y="213741"/>
                  </a:lnTo>
                  <a:lnTo>
                    <a:pt x="3053610" y="228725"/>
                  </a:lnTo>
                  <a:lnTo>
                    <a:pt x="3030865" y="246162"/>
                  </a:lnTo>
                  <a:lnTo>
                    <a:pt x="3008343" y="265695"/>
                  </a:lnTo>
                  <a:lnTo>
                    <a:pt x="2985604" y="284491"/>
                  </a:lnTo>
                  <a:lnTo>
                    <a:pt x="2964962" y="312473"/>
                  </a:lnTo>
                  <a:lnTo>
                    <a:pt x="2946391" y="343568"/>
                  </a:lnTo>
                  <a:lnTo>
                    <a:pt x="2917591" y="366103"/>
                  </a:lnTo>
                  <a:lnTo>
                    <a:pt x="2894588" y="377261"/>
                  </a:lnTo>
                  <a:lnTo>
                    <a:pt x="2871915" y="379042"/>
                  </a:lnTo>
                  <a:lnTo>
                    <a:pt x="2849584" y="374267"/>
                  </a:lnTo>
                  <a:lnTo>
                    <a:pt x="2827254" y="369493"/>
                  </a:lnTo>
                  <a:lnTo>
                    <a:pt x="2806046" y="358149"/>
                  </a:lnTo>
                  <a:lnTo>
                    <a:pt x="2784289" y="345705"/>
                  </a:lnTo>
                  <a:lnTo>
                    <a:pt x="2740781" y="320809"/>
                  </a:lnTo>
                  <a:lnTo>
                    <a:pt x="2698224" y="289107"/>
                  </a:lnTo>
                  <a:lnTo>
                    <a:pt x="2656433" y="283132"/>
                  </a:lnTo>
                  <a:lnTo>
                    <a:pt x="2620682" y="297080"/>
                  </a:lnTo>
                  <a:lnTo>
                    <a:pt x="2603384" y="311695"/>
                  </a:lnTo>
                  <a:lnTo>
                    <a:pt x="2586086" y="326310"/>
                  </a:lnTo>
                  <a:lnTo>
                    <a:pt x="2569572" y="344089"/>
                  </a:lnTo>
                  <a:lnTo>
                    <a:pt x="2526046" y="383065"/>
                  </a:lnTo>
                  <a:lnTo>
                    <a:pt x="2493209" y="403720"/>
                  </a:lnTo>
                  <a:lnTo>
                    <a:pt x="2457847" y="427317"/>
                  </a:lnTo>
                  <a:lnTo>
                    <a:pt x="2437205" y="441048"/>
                  </a:lnTo>
                  <a:lnTo>
                    <a:pt x="2372661" y="432633"/>
                  </a:lnTo>
                  <a:lnTo>
                    <a:pt x="2346308" y="431392"/>
                  </a:lnTo>
                  <a:lnTo>
                    <a:pt x="2321847" y="446864"/>
                  </a:lnTo>
                  <a:lnTo>
                    <a:pt x="2298125" y="475341"/>
                  </a:lnTo>
                  <a:lnTo>
                    <a:pt x="2282377" y="508922"/>
                  </a:lnTo>
                  <a:lnTo>
                    <a:pt x="2278512" y="537630"/>
                  </a:lnTo>
                  <a:lnTo>
                    <a:pt x="2283524" y="564544"/>
                  </a:lnTo>
                  <a:lnTo>
                    <a:pt x="2290541" y="595975"/>
                  </a:lnTo>
                  <a:lnTo>
                    <a:pt x="2295125" y="633124"/>
                  </a:lnTo>
                  <a:lnTo>
                    <a:pt x="2291900" y="659906"/>
                  </a:lnTo>
                  <a:lnTo>
                    <a:pt x="2254678" y="681096"/>
                  </a:lnTo>
                  <a:lnTo>
                    <a:pt x="2218452" y="677580"/>
                  </a:lnTo>
                  <a:lnTo>
                    <a:pt x="2189217" y="664806"/>
                  </a:lnTo>
                  <a:lnTo>
                    <a:pt x="2166069" y="646828"/>
                  </a:lnTo>
                  <a:lnTo>
                    <a:pt x="2143640" y="629972"/>
                  </a:lnTo>
                  <a:lnTo>
                    <a:pt x="2115381" y="617085"/>
                  </a:lnTo>
                  <a:lnTo>
                    <a:pt x="2082775" y="619802"/>
                  </a:lnTo>
                  <a:lnTo>
                    <a:pt x="2070185" y="643577"/>
                  </a:lnTo>
                  <a:lnTo>
                    <a:pt x="2063262" y="674903"/>
                  </a:lnTo>
                  <a:lnTo>
                    <a:pt x="2059555" y="731909"/>
                  </a:lnTo>
                  <a:lnTo>
                    <a:pt x="2059713" y="774084"/>
                  </a:lnTo>
                  <a:lnTo>
                    <a:pt x="2048422" y="794561"/>
                  </a:lnTo>
                  <a:lnTo>
                    <a:pt x="2022551" y="809782"/>
                  </a:lnTo>
                  <a:lnTo>
                    <a:pt x="1989965" y="820136"/>
                  </a:lnTo>
                  <a:lnTo>
                    <a:pt x="1970892" y="836722"/>
                  </a:lnTo>
                  <a:lnTo>
                    <a:pt x="1961376" y="949613"/>
                  </a:lnTo>
                  <a:lnTo>
                    <a:pt x="1959366" y="972953"/>
                  </a:lnTo>
                  <a:lnTo>
                    <a:pt x="1934180" y="998581"/>
                  </a:lnTo>
                  <a:lnTo>
                    <a:pt x="1898343" y="1015253"/>
                  </a:lnTo>
                  <a:lnTo>
                    <a:pt x="1877047" y="1020344"/>
                  </a:lnTo>
                  <a:lnTo>
                    <a:pt x="1855752" y="1025435"/>
                  </a:lnTo>
                  <a:lnTo>
                    <a:pt x="1833731" y="1030526"/>
                  </a:lnTo>
                  <a:lnTo>
                    <a:pt x="1813116" y="1036666"/>
                  </a:lnTo>
                  <a:lnTo>
                    <a:pt x="1792508" y="1042806"/>
                  </a:lnTo>
                  <a:lnTo>
                    <a:pt x="1761432" y="1063870"/>
                  </a:lnTo>
                  <a:lnTo>
                    <a:pt x="1749983" y="1083708"/>
                  </a:lnTo>
                  <a:lnTo>
                    <a:pt x="1757356" y="1123719"/>
                  </a:lnTo>
                  <a:lnTo>
                    <a:pt x="1760060" y="1144981"/>
                  </a:lnTo>
                  <a:lnTo>
                    <a:pt x="1760858" y="1168762"/>
                  </a:lnTo>
                  <a:lnTo>
                    <a:pt x="1741035" y="1202613"/>
                  </a:lnTo>
                  <a:lnTo>
                    <a:pt x="1728405" y="1224173"/>
                  </a:lnTo>
                  <a:lnTo>
                    <a:pt x="1693630" y="1247459"/>
                  </a:lnTo>
                  <a:lnTo>
                    <a:pt x="1656699" y="1269262"/>
                  </a:lnTo>
                  <a:lnTo>
                    <a:pt x="1619774" y="1291058"/>
                  </a:lnTo>
                  <a:lnTo>
                    <a:pt x="1580052" y="1312115"/>
                  </a:lnTo>
                  <a:lnTo>
                    <a:pt x="1557406" y="1331827"/>
                  </a:lnTo>
                  <a:lnTo>
                    <a:pt x="1529641" y="1355998"/>
                  </a:lnTo>
                  <a:lnTo>
                    <a:pt x="1510378" y="1397546"/>
                  </a:lnTo>
                  <a:lnTo>
                    <a:pt x="1492117" y="1437926"/>
                  </a:lnTo>
                  <a:lnTo>
                    <a:pt x="1473854" y="1478307"/>
                  </a:lnTo>
                  <a:lnTo>
                    <a:pt x="1456998" y="1517243"/>
                  </a:lnTo>
                  <a:lnTo>
                    <a:pt x="1432268" y="1534502"/>
                  </a:lnTo>
                  <a:lnTo>
                    <a:pt x="1387858" y="1555164"/>
                  </a:lnTo>
                  <a:lnTo>
                    <a:pt x="1361537" y="1564423"/>
                  </a:lnTo>
                  <a:lnTo>
                    <a:pt x="1335216" y="1573689"/>
                  </a:lnTo>
                  <a:lnTo>
                    <a:pt x="1310861" y="1582606"/>
                  </a:lnTo>
                  <a:lnTo>
                    <a:pt x="1293022" y="1608088"/>
                  </a:lnTo>
                  <a:lnTo>
                    <a:pt x="1264064" y="1650447"/>
                  </a:lnTo>
                  <a:lnTo>
                    <a:pt x="1233681" y="1690920"/>
                  </a:lnTo>
                  <a:lnTo>
                    <a:pt x="1203292" y="1731393"/>
                  </a:lnTo>
                  <a:lnTo>
                    <a:pt x="1171201" y="1769960"/>
                  </a:lnTo>
                  <a:lnTo>
                    <a:pt x="1086780" y="1786137"/>
                  </a:lnTo>
                  <a:lnTo>
                    <a:pt x="1064932" y="1789646"/>
                  </a:lnTo>
                  <a:lnTo>
                    <a:pt x="1028204" y="1795614"/>
                  </a:lnTo>
                  <a:lnTo>
                    <a:pt x="1005162" y="1790213"/>
                  </a:lnTo>
                  <a:lnTo>
                    <a:pt x="972286" y="1782497"/>
                  </a:lnTo>
                  <a:lnTo>
                    <a:pt x="937986" y="1756783"/>
                  </a:lnTo>
                  <a:lnTo>
                    <a:pt x="903151" y="1758927"/>
                  </a:lnTo>
                  <a:lnTo>
                    <a:pt x="870910" y="1773238"/>
                  </a:lnTo>
                  <a:lnTo>
                    <a:pt x="842083" y="1792923"/>
                  </a:lnTo>
                  <a:lnTo>
                    <a:pt x="816099" y="1814693"/>
                  </a:lnTo>
                  <a:lnTo>
                    <a:pt x="790115" y="1836463"/>
                  </a:lnTo>
                  <a:lnTo>
                    <a:pt x="766690" y="1861411"/>
                  </a:lnTo>
                  <a:lnTo>
                    <a:pt x="745368" y="1888148"/>
                  </a:lnTo>
                  <a:lnTo>
                    <a:pt x="724047" y="1914876"/>
                  </a:lnTo>
                  <a:lnTo>
                    <a:pt x="705134" y="1943281"/>
                  </a:lnTo>
                  <a:lnTo>
                    <a:pt x="686879" y="1972477"/>
                  </a:lnTo>
                  <a:lnTo>
                    <a:pt x="668624" y="2001679"/>
                  </a:lnTo>
                  <a:lnTo>
                    <a:pt x="651979" y="2031719"/>
                  </a:lnTo>
                  <a:lnTo>
                    <a:pt x="635194" y="2060894"/>
                  </a:lnTo>
                  <a:lnTo>
                    <a:pt x="621898" y="2083996"/>
                  </a:lnTo>
                  <a:lnTo>
                    <a:pt x="605346" y="2110818"/>
                  </a:lnTo>
                  <a:lnTo>
                    <a:pt x="586226" y="2135700"/>
                  </a:lnTo>
                  <a:lnTo>
                    <a:pt x="567102" y="2160589"/>
                  </a:lnTo>
                  <a:lnTo>
                    <a:pt x="544640" y="2182544"/>
                  </a:lnTo>
                  <a:lnTo>
                    <a:pt x="519573" y="2194190"/>
                  </a:lnTo>
                  <a:lnTo>
                    <a:pt x="490489" y="2203193"/>
                  </a:lnTo>
                  <a:lnTo>
                    <a:pt x="458887" y="2209668"/>
                  </a:lnTo>
                  <a:lnTo>
                    <a:pt x="429802" y="2221395"/>
                  </a:lnTo>
                  <a:lnTo>
                    <a:pt x="392297" y="2244417"/>
                  </a:lnTo>
                  <a:lnTo>
                    <a:pt x="369954" y="2259480"/>
                  </a:lnTo>
                  <a:lnTo>
                    <a:pt x="346343" y="2273798"/>
                  </a:lnTo>
                  <a:lnTo>
                    <a:pt x="314609" y="2286763"/>
                  </a:lnTo>
                  <a:lnTo>
                    <a:pt x="296500" y="2297565"/>
                  </a:lnTo>
                  <a:lnTo>
                    <a:pt x="271531" y="2301246"/>
                  </a:lnTo>
                  <a:lnTo>
                    <a:pt x="215165" y="2326471"/>
                  </a:lnTo>
                  <a:lnTo>
                    <a:pt x="197207" y="2343809"/>
                  </a:lnTo>
                  <a:lnTo>
                    <a:pt x="224707" y="2360329"/>
                  </a:lnTo>
                  <a:lnTo>
                    <a:pt x="262206" y="2368777"/>
                  </a:lnTo>
                  <a:lnTo>
                    <a:pt x="299217" y="2379177"/>
                  </a:lnTo>
                  <a:lnTo>
                    <a:pt x="336234" y="2389577"/>
                  </a:lnTo>
                  <a:lnTo>
                    <a:pt x="372190" y="2403137"/>
                  </a:lnTo>
                  <a:lnTo>
                    <a:pt x="393075" y="2418621"/>
                  </a:lnTo>
                  <a:lnTo>
                    <a:pt x="420813" y="2443102"/>
                  </a:lnTo>
                  <a:lnTo>
                    <a:pt x="441502" y="2475760"/>
                  </a:lnTo>
                  <a:lnTo>
                    <a:pt x="451558" y="2511115"/>
                  </a:lnTo>
                  <a:lnTo>
                    <a:pt x="453082" y="2546859"/>
                  </a:lnTo>
                  <a:lnTo>
                    <a:pt x="436437" y="2576029"/>
                  </a:lnTo>
                  <a:lnTo>
                    <a:pt x="398517" y="2594086"/>
                  </a:lnTo>
                  <a:lnTo>
                    <a:pt x="371028" y="2602520"/>
                  </a:lnTo>
                  <a:lnTo>
                    <a:pt x="341939" y="2606596"/>
                  </a:lnTo>
                  <a:lnTo>
                    <a:pt x="312823" y="2607690"/>
                  </a:lnTo>
                  <a:lnTo>
                    <a:pt x="283705" y="2608786"/>
                  </a:lnTo>
                  <a:lnTo>
                    <a:pt x="254107" y="2607295"/>
                  </a:lnTo>
                  <a:lnTo>
                    <a:pt x="225769" y="2607690"/>
                  </a:lnTo>
                  <a:lnTo>
                    <a:pt x="196607" y="2639043"/>
                  </a:lnTo>
                  <a:lnTo>
                    <a:pt x="204560" y="2677082"/>
                  </a:lnTo>
                  <a:lnTo>
                    <a:pt x="231566" y="2699941"/>
                  </a:lnTo>
                  <a:lnTo>
                    <a:pt x="257056" y="2719230"/>
                  </a:lnTo>
                  <a:lnTo>
                    <a:pt x="282538" y="2738514"/>
                  </a:lnTo>
                  <a:lnTo>
                    <a:pt x="306102" y="2754678"/>
                  </a:lnTo>
                  <a:lnTo>
                    <a:pt x="308172" y="2786156"/>
                  </a:lnTo>
                  <a:lnTo>
                    <a:pt x="295788" y="2804766"/>
                  </a:lnTo>
                  <a:lnTo>
                    <a:pt x="280922" y="2851630"/>
                  </a:lnTo>
                  <a:lnTo>
                    <a:pt x="263855" y="2879730"/>
                  </a:lnTo>
                  <a:lnTo>
                    <a:pt x="245270" y="2895334"/>
                  </a:lnTo>
                  <a:lnTo>
                    <a:pt x="215336" y="2905648"/>
                  </a:lnTo>
                  <a:lnTo>
                    <a:pt x="192636" y="2907370"/>
                  </a:lnTo>
                  <a:lnTo>
                    <a:pt x="161838" y="2942296"/>
                  </a:lnTo>
                  <a:lnTo>
                    <a:pt x="161773" y="2971525"/>
                  </a:lnTo>
                  <a:lnTo>
                    <a:pt x="205332" y="3008819"/>
                  </a:lnTo>
                  <a:lnTo>
                    <a:pt x="235299" y="3013977"/>
                  </a:lnTo>
                  <a:lnTo>
                    <a:pt x="259773" y="3015751"/>
                  </a:lnTo>
                  <a:lnTo>
                    <a:pt x="284246" y="3017524"/>
                  </a:lnTo>
                  <a:lnTo>
                    <a:pt x="322345" y="3029355"/>
                  </a:lnTo>
                  <a:lnTo>
                    <a:pt x="320518" y="3063913"/>
                  </a:lnTo>
                  <a:lnTo>
                    <a:pt x="308259" y="3117371"/>
                  </a:lnTo>
                  <a:lnTo>
                    <a:pt x="281536" y="3138165"/>
                  </a:lnTo>
                  <a:lnTo>
                    <a:pt x="241452" y="3145420"/>
                  </a:lnTo>
                  <a:lnTo>
                    <a:pt x="206724" y="3155852"/>
                  </a:lnTo>
                  <a:lnTo>
                    <a:pt x="177375" y="3164947"/>
                  </a:lnTo>
                  <a:lnTo>
                    <a:pt x="140860" y="3176679"/>
                  </a:lnTo>
                  <a:lnTo>
                    <a:pt x="101989" y="3191215"/>
                  </a:lnTo>
                  <a:lnTo>
                    <a:pt x="65058" y="3209983"/>
                  </a:lnTo>
                  <a:lnTo>
                    <a:pt x="35547" y="3232294"/>
                  </a:lnTo>
                  <a:lnTo>
                    <a:pt x="19019" y="3259227"/>
                  </a:lnTo>
                  <a:lnTo>
                    <a:pt x="6871" y="3297544"/>
                  </a:lnTo>
                  <a:lnTo>
                    <a:pt x="25488" y="3352677"/>
                  </a:lnTo>
                  <a:lnTo>
                    <a:pt x="43500" y="3392524"/>
                  </a:lnTo>
                  <a:lnTo>
                    <a:pt x="61517" y="3432377"/>
                  </a:lnTo>
                  <a:lnTo>
                    <a:pt x="78637" y="3475666"/>
                  </a:lnTo>
                  <a:lnTo>
                    <a:pt x="73426" y="3510862"/>
                  </a:lnTo>
                  <a:lnTo>
                    <a:pt x="66080" y="3534901"/>
                  </a:lnTo>
                  <a:lnTo>
                    <a:pt x="53563" y="3557554"/>
                  </a:lnTo>
                  <a:lnTo>
                    <a:pt x="39424" y="3580235"/>
                  </a:lnTo>
                  <a:lnTo>
                    <a:pt x="27077" y="3603046"/>
                  </a:lnTo>
                  <a:lnTo>
                    <a:pt x="21842" y="3628147"/>
                  </a:lnTo>
                  <a:lnTo>
                    <a:pt x="28536" y="3656406"/>
                  </a:lnTo>
                  <a:lnTo>
                    <a:pt x="36232" y="3676012"/>
                  </a:lnTo>
                  <a:lnTo>
                    <a:pt x="58457" y="3697208"/>
                  </a:lnTo>
                  <a:lnTo>
                    <a:pt x="84249" y="3712969"/>
                  </a:lnTo>
                  <a:lnTo>
                    <a:pt x="111565" y="3727697"/>
                  </a:lnTo>
                  <a:lnTo>
                    <a:pt x="137351" y="3750257"/>
                  </a:lnTo>
                  <a:lnTo>
                    <a:pt x="160012" y="3781162"/>
                  </a:lnTo>
                  <a:lnTo>
                    <a:pt x="167272" y="3808748"/>
                  </a:lnTo>
                  <a:lnTo>
                    <a:pt x="174566" y="3836433"/>
                  </a:lnTo>
                  <a:lnTo>
                    <a:pt x="172027" y="3864428"/>
                  </a:lnTo>
                  <a:lnTo>
                    <a:pt x="165914" y="3890360"/>
                  </a:lnTo>
                  <a:lnTo>
                    <a:pt x="159793" y="3916284"/>
                  </a:lnTo>
                  <a:lnTo>
                    <a:pt x="150020" y="3940607"/>
                  </a:lnTo>
                  <a:lnTo>
                    <a:pt x="142793" y="3965173"/>
                  </a:lnTo>
                  <a:lnTo>
                    <a:pt x="135564" y="3989732"/>
                  </a:lnTo>
                  <a:lnTo>
                    <a:pt x="130665" y="4013672"/>
                  </a:lnTo>
                  <a:lnTo>
                    <a:pt x="134634" y="4037261"/>
                  </a:lnTo>
                  <a:lnTo>
                    <a:pt x="138598" y="4060844"/>
                  </a:lnTo>
                  <a:lnTo>
                    <a:pt x="152051" y="4083623"/>
                  </a:lnTo>
                  <a:lnTo>
                    <a:pt x="179519" y="4106626"/>
                  </a:lnTo>
                  <a:lnTo>
                    <a:pt x="207166" y="4128693"/>
                  </a:lnTo>
                  <a:lnTo>
                    <a:pt x="236209" y="4149856"/>
                  </a:lnTo>
                  <a:lnTo>
                    <a:pt x="265213" y="4171917"/>
                  </a:lnTo>
                  <a:lnTo>
                    <a:pt x="283409" y="4185561"/>
                  </a:lnTo>
                  <a:lnTo>
                    <a:pt x="294528" y="4213173"/>
                  </a:lnTo>
                  <a:lnTo>
                    <a:pt x="301933" y="4242646"/>
                  </a:lnTo>
                  <a:lnTo>
                    <a:pt x="309339" y="4272126"/>
                  </a:lnTo>
                  <a:lnTo>
                    <a:pt x="312637" y="4302594"/>
                  </a:lnTo>
                  <a:lnTo>
                    <a:pt x="312947" y="4336300"/>
                  </a:lnTo>
                  <a:lnTo>
                    <a:pt x="313554" y="4371353"/>
                  </a:lnTo>
                  <a:lnTo>
                    <a:pt x="312815" y="4405870"/>
                  </a:lnTo>
                  <a:lnTo>
                    <a:pt x="312089" y="4440395"/>
                  </a:lnTo>
                  <a:lnTo>
                    <a:pt x="310006" y="4475427"/>
                  </a:lnTo>
                  <a:lnTo>
                    <a:pt x="295628" y="4507814"/>
                  </a:lnTo>
                  <a:lnTo>
                    <a:pt x="278812" y="4522850"/>
                  </a:lnTo>
                  <a:lnTo>
                    <a:pt x="259127" y="4536093"/>
                  </a:lnTo>
                  <a:lnTo>
                    <a:pt x="232865" y="4557197"/>
                  </a:lnTo>
                  <a:lnTo>
                    <a:pt x="219762" y="4583919"/>
                  </a:lnTo>
                  <a:lnTo>
                    <a:pt x="199099" y="4620429"/>
                  </a:lnTo>
                  <a:lnTo>
                    <a:pt x="194266" y="4643201"/>
                  </a:lnTo>
                  <a:lnTo>
                    <a:pt x="195842" y="4664311"/>
                  </a:lnTo>
                  <a:lnTo>
                    <a:pt x="197417" y="4685422"/>
                  </a:lnTo>
                  <a:lnTo>
                    <a:pt x="205232" y="4705008"/>
                  </a:lnTo>
                  <a:lnTo>
                    <a:pt x="217605" y="4722801"/>
                  </a:lnTo>
                  <a:lnTo>
                    <a:pt x="229970" y="4740587"/>
                  </a:lnTo>
                  <a:lnTo>
                    <a:pt x="247262" y="4756244"/>
                  </a:lnTo>
                  <a:lnTo>
                    <a:pt x="265213" y="4771768"/>
                  </a:lnTo>
                  <a:lnTo>
                    <a:pt x="283158" y="4787293"/>
                  </a:lnTo>
                  <a:lnTo>
                    <a:pt x="301301" y="4802343"/>
                  </a:lnTo>
                  <a:lnTo>
                    <a:pt x="319621" y="4816654"/>
                  </a:lnTo>
                  <a:lnTo>
                    <a:pt x="338964" y="4830787"/>
                  </a:lnTo>
                  <a:lnTo>
                    <a:pt x="361815" y="4849140"/>
                  </a:lnTo>
                  <a:lnTo>
                    <a:pt x="375797" y="4870956"/>
                  </a:lnTo>
                  <a:lnTo>
                    <a:pt x="380901" y="4901681"/>
                  </a:lnTo>
                  <a:lnTo>
                    <a:pt x="376588" y="4944470"/>
                  </a:lnTo>
                  <a:lnTo>
                    <a:pt x="369999" y="4964828"/>
                  </a:lnTo>
                  <a:lnTo>
                    <a:pt x="350848" y="4994927"/>
                  </a:lnTo>
                  <a:lnTo>
                    <a:pt x="326420" y="5015247"/>
                  </a:lnTo>
                  <a:lnTo>
                    <a:pt x="300166" y="5034596"/>
                  </a:lnTo>
                  <a:lnTo>
                    <a:pt x="276498" y="5061180"/>
                  </a:lnTo>
                  <a:lnTo>
                    <a:pt x="258407" y="5102292"/>
                  </a:lnTo>
                  <a:lnTo>
                    <a:pt x="251423" y="5144250"/>
                  </a:lnTo>
                  <a:lnTo>
                    <a:pt x="248884" y="5171663"/>
                  </a:lnTo>
                  <a:lnTo>
                    <a:pt x="246352" y="5199085"/>
                  </a:lnTo>
                  <a:lnTo>
                    <a:pt x="243991" y="5228999"/>
                  </a:lnTo>
                  <a:lnTo>
                    <a:pt x="240726" y="5258717"/>
                  </a:lnTo>
                  <a:lnTo>
                    <a:pt x="237461" y="5288433"/>
                  </a:lnTo>
                  <a:lnTo>
                    <a:pt x="232891" y="5318116"/>
                  </a:lnTo>
                  <a:lnTo>
                    <a:pt x="225763" y="5341693"/>
                  </a:lnTo>
                  <a:lnTo>
                    <a:pt x="218641" y="5365264"/>
                  </a:lnTo>
                  <a:lnTo>
                    <a:pt x="194476" y="5392019"/>
                  </a:lnTo>
                  <a:lnTo>
                    <a:pt x="170464" y="5407320"/>
                  </a:lnTo>
                  <a:lnTo>
                    <a:pt x="141005" y="5419645"/>
                  </a:lnTo>
                  <a:lnTo>
                    <a:pt x="115588" y="5432823"/>
                  </a:lnTo>
                  <a:lnTo>
                    <a:pt x="90382" y="5442022"/>
                  </a:lnTo>
                  <a:lnTo>
                    <a:pt x="77502" y="5458661"/>
                  </a:lnTo>
                  <a:lnTo>
                    <a:pt x="64847" y="5475887"/>
                  </a:lnTo>
                  <a:lnTo>
                    <a:pt x="54797" y="5495850"/>
                  </a:lnTo>
                  <a:lnTo>
                    <a:pt x="46216" y="5515793"/>
                  </a:lnTo>
                  <a:lnTo>
                    <a:pt x="35334" y="5542996"/>
                  </a:lnTo>
                  <a:lnTo>
                    <a:pt x="20760" y="5579651"/>
                  </a:lnTo>
                  <a:lnTo>
                    <a:pt x="10821" y="5607251"/>
                  </a:lnTo>
                  <a:lnTo>
                    <a:pt x="5414" y="5630049"/>
                  </a:lnTo>
                  <a:lnTo>
                    <a:pt x="0" y="5652848"/>
                  </a:lnTo>
                  <a:lnTo>
                    <a:pt x="2696" y="5689898"/>
                  </a:lnTo>
                  <a:lnTo>
                    <a:pt x="14060" y="5724811"/>
                  </a:lnTo>
                  <a:lnTo>
                    <a:pt x="25819" y="5747024"/>
                  </a:lnTo>
                  <a:lnTo>
                    <a:pt x="37577" y="5769235"/>
                  </a:lnTo>
                  <a:lnTo>
                    <a:pt x="53668" y="5795878"/>
                  </a:lnTo>
                  <a:lnTo>
                    <a:pt x="73426" y="5831358"/>
                  </a:lnTo>
                  <a:lnTo>
                    <a:pt x="85133" y="5852383"/>
                  </a:lnTo>
                  <a:lnTo>
                    <a:pt x="94861" y="5874535"/>
                  </a:lnTo>
                  <a:lnTo>
                    <a:pt x="103349" y="5898007"/>
                  </a:lnTo>
                  <a:lnTo>
                    <a:pt x="111835" y="5921478"/>
                  </a:lnTo>
                  <a:lnTo>
                    <a:pt x="119070" y="5946711"/>
                  </a:lnTo>
                  <a:lnTo>
                    <a:pt x="125112" y="5971461"/>
                  </a:lnTo>
                  <a:lnTo>
                    <a:pt x="131159" y="5996205"/>
                  </a:lnTo>
                  <a:lnTo>
                    <a:pt x="135683" y="6021418"/>
                  </a:lnTo>
                  <a:lnTo>
                    <a:pt x="140075" y="6046267"/>
                  </a:lnTo>
                  <a:lnTo>
                    <a:pt x="144467" y="6071123"/>
                  </a:lnTo>
                  <a:lnTo>
                    <a:pt x="148794" y="6095933"/>
                  </a:lnTo>
                  <a:lnTo>
                    <a:pt x="152315" y="6119720"/>
                  </a:lnTo>
                  <a:lnTo>
                    <a:pt x="163441" y="6147440"/>
                  </a:lnTo>
                  <a:lnTo>
                    <a:pt x="190157" y="6170891"/>
                  </a:lnTo>
                  <a:lnTo>
                    <a:pt x="224405" y="6191810"/>
                  </a:lnTo>
                  <a:lnTo>
                    <a:pt x="258592" y="6213665"/>
                  </a:lnTo>
                  <a:lnTo>
                    <a:pt x="285434" y="6237967"/>
                  </a:lnTo>
                  <a:lnTo>
                    <a:pt x="297858" y="6267981"/>
                  </a:lnTo>
                  <a:lnTo>
                    <a:pt x="295636" y="6303897"/>
                  </a:lnTo>
                  <a:lnTo>
                    <a:pt x="286482" y="6340888"/>
                  </a:lnTo>
                  <a:lnTo>
                    <a:pt x="284252" y="6375438"/>
                  </a:lnTo>
                  <a:lnTo>
                    <a:pt x="287629" y="6402213"/>
                  </a:lnTo>
                  <a:lnTo>
                    <a:pt x="298472" y="6429280"/>
                  </a:lnTo>
                  <a:lnTo>
                    <a:pt x="308739" y="6455692"/>
                  </a:lnTo>
                  <a:lnTo>
                    <a:pt x="319008" y="6482098"/>
                  </a:lnTo>
                  <a:lnTo>
                    <a:pt x="329197" y="6509117"/>
                  </a:lnTo>
                  <a:lnTo>
                    <a:pt x="330502" y="6537304"/>
                  </a:lnTo>
                  <a:lnTo>
                    <a:pt x="331505" y="6558849"/>
                  </a:lnTo>
                  <a:lnTo>
                    <a:pt x="317452" y="6585769"/>
                  </a:lnTo>
                  <a:lnTo>
                    <a:pt x="307381" y="6613475"/>
                  </a:lnTo>
                  <a:lnTo>
                    <a:pt x="297351" y="6641042"/>
                  </a:lnTo>
                  <a:lnTo>
                    <a:pt x="295642" y="6667513"/>
                  </a:lnTo>
                  <a:lnTo>
                    <a:pt x="306015" y="6691005"/>
                  </a:lnTo>
                  <a:lnTo>
                    <a:pt x="322549" y="6714237"/>
                  </a:lnTo>
                  <a:lnTo>
                    <a:pt x="340699" y="6735480"/>
                  </a:lnTo>
                  <a:lnTo>
                    <a:pt x="356349" y="6754936"/>
                  </a:lnTo>
                  <a:lnTo>
                    <a:pt x="371991" y="6774384"/>
                  </a:lnTo>
                  <a:lnTo>
                    <a:pt x="386144" y="6792975"/>
                  </a:lnTo>
                  <a:lnTo>
                    <a:pt x="402716" y="6828429"/>
                  </a:lnTo>
                  <a:lnTo>
                    <a:pt x="399875" y="6863751"/>
                  </a:lnTo>
                  <a:lnTo>
                    <a:pt x="380815" y="6900412"/>
                  </a:lnTo>
                  <a:lnTo>
                    <a:pt x="354983" y="6920876"/>
                  </a:lnTo>
                  <a:lnTo>
                    <a:pt x="348534" y="6944789"/>
                  </a:lnTo>
                  <a:lnTo>
                    <a:pt x="353558" y="6970608"/>
                  </a:lnTo>
                  <a:lnTo>
                    <a:pt x="359059" y="6994324"/>
                  </a:lnTo>
                  <a:lnTo>
                    <a:pt x="364559" y="7018045"/>
                  </a:lnTo>
                  <a:lnTo>
                    <a:pt x="370139" y="7039887"/>
                  </a:lnTo>
                  <a:lnTo>
                    <a:pt x="350755" y="7073806"/>
                  </a:lnTo>
                  <a:lnTo>
                    <a:pt x="327859" y="7079260"/>
                  </a:lnTo>
                  <a:lnTo>
                    <a:pt x="300569" y="7089540"/>
                  </a:lnTo>
                  <a:lnTo>
                    <a:pt x="273279" y="7099822"/>
                  </a:lnTo>
                  <a:lnTo>
                    <a:pt x="241677" y="7114035"/>
                  </a:lnTo>
                  <a:lnTo>
                    <a:pt x="213516" y="7148031"/>
                  </a:lnTo>
                  <a:lnTo>
                    <a:pt x="200768" y="7173343"/>
                  </a:lnTo>
                  <a:lnTo>
                    <a:pt x="201803" y="7198892"/>
                  </a:lnTo>
                  <a:lnTo>
                    <a:pt x="205352" y="7225561"/>
                  </a:lnTo>
                  <a:lnTo>
                    <a:pt x="206611" y="7260052"/>
                  </a:lnTo>
                  <a:lnTo>
                    <a:pt x="200498" y="7291339"/>
                  </a:lnTo>
                  <a:lnTo>
                    <a:pt x="193111" y="7322137"/>
                  </a:lnTo>
                  <a:lnTo>
                    <a:pt x="185719" y="7352929"/>
                  </a:lnTo>
                  <a:lnTo>
                    <a:pt x="176532" y="7383792"/>
                  </a:lnTo>
                  <a:lnTo>
                    <a:pt x="172707" y="7417346"/>
                  </a:lnTo>
                  <a:lnTo>
                    <a:pt x="182395" y="7458315"/>
                  </a:lnTo>
                  <a:lnTo>
                    <a:pt x="203380" y="7481350"/>
                  </a:lnTo>
                  <a:lnTo>
                    <a:pt x="223033" y="7500324"/>
                  </a:lnTo>
                  <a:lnTo>
                    <a:pt x="242686" y="7519291"/>
                  </a:lnTo>
                  <a:lnTo>
                    <a:pt x="261223" y="7533932"/>
                  </a:lnTo>
                  <a:lnTo>
                    <a:pt x="269283" y="7560173"/>
                  </a:lnTo>
                  <a:lnTo>
                    <a:pt x="263841" y="7590094"/>
                  </a:lnTo>
                  <a:lnTo>
                    <a:pt x="253118" y="7608434"/>
                  </a:lnTo>
                  <a:lnTo>
                    <a:pt x="237581" y="7635908"/>
                  </a:lnTo>
                  <a:lnTo>
                    <a:pt x="228473" y="7675788"/>
                  </a:lnTo>
                  <a:lnTo>
                    <a:pt x="224899" y="7718102"/>
                  </a:lnTo>
                  <a:lnTo>
                    <a:pt x="224397" y="7741077"/>
                  </a:lnTo>
                  <a:lnTo>
                    <a:pt x="228578" y="7769627"/>
                  </a:lnTo>
                  <a:lnTo>
                    <a:pt x="244703" y="7805022"/>
                  </a:lnTo>
                  <a:lnTo>
                    <a:pt x="255769" y="7824661"/>
                  </a:lnTo>
                  <a:lnTo>
                    <a:pt x="266565" y="7845812"/>
                  </a:lnTo>
                  <a:lnTo>
                    <a:pt x="277361" y="7866961"/>
                  </a:lnTo>
                  <a:lnTo>
                    <a:pt x="288573" y="7889654"/>
                  </a:lnTo>
                  <a:lnTo>
                    <a:pt x="296486" y="7912459"/>
                  </a:lnTo>
                  <a:lnTo>
                    <a:pt x="304406" y="7935265"/>
                  </a:lnTo>
                  <a:lnTo>
                    <a:pt x="309307" y="7957807"/>
                  </a:lnTo>
                  <a:lnTo>
                    <a:pt x="308733" y="7980473"/>
                  </a:lnTo>
                  <a:lnTo>
                    <a:pt x="289951" y="8007551"/>
                  </a:lnTo>
                  <a:lnTo>
                    <a:pt x="268267" y="8027976"/>
                  </a:lnTo>
                  <a:lnTo>
                    <a:pt x="248884" y="8045762"/>
                  </a:lnTo>
                  <a:lnTo>
                    <a:pt x="229496" y="8063543"/>
                  </a:lnTo>
                  <a:lnTo>
                    <a:pt x="212843" y="8078407"/>
                  </a:lnTo>
                  <a:lnTo>
                    <a:pt x="186992" y="8111045"/>
                  </a:lnTo>
                  <a:lnTo>
                    <a:pt x="179513" y="8151855"/>
                  </a:lnTo>
                  <a:lnTo>
                    <a:pt x="180107" y="8174534"/>
                  </a:lnTo>
                  <a:lnTo>
                    <a:pt x="188264" y="8202029"/>
                  </a:lnTo>
                  <a:lnTo>
                    <a:pt x="209434" y="8238907"/>
                  </a:lnTo>
                  <a:lnTo>
                    <a:pt x="223586" y="8263064"/>
                  </a:lnTo>
                  <a:lnTo>
                    <a:pt x="236091" y="8285481"/>
                  </a:lnTo>
                  <a:lnTo>
                    <a:pt x="247520" y="8306920"/>
                  </a:lnTo>
                  <a:lnTo>
                    <a:pt x="257366" y="8330274"/>
                  </a:lnTo>
                  <a:lnTo>
                    <a:pt x="264883" y="8354292"/>
                  </a:lnTo>
                  <a:lnTo>
                    <a:pt x="269283" y="8380368"/>
                  </a:lnTo>
                  <a:lnTo>
                    <a:pt x="253705" y="8395212"/>
                  </a:lnTo>
                  <a:lnTo>
                    <a:pt x="217598" y="8391250"/>
                  </a:lnTo>
                  <a:lnTo>
                    <a:pt x="181874" y="8390352"/>
                  </a:lnTo>
                  <a:lnTo>
                    <a:pt x="164548" y="8408931"/>
                  </a:lnTo>
                  <a:lnTo>
                    <a:pt x="181345" y="8443284"/>
                  </a:lnTo>
                  <a:lnTo>
                    <a:pt x="195835" y="8463338"/>
                  </a:lnTo>
                  <a:lnTo>
                    <a:pt x="210324" y="8483393"/>
                  </a:lnTo>
                  <a:lnTo>
                    <a:pt x="222828" y="8503634"/>
                  </a:lnTo>
                  <a:lnTo>
                    <a:pt x="205358" y="8535427"/>
                  </a:lnTo>
                  <a:lnTo>
                    <a:pt x="152308" y="8553108"/>
                  </a:lnTo>
                  <a:lnTo>
                    <a:pt x="136330" y="8576831"/>
                  </a:lnTo>
                  <a:lnTo>
                    <a:pt x="144797" y="8603533"/>
                  </a:lnTo>
                  <a:lnTo>
                    <a:pt x="159820" y="8619664"/>
                  </a:lnTo>
                  <a:lnTo>
                    <a:pt x="176789" y="8636086"/>
                  </a:lnTo>
                  <a:lnTo>
                    <a:pt x="193230" y="8655804"/>
                  </a:lnTo>
                  <a:lnTo>
                    <a:pt x="203874" y="8678925"/>
                  </a:lnTo>
                  <a:lnTo>
                    <a:pt x="205358" y="8708175"/>
                  </a:lnTo>
                  <a:lnTo>
                    <a:pt x="199140" y="8733900"/>
                  </a:lnTo>
                  <a:lnTo>
                    <a:pt x="187083" y="8764060"/>
                  </a:lnTo>
                  <a:lnTo>
                    <a:pt x="174071" y="8795227"/>
                  </a:lnTo>
                  <a:lnTo>
                    <a:pt x="160606" y="8827233"/>
                  </a:lnTo>
                  <a:lnTo>
                    <a:pt x="154894" y="8855708"/>
                  </a:lnTo>
                  <a:lnTo>
                    <a:pt x="160466" y="8878197"/>
                  </a:lnTo>
                  <a:lnTo>
                    <a:pt x="246160" y="8853710"/>
                  </a:lnTo>
                  <a:lnTo>
                    <a:pt x="273365" y="8875473"/>
                  </a:lnTo>
                  <a:lnTo>
                    <a:pt x="270193" y="8911944"/>
                  </a:lnTo>
                  <a:lnTo>
                    <a:pt x="260207" y="8947821"/>
                  </a:lnTo>
                  <a:lnTo>
                    <a:pt x="251602" y="8982932"/>
                  </a:lnTo>
                  <a:lnTo>
                    <a:pt x="246048" y="9013373"/>
                  </a:lnTo>
                  <a:lnTo>
                    <a:pt x="242883" y="9045016"/>
                  </a:lnTo>
                  <a:lnTo>
                    <a:pt x="240720" y="9076783"/>
                  </a:lnTo>
                  <a:lnTo>
                    <a:pt x="238550" y="9108550"/>
                  </a:lnTo>
                  <a:lnTo>
                    <a:pt x="237587" y="9139810"/>
                  </a:lnTo>
                  <a:lnTo>
                    <a:pt x="235279" y="9170635"/>
                  </a:lnTo>
                  <a:lnTo>
                    <a:pt x="233452" y="9195022"/>
                  </a:lnTo>
                  <a:lnTo>
                    <a:pt x="244796" y="9214161"/>
                  </a:lnTo>
                  <a:lnTo>
                    <a:pt x="264970" y="9228775"/>
                  </a:lnTo>
                  <a:lnTo>
                    <a:pt x="278806" y="9245447"/>
                  </a:lnTo>
                  <a:lnTo>
                    <a:pt x="288942" y="9266400"/>
                  </a:lnTo>
                  <a:lnTo>
                    <a:pt x="303557" y="9287603"/>
                  </a:lnTo>
                  <a:lnTo>
                    <a:pt x="326434" y="9300120"/>
                  </a:lnTo>
                  <a:lnTo>
                    <a:pt x="350895" y="9310738"/>
                  </a:lnTo>
                  <a:lnTo>
                    <a:pt x="375355" y="9321356"/>
                  </a:lnTo>
                  <a:lnTo>
                    <a:pt x="400975" y="9330186"/>
                  </a:lnTo>
                  <a:lnTo>
                    <a:pt x="421625" y="9348822"/>
                  </a:lnTo>
                  <a:lnTo>
                    <a:pt x="407558" y="9383400"/>
                  </a:lnTo>
                  <a:lnTo>
                    <a:pt x="374022" y="9382827"/>
                  </a:lnTo>
                  <a:lnTo>
                    <a:pt x="338430" y="9379655"/>
                  </a:lnTo>
                  <a:lnTo>
                    <a:pt x="323011" y="9397407"/>
                  </a:lnTo>
                  <a:lnTo>
                    <a:pt x="324158" y="9428594"/>
                  </a:lnTo>
                  <a:lnTo>
                    <a:pt x="311720" y="9463231"/>
                  </a:lnTo>
                  <a:lnTo>
                    <a:pt x="293770" y="9487566"/>
                  </a:lnTo>
                  <a:lnTo>
                    <a:pt x="281747" y="9508775"/>
                  </a:lnTo>
                  <a:lnTo>
                    <a:pt x="276999" y="9534918"/>
                  </a:lnTo>
                  <a:lnTo>
                    <a:pt x="295128" y="9559656"/>
                  </a:lnTo>
                  <a:lnTo>
                    <a:pt x="323289" y="9582183"/>
                  </a:lnTo>
                  <a:lnTo>
                    <a:pt x="354020" y="9607858"/>
                  </a:lnTo>
                  <a:lnTo>
                    <a:pt x="369063" y="9622953"/>
                  </a:lnTo>
                  <a:lnTo>
                    <a:pt x="376740" y="9643984"/>
                  </a:lnTo>
                  <a:lnTo>
                    <a:pt x="372664" y="9667113"/>
                  </a:lnTo>
                  <a:lnTo>
                    <a:pt x="359065" y="9687510"/>
                  </a:lnTo>
                  <a:lnTo>
                    <a:pt x="344101" y="9707915"/>
                  </a:lnTo>
                  <a:lnTo>
                    <a:pt x="338661" y="9731038"/>
                  </a:lnTo>
                  <a:lnTo>
                    <a:pt x="340350" y="9758928"/>
                  </a:lnTo>
                  <a:lnTo>
                    <a:pt x="342407" y="9787482"/>
                  </a:lnTo>
                  <a:lnTo>
                    <a:pt x="344095" y="9816732"/>
                  </a:lnTo>
                  <a:lnTo>
                    <a:pt x="345111" y="9844747"/>
                  </a:lnTo>
                  <a:lnTo>
                    <a:pt x="343072" y="9873045"/>
                  </a:lnTo>
                  <a:lnTo>
                    <a:pt x="337289" y="9901060"/>
                  </a:lnTo>
                  <a:lnTo>
                    <a:pt x="327436" y="9926392"/>
                  </a:lnTo>
                  <a:lnTo>
                    <a:pt x="317221" y="9951907"/>
                  </a:lnTo>
                  <a:lnTo>
                    <a:pt x="311451" y="9978596"/>
                  </a:lnTo>
                  <a:lnTo>
                    <a:pt x="308403" y="10008663"/>
                  </a:lnTo>
                  <a:lnTo>
                    <a:pt x="310152" y="10031633"/>
                  </a:lnTo>
                  <a:lnTo>
                    <a:pt x="323625" y="10069738"/>
                  </a:lnTo>
                  <a:lnTo>
                    <a:pt x="350895" y="10094213"/>
                  </a:lnTo>
                  <a:lnTo>
                    <a:pt x="384838" y="10111253"/>
                  </a:lnTo>
                  <a:lnTo>
                    <a:pt x="406660" y="10114616"/>
                  </a:lnTo>
                  <a:lnTo>
                    <a:pt x="428490" y="10117980"/>
                  </a:lnTo>
                  <a:lnTo>
                    <a:pt x="452997" y="10118653"/>
                  </a:lnTo>
                  <a:lnTo>
                    <a:pt x="480115" y="10117334"/>
                  </a:lnTo>
                  <a:lnTo>
                    <a:pt x="490996" y="10151336"/>
                  </a:lnTo>
                  <a:lnTo>
                    <a:pt x="479106" y="10175284"/>
                  </a:lnTo>
                  <a:lnTo>
                    <a:pt x="470229" y="10203562"/>
                  </a:lnTo>
                  <a:lnTo>
                    <a:pt x="466509" y="10228866"/>
                  </a:lnTo>
                  <a:lnTo>
                    <a:pt x="477391" y="10251823"/>
                  </a:lnTo>
                  <a:lnTo>
                    <a:pt x="500078" y="10263728"/>
                  </a:lnTo>
                  <a:lnTo>
                    <a:pt x="522277" y="10265594"/>
                  </a:lnTo>
                  <a:lnTo>
                    <a:pt x="545404" y="10257435"/>
                  </a:lnTo>
                  <a:lnTo>
                    <a:pt x="564445" y="10235666"/>
                  </a:lnTo>
                  <a:lnTo>
                    <a:pt x="576664" y="10216495"/>
                  </a:lnTo>
                  <a:lnTo>
                    <a:pt x="601171" y="10200310"/>
                  </a:lnTo>
                  <a:lnTo>
                    <a:pt x="602279" y="10230871"/>
                  </a:lnTo>
                  <a:lnTo>
                    <a:pt x="598962" y="10265666"/>
                  </a:lnTo>
                  <a:lnTo>
                    <a:pt x="588931" y="10298245"/>
                  </a:lnTo>
                  <a:lnTo>
                    <a:pt x="577495" y="10325211"/>
                  </a:lnTo>
                  <a:lnTo>
                    <a:pt x="564992" y="10347444"/>
                  </a:lnTo>
                  <a:lnTo>
                    <a:pt x="553563" y="10370334"/>
                  </a:lnTo>
                  <a:lnTo>
                    <a:pt x="544982" y="10394985"/>
                  </a:lnTo>
                  <a:lnTo>
                    <a:pt x="548162" y="10424458"/>
                  </a:lnTo>
                  <a:lnTo>
                    <a:pt x="571243" y="10443782"/>
                  </a:lnTo>
                  <a:lnTo>
                    <a:pt x="600089" y="10460057"/>
                  </a:lnTo>
                  <a:lnTo>
                    <a:pt x="632174" y="10473761"/>
                  </a:lnTo>
                  <a:lnTo>
                    <a:pt x="662378" y="10485948"/>
                  </a:lnTo>
                  <a:lnTo>
                    <a:pt x="690393" y="10498994"/>
                  </a:lnTo>
                  <a:lnTo>
                    <a:pt x="707882" y="10523270"/>
                  </a:lnTo>
                  <a:lnTo>
                    <a:pt x="722973" y="10538406"/>
                  </a:lnTo>
                  <a:lnTo>
                    <a:pt x="741273" y="10551239"/>
                  </a:lnTo>
                  <a:lnTo>
                    <a:pt x="762291" y="10563373"/>
                  </a:lnTo>
                  <a:lnTo>
                    <a:pt x="782814" y="10571755"/>
                  </a:lnTo>
                  <a:lnTo>
                    <a:pt x="806563" y="10594765"/>
                  </a:lnTo>
                  <a:lnTo>
                    <a:pt x="790538" y="10618678"/>
                  </a:lnTo>
                  <a:lnTo>
                    <a:pt x="764395" y="10623334"/>
                  </a:lnTo>
                  <a:lnTo>
                    <a:pt x="716786" y="10635581"/>
                  </a:lnTo>
                  <a:lnTo>
                    <a:pt x="724430" y="10660431"/>
                  </a:lnTo>
                  <a:lnTo>
                    <a:pt x="738549" y="10681825"/>
                  </a:lnTo>
                  <a:lnTo>
                    <a:pt x="749272" y="10703805"/>
                  </a:lnTo>
                  <a:lnTo>
                    <a:pt x="757760" y="10727856"/>
                  </a:lnTo>
                  <a:lnTo>
                    <a:pt x="763036" y="10752555"/>
                  </a:lnTo>
                  <a:lnTo>
                    <a:pt x="766921" y="10776679"/>
                  </a:lnTo>
                  <a:lnTo>
                    <a:pt x="779728" y="10799886"/>
                  </a:lnTo>
                  <a:lnTo>
                    <a:pt x="798787" y="10817396"/>
                  </a:lnTo>
                  <a:lnTo>
                    <a:pt x="818328" y="10834794"/>
                  </a:lnTo>
                  <a:lnTo>
                    <a:pt x="835639" y="10853424"/>
                  </a:lnTo>
                  <a:lnTo>
                    <a:pt x="868838" y="10845998"/>
                  </a:lnTo>
                  <a:lnTo>
                    <a:pt x="893899" y="10835935"/>
                  </a:lnTo>
                  <a:lnTo>
                    <a:pt x="916730" y="10832808"/>
                  </a:lnTo>
                  <a:lnTo>
                    <a:pt x="941231" y="10834060"/>
                  </a:lnTo>
                  <a:lnTo>
                    <a:pt x="968408" y="10834299"/>
                  </a:lnTo>
                  <a:lnTo>
                    <a:pt x="1001066" y="10830092"/>
                  </a:lnTo>
                  <a:lnTo>
                    <a:pt x="1029629" y="10821926"/>
                  </a:lnTo>
                  <a:lnTo>
                    <a:pt x="1049651" y="10813499"/>
                  </a:lnTo>
                  <a:lnTo>
                    <a:pt x="1069456" y="10805875"/>
                  </a:lnTo>
                  <a:lnTo>
                    <a:pt x="1099640" y="10797743"/>
                  </a:lnTo>
                  <a:lnTo>
                    <a:pt x="1120764" y="10797446"/>
                  </a:lnTo>
                  <a:lnTo>
                    <a:pt x="1142454" y="10798568"/>
                  </a:lnTo>
                  <a:lnTo>
                    <a:pt x="1166724" y="10808183"/>
                  </a:lnTo>
                  <a:lnTo>
                    <a:pt x="1191495" y="10824650"/>
                  </a:lnTo>
                  <a:lnTo>
                    <a:pt x="1216264" y="10841124"/>
                  </a:lnTo>
                  <a:lnTo>
                    <a:pt x="1241537" y="10864100"/>
                  </a:lnTo>
                  <a:lnTo>
                    <a:pt x="1264941" y="10888581"/>
                  </a:lnTo>
                  <a:lnTo>
                    <a:pt x="1288346" y="10913062"/>
                  </a:lnTo>
                  <a:lnTo>
                    <a:pt x="1309918" y="10939592"/>
                  </a:lnTo>
                  <a:lnTo>
                    <a:pt x="1327514" y="10964752"/>
                  </a:lnTo>
                  <a:lnTo>
                    <a:pt x="1345102" y="10989911"/>
                  </a:lnTo>
                  <a:lnTo>
                    <a:pt x="1358260" y="11014254"/>
                  </a:lnTo>
                  <a:lnTo>
                    <a:pt x="1373236" y="11052036"/>
                  </a:lnTo>
                  <a:lnTo>
                    <a:pt x="1386004" y="11087167"/>
                  </a:lnTo>
                  <a:lnTo>
                    <a:pt x="1398818" y="11121474"/>
                  </a:lnTo>
                  <a:lnTo>
                    <a:pt x="1413993" y="11153518"/>
                  </a:lnTo>
                  <a:lnTo>
                    <a:pt x="1433605" y="11183743"/>
                  </a:lnTo>
                  <a:lnTo>
                    <a:pt x="1459643" y="11212820"/>
                  </a:lnTo>
                  <a:lnTo>
                    <a:pt x="1477133" y="11227269"/>
                  </a:lnTo>
                  <a:lnTo>
                    <a:pt x="1509190" y="11246796"/>
                  </a:lnTo>
                  <a:lnTo>
                    <a:pt x="1530183" y="11250398"/>
                  </a:lnTo>
                  <a:lnTo>
                    <a:pt x="1551173" y="11253985"/>
                  </a:lnTo>
                  <a:lnTo>
                    <a:pt x="1574598" y="11252996"/>
                  </a:lnTo>
                  <a:lnTo>
                    <a:pt x="1595472" y="11249038"/>
                  </a:lnTo>
                  <a:lnTo>
                    <a:pt x="1616345" y="11245068"/>
                  </a:lnTo>
                  <a:lnTo>
                    <a:pt x="1647161" y="11225911"/>
                  </a:lnTo>
                  <a:lnTo>
                    <a:pt x="1667323" y="11198984"/>
                  </a:lnTo>
                  <a:lnTo>
                    <a:pt x="1663478" y="11169009"/>
                  </a:lnTo>
                  <a:lnTo>
                    <a:pt x="1659403" y="11148381"/>
                  </a:lnTo>
                  <a:lnTo>
                    <a:pt x="1647161" y="11119818"/>
                  </a:lnTo>
                  <a:lnTo>
                    <a:pt x="1634922" y="11092614"/>
                  </a:lnTo>
                  <a:lnTo>
                    <a:pt x="1624833" y="11073364"/>
                  </a:lnTo>
                  <a:lnTo>
                    <a:pt x="1614128" y="11052912"/>
                  </a:lnTo>
                  <a:lnTo>
                    <a:pt x="1602277" y="11031400"/>
                  </a:lnTo>
                  <a:lnTo>
                    <a:pt x="1593889" y="11012136"/>
                  </a:lnTo>
                  <a:lnTo>
                    <a:pt x="1593796" y="10984992"/>
                  </a:lnTo>
                  <a:lnTo>
                    <a:pt x="1615111" y="10961673"/>
                  </a:lnTo>
                  <a:lnTo>
                    <a:pt x="1645144" y="10949367"/>
                  </a:lnTo>
                  <a:lnTo>
                    <a:pt x="1678448" y="10951154"/>
                  </a:lnTo>
                  <a:lnTo>
                    <a:pt x="1699275" y="10961778"/>
                  </a:lnTo>
                  <a:lnTo>
                    <a:pt x="1713968" y="10982044"/>
                  </a:lnTo>
                  <a:lnTo>
                    <a:pt x="1728767" y="11000120"/>
                  </a:lnTo>
                  <a:lnTo>
                    <a:pt x="1743580" y="11018204"/>
                  </a:lnTo>
                  <a:lnTo>
                    <a:pt x="1758307" y="11034896"/>
                  </a:lnTo>
                  <a:lnTo>
                    <a:pt x="1780459" y="11039572"/>
                  </a:lnTo>
                  <a:lnTo>
                    <a:pt x="1801219" y="11043950"/>
                  </a:lnTo>
                  <a:lnTo>
                    <a:pt x="1836224" y="11034130"/>
                  </a:lnTo>
                  <a:lnTo>
                    <a:pt x="1861141" y="11034988"/>
                  </a:lnTo>
                  <a:lnTo>
                    <a:pt x="1882046" y="11038715"/>
                  </a:lnTo>
                  <a:lnTo>
                    <a:pt x="1910834" y="11043198"/>
                  </a:lnTo>
                  <a:lnTo>
                    <a:pt x="1938294" y="11036400"/>
                  </a:lnTo>
                  <a:lnTo>
                    <a:pt x="1960004" y="11019173"/>
                  </a:lnTo>
                  <a:lnTo>
                    <a:pt x="1974566" y="11003280"/>
                  </a:lnTo>
                  <a:lnTo>
                    <a:pt x="1973545" y="10977058"/>
                  </a:lnTo>
                  <a:lnTo>
                    <a:pt x="1958646" y="10958606"/>
                  </a:lnTo>
                  <a:lnTo>
                    <a:pt x="1940965" y="10943003"/>
                  </a:lnTo>
                  <a:lnTo>
                    <a:pt x="1923278" y="10927399"/>
                  </a:lnTo>
                  <a:lnTo>
                    <a:pt x="1902247" y="10914235"/>
                  </a:lnTo>
                  <a:lnTo>
                    <a:pt x="1861939" y="10882937"/>
                  </a:lnTo>
                  <a:lnTo>
                    <a:pt x="1843354" y="10866052"/>
                  </a:lnTo>
                  <a:lnTo>
                    <a:pt x="1815497" y="10840406"/>
                  </a:lnTo>
                  <a:lnTo>
                    <a:pt x="1796780" y="10826022"/>
                  </a:lnTo>
                  <a:lnTo>
                    <a:pt x="1774654" y="10818345"/>
                  </a:lnTo>
                  <a:lnTo>
                    <a:pt x="1737302" y="10817403"/>
                  </a:lnTo>
                  <a:lnTo>
                    <a:pt x="1711192" y="10819235"/>
                  </a:lnTo>
                  <a:lnTo>
                    <a:pt x="1671642" y="10820588"/>
                  </a:lnTo>
                  <a:lnTo>
                    <a:pt x="1645797" y="10809705"/>
                  </a:lnTo>
                  <a:lnTo>
                    <a:pt x="1633558" y="10782502"/>
                  </a:lnTo>
                  <a:lnTo>
                    <a:pt x="1629553" y="10760468"/>
                  </a:lnTo>
                  <a:lnTo>
                    <a:pt x="1629415" y="10739246"/>
                  </a:lnTo>
                  <a:lnTo>
                    <a:pt x="1636413" y="10714001"/>
                  </a:lnTo>
                  <a:lnTo>
                    <a:pt x="1656717" y="10692449"/>
                  </a:lnTo>
                  <a:lnTo>
                    <a:pt x="1681093" y="10675479"/>
                  </a:lnTo>
                  <a:lnTo>
                    <a:pt x="1708192" y="10667190"/>
                  </a:lnTo>
                  <a:lnTo>
                    <a:pt x="1764063" y="10669142"/>
                  </a:lnTo>
                  <a:lnTo>
                    <a:pt x="1789316" y="10677340"/>
                  </a:lnTo>
                  <a:lnTo>
                    <a:pt x="1809028" y="10688651"/>
                  </a:lnTo>
                  <a:lnTo>
                    <a:pt x="1828739" y="10699960"/>
                  </a:lnTo>
                  <a:lnTo>
                    <a:pt x="1853913" y="10729459"/>
                  </a:lnTo>
                  <a:lnTo>
                    <a:pt x="1875174" y="10762111"/>
                  </a:lnTo>
                  <a:lnTo>
                    <a:pt x="1897940" y="10792018"/>
                  </a:lnTo>
                  <a:lnTo>
                    <a:pt x="1930084" y="10815153"/>
                  </a:lnTo>
                  <a:lnTo>
                    <a:pt x="1954571" y="10821953"/>
                  </a:lnTo>
                  <a:lnTo>
                    <a:pt x="1977692" y="10821953"/>
                  </a:lnTo>
                  <a:lnTo>
                    <a:pt x="2002172" y="10816513"/>
                  </a:lnTo>
                  <a:lnTo>
                    <a:pt x="2023942" y="10804265"/>
                  </a:lnTo>
                  <a:lnTo>
                    <a:pt x="2052755" y="10784448"/>
                  </a:lnTo>
                  <a:lnTo>
                    <a:pt x="2068450" y="10764762"/>
                  </a:lnTo>
                  <a:lnTo>
                    <a:pt x="2082801" y="10726796"/>
                  </a:lnTo>
                  <a:lnTo>
                    <a:pt x="2074267" y="10690009"/>
                  </a:lnTo>
                  <a:lnTo>
                    <a:pt x="2052867" y="10651428"/>
                  </a:lnTo>
                  <a:lnTo>
                    <a:pt x="2037541" y="10631525"/>
                  </a:lnTo>
                  <a:lnTo>
                    <a:pt x="2022214" y="10611615"/>
                  </a:lnTo>
                  <a:lnTo>
                    <a:pt x="2004764" y="10590616"/>
                  </a:lnTo>
                  <a:lnTo>
                    <a:pt x="1988573" y="10568953"/>
                  </a:lnTo>
                  <a:lnTo>
                    <a:pt x="1982618" y="10522003"/>
                  </a:lnTo>
                  <a:lnTo>
                    <a:pt x="1996739" y="10498222"/>
                  </a:lnTo>
                  <a:lnTo>
                    <a:pt x="2034831" y="10496864"/>
                  </a:lnTo>
                  <a:lnTo>
                    <a:pt x="2064784" y="10512342"/>
                  </a:lnTo>
                  <a:lnTo>
                    <a:pt x="2083863" y="10532370"/>
                  </a:lnTo>
                  <a:lnTo>
                    <a:pt x="2096038" y="10555353"/>
                  </a:lnTo>
                  <a:lnTo>
                    <a:pt x="2108205" y="10578336"/>
                  </a:lnTo>
                  <a:lnTo>
                    <a:pt x="2113429" y="10604420"/>
                  </a:lnTo>
                  <a:lnTo>
                    <a:pt x="2116435" y="10628808"/>
                  </a:lnTo>
                  <a:lnTo>
                    <a:pt x="2119449" y="10653189"/>
                  </a:lnTo>
                  <a:lnTo>
                    <a:pt x="2120768" y="10675771"/>
                  </a:lnTo>
                  <a:lnTo>
                    <a:pt x="2125721" y="10715142"/>
                  </a:lnTo>
                  <a:lnTo>
                    <a:pt x="2140922" y="10740341"/>
                  </a:lnTo>
                  <a:lnTo>
                    <a:pt x="2173904" y="10741488"/>
                  </a:lnTo>
                  <a:lnTo>
                    <a:pt x="2197711" y="10728318"/>
                  </a:lnTo>
                  <a:lnTo>
                    <a:pt x="2213012" y="10704978"/>
                  </a:lnTo>
                  <a:lnTo>
                    <a:pt x="2227276" y="10679391"/>
                  </a:lnTo>
                  <a:lnTo>
                    <a:pt x="2234149" y="10645222"/>
                  </a:lnTo>
                  <a:lnTo>
                    <a:pt x="2238857" y="10617926"/>
                  </a:lnTo>
                  <a:lnTo>
                    <a:pt x="2238263" y="10591658"/>
                  </a:lnTo>
                  <a:lnTo>
                    <a:pt x="2234820" y="10565641"/>
                  </a:lnTo>
                  <a:lnTo>
                    <a:pt x="2230732" y="10537514"/>
                  </a:lnTo>
                  <a:lnTo>
                    <a:pt x="2228748" y="10507290"/>
                  </a:lnTo>
                  <a:lnTo>
                    <a:pt x="2230144" y="10477679"/>
                  </a:lnTo>
                  <a:lnTo>
                    <a:pt x="2237728" y="10451405"/>
                  </a:lnTo>
                  <a:lnTo>
                    <a:pt x="2252845" y="10428468"/>
                  </a:lnTo>
                  <a:lnTo>
                    <a:pt x="2275537" y="10416373"/>
                  </a:lnTo>
                  <a:lnTo>
                    <a:pt x="2297314" y="10412364"/>
                  </a:lnTo>
                  <a:lnTo>
                    <a:pt x="2319117" y="10415258"/>
                  </a:lnTo>
                  <a:lnTo>
                    <a:pt x="2344579" y="10424591"/>
                  </a:lnTo>
                  <a:lnTo>
                    <a:pt x="2365090" y="10440847"/>
                  </a:lnTo>
                  <a:lnTo>
                    <a:pt x="2376881" y="10459886"/>
                  </a:lnTo>
                  <a:lnTo>
                    <a:pt x="2378966" y="10483265"/>
                  </a:lnTo>
                  <a:lnTo>
                    <a:pt x="2373083" y="10507093"/>
                  </a:lnTo>
                  <a:lnTo>
                    <a:pt x="2363718" y="10532944"/>
                  </a:lnTo>
                  <a:lnTo>
                    <a:pt x="2354486" y="10556713"/>
                  </a:lnTo>
                  <a:lnTo>
                    <a:pt x="2347804" y="10578502"/>
                  </a:lnTo>
                  <a:lnTo>
                    <a:pt x="2350404" y="10602963"/>
                  </a:lnTo>
                  <a:lnTo>
                    <a:pt x="2360625" y="10622424"/>
                  </a:lnTo>
                  <a:lnTo>
                    <a:pt x="2374488" y="10644839"/>
                  </a:lnTo>
                  <a:lnTo>
                    <a:pt x="2387130" y="10662812"/>
                  </a:lnTo>
                  <a:lnTo>
                    <a:pt x="2399607" y="10680775"/>
                  </a:lnTo>
                  <a:lnTo>
                    <a:pt x="2412732" y="10699248"/>
                  </a:lnTo>
                  <a:lnTo>
                    <a:pt x="2425209" y="10717213"/>
                  </a:lnTo>
                  <a:lnTo>
                    <a:pt x="2444255" y="10740341"/>
                  </a:lnTo>
                  <a:lnTo>
                    <a:pt x="2459219" y="10758022"/>
                  </a:lnTo>
                  <a:lnTo>
                    <a:pt x="2479849" y="10772326"/>
                  </a:lnTo>
                  <a:lnTo>
                    <a:pt x="2500021" y="10779785"/>
                  </a:lnTo>
                  <a:lnTo>
                    <a:pt x="2528591" y="10786584"/>
                  </a:lnTo>
                  <a:lnTo>
                    <a:pt x="2557154" y="10789308"/>
                  </a:lnTo>
                  <a:lnTo>
                    <a:pt x="2584357" y="10785232"/>
                  </a:lnTo>
                  <a:lnTo>
                    <a:pt x="2608838" y="10777075"/>
                  </a:lnTo>
                  <a:lnTo>
                    <a:pt x="2631966" y="10762111"/>
                  </a:lnTo>
                  <a:lnTo>
                    <a:pt x="2652364" y="10743064"/>
                  </a:lnTo>
                  <a:lnTo>
                    <a:pt x="2670045" y="10717226"/>
                  </a:lnTo>
                  <a:lnTo>
                    <a:pt x="2683796" y="10691638"/>
                  </a:lnTo>
                  <a:lnTo>
                    <a:pt x="2696649" y="10663120"/>
                  </a:lnTo>
                  <a:lnTo>
                    <a:pt x="2712213" y="10636972"/>
                  </a:lnTo>
                  <a:lnTo>
                    <a:pt x="2727776" y="10610823"/>
                  </a:lnTo>
                  <a:lnTo>
                    <a:pt x="2746071" y="10586350"/>
                  </a:lnTo>
                  <a:lnTo>
                    <a:pt x="2769344" y="10567601"/>
                  </a:lnTo>
                  <a:lnTo>
                    <a:pt x="2801555" y="10557339"/>
                  </a:lnTo>
                  <a:lnTo>
                    <a:pt x="2834633" y="10566243"/>
                  </a:lnTo>
                  <a:lnTo>
                    <a:pt x="2864389" y="10579781"/>
                  </a:lnTo>
                  <a:lnTo>
                    <a:pt x="2890400" y="10577124"/>
                  </a:lnTo>
                  <a:lnTo>
                    <a:pt x="2935629" y="10547137"/>
                  </a:lnTo>
                  <a:lnTo>
                    <a:pt x="2972428" y="10547433"/>
                  </a:lnTo>
                  <a:lnTo>
                    <a:pt x="2984781" y="10567950"/>
                  </a:lnTo>
                  <a:lnTo>
                    <a:pt x="2996499" y="10590730"/>
                  </a:lnTo>
                  <a:lnTo>
                    <a:pt x="3008212" y="10613502"/>
                  </a:lnTo>
                  <a:lnTo>
                    <a:pt x="3020471" y="10638258"/>
                  </a:lnTo>
                  <a:lnTo>
                    <a:pt x="3041385" y="10647853"/>
                  </a:lnTo>
                  <a:lnTo>
                    <a:pt x="3062732" y="10657654"/>
                  </a:lnTo>
                  <a:lnTo>
                    <a:pt x="3086460" y="10654377"/>
                  </a:lnTo>
                  <a:lnTo>
                    <a:pt x="3110750" y="10649213"/>
                  </a:lnTo>
                  <a:lnTo>
                    <a:pt x="3135044" y="10644049"/>
                  </a:lnTo>
                  <a:lnTo>
                    <a:pt x="3159261" y="10637579"/>
                  </a:lnTo>
                  <a:lnTo>
                    <a:pt x="3182844" y="10639689"/>
                  </a:lnTo>
                  <a:lnTo>
                    <a:pt x="3227795" y="10659673"/>
                  </a:lnTo>
                  <a:lnTo>
                    <a:pt x="3282521" y="10663919"/>
                  </a:lnTo>
                  <a:lnTo>
                    <a:pt x="3333420" y="10669829"/>
                  </a:lnTo>
                  <a:lnTo>
                    <a:pt x="3382789" y="10670976"/>
                  </a:lnTo>
                  <a:lnTo>
                    <a:pt x="3406406" y="10671503"/>
                  </a:lnTo>
                  <a:lnTo>
                    <a:pt x="3438562" y="10653295"/>
                  </a:lnTo>
                  <a:lnTo>
                    <a:pt x="3463365" y="10627107"/>
                  </a:lnTo>
                  <a:lnTo>
                    <a:pt x="3484482" y="10595148"/>
                  </a:lnTo>
                  <a:lnTo>
                    <a:pt x="3507935" y="10564883"/>
                  </a:lnTo>
                  <a:lnTo>
                    <a:pt x="3537381" y="10541464"/>
                  </a:lnTo>
                  <a:lnTo>
                    <a:pt x="3559618" y="10537680"/>
                  </a:lnTo>
                  <a:lnTo>
                    <a:pt x="3586663" y="10533069"/>
                  </a:lnTo>
                  <a:lnTo>
                    <a:pt x="3615384" y="10544478"/>
                  </a:lnTo>
                  <a:lnTo>
                    <a:pt x="3639297" y="10565457"/>
                  </a:lnTo>
                  <a:lnTo>
                    <a:pt x="3658911" y="10579840"/>
                  </a:lnTo>
                  <a:lnTo>
                    <a:pt x="3689544" y="10602302"/>
                  </a:lnTo>
                  <a:lnTo>
                    <a:pt x="3718700" y="10614339"/>
                  </a:lnTo>
                  <a:lnTo>
                    <a:pt x="3754129" y="10627450"/>
                  </a:lnTo>
                  <a:lnTo>
                    <a:pt x="3799356" y="10642176"/>
                  </a:lnTo>
                  <a:lnTo>
                    <a:pt x="3820776" y="10639689"/>
                  </a:lnTo>
                  <a:lnTo>
                    <a:pt x="3846971" y="10627304"/>
                  </a:lnTo>
                  <a:lnTo>
                    <a:pt x="3876193" y="10608555"/>
                  </a:lnTo>
                  <a:lnTo>
                    <a:pt x="3896948" y="10586646"/>
                  </a:lnTo>
                  <a:lnTo>
                    <a:pt x="3912980" y="10540911"/>
                  </a:lnTo>
                  <a:lnTo>
                    <a:pt x="3918235" y="10506156"/>
                  </a:lnTo>
                  <a:lnTo>
                    <a:pt x="3907830" y="10481907"/>
                  </a:lnTo>
                  <a:lnTo>
                    <a:pt x="3893610" y="10459649"/>
                  </a:lnTo>
                  <a:lnTo>
                    <a:pt x="3864916" y="10447039"/>
                  </a:lnTo>
                  <a:lnTo>
                    <a:pt x="3820776" y="10443821"/>
                  </a:lnTo>
                  <a:lnTo>
                    <a:pt x="3804236" y="10424102"/>
                  </a:lnTo>
                  <a:lnTo>
                    <a:pt x="3796508" y="10400980"/>
                  </a:lnTo>
                  <a:lnTo>
                    <a:pt x="3804447" y="10378532"/>
                  </a:lnTo>
                  <a:lnTo>
                    <a:pt x="3830168" y="10356029"/>
                  </a:lnTo>
                  <a:lnTo>
                    <a:pt x="3860340" y="10341191"/>
                  </a:lnTo>
                  <a:lnTo>
                    <a:pt x="3892865" y="10333646"/>
                  </a:lnTo>
                  <a:lnTo>
                    <a:pt x="3930389" y="10333317"/>
                  </a:lnTo>
                  <a:lnTo>
                    <a:pt x="3961426" y="10342160"/>
                  </a:lnTo>
                  <a:lnTo>
                    <a:pt x="3986718" y="10358127"/>
                  </a:lnTo>
                  <a:lnTo>
                    <a:pt x="4010842" y="10375775"/>
                  </a:lnTo>
                  <a:lnTo>
                    <a:pt x="4029776" y="10400862"/>
                  </a:lnTo>
                  <a:lnTo>
                    <a:pt x="4047925" y="10422058"/>
                  </a:lnTo>
                  <a:lnTo>
                    <a:pt x="4066074" y="10443253"/>
                  </a:lnTo>
                  <a:lnTo>
                    <a:pt x="4083788" y="10460855"/>
                  </a:lnTo>
                  <a:lnTo>
                    <a:pt x="4106414" y="10466943"/>
                  </a:lnTo>
                  <a:lnTo>
                    <a:pt x="4130111" y="10469818"/>
                  </a:lnTo>
                  <a:lnTo>
                    <a:pt x="4158890" y="10461350"/>
                  </a:lnTo>
                  <a:lnTo>
                    <a:pt x="4194826" y="10439739"/>
                  </a:lnTo>
                  <a:lnTo>
                    <a:pt x="4207937" y="10416095"/>
                  </a:lnTo>
                  <a:lnTo>
                    <a:pt x="4213602" y="10387468"/>
                  </a:lnTo>
                  <a:lnTo>
                    <a:pt x="4224754" y="10363568"/>
                  </a:lnTo>
                  <a:lnTo>
                    <a:pt x="4237079" y="10341218"/>
                  </a:lnTo>
                  <a:lnTo>
                    <a:pt x="4255948" y="10323352"/>
                  </a:lnTo>
                  <a:lnTo>
                    <a:pt x="4284602" y="10311883"/>
                  </a:lnTo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 dirty="0"/>
            </a:p>
          </p:txBody>
        </p:sp>
        <p:sp>
          <p:nvSpPr>
            <p:cNvPr id="593" name="Vinnytsia¬0" descr="Vinnytsia¬0">
              <a:extLst>
                <a:ext uri="{FF2B5EF4-FFF2-40B4-BE49-F238E27FC236}">
                  <a16:creationId xmlns:a16="http://schemas.microsoft.com/office/drawing/2014/main" id="{B049A84D-D9AA-4690-95F9-00B5B7D23E82}"/>
                </a:ext>
              </a:extLst>
            </p:cNvPr>
            <p:cNvSpPr/>
            <p:nvPr/>
          </p:nvSpPr>
          <p:spPr>
            <a:xfrm>
              <a:off x="2670090" y="2314498"/>
              <a:ext cx="929330" cy="849649"/>
            </a:xfrm>
            <a:custGeom>
              <a:avLst/>
              <a:gdLst/>
              <a:ahLst/>
              <a:cxnLst/>
              <a:rect l="0" t="0" r="0" b="0"/>
              <a:pathLst>
                <a:path w="9483300" h="9842096">
                  <a:moveTo>
                    <a:pt x="7272498" y="1213760"/>
                  </a:moveTo>
                  <a:lnTo>
                    <a:pt x="7244529" y="1209664"/>
                  </a:lnTo>
                  <a:lnTo>
                    <a:pt x="7211580" y="1208245"/>
                  </a:lnTo>
                  <a:lnTo>
                    <a:pt x="7188504" y="1209585"/>
                  </a:lnTo>
                  <a:lnTo>
                    <a:pt x="7139630" y="1239512"/>
                  </a:lnTo>
                  <a:lnTo>
                    <a:pt x="7122905" y="1271465"/>
                  </a:lnTo>
                  <a:lnTo>
                    <a:pt x="7101610" y="1303047"/>
                  </a:lnTo>
                  <a:lnTo>
                    <a:pt x="7078996" y="1333819"/>
                  </a:lnTo>
                  <a:lnTo>
                    <a:pt x="7062160" y="1349297"/>
                  </a:lnTo>
                  <a:lnTo>
                    <a:pt x="7045330" y="1364769"/>
                  </a:lnTo>
                  <a:lnTo>
                    <a:pt x="7023211" y="1379898"/>
                  </a:lnTo>
                  <a:lnTo>
                    <a:pt x="6992795" y="1394183"/>
                  </a:lnTo>
                  <a:lnTo>
                    <a:pt x="6962551" y="1403019"/>
                  </a:lnTo>
                  <a:lnTo>
                    <a:pt x="6933263" y="1398944"/>
                  </a:lnTo>
                  <a:lnTo>
                    <a:pt x="6905742" y="1387383"/>
                  </a:lnTo>
                  <a:lnTo>
                    <a:pt x="6878281" y="1375275"/>
                  </a:lnTo>
                  <a:lnTo>
                    <a:pt x="6852449" y="1360912"/>
                  </a:lnTo>
                  <a:lnTo>
                    <a:pt x="6829571" y="1364254"/>
                  </a:lnTo>
                  <a:lnTo>
                    <a:pt x="6806864" y="1367578"/>
                  </a:lnTo>
                  <a:lnTo>
                    <a:pt x="6782728" y="1374682"/>
                  </a:lnTo>
                  <a:lnTo>
                    <a:pt x="6758841" y="1383301"/>
                  </a:lnTo>
                  <a:lnTo>
                    <a:pt x="6734954" y="1391921"/>
                  </a:lnTo>
                  <a:lnTo>
                    <a:pt x="6711766" y="1401629"/>
                  </a:lnTo>
                  <a:lnTo>
                    <a:pt x="6690828" y="1410504"/>
                  </a:lnTo>
                  <a:lnTo>
                    <a:pt x="6669776" y="1435625"/>
                  </a:lnTo>
                  <a:lnTo>
                    <a:pt x="6664849" y="1462011"/>
                  </a:lnTo>
                  <a:lnTo>
                    <a:pt x="6663623" y="1489392"/>
                  </a:lnTo>
                  <a:lnTo>
                    <a:pt x="6662397" y="1516781"/>
                  </a:lnTo>
                  <a:lnTo>
                    <a:pt x="6664732" y="1544863"/>
                  </a:lnTo>
                  <a:lnTo>
                    <a:pt x="6659547" y="1573728"/>
                  </a:lnTo>
                  <a:lnTo>
                    <a:pt x="6576069" y="1556661"/>
                  </a:lnTo>
                  <a:lnTo>
                    <a:pt x="6550732" y="1554683"/>
                  </a:lnTo>
                  <a:lnTo>
                    <a:pt x="6514578" y="1551860"/>
                  </a:lnTo>
                  <a:lnTo>
                    <a:pt x="6481427" y="1561422"/>
                  </a:lnTo>
                  <a:lnTo>
                    <a:pt x="6445998" y="1564205"/>
                  </a:lnTo>
                  <a:lnTo>
                    <a:pt x="6404344" y="1567502"/>
                  </a:lnTo>
                  <a:lnTo>
                    <a:pt x="6362474" y="1566013"/>
                  </a:lnTo>
                  <a:lnTo>
                    <a:pt x="6320860" y="1569646"/>
                  </a:lnTo>
                  <a:lnTo>
                    <a:pt x="6272084" y="1573900"/>
                  </a:lnTo>
                  <a:lnTo>
                    <a:pt x="6226921" y="1584887"/>
                  </a:lnTo>
                  <a:lnTo>
                    <a:pt x="6176682" y="1583252"/>
                  </a:lnTo>
                  <a:lnTo>
                    <a:pt x="6144480" y="1582190"/>
                  </a:lnTo>
                  <a:lnTo>
                    <a:pt x="6117255" y="1569073"/>
                  </a:lnTo>
                  <a:lnTo>
                    <a:pt x="6086905" y="1562847"/>
                  </a:lnTo>
                  <a:lnTo>
                    <a:pt x="6025613" y="1550303"/>
                  </a:lnTo>
                  <a:lnTo>
                    <a:pt x="5965717" y="1541400"/>
                  </a:lnTo>
                  <a:lnTo>
                    <a:pt x="5904642" y="1526120"/>
                  </a:lnTo>
                  <a:lnTo>
                    <a:pt x="5850082" y="1550964"/>
                  </a:lnTo>
                  <a:lnTo>
                    <a:pt x="5805290" y="1560816"/>
                  </a:lnTo>
                  <a:lnTo>
                    <a:pt x="5760590" y="1557287"/>
                  </a:lnTo>
                  <a:lnTo>
                    <a:pt x="5721014" y="1542442"/>
                  </a:lnTo>
                  <a:lnTo>
                    <a:pt x="5701223" y="1535016"/>
                  </a:lnTo>
                  <a:lnTo>
                    <a:pt x="5682123" y="1524986"/>
                  </a:lnTo>
                  <a:lnTo>
                    <a:pt x="5651082" y="1500057"/>
                  </a:lnTo>
                  <a:lnTo>
                    <a:pt x="5631237" y="1467629"/>
                  </a:lnTo>
                  <a:lnTo>
                    <a:pt x="5647402" y="1437946"/>
                  </a:lnTo>
                  <a:lnTo>
                    <a:pt x="5663883" y="1420028"/>
                  </a:lnTo>
                  <a:lnTo>
                    <a:pt x="5680362" y="1402103"/>
                  </a:lnTo>
                  <a:lnTo>
                    <a:pt x="5698459" y="1383056"/>
                  </a:lnTo>
                  <a:lnTo>
                    <a:pt x="5711036" y="1345097"/>
                  </a:lnTo>
                  <a:lnTo>
                    <a:pt x="5687334" y="1319225"/>
                  </a:lnTo>
                  <a:lnTo>
                    <a:pt x="5665241" y="1286726"/>
                  </a:lnTo>
                  <a:lnTo>
                    <a:pt x="5643958" y="1252505"/>
                  </a:lnTo>
                  <a:lnTo>
                    <a:pt x="5638036" y="1232317"/>
                  </a:lnTo>
                  <a:lnTo>
                    <a:pt x="5632120" y="1212130"/>
                  </a:lnTo>
                  <a:lnTo>
                    <a:pt x="5630894" y="1190426"/>
                  </a:lnTo>
                  <a:lnTo>
                    <a:pt x="5638036" y="1165670"/>
                  </a:lnTo>
                  <a:lnTo>
                    <a:pt x="5616279" y="1144110"/>
                  </a:lnTo>
                  <a:lnTo>
                    <a:pt x="5594247" y="1137291"/>
                  </a:lnTo>
                  <a:lnTo>
                    <a:pt x="5574113" y="1128942"/>
                  </a:lnTo>
                  <a:lnTo>
                    <a:pt x="5553978" y="1120593"/>
                  </a:lnTo>
                  <a:lnTo>
                    <a:pt x="5527862" y="1096297"/>
                  </a:lnTo>
                  <a:lnTo>
                    <a:pt x="5530454" y="1049520"/>
                  </a:lnTo>
                  <a:lnTo>
                    <a:pt x="5550990" y="1017409"/>
                  </a:lnTo>
                  <a:lnTo>
                    <a:pt x="5571521" y="985299"/>
                  </a:lnTo>
                  <a:lnTo>
                    <a:pt x="5602041" y="949106"/>
                  </a:lnTo>
                  <a:lnTo>
                    <a:pt x="5632602" y="914034"/>
                  </a:lnTo>
                  <a:lnTo>
                    <a:pt x="5663157" y="878955"/>
                  </a:lnTo>
                  <a:lnTo>
                    <a:pt x="5694568" y="844227"/>
                  </a:lnTo>
                  <a:lnTo>
                    <a:pt x="5716932" y="816100"/>
                  </a:lnTo>
                  <a:lnTo>
                    <a:pt x="5739295" y="787965"/>
                  </a:lnTo>
                  <a:lnTo>
                    <a:pt x="5752266" y="766164"/>
                  </a:lnTo>
                  <a:lnTo>
                    <a:pt x="5724687" y="742125"/>
                  </a:lnTo>
                  <a:lnTo>
                    <a:pt x="5699296" y="732549"/>
                  </a:lnTo>
                  <a:lnTo>
                    <a:pt x="5674764" y="720883"/>
                  </a:lnTo>
                  <a:lnTo>
                    <a:pt x="5650231" y="709217"/>
                  </a:lnTo>
                  <a:lnTo>
                    <a:pt x="5627221" y="695334"/>
                  </a:lnTo>
                  <a:lnTo>
                    <a:pt x="5606757" y="677357"/>
                  </a:lnTo>
                  <a:lnTo>
                    <a:pt x="5567920" y="624281"/>
                  </a:lnTo>
                  <a:lnTo>
                    <a:pt x="5546908" y="582145"/>
                  </a:lnTo>
                  <a:lnTo>
                    <a:pt x="5525890" y="540004"/>
                  </a:lnTo>
                  <a:lnTo>
                    <a:pt x="5507286" y="495844"/>
                  </a:lnTo>
                  <a:lnTo>
                    <a:pt x="5495118" y="453242"/>
                  </a:lnTo>
                  <a:lnTo>
                    <a:pt x="5508374" y="428082"/>
                  </a:lnTo>
                  <a:lnTo>
                    <a:pt x="5506092" y="403958"/>
                  </a:lnTo>
                  <a:lnTo>
                    <a:pt x="5503672" y="378600"/>
                  </a:lnTo>
                  <a:lnTo>
                    <a:pt x="5481822" y="342704"/>
                  </a:lnTo>
                  <a:lnTo>
                    <a:pt x="5484335" y="319622"/>
                  </a:lnTo>
                  <a:lnTo>
                    <a:pt x="5487726" y="288554"/>
                  </a:lnTo>
                  <a:lnTo>
                    <a:pt x="5527243" y="227043"/>
                  </a:lnTo>
                  <a:lnTo>
                    <a:pt x="5508585" y="193937"/>
                  </a:lnTo>
                  <a:lnTo>
                    <a:pt x="5483967" y="179553"/>
                  </a:lnTo>
                  <a:lnTo>
                    <a:pt x="5457125" y="168645"/>
                  </a:lnTo>
                  <a:lnTo>
                    <a:pt x="5430291" y="157737"/>
                  </a:lnTo>
                  <a:lnTo>
                    <a:pt x="5401702" y="149177"/>
                  </a:lnTo>
                  <a:lnTo>
                    <a:pt x="5379596" y="145516"/>
                  </a:lnTo>
                  <a:lnTo>
                    <a:pt x="5409286" y="71792"/>
                  </a:lnTo>
                  <a:lnTo>
                    <a:pt x="5402723" y="47583"/>
                  </a:lnTo>
                  <a:lnTo>
                    <a:pt x="5367949" y="35962"/>
                  </a:lnTo>
                  <a:lnTo>
                    <a:pt x="5109000" y="0"/>
                  </a:lnTo>
                  <a:lnTo>
                    <a:pt x="5091141" y="24111"/>
                  </a:lnTo>
                  <a:lnTo>
                    <a:pt x="5086003" y="49145"/>
                  </a:lnTo>
                  <a:lnTo>
                    <a:pt x="5080352" y="73428"/>
                  </a:lnTo>
                  <a:lnTo>
                    <a:pt x="5074706" y="97710"/>
                  </a:lnTo>
                  <a:lnTo>
                    <a:pt x="5068269" y="121597"/>
                  </a:lnTo>
                  <a:lnTo>
                    <a:pt x="5051790" y="138717"/>
                  </a:lnTo>
                  <a:lnTo>
                    <a:pt x="5023953" y="167636"/>
                  </a:lnTo>
                  <a:lnTo>
                    <a:pt x="4983836" y="181221"/>
                  </a:lnTo>
                  <a:lnTo>
                    <a:pt x="4945691" y="194484"/>
                  </a:lnTo>
                  <a:lnTo>
                    <a:pt x="4907552" y="207753"/>
                  </a:lnTo>
                  <a:lnTo>
                    <a:pt x="4870765" y="221253"/>
                  </a:lnTo>
                  <a:lnTo>
                    <a:pt x="4847763" y="250257"/>
                  </a:lnTo>
                  <a:lnTo>
                    <a:pt x="4828439" y="274612"/>
                  </a:lnTo>
                  <a:lnTo>
                    <a:pt x="4810970" y="319965"/>
                  </a:lnTo>
                  <a:lnTo>
                    <a:pt x="4796072" y="348191"/>
                  </a:lnTo>
                  <a:lnTo>
                    <a:pt x="4781642" y="375560"/>
                  </a:lnTo>
                  <a:lnTo>
                    <a:pt x="4780112" y="414608"/>
                  </a:lnTo>
                  <a:lnTo>
                    <a:pt x="4762068" y="442044"/>
                  </a:lnTo>
                  <a:lnTo>
                    <a:pt x="4746385" y="465877"/>
                  </a:lnTo>
                  <a:lnTo>
                    <a:pt x="4721398" y="477036"/>
                  </a:lnTo>
                  <a:lnTo>
                    <a:pt x="4692697" y="480128"/>
                  </a:lnTo>
                  <a:lnTo>
                    <a:pt x="4663996" y="483221"/>
                  </a:lnTo>
                  <a:lnTo>
                    <a:pt x="4631595" y="478474"/>
                  </a:lnTo>
                  <a:lnTo>
                    <a:pt x="4597480" y="470607"/>
                  </a:lnTo>
                  <a:lnTo>
                    <a:pt x="4529256" y="454883"/>
                  </a:lnTo>
                  <a:lnTo>
                    <a:pt x="4456705" y="427898"/>
                  </a:lnTo>
                  <a:lnTo>
                    <a:pt x="4412492" y="427079"/>
                  </a:lnTo>
                  <a:lnTo>
                    <a:pt x="4389753" y="433285"/>
                  </a:lnTo>
                  <a:lnTo>
                    <a:pt x="4327246" y="479832"/>
                  </a:lnTo>
                  <a:lnTo>
                    <a:pt x="4285996" y="491010"/>
                  </a:lnTo>
                  <a:lnTo>
                    <a:pt x="4194867" y="515491"/>
                  </a:lnTo>
                  <a:lnTo>
                    <a:pt x="4188233" y="488888"/>
                  </a:lnTo>
                  <a:lnTo>
                    <a:pt x="4146797" y="444160"/>
                  </a:lnTo>
                  <a:lnTo>
                    <a:pt x="4126854" y="427079"/>
                  </a:lnTo>
                  <a:lnTo>
                    <a:pt x="4095983" y="400640"/>
                  </a:lnTo>
                  <a:lnTo>
                    <a:pt x="4071636" y="390122"/>
                  </a:lnTo>
                  <a:lnTo>
                    <a:pt x="4049324" y="387635"/>
                  </a:lnTo>
                  <a:lnTo>
                    <a:pt x="4027014" y="385150"/>
                  </a:lnTo>
                  <a:lnTo>
                    <a:pt x="4007123" y="391751"/>
                  </a:lnTo>
                  <a:lnTo>
                    <a:pt x="3971828" y="410723"/>
                  </a:lnTo>
                  <a:lnTo>
                    <a:pt x="3939151" y="432520"/>
                  </a:lnTo>
                  <a:lnTo>
                    <a:pt x="3904778" y="448631"/>
                  </a:lnTo>
                  <a:lnTo>
                    <a:pt x="3857367" y="442703"/>
                  </a:lnTo>
                  <a:lnTo>
                    <a:pt x="3823502" y="422330"/>
                  </a:lnTo>
                  <a:lnTo>
                    <a:pt x="3789524" y="406676"/>
                  </a:lnTo>
                  <a:lnTo>
                    <a:pt x="3755384" y="392667"/>
                  </a:lnTo>
                  <a:lnTo>
                    <a:pt x="3723015" y="385320"/>
                  </a:lnTo>
                  <a:lnTo>
                    <a:pt x="3694308" y="390353"/>
                  </a:lnTo>
                  <a:lnTo>
                    <a:pt x="3670519" y="409286"/>
                  </a:lnTo>
                  <a:lnTo>
                    <a:pt x="3658946" y="428439"/>
                  </a:lnTo>
                  <a:lnTo>
                    <a:pt x="3647372" y="447589"/>
                  </a:lnTo>
                  <a:lnTo>
                    <a:pt x="3634538" y="471245"/>
                  </a:lnTo>
                  <a:lnTo>
                    <a:pt x="3620860" y="495086"/>
                  </a:lnTo>
                  <a:lnTo>
                    <a:pt x="3607182" y="518934"/>
                  </a:lnTo>
                  <a:lnTo>
                    <a:pt x="3592001" y="542873"/>
                  </a:lnTo>
                  <a:lnTo>
                    <a:pt x="3573252" y="561741"/>
                  </a:lnTo>
                  <a:lnTo>
                    <a:pt x="3554509" y="580609"/>
                  </a:lnTo>
                  <a:lnTo>
                    <a:pt x="3532027" y="594233"/>
                  </a:lnTo>
                  <a:lnTo>
                    <a:pt x="3505245" y="598461"/>
                  </a:lnTo>
                  <a:lnTo>
                    <a:pt x="3475463" y="603163"/>
                  </a:lnTo>
                  <a:lnTo>
                    <a:pt x="3449254" y="600836"/>
                  </a:lnTo>
                  <a:lnTo>
                    <a:pt x="3423633" y="594385"/>
                  </a:lnTo>
                  <a:lnTo>
                    <a:pt x="3398012" y="587930"/>
                  </a:lnTo>
                  <a:lnTo>
                    <a:pt x="3373703" y="578195"/>
                  </a:lnTo>
                  <a:lnTo>
                    <a:pt x="3350179" y="565822"/>
                  </a:lnTo>
                  <a:lnTo>
                    <a:pt x="3303131" y="541086"/>
                  </a:lnTo>
                  <a:lnTo>
                    <a:pt x="3258417" y="509384"/>
                  </a:lnTo>
                  <a:lnTo>
                    <a:pt x="3207360" y="492376"/>
                  </a:lnTo>
                  <a:lnTo>
                    <a:pt x="3183947" y="484573"/>
                  </a:lnTo>
                  <a:lnTo>
                    <a:pt x="3162462" y="489579"/>
                  </a:lnTo>
                  <a:lnTo>
                    <a:pt x="3142071" y="499175"/>
                  </a:lnTo>
                  <a:lnTo>
                    <a:pt x="3121678" y="508770"/>
                  </a:lnTo>
                  <a:lnTo>
                    <a:pt x="3101855" y="523089"/>
                  </a:lnTo>
                  <a:lnTo>
                    <a:pt x="3082222" y="530462"/>
                  </a:lnTo>
                  <a:lnTo>
                    <a:pt x="3049979" y="542563"/>
                  </a:lnTo>
                  <a:lnTo>
                    <a:pt x="3018060" y="542892"/>
                  </a:lnTo>
                  <a:lnTo>
                    <a:pt x="2985646" y="546783"/>
                  </a:lnTo>
                  <a:lnTo>
                    <a:pt x="2931897" y="553240"/>
                  </a:lnTo>
                  <a:lnTo>
                    <a:pt x="2871264" y="565974"/>
                  </a:lnTo>
                  <a:lnTo>
                    <a:pt x="2816980" y="559024"/>
                  </a:lnTo>
                  <a:lnTo>
                    <a:pt x="2794413" y="556135"/>
                  </a:lnTo>
                  <a:lnTo>
                    <a:pt x="2771562" y="548867"/>
                  </a:lnTo>
                  <a:lnTo>
                    <a:pt x="2748974" y="546783"/>
                  </a:lnTo>
                  <a:lnTo>
                    <a:pt x="2728049" y="544852"/>
                  </a:lnTo>
                  <a:lnTo>
                    <a:pt x="2696538" y="550048"/>
                  </a:lnTo>
                  <a:lnTo>
                    <a:pt x="2664639" y="557659"/>
                  </a:lnTo>
                  <a:lnTo>
                    <a:pt x="2632745" y="565269"/>
                  </a:lnTo>
                  <a:lnTo>
                    <a:pt x="2601169" y="574371"/>
                  </a:lnTo>
                  <a:lnTo>
                    <a:pt x="2580310" y="579428"/>
                  </a:lnTo>
                  <a:lnTo>
                    <a:pt x="2540438" y="589097"/>
                  </a:lnTo>
                  <a:lnTo>
                    <a:pt x="2481669" y="613886"/>
                  </a:lnTo>
                  <a:lnTo>
                    <a:pt x="2422527" y="632471"/>
                  </a:lnTo>
                  <a:lnTo>
                    <a:pt x="2392955" y="641764"/>
                  </a:lnTo>
                  <a:lnTo>
                    <a:pt x="2362638" y="649123"/>
                  </a:lnTo>
                  <a:lnTo>
                    <a:pt x="2335473" y="652876"/>
                  </a:lnTo>
                  <a:lnTo>
                    <a:pt x="2308309" y="656628"/>
                  </a:lnTo>
                  <a:lnTo>
                    <a:pt x="2283322" y="657130"/>
                  </a:lnTo>
                  <a:lnTo>
                    <a:pt x="2263385" y="650152"/>
                  </a:lnTo>
                  <a:lnTo>
                    <a:pt x="2225807" y="635564"/>
                  </a:lnTo>
                  <a:lnTo>
                    <a:pt x="2186700" y="621213"/>
                  </a:lnTo>
                  <a:lnTo>
                    <a:pt x="2165885" y="614810"/>
                  </a:lnTo>
                  <a:lnTo>
                    <a:pt x="2110740" y="599338"/>
                  </a:lnTo>
                  <a:lnTo>
                    <a:pt x="2039073" y="606513"/>
                  </a:lnTo>
                  <a:lnTo>
                    <a:pt x="1966859" y="618866"/>
                  </a:lnTo>
                  <a:lnTo>
                    <a:pt x="1894645" y="631218"/>
                  </a:lnTo>
                  <a:lnTo>
                    <a:pt x="1822542" y="648265"/>
                  </a:lnTo>
                  <a:lnTo>
                    <a:pt x="1785953" y="655592"/>
                  </a:lnTo>
                  <a:lnTo>
                    <a:pt x="1752880" y="654571"/>
                  </a:lnTo>
                  <a:lnTo>
                    <a:pt x="1736611" y="671461"/>
                  </a:lnTo>
                  <a:lnTo>
                    <a:pt x="1728769" y="717348"/>
                  </a:lnTo>
                  <a:lnTo>
                    <a:pt x="1711346" y="743463"/>
                  </a:lnTo>
                  <a:lnTo>
                    <a:pt x="1669725" y="739243"/>
                  </a:lnTo>
                  <a:lnTo>
                    <a:pt x="1628171" y="737198"/>
                  </a:lnTo>
                  <a:lnTo>
                    <a:pt x="1586787" y="736803"/>
                  </a:lnTo>
                  <a:lnTo>
                    <a:pt x="1552574" y="740291"/>
                  </a:lnTo>
                  <a:lnTo>
                    <a:pt x="1534319" y="752161"/>
                  </a:lnTo>
                  <a:lnTo>
                    <a:pt x="1573222" y="772250"/>
                  </a:lnTo>
                  <a:lnTo>
                    <a:pt x="1598242" y="787524"/>
                  </a:lnTo>
                  <a:lnTo>
                    <a:pt x="1623264" y="802805"/>
                  </a:lnTo>
                  <a:lnTo>
                    <a:pt x="1645384" y="820267"/>
                  </a:lnTo>
                  <a:lnTo>
                    <a:pt x="1646353" y="852602"/>
                  </a:lnTo>
                  <a:lnTo>
                    <a:pt x="1623976" y="879978"/>
                  </a:lnTo>
                  <a:lnTo>
                    <a:pt x="1598242" y="904504"/>
                  </a:lnTo>
                  <a:lnTo>
                    <a:pt x="1572509" y="929024"/>
                  </a:lnTo>
                  <a:lnTo>
                    <a:pt x="1543657" y="950399"/>
                  </a:lnTo>
                  <a:lnTo>
                    <a:pt x="1504081" y="958648"/>
                  </a:lnTo>
                  <a:lnTo>
                    <a:pt x="1482819" y="952272"/>
                  </a:lnTo>
                  <a:lnTo>
                    <a:pt x="1460865" y="945306"/>
                  </a:lnTo>
                  <a:lnTo>
                    <a:pt x="1438903" y="938350"/>
                  </a:lnTo>
                  <a:lnTo>
                    <a:pt x="1416295" y="931358"/>
                  </a:lnTo>
                  <a:lnTo>
                    <a:pt x="1394216" y="931709"/>
                  </a:lnTo>
                  <a:lnTo>
                    <a:pt x="1364685" y="974450"/>
                  </a:lnTo>
                  <a:lnTo>
                    <a:pt x="1347966" y="1010597"/>
                  </a:lnTo>
                  <a:lnTo>
                    <a:pt x="1331254" y="1046743"/>
                  </a:lnTo>
                  <a:lnTo>
                    <a:pt x="1317425" y="1085495"/>
                  </a:lnTo>
                  <a:lnTo>
                    <a:pt x="1342934" y="1122571"/>
                  </a:lnTo>
                  <a:lnTo>
                    <a:pt x="1371880" y="1134456"/>
                  </a:lnTo>
                  <a:lnTo>
                    <a:pt x="1401016" y="1146616"/>
                  </a:lnTo>
                  <a:lnTo>
                    <a:pt x="1430152" y="1158785"/>
                  </a:lnTo>
                  <a:lnTo>
                    <a:pt x="1458972" y="1170945"/>
                  </a:lnTo>
                  <a:lnTo>
                    <a:pt x="1483986" y="1191508"/>
                  </a:lnTo>
                  <a:lnTo>
                    <a:pt x="1511369" y="1214009"/>
                  </a:lnTo>
                  <a:lnTo>
                    <a:pt x="1531087" y="1233379"/>
                  </a:lnTo>
                  <a:lnTo>
                    <a:pt x="1543835" y="1251357"/>
                  </a:lnTo>
                  <a:lnTo>
                    <a:pt x="1556583" y="1269328"/>
                  </a:lnTo>
                  <a:lnTo>
                    <a:pt x="1562880" y="1303041"/>
                  </a:lnTo>
                  <a:lnTo>
                    <a:pt x="1564972" y="1338231"/>
                  </a:lnTo>
                  <a:lnTo>
                    <a:pt x="1547825" y="1376461"/>
                  </a:lnTo>
                  <a:lnTo>
                    <a:pt x="1520714" y="1434979"/>
                  </a:lnTo>
                  <a:lnTo>
                    <a:pt x="1492006" y="1496958"/>
                  </a:lnTo>
                  <a:lnTo>
                    <a:pt x="1464393" y="1556912"/>
                  </a:lnTo>
                  <a:lnTo>
                    <a:pt x="1426861" y="1614524"/>
                  </a:lnTo>
                  <a:lnTo>
                    <a:pt x="1381336" y="1659311"/>
                  </a:lnTo>
                  <a:lnTo>
                    <a:pt x="1386052" y="1694778"/>
                  </a:lnTo>
                  <a:lnTo>
                    <a:pt x="1416382" y="1720702"/>
                  </a:lnTo>
                  <a:lnTo>
                    <a:pt x="1445504" y="1750473"/>
                  </a:lnTo>
                  <a:lnTo>
                    <a:pt x="1458635" y="1766952"/>
                  </a:lnTo>
                  <a:lnTo>
                    <a:pt x="1473402" y="1794777"/>
                  </a:lnTo>
                  <a:lnTo>
                    <a:pt x="1467664" y="1829440"/>
                  </a:lnTo>
                  <a:lnTo>
                    <a:pt x="1451447" y="1864934"/>
                  </a:lnTo>
                  <a:lnTo>
                    <a:pt x="1426755" y="1891879"/>
                  </a:lnTo>
                  <a:lnTo>
                    <a:pt x="1395574" y="1900170"/>
                  </a:lnTo>
                  <a:lnTo>
                    <a:pt x="1362534" y="1889374"/>
                  </a:lnTo>
                  <a:lnTo>
                    <a:pt x="1345249" y="1864802"/>
                  </a:lnTo>
                  <a:lnTo>
                    <a:pt x="1311820" y="1861787"/>
                  </a:lnTo>
                  <a:lnTo>
                    <a:pt x="1279386" y="1865250"/>
                  </a:lnTo>
                  <a:lnTo>
                    <a:pt x="1258197" y="1885205"/>
                  </a:lnTo>
                  <a:lnTo>
                    <a:pt x="1243470" y="1912990"/>
                  </a:lnTo>
                  <a:lnTo>
                    <a:pt x="1230518" y="1964305"/>
                  </a:lnTo>
                  <a:lnTo>
                    <a:pt x="1227932" y="2004271"/>
                  </a:lnTo>
                  <a:lnTo>
                    <a:pt x="1220111" y="2030749"/>
                  </a:lnTo>
                  <a:lnTo>
                    <a:pt x="1260254" y="2073747"/>
                  </a:lnTo>
                  <a:lnTo>
                    <a:pt x="1297641" y="2102837"/>
                  </a:lnTo>
                  <a:lnTo>
                    <a:pt x="1335028" y="2131928"/>
                  </a:lnTo>
                  <a:lnTo>
                    <a:pt x="1375394" y="2160055"/>
                  </a:lnTo>
                  <a:lnTo>
                    <a:pt x="1387417" y="2187173"/>
                  </a:lnTo>
                  <a:lnTo>
                    <a:pt x="1377360" y="2207935"/>
                  </a:lnTo>
                  <a:lnTo>
                    <a:pt x="1332053" y="2219542"/>
                  </a:lnTo>
                  <a:lnTo>
                    <a:pt x="1313964" y="2233417"/>
                  </a:lnTo>
                  <a:lnTo>
                    <a:pt x="1292853" y="2255787"/>
                  </a:lnTo>
                  <a:lnTo>
                    <a:pt x="1283389" y="2281784"/>
                  </a:lnTo>
                  <a:lnTo>
                    <a:pt x="1284041" y="2309587"/>
                  </a:lnTo>
                  <a:lnTo>
                    <a:pt x="1292846" y="2335473"/>
                  </a:lnTo>
                  <a:lnTo>
                    <a:pt x="1310614" y="2357157"/>
                  </a:lnTo>
                  <a:lnTo>
                    <a:pt x="1337091" y="2370802"/>
                  </a:lnTo>
                  <a:lnTo>
                    <a:pt x="1377301" y="2385753"/>
                  </a:lnTo>
                  <a:lnTo>
                    <a:pt x="1422120" y="2386319"/>
                  </a:lnTo>
                  <a:lnTo>
                    <a:pt x="1467671" y="2383042"/>
                  </a:lnTo>
                  <a:lnTo>
                    <a:pt x="1513227" y="2379764"/>
                  </a:lnTo>
                  <a:lnTo>
                    <a:pt x="1560006" y="2373591"/>
                  </a:lnTo>
                  <a:lnTo>
                    <a:pt x="1602332" y="2377602"/>
                  </a:lnTo>
                  <a:lnTo>
                    <a:pt x="1634488" y="2420376"/>
                  </a:lnTo>
                  <a:lnTo>
                    <a:pt x="1649940" y="2463296"/>
                  </a:lnTo>
                  <a:lnTo>
                    <a:pt x="1665392" y="2506208"/>
                  </a:lnTo>
                  <a:lnTo>
                    <a:pt x="1676484" y="2550974"/>
                  </a:lnTo>
                  <a:lnTo>
                    <a:pt x="1649261" y="2567415"/>
                  </a:lnTo>
                  <a:lnTo>
                    <a:pt x="1595731" y="2578621"/>
                  </a:lnTo>
                  <a:lnTo>
                    <a:pt x="1556082" y="2599315"/>
                  </a:lnTo>
                  <a:lnTo>
                    <a:pt x="1536263" y="2609662"/>
                  </a:lnTo>
                  <a:lnTo>
                    <a:pt x="1512555" y="2637401"/>
                  </a:lnTo>
                  <a:lnTo>
                    <a:pt x="1506310" y="2672630"/>
                  </a:lnTo>
                  <a:lnTo>
                    <a:pt x="1522078" y="2694527"/>
                  </a:lnTo>
                  <a:lnTo>
                    <a:pt x="1535077" y="2712577"/>
                  </a:lnTo>
                  <a:lnTo>
                    <a:pt x="1557447" y="2746216"/>
                  </a:lnTo>
                  <a:lnTo>
                    <a:pt x="1560191" y="2780531"/>
                  </a:lnTo>
                  <a:lnTo>
                    <a:pt x="1560138" y="2820713"/>
                  </a:lnTo>
                  <a:lnTo>
                    <a:pt x="1572404" y="2849592"/>
                  </a:lnTo>
                  <a:lnTo>
                    <a:pt x="1599608" y="2867273"/>
                  </a:lnTo>
                  <a:lnTo>
                    <a:pt x="1635121" y="2870214"/>
                  </a:lnTo>
                  <a:lnTo>
                    <a:pt x="1671940" y="2878999"/>
                  </a:lnTo>
                  <a:lnTo>
                    <a:pt x="1690742" y="2901277"/>
                  </a:lnTo>
                  <a:lnTo>
                    <a:pt x="1698723" y="2927564"/>
                  </a:lnTo>
                  <a:lnTo>
                    <a:pt x="1695188" y="2975212"/>
                  </a:lnTo>
                  <a:lnTo>
                    <a:pt x="1682856" y="3011496"/>
                  </a:lnTo>
                  <a:lnTo>
                    <a:pt x="1686660" y="3040020"/>
                  </a:lnTo>
                  <a:lnTo>
                    <a:pt x="1689952" y="3064671"/>
                  </a:lnTo>
                  <a:lnTo>
                    <a:pt x="1729000" y="3110131"/>
                  </a:lnTo>
                  <a:lnTo>
                    <a:pt x="1742427" y="3127072"/>
                  </a:lnTo>
                  <a:lnTo>
                    <a:pt x="1776424" y="3169346"/>
                  </a:lnTo>
                  <a:lnTo>
                    <a:pt x="1784754" y="3191623"/>
                  </a:lnTo>
                  <a:lnTo>
                    <a:pt x="1784397" y="3225739"/>
                  </a:lnTo>
                  <a:lnTo>
                    <a:pt x="1765549" y="3249487"/>
                  </a:lnTo>
                  <a:lnTo>
                    <a:pt x="1740113" y="3271481"/>
                  </a:lnTo>
                  <a:lnTo>
                    <a:pt x="1714821" y="3300947"/>
                  </a:lnTo>
                  <a:lnTo>
                    <a:pt x="1703504" y="3319313"/>
                  </a:lnTo>
                  <a:lnTo>
                    <a:pt x="1698901" y="3346062"/>
                  </a:lnTo>
                  <a:lnTo>
                    <a:pt x="1694305" y="3373629"/>
                  </a:lnTo>
                  <a:lnTo>
                    <a:pt x="1703445" y="3418205"/>
                  </a:lnTo>
                  <a:lnTo>
                    <a:pt x="1718165" y="3442441"/>
                  </a:lnTo>
                  <a:lnTo>
                    <a:pt x="1734270" y="3464402"/>
                  </a:lnTo>
                  <a:lnTo>
                    <a:pt x="1750380" y="3486356"/>
                  </a:lnTo>
                  <a:lnTo>
                    <a:pt x="1767555" y="3506438"/>
                  </a:lnTo>
                  <a:lnTo>
                    <a:pt x="1780520" y="3536491"/>
                  </a:lnTo>
                  <a:lnTo>
                    <a:pt x="1791935" y="3562956"/>
                  </a:lnTo>
                  <a:lnTo>
                    <a:pt x="1792818" y="3590529"/>
                  </a:lnTo>
                  <a:lnTo>
                    <a:pt x="1791401" y="3618103"/>
                  </a:lnTo>
                  <a:lnTo>
                    <a:pt x="1789983" y="3645676"/>
                  </a:lnTo>
                  <a:lnTo>
                    <a:pt x="1786805" y="3672946"/>
                  </a:lnTo>
                  <a:lnTo>
                    <a:pt x="1792759" y="3699715"/>
                  </a:lnTo>
                  <a:lnTo>
                    <a:pt x="1806865" y="3738782"/>
                  </a:lnTo>
                  <a:lnTo>
                    <a:pt x="1814522" y="3763646"/>
                  </a:lnTo>
                  <a:lnTo>
                    <a:pt x="1822179" y="3788508"/>
                  </a:lnTo>
                  <a:lnTo>
                    <a:pt x="1826954" y="3812368"/>
                  </a:lnTo>
                  <a:lnTo>
                    <a:pt x="1811093" y="3834950"/>
                  </a:lnTo>
                  <a:lnTo>
                    <a:pt x="1789053" y="3854958"/>
                  </a:lnTo>
                  <a:lnTo>
                    <a:pt x="1712902" y="3853957"/>
                  </a:lnTo>
                  <a:lnTo>
                    <a:pt x="1682506" y="3850969"/>
                  </a:lnTo>
                  <a:lnTo>
                    <a:pt x="1654010" y="3854774"/>
                  </a:lnTo>
                  <a:lnTo>
                    <a:pt x="1625520" y="3858580"/>
                  </a:lnTo>
                  <a:lnTo>
                    <a:pt x="1599331" y="3869171"/>
                  </a:lnTo>
                  <a:lnTo>
                    <a:pt x="1543835" y="3894224"/>
                  </a:lnTo>
                  <a:lnTo>
                    <a:pt x="1523436" y="3909181"/>
                  </a:lnTo>
                  <a:lnTo>
                    <a:pt x="1507056" y="3924714"/>
                  </a:lnTo>
                  <a:lnTo>
                    <a:pt x="1486511" y="3958710"/>
                  </a:lnTo>
                  <a:lnTo>
                    <a:pt x="1471430" y="3988710"/>
                  </a:lnTo>
                  <a:lnTo>
                    <a:pt x="1451341" y="4008481"/>
                  </a:lnTo>
                  <a:lnTo>
                    <a:pt x="1430099" y="4025272"/>
                  </a:lnTo>
                  <a:lnTo>
                    <a:pt x="1401859" y="4032493"/>
                  </a:lnTo>
                  <a:lnTo>
                    <a:pt x="1364289" y="4027521"/>
                  </a:lnTo>
                  <a:lnTo>
                    <a:pt x="1339361" y="4021723"/>
                  </a:lnTo>
                  <a:lnTo>
                    <a:pt x="1301340" y="4006140"/>
                  </a:lnTo>
                  <a:lnTo>
                    <a:pt x="1279960" y="3992159"/>
                  </a:lnTo>
                  <a:lnTo>
                    <a:pt x="1256324" y="3976707"/>
                  </a:lnTo>
                  <a:lnTo>
                    <a:pt x="1236665" y="3951073"/>
                  </a:lnTo>
                  <a:lnTo>
                    <a:pt x="1213305" y="3935034"/>
                  </a:lnTo>
                  <a:lnTo>
                    <a:pt x="1195710" y="3922926"/>
                  </a:lnTo>
                  <a:lnTo>
                    <a:pt x="1173980" y="3920735"/>
                  </a:lnTo>
                  <a:lnTo>
                    <a:pt x="1152098" y="3918705"/>
                  </a:lnTo>
                  <a:lnTo>
                    <a:pt x="1130223" y="3916674"/>
                  </a:lnTo>
                  <a:lnTo>
                    <a:pt x="1108999" y="3915454"/>
                  </a:lnTo>
                  <a:lnTo>
                    <a:pt x="1089532" y="3906465"/>
                  </a:lnTo>
                  <a:lnTo>
                    <a:pt x="1051552" y="3888954"/>
                  </a:lnTo>
                  <a:lnTo>
                    <a:pt x="1019414" y="3845153"/>
                  </a:lnTo>
                  <a:lnTo>
                    <a:pt x="983433" y="3833017"/>
                  </a:lnTo>
                  <a:lnTo>
                    <a:pt x="935824" y="3816081"/>
                  </a:lnTo>
                  <a:lnTo>
                    <a:pt x="901821" y="3807172"/>
                  </a:lnTo>
                  <a:lnTo>
                    <a:pt x="867817" y="3798256"/>
                  </a:lnTo>
                  <a:lnTo>
                    <a:pt x="835074" y="3792174"/>
                  </a:lnTo>
                  <a:lnTo>
                    <a:pt x="800603" y="3831698"/>
                  </a:lnTo>
                  <a:lnTo>
                    <a:pt x="789537" y="3870278"/>
                  </a:lnTo>
                  <a:lnTo>
                    <a:pt x="776683" y="3906465"/>
                  </a:lnTo>
                  <a:lnTo>
                    <a:pt x="763836" y="3942650"/>
                  </a:lnTo>
                  <a:lnTo>
                    <a:pt x="748252" y="3976503"/>
                  </a:lnTo>
                  <a:lnTo>
                    <a:pt x="716834" y="4000317"/>
                  </a:lnTo>
                  <a:lnTo>
                    <a:pt x="691022" y="4002605"/>
                  </a:lnTo>
                  <a:lnTo>
                    <a:pt x="665763" y="3997244"/>
                  </a:lnTo>
                  <a:lnTo>
                    <a:pt x="640664" y="3990801"/>
                  </a:lnTo>
                  <a:lnTo>
                    <a:pt x="615569" y="3984364"/>
                  </a:lnTo>
                  <a:lnTo>
                    <a:pt x="591498" y="3977182"/>
                  </a:lnTo>
                  <a:lnTo>
                    <a:pt x="565850" y="3975836"/>
                  </a:lnTo>
                  <a:lnTo>
                    <a:pt x="524559" y="3973667"/>
                  </a:lnTo>
                  <a:lnTo>
                    <a:pt x="480842" y="3976713"/>
                  </a:lnTo>
                  <a:lnTo>
                    <a:pt x="439354" y="3977196"/>
                  </a:lnTo>
                  <a:lnTo>
                    <a:pt x="421845" y="3989989"/>
                  </a:lnTo>
                  <a:lnTo>
                    <a:pt x="403055" y="4032625"/>
                  </a:lnTo>
                  <a:lnTo>
                    <a:pt x="412901" y="4088793"/>
                  </a:lnTo>
                  <a:lnTo>
                    <a:pt x="395827" y="4110491"/>
                  </a:lnTo>
                  <a:lnTo>
                    <a:pt x="380297" y="4130282"/>
                  </a:lnTo>
                  <a:lnTo>
                    <a:pt x="352301" y="4166265"/>
                  </a:lnTo>
                  <a:lnTo>
                    <a:pt x="344717" y="4186412"/>
                  </a:lnTo>
                  <a:lnTo>
                    <a:pt x="358189" y="4224920"/>
                  </a:lnTo>
                  <a:lnTo>
                    <a:pt x="363189" y="4262834"/>
                  </a:lnTo>
                  <a:lnTo>
                    <a:pt x="314538" y="4274064"/>
                  </a:lnTo>
                  <a:lnTo>
                    <a:pt x="291297" y="4278608"/>
                  </a:lnTo>
                  <a:lnTo>
                    <a:pt x="260975" y="4296038"/>
                  </a:lnTo>
                  <a:lnTo>
                    <a:pt x="248933" y="4324047"/>
                  </a:lnTo>
                  <a:lnTo>
                    <a:pt x="239277" y="4354866"/>
                  </a:lnTo>
                  <a:lnTo>
                    <a:pt x="240556" y="4396223"/>
                  </a:lnTo>
                  <a:lnTo>
                    <a:pt x="214928" y="4435580"/>
                  </a:lnTo>
                  <a:lnTo>
                    <a:pt x="193713" y="4468159"/>
                  </a:lnTo>
                  <a:lnTo>
                    <a:pt x="147021" y="4483591"/>
                  </a:lnTo>
                  <a:lnTo>
                    <a:pt x="115637" y="4526716"/>
                  </a:lnTo>
                  <a:lnTo>
                    <a:pt x="82180" y="4539978"/>
                  </a:lnTo>
                  <a:lnTo>
                    <a:pt x="83043" y="4584045"/>
                  </a:lnTo>
                  <a:lnTo>
                    <a:pt x="78137" y="4607570"/>
                  </a:lnTo>
                  <a:lnTo>
                    <a:pt x="68027" y="4628733"/>
                  </a:lnTo>
                  <a:lnTo>
                    <a:pt x="57904" y="4649888"/>
                  </a:lnTo>
                  <a:lnTo>
                    <a:pt x="42057" y="4668921"/>
                  </a:lnTo>
                  <a:lnTo>
                    <a:pt x="24501" y="4691298"/>
                  </a:lnTo>
                  <a:lnTo>
                    <a:pt x="20426" y="4739586"/>
                  </a:lnTo>
                  <a:lnTo>
                    <a:pt x="34848" y="4757629"/>
                  </a:lnTo>
                  <a:lnTo>
                    <a:pt x="65865" y="4791369"/>
                  </a:lnTo>
                  <a:lnTo>
                    <a:pt x="87066" y="4827317"/>
                  </a:lnTo>
                  <a:lnTo>
                    <a:pt x="104675" y="4864593"/>
                  </a:lnTo>
                  <a:lnTo>
                    <a:pt x="107544" y="4896143"/>
                  </a:lnTo>
                  <a:lnTo>
                    <a:pt x="87066" y="4915729"/>
                  </a:lnTo>
                  <a:lnTo>
                    <a:pt x="21771" y="4945656"/>
                  </a:lnTo>
                  <a:lnTo>
                    <a:pt x="7558" y="4964867"/>
                  </a:lnTo>
                  <a:lnTo>
                    <a:pt x="628" y="4997169"/>
                  </a:lnTo>
                  <a:lnTo>
                    <a:pt x="4090" y="5021828"/>
                  </a:lnTo>
                  <a:lnTo>
                    <a:pt x="22047" y="5056319"/>
                  </a:lnTo>
                  <a:lnTo>
                    <a:pt x="43581" y="5092242"/>
                  </a:lnTo>
                  <a:lnTo>
                    <a:pt x="58498" y="5127919"/>
                  </a:lnTo>
                  <a:lnTo>
                    <a:pt x="111995" y="5315928"/>
                  </a:lnTo>
                  <a:lnTo>
                    <a:pt x="107023" y="5348830"/>
                  </a:lnTo>
                  <a:lnTo>
                    <a:pt x="97737" y="5369504"/>
                  </a:lnTo>
                  <a:lnTo>
                    <a:pt x="93866" y="5390443"/>
                  </a:lnTo>
                  <a:lnTo>
                    <a:pt x="85820" y="5434147"/>
                  </a:lnTo>
                  <a:lnTo>
                    <a:pt x="89012" y="5482713"/>
                  </a:lnTo>
                  <a:lnTo>
                    <a:pt x="96584" y="5530538"/>
                  </a:lnTo>
                  <a:lnTo>
                    <a:pt x="104154" y="5578372"/>
                  </a:lnTo>
                  <a:lnTo>
                    <a:pt x="116038" y="5625524"/>
                  </a:lnTo>
                  <a:lnTo>
                    <a:pt x="127862" y="5667923"/>
                  </a:lnTo>
                  <a:lnTo>
                    <a:pt x="135712" y="5696038"/>
                  </a:lnTo>
                  <a:lnTo>
                    <a:pt x="147319" y="5726321"/>
                  </a:lnTo>
                  <a:lnTo>
                    <a:pt x="157791" y="5753611"/>
                  </a:lnTo>
                  <a:lnTo>
                    <a:pt x="166721" y="5773191"/>
                  </a:lnTo>
                  <a:lnTo>
                    <a:pt x="178790" y="5791162"/>
                  </a:lnTo>
                  <a:lnTo>
                    <a:pt x="190435" y="5809385"/>
                  </a:lnTo>
                  <a:lnTo>
                    <a:pt x="204035" y="5836589"/>
                  </a:lnTo>
                  <a:lnTo>
                    <a:pt x="205393" y="5867868"/>
                  </a:lnTo>
                  <a:lnTo>
                    <a:pt x="184481" y="5882430"/>
                  </a:lnTo>
                  <a:lnTo>
                    <a:pt x="160126" y="5877985"/>
                  </a:lnTo>
                  <a:lnTo>
                    <a:pt x="110327" y="5859710"/>
                  </a:lnTo>
                  <a:lnTo>
                    <a:pt x="85702" y="5882839"/>
                  </a:lnTo>
                  <a:lnTo>
                    <a:pt x="96926" y="5974309"/>
                  </a:lnTo>
                  <a:lnTo>
                    <a:pt x="100659" y="6001171"/>
                  </a:lnTo>
                  <a:lnTo>
                    <a:pt x="111494" y="6023936"/>
                  </a:lnTo>
                  <a:lnTo>
                    <a:pt x="118063" y="6050712"/>
                  </a:lnTo>
                  <a:lnTo>
                    <a:pt x="107459" y="6074624"/>
                  </a:lnTo>
                  <a:lnTo>
                    <a:pt x="98602" y="6102218"/>
                  </a:lnTo>
                  <a:lnTo>
                    <a:pt x="96128" y="6131473"/>
                  </a:lnTo>
                  <a:lnTo>
                    <a:pt x="96578" y="6161678"/>
                  </a:lnTo>
                  <a:lnTo>
                    <a:pt x="97038" y="6191882"/>
                  </a:lnTo>
                  <a:lnTo>
                    <a:pt x="100013" y="6221843"/>
                  </a:lnTo>
                  <a:lnTo>
                    <a:pt x="99294" y="6250089"/>
                  </a:lnTo>
                  <a:lnTo>
                    <a:pt x="98509" y="6280788"/>
                  </a:lnTo>
                  <a:lnTo>
                    <a:pt x="92812" y="6311554"/>
                  </a:lnTo>
                  <a:lnTo>
                    <a:pt x="84330" y="6341223"/>
                  </a:lnTo>
                  <a:lnTo>
                    <a:pt x="75849" y="6370888"/>
                  </a:lnTo>
                  <a:lnTo>
                    <a:pt x="64552" y="6400294"/>
                  </a:lnTo>
                  <a:lnTo>
                    <a:pt x="53050" y="6429635"/>
                  </a:lnTo>
                  <a:lnTo>
                    <a:pt x="41542" y="6458976"/>
                  </a:lnTo>
                  <a:lnTo>
                    <a:pt x="28899" y="6488329"/>
                  </a:lnTo>
                  <a:lnTo>
                    <a:pt x="19047" y="6518047"/>
                  </a:lnTo>
                  <a:lnTo>
                    <a:pt x="10440" y="6547848"/>
                  </a:lnTo>
                  <a:lnTo>
                    <a:pt x="4453" y="6572685"/>
                  </a:lnTo>
                  <a:lnTo>
                    <a:pt x="0" y="6607823"/>
                  </a:lnTo>
                  <a:lnTo>
                    <a:pt x="36062" y="6611120"/>
                  </a:lnTo>
                  <a:lnTo>
                    <a:pt x="73198" y="6626466"/>
                  </a:lnTo>
                  <a:lnTo>
                    <a:pt x="91941" y="6638787"/>
                  </a:lnTo>
                  <a:lnTo>
                    <a:pt x="110175" y="6651349"/>
                  </a:lnTo>
                  <a:lnTo>
                    <a:pt x="146652" y="6676470"/>
                  </a:lnTo>
                  <a:lnTo>
                    <a:pt x="180814" y="6706245"/>
                  </a:lnTo>
                  <a:lnTo>
                    <a:pt x="206751" y="6726161"/>
                  </a:lnTo>
                  <a:lnTo>
                    <a:pt x="235169" y="6746086"/>
                  </a:lnTo>
                  <a:lnTo>
                    <a:pt x="262670" y="6766073"/>
                  </a:lnTo>
                  <a:lnTo>
                    <a:pt x="285647" y="6794168"/>
                  </a:lnTo>
                  <a:lnTo>
                    <a:pt x="300808" y="6817706"/>
                  </a:lnTo>
                  <a:lnTo>
                    <a:pt x="312197" y="6846921"/>
                  </a:lnTo>
                  <a:lnTo>
                    <a:pt x="321007" y="6877140"/>
                  </a:lnTo>
                  <a:lnTo>
                    <a:pt x="329825" y="6907356"/>
                  </a:lnTo>
                  <a:lnTo>
                    <a:pt x="336163" y="6937753"/>
                  </a:lnTo>
                  <a:lnTo>
                    <a:pt x="344130" y="6964192"/>
                  </a:lnTo>
                  <a:lnTo>
                    <a:pt x="357352" y="7005555"/>
                  </a:lnTo>
                  <a:lnTo>
                    <a:pt x="363175" y="7026765"/>
                  </a:lnTo>
                  <a:lnTo>
                    <a:pt x="369000" y="7047973"/>
                  </a:lnTo>
                  <a:lnTo>
                    <a:pt x="372996" y="7069948"/>
                  </a:lnTo>
                  <a:lnTo>
                    <a:pt x="376774" y="7090695"/>
                  </a:lnTo>
                  <a:lnTo>
                    <a:pt x="382222" y="7120563"/>
                  </a:lnTo>
                  <a:lnTo>
                    <a:pt x="393136" y="7189796"/>
                  </a:lnTo>
                  <a:lnTo>
                    <a:pt x="406703" y="7257994"/>
                  </a:lnTo>
                  <a:lnTo>
                    <a:pt x="420268" y="7326199"/>
                  </a:lnTo>
                  <a:lnTo>
                    <a:pt x="436498" y="7392748"/>
                  </a:lnTo>
                  <a:lnTo>
                    <a:pt x="455669" y="7417136"/>
                  </a:lnTo>
                  <a:lnTo>
                    <a:pt x="485802" y="7440654"/>
                  </a:lnTo>
                  <a:lnTo>
                    <a:pt x="505994" y="7447064"/>
                  </a:lnTo>
                  <a:lnTo>
                    <a:pt x="577299" y="7447954"/>
                  </a:lnTo>
                  <a:lnTo>
                    <a:pt x="674593" y="7425492"/>
                  </a:lnTo>
                  <a:lnTo>
                    <a:pt x="720904" y="7395373"/>
                  </a:lnTo>
                  <a:lnTo>
                    <a:pt x="749215" y="7376966"/>
                  </a:lnTo>
                  <a:lnTo>
                    <a:pt x="767575" y="7342007"/>
                  </a:lnTo>
                  <a:lnTo>
                    <a:pt x="805238" y="7338248"/>
                  </a:lnTo>
                  <a:lnTo>
                    <a:pt x="867996" y="7372779"/>
                  </a:lnTo>
                  <a:lnTo>
                    <a:pt x="794614" y="7462555"/>
                  </a:lnTo>
                  <a:lnTo>
                    <a:pt x="832443" y="7508272"/>
                  </a:lnTo>
                  <a:lnTo>
                    <a:pt x="897369" y="7536194"/>
                  </a:lnTo>
                  <a:lnTo>
                    <a:pt x="1009925" y="7588011"/>
                  </a:lnTo>
                  <a:lnTo>
                    <a:pt x="1058240" y="7591242"/>
                  </a:lnTo>
                  <a:lnTo>
                    <a:pt x="1229192" y="7555537"/>
                  </a:lnTo>
                  <a:lnTo>
                    <a:pt x="1295464" y="7529118"/>
                  </a:lnTo>
                  <a:lnTo>
                    <a:pt x="1305620" y="7505996"/>
                  </a:lnTo>
                  <a:lnTo>
                    <a:pt x="1369723" y="7531393"/>
                  </a:lnTo>
                  <a:lnTo>
                    <a:pt x="1402751" y="7539339"/>
                  </a:lnTo>
                  <a:lnTo>
                    <a:pt x="1435012" y="7566755"/>
                  </a:lnTo>
                  <a:lnTo>
                    <a:pt x="1454157" y="7589369"/>
                  </a:lnTo>
                  <a:lnTo>
                    <a:pt x="1487786" y="7613051"/>
                  </a:lnTo>
                  <a:lnTo>
                    <a:pt x="1499959" y="7644838"/>
                  </a:lnTo>
                  <a:lnTo>
                    <a:pt x="1516624" y="7666054"/>
                  </a:lnTo>
                  <a:lnTo>
                    <a:pt x="1541488" y="7696147"/>
                  </a:lnTo>
                  <a:lnTo>
                    <a:pt x="1566099" y="7722203"/>
                  </a:lnTo>
                  <a:lnTo>
                    <a:pt x="1605036" y="7734061"/>
                  </a:lnTo>
                  <a:lnTo>
                    <a:pt x="1636361" y="7743584"/>
                  </a:lnTo>
                  <a:lnTo>
                    <a:pt x="1663566" y="7759312"/>
                  </a:lnTo>
                  <a:lnTo>
                    <a:pt x="1693448" y="7770787"/>
                  </a:lnTo>
                  <a:lnTo>
                    <a:pt x="1715659" y="7773979"/>
                  </a:lnTo>
                  <a:lnTo>
                    <a:pt x="1787814" y="7808233"/>
                  </a:lnTo>
                  <a:lnTo>
                    <a:pt x="1786943" y="7973628"/>
                  </a:lnTo>
                  <a:lnTo>
                    <a:pt x="1872993" y="8034663"/>
                  </a:lnTo>
                  <a:lnTo>
                    <a:pt x="1897500" y="8073263"/>
                  </a:lnTo>
                  <a:lnTo>
                    <a:pt x="1954163" y="8102716"/>
                  </a:lnTo>
                  <a:lnTo>
                    <a:pt x="1988608" y="8132604"/>
                  </a:lnTo>
                  <a:lnTo>
                    <a:pt x="2089774" y="8220290"/>
                  </a:lnTo>
                  <a:lnTo>
                    <a:pt x="2165504" y="8186326"/>
                  </a:lnTo>
                  <a:lnTo>
                    <a:pt x="2200799" y="8210134"/>
                  </a:lnTo>
                  <a:lnTo>
                    <a:pt x="2237276" y="8234700"/>
                  </a:lnTo>
                  <a:lnTo>
                    <a:pt x="2282286" y="8234826"/>
                  </a:lnTo>
                  <a:lnTo>
                    <a:pt x="2324580" y="8237337"/>
                  </a:lnTo>
                  <a:lnTo>
                    <a:pt x="2408954" y="8242310"/>
                  </a:lnTo>
                  <a:lnTo>
                    <a:pt x="2489993" y="8236230"/>
                  </a:lnTo>
                  <a:lnTo>
                    <a:pt x="2531330" y="8320309"/>
                  </a:lnTo>
                  <a:lnTo>
                    <a:pt x="2550758" y="8359798"/>
                  </a:lnTo>
                  <a:lnTo>
                    <a:pt x="2548970" y="8408297"/>
                  </a:lnTo>
                  <a:lnTo>
                    <a:pt x="2538135" y="8450887"/>
                  </a:lnTo>
                  <a:lnTo>
                    <a:pt x="2526377" y="8497045"/>
                  </a:lnTo>
                  <a:lnTo>
                    <a:pt x="2512759" y="8530330"/>
                  </a:lnTo>
                  <a:lnTo>
                    <a:pt x="2501409" y="8581467"/>
                  </a:lnTo>
                  <a:lnTo>
                    <a:pt x="2467999" y="8719438"/>
                  </a:lnTo>
                  <a:lnTo>
                    <a:pt x="2624634" y="8722583"/>
                  </a:lnTo>
                  <a:lnTo>
                    <a:pt x="2670073" y="8668519"/>
                  </a:lnTo>
                  <a:lnTo>
                    <a:pt x="2690134" y="8644672"/>
                  </a:lnTo>
                  <a:lnTo>
                    <a:pt x="2701676" y="8608414"/>
                  </a:lnTo>
                  <a:lnTo>
                    <a:pt x="2717675" y="8581467"/>
                  </a:lnTo>
                  <a:lnTo>
                    <a:pt x="2746686" y="8532499"/>
                  </a:lnTo>
                  <a:lnTo>
                    <a:pt x="2820286" y="8526419"/>
                  </a:lnTo>
                  <a:lnTo>
                    <a:pt x="2844179" y="8581467"/>
                  </a:lnTo>
                  <a:lnTo>
                    <a:pt x="2863178" y="8646717"/>
                  </a:lnTo>
                  <a:lnTo>
                    <a:pt x="2819566" y="8746049"/>
                  </a:lnTo>
                  <a:lnTo>
                    <a:pt x="2887705" y="8784135"/>
                  </a:lnTo>
                  <a:lnTo>
                    <a:pt x="3005786" y="8850103"/>
                  </a:lnTo>
                  <a:lnTo>
                    <a:pt x="3031988" y="8816358"/>
                  </a:lnTo>
                  <a:lnTo>
                    <a:pt x="3118936" y="8736525"/>
                  </a:lnTo>
                  <a:lnTo>
                    <a:pt x="3139341" y="8717743"/>
                  </a:lnTo>
                  <a:lnTo>
                    <a:pt x="3166505" y="8704778"/>
                  </a:lnTo>
                  <a:lnTo>
                    <a:pt x="3186949" y="8686200"/>
                  </a:lnTo>
                  <a:lnTo>
                    <a:pt x="3210005" y="8660572"/>
                  </a:lnTo>
                  <a:lnTo>
                    <a:pt x="3283220" y="8619763"/>
                  </a:lnTo>
                  <a:lnTo>
                    <a:pt x="3314276" y="8685950"/>
                  </a:lnTo>
                  <a:lnTo>
                    <a:pt x="3351531" y="8668519"/>
                  </a:lnTo>
                  <a:lnTo>
                    <a:pt x="3388620" y="8630090"/>
                  </a:lnTo>
                  <a:lnTo>
                    <a:pt x="3417863" y="8612923"/>
                  </a:lnTo>
                  <a:lnTo>
                    <a:pt x="3442857" y="8615477"/>
                  </a:lnTo>
                  <a:lnTo>
                    <a:pt x="3493671" y="8662181"/>
                  </a:lnTo>
                  <a:lnTo>
                    <a:pt x="3499429" y="8691218"/>
                  </a:lnTo>
                  <a:lnTo>
                    <a:pt x="3512031" y="8736525"/>
                  </a:lnTo>
                  <a:lnTo>
                    <a:pt x="3522787" y="8775165"/>
                  </a:lnTo>
                  <a:lnTo>
                    <a:pt x="3516944" y="8803010"/>
                  </a:lnTo>
                  <a:lnTo>
                    <a:pt x="3509313" y="8841266"/>
                  </a:lnTo>
                  <a:lnTo>
                    <a:pt x="3491904" y="8928490"/>
                  </a:lnTo>
                  <a:lnTo>
                    <a:pt x="3456714" y="8963978"/>
                  </a:lnTo>
                  <a:lnTo>
                    <a:pt x="3389617" y="9018088"/>
                  </a:lnTo>
                  <a:lnTo>
                    <a:pt x="3369595" y="9028799"/>
                  </a:lnTo>
                  <a:lnTo>
                    <a:pt x="3352632" y="9045339"/>
                  </a:lnTo>
                  <a:lnTo>
                    <a:pt x="3337925" y="9064338"/>
                  </a:lnTo>
                  <a:lnTo>
                    <a:pt x="3310425" y="9085805"/>
                  </a:lnTo>
                  <a:lnTo>
                    <a:pt x="3291187" y="9134772"/>
                  </a:lnTo>
                  <a:lnTo>
                    <a:pt x="3303005" y="9154069"/>
                  </a:lnTo>
                  <a:lnTo>
                    <a:pt x="3314804" y="9182678"/>
                  </a:lnTo>
                  <a:lnTo>
                    <a:pt x="3327790" y="9214088"/>
                  </a:lnTo>
                  <a:lnTo>
                    <a:pt x="3344006" y="9228281"/>
                  </a:lnTo>
                  <a:lnTo>
                    <a:pt x="3378728" y="9233003"/>
                  </a:lnTo>
                  <a:lnTo>
                    <a:pt x="3493262" y="9248514"/>
                  </a:lnTo>
                  <a:lnTo>
                    <a:pt x="3478363" y="9083806"/>
                  </a:lnTo>
                  <a:lnTo>
                    <a:pt x="3600443" y="9020812"/>
                  </a:lnTo>
                  <a:lnTo>
                    <a:pt x="3623353" y="9008955"/>
                  </a:lnTo>
                  <a:lnTo>
                    <a:pt x="3648967" y="8998963"/>
                  </a:lnTo>
                  <a:lnTo>
                    <a:pt x="3675255" y="9005848"/>
                  </a:lnTo>
                  <a:lnTo>
                    <a:pt x="3711534" y="9041890"/>
                  </a:lnTo>
                  <a:lnTo>
                    <a:pt x="3755039" y="9139527"/>
                  </a:lnTo>
                  <a:lnTo>
                    <a:pt x="3741902" y="9190836"/>
                  </a:lnTo>
                  <a:lnTo>
                    <a:pt x="3736166" y="9213278"/>
                  </a:lnTo>
                  <a:lnTo>
                    <a:pt x="3698779" y="9223863"/>
                  </a:lnTo>
                  <a:lnTo>
                    <a:pt x="3683413" y="9253408"/>
                  </a:lnTo>
                  <a:lnTo>
                    <a:pt x="3699379" y="9302968"/>
                  </a:lnTo>
                  <a:lnTo>
                    <a:pt x="3744139" y="9418070"/>
                  </a:lnTo>
                  <a:lnTo>
                    <a:pt x="3730810" y="9464194"/>
                  </a:lnTo>
                  <a:lnTo>
                    <a:pt x="3828956" y="9525448"/>
                  </a:lnTo>
                  <a:lnTo>
                    <a:pt x="3849255" y="9493310"/>
                  </a:lnTo>
                  <a:lnTo>
                    <a:pt x="3866724" y="9422962"/>
                  </a:lnTo>
                  <a:lnTo>
                    <a:pt x="3856199" y="9318394"/>
                  </a:lnTo>
                  <a:lnTo>
                    <a:pt x="3882005" y="9273806"/>
                  </a:lnTo>
                  <a:lnTo>
                    <a:pt x="3897160" y="9251364"/>
                  </a:lnTo>
                  <a:lnTo>
                    <a:pt x="4135962" y="9054776"/>
                  </a:lnTo>
                  <a:lnTo>
                    <a:pt x="4166371" y="9039470"/>
                  </a:lnTo>
                  <a:lnTo>
                    <a:pt x="4188134" y="9036324"/>
                  </a:lnTo>
                  <a:lnTo>
                    <a:pt x="4219335" y="9043934"/>
                  </a:lnTo>
                  <a:lnTo>
                    <a:pt x="4269086" y="9053793"/>
                  </a:lnTo>
                  <a:lnTo>
                    <a:pt x="4316655" y="9072878"/>
                  </a:lnTo>
                  <a:lnTo>
                    <a:pt x="4367594" y="9080661"/>
                  </a:lnTo>
                  <a:lnTo>
                    <a:pt x="4412480" y="9087546"/>
                  </a:lnTo>
                  <a:lnTo>
                    <a:pt x="4457964" y="9084064"/>
                  </a:lnTo>
                  <a:lnTo>
                    <a:pt x="4500898" y="9101066"/>
                  </a:lnTo>
                  <a:lnTo>
                    <a:pt x="4524276" y="9110332"/>
                  </a:lnTo>
                  <a:lnTo>
                    <a:pt x="4573072" y="9160064"/>
                  </a:lnTo>
                  <a:lnTo>
                    <a:pt x="4596108" y="9178596"/>
                  </a:lnTo>
                  <a:lnTo>
                    <a:pt x="4619230" y="9181312"/>
                  </a:lnTo>
                  <a:lnTo>
                    <a:pt x="4656662" y="9152196"/>
                  </a:lnTo>
                  <a:lnTo>
                    <a:pt x="4688344" y="9164991"/>
                  </a:lnTo>
                  <a:lnTo>
                    <a:pt x="4730769" y="9164991"/>
                  </a:lnTo>
                  <a:lnTo>
                    <a:pt x="4752236" y="9164991"/>
                  </a:lnTo>
                  <a:lnTo>
                    <a:pt x="4791976" y="9167714"/>
                  </a:lnTo>
                  <a:lnTo>
                    <a:pt x="4830616" y="9183436"/>
                  </a:lnTo>
                  <a:lnTo>
                    <a:pt x="4859971" y="9221356"/>
                  </a:lnTo>
                  <a:lnTo>
                    <a:pt x="4902157" y="9233003"/>
                  </a:lnTo>
                  <a:lnTo>
                    <a:pt x="4937499" y="9242777"/>
                  </a:lnTo>
                  <a:lnTo>
                    <a:pt x="4964578" y="9218594"/>
                  </a:lnTo>
                  <a:lnTo>
                    <a:pt x="5000086" y="9223480"/>
                  </a:lnTo>
                  <a:lnTo>
                    <a:pt x="5059749" y="9231684"/>
                  </a:lnTo>
                  <a:lnTo>
                    <a:pt x="5130749" y="9321797"/>
                  </a:lnTo>
                  <a:lnTo>
                    <a:pt x="5129306" y="9381263"/>
                  </a:lnTo>
                  <a:lnTo>
                    <a:pt x="5128627" y="9409825"/>
                  </a:lnTo>
                  <a:lnTo>
                    <a:pt x="5112389" y="9436351"/>
                  </a:lnTo>
                  <a:lnTo>
                    <a:pt x="5106183" y="9464234"/>
                  </a:lnTo>
                  <a:lnTo>
                    <a:pt x="5102339" y="9518259"/>
                  </a:lnTo>
                  <a:lnTo>
                    <a:pt x="5180041" y="9544276"/>
                  </a:lnTo>
                  <a:lnTo>
                    <a:pt x="5195955" y="9586655"/>
                  </a:lnTo>
                  <a:lnTo>
                    <a:pt x="5212217" y="9629964"/>
                  </a:lnTo>
                  <a:lnTo>
                    <a:pt x="5187070" y="9673708"/>
                  </a:lnTo>
                  <a:lnTo>
                    <a:pt x="5193237" y="9728116"/>
                  </a:lnTo>
                  <a:lnTo>
                    <a:pt x="5288830" y="9839821"/>
                  </a:lnTo>
                  <a:lnTo>
                    <a:pt x="5311655" y="9842095"/>
                  </a:lnTo>
                  <a:lnTo>
                    <a:pt x="5344214" y="9834207"/>
                  </a:lnTo>
                  <a:lnTo>
                    <a:pt x="5373245" y="9826623"/>
                  </a:lnTo>
                  <a:lnTo>
                    <a:pt x="5409008" y="9816013"/>
                  </a:lnTo>
                  <a:lnTo>
                    <a:pt x="5446231" y="9804286"/>
                  </a:lnTo>
                  <a:lnTo>
                    <a:pt x="5520667" y="9780823"/>
                  </a:lnTo>
                  <a:lnTo>
                    <a:pt x="5598124" y="9753189"/>
                  </a:lnTo>
                  <a:lnTo>
                    <a:pt x="5617613" y="9738997"/>
                  </a:lnTo>
                  <a:lnTo>
                    <a:pt x="5629027" y="9709643"/>
                  </a:lnTo>
                  <a:lnTo>
                    <a:pt x="5640734" y="9690030"/>
                  </a:lnTo>
                  <a:lnTo>
                    <a:pt x="5652446" y="9670417"/>
                  </a:lnTo>
                  <a:lnTo>
                    <a:pt x="5665300" y="9651299"/>
                  </a:lnTo>
                  <a:lnTo>
                    <a:pt x="5691791" y="9607402"/>
                  </a:lnTo>
                  <a:lnTo>
                    <a:pt x="5711029" y="9583167"/>
                  </a:lnTo>
                  <a:lnTo>
                    <a:pt x="5729145" y="9564892"/>
                  </a:lnTo>
                  <a:lnTo>
                    <a:pt x="5747268" y="9546611"/>
                  </a:lnTo>
                  <a:lnTo>
                    <a:pt x="5780837" y="9524082"/>
                  </a:lnTo>
                  <a:lnTo>
                    <a:pt x="5814523" y="9503579"/>
                  </a:lnTo>
                  <a:lnTo>
                    <a:pt x="5847861" y="9489907"/>
                  </a:lnTo>
                  <a:lnTo>
                    <a:pt x="5886934" y="9449269"/>
                  </a:lnTo>
                  <a:lnTo>
                    <a:pt x="5893464" y="9413104"/>
                  </a:lnTo>
                  <a:lnTo>
                    <a:pt x="5889652" y="9389422"/>
                  </a:lnTo>
                  <a:lnTo>
                    <a:pt x="5885840" y="9365746"/>
                  </a:lnTo>
                  <a:lnTo>
                    <a:pt x="5878718" y="9339261"/>
                  </a:lnTo>
                  <a:lnTo>
                    <a:pt x="5871965" y="9313250"/>
                  </a:lnTo>
                  <a:lnTo>
                    <a:pt x="5865218" y="9287247"/>
                  </a:lnTo>
                  <a:lnTo>
                    <a:pt x="5858999" y="9261982"/>
                  </a:lnTo>
                  <a:lnTo>
                    <a:pt x="5857007" y="9239803"/>
                  </a:lnTo>
                  <a:lnTo>
                    <a:pt x="5855009" y="9217625"/>
                  </a:lnTo>
                  <a:lnTo>
                    <a:pt x="5866523" y="9186754"/>
                  </a:lnTo>
                  <a:lnTo>
                    <a:pt x="5926366" y="9158988"/>
                  </a:lnTo>
                  <a:lnTo>
                    <a:pt x="5969898" y="9141868"/>
                  </a:lnTo>
                  <a:lnTo>
                    <a:pt x="6013438" y="9124748"/>
                  </a:lnTo>
                  <a:lnTo>
                    <a:pt x="6056530" y="9110516"/>
                  </a:lnTo>
                  <a:lnTo>
                    <a:pt x="6084888" y="9140358"/>
                  </a:lnTo>
                  <a:lnTo>
                    <a:pt x="6104488" y="9165808"/>
                  </a:lnTo>
                  <a:lnTo>
                    <a:pt x="6126323" y="9188112"/>
                  </a:lnTo>
                  <a:lnTo>
                    <a:pt x="6148159" y="9210422"/>
                  </a:lnTo>
                  <a:lnTo>
                    <a:pt x="6172388" y="9230069"/>
                  </a:lnTo>
                  <a:lnTo>
                    <a:pt x="6198413" y="9246603"/>
                  </a:lnTo>
                  <a:lnTo>
                    <a:pt x="6222900" y="9262924"/>
                  </a:lnTo>
                  <a:lnTo>
                    <a:pt x="6248745" y="9279247"/>
                  </a:lnTo>
                  <a:lnTo>
                    <a:pt x="6266268" y="9303430"/>
                  </a:lnTo>
                  <a:lnTo>
                    <a:pt x="6280183" y="9325793"/>
                  </a:lnTo>
                  <a:lnTo>
                    <a:pt x="6323551" y="9349978"/>
                  </a:lnTo>
                  <a:lnTo>
                    <a:pt x="6359994" y="9365172"/>
                  </a:lnTo>
                  <a:lnTo>
                    <a:pt x="6402273" y="9377089"/>
                  </a:lnTo>
                  <a:lnTo>
                    <a:pt x="6443248" y="9392144"/>
                  </a:lnTo>
                  <a:lnTo>
                    <a:pt x="6484222" y="9407194"/>
                  </a:lnTo>
                  <a:lnTo>
                    <a:pt x="6524061" y="9425086"/>
                  </a:lnTo>
                  <a:lnTo>
                    <a:pt x="6553428" y="9453353"/>
                  </a:lnTo>
                  <a:lnTo>
                    <a:pt x="6578081" y="9455351"/>
                  </a:lnTo>
                  <a:lnTo>
                    <a:pt x="6600550" y="9452185"/>
                  </a:lnTo>
                  <a:lnTo>
                    <a:pt x="6622795" y="9447911"/>
                  </a:lnTo>
                  <a:lnTo>
                    <a:pt x="6645038" y="9443645"/>
                  </a:lnTo>
                  <a:lnTo>
                    <a:pt x="6667184" y="9439490"/>
                  </a:lnTo>
                  <a:lnTo>
                    <a:pt x="6690808" y="9437030"/>
                  </a:lnTo>
                  <a:lnTo>
                    <a:pt x="6735013" y="9432433"/>
                  </a:lnTo>
                  <a:lnTo>
                    <a:pt x="6781639" y="9443150"/>
                  </a:lnTo>
                  <a:lnTo>
                    <a:pt x="6825469" y="9446553"/>
                  </a:lnTo>
                  <a:lnTo>
                    <a:pt x="6945101" y="9441963"/>
                  </a:lnTo>
                  <a:lnTo>
                    <a:pt x="6986193" y="9434754"/>
                  </a:lnTo>
                  <a:lnTo>
                    <a:pt x="7007732" y="9415267"/>
                  </a:lnTo>
                  <a:lnTo>
                    <a:pt x="7023936" y="9395759"/>
                  </a:lnTo>
                  <a:lnTo>
                    <a:pt x="7054957" y="9384534"/>
                  </a:lnTo>
                  <a:lnTo>
                    <a:pt x="7078358" y="9386664"/>
                  </a:lnTo>
                  <a:lnTo>
                    <a:pt x="7126995" y="9371873"/>
                  </a:lnTo>
                  <a:lnTo>
                    <a:pt x="7156388" y="9359704"/>
                  </a:lnTo>
                  <a:lnTo>
                    <a:pt x="7183196" y="9343178"/>
                  </a:lnTo>
                  <a:lnTo>
                    <a:pt x="7210012" y="9326650"/>
                  </a:lnTo>
                  <a:lnTo>
                    <a:pt x="7233588" y="9306049"/>
                  </a:lnTo>
                  <a:lnTo>
                    <a:pt x="7251209" y="9277888"/>
                  </a:lnTo>
                  <a:lnTo>
                    <a:pt x="7272972" y="9277888"/>
                  </a:lnTo>
                  <a:lnTo>
                    <a:pt x="7291590" y="9291744"/>
                  </a:lnTo>
                  <a:lnTo>
                    <a:pt x="7318920" y="9328511"/>
                  </a:lnTo>
                  <a:lnTo>
                    <a:pt x="7348800" y="9344879"/>
                  </a:lnTo>
                  <a:lnTo>
                    <a:pt x="7379065" y="9363582"/>
                  </a:lnTo>
                  <a:lnTo>
                    <a:pt x="7403953" y="9379009"/>
                  </a:lnTo>
                  <a:lnTo>
                    <a:pt x="7430497" y="9398476"/>
                  </a:lnTo>
                  <a:lnTo>
                    <a:pt x="7456595" y="9411185"/>
                  </a:lnTo>
                  <a:lnTo>
                    <a:pt x="7478194" y="9421730"/>
                  </a:lnTo>
                  <a:lnTo>
                    <a:pt x="7510455" y="9427117"/>
                  </a:lnTo>
                  <a:lnTo>
                    <a:pt x="7543647" y="9430230"/>
                  </a:lnTo>
                  <a:lnTo>
                    <a:pt x="7576845" y="9433343"/>
                  </a:lnTo>
                  <a:lnTo>
                    <a:pt x="7611035" y="9433931"/>
                  </a:lnTo>
                  <a:lnTo>
                    <a:pt x="7634783" y="9434306"/>
                  </a:lnTo>
                  <a:lnTo>
                    <a:pt x="7717903" y="9435751"/>
                  </a:lnTo>
                  <a:lnTo>
                    <a:pt x="7803771" y="9440723"/>
                  </a:lnTo>
                  <a:lnTo>
                    <a:pt x="7886423" y="9432948"/>
                  </a:lnTo>
                  <a:lnTo>
                    <a:pt x="7930054" y="9428872"/>
                  </a:lnTo>
                  <a:lnTo>
                    <a:pt x="8003148" y="9400561"/>
                  </a:lnTo>
                  <a:lnTo>
                    <a:pt x="8041992" y="9399031"/>
                  </a:lnTo>
                  <a:lnTo>
                    <a:pt x="8064797" y="9436476"/>
                  </a:lnTo>
                  <a:lnTo>
                    <a:pt x="8097250" y="9438388"/>
                  </a:lnTo>
                  <a:lnTo>
                    <a:pt x="8121736" y="9413901"/>
                  </a:lnTo>
                  <a:lnTo>
                    <a:pt x="8110750" y="9349806"/>
                  </a:lnTo>
                  <a:lnTo>
                    <a:pt x="8116421" y="9320009"/>
                  </a:lnTo>
                  <a:lnTo>
                    <a:pt x="8132619" y="9305092"/>
                  </a:lnTo>
                  <a:lnTo>
                    <a:pt x="8156993" y="9270297"/>
                  </a:lnTo>
                  <a:lnTo>
                    <a:pt x="8168843" y="9245620"/>
                  </a:lnTo>
                  <a:lnTo>
                    <a:pt x="8167981" y="9220756"/>
                  </a:lnTo>
                  <a:lnTo>
                    <a:pt x="8167116" y="9195894"/>
                  </a:lnTo>
                  <a:lnTo>
                    <a:pt x="8153371" y="9170088"/>
                  </a:lnTo>
                  <a:lnTo>
                    <a:pt x="8128535" y="9136420"/>
                  </a:lnTo>
                  <a:lnTo>
                    <a:pt x="8078210" y="9068414"/>
                  </a:lnTo>
                  <a:lnTo>
                    <a:pt x="8057213" y="9039958"/>
                  </a:lnTo>
                  <a:lnTo>
                    <a:pt x="8042525" y="9017224"/>
                  </a:lnTo>
                  <a:lnTo>
                    <a:pt x="8040125" y="8996325"/>
                  </a:lnTo>
                  <a:lnTo>
                    <a:pt x="8037725" y="8975419"/>
                  </a:lnTo>
                  <a:lnTo>
                    <a:pt x="8047985" y="8956050"/>
                  </a:lnTo>
                  <a:lnTo>
                    <a:pt x="8079568" y="8932394"/>
                  </a:lnTo>
                  <a:lnTo>
                    <a:pt x="8109278" y="8909867"/>
                  </a:lnTo>
                  <a:lnTo>
                    <a:pt x="8129893" y="8916072"/>
                  </a:lnTo>
                  <a:lnTo>
                    <a:pt x="8150425" y="8925766"/>
                  </a:lnTo>
                  <a:lnTo>
                    <a:pt x="8153867" y="8955642"/>
                  </a:lnTo>
                  <a:lnTo>
                    <a:pt x="8173419" y="8967756"/>
                  </a:lnTo>
                  <a:lnTo>
                    <a:pt x="8224991" y="8951652"/>
                  </a:lnTo>
                  <a:lnTo>
                    <a:pt x="8261839" y="8928312"/>
                  </a:lnTo>
                  <a:lnTo>
                    <a:pt x="8280259" y="8916646"/>
                  </a:lnTo>
                  <a:lnTo>
                    <a:pt x="8299886" y="8903865"/>
                  </a:lnTo>
                  <a:lnTo>
                    <a:pt x="8335320" y="8887470"/>
                  </a:lnTo>
                  <a:lnTo>
                    <a:pt x="8365212" y="8886144"/>
                  </a:lnTo>
                  <a:lnTo>
                    <a:pt x="8381193" y="8862897"/>
                  </a:lnTo>
                  <a:lnTo>
                    <a:pt x="8417730" y="8852484"/>
                  </a:lnTo>
                  <a:lnTo>
                    <a:pt x="8426421" y="8829019"/>
                  </a:lnTo>
                  <a:lnTo>
                    <a:pt x="8425063" y="8807256"/>
                  </a:lnTo>
                  <a:lnTo>
                    <a:pt x="8416899" y="8786851"/>
                  </a:lnTo>
                  <a:lnTo>
                    <a:pt x="8430284" y="8757670"/>
                  </a:lnTo>
                  <a:lnTo>
                    <a:pt x="8455201" y="8726264"/>
                  </a:lnTo>
                  <a:lnTo>
                    <a:pt x="8475389" y="8695717"/>
                  </a:lnTo>
                  <a:lnTo>
                    <a:pt x="8469953" y="8657631"/>
                  </a:lnTo>
                  <a:lnTo>
                    <a:pt x="8455985" y="8640221"/>
                  </a:lnTo>
                  <a:lnTo>
                    <a:pt x="8459889" y="8613762"/>
                  </a:lnTo>
                  <a:lnTo>
                    <a:pt x="8468660" y="8585159"/>
                  </a:lnTo>
                  <a:lnTo>
                    <a:pt x="8461796" y="8562420"/>
                  </a:lnTo>
                  <a:lnTo>
                    <a:pt x="8439723" y="8547754"/>
                  </a:lnTo>
                  <a:lnTo>
                    <a:pt x="8399858" y="8542998"/>
                  </a:lnTo>
                  <a:lnTo>
                    <a:pt x="8363861" y="8533857"/>
                  </a:lnTo>
                  <a:lnTo>
                    <a:pt x="8329001" y="8523589"/>
                  </a:lnTo>
                  <a:lnTo>
                    <a:pt x="8303511" y="8506034"/>
                  </a:lnTo>
                  <a:lnTo>
                    <a:pt x="8293133" y="8476726"/>
                  </a:lnTo>
                  <a:lnTo>
                    <a:pt x="8317070" y="8430648"/>
                  </a:lnTo>
                  <a:lnTo>
                    <a:pt x="8342249" y="8398913"/>
                  </a:lnTo>
                  <a:lnTo>
                    <a:pt x="8366580" y="8363829"/>
                  </a:lnTo>
                  <a:lnTo>
                    <a:pt x="8390907" y="8328742"/>
                  </a:lnTo>
                  <a:lnTo>
                    <a:pt x="8413529" y="8290697"/>
                  </a:lnTo>
                  <a:lnTo>
                    <a:pt x="8430511" y="8233249"/>
                  </a:lnTo>
                  <a:lnTo>
                    <a:pt x="8438892" y="8204897"/>
                  </a:lnTo>
                  <a:lnTo>
                    <a:pt x="8438761" y="8164537"/>
                  </a:lnTo>
                  <a:lnTo>
                    <a:pt x="8437310" y="8127156"/>
                  </a:lnTo>
                  <a:lnTo>
                    <a:pt x="8435859" y="8089777"/>
                  </a:lnTo>
                  <a:lnTo>
                    <a:pt x="8432883" y="8054956"/>
                  </a:lnTo>
                  <a:lnTo>
                    <a:pt x="8456956" y="8004927"/>
                  </a:lnTo>
                  <a:lnTo>
                    <a:pt x="8486349" y="7976733"/>
                  </a:lnTo>
                  <a:lnTo>
                    <a:pt x="8517563" y="7948969"/>
                  </a:lnTo>
                  <a:lnTo>
                    <a:pt x="8548783" y="7921211"/>
                  </a:lnTo>
                  <a:lnTo>
                    <a:pt x="8583091" y="7894983"/>
                  </a:lnTo>
                  <a:lnTo>
                    <a:pt x="8608698" y="7865999"/>
                  </a:lnTo>
                  <a:lnTo>
                    <a:pt x="8626905" y="7843615"/>
                  </a:lnTo>
                  <a:lnTo>
                    <a:pt x="8644904" y="7820369"/>
                  </a:lnTo>
                  <a:lnTo>
                    <a:pt x="8663104" y="7796626"/>
                  </a:lnTo>
                  <a:lnTo>
                    <a:pt x="8676803" y="7774620"/>
                  </a:lnTo>
                  <a:lnTo>
                    <a:pt x="8687593" y="7755824"/>
                  </a:lnTo>
                  <a:lnTo>
                    <a:pt x="8698383" y="7737022"/>
                  </a:lnTo>
                  <a:lnTo>
                    <a:pt x="8710311" y="7715549"/>
                  </a:lnTo>
                  <a:lnTo>
                    <a:pt x="8732582" y="7686895"/>
                  </a:lnTo>
                  <a:lnTo>
                    <a:pt x="8776207" y="7645590"/>
                  </a:lnTo>
                  <a:lnTo>
                    <a:pt x="8822248" y="7615722"/>
                  </a:lnTo>
                  <a:lnTo>
                    <a:pt x="8845270" y="7600791"/>
                  </a:lnTo>
                  <a:lnTo>
                    <a:pt x="8868372" y="7588155"/>
                  </a:lnTo>
                  <a:lnTo>
                    <a:pt x="8909430" y="7580717"/>
                  </a:lnTo>
                  <a:lnTo>
                    <a:pt x="8937869" y="7602117"/>
                  </a:lnTo>
                  <a:lnTo>
                    <a:pt x="8943078" y="7622541"/>
                  </a:lnTo>
                  <a:lnTo>
                    <a:pt x="8937277" y="7644502"/>
                  </a:lnTo>
                  <a:lnTo>
                    <a:pt x="8931069" y="7666048"/>
                  </a:lnTo>
                  <a:lnTo>
                    <a:pt x="8924850" y="7687592"/>
                  </a:lnTo>
                  <a:lnTo>
                    <a:pt x="8917848" y="7709448"/>
                  </a:lnTo>
                  <a:lnTo>
                    <a:pt x="8922905" y="7731337"/>
                  </a:lnTo>
                  <a:lnTo>
                    <a:pt x="8948057" y="7755856"/>
                  </a:lnTo>
                  <a:lnTo>
                    <a:pt x="8963043" y="7793870"/>
                  </a:lnTo>
                  <a:lnTo>
                    <a:pt x="8968403" y="7815448"/>
                  </a:lnTo>
                  <a:lnTo>
                    <a:pt x="8973231" y="7837436"/>
                  </a:lnTo>
                  <a:lnTo>
                    <a:pt x="8978059" y="7859416"/>
                  </a:lnTo>
                  <a:lnTo>
                    <a:pt x="8981717" y="7880923"/>
                  </a:lnTo>
                  <a:lnTo>
                    <a:pt x="8994672" y="7916364"/>
                  </a:lnTo>
                  <a:lnTo>
                    <a:pt x="9015399" y="7936729"/>
                  </a:lnTo>
                  <a:lnTo>
                    <a:pt x="9041540" y="7933833"/>
                  </a:lnTo>
                  <a:lnTo>
                    <a:pt x="9063877" y="7917729"/>
                  </a:lnTo>
                  <a:lnTo>
                    <a:pt x="9094445" y="7888751"/>
                  </a:lnTo>
                  <a:lnTo>
                    <a:pt x="9122856" y="7859199"/>
                  </a:lnTo>
                  <a:lnTo>
                    <a:pt x="9151267" y="7829647"/>
                  </a:lnTo>
                  <a:lnTo>
                    <a:pt x="9176902" y="7799686"/>
                  </a:lnTo>
                  <a:lnTo>
                    <a:pt x="9183522" y="7772654"/>
                  </a:lnTo>
                  <a:lnTo>
                    <a:pt x="9188145" y="7739502"/>
                  </a:lnTo>
                  <a:lnTo>
                    <a:pt x="9190387" y="7706811"/>
                  </a:lnTo>
                  <a:lnTo>
                    <a:pt x="9204460" y="7676929"/>
                  </a:lnTo>
                  <a:lnTo>
                    <a:pt x="9240945" y="7656168"/>
                  </a:lnTo>
                  <a:lnTo>
                    <a:pt x="9279510" y="7656314"/>
                  </a:lnTo>
                  <a:lnTo>
                    <a:pt x="9316001" y="7653807"/>
                  </a:lnTo>
                  <a:lnTo>
                    <a:pt x="9352485" y="7651302"/>
                  </a:lnTo>
                  <a:lnTo>
                    <a:pt x="9385987" y="7646606"/>
                  </a:lnTo>
                  <a:lnTo>
                    <a:pt x="9401689" y="7629320"/>
                  </a:lnTo>
                  <a:lnTo>
                    <a:pt x="9418044" y="7611330"/>
                  </a:lnTo>
                  <a:lnTo>
                    <a:pt x="9436787" y="7592192"/>
                  </a:lnTo>
                  <a:lnTo>
                    <a:pt x="9452020" y="7572195"/>
                  </a:lnTo>
                  <a:lnTo>
                    <a:pt x="9467247" y="7552199"/>
                  </a:lnTo>
                  <a:lnTo>
                    <a:pt x="9479371" y="7531050"/>
                  </a:lnTo>
                  <a:lnTo>
                    <a:pt x="9483299" y="7505548"/>
                  </a:lnTo>
                  <a:lnTo>
                    <a:pt x="9467294" y="7480672"/>
                  </a:lnTo>
                  <a:lnTo>
                    <a:pt x="9444898" y="7459693"/>
                  </a:lnTo>
                  <a:lnTo>
                    <a:pt x="9422094" y="7441617"/>
                  </a:lnTo>
                  <a:lnTo>
                    <a:pt x="9404690" y="7425875"/>
                  </a:lnTo>
                  <a:lnTo>
                    <a:pt x="9371768" y="7410330"/>
                  </a:lnTo>
                  <a:lnTo>
                    <a:pt x="9339327" y="7403841"/>
                  </a:lnTo>
                  <a:lnTo>
                    <a:pt x="9289739" y="7411082"/>
                  </a:lnTo>
                  <a:lnTo>
                    <a:pt x="9255670" y="7428783"/>
                  </a:lnTo>
                  <a:lnTo>
                    <a:pt x="9216701" y="7449781"/>
                  </a:lnTo>
                  <a:lnTo>
                    <a:pt x="9174989" y="7471967"/>
                  </a:lnTo>
                  <a:lnTo>
                    <a:pt x="9143255" y="7483791"/>
                  </a:lnTo>
                  <a:lnTo>
                    <a:pt x="9111520" y="7495609"/>
                  </a:lnTo>
                  <a:lnTo>
                    <a:pt x="9078282" y="7503641"/>
                  </a:lnTo>
                  <a:lnTo>
                    <a:pt x="9052634" y="7471835"/>
                  </a:lnTo>
                  <a:lnTo>
                    <a:pt x="9053477" y="7438899"/>
                  </a:lnTo>
                  <a:lnTo>
                    <a:pt x="9067228" y="7409829"/>
                  </a:lnTo>
                  <a:lnTo>
                    <a:pt x="9103515" y="7370550"/>
                  </a:lnTo>
                  <a:lnTo>
                    <a:pt x="9137305" y="7347277"/>
                  </a:lnTo>
                  <a:lnTo>
                    <a:pt x="9155493" y="7326008"/>
                  </a:lnTo>
                  <a:lnTo>
                    <a:pt x="9170425" y="7308550"/>
                  </a:lnTo>
                  <a:lnTo>
                    <a:pt x="9181339" y="7270235"/>
                  </a:lnTo>
                  <a:lnTo>
                    <a:pt x="9190393" y="7232386"/>
                  </a:lnTo>
                  <a:lnTo>
                    <a:pt x="9208544" y="7215827"/>
                  </a:lnTo>
                  <a:lnTo>
                    <a:pt x="9240622" y="7216150"/>
                  </a:lnTo>
                  <a:lnTo>
                    <a:pt x="9260333" y="7192685"/>
                  </a:lnTo>
                  <a:lnTo>
                    <a:pt x="9273827" y="7165494"/>
                  </a:lnTo>
                  <a:lnTo>
                    <a:pt x="9287320" y="7138303"/>
                  </a:lnTo>
                  <a:lnTo>
                    <a:pt x="9295069" y="7108119"/>
                  </a:lnTo>
                  <a:lnTo>
                    <a:pt x="9293636" y="7078995"/>
                  </a:lnTo>
                  <a:lnTo>
                    <a:pt x="9288790" y="7052597"/>
                  </a:lnTo>
                  <a:lnTo>
                    <a:pt x="9283969" y="7027543"/>
                  </a:lnTo>
                  <a:lnTo>
                    <a:pt x="9278713" y="6996566"/>
                  </a:lnTo>
                  <a:lnTo>
                    <a:pt x="9268332" y="6972428"/>
                  </a:lnTo>
                  <a:lnTo>
                    <a:pt x="9256147" y="6950580"/>
                  </a:lnTo>
                  <a:lnTo>
                    <a:pt x="9243953" y="6928738"/>
                  </a:lnTo>
                  <a:lnTo>
                    <a:pt x="9229851" y="6908366"/>
                  </a:lnTo>
                  <a:lnTo>
                    <a:pt x="9185417" y="6855369"/>
                  </a:lnTo>
                  <a:lnTo>
                    <a:pt x="9152770" y="6814560"/>
                  </a:lnTo>
                  <a:lnTo>
                    <a:pt x="9132899" y="6785258"/>
                  </a:lnTo>
                  <a:lnTo>
                    <a:pt x="9115511" y="6751374"/>
                  </a:lnTo>
                  <a:lnTo>
                    <a:pt x="9101081" y="6719349"/>
                  </a:lnTo>
                  <a:lnTo>
                    <a:pt x="9082080" y="6679575"/>
                  </a:lnTo>
                  <a:lnTo>
                    <a:pt x="9072806" y="6645453"/>
                  </a:lnTo>
                  <a:lnTo>
                    <a:pt x="9068435" y="6615974"/>
                  </a:lnTo>
                  <a:lnTo>
                    <a:pt x="9064069" y="6586495"/>
                  </a:lnTo>
                  <a:lnTo>
                    <a:pt x="9064512" y="6561757"/>
                  </a:lnTo>
                  <a:lnTo>
                    <a:pt x="9067076" y="6539804"/>
                  </a:lnTo>
                  <a:lnTo>
                    <a:pt x="9072208" y="6495887"/>
                  </a:lnTo>
                  <a:lnTo>
                    <a:pt x="9083156" y="6464205"/>
                  </a:lnTo>
                  <a:lnTo>
                    <a:pt x="9069793" y="6433711"/>
                  </a:lnTo>
                  <a:lnTo>
                    <a:pt x="9031907" y="6415067"/>
                  </a:lnTo>
                  <a:lnTo>
                    <a:pt x="9008612" y="6407337"/>
                  </a:lnTo>
                  <a:lnTo>
                    <a:pt x="8985466" y="6399700"/>
                  </a:lnTo>
                  <a:lnTo>
                    <a:pt x="8962311" y="6392070"/>
                  </a:lnTo>
                  <a:lnTo>
                    <a:pt x="8938771" y="6385047"/>
                  </a:lnTo>
                  <a:lnTo>
                    <a:pt x="8916093" y="6376579"/>
                  </a:lnTo>
                  <a:lnTo>
                    <a:pt x="8892476" y="6364946"/>
                  </a:lnTo>
                  <a:lnTo>
                    <a:pt x="8868980" y="6350133"/>
                  </a:lnTo>
                  <a:lnTo>
                    <a:pt x="8848085" y="6335777"/>
                  </a:lnTo>
                  <a:lnTo>
                    <a:pt x="8815579" y="6313954"/>
                  </a:lnTo>
                  <a:lnTo>
                    <a:pt x="8780753" y="6293068"/>
                  </a:lnTo>
                  <a:lnTo>
                    <a:pt x="8752869" y="6266405"/>
                  </a:lnTo>
                  <a:lnTo>
                    <a:pt x="8726725" y="6238185"/>
                  </a:lnTo>
                  <a:lnTo>
                    <a:pt x="8708286" y="6204847"/>
                  </a:lnTo>
                  <a:lnTo>
                    <a:pt x="8699818" y="6164388"/>
                  </a:lnTo>
                  <a:lnTo>
                    <a:pt x="8698460" y="6141267"/>
                  </a:lnTo>
                  <a:lnTo>
                    <a:pt x="8703902" y="6118138"/>
                  </a:lnTo>
                  <a:lnTo>
                    <a:pt x="8717389" y="6094304"/>
                  </a:lnTo>
                  <a:lnTo>
                    <a:pt x="8738873" y="6080521"/>
                  </a:lnTo>
                  <a:lnTo>
                    <a:pt x="8762391" y="6069178"/>
                  </a:lnTo>
                  <a:lnTo>
                    <a:pt x="8785909" y="6057834"/>
                  </a:lnTo>
                  <a:lnTo>
                    <a:pt x="8811424" y="6048127"/>
                  </a:lnTo>
                  <a:lnTo>
                    <a:pt x="8830406" y="6029726"/>
                  </a:lnTo>
                  <a:lnTo>
                    <a:pt x="8835847" y="6007963"/>
                  </a:lnTo>
                  <a:lnTo>
                    <a:pt x="8800463" y="5975919"/>
                  </a:lnTo>
                  <a:lnTo>
                    <a:pt x="8765802" y="5965203"/>
                  </a:lnTo>
                  <a:lnTo>
                    <a:pt x="8735202" y="5956279"/>
                  </a:lnTo>
                  <a:lnTo>
                    <a:pt x="8732347" y="5911988"/>
                  </a:lnTo>
                  <a:lnTo>
                    <a:pt x="8727035" y="5888273"/>
                  </a:lnTo>
                  <a:lnTo>
                    <a:pt x="8714791" y="5865144"/>
                  </a:lnTo>
                  <a:lnTo>
                    <a:pt x="8675438" y="5870097"/>
                  </a:lnTo>
                  <a:lnTo>
                    <a:pt x="8617833" y="5875736"/>
                  </a:lnTo>
                  <a:lnTo>
                    <a:pt x="8561089" y="5876025"/>
                  </a:lnTo>
                  <a:lnTo>
                    <a:pt x="8504345" y="5876356"/>
                  </a:lnTo>
                  <a:lnTo>
                    <a:pt x="8448612" y="5871832"/>
                  </a:lnTo>
                  <a:lnTo>
                    <a:pt x="8414186" y="5856986"/>
                  </a:lnTo>
                  <a:lnTo>
                    <a:pt x="8397313" y="5835282"/>
                  </a:lnTo>
                  <a:lnTo>
                    <a:pt x="8387537" y="5797072"/>
                  </a:lnTo>
                  <a:lnTo>
                    <a:pt x="8384703" y="5773390"/>
                  </a:lnTo>
                  <a:lnTo>
                    <a:pt x="8382901" y="5749529"/>
                  </a:lnTo>
                  <a:lnTo>
                    <a:pt x="8379308" y="5701808"/>
                  </a:lnTo>
                  <a:lnTo>
                    <a:pt x="8380256" y="5651562"/>
                  </a:lnTo>
                  <a:lnTo>
                    <a:pt x="8377460" y="5629831"/>
                  </a:lnTo>
                  <a:lnTo>
                    <a:pt x="8371755" y="5600267"/>
                  </a:lnTo>
                  <a:lnTo>
                    <a:pt x="8364118" y="5569621"/>
                  </a:lnTo>
                  <a:lnTo>
                    <a:pt x="8357055" y="5540061"/>
                  </a:lnTo>
                  <a:lnTo>
                    <a:pt x="8351002" y="5505643"/>
                  </a:lnTo>
                  <a:lnTo>
                    <a:pt x="8346175" y="5482930"/>
                  </a:lnTo>
                  <a:lnTo>
                    <a:pt x="8341347" y="5460217"/>
                  </a:lnTo>
                  <a:lnTo>
                    <a:pt x="8335220" y="5438620"/>
                  </a:lnTo>
                  <a:lnTo>
                    <a:pt x="8256999" y="5416474"/>
                  </a:lnTo>
                  <a:lnTo>
                    <a:pt x="8222883" y="5411375"/>
                  </a:lnTo>
                  <a:lnTo>
                    <a:pt x="8201998" y="5391795"/>
                  </a:lnTo>
                  <a:lnTo>
                    <a:pt x="8181112" y="5372222"/>
                  </a:lnTo>
                  <a:lnTo>
                    <a:pt x="8173581" y="5338759"/>
                  </a:lnTo>
                  <a:lnTo>
                    <a:pt x="8154388" y="5265298"/>
                  </a:lnTo>
                  <a:lnTo>
                    <a:pt x="8176074" y="5240759"/>
                  </a:lnTo>
                  <a:lnTo>
                    <a:pt x="8197914" y="5228572"/>
                  </a:lnTo>
                  <a:lnTo>
                    <a:pt x="8219764" y="5216384"/>
                  </a:lnTo>
                  <a:lnTo>
                    <a:pt x="8243477" y="5203609"/>
                  </a:lnTo>
                  <a:lnTo>
                    <a:pt x="8254915" y="5176102"/>
                  </a:lnTo>
                  <a:lnTo>
                    <a:pt x="8248240" y="5153759"/>
                  </a:lnTo>
                  <a:lnTo>
                    <a:pt x="8238256" y="5131085"/>
                  </a:lnTo>
                  <a:lnTo>
                    <a:pt x="8217482" y="5078088"/>
                  </a:lnTo>
                  <a:lnTo>
                    <a:pt x="8201371" y="5054486"/>
                  </a:lnTo>
                  <a:lnTo>
                    <a:pt x="8185673" y="5039509"/>
                  </a:lnTo>
                  <a:lnTo>
                    <a:pt x="8169978" y="5024525"/>
                  </a:lnTo>
                  <a:lnTo>
                    <a:pt x="8139425" y="5017738"/>
                  </a:lnTo>
                  <a:lnTo>
                    <a:pt x="8109926" y="5015945"/>
                  </a:lnTo>
                  <a:lnTo>
                    <a:pt x="8083986" y="5030679"/>
                  </a:lnTo>
                  <a:lnTo>
                    <a:pt x="8063252" y="5017738"/>
                  </a:lnTo>
                  <a:lnTo>
                    <a:pt x="8045499" y="4987349"/>
                  </a:lnTo>
                  <a:lnTo>
                    <a:pt x="8012955" y="4969656"/>
                  </a:lnTo>
                  <a:lnTo>
                    <a:pt x="7984364" y="4953815"/>
                  </a:lnTo>
                  <a:lnTo>
                    <a:pt x="7955777" y="4937966"/>
                  </a:lnTo>
                  <a:lnTo>
                    <a:pt x="7930411" y="4924843"/>
                  </a:lnTo>
                  <a:lnTo>
                    <a:pt x="7931406" y="4895154"/>
                  </a:lnTo>
                  <a:lnTo>
                    <a:pt x="7950360" y="4880361"/>
                  </a:lnTo>
                  <a:lnTo>
                    <a:pt x="7970567" y="4867197"/>
                  </a:lnTo>
                  <a:lnTo>
                    <a:pt x="7982631" y="4845888"/>
                  </a:lnTo>
                  <a:lnTo>
                    <a:pt x="7977559" y="4816436"/>
                  </a:lnTo>
                  <a:lnTo>
                    <a:pt x="7974235" y="4782683"/>
                  </a:lnTo>
                  <a:lnTo>
                    <a:pt x="7985722" y="4762022"/>
                  </a:lnTo>
                  <a:lnTo>
                    <a:pt x="8011780" y="4746715"/>
                  </a:lnTo>
                  <a:lnTo>
                    <a:pt x="8046720" y="4739250"/>
                  </a:lnTo>
                  <a:lnTo>
                    <a:pt x="8075500" y="4737541"/>
                  </a:lnTo>
                  <a:lnTo>
                    <a:pt x="8094308" y="4711399"/>
                  </a:lnTo>
                  <a:lnTo>
                    <a:pt x="8084826" y="4678971"/>
                  </a:lnTo>
                  <a:lnTo>
                    <a:pt x="8071416" y="4649130"/>
                  </a:lnTo>
                  <a:lnTo>
                    <a:pt x="8058009" y="4619282"/>
                  </a:lnTo>
                  <a:lnTo>
                    <a:pt x="8040203" y="4592276"/>
                  </a:lnTo>
                  <a:lnTo>
                    <a:pt x="8003021" y="4571383"/>
                  </a:lnTo>
                  <a:lnTo>
                    <a:pt x="7973689" y="4570815"/>
                  </a:lnTo>
                  <a:lnTo>
                    <a:pt x="7943554" y="4571600"/>
                  </a:lnTo>
                  <a:lnTo>
                    <a:pt x="7913429" y="4572386"/>
                  </a:lnTo>
                  <a:lnTo>
                    <a:pt x="7883015" y="4574350"/>
                  </a:lnTo>
                  <a:lnTo>
                    <a:pt x="7855144" y="4566153"/>
                  </a:lnTo>
                  <a:lnTo>
                    <a:pt x="7830795" y="4553584"/>
                  </a:lnTo>
                  <a:lnTo>
                    <a:pt x="7811485" y="4532486"/>
                  </a:lnTo>
                  <a:lnTo>
                    <a:pt x="7798013" y="4509028"/>
                  </a:lnTo>
                  <a:lnTo>
                    <a:pt x="7785421" y="4474029"/>
                  </a:lnTo>
                  <a:lnTo>
                    <a:pt x="7783412" y="4437935"/>
                  </a:lnTo>
                  <a:lnTo>
                    <a:pt x="7789855" y="4401570"/>
                  </a:lnTo>
                  <a:lnTo>
                    <a:pt x="7800189" y="4366327"/>
                  </a:lnTo>
                  <a:lnTo>
                    <a:pt x="7821608" y="4334302"/>
                  </a:lnTo>
                  <a:lnTo>
                    <a:pt x="7848345" y="4310436"/>
                  </a:lnTo>
                  <a:lnTo>
                    <a:pt x="7881121" y="4286113"/>
                  </a:lnTo>
                  <a:lnTo>
                    <a:pt x="7916220" y="4266758"/>
                  </a:lnTo>
                  <a:lnTo>
                    <a:pt x="7951721" y="4247869"/>
                  </a:lnTo>
                  <a:lnTo>
                    <a:pt x="7971354" y="4233130"/>
                  </a:lnTo>
                  <a:lnTo>
                    <a:pt x="7995985" y="4220078"/>
                  </a:lnTo>
                  <a:lnTo>
                    <a:pt x="8018052" y="4213583"/>
                  </a:lnTo>
                  <a:lnTo>
                    <a:pt x="8038773" y="4205703"/>
                  </a:lnTo>
                  <a:lnTo>
                    <a:pt x="8059495" y="4197827"/>
                  </a:lnTo>
                  <a:lnTo>
                    <a:pt x="8078666" y="4188172"/>
                  </a:lnTo>
                  <a:lnTo>
                    <a:pt x="8090451" y="4147410"/>
                  </a:lnTo>
                  <a:lnTo>
                    <a:pt x="8086343" y="4126616"/>
                  </a:lnTo>
                  <a:lnTo>
                    <a:pt x="8075534" y="4086203"/>
                  </a:lnTo>
                  <a:lnTo>
                    <a:pt x="8069665" y="4065956"/>
                  </a:lnTo>
                  <a:lnTo>
                    <a:pt x="8064611" y="4042478"/>
                  </a:lnTo>
                  <a:lnTo>
                    <a:pt x="8069742" y="4018697"/>
                  </a:lnTo>
                  <a:lnTo>
                    <a:pt x="8095824" y="4003278"/>
                  </a:lnTo>
                  <a:lnTo>
                    <a:pt x="8125825" y="3989429"/>
                  </a:lnTo>
                  <a:lnTo>
                    <a:pt x="8155820" y="3975586"/>
                  </a:lnTo>
                  <a:lnTo>
                    <a:pt x="8189270" y="3964223"/>
                  </a:lnTo>
                  <a:lnTo>
                    <a:pt x="8210155" y="3949985"/>
                  </a:lnTo>
                  <a:lnTo>
                    <a:pt x="8214626" y="3912789"/>
                  </a:lnTo>
                  <a:lnTo>
                    <a:pt x="8197526" y="3875647"/>
                  </a:lnTo>
                  <a:lnTo>
                    <a:pt x="8183763" y="3856997"/>
                  </a:lnTo>
                  <a:lnTo>
                    <a:pt x="8173435" y="3838452"/>
                  </a:lnTo>
                  <a:lnTo>
                    <a:pt x="8163107" y="3819906"/>
                  </a:lnTo>
                  <a:lnTo>
                    <a:pt x="8159836" y="3784043"/>
                  </a:lnTo>
                  <a:lnTo>
                    <a:pt x="8175577" y="3748168"/>
                  </a:lnTo>
                  <a:lnTo>
                    <a:pt x="8207445" y="3730994"/>
                  </a:lnTo>
                  <a:lnTo>
                    <a:pt x="8218601" y="3704358"/>
                  </a:lnTo>
                  <a:lnTo>
                    <a:pt x="8218759" y="3683345"/>
                  </a:lnTo>
                  <a:lnTo>
                    <a:pt x="8201560" y="3650780"/>
                  </a:lnTo>
                  <a:lnTo>
                    <a:pt x="8165271" y="3627618"/>
                  </a:lnTo>
                  <a:lnTo>
                    <a:pt x="8146237" y="3616269"/>
                  </a:lnTo>
                  <a:lnTo>
                    <a:pt x="8124204" y="3605454"/>
                  </a:lnTo>
                  <a:lnTo>
                    <a:pt x="8104062" y="3593616"/>
                  </a:lnTo>
                  <a:lnTo>
                    <a:pt x="8083921" y="3581772"/>
                  </a:lnTo>
                  <a:lnTo>
                    <a:pt x="8065662" y="3569208"/>
                  </a:lnTo>
                  <a:lnTo>
                    <a:pt x="8053737" y="3551448"/>
                  </a:lnTo>
                  <a:lnTo>
                    <a:pt x="8056902" y="3524884"/>
                  </a:lnTo>
                  <a:lnTo>
                    <a:pt x="8076824" y="3501973"/>
                  </a:lnTo>
                  <a:lnTo>
                    <a:pt x="8098621" y="3482075"/>
                  </a:lnTo>
                  <a:lnTo>
                    <a:pt x="8120418" y="3462185"/>
                  </a:lnTo>
                  <a:lnTo>
                    <a:pt x="8144826" y="3444716"/>
                  </a:lnTo>
                  <a:lnTo>
                    <a:pt x="8152047" y="3411602"/>
                  </a:lnTo>
                  <a:lnTo>
                    <a:pt x="8144857" y="3382598"/>
                  </a:lnTo>
                  <a:lnTo>
                    <a:pt x="8125825" y="3359661"/>
                  </a:lnTo>
                  <a:lnTo>
                    <a:pt x="8104062" y="3355585"/>
                  </a:lnTo>
                  <a:lnTo>
                    <a:pt x="8080941" y="3352862"/>
                  </a:lnTo>
                  <a:lnTo>
                    <a:pt x="8058347" y="3366296"/>
                  </a:lnTo>
                  <a:lnTo>
                    <a:pt x="8039886" y="3377046"/>
                  </a:lnTo>
                  <a:lnTo>
                    <a:pt x="8002289" y="3385804"/>
                  </a:lnTo>
                  <a:lnTo>
                    <a:pt x="7959879" y="3370543"/>
                  </a:lnTo>
                  <a:lnTo>
                    <a:pt x="7948956" y="3340140"/>
                  </a:lnTo>
                  <a:lnTo>
                    <a:pt x="7943601" y="3308452"/>
                  </a:lnTo>
                  <a:lnTo>
                    <a:pt x="7936755" y="3278049"/>
                  </a:lnTo>
                  <a:lnTo>
                    <a:pt x="7930064" y="3257368"/>
                  </a:lnTo>
                  <a:lnTo>
                    <a:pt x="7908192" y="3234523"/>
                  </a:lnTo>
                  <a:lnTo>
                    <a:pt x="7881729" y="3215259"/>
                  </a:lnTo>
                  <a:lnTo>
                    <a:pt x="7854254" y="3184060"/>
                  </a:lnTo>
                  <a:lnTo>
                    <a:pt x="7844019" y="3140994"/>
                  </a:lnTo>
                  <a:lnTo>
                    <a:pt x="7829304" y="3101227"/>
                  </a:lnTo>
                  <a:lnTo>
                    <a:pt x="7821946" y="3081337"/>
                  </a:lnTo>
                  <a:lnTo>
                    <a:pt x="7803461" y="3048178"/>
                  </a:lnTo>
                  <a:lnTo>
                    <a:pt x="7779890" y="3023624"/>
                  </a:lnTo>
                  <a:lnTo>
                    <a:pt x="7741719" y="3020519"/>
                  </a:lnTo>
                  <a:lnTo>
                    <a:pt x="7701662" y="3020142"/>
                  </a:lnTo>
                  <a:lnTo>
                    <a:pt x="7661999" y="3016891"/>
                  </a:lnTo>
                  <a:lnTo>
                    <a:pt x="7622331" y="3013640"/>
                  </a:lnTo>
                  <a:lnTo>
                    <a:pt x="7582631" y="3008073"/>
                  </a:lnTo>
                  <a:lnTo>
                    <a:pt x="7564064" y="2995128"/>
                  </a:lnTo>
                  <a:lnTo>
                    <a:pt x="7547309" y="2972342"/>
                  </a:lnTo>
                  <a:lnTo>
                    <a:pt x="7542630" y="2948206"/>
                  </a:lnTo>
                  <a:lnTo>
                    <a:pt x="7540937" y="2923040"/>
                  </a:lnTo>
                  <a:lnTo>
                    <a:pt x="7539253" y="2897874"/>
                  </a:lnTo>
                  <a:lnTo>
                    <a:pt x="7540615" y="2871071"/>
                  </a:lnTo>
                  <a:lnTo>
                    <a:pt x="7536860" y="2844144"/>
                  </a:lnTo>
                  <a:lnTo>
                    <a:pt x="7533945" y="2823120"/>
                  </a:lnTo>
                  <a:lnTo>
                    <a:pt x="7517822" y="2796542"/>
                  </a:lnTo>
                  <a:lnTo>
                    <a:pt x="7497727" y="2773553"/>
                  </a:lnTo>
                  <a:lnTo>
                    <a:pt x="7478067" y="2751518"/>
                  </a:lnTo>
                  <a:lnTo>
                    <a:pt x="7464771" y="2723089"/>
                  </a:lnTo>
                  <a:lnTo>
                    <a:pt x="7458737" y="2684257"/>
                  </a:lnTo>
                  <a:lnTo>
                    <a:pt x="7464771" y="2653717"/>
                  </a:lnTo>
                  <a:lnTo>
                    <a:pt x="7476860" y="2616119"/>
                  </a:lnTo>
                  <a:lnTo>
                    <a:pt x="7498940" y="2585222"/>
                  </a:lnTo>
                  <a:lnTo>
                    <a:pt x="7530060" y="2562589"/>
                  </a:lnTo>
                  <a:lnTo>
                    <a:pt x="7590934" y="2531651"/>
                  </a:lnTo>
                  <a:lnTo>
                    <a:pt x="7630721" y="2506816"/>
                  </a:lnTo>
                  <a:lnTo>
                    <a:pt x="7650611" y="2494404"/>
                  </a:lnTo>
                  <a:lnTo>
                    <a:pt x="7669677" y="2481168"/>
                  </a:lnTo>
                  <a:lnTo>
                    <a:pt x="7697861" y="2453574"/>
                  </a:lnTo>
                  <a:lnTo>
                    <a:pt x="7708248" y="2425204"/>
                  </a:lnTo>
                  <a:lnTo>
                    <a:pt x="7710967" y="2369436"/>
                  </a:lnTo>
                  <a:lnTo>
                    <a:pt x="7713683" y="2315029"/>
                  </a:lnTo>
                  <a:lnTo>
                    <a:pt x="7684566" y="2249521"/>
                  </a:lnTo>
                  <a:lnTo>
                    <a:pt x="7655194" y="2199414"/>
                  </a:lnTo>
                  <a:lnTo>
                    <a:pt x="7640512" y="2174352"/>
                  </a:lnTo>
                  <a:lnTo>
                    <a:pt x="7626169" y="2147735"/>
                  </a:lnTo>
                  <a:lnTo>
                    <a:pt x="7615748" y="2123242"/>
                  </a:lnTo>
                  <a:lnTo>
                    <a:pt x="7605330" y="2098743"/>
                  </a:lnTo>
                  <a:lnTo>
                    <a:pt x="7599023" y="2076425"/>
                  </a:lnTo>
                  <a:lnTo>
                    <a:pt x="7602105" y="2044163"/>
                  </a:lnTo>
                  <a:lnTo>
                    <a:pt x="7618473" y="2026667"/>
                  </a:lnTo>
                  <a:lnTo>
                    <a:pt x="7639306" y="2013833"/>
                  </a:lnTo>
                  <a:lnTo>
                    <a:pt x="7662923" y="2004138"/>
                  </a:lnTo>
                  <a:lnTo>
                    <a:pt x="7683762" y="1994022"/>
                  </a:lnTo>
                  <a:lnTo>
                    <a:pt x="7698720" y="1969541"/>
                  </a:lnTo>
                  <a:lnTo>
                    <a:pt x="7698317" y="1938038"/>
                  </a:lnTo>
                  <a:lnTo>
                    <a:pt x="7704167" y="1902887"/>
                  </a:lnTo>
                  <a:lnTo>
                    <a:pt x="7706738" y="1867960"/>
                  </a:lnTo>
                  <a:lnTo>
                    <a:pt x="7701867" y="1836226"/>
                  </a:lnTo>
                  <a:lnTo>
                    <a:pt x="7668799" y="1815835"/>
                  </a:lnTo>
                  <a:lnTo>
                    <a:pt x="7649312" y="1805626"/>
                  </a:lnTo>
                  <a:lnTo>
                    <a:pt x="7623596" y="1795997"/>
                  </a:lnTo>
                  <a:lnTo>
                    <a:pt x="7596710" y="1784554"/>
                  </a:lnTo>
                  <a:lnTo>
                    <a:pt x="7569822" y="1773105"/>
                  </a:lnTo>
                  <a:lnTo>
                    <a:pt x="7542308" y="1759719"/>
                  </a:lnTo>
                  <a:lnTo>
                    <a:pt x="7517816" y="1741028"/>
                  </a:lnTo>
                  <a:lnTo>
                    <a:pt x="7493328" y="1722332"/>
                  </a:lnTo>
                  <a:lnTo>
                    <a:pt x="7471636" y="1698161"/>
                  </a:lnTo>
                  <a:lnTo>
                    <a:pt x="7459333" y="1666216"/>
                  </a:lnTo>
                  <a:lnTo>
                    <a:pt x="7448363" y="1637746"/>
                  </a:lnTo>
                  <a:lnTo>
                    <a:pt x="7443979" y="1601077"/>
                  </a:lnTo>
                  <a:lnTo>
                    <a:pt x="7444366" y="1564199"/>
                  </a:lnTo>
                  <a:lnTo>
                    <a:pt x="7444763" y="1527320"/>
                  </a:lnTo>
                  <a:lnTo>
                    <a:pt x="7450357" y="1490594"/>
                  </a:lnTo>
                  <a:lnTo>
                    <a:pt x="7460691" y="1462183"/>
                  </a:lnTo>
                  <a:lnTo>
                    <a:pt x="7473992" y="1440657"/>
                  </a:lnTo>
                  <a:lnTo>
                    <a:pt x="7491349" y="1408645"/>
                  </a:lnTo>
                  <a:lnTo>
                    <a:pt x="7502164" y="1388630"/>
                  </a:lnTo>
                  <a:lnTo>
                    <a:pt x="7509658" y="1368330"/>
                  </a:lnTo>
                  <a:lnTo>
                    <a:pt x="7517149" y="1348032"/>
                  </a:lnTo>
                  <a:lnTo>
                    <a:pt x="7521896" y="1303041"/>
                  </a:lnTo>
                  <a:lnTo>
                    <a:pt x="7511947" y="1280512"/>
                  </a:lnTo>
                  <a:lnTo>
                    <a:pt x="7497027" y="1264434"/>
                  </a:lnTo>
                  <a:lnTo>
                    <a:pt x="7478370" y="1254073"/>
                  </a:lnTo>
                  <a:lnTo>
                    <a:pt x="7459714" y="1243713"/>
                  </a:lnTo>
                  <a:lnTo>
                    <a:pt x="7437514" y="1238484"/>
                  </a:lnTo>
                  <a:lnTo>
                    <a:pt x="7414439" y="1235034"/>
                  </a:lnTo>
                  <a:lnTo>
                    <a:pt x="7368295" y="1228123"/>
                  </a:lnTo>
                  <a:lnTo>
                    <a:pt x="7317890" y="1229593"/>
                  </a:lnTo>
                  <a:lnTo>
                    <a:pt x="7279786" y="1218711"/>
                  </a:lnTo>
                </a:path>
              </a:pathLst>
            </a:custGeom>
            <a:solidFill>
              <a:schemeClr val="accent4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94" name="Rivne¬0" descr="Rivne¬0">
              <a:extLst>
                <a:ext uri="{FF2B5EF4-FFF2-40B4-BE49-F238E27FC236}">
                  <a16:creationId xmlns:a16="http://schemas.microsoft.com/office/drawing/2014/main" id="{CD08E15D-06F7-47B0-A151-19725AF6A70C}"/>
                </a:ext>
              </a:extLst>
            </p:cNvPr>
            <p:cNvSpPr/>
            <p:nvPr/>
          </p:nvSpPr>
          <p:spPr>
            <a:xfrm>
              <a:off x="1878053" y="1381238"/>
              <a:ext cx="916515" cy="874194"/>
            </a:xfrm>
            <a:custGeom>
              <a:avLst/>
              <a:gdLst/>
              <a:ahLst/>
              <a:cxnLst/>
              <a:rect l="0" t="0" r="0" b="0"/>
              <a:pathLst>
                <a:path w="9352529" h="10126420">
                  <a:moveTo>
                    <a:pt x="2446795" y="7689"/>
                  </a:moveTo>
                  <a:lnTo>
                    <a:pt x="2374171" y="56316"/>
                  </a:lnTo>
                  <a:lnTo>
                    <a:pt x="2321868" y="73191"/>
                  </a:lnTo>
                  <a:lnTo>
                    <a:pt x="2229651" y="102967"/>
                  </a:lnTo>
                  <a:lnTo>
                    <a:pt x="2097984" y="83733"/>
                  </a:lnTo>
                  <a:lnTo>
                    <a:pt x="2002219" y="89514"/>
                  </a:lnTo>
                  <a:lnTo>
                    <a:pt x="1943564" y="93064"/>
                  </a:lnTo>
                  <a:lnTo>
                    <a:pt x="1887475" y="110385"/>
                  </a:lnTo>
                  <a:lnTo>
                    <a:pt x="1828114" y="108557"/>
                  </a:lnTo>
                  <a:lnTo>
                    <a:pt x="1782549" y="107143"/>
                  </a:lnTo>
                  <a:lnTo>
                    <a:pt x="1738885" y="98654"/>
                  </a:lnTo>
                  <a:lnTo>
                    <a:pt x="1694818" y="90874"/>
                  </a:lnTo>
                  <a:lnTo>
                    <a:pt x="1690148" y="116753"/>
                  </a:lnTo>
                  <a:lnTo>
                    <a:pt x="1685255" y="140784"/>
                  </a:lnTo>
                  <a:lnTo>
                    <a:pt x="1681654" y="178976"/>
                  </a:lnTo>
                  <a:lnTo>
                    <a:pt x="1680962" y="202240"/>
                  </a:lnTo>
                  <a:lnTo>
                    <a:pt x="1699678" y="226108"/>
                  </a:lnTo>
                  <a:lnTo>
                    <a:pt x="1799057" y="230093"/>
                  </a:lnTo>
                  <a:lnTo>
                    <a:pt x="1898844" y="233695"/>
                  </a:lnTo>
                  <a:lnTo>
                    <a:pt x="1998625" y="237298"/>
                  </a:lnTo>
                  <a:lnTo>
                    <a:pt x="2098822" y="241623"/>
                  </a:lnTo>
                  <a:lnTo>
                    <a:pt x="2116476" y="255459"/>
                  </a:lnTo>
                  <a:lnTo>
                    <a:pt x="2039454" y="296201"/>
                  </a:lnTo>
                  <a:lnTo>
                    <a:pt x="2003492" y="322475"/>
                  </a:lnTo>
                  <a:lnTo>
                    <a:pt x="1984532" y="354753"/>
                  </a:lnTo>
                  <a:lnTo>
                    <a:pt x="1977060" y="389451"/>
                  </a:lnTo>
                  <a:lnTo>
                    <a:pt x="1983153" y="444500"/>
                  </a:lnTo>
                  <a:lnTo>
                    <a:pt x="2000432" y="483749"/>
                  </a:lnTo>
                  <a:lnTo>
                    <a:pt x="2011742" y="520697"/>
                  </a:lnTo>
                  <a:lnTo>
                    <a:pt x="2018984" y="544416"/>
                  </a:lnTo>
                  <a:lnTo>
                    <a:pt x="2037429" y="562544"/>
                  </a:lnTo>
                  <a:lnTo>
                    <a:pt x="2033505" y="591428"/>
                  </a:lnTo>
                  <a:lnTo>
                    <a:pt x="2029753" y="618929"/>
                  </a:lnTo>
                  <a:lnTo>
                    <a:pt x="2009308" y="662408"/>
                  </a:lnTo>
                  <a:lnTo>
                    <a:pt x="1984532" y="702964"/>
                  </a:lnTo>
                  <a:lnTo>
                    <a:pt x="1959761" y="743520"/>
                  </a:lnTo>
                  <a:lnTo>
                    <a:pt x="1930117" y="781941"/>
                  </a:lnTo>
                  <a:lnTo>
                    <a:pt x="1908367" y="799538"/>
                  </a:lnTo>
                  <a:lnTo>
                    <a:pt x="1876487" y="825340"/>
                  </a:lnTo>
                  <a:lnTo>
                    <a:pt x="1840737" y="848314"/>
                  </a:lnTo>
                  <a:lnTo>
                    <a:pt x="1810433" y="875709"/>
                  </a:lnTo>
                  <a:lnTo>
                    <a:pt x="1761037" y="920362"/>
                  </a:lnTo>
                  <a:lnTo>
                    <a:pt x="1725537" y="975021"/>
                  </a:lnTo>
                  <a:lnTo>
                    <a:pt x="1686653" y="1028052"/>
                  </a:lnTo>
                  <a:lnTo>
                    <a:pt x="1636374" y="1096620"/>
                  </a:lnTo>
                  <a:lnTo>
                    <a:pt x="1606849" y="1132891"/>
                  </a:lnTo>
                  <a:lnTo>
                    <a:pt x="1588719" y="1170872"/>
                  </a:lnTo>
                  <a:lnTo>
                    <a:pt x="1570590" y="1208854"/>
                  </a:lnTo>
                  <a:lnTo>
                    <a:pt x="1563711" y="1249700"/>
                  </a:lnTo>
                  <a:lnTo>
                    <a:pt x="1556074" y="1330016"/>
                  </a:lnTo>
                  <a:lnTo>
                    <a:pt x="1547975" y="1415155"/>
                  </a:lnTo>
                  <a:lnTo>
                    <a:pt x="1544342" y="1477406"/>
                  </a:lnTo>
                  <a:lnTo>
                    <a:pt x="1553350" y="1570770"/>
                  </a:lnTo>
                  <a:lnTo>
                    <a:pt x="1554465" y="1620673"/>
                  </a:lnTo>
                  <a:lnTo>
                    <a:pt x="1552117" y="1657645"/>
                  </a:lnTo>
                  <a:lnTo>
                    <a:pt x="1564232" y="1683667"/>
                  </a:lnTo>
                  <a:lnTo>
                    <a:pt x="1580561" y="1705890"/>
                  </a:lnTo>
                  <a:lnTo>
                    <a:pt x="1610468" y="1721293"/>
                  </a:lnTo>
                  <a:lnTo>
                    <a:pt x="1658084" y="1729913"/>
                  </a:lnTo>
                  <a:lnTo>
                    <a:pt x="1681206" y="1732251"/>
                  </a:lnTo>
                  <a:lnTo>
                    <a:pt x="1716911" y="1726384"/>
                  </a:lnTo>
                  <a:lnTo>
                    <a:pt x="1736972" y="1712231"/>
                  </a:lnTo>
                  <a:lnTo>
                    <a:pt x="1748348" y="1738809"/>
                  </a:lnTo>
                  <a:lnTo>
                    <a:pt x="1750083" y="1775428"/>
                  </a:lnTo>
                  <a:lnTo>
                    <a:pt x="1761459" y="1803365"/>
                  </a:lnTo>
                  <a:lnTo>
                    <a:pt x="1787977" y="1814047"/>
                  </a:lnTo>
                  <a:lnTo>
                    <a:pt x="1827434" y="1819887"/>
                  </a:lnTo>
                  <a:lnTo>
                    <a:pt x="1850879" y="1825798"/>
                  </a:lnTo>
                  <a:lnTo>
                    <a:pt x="1875716" y="1846891"/>
                  </a:lnTo>
                  <a:lnTo>
                    <a:pt x="1887409" y="1867868"/>
                  </a:lnTo>
                  <a:lnTo>
                    <a:pt x="1896121" y="1902659"/>
                  </a:lnTo>
                  <a:lnTo>
                    <a:pt x="1897050" y="1934814"/>
                  </a:lnTo>
                  <a:lnTo>
                    <a:pt x="1882021" y="1977091"/>
                  </a:lnTo>
                  <a:lnTo>
                    <a:pt x="1859539" y="2001233"/>
                  </a:lnTo>
                  <a:lnTo>
                    <a:pt x="1833555" y="2023717"/>
                  </a:lnTo>
                  <a:lnTo>
                    <a:pt x="1807570" y="2046201"/>
                  </a:lnTo>
                  <a:lnTo>
                    <a:pt x="1777808" y="2068235"/>
                  </a:lnTo>
                  <a:lnTo>
                    <a:pt x="1753302" y="2093087"/>
                  </a:lnTo>
                  <a:lnTo>
                    <a:pt x="1728795" y="2117938"/>
                  </a:lnTo>
                  <a:lnTo>
                    <a:pt x="1709920" y="2144854"/>
                  </a:lnTo>
                  <a:lnTo>
                    <a:pt x="1704334" y="2180140"/>
                  </a:lnTo>
                  <a:lnTo>
                    <a:pt x="1699421" y="2211185"/>
                  </a:lnTo>
                  <a:lnTo>
                    <a:pt x="1699856" y="2241736"/>
                  </a:lnTo>
                  <a:lnTo>
                    <a:pt x="1704334" y="2271273"/>
                  </a:lnTo>
                  <a:lnTo>
                    <a:pt x="1708812" y="2300810"/>
                  </a:lnTo>
                  <a:lnTo>
                    <a:pt x="1716218" y="2329523"/>
                  </a:lnTo>
                  <a:lnTo>
                    <a:pt x="1724739" y="2358325"/>
                  </a:lnTo>
                  <a:lnTo>
                    <a:pt x="1741774" y="2415932"/>
                  </a:lnTo>
                  <a:lnTo>
                    <a:pt x="1761762" y="2473103"/>
                  </a:lnTo>
                  <a:lnTo>
                    <a:pt x="1762824" y="2532432"/>
                  </a:lnTo>
                  <a:lnTo>
                    <a:pt x="1763781" y="2585097"/>
                  </a:lnTo>
                  <a:lnTo>
                    <a:pt x="1742974" y="2639696"/>
                  </a:lnTo>
                  <a:lnTo>
                    <a:pt x="1739702" y="2692934"/>
                  </a:lnTo>
                  <a:lnTo>
                    <a:pt x="1735944" y="2754611"/>
                  </a:lnTo>
                  <a:lnTo>
                    <a:pt x="1745440" y="2786895"/>
                  </a:lnTo>
                  <a:lnTo>
                    <a:pt x="1747860" y="2839836"/>
                  </a:lnTo>
                  <a:lnTo>
                    <a:pt x="1750413" y="2895881"/>
                  </a:lnTo>
                  <a:lnTo>
                    <a:pt x="1728584" y="2963379"/>
                  </a:lnTo>
                  <a:lnTo>
                    <a:pt x="1717939" y="3018022"/>
                  </a:lnTo>
                  <a:lnTo>
                    <a:pt x="1711061" y="3053333"/>
                  </a:lnTo>
                  <a:lnTo>
                    <a:pt x="1717610" y="3095448"/>
                  </a:lnTo>
                  <a:lnTo>
                    <a:pt x="1735621" y="3129558"/>
                  </a:lnTo>
                  <a:lnTo>
                    <a:pt x="1756487" y="3161582"/>
                  </a:lnTo>
                  <a:lnTo>
                    <a:pt x="1785484" y="3184587"/>
                  </a:lnTo>
                  <a:lnTo>
                    <a:pt x="1822673" y="3194848"/>
                  </a:lnTo>
                  <a:lnTo>
                    <a:pt x="1844119" y="3182836"/>
                  </a:lnTo>
                  <a:lnTo>
                    <a:pt x="1858358" y="3160613"/>
                  </a:lnTo>
                  <a:lnTo>
                    <a:pt x="1867558" y="3132279"/>
                  </a:lnTo>
                  <a:lnTo>
                    <a:pt x="1877517" y="3103088"/>
                  </a:lnTo>
                  <a:lnTo>
                    <a:pt x="1886281" y="3070549"/>
                  </a:lnTo>
                  <a:lnTo>
                    <a:pt x="1905643" y="3049306"/>
                  </a:lnTo>
                  <a:lnTo>
                    <a:pt x="1937049" y="3029871"/>
                  </a:lnTo>
                  <a:lnTo>
                    <a:pt x="1979177" y="3013876"/>
                  </a:lnTo>
                  <a:lnTo>
                    <a:pt x="2021259" y="3005781"/>
                  </a:lnTo>
                  <a:lnTo>
                    <a:pt x="2063348" y="2997685"/>
                  </a:lnTo>
                  <a:lnTo>
                    <a:pt x="2106511" y="2997393"/>
                  </a:lnTo>
                  <a:lnTo>
                    <a:pt x="2142321" y="3011221"/>
                  </a:lnTo>
                  <a:lnTo>
                    <a:pt x="2168464" y="3021323"/>
                  </a:lnTo>
                  <a:lnTo>
                    <a:pt x="2195365" y="3037065"/>
                  </a:lnTo>
                  <a:lnTo>
                    <a:pt x="2224369" y="3041900"/>
                  </a:lnTo>
                  <a:lnTo>
                    <a:pt x="2253855" y="3031624"/>
                  </a:lnTo>
                  <a:lnTo>
                    <a:pt x="2302208" y="2985717"/>
                  </a:lnTo>
                  <a:lnTo>
                    <a:pt x="2318788" y="2942877"/>
                  </a:lnTo>
                  <a:lnTo>
                    <a:pt x="2330025" y="2921448"/>
                  </a:lnTo>
                  <a:lnTo>
                    <a:pt x="2341296" y="2901214"/>
                  </a:lnTo>
                  <a:lnTo>
                    <a:pt x="2359564" y="2889994"/>
                  </a:lnTo>
                  <a:lnTo>
                    <a:pt x="2385792" y="2892884"/>
                  </a:lnTo>
                  <a:lnTo>
                    <a:pt x="2399180" y="2925912"/>
                  </a:lnTo>
                  <a:lnTo>
                    <a:pt x="2412996" y="2955453"/>
                  </a:lnTo>
                  <a:lnTo>
                    <a:pt x="2435538" y="2977879"/>
                  </a:lnTo>
                  <a:lnTo>
                    <a:pt x="2482183" y="2996293"/>
                  </a:lnTo>
                  <a:lnTo>
                    <a:pt x="2521924" y="2996525"/>
                  </a:lnTo>
                  <a:lnTo>
                    <a:pt x="2554457" y="2992178"/>
                  </a:lnTo>
                  <a:lnTo>
                    <a:pt x="2591309" y="2973922"/>
                  </a:lnTo>
                  <a:lnTo>
                    <a:pt x="2645104" y="2914350"/>
                  </a:lnTo>
                  <a:lnTo>
                    <a:pt x="2668713" y="2907846"/>
                  </a:lnTo>
                  <a:lnTo>
                    <a:pt x="2677900" y="2950990"/>
                  </a:lnTo>
                  <a:lnTo>
                    <a:pt x="2660957" y="2984952"/>
                  </a:lnTo>
                  <a:lnTo>
                    <a:pt x="2649674" y="3015302"/>
                  </a:lnTo>
                  <a:lnTo>
                    <a:pt x="2637157" y="3048988"/>
                  </a:lnTo>
                  <a:lnTo>
                    <a:pt x="2620201" y="3079274"/>
                  </a:lnTo>
                  <a:lnTo>
                    <a:pt x="2610230" y="3110516"/>
                  </a:lnTo>
                  <a:lnTo>
                    <a:pt x="2600258" y="3141757"/>
                  </a:lnTo>
                  <a:lnTo>
                    <a:pt x="2597528" y="3173701"/>
                  </a:lnTo>
                  <a:lnTo>
                    <a:pt x="2612948" y="3211170"/>
                  </a:lnTo>
                  <a:lnTo>
                    <a:pt x="2621363" y="3231616"/>
                  </a:lnTo>
                  <a:lnTo>
                    <a:pt x="2630436" y="3257523"/>
                  </a:lnTo>
                  <a:lnTo>
                    <a:pt x="2649668" y="3271019"/>
                  </a:lnTo>
                  <a:lnTo>
                    <a:pt x="2693305" y="3290360"/>
                  </a:lnTo>
                  <a:lnTo>
                    <a:pt x="2723121" y="3303664"/>
                  </a:lnTo>
                  <a:lnTo>
                    <a:pt x="2752938" y="3316969"/>
                  </a:lnTo>
                  <a:lnTo>
                    <a:pt x="2780503" y="3332324"/>
                  </a:lnTo>
                  <a:lnTo>
                    <a:pt x="2785061" y="3387932"/>
                  </a:lnTo>
                  <a:lnTo>
                    <a:pt x="2782838" y="3409279"/>
                  </a:lnTo>
                  <a:lnTo>
                    <a:pt x="2793991" y="3442885"/>
                  </a:lnTo>
                  <a:lnTo>
                    <a:pt x="2837377" y="3479129"/>
                  </a:lnTo>
                  <a:lnTo>
                    <a:pt x="2895485" y="3523697"/>
                  </a:lnTo>
                  <a:lnTo>
                    <a:pt x="2947809" y="3564142"/>
                  </a:lnTo>
                  <a:lnTo>
                    <a:pt x="2992438" y="3623310"/>
                  </a:lnTo>
                  <a:lnTo>
                    <a:pt x="3012974" y="3674637"/>
                  </a:lnTo>
                  <a:lnTo>
                    <a:pt x="3199188" y="3749809"/>
                  </a:lnTo>
                  <a:lnTo>
                    <a:pt x="3223397" y="3767194"/>
                  </a:lnTo>
                  <a:lnTo>
                    <a:pt x="3256167" y="3784048"/>
                  </a:lnTo>
                  <a:lnTo>
                    <a:pt x="3279679" y="3789956"/>
                  </a:lnTo>
                  <a:lnTo>
                    <a:pt x="3301205" y="3802857"/>
                  </a:lnTo>
                  <a:lnTo>
                    <a:pt x="3325921" y="3817691"/>
                  </a:lnTo>
                  <a:lnTo>
                    <a:pt x="3340503" y="3847212"/>
                  </a:lnTo>
                  <a:lnTo>
                    <a:pt x="3361052" y="3866786"/>
                  </a:lnTo>
                  <a:lnTo>
                    <a:pt x="3399185" y="3903129"/>
                  </a:lnTo>
                  <a:lnTo>
                    <a:pt x="3441116" y="3936730"/>
                  </a:lnTo>
                  <a:lnTo>
                    <a:pt x="3480750" y="3971521"/>
                  </a:lnTo>
                  <a:lnTo>
                    <a:pt x="3498115" y="3986770"/>
                  </a:lnTo>
                  <a:lnTo>
                    <a:pt x="3503872" y="4027288"/>
                  </a:lnTo>
                  <a:lnTo>
                    <a:pt x="3498418" y="4069251"/>
                  </a:lnTo>
                  <a:lnTo>
                    <a:pt x="3495722" y="4108009"/>
                  </a:lnTo>
                  <a:lnTo>
                    <a:pt x="3500594" y="4132239"/>
                  </a:lnTo>
                  <a:lnTo>
                    <a:pt x="3492325" y="4176477"/>
                  </a:lnTo>
                  <a:lnTo>
                    <a:pt x="3483890" y="4197133"/>
                  </a:lnTo>
                  <a:lnTo>
                    <a:pt x="3464012" y="4230140"/>
                  </a:lnTo>
                  <a:lnTo>
                    <a:pt x="3437224" y="4253084"/>
                  </a:lnTo>
                  <a:lnTo>
                    <a:pt x="3408101" y="4273667"/>
                  </a:lnTo>
                  <a:lnTo>
                    <a:pt x="3370022" y="4284693"/>
                  </a:lnTo>
                  <a:lnTo>
                    <a:pt x="3325692" y="4296610"/>
                  </a:lnTo>
                  <a:lnTo>
                    <a:pt x="3256173" y="4315294"/>
                  </a:lnTo>
                  <a:lnTo>
                    <a:pt x="3178876" y="4327171"/>
                  </a:lnTo>
                  <a:lnTo>
                    <a:pt x="3106694" y="4322456"/>
                  </a:lnTo>
                  <a:lnTo>
                    <a:pt x="3105079" y="4365217"/>
                  </a:lnTo>
                  <a:lnTo>
                    <a:pt x="3111561" y="4423575"/>
                  </a:lnTo>
                  <a:lnTo>
                    <a:pt x="3098279" y="4509903"/>
                  </a:lnTo>
                  <a:lnTo>
                    <a:pt x="3086295" y="4555045"/>
                  </a:lnTo>
                  <a:lnTo>
                    <a:pt x="3128267" y="4565247"/>
                  </a:lnTo>
                  <a:lnTo>
                    <a:pt x="3173264" y="4585969"/>
                  </a:lnTo>
                  <a:lnTo>
                    <a:pt x="3210069" y="4608094"/>
                  </a:lnTo>
                  <a:lnTo>
                    <a:pt x="3236627" y="4608048"/>
                  </a:lnTo>
                  <a:lnTo>
                    <a:pt x="3265843" y="4580891"/>
                  </a:lnTo>
                  <a:lnTo>
                    <a:pt x="3286564" y="4566348"/>
                  </a:lnTo>
                  <a:lnTo>
                    <a:pt x="3318568" y="4554622"/>
                  </a:lnTo>
                  <a:lnTo>
                    <a:pt x="3339230" y="4549604"/>
                  </a:lnTo>
                  <a:lnTo>
                    <a:pt x="3367852" y="4548245"/>
                  </a:lnTo>
                  <a:lnTo>
                    <a:pt x="3392584" y="4561296"/>
                  </a:lnTo>
                  <a:lnTo>
                    <a:pt x="3417486" y="4578898"/>
                  </a:lnTo>
                  <a:lnTo>
                    <a:pt x="3439948" y="4599936"/>
                  </a:lnTo>
                  <a:lnTo>
                    <a:pt x="3462403" y="4620967"/>
                  </a:lnTo>
                  <a:lnTo>
                    <a:pt x="3482082" y="4645745"/>
                  </a:lnTo>
                  <a:lnTo>
                    <a:pt x="3499796" y="4672025"/>
                  </a:lnTo>
                  <a:lnTo>
                    <a:pt x="3517511" y="4698306"/>
                  </a:lnTo>
                  <a:lnTo>
                    <a:pt x="3532837" y="4726203"/>
                  </a:lnTo>
                  <a:lnTo>
                    <a:pt x="3543323" y="4754995"/>
                  </a:lnTo>
                  <a:lnTo>
                    <a:pt x="3553810" y="4783789"/>
                  </a:lnTo>
                  <a:lnTo>
                    <a:pt x="3560226" y="4813473"/>
                  </a:lnTo>
                  <a:lnTo>
                    <a:pt x="3561004" y="4842048"/>
                  </a:lnTo>
                  <a:lnTo>
                    <a:pt x="3587739" y="4866172"/>
                  </a:lnTo>
                  <a:lnTo>
                    <a:pt x="3610175" y="4894458"/>
                  </a:lnTo>
                  <a:lnTo>
                    <a:pt x="3606594" y="4956945"/>
                  </a:lnTo>
                  <a:lnTo>
                    <a:pt x="3609970" y="4979427"/>
                  </a:lnTo>
                  <a:lnTo>
                    <a:pt x="3621010" y="5023250"/>
                  </a:lnTo>
                  <a:lnTo>
                    <a:pt x="3622212" y="5047440"/>
                  </a:lnTo>
                  <a:lnTo>
                    <a:pt x="3622171" y="5071439"/>
                  </a:lnTo>
                  <a:lnTo>
                    <a:pt x="3614093" y="5091455"/>
                  </a:lnTo>
                  <a:lnTo>
                    <a:pt x="3595013" y="5104565"/>
                  </a:lnTo>
                  <a:lnTo>
                    <a:pt x="3530470" y="5105864"/>
                  </a:lnTo>
                  <a:lnTo>
                    <a:pt x="3454701" y="5131789"/>
                  </a:lnTo>
                  <a:lnTo>
                    <a:pt x="3389623" y="5137210"/>
                  </a:lnTo>
                  <a:lnTo>
                    <a:pt x="3360572" y="5139637"/>
                  </a:lnTo>
                  <a:lnTo>
                    <a:pt x="3331494" y="5140593"/>
                  </a:lnTo>
                  <a:lnTo>
                    <a:pt x="3302569" y="5144016"/>
                  </a:lnTo>
                  <a:lnTo>
                    <a:pt x="3260810" y="5150940"/>
                  </a:lnTo>
                  <a:lnTo>
                    <a:pt x="3216261" y="5159996"/>
                  </a:lnTo>
                  <a:lnTo>
                    <a:pt x="3195112" y="5191618"/>
                  </a:lnTo>
                  <a:lnTo>
                    <a:pt x="3179488" y="5212933"/>
                  </a:lnTo>
                  <a:lnTo>
                    <a:pt x="3184231" y="5244667"/>
                  </a:lnTo>
                  <a:lnTo>
                    <a:pt x="3204312" y="5272425"/>
                  </a:lnTo>
                  <a:lnTo>
                    <a:pt x="3237603" y="5295797"/>
                  </a:lnTo>
                  <a:lnTo>
                    <a:pt x="3257118" y="5306145"/>
                  </a:lnTo>
                  <a:lnTo>
                    <a:pt x="3288173" y="5330098"/>
                  </a:lnTo>
                  <a:lnTo>
                    <a:pt x="3302569" y="5358924"/>
                  </a:lnTo>
                  <a:lnTo>
                    <a:pt x="3328323" y="5374066"/>
                  </a:lnTo>
                  <a:lnTo>
                    <a:pt x="3336671" y="5395473"/>
                  </a:lnTo>
                  <a:lnTo>
                    <a:pt x="3335214" y="5425572"/>
                  </a:lnTo>
                  <a:lnTo>
                    <a:pt x="3329978" y="5484907"/>
                  </a:lnTo>
                  <a:lnTo>
                    <a:pt x="3310279" y="5518521"/>
                  </a:lnTo>
                  <a:lnTo>
                    <a:pt x="3280332" y="5529356"/>
                  </a:lnTo>
                  <a:lnTo>
                    <a:pt x="3246796" y="5549352"/>
                  </a:lnTo>
                  <a:lnTo>
                    <a:pt x="3212635" y="5571669"/>
                  </a:lnTo>
                  <a:lnTo>
                    <a:pt x="3195112" y="5588796"/>
                  </a:lnTo>
                  <a:lnTo>
                    <a:pt x="3177589" y="5605923"/>
                  </a:lnTo>
                  <a:lnTo>
                    <a:pt x="3160542" y="5628108"/>
                  </a:lnTo>
                  <a:lnTo>
                    <a:pt x="3144786" y="5658167"/>
                  </a:lnTo>
                  <a:lnTo>
                    <a:pt x="3144786" y="5679930"/>
                  </a:lnTo>
                  <a:lnTo>
                    <a:pt x="3165705" y="5706957"/>
                  </a:lnTo>
                  <a:lnTo>
                    <a:pt x="3197315" y="5726359"/>
                  </a:lnTo>
                  <a:lnTo>
                    <a:pt x="3233198" y="5741138"/>
                  </a:lnTo>
                  <a:lnTo>
                    <a:pt x="3268011" y="5756049"/>
                  </a:lnTo>
                  <a:lnTo>
                    <a:pt x="3293594" y="5772477"/>
                  </a:lnTo>
                  <a:lnTo>
                    <a:pt x="3303927" y="5794188"/>
                  </a:lnTo>
                  <a:lnTo>
                    <a:pt x="3290283" y="5819690"/>
                  </a:lnTo>
                  <a:lnTo>
                    <a:pt x="3264292" y="5862471"/>
                  </a:lnTo>
                  <a:lnTo>
                    <a:pt x="3239996" y="5879882"/>
                  </a:lnTo>
                  <a:lnTo>
                    <a:pt x="3216822" y="5879420"/>
                  </a:lnTo>
                  <a:lnTo>
                    <a:pt x="3180149" y="5859477"/>
                  </a:lnTo>
                  <a:lnTo>
                    <a:pt x="3160437" y="5850105"/>
                  </a:lnTo>
                  <a:lnTo>
                    <a:pt x="3138033" y="5842805"/>
                  </a:lnTo>
                  <a:lnTo>
                    <a:pt x="3099895" y="5848595"/>
                  </a:lnTo>
                  <a:lnTo>
                    <a:pt x="3072163" y="5852803"/>
                  </a:lnTo>
                  <a:lnTo>
                    <a:pt x="3049879" y="5867985"/>
                  </a:lnTo>
                  <a:lnTo>
                    <a:pt x="3030530" y="5886681"/>
                  </a:lnTo>
                  <a:lnTo>
                    <a:pt x="3011181" y="5905384"/>
                  </a:lnTo>
                  <a:lnTo>
                    <a:pt x="2994535" y="5927794"/>
                  </a:lnTo>
                  <a:lnTo>
                    <a:pt x="2974757" y="5945171"/>
                  </a:lnTo>
                  <a:lnTo>
                    <a:pt x="2939883" y="5975798"/>
                  </a:lnTo>
                  <a:lnTo>
                    <a:pt x="2853615" y="6000792"/>
                  </a:lnTo>
                  <a:lnTo>
                    <a:pt x="2834661" y="6025425"/>
                  </a:lnTo>
                  <a:lnTo>
                    <a:pt x="2820634" y="6056473"/>
                  </a:lnTo>
                  <a:lnTo>
                    <a:pt x="2816828" y="6095449"/>
                  </a:lnTo>
                  <a:lnTo>
                    <a:pt x="2824201" y="6172597"/>
                  </a:lnTo>
                  <a:lnTo>
                    <a:pt x="2800552" y="6279606"/>
                  </a:lnTo>
                  <a:lnTo>
                    <a:pt x="2808816" y="6331467"/>
                  </a:lnTo>
                  <a:lnTo>
                    <a:pt x="2825138" y="6429402"/>
                  </a:lnTo>
                  <a:lnTo>
                    <a:pt x="2831905" y="6471913"/>
                  </a:lnTo>
                  <a:lnTo>
                    <a:pt x="2832472" y="6500416"/>
                  </a:lnTo>
                  <a:lnTo>
                    <a:pt x="2829213" y="6521895"/>
                  </a:lnTo>
                  <a:lnTo>
                    <a:pt x="2825956" y="6543368"/>
                  </a:lnTo>
                  <a:lnTo>
                    <a:pt x="2808809" y="6569504"/>
                  </a:lnTo>
                  <a:lnTo>
                    <a:pt x="2787052" y="6593760"/>
                  </a:lnTo>
                  <a:lnTo>
                    <a:pt x="2762559" y="6624136"/>
                  </a:lnTo>
                  <a:lnTo>
                    <a:pt x="2750668" y="6642945"/>
                  </a:lnTo>
                  <a:lnTo>
                    <a:pt x="2739444" y="6672879"/>
                  </a:lnTo>
                  <a:lnTo>
                    <a:pt x="2719659" y="6725626"/>
                  </a:lnTo>
                  <a:lnTo>
                    <a:pt x="2719653" y="6798182"/>
                  </a:lnTo>
                  <a:lnTo>
                    <a:pt x="2712239" y="6853784"/>
                  </a:lnTo>
                  <a:lnTo>
                    <a:pt x="2692811" y="6882466"/>
                  </a:lnTo>
                  <a:lnTo>
                    <a:pt x="2664836" y="6891817"/>
                  </a:lnTo>
                  <a:lnTo>
                    <a:pt x="2627905" y="6885070"/>
                  </a:lnTo>
                  <a:lnTo>
                    <a:pt x="2593367" y="6867185"/>
                  </a:lnTo>
                  <a:lnTo>
                    <a:pt x="2546001" y="6826982"/>
                  </a:lnTo>
                  <a:lnTo>
                    <a:pt x="2518679" y="6791581"/>
                  </a:lnTo>
                  <a:lnTo>
                    <a:pt x="2494608" y="6769448"/>
                  </a:lnTo>
                  <a:lnTo>
                    <a:pt x="2452777" y="6739653"/>
                  </a:lnTo>
                  <a:lnTo>
                    <a:pt x="2415311" y="6721523"/>
                  </a:lnTo>
                  <a:lnTo>
                    <a:pt x="2325238" y="6717038"/>
                  </a:lnTo>
                  <a:lnTo>
                    <a:pt x="2286492" y="6712323"/>
                  </a:lnTo>
                  <a:lnTo>
                    <a:pt x="2261669" y="6698230"/>
                  </a:lnTo>
                  <a:lnTo>
                    <a:pt x="2274253" y="6655192"/>
                  </a:lnTo>
                  <a:lnTo>
                    <a:pt x="2241080" y="6599003"/>
                  </a:lnTo>
                  <a:lnTo>
                    <a:pt x="2207696" y="6561142"/>
                  </a:lnTo>
                  <a:lnTo>
                    <a:pt x="2173601" y="6527336"/>
                  </a:lnTo>
                  <a:lnTo>
                    <a:pt x="2143851" y="6497831"/>
                  </a:lnTo>
                  <a:lnTo>
                    <a:pt x="2125333" y="6485254"/>
                  </a:lnTo>
                  <a:lnTo>
                    <a:pt x="2102871" y="6479727"/>
                  </a:lnTo>
                  <a:lnTo>
                    <a:pt x="2080409" y="6474201"/>
                  </a:lnTo>
                  <a:lnTo>
                    <a:pt x="2054985" y="6475652"/>
                  </a:lnTo>
                  <a:lnTo>
                    <a:pt x="2011735" y="6475652"/>
                  </a:lnTo>
                  <a:lnTo>
                    <a:pt x="1959458" y="6475652"/>
                  </a:lnTo>
                  <a:lnTo>
                    <a:pt x="1902115" y="6471998"/>
                  </a:lnTo>
                  <a:lnTo>
                    <a:pt x="1851236" y="6487892"/>
                  </a:lnTo>
                  <a:lnTo>
                    <a:pt x="1825713" y="6512933"/>
                  </a:lnTo>
                  <a:lnTo>
                    <a:pt x="1816085" y="6550933"/>
                  </a:lnTo>
                  <a:lnTo>
                    <a:pt x="1788663" y="6576304"/>
                  </a:lnTo>
                  <a:lnTo>
                    <a:pt x="1751343" y="6590502"/>
                  </a:lnTo>
                  <a:lnTo>
                    <a:pt x="1710348" y="6593094"/>
                  </a:lnTo>
                  <a:lnTo>
                    <a:pt x="1674406" y="6606231"/>
                  </a:lnTo>
                  <a:lnTo>
                    <a:pt x="1652755" y="6614158"/>
                  </a:lnTo>
                  <a:lnTo>
                    <a:pt x="1631645" y="6629162"/>
                  </a:lnTo>
                  <a:lnTo>
                    <a:pt x="1610482" y="6638876"/>
                  </a:lnTo>
                  <a:lnTo>
                    <a:pt x="1577474" y="6654011"/>
                  </a:lnTo>
                  <a:lnTo>
                    <a:pt x="1536771" y="6668183"/>
                  </a:lnTo>
                  <a:lnTo>
                    <a:pt x="1501666" y="6678320"/>
                  </a:lnTo>
                  <a:lnTo>
                    <a:pt x="1475122" y="6685014"/>
                  </a:lnTo>
                  <a:lnTo>
                    <a:pt x="1443980" y="6713833"/>
                  </a:lnTo>
                  <a:lnTo>
                    <a:pt x="1431569" y="6741677"/>
                  </a:lnTo>
                  <a:lnTo>
                    <a:pt x="1422771" y="6772179"/>
                  </a:lnTo>
                  <a:lnTo>
                    <a:pt x="1330186" y="6755619"/>
                  </a:lnTo>
                  <a:lnTo>
                    <a:pt x="1269466" y="6748180"/>
                  </a:lnTo>
                  <a:lnTo>
                    <a:pt x="1213304" y="6730011"/>
                  </a:lnTo>
                  <a:lnTo>
                    <a:pt x="1185223" y="6720923"/>
                  </a:lnTo>
                  <a:lnTo>
                    <a:pt x="1157940" y="6709454"/>
                  </a:lnTo>
                  <a:lnTo>
                    <a:pt x="1131692" y="6691925"/>
                  </a:lnTo>
                  <a:lnTo>
                    <a:pt x="1105438" y="6674396"/>
                  </a:lnTo>
                  <a:lnTo>
                    <a:pt x="1080258" y="6650714"/>
                  </a:lnTo>
                  <a:lnTo>
                    <a:pt x="1054156" y="6618472"/>
                  </a:lnTo>
                  <a:lnTo>
                    <a:pt x="1031034" y="6614396"/>
                  </a:lnTo>
                  <a:lnTo>
                    <a:pt x="1023239" y="6650167"/>
                  </a:lnTo>
                  <a:lnTo>
                    <a:pt x="1037187" y="6675122"/>
                  </a:lnTo>
                  <a:lnTo>
                    <a:pt x="1047356" y="6700090"/>
                  </a:lnTo>
                  <a:lnTo>
                    <a:pt x="1057532" y="6725058"/>
                  </a:lnTo>
                  <a:lnTo>
                    <a:pt x="1064048" y="6749756"/>
                  </a:lnTo>
                  <a:lnTo>
                    <a:pt x="1056880" y="6770820"/>
                  </a:lnTo>
                  <a:lnTo>
                    <a:pt x="1041857" y="6790269"/>
                  </a:lnTo>
                  <a:lnTo>
                    <a:pt x="1022494" y="6802508"/>
                  </a:lnTo>
                  <a:lnTo>
                    <a:pt x="999748" y="6811630"/>
                  </a:lnTo>
                  <a:lnTo>
                    <a:pt x="989143" y="6839084"/>
                  </a:lnTo>
                  <a:lnTo>
                    <a:pt x="1007773" y="6879761"/>
                  </a:lnTo>
                  <a:lnTo>
                    <a:pt x="1054954" y="6902125"/>
                  </a:lnTo>
                  <a:lnTo>
                    <a:pt x="1090883" y="6924521"/>
                  </a:lnTo>
                  <a:lnTo>
                    <a:pt x="1108847" y="6935719"/>
                  </a:lnTo>
                  <a:lnTo>
                    <a:pt x="1130327" y="6958531"/>
                  </a:lnTo>
                  <a:lnTo>
                    <a:pt x="1136414" y="6984686"/>
                  </a:lnTo>
                  <a:lnTo>
                    <a:pt x="1104488" y="7004774"/>
                  </a:lnTo>
                  <a:lnTo>
                    <a:pt x="1010379" y="6974358"/>
                  </a:lnTo>
                  <a:lnTo>
                    <a:pt x="906786" y="6970560"/>
                  </a:lnTo>
                  <a:lnTo>
                    <a:pt x="809320" y="6954449"/>
                  </a:lnTo>
                  <a:lnTo>
                    <a:pt x="772771" y="6975592"/>
                  </a:lnTo>
                  <a:lnTo>
                    <a:pt x="767390" y="7027645"/>
                  </a:lnTo>
                  <a:lnTo>
                    <a:pt x="792997" y="7056465"/>
                  </a:lnTo>
                  <a:lnTo>
                    <a:pt x="816719" y="7098013"/>
                  </a:lnTo>
                  <a:lnTo>
                    <a:pt x="841635" y="7141348"/>
                  </a:lnTo>
                  <a:lnTo>
                    <a:pt x="848771" y="7189762"/>
                  </a:lnTo>
                  <a:lnTo>
                    <a:pt x="852820" y="7217249"/>
                  </a:lnTo>
                  <a:lnTo>
                    <a:pt x="851837" y="7255618"/>
                  </a:lnTo>
                  <a:lnTo>
                    <a:pt x="840606" y="7289054"/>
                  </a:lnTo>
                  <a:lnTo>
                    <a:pt x="827166" y="7321877"/>
                  </a:lnTo>
                  <a:lnTo>
                    <a:pt x="805086" y="7346008"/>
                  </a:lnTo>
                  <a:lnTo>
                    <a:pt x="772599" y="7358426"/>
                  </a:lnTo>
                  <a:lnTo>
                    <a:pt x="750230" y="7362667"/>
                  </a:lnTo>
                  <a:lnTo>
                    <a:pt x="719471" y="7362001"/>
                  </a:lnTo>
                  <a:lnTo>
                    <a:pt x="682823" y="7359785"/>
                  </a:lnTo>
                  <a:lnTo>
                    <a:pt x="646182" y="7357562"/>
                  </a:lnTo>
                  <a:lnTo>
                    <a:pt x="604423" y="7353573"/>
                  </a:lnTo>
                  <a:lnTo>
                    <a:pt x="563125" y="7347544"/>
                  </a:lnTo>
                  <a:lnTo>
                    <a:pt x="480537" y="7335489"/>
                  </a:lnTo>
                  <a:lnTo>
                    <a:pt x="398484" y="7318098"/>
                  </a:lnTo>
                  <a:lnTo>
                    <a:pt x="355017" y="7306735"/>
                  </a:lnTo>
                  <a:lnTo>
                    <a:pt x="325393" y="7295419"/>
                  </a:lnTo>
                  <a:lnTo>
                    <a:pt x="292147" y="7285414"/>
                  </a:lnTo>
                  <a:lnTo>
                    <a:pt x="259800" y="7289054"/>
                  </a:lnTo>
                  <a:lnTo>
                    <a:pt x="239889" y="7301294"/>
                  </a:lnTo>
                  <a:lnTo>
                    <a:pt x="197168" y="7368120"/>
                  </a:lnTo>
                  <a:lnTo>
                    <a:pt x="184993" y="7389712"/>
                  </a:lnTo>
                  <a:lnTo>
                    <a:pt x="197307" y="7426789"/>
                  </a:lnTo>
                  <a:lnTo>
                    <a:pt x="231191" y="7449838"/>
                  </a:lnTo>
                  <a:lnTo>
                    <a:pt x="267964" y="7474041"/>
                  </a:lnTo>
                  <a:lnTo>
                    <a:pt x="304737" y="7498251"/>
                  </a:lnTo>
                  <a:lnTo>
                    <a:pt x="344867" y="7523279"/>
                  </a:lnTo>
                  <a:lnTo>
                    <a:pt x="365899" y="7550212"/>
                  </a:lnTo>
                  <a:lnTo>
                    <a:pt x="355096" y="7611169"/>
                  </a:lnTo>
                  <a:lnTo>
                    <a:pt x="325814" y="7653317"/>
                  </a:lnTo>
                  <a:lnTo>
                    <a:pt x="299244" y="7686232"/>
                  </a:lnTo>
                  <a:lnTo>
                    <a:pt x="270978" y="7721238"/>
                  </a:lnTo>
                  <a:lnTo>
                    <a:pt x="250131" y="7740033"/>
                  </a:lnTo>
                  <a:lnTo>
                    <a:pt x="215053" y="7757570"/>
                  </a:lnTo>
                  <a:lnTo>
                    <a:pt x="189069" y="7751529"/>
                  </a:lnTo>
                  <a:lnTo>
                    <a:pt x="163620" y="7741353"/>
                  </a:lnTo>
                  <a:lnTo>
                    <a:pt x="135624" y="7734493"/>
                  </a:lnTo>
                  <a:lnTo>
                    <a:pt x="99293" y="7744722"/>
                  </a:lnTo>
                  <a:lnTo>
                    <a:pt x="92625" y="7776398"/>
                  </a:lnTo>
                  <a:lnTo>
                    <a:pt x="118339" y="7804571"/>
                  </a:lnTo>
                  <a:lnTo>
                    <a:pt x="152276" y="7833780"/>
                  </a:lnTo>
                  <a:lnTo>
                    <a:pt x="172747" y="7849462"/>
                  </a:lnTo>
                  <a:lnTo>
                    <a:pt x="193211" y="7865145"/>
                  </a:lnTo>
                  <a:lnTo>
                    <a:pt x="215185" y="7882002"/>
                  </a:lnTo>
                  <a:lnTo>
                    <a:pt x="233954" y="7898430"/>
                  </a:lnTo>
                  <a:lnTo>
                    <a:pt x="252716" y="7914851"/>
                  </a:lnTo>
                  <a:lnTo>
                    <a:pt x="267872" y="7930751"/>
                  </a:lnTo>
                  <a:lnTo>
                    <a:pt x="299244" y="7985483"/>
                  </a:lnTo>
                  <a:lnTo>
                    <a:pt x="321007" y="8023568"/>
                  </a:lnTo>
                  <a:lnTo>
                    <a:pt x="342770" y="8061654"/>
                  </a:lnTo>
                  <a:lnTo>
                    <a:pt x="365892" y="8099732"/>
                  </a:lnTo>
                  <a:lnTo>
                    <a:pt x="394764" y="8120223"/>
                  </a:lnTo>
                  <a:lnTo>
                    <a:pt x="417582" y="8124219"/>
                  </a:lnTo>
                  <a:lnTo>
                    <a:pt x="440401" y="8128216"/>
                  </a:lnTo>
                  <a:lnTo>
                    <a:pt x="464677" y="8130109"/>
                  </a:lnTo>
                  <a:lnTo>
                    <a:pt x="495113" y="8166381"/>
                  </a:lnTo>
                  <a:lnTo>
                    <a:pt x="484231" y="8260240"/>
                  </a:lnTo>
                  <a:lnTo>
                    <a:pt x="473943" y="8283764"/>
                  </a:lnTo>
                  <a:lnTo>
                    <a:pt x="450993" y="8291124"/>
                  </a:lnTo>
                  <a:lnTo>
                    <a:pt x="420300" y="8288802"/>
                  </a:lnTo>
                  <a:lnTo>
                    <a:pt x="387780" y="8283427"/>
                  </a:lnTo>
                  <a:lnTo>
                    <a:pt x="357609" y="8280572"/>
                  </a:lnTo>
                  <a:lnTo>
                    <a:pt x="334606" y="8286071"/>
                  </a:lnTo>
                  <a:lnTo>
                    <a:pt x="318224" y="8299650"/>
                  </a:lnTo>
                  <a:lnTo>
                    <a:pt x="304751" y="8316019"/>
                  </a:lnTo>
                  <a:lnTo>
                    <a:pt x="293803" y="8335039"/>
                  </a:lnTo>
                  <a:lnTo>
                    <a:pt x="280198" y="8363608"/>
                  </a:lnTo>
                  <a:lnTo>
                    <a:pt x="271236" y="8384355"/>
                  </a:lnTo>
                  <a:lnTo>
                    <a:pt x="258830" y="8408915"/>
                  </a:lnTo>
                  <a:lnTo>
                    <a:pt x="240813" y="8427981"/>
                  </a:lnTo>
                  <a:lnTo>
                    <a:pt x="218991" y="8449296"/>
                  </a:lnTo>
                  <a:lnTo>
                    <a:pt x="197174" y="8470617"/>
                  </a:lnTo>
                  <a:lnTo>
                    <a:pt x="171521" y="8493442"/>
                  </a:lnTo>
                  <a:lnTo>
                    <a:pt x="144178" y="8515950"/>
                  </a:lnTo>
                  <a:lnTo>
                    <a:pt x="116842" y="8538452"/>
                  </a:lnTo>
                  <a:lnTo>
                    <a:pt x="88266" y="8560927"/>
                  </a:lnTo>
                  <a:lnTo>
                    <a:pt x="63931" y="8579874"/>
                  </a:lnTo>
                  <a:lnTo>
                    <a:pt x="39589" y="8598828"/>
                  </a:lnTo>
                  <a:lnTo>
                    <a:pt x="19607" y="8614109"/>
                  </a:lnTo>
                  <a:lnTo>
                    <a:pt x="0" y="8643805"/>
                  </a:lnTo>
                  <a:lnTo>
                    <a:pt x="4056" y="8691692"/>
                  </a:lnTo>
                  <a:lnTo>
                    <a:pt x="28715" y="8716172"/>
                  </a:lnTo>
                  <a:lnTo>
                    <a:pt x="54791" y="8717681"/>
                  </a:lnTo>
                  <a:lnTo>
                    <a:pt x="115437" y="8729559"/>
                  </a:lnTo>
                  <a:lnTo>
                    <a:pt x="145589" y="8730305"/>
                  </a:lnTo>
                  <a:lnTo>
                    <a:pt x="170023" y="8726776"/>
                  </a:lnTo>
                  <a:lnTo>
                    <a:pt x="194457" y="8723248"/>
                  </a:lnTo>
                  <a:lnTo>
                    <a:pt x="229872" y="8706371"/>
                  </a:lnTo>
                  <a:lnTo>
                    <a:pt x="260578" y="8684648"/>
                  </a:lnTo>
                  <a:lnTo>
                    <a:pt x="278839" y="8673727"/>
                  </a:lnTo>
                  <a:lnTo>
                    <a:pt x="297101" y="8662812"/>
                  </a:lnTo>
                  <a:lnTo>
                    <a:pt x="318567" y="8651726"/>
                  </a:lnTo>
                  <a:lnTo>
                    <a:pt x="348211" y="8645164"/>
                  </a:lnTo>
                  <a:lnTo>
                    <a:pt x="370482" y="8640231"/>
                  </a:lnTo>
                  <a:lnTo>
                    <a:pt x="392397" y="8650011"/>
                  </a:lnTo>
                  <a:lnTo>
                    <a:pt x="413500" y="8656046"/>
                  </a:lnTo>
                  <a:lnTo>
                    <a:pt x="437150" y="8662806"/>
                  </a:lnTo>
                  <a:lnTo>
                    <a:pt x="456394" y="8674373"/>
                  </a:lnTo>
                  <a:lnTo>
                    <a:pt x="471991" y="8690049"/>
                  </a:lnTo>
                  <a:lnTo>
                    <a:pt x="487587" y="8705732"/>
                  </a:lnTo>
                  <a:lnTo>
                    <a:pt x="499663" y="8724666"/>
                  </a:lnTo>
                  <a:lnTo>
                    <a:pt x="507353" y="8745822"/>
                  </a:lnTo>
                  <a:lnTo>
                    <a:pt x="515042" y="8766972"/>
                  </a:lnTo>
                  <a:lnTo>
                    <a:pt x="518306" y="8790641"/>
                  </a:lnTo>
                  <a:lnTo>
                    <a:pt x="518234" y="8813829"/>
                  </a:lnTo>
                  <a:lnTo>
                    <a:pt x="518168" y="8837017"/>
                  </a:lnTo>
                  <a:lnTo>
                    <a:pt x="513670" y="8860066"/>
                  </a:lnTo>
                  <a:lnTo>
                    <a:pt x="505994" y="8881842"/>
                  </a:lnTo>
                  <a:lnTo>
                    <a:pt x="498707" y="8902484"/>
                  </a:lnTo>
                  <a:lnTo>
                    <a:pt x="484712" y="8921326"/>
                  </a:lnTo>
                  <a:lnTo>
                    <a:pt x="467909" y="8938967"/>
                  </a:lnTo>
                  <a:lnTo>
                    <a:pt x="451104" y="8956609"/>
                  </a:lnTo>
                  <a:lnTo>
                    <a:pt x="432111" y="8972852"/>
                  </a:lnTo>
                  <a:lnTo>
                    <a:pt x="413500" y="8989293"/>
                  </a:lnTo>
                  <a:lnTo>
                    <a:pt x="394890" y="9005734"/>
                  </a:lnTo>
                  <a:lnTo>
                    <a:pt x="377228" y="9022578"/>
                  </a:lnTo>
                  <a:lnTo>
                    <a:pt x="364534" y="9039625"/>
                  </a:lnTo>
                  <a:lnTo>
                    <a:pt x="351838" y="9056673"/>
                  </a:lnTo>
                  <a:lnTo>
                    <a:pt x="345488" y="9094033"/>
                  </a:lnTo>
                  <a:lnTo>
                    <a:pt x="385749" y="9134071"/>
                  </a:lnTo>
                  <a:lnTo>
                    <a:pt x="413500" y="9159323"/>
                  </a:lnTo>
                  <a:lnTo>
                    <a:pt x="441251" y="9184568"/>
                  </a:lnTo>
                  <a:lnTo>
                    <a:pt x="465119" y="9208851"/>
                  </a:lnTo>
                  <a:lnTo>
                    <a:pt x="433193" y="9323345"/>
                  </a:lnTo>
                  <a:lnTo>
                    <a:pt x="421863" y="9390336"/>
                  </a:lnTo>
                  <a:lnTo>
                    <a:pt x="423024" y="9457201"/>
                  </a:lnTo>
                  <a:lnTo>
                    <a:pt x="424184" y="9524073"/>
                  </a:lnTo>
                  <a:lnTo>
                    <a:pt x="438997" y="9591361"/>
                  </a:lnTo>
                  <a:lnTo>
                    <a:pt x="465185" y="9692520"/>
                  </a:lnTo>
                  <a:lnTo>
                    <a:pt x="485609" y="9720654"/>
                  </a:lnTo>
                  <a:lnTo>
                    <a:pt x="526399" y="9730606"/>
                  </a:lnTo>
                  <a:lnTo>
                    <a:pt x="563805" y="9757171"/>
                  </a:lnTo>
                  <a:lnTo>
                    <a:pt x="600954" y="9789901"/>
                  </a:lnTo>
                  <a:lnTo>
                    <a:pt x="636573" y="9819017"/>
                  </a:lnTo>
                  <a:lnTo>
                    <a:pt x="720183" y="9882711"/>
                  </a:lnTo>
                  <a:lnTo>
                    <a:pt x="775310" y="9952314"/>
                  </a:lnTo>
                  <a:lnTo>
                    <a:pt x="808021" y="9985321"/>
                  </a:lnTo>
                  <a:lnTo>
                    <a:pt x="857799" y="10007447"/>
                  </a:lnTo>
                  <a:lnTo>
                    <a:pt x="897731" y="10029850"/>
                  </a:lnTo>
                  <a:lnTo>
                    <a:pt x="945762" y="10056750"/>
                  </a:lnTo>
                  <a:lnTo>
                    <a:pt x="1001700" y="10080070"/>
                  </a:lnTo>
                  <a:lnTo>
                    <a:pt x="1051432" y="10106021"/>
                  </a:lnTo>
                  <a:lnTo>
                    <a:pt x="1066396" y="10126419"/>
                  </a:lnTo>
                  <a:lnTo>
                    <a:pt x="1067636" y="10084852"/>
                  </a:lnTo>
                  <a:lnTo>
                    <a:pt x="1070471" y="10063854"/>
                  </a:lnTo>
                  <a:lnTo>
                    <a:pt x="1073314" y="10042855"/>
                  </a:lnTo>
                  <a:lnTo>
                    <a:pt x="1081353" y="10002646"/>
                  </a:lnTo>
                  <a:lnTo>
                    <a:pt x="1111274" y="9992055"/>
                  </a:lnTo>
                  <a:lnTo>
                    <a:pt x="1168234" y="9999540"/>
                  </a:lnTo>
                  <a:lnTo>
                    <a:pt x="1189041" y="10022641"/>
                  </a:lnTo>
                  <a:lnTo>
                    <a:pt x="1201117" y="10042387"/>
                  </a:lnTo>
                  <a:lnTo>
                    <a:pt x="1220090" y="10066570"/>
                  </a:lnTo>
                  <a:lnTo>
                    <a:pt x="1228822" y="10024396"/>
                  </a:lnTo>
                  <a:lnTo>
                    <a:pt x="1232337" y="9998564"/>
                  </a:lnTo>
                  <a:lnTo>
                    <a:pt x="1235852" y="9972731"/>
                  </a:lnTo>
                  <a:lnTo>
                    <a:pt x="1237053" y="9947031"/>
                  </a:lnTo>
                  <a:lnTo>
                    <a:pt x="1233933" y="9921337"/>
                  </a:lnTo>
                  <a:lnTo>
                    <a:pt x="1229613" y="9900629"/>
                  </a:lnTo>
                  <a:lnTo>
                    <a:pt x="1225538" y="9872067"/>
                  </a:lnTo>
                  <a:lnTo>
                    <a:pt x="1233827" y="9834700"/>
                  </a:lnTo>
                  <a:lnTo>
                    <a:pt x="1258182" y="9805419"/>
                  </a:lnTo>
                  <a:lnTo>
                    <a:pt x="1296446" y="9800202"/>
                  </a:lnTo>
                  <a:lnTo>
                    <a:pt x="1319389" y="9797261"/>
                  </a:lnTo>
                  <a:lnTo>
                    <a:pt x="1342333" y="9794313"/>
                  </a:lnTo>
                  <a:lnTo>
                    <a:pt x="1365317" y="9788819"/>
                  </a:lnTo>
                  <a:lnTo>
                    <a:pt x="1375486" y="9750622"/>
                  </a:lnTo>
                  <a:lnTo>
                    <a:pt x="1376838" y="9727718"/>
                  </a:lnTo>
                  <a:lnTo>
                    <a:pt x="1383320" y="9706126"/>
                  </a:lnTo>
                  <a:lnTo>
                    <a:pt x="1389797" y="9684541"/>
                  </a:lnTo>
                  <a:lnTo>
                    <a:pt x="1401503" y="9665244"/>
                  </a:lnTo>
                  <a:lnTo>
                    <a:pt x="1420041" y="9644919"/>
                  </a:lnTo>
                  <a:lnTo>
                    <a:pt x="1420041" y="9621797"/>
                  </a:lnTo>
                  <a:lnTo>
                    <a:pt x="1404464" y="9601741"/>
                  </a:lnTo>
                  <a:lnTo>
                    <a:pt x="1384679" y="9586428"/>
                  </a:lnTo>
                  <a:lnTo>
                    <a:pt x="1365614" y="9573878"/>
                  </a:lnTo>
                  <a:lnTo>
                    <a:pt x="1341423" y="9553361"/>
                  </a:lnTo>
                  <a:lnTo>
                    <a:pt x="1328913" y="9521139"/>
                  </a:lnTo>
                  <a:lnTo>
                    <a:pt x="1324296" y="9484584"/>
                  </a:lnTo>
                  <a:lnTo>
                    <a:pt x="1329988" y="9426944"/>
                  </a:lnTo>
                  <a:lnTo>
                    <a:pt x="1342913" y="9387289"/>
                  </a:lnTo>
                  <a:lnTo>
                    <a:pt x="1354758" y="9360638"/>
                  </a:lnTo>
                  <a:lnTo>
                    <a:pt x="1368357" y="9333435"/>
                  </a:lnTo>
                  <a:lnTo>
                    <a:pt x="1383143" y="9318016"/>
                  </a:lnTo>
                  <a:lnTo>
                    <a:pt x="1419771" y="9319532"/>
                  </a:lnTo>
                  <a:lnTo>
                    <a:pt x="1539343" y="9320707"/>
                  </a:lnTo>
                  <a:lnTo>
                    <a:pt x="1565591" y="9344310"/>
                  </a:lnTo>
                  <a:lnTo>
                    <a:pt x="1565525" y="9373538"/>
                  </a:lnTo>
                  <a:lnTo>
                    <a:pt x="1581049" y="9395809"/>
                  </a:lnTo>
                  <a:lnTo>
                    <a:pt x="1603676" y="9402800"/>
                  </a:lnTo>
                  <a:lnTo>
                    <a:pt x="1627570" y="9400215"/>
                  </a:lnTo>
                  <a:lnTo>
                    <a:pt x="1661982" y="9387572"/>
                  </a:lnTo>
                  <a:lnTo>
                    <a:pt x="1682789" y="9374310"/>
                  </a:lnTo>
                  <a:lnTo>
                    <a:pt x="1709194" y="9388595"/>
                  </a:lnTo>
                  <a:lnTo>
                    <a:pt x="1716567" y="9421846"/>
                  </a:lnTo>
                  <a:lnTo>
                    <a:pt x="1722583" y="9453699"/>
                  </a:lnTo>
                  <a:lnTo>
                    <a:pt x="1757377" y="9466731"/>
                  </a:lnTo>
                  <a:lnTo>
                    <a:pt x="1786962" y="9455625"/>
                  </a:lnTo>
                  <a:lnTo>
                    <a:pt x="1812418" y="9432108"/>
                  </a:lnTo>
                  <a:lnTo>
                    <a:pt x="1837631" y="9406882"/>
                  </a:lnTo>
                  <a:lnTo>
                    <a:pt x="1862836" y="9381656"/>
                  </a:lnTo>
                  <a:lnTo>
                    <a:pt x="1888272" y="9354195"/>
                  </a:lnTo>
                  <a:lnTo>
                    <a:pt x="1916519" y="9334793"/>
                  </a:lnTo>
                  <a:lnTo>
                    <a:pt x="1946446" y="9344316"/>
                  </a:lnTo>
                  <a:lnTo>
                    <a:pt x="1961404" y="9396574"/>
                  </a:lnTo>
                  <a:lnTo>
                    <a:pt x="1987994" y="9416504"/>
                  </a:lnTo>
                  <a:lnTo>
                    <a:pt x="2018535" y="9416406"/>
                  </a:lnTo>
                  <a:lnTo>
                    <a:pt x="2044506" y="9391859"/>
                  </a:lnTo>
                  <a:lnTo>
                    <a:pt x="2056858" y="9374270"/>
                  </a:lnTo>
                  <a:lnTo>
                    <a:pt x="2070219" y="9357915"/>
                  </a:lnTo>
                  <a:lnTo>
                    <a:pt x="2083587" y="9341566"/>
                  </a:lnTo>
                  <a:lnTo>
                    <a:pt x="2097806" y="9325937"/>
                  </a:lnTo>
                  <a:lnTo>
                    <a:pt x="2140897" y="9294716"/>
                  </a:lnTo>
                  <a:lnTo>
                    <a:pt x="2199499" y="9284600"/>
                  </a:lnTo>
                  <a:lnTo>
                    <a:pt x="2260647" y="9279027"/>
                  </a:lnTo>
                  <a:lnTo>
                    <a:pt x="2321802" y="9273448"/>
                  </a:lnTo>
                  <a:lnTo>
                    <a:pt x="2385310" y="9272603"/>
                  </a:lnTo>
                  <a:lnTo>
                    <a:pt x="2421154" y="9272221"/>
                  </a:lnTo>
                  <a:lnTo>
                    <a:pt x="2454623" y="9276296"/>
                  </a:lnTo>
                  <a:lnTo>
                    <a:pt x="2515461" y="9276296"/>
                  </a:lnTo>
                  <a:lnTo>
                    <a:pt x="2561230" y="9270236"/>
                  </a:lnTo>
                  <a:lnTo>
                    <a:pt x="2603418" y="9255898"/>
                  </a:lnTo>
                  <a:lnTo>
                    <a:pt x="2645611" y="9241554"/>
                  </a:lnTo>
                  <a:lnTo>
                    <a:pt x="2683987" y="9218433"/>
                  </a:lnTo>
                  <a:lnTo>
                    <a:pt x="2713599" y="9183803"/>
                  </a:lnTo>
                  <a:lnTo>
                    <a:pt x="2778004" y="9108469"/>
                  </a:lnTo>
                  <a:lnTo>
                    <a:pt x="2843062" y="9053026"/>
                  </a:lnTo>
                  <a:lnTo>
                    <a:pt x="2909467" y="8982493"/>
                  </a:lnTo>
                  <a:lnTo>
                    <a:pt x="2930689" y="8959952"/>
                  </a:lnTo>
                  <a:lnTo>
                    <a:pt x="2975429" y="8904938"/>
                  </a:lnTo>
                  <a:lnTo>
                    <a:pt x="3025082" y="8858720"/>
                  </a:lnTo>
                  <a:lnTo>
                    <a:pt x="3049905" y="8835612"/>
                  </a:lnTo>
                  <a:lnTo>
                    <a:pt x="3075724" y="8814489"/>
                  </a:lnTo>
                  <a:lnTo>
                    <a:pt x="3101253" y="8801589"/>
                  </a:lnTo>
                  <a:lnTo>
                    <a:pt x="3126783" y="8788689"/>
                  </a:lnTo>
                  <a:lnTo>
                    <a:pt x="3151375" y="8784000"/>
                  </a:lnTo>
                  <a:lnTo>
                    <a:pt x="3173343" y="8792065"/>
                  </a:lnTo>
                  <a:lnTo>
                    <a:pt x="3191788" y="8817753"/>
                  </a:lnTo>
                  <a:lnTo>
                    <a:pt x="3209707" y="8836799"/>
                  </a:lnTo>
                  <a:lnTo>
                    <a:pt x="3226392" y="8850556"/>
                  </a:lnTo>
                  <a:lnTo>
                    <a:pt x="3243077" y="8864320"/>
                  </a:lnTo>
                  <a:lnTo>
                    <a:pt x="3274000" y="8876401"/>
                  </a:lnTo>
                  <a:lnTo>
                    <a:pt x="3304450" y="8885226"/>
                  </a:lnTo>
                  <a:lnTo>
                    <a:pt x="3331890" y="8878637"/>
                  </a:lnTo>
                  <a:lnTo>
                    <a:pt x="3358330" y="8865520"/>
                  </a:lnTo>
                  <a:lnTo>
                    <a:pt x="3384775" y="8852396"/>
                  </a:lnTo>
                  <a:lnTo>
                    <a:pt x="3409631" y="8833746"/>
                  </a:lnTo>
                  <a:lnTo>
                    <a:pt x="3434501" y="8819270"/>
                  </a:lnTo>
                  <a:lnTo>
                    <a:pt x="3459370" y="8804800"/>
                  </a:lnTo>
                  <a:lnTo>
                    <a:pt x="3484938" y="8794103"/>
                  </a:lnTo>
                  <a:lnTo>
                    <a:pt x="3510671" y="8798872"/>
                  </a:lnTo>
                  <a:lnTo>
                    <a:pt x="3557133" y="8808302"/>
                  </a:lnTo>
                  <a:lnTo>
                    <a:pt x="3597830" y="8824348"/>
                  </a:lnTo>
                  <a:lnTo>
                    <a:pt x="3653419" y="8855449"/>
                  </a:lnTo>
                  <a:lnTo>
                    <a:pt x="3709264" y="8883201"/>
                  </a:lnTo>
                  <a:lnTo>
                    <a:pt x="3765104" y="8910959"/>
                  </a:lnTo>
                  <a:lnTo>
                    <a:pt x="3820711" y="8935749"/>
                  </a:lnTo>
                  <a:lnTo>
                    <a:pt x="3846643" y="8929451"/>
                  </a:lnTo>
                  <a:lnTo>
                    <a:pt x="3926895" y="8898164"/>
                  </a:lnTo>
                  <a:lnTo>
                    <a:pt x="3955880" y="8886940"/>
                  </a:lnTo>
                  <a:lnTo>
                    <a:pt x="3975790" y="8876104"/>
                  </a:lnTo>
                  <a:lnTo>
                    <a:pt x="3992186" y="8862796"/>
                  </a:lnTo>
                  <a:lnTo>
                    <a:pt x="4008574" y="8849494"/>
                  </a:lnTo>
                  <a:lnTo>
                    <a:pt x="4022489" y="8832644"/>
                  </a:lnTo>
                  <a:lnTo>
                    <a:pt x="4041152" y="8807030"/>
                  </a:lnTo>
                  <a:lnTo>
                    <a:pt x="4064433" y="8813308"/>
                  </a:lnTo>
                  <a:lnTo>
                    <a:pt x="4096728" y="8871468"/>
                  </a:lnTo>
                  <a:lnTo>
                    <a:pt x="4107728" y="8889341"/>
                  </a:lnTo>
                  <a:lnTo>
                    <a:pt x="4096984" y="8917877"/>
                  </a:lnTo>
                  <a:lnTo>
                    <a:pt x="4074700" y="8929015"/>
                  </a:lnTo>
                  <a:lnTo>
                    <a:pt x="4041152" y="8970260"/>
                  </a:lnTo>
                  <a:lnTo>
                    <a:pt x="4021525" y="8994384"/>
                  </a:lnTo>
                  <a:lnTo>
                    <a:pt x="4004069" y="9031593"/>
                  </a:lnTo>
                  <a:lnTo>
                    <a:pt x="3993544" y="9070911"/>
                  </a:lnTo>
                  <a:lnTo>
                    <a:pt x="3983011" y="9110230"/>
                  </a:lnTo>
                  <a:lnTo>
                    <a:pt x="3980301" y="9150763"/>
                  </a:lnTo>
                  <a:lnTo>
                    <a:pt x="3989468" y="9181086"/>
                  </a:lnTo>
                  <a:lnTo>
                    <a:pt x="4083320" y="9196050"/>
                  </a:lnTo>
                  <a:lnTo>
                    <a:pt x="4095322" y="9224968"/>
                  </a:lnTo>
                  <a:lnTo>
                    <a:pt x="4100889" y="9263179"/>
                  </a:lnTo>
                  <a:lnTo>
                    <a:pt x="4103725" y="9302148"/>
                  </a:lnTo>
                  <a:lnTo>
                    <a:pt x="4106560" y="9341118"/>
                  </a:lnTo>
                  <a:lnTo>
                    <a:pt x="4106923" y="9380760"/>
                  </a:lnTo>
                  <a:lnTo>
                    <a:pt x="4132294" y="9386478"/>
                  </a:lnTo>
                  <a:lnTo>
                    <a:pt x="4155125" y="9373604"/>
                  </a:lnTo>
                  <a:lnTo>
                    <a:pt x="4188641" y="9351010"/>
                  </a:lnTo>
                  <a:lnTo>
                    <a:pt x="4210720" y="9335842"/>
                  </a:lnTo>
                  <a:lnTo>
                    <a:pt x="4240318" y="9320779"/>
                  </a:lnTo>
                  <a:lnTo>
                    <a:pt x="4271031" y="9313023"/>
                  </a:lnTo>
                  <a:lnTo>
                    <a:pt x="4302779" y="9306884"/>
                  </a:lnTo>
                  <a:lnTo>
                    <a:pt x="4340989" y="9289144"/>
                  </a:lnTo>
                  <a:lnTo>
                    <a:pt x="4363452" y="9267182"/>
                  </a:lnTo>
                  <a:lnTo>
                    <a:pt x="4382570" y="9242293"/>
                  </a:lnTo>
                  <a:lnTo>
                    <a:pt x="4401696" y="9217411"/>
                  </a:lnTo>
                  <a:lnTo>
                    <a:pt x="4418248" y="9190589"/>
                  </a:lnTo>
                  <a:lnTo>
                    <a:pt x="4431537" y="9167487"/>
                  </a:lnTo>
                  <a:lnTo>
                    <a:pt x="4448322" y="9138312"/>
                  </a:lnTo>
                  <a:lnTo>
                    <a:pt x="4464968" y="9108272"/>
                  </a:lnTo>
                  <a:lnTo>
                    <a:pt x="4483223" y="9079070"/>
                  </a:lnTo>
                  <a:lnTo>
                    <a:pt x="4501483" y="9049874"/>
                  </a:lnTo>
                  <a:lnTo>
                    <a:pt x="4520391" y="9021469"/>
                  </a:lnTo>
                  <a:lnTo>
                    <a:pt x="4541712" y="8994741"/>
                  </a:lnTo>
                  <a:lnTo>
                    <a:pt x="4563039" y="8968004"/>
                  </a:lnTo>
                  <a:lnTo>
                    <a:pt x="4586458" y="8943062"/>
                  </a:lnTo>
                  <a:lnTo>
                    <a:pt x="4612443" y="8921286"/>
                  </a:lnTo>
                  <a:lnTo>
                    <a:pt x="4638427" y="8899516"/>
                  </a:lnTo>
                  <a:lnTo>
                    <a:pt x="4667253" y="8879837"/>
                  </a:lnTo>
                  <a:lnTo>
                    <a:pt x="4699495" y="8865520"/>
                  </a:lnTo>
                  <a:lnTo>
                    <a:pt x="4734330" y="8863376"/>
                  </a:lnTo>
                  <a:lnTo>
                    <a:pt x="4768630" y="8889090"/>
                  </a:lnTo>
                  <a:lnTo>
                    <a:pt x="4801512" y="8896806"/>
                  </a:lnTo>
                  <a:lnTo>
                    <a:pt x="4824547" y="8902200"/>
                  </a:lnTo>
                  <a:lnTo>
                    <a:pt x="4861275" y="8896212"/>
                  </a:lnTo>
                  <a:lnTo>
                    <a:pt x="4883124" y="8892730"/>
                  </a:lnTo>
                  <a:lnTo>
                    <a:pt x="4949772" y="8881849"/>
                  </a:lnTo>
                  <a:lnTo>
                    <a:pt x="4999642" y="8837993"/>
                  </a:lnTo>
                  <a:lnTo>
                    <a:pt x="5030025" y="8797513"/>
                  </a:lnTo>
                  <a:lnTo>
                    <a:pt x="5060414" y="8757040"/>
                  </a:lnTo>
                  <a:lnTo>
                    <a:pt x="5089373" y="8714681"/>
                  </a:lnTo>
                  <a:lnTo>
                    <a:pt x="5107205" y="8689199"/>
                  </a:lnTo>
                  <a:lnTo>
                    <a:pt x="5131568" y="8680282"/>
                  </a:lnTo>
                  <a:lnTo>
                    <a:pt x="5157887" y="8671016"/>
                  </a:lnTo>
                  <a:lnTo>
                    <a:pt x="5184202" y="8661757"/>
                  </a:lnTo>
                  <a:lnTo>
                    <a:pt x="5212618" y="8652254"/>
                  </a:lnTo>
                  <a:lnTo>
                    <a:pt x="5253341" y="8623836"/>
                  </a:lnTo>
                  <a:lnTo>
                    <a:pt x="5270206" y="8584900"/>
                  </a:lnTo>
                  <a:lnTo>
                    <a:pt x="5288460" y="8544519"/>
                  </a:lnTo>
                  <a:lnTo>
                    <a:pt x="5306727" y="8504139"/>
                  </a:lnTo>
                  <a:lnTo>
                    <a:pt x="5325985" y="8462591"/>
                  </a:lnTo>
                  <a:lnTo>
                    <a:pt x="5353756" y="8438420"/>
                  </a:lnTo>
                  <a:lnTo>
                    <a:pt x="5376396" y="8418708"/>
                  </a:lnTo>
                  <a:lnTo>
                    <a:pt x="5416118" y="8397658"/>
                  </a:lnTo>
                  <a:lnTo>
                    <a:pt x="5453049" y="8375855"/>
                  </a:lnTo>
                  <a:lnTo>
                    <a:pt x="5489980" y="8354052"/>
                  </a:lnTo>
                  <a:lnTo>
                    <a:pt x="5524748" y="8330766"/>
                  </a:lnTo>
                  <a:lnTo>
                    <a:pt x="5537378" y="8309206"/>
                  </a:lnTo>
                  <a:lnTo>
                    <a:pt x="5557208" y="8275355"/>
                  </a:lnTo>
                  <a:lnTo>
                    <a:pt x="5556410" y="8251574"/>
                  </a:lnTo>
                  <a:lnTo>
                    <a:pt x="5553700" y="8230312"/>
                  </a:lnTo>
                  <a:lnTo>
                    <a:pt x="5550996" y="8209057"/>
                  </a:lnTo>
                  <a:lnTo>
                    <a:pt x="5557776" y="8170463"/>
                  </a:lnTo>
                  <a:lnTo>
                    <a:pt x="5588851" y="8149399"/>
                  </a:lnTo>
                  <a:lnTo>
                    <a:pt x="5609467" y="8143259"/>
                  </a:lnTo>
                  <a:lnTo>
                    <a:pt x="5630075" y="8137119"/>
                  </a:lnTo>
                  <a:lnTo>
                    <a:pt x="5652095" y="8132028"/>
                  </a:lnTo>
                  <a:lnTo>
                    <a:pt x="5673398" y="8126937"/>
                  </a:lnTo>
                  <a:lnTo>
                    <a:pt x="5694693" y="8121846"/>
                  </a:lnTo>
                  <a:lnTo>
                    <a:pt x="5715426" y="8116003"/>
                  </a:lnTo>
                  <a:lnTo>
                    <a:pt x="5745618" y="8094351"/>
                  </a:lnTo>
                  <a:lnTo>
                    <a:pt x="5757726" y="8056206"/>
                  </a:lnTo>
                  <a:lnTo>
                    <a:pt x="5767250" y="7943309"/>
                  </a:lnTo>
                  <a:lnTo>
                    <a:pt x="5786321" y="7926729"/>
                  </a:lnTo>
                  <a:lnTo>
                    <a:pt x="5818907" y="7916368"/>
                  </a:lnTo>
                  <a:lnTo>
                    <a:pt x="5844780" y="7901147"/>
                  </a:lnTo>
                  <a:lnTo>
                    <a:pt x="5856063" y="7880670"/>
                  </a:lnTo>
                  <a:lnTo>
                    <a:pt x="5855911" y="7838496"/>
                  </a:lnTo>
                  <a:lnTo>
                    <a:pt x="5858385" y="7800489"/>
                  </a:lnTo>
                  <a:lnTo>
                    <a:pt x="5861352" y="7763913"/>
                  </a:lnTo>
                  <a:lnTo>
                    <a:pt x="5871739" y="7736413"/>
                  </a:lnTo>
                  <a:lnTo>
                    <a:pt x="5892388" y="7724318"/>
                  </a:lnTo>
                  <a:lnTo>
                    <a:pt x="5927347" y="7729112"/>
                  </a:lnTo>
                  <a:lnTo>
                    <a:pt x="5952638" y="7744010"/>
                  </a:lnTo>
                  <a:lnTo>
                    <a:pt x="5974000" y="7762403"/>
                  </a:lnTo>
                  <a:lnTo>
                    <a:pt x="5998665" y="7780190"/>
                  </a:lnTo>
                  <a:lnTo>
                    <a:pt x="6030947" y="7788144"/>
                  </a:lnTo>
                  <a:lnTo>
                    <a:pt x="6077375" y="7780084"/>
                  </a:lnTo>
                  <a:lnTo>
                    <a:pt x="6091481" y="7739704"/>
                  </a:lnTo>
                  <a:lnTo>
                    <a:pt x="6086898" y="7702555"/>
                  </a:lnTo>
                  <a:lnTo>
                    <a:pt x="6079882" y="7671124"/>
                  </a:lnTo>
                  <a:lnTo>
                    <a:pt x="6074870" y="7644210"/>
                  </a:lnTo>
                  <a:lnTo>
                    <a:pt x="6078733" y="7615502"/>
                  </a:lnTo>
                  <a:lnTo>
                    <a:pt x="6094482" y="7581921"/>
                  </a:lnTo>
                  <a:lnTo>
                    <a:pt x="6114101" y="7558370"/>
                  </a:lnTo>
                  <a:lnTo>
                    <a:pt x="6132739" y="7537524"/>
                  </a:lnTo>
                  <a:lnTo>
                    <a:pt x="6169017" y="7539205"/>
                  </a:lnTo>
                  <a:lnTo>
                    <a:pt x="6233562" y="7547620"/>
                  </a:lnTo>
                  <a:lnTo>
                    <a:pt x="6254198" y="7533890"/>
                  </a:lnTo>
                  <a:lnTo>
                    <a:pt x="6289567" y="7510300"/>
                  </a:lnTo>
                  <a:lnTo>
                    <a:pt x="6322402" y="7489639"/>
                  </a:lnTo>
                  <a:lnTo>
                    <a:pt x="6353498" y="7461801"/>
                  </a:lnTo>
                  <a:lnTo>
                    <a:pt x="6382442" y="7432882"/>
                  </a:lnTo>
                  <a:lnTo>
                    <a:pt x="6399740" y="7418275"/>
                  </a:lnTo>
                  <a:lnTo>
                    <a:pt x="6417039" y="7403660"/>
                  </a:lnTo>
                  <a:lnTo>
                    <a:pt x="6435148" y="7391697"/>
                  </a:lnTo>
                  <a:lnTo>
                    <a:pt x="6494582" y="7395681"/>
                  </a:lnTo>
                  <a:lnTo>
                    <a:pt x="6537139" y="7427383"/>
                  </a:lnTo>
                  <a:lnTo>
                    <a:pt x="6580645" y="7452278"/>
                  </a:lnTo>
                  <a:lnTo>
                    <a:pt x="6602402" y="7464723"/>
                  </a:lnTo>
                  <a:lnTo>
                    <a:pt x="6623605" y="7476066"/>
                  </a:lnTo>
                  <a:lnTo>
                    <a:pt x="6645934" y="7480841"/>
                  </a:lnTo>
                  <a:lnTo>
                    <a:pt x="6668264" y="7485616"/>
                  </a:lnTo>
                  <a:lnTo>
                    <a:pt x="6690945" y="7483835"/>
                  </a:lnTo>
                  <a:lnTo>
                    <a:pt x="6713948" y="7472683"/>
                  </a:lnTo>
                  <a:lnTo>
                    <a:pt x="6742742" y="7450141"/>
                  </a:lnTo>
                  <a:lnTo>
                    <a:pt x="6761319" y="7419046"/>
                  </a:lnTo>
                  <a:lnTo>
                    <a:pt x="6781955" y="7391071"/>
                  </a:lnTo>
                  <a:lnTo>
                    <a:pt x="6804701" y="7372269"/>
                  </a:lnTo>
                  <a:lnTo>
                    <a:pt x="6827222" y="7352742"/>
                  </a:lnTo>
                  <a:lnTo>
                    <a:pt x="6849968" y="7335298"/>
                  </a:lnTo>
                  <a:lnTo>
                    <a:pt x="6872601" y="7320321"/>
                  </a:lnTo>
                  <a:lnTo>
                    <a:pt x="6919696" y="7307289"/>
                  </a:lnTo>
                  <a:lnTo>
                    <a:pt x="6962867" y="7293137"/>
                  </a:lnTo>
                  <a:lnTo>
                    <a:pt x="7006030" y="7278977"/>
                  </a:lnTo>
                  <a:lnTo>
                    <a:pt x="7044517" y="7264231"/>
                  </a:lnTo>
                  <a:lnTo>
                    <a:pt x="7055194" y="7226185"/>
                  </a:lnTo>
                  <a:lnTo>
                    <a:pt x="7060081" y="7201038"/>
                  </a:lnTo>
                  <a:lnTo>
                    <a:pt x="7067600" y="7177515"/>
                  </a:lnTo>
                  <a:lnTo>
                    <a:pt x="7075117" y="7153991"/>
                  </a:lnTo>
                  <a:lnTo>
                    <a:pt x="7085565" y="7131640"/>
                  </a:lnTo>
                  <a:lnTo>
                    <a:pt x="7101602" y="7114949"/>
                  </a:lnTo>
                  <a:lnTo>
                    <a:pt x="7145300" y="7106580"/>
                  </a:lnTo>
                  <a:lnTo>
                    <a:pt x="7176415" y="7108150"/>
                  </a:lnTo>
                  <a:lnTo>
                    <a:pt x="7207523" y="7109719"/>
                  </a:lnTo>
                  <a:lnTo>
                    <a:pt x="7237036" y="7115417"/>
                  </a:lnTo>
                  <a:lnTo>
                    <a:pt x="7255976" y="7143947"/>
                  </a:lnTo>
                  <a:lnTo>
                    <a:pt x="7253622" y="7178412"/>
                  </a:lnTo>
                  <a:lnTo>
                    <a:pt x="7249863" y="7212883"/>
                  </a:lnTo>
                  <a:lnTo>
                    <a:pt x="7246104" y="7247355"/>
                  </a:lnTo>
                  <a:lnTo>
                    <a:pt x="7242095" y="7282380"/>
                  </a:lnTo>
                  <a:lnTo>
                    <a:pt x="7251578" y="7307295"/>
                  </a:lnTo>
                  <a:lnTo>
                    <a:pt x="7298152" y="7323038"/>
                  </a:lnTo>
                  <a:lnTo>
                    <a:pt x="7347797" y="7335298"/>
                  </a:lnTo>
                  <a:lnTo>
                    <a:pt x="7397451" y="7347564"/>
                  </a:lnTo>
                  <a:lnTo>
                    <a:pt x="7450024" y="7356105"/>
                  </a:lnTo>
                  <a:lnTo>
                    <a:pt x="7478911" y="7337593"/>
                  </a:lnTo>
                  <a:lnTo>
                    <a:pt x="7493585" y="7321857"/>
                  </a:lnTo>
                  <a:lnTo>
                    <a:pt x="7508305" y="7305377"/>
                  </a:lnTo>
                  <a:lnTo>
                    <a:pt x="7523025" y="7288890"/>
                  </a:lnTo>
                  <a:lnTo>
                    <a:pt x="7537988" y="7270786"/>
                  </a:lnTo>
                  <a:lnTo>
                    <a:pt x="7553189" y="7255051"/>
                  </a:lnTo>
                  <a:lnTo>
                    <a:pt x="7579325" y="7227992"/>
                  </a:lnTo>
                  <a:lnTo>
                    <a:pt x="7599439" y="7212883"/>
                  </a:lnTo>
                  <a:lnTo>
                    <a:pt x="7609602" y="7194430"/>
                  </a:lnTo>
                  <a:lnTo>
                    <a:pt x="7615762" y="7159834"/>
                  </a:lnTo>
                  <a:lnTo>
                    <a:pt x="7619764" y="7135050"/>
                  </a:lnTo>
                  <a:lnTo>
                    <a:pt x="7593358" y="7092335"/>
                  </a:lnTo>
                  <a:lnTo>
                    <a:pt x="7556190" y="7075669"/>
                  </a:lnTo>
                  <a:lnTo>
                    <a:pt x="7521910" y="7059182"/>
                  </a:lnTo>
                  <a:lnTo>
                    <a:pt x="7488143" y="7042128"/>
                  </a:lnTo>
                  <a:lnTo>
                    <a:pt x="7460452" y="7021828"/>
                  </a:lnTo>
                  <a:lnTo>
                    <a:pt x="7443014" y="6993893"/>
                  </a:lnTo>
                  <a:lnTo>
                    <a:pt x="7444333" y="6958036"/>
                  </a:lnTo>
                  <a:lnTo>
                    <a:pt x="7472618" y="6914768"/>
                  </a:lnTo>
                  <a:lnTo>
                    <a:pt x="7499651" y="6879695"/>
                  </a:lnTo>
                  <a:lnTo>
                    <a:pt x="7513745" y="6837468"/>
                  </a:lnTo>
                  <a:lnTo>
                    <a:pt x="7522457" y="6811306"/>
                  </a:lnTo>
                  <a:lnTo>
                    <a:pt x="7516673" y="6784439"/>
                  </a:lnTo>
                  <a:lnTo>
                    <a:pt x="7525986" y="6758573"/>
                  </a:lnTo>
                  <a:lnTo>
                    <a:pt x="7555272" y="6723930"/>
                  </a:lnTo>
                  <a:lnTo>
                    <a:pt x="7590041" y="6694497"/>
                  </a:lnTo>
                  <a:lnTo>
                    <a:pt x="7610320" y="6660639"/>
                  </a:lnTo>
                  <a:lnTo>
                    <a:pt x="7631102" y="6625911"/>
                  </a:lnTo>
                  <a:lnTo>
                    <a:pt x="7654975" y="6590443"/>
                  </a:lnTo>
                  <a:lnTo>
                    <a:pt x="7675611" y="6554547"/>
                  </a:lnTo>
                  <a:lnTo>
                    <a:pt x="7696239" y="6518651"/>
                  </a:lnTo>
                  <a:lnTo>
                    <a:pt x="7714382" y="6482240"/>
                  </a:lnTo>
                  <a:lnTo>
                    <a:pt x="7725936" y="6443007"/>
                  </a:lnTo>
                  <a:lnTo>
                    <a:pt x="7732906" y="6419378"/>
                  </a:lnTo>
                  <a:lnTo>
                    <a:pt x="7743300" y="6378892"/>
                  </a:lnTo>
                  <a:lnTo>
                    <a:pt x="7744975" y="6354596"/>
                  </a:lnTo>
                  <a:lnTo>
                    <a:pt x="7746676" y="6330050"/>
                  </a:lnTo>
                  <a:lnTo>
                    <a:pt x="7719368" y="6237834"/>
                  </a:lnTo>
                  <a:lnTo>
                    <a:pt x="7702814" y="6215859"/>
                  </a:lnTo>
                  <a:lnTo>
                    <a:pt x="7678414" y="6190350"/>
                  </a:lnTo>
                  <a:lnTo>
                    <a:pt x="7651177" y="6150834"/>
                  </a:lnTo>
                  <a:lnTo>
                    <a:pt x="7625020" y="6111079"/>
                  </a:lnTo>
                  <a:lnTo>
                    <a:pt x="7603514" y="6068958"/>
                  </a:lnTo>
                  <a:lnTo>
                    <a:pt x="7582015" y="6026836"/>
                  </a:lnTo>
                  <a:lnTo>
                    <a:pt x="7564216" y="5982861"/>
                  </a:lnTo>
                  <a:lnTo>
                    <a:pt x="7562712" y="5950619"/>
                  </a:lnTo>
                  <a:lnTo>
                    <a:pt x="7561433" y="5923171"/>
                  </a:lnTo>
                  <a:lnTo>
                    <a:pt x="7564968" y="5897859"/>
                  </a:lnTo>
                  <a:lnTo>
                    <a:pt x="7569512" y="5873089"/>
                  </a:lnTo>
                  <a:lnTo>
                    <a:pt x="7574062" y="5848319"/>
                  </a:lnTo>
                  <a:lnTo>
                    <a:pt x="7580750" y="5823640"/>
                  </a:lnTo>
                  <a:lnTo>
                    <a:pt x="7587193" y="5796918"/>
                  </a:lnTo>
                  <a:lnTo>
                    <a:pt x="7597012" y="5756220"/>
                  </a:lnTo>
                  <a:lnTo>
                    <a:pt x="7606206" y="5716117"/>
                  </a:lnTo>
                  <a:lnTo>
                    <a:pt x="7614396" y="5675856"/>
                  </a:lnTo>
                  <a:lnTo>
                    <a:pt x="7622594" y="5635600"/>
                  </a:lnTo>
                  <a:lnTo>
                    <a:pt x="7629697" y="5595575"/>
                  </a:lnTo>
                  <a:lnTo>
                    <a:pt x="7634801" y="5553441"/>
                  </a:lnTo>
                  <a:lnTo>
                    <a:pt x="7638086" y="5526329"/>
                  </a:lnTo>
                  <a:lnTo>
                    <a:pt x="7622977" y="5498156"/>
                  </a:lnTo>
                  <a:lnTo>
                    <a:pt x="7603514" y="5471828"/>
                  </a:lnTo>
                  <a:lnTo>
                    <a:pt x="7584060" y="5445495"/>
                  </a:lnTo>
                  <a:lnTo>
                    <a:pt x="7560035" y="5420395"/>
                  </a:lnTo>
                  <a:lnTo>
                    <a:pt x="7545031" y="5402457"/>
                  </a:lnTo>
                  <a:lnTo>
                    <a:pt x="7532297" y="5381373"/>
                  </a:lnTo>
                  <a:lnTo>
                    <a:pt x="7542301" y="5357566"/>
                  </a:lnTo>
                  <a:lnTo>
                    <a:pt x="7584607" y="5355218"/>
                  </a:lnTo>
                  <a:lnTo>
                    <a:pt x="7610928" y="5340372"/>
                  </a:lnTo>
                  <a:lnTo>
                    <a:pt x="7627079" y="5316420"/>
                  </a:lnTo>
                  <a:lnTo>
                    <a:pt x="7626629" y="5293641"/>
                  </a:lnTo>
                  <a:lnTo>
                    <a:pt x="7607175" y="5266041"/>
                  </a:lnTo>
                  <a:lnTo>
                    <a:pt x="7578079" y="5239622"/>
                  </a:lnTo>
                  <a:lnTo>
                    <a:pt x="7551817" y="5220187"/>
                  </a:lnTo>
                  <a:lnTo>
                    <a:pt x="7544840" y="5185023"/>
                  </a:lnTo>
                  <a:lnTo>
                    <a:pt x="7550637" y="5146535"/>
                  </a:lnTo>
                  <a:lnTo>
                    <a:pt x="7549101" y="5114094"/>
                  </a:lnTo>
                  <a:lnTo>
                    <a:pt x="7528398" y="5065846"/>
                  </a:lnTo>
                  <a:lnTo>
                    <a:pt x="7484872" y="5026554"/>
                  </a:lnTo>
                  <a:lnTo>
                    <a:pt x="7470205" y="4976716"/>
                  </a:lnTo>
                  <a:lnTo>
                    <a:pt x="7493366" y="4958805"/>
                  </a:lnTo>
                  <a:lnTo>
                    <a:pt x="7507275" y="4940642"/>
                  </a:lnTo>
                  <a:lnTo>
                    <a:pt x="7525635" y="4906685"/>
                  </a:lnTo>
                  <a:lnTo>
                    <a:pt x="7532778" y="4874700"/>
                  </a:lnTo>
                  <a:lnTo>
                    <a:pt x="7536622" y="4844778"/>
                  </a:lnTo>
                  <a:lnTo>
                    <a:pt x="7545256" y="4817568"/>
                  </a:lnTo>
                  <a:lnTo>
                    <a:pt x="7566782" y="4794447"/>
                  </a:lnTo>
                  <a:lnTo>
                    <a:pt x="7587608" y="4777155"/>
                  </a:lnTo>
                  <a:lnTo>
                    <a:pt x="7618017" y="4769102"/>
                  </a:lnTo>
                  <a:lnTo>
                    <a:pt x="7649752" y="4764519"/>
                  </a:lnTo>
                  <a:lnTo>
                    <a:pt x="7681499" y="4759942"/>
                  </a:lnTo>
                  <a:lnTo>
                    <a:pt x="7713677" y="4759052"/>
                  </a:lnTo>
                  <a:lnTo>
                    <a:pt x="7738170" y="4752279"/>
                  </a:lnTo>
                  <a:lnTo>
                    <a:pt x="7779038" y="4740995"/>
                  </a:lnTo>
                  <a:lnTo>
                    <a:pt x="7826093" y="4701485"/>
                  </a:lnTo>
                  <a:lnTo>
                    <a:pt x="7864666" y="4682913"/>
                  </a:lnTo>
                  <a:lnTo>
                    <a:pt x="7881735" y="4668906"/>
                  </a:lnTo>
                  <a:lnTo>
                    <a:pt x="7878800" y="4594245"/>
                  </a:lnTo>
                  <a:lnTo>
                    <a:pt x="7893228" y="4561851"/>
                  </a:lnTo>
                  <a:lnTo>
                    <a:pt x="7992305" y="4458957"/>
                  </a:lnTo>
                  <a:lnTo>
                    <a:pt x="8007485" y="4442153"/>
                  </a:lnTo>
                  <a:lnTo>
                    <a:pt x="8023352" y="4424617"/>
                  </a:lnTo>
                  <a:lnTo>
                    <a:pt x="8022363" y="4380089"/>
                  </a:lnTo>
                  <a:lnTo>
                    <a:pt x="8022450" y="4330621"/>
                  </a:lnTo>
                  <a:lnTo>
                    <a:pt x="8022515" y="4281145"/>
                  </a:lnTo>
                  <a:lnTo>
                    <a:pt x="8023273" y="4226242"/>
                  </a:lnTo>
                  <a:lnTo>
                    <a:pt x="8040137" y="4190518"/>
                  </a:lnTo>
                  <a:lnTo>
                    <a:pt x="8053228" y="4162780"/>
                  </a:lnTo>
                  <a:lnTo>
                    <a:pt x="8072788" y="4143635"/>
                  </a:lnTo>
                  <a:lnTo>
                    <a:pt x="8093179" y="4123870"/>
                  </a:lnTo>
                  <a:lnTo>
                    <a:pt x="8113572" y="4104105"/>
                  </a:lnTo>
                  <a:lnTo>
                    <a:pt x="8134603" y="4084637"/>
                  </a:lnTo>
                  <a:lnTo>
                    <a:pt x="8148946" y="4058581"/>
                  </a:lnTo>
                  <a:lnTo>
                    <a:pt x="8158285" y="4017290"/>
                  </a:lnTo>
                  <a:lnTo>
                    <a:pt x="8161193" y="3990569"/>
                  </a:lnTo>
                  <a:lnTo>
                    <a:pt x="8164094" y="3963848"/>
                  </a:lnTo>
                  <a:lnTo>
                    <a:pt x="8170043" y="3934481"/>
                  </a:lnTo>
                  <a:lnTo>
                    <a:pt x="8188396" y="3911678"/>
                  </a:lnTo>
                  <a:lnTo>
                    <a:pt x="8203400" y="3893033"/>
                  </a:lnTo>
                  <a:lnTo>
                    <a:pt x="8237364" y="3872232"/>
                  </a:lnTo>
                  <a:lnTo>
                    <a:pt x="8271005" y="3853859"/>
                  </a:lnTo>
                  <a:lnTo>
                    <a:pt x="8304375" y="3836196"/>
                  </a:lnTo>
                  <a:lnTo>
                    <a:pt x="8333933" y="3811022"/>
                  </a:lnTo>
                  <a:lnTo>
                    <a:pt x="8347861" y="3795217"/>
                  </a:lnTo>
                  <a:lnTo>
                    <a:pt x="8360536" y="3773713"/>
                  </a:lnTo>
                  <a:lnTo>
                    <a:pt x="8369302" y="3743012"/>
                  </a:lnTo>
                  <a:lnTo>
                    <a:pt x="8381351" y="3700815"/>
                  </a:lnTo>
                  <a:lnTo>
                    <a:pt x="8380526" y="3662609"/>
                  </a:lnTo>
                  <a:lnTo>
                    <a:pt x="8372019" y="3626035"/>
                  </a:lnTo>
                  <a:lnTo>
                    <a:pt x="8363518" y="3589462"/>
                  </a:lnTo>
                  <a:lnTo>
                    <a:pt x="8347044" y="3554967"/>
                  </a:lnTo>
                  <a:lnTo>
                    <a:pt x="8327134" y="3518580"/>
                  </a:lnTo>
                  <a:lnTo>
                    <a:pt x="8297991" y="3465321"/>
                  </a:lnTo>
                  <a:lnTo>
                    <a:pt x="8253661" y="3404514"/>
                  </a:lnTo>
                  <a:lnTo>
                    <a:pt x="8237358" y="3345834"/>
                  </a:lnTo>
                  <a:lnTo>
                    <a:pt x="8310521" y="3302287"/>
                  </a:lnTo>
                  <a:lnTo>
                    <a:pt x="8358499" y="3304296"/>
                  </a:lnTo>
                  <a:lnTo>
                    <a:pt x="8401940" y="3298228"/>
                  </a:lnTo>
                  <a:lnTo>
                    <a:pt x="8423663" y="3295194"/>
                  </a:lnTo>
                  <a:lnTo>
                    <a:pt x="8444661" y="3290546"/>
                  </a:lnTo>
                  <a:lnTo>
                    <a:pt x="8465871" y="3279185"/>
                  </a:lnTo>
                  <a:lnTo>
                    <a:pt x="8487087" y="3267824"/>
                  </a:lnTo>
                  <a:lnTo>
                    <a:pt x="8508785" y="3249461"/>
                  </a:lnTo>
                  <a:lnTo>
                    <a:pt x="8532520" y="3220697"/>
                  </a:lnTo>
                  <a:lnTo>
                    <a:pt x="8549204" y="3200482"/>
                  </a:lnTo>
                  <a:lnTo>
                    <a:pt x="8569246" y="3163568"/>
                  </a:lnTo>
                  <a:lnTo>
                    <a:pt x="8578176" y="3138065"/>
                  </a:lnTo>
                  <a:lnTo>
                    <a:pt x="8588972" y="3110945"/>
                  </a:lnTo>
                  <a:lnTo>
                    <a:pt x="8580128" y="3083316"/>
                  </a:lnTo>
                  <a:lnTo>
                    <a:pt x="8569595" y="3058747"/>
                  </a:lnTo>
                  <a:lnTo>
                    <a:pt x="8546830" y="3042245"/>
                  </a:lnTo>
                  <a:lnTo>
                    <a:pt x="8524360" y="3026188"/>
                  </a:lnTo>
                  <a:lnTo>
                    <a:pt x="8501892" y="3010131"/>
                  </a:lnTo>
                  <a:lnTo>
                    <a:pt x="8479555" y="2994117"/>
                  </a:lnTo>
                  <a:lnTo>
                    <a:pt x="8469953" y="2969060"/>
                  </a:lnTo>
                  <a:lnTo>
                    <a:pt x="8474477" y="2925682"/>
                  </a:lnTo>
                  <a:lnTo>
                    <a:pt x="8495139" y="2887809"/>
                  </a:lnTo>
                  <a:lnTo>
                    <a:pt x="8503957" y="2845282"/>
                  </a:lnTo>
                  <a:lnTo>
                    <a:pt x="8509865" y="2816823"/>
                  </a:lnTo>
                  <a:lnTo>
                    <a:pt x="8519091" y="2785135"/>
                  </a:lnTo>
                  <a:lnTo>
                    <a:pt x="8523002" y="2756869"/>
                  </a:lnTo>
                  <a:lnTo>
                    <a:pt x="8527104" y="2727242"/>
                  </a:lnTo>
                  <a:lnTo>
                    <a:pt x="8524044" y="2696637"/>
                  </a:lnTo>
                  <a:lnTo>
                    <a:pt x="8528436" y="2667095"/>
                  </a:lnTo>
                  <a:lnTo>
                    <a:pt x="8540722" y="2629093"/>
                  </a:lnTo>
                  <a:lnTo>
                    <a:pt x="8561913" y="2607692"/>
                  </a:lnTo>
                  <a:lnTo>
                    <a:pt x="8594524" y="2608628"/>
                  </a:lnTo>
                  <a:lnTo>
                    <a:pt x="8617421" y="2624910"/>
                  </a:lnTo>
                  <a:lnTo>
                    <a:pt x="8637259" y="2649413"/>
                  </a:lnTo>
                  <a:lnTo>
                    <a:pt x="8656061" y="2675528"/>
                  </a:lnTo>
                  <a:lnTo>
                    <a:pt x="8668803" y="2708072"/>
                  </a:lnTo>
                  <a:lnTo>
                    <a:pt x="8682110" y="2749355"/>
                  </a:lnTo>
                  <a:lnTo>
                    <a:pt x="8724021" y="2787450"/>
                  </a:lnTo>
                  <a:lnTo>
                    <a:pt x="8767839" y="2822158"/>
                  </a:lnTo>
                  <a:lnTo>
                    <a:pt x="8811648" y="2856867"/>
                  </a:lnTo>
                  <a:lnTo>
                    <a:pt x="8858115" y="2887597"/>
                  </a:lnTo>
                  <a:lnTo>
                    <a:pt x="8883453" y="2895609"/>
                  </a:lnTo>
                  <a:lnTo>
                    <a:pt x="8905824" y="2856173"/>
                  </a:lnTo>
                  <a:lnTo>
                    <a:pt x="8904861" y="2831962"/>
                  </a:lnTo>
                  <a:lnTo>
                    <a:pt x="8894691" y="2793311"/>
                  </a:lnTo>
                  <a:lnTo>
                    <a:pt x="8872572" y="2765030"/>
                  </a:lnTo>
                  <a:lnTo>
                    <a:pt x="8847531" y="2738753"/>
                  </a:lnTo>
                  <a:lnTo>
                    <a:pt x="8811352" y="2718156"/>
                  </a:lnTo>
                  <a:lnTo>
                    <a:pt x="8778720" y="2673896"/>
                  </a:lnTo>
                  <a:lnTo>
                    <a:pt x="8785684" y="2609024"/>
                  </a:lnTo>
                  <a:lnTo>
                    <a:pt x="8799117" y="2561000"/>
                  </a:lnTo>
                  <a:lnTo>
                    <a:pt x="8812558" y="2512976"/>
                  </a:lnTo>
                  <a:lnTo>
                    <a:pt x="8829309" y="2466062"/>
                  </a:lnTo>
                  <a:lnTo>
                    <a:pt x="8867916" y="2431228"/>
                  </a:lnTo>
                  <a:lnTo>
                    <a:pt x="8892950" y="2433226"/>
                  </a:lnTo>
                  <a:lnTo>
                    <a:pt x="8922897" y="2420899"/>
                  </a:lnTo>
                  <a:lnTo>
                    <a:pt x="8977305" y="2393695"/>
                  </a:lnTo>
                  <a:lnTo>
                    <a:pt x="9003151" y="2378733"/>
                  </a:lnTo>
                  <a:lnTo>
                    <a:pt x="9025593" y="2371549"/>
                  </a:lnTo>
                  <a:lnTo>
                    <a:pt x="9063402" y="2372149"/>
                  </a:lnTo>
                  <a:lnTo>
                    <a:pt x="9087480" y="2369212"/>
                  </a:lnTo>
                  <a:lnTo>
                    <a:pt x="9110424" y="2366413"/>
                  </a:lnTo>
                  <a:lnTo>
                    <a:pt x="9131449" y="2357180"/>
                  </a:lnTo>
                  <a:lnTo>
                    <a:pt x="9148687" y="2344728"/>
                  </a:lnTo>
                  <a:lnTo>
                    <a:pt x="9165419" y="2326117"/>
                  </a:lnTo>
                  <a:lnTo>
                    <a:pt x="9209802" y="2224812"/>
                  </a:lnTo>
                  <a:lnTo>
                    <a:pt x="9241926" y="2134322"/>
                  </a:lnTo>
                  <a:lnTo>
                    <a:pt x="9273833" y="2044124"/>
                  </a:lnTo>
                  <a:lnTo>
                    <a:pt x="9287497" y="2005529"/>
                  </a:lnTo>
                  <a:lnTo>
                    <a:pt x="9352528" y="1972353"/>
                  </a:lnTo>
                  <a:lnTo>
                    <a:pt x="9341839" y="1886341"/>
                  </a:lnTo>
                  <a:lnTo>
                    <a:pt x="9324264" y="1744711"/>
                  </a:lnTo>
                  <a:lnTo>
                    <a:pt x="9095750" y="1789236"/>
                  </a:lnTo>
                  <a:lnTo>
                    <a:pt x="9004509" y="1761203"/>
                  </a:lnTo>
                  <a:lnTo>
                    <a:pt x="8940347" y="1741501"/>
                  </a:lnTo>
                  <a:lnTo>
                    <a:pt x="8886236" y="1696487"/>
                  </a:lnTo>
                  <a:lnTo>
                    <a:pt x="8822246" y="1678231"/>
                  </a:lnTo>
                  <a:lnTo>
                    <a:pt x="8754318" y="1658869"/>
                  </a:lnTo>
                  <a:lnTo>
                    <a:pt x="8655025" y="1681931"/>
                  </a:lnTo>
                  <a:lnTo>
                    <a:pt x="8600533" y="1630624"/>
                  </a:lnTo>
                  <a:lnTo>
                    <a:pt x="8576046" y="1626546"/>
                  </a:lnTo>
                  <a:lnTo>
                    <a:pt x="8541660" y="1623081"/>
                  </a:lnTo>
                  <a:lnTo>
                    <a:pt x="8465362" y="1610287"/>
                  </a:lnTo>
                  <a:lnTo>
                    <a:pt x="8440026" y="1630624"/>
                  </a:lnTo>
                  <a:lnTo>
                    <a:pt x="8432375" y="1671387"/>
                  </a:lnTo>
                  <a:lnTo>
                    <a:pt x="8440618" y="1733999"/>
                  </a:lnTo>
                  <a:lnTo>
                    <a:pt x="8401940" y="1761203"/>
                  </a:lnTo>
                  <a:lnTo>
                    <a:pt x="8364065" y="1787854"/>
                  </a:lnTo>
                  <a:lnTo>
                    <a:pt x="8177020" y="1807173"/>
                  </a:lnTo>
                  <a:lnTo>
                    <a:pt x="8132623" y="1795208"/>
                  </a:lnTo>
                  <a:lnTo>
                    <a:pt x="8095876" y="1785304"/>
                  </a:lnTo>
                  <a:lnTo>
                    <a:pt x="8069458" y="1763392"/>
                  </a:lnTo>
                  <a:lnTo>
                    <a:pt x="8029248" y="1761203"/>
                  </a:lnTo>
                  <a:lnTo>
                    <a:pt x="7937883" y="1756230"/>
                  </a:lnTo>
                  <a:lnTo>
                    <a:pt x="7808260" y="1856162"/>
                  </a:lnTo>
                  <a:lnTo>
                    <a:pt x="7743603" y="1770724"/>
                  </a:lnTo>
                  <a:lnTo>
                    <a:pt x="7720825" y="1707114"/>
                  </a:lnTo>
                  <a:lnTo>
                    <a:pt x="7869487" y="1608266"/>
                  </a:lnTo>
                  <a:lnTo>
                    <a:pt x="7833379" y="1498684"/>
                  </a:lnTo>
                  <a:lnTo>
                    <a:pt x="7796594" y="1387063"/>
                  </a:lnTo>
                  <a:lnTo>
                    <a:pt x="7548651" y="1522956"/>
                  </a:lnTo>
                  <a:lnTo>
                    <a:pt x="7487886" y="1415712"/>
                  </a:lnTo>
                  <a:lnTo>
                    <a:pt x="7467614" y="1379965"/>
                  </a:lnTo>
                  <a:lnTo>
                    <a:pt x="7505297" y="1193171"/>
                  </a:lnTo>
                  <a:lnTo>
                    <a:pt x="7508291" y="1145032"/>
                  </a:lnTo>
                  <a:lnTo>
                    <a:pt x="7510520" y="1109030"/>
                  </a:lnTo>
                  <a:lnTo>
                    <a:pt x="7511008" y="1069478"/>
                  </a:lnTo>
                  <a:lnTo>
                    <a:pt x="7511008" y="1033496"/>
                  </a:lnTo>
                  <a:lnTo>
                    <a:pt x="7496558" y="978281"/>
                  </a:lnTo>
                  <a:lnTo>
                    <a:pt x="7458196" y="918007"/>
                  </a:lnTo>
                  <a:lnTo>
                    <a:pt x="7249936" y="907699"/>
                  </a:lnTo>
                  <a:lnTo>
                    <a:pt x="7195442" y="901557"/>
                  </a:lnTo>
                  <a:lnTo>
                    <a:pt x="7153723" y="896882"/>
                  </a:lnTo>
                  <a:lnTo>
                    <a:pt x="7112109" y="887890"/>
                  </a:lnTo>
                  <a:lnTo>
                    <a:pt x="7070303" y="885235"/>
                  </a:lnTo>
                  <a:lnTo>
                    <a:pt x="7016087" y="881792"/>
                  </a:lnTo>
                  <a:lnTo>
                    <a:pt x="6900729" y="889061"/>
                  </a:lnTo>
                  <a:lnTo>
                    <a:pt x="6847230" y="898837"/>
                  </a:lnTo>
                  <a:lnTo>
                    <a:pt x="6756585" y="915393"/>
                  </a:lnTo>
                  <a:lnTo>
                    <a:pt x="6704392" y="1002212"/>
                  </a:lnTo>
                  <a:lnTo>
                    <a:pt x="6605119" y="1002212"/>
                  </a:lnTo>
                  <a:lnTo>
                    <a:pt x="6462999" y="1002212"/>
                  </a:lnTo>
                  <a:lnTo>
                    <a:pt x="6130491" y="866511"/>
                  </a:lnTo>
                  <a:lnTo>
                    <a:pt x="5988951" y="807703"/>
                  </a:lnTo>
                  <a:lnTo>
                    <a:pt x="5954855" y="793549"/>
                  </a:lnTo>
                  <a:lnTo>
                    <a:pt x="5918662" y="771956"/>
                  </a:lnTo>
                  <a:lnTo>
                    <a:pt x="5885568" y="754656"/>
                  </a:lnTo>
                  <a:lnTo>
                    <a:pt x="5825680" y="723350"/>
                  </a:lnTo>
                  <a:lnTo>
                    <a:pt x="5760430" y="699143"/>
                  </a:lnTo>
                  <a:lnTo>
                    <a:pt x="5693783" y="679845"/>
                  </a:lnTo>
                  <a:lnTo>
                    <a:pt x="5650044" y="663416"/>
                  </a:lnTo>
                  <a:lnTo>
                    <a:pt x="5604013" y="638890"/>
                  </a:lnTo>
                  <a:lnTo>
                    <a:pt x="5559121" y="626797"/>
                  </a:lnTo>
                  <a:lnTo>
                    <a:pt x="5430817" y="592218"/>
                  </a:lnTo>
                  <a:lnTo>
                    <a:pt x="5176188" y="670323"/>
                  </a:lnTo>
                  <a:lnTo>
                    <a:pt x="5030005" y="670323"/>
                  </a:lnTo>
                  <a:lnTo>
                    <a:pt x="4968435" y="670323"/>
                  </a:lnTo>
                  <a:lnTo>
                    <a:pt x="4899934" y="672957"/>
                  </a:lnTo>
                  <a:lnTo>
                    <a:pt x="4840943" y="655362"/>
                  </a:lnTo>
                  <a:lnTo>
                    <a:pt x="4801050" y="613535"/>
                  </a:lnTo>
                  <a:lnTo>
                    <a:pt x="4821086" y="500193"/>
                  </a:lnTo>
                  <a:lnTo>
                    <a:pt x="4828696" y="445891"/>
                  </a:lnTo>
                  <a:lnTo>
                    <a:pt x="4808634" y="418772"/>
                  </a:lnTo>
                  <a:lnTo>
                    <a:pt x="4516572" y="426062"/>
                  </a:lnTo>
                  <a:lnTo>
                    <a:pt x="4469603" y="430929"/>
                  </a:lnTo>
                  <a:lnTo>
                    <a:pt x="4414219" y="436667"/>
                  </a:lnTo>
                  <a:lnTo>
                    <a:pt x="4355010" y="456006"/>
                  </a:lnTo>
                  <a:lnTo>
                    <a:pt x="4299580" y="454052"/>
                  </a:lnTo>
                  <a:lnTo>
                    <a:pt x="4258560" y="452607"/>
                  </a:lnTo>
                  <a:lnTo>
                    <a:pt x="4210997" y="427953"/>
                  </a:lnTo>
                  <a:lnTo>
                    <a:pt x="4170360" y="420047"/>
                  </a:lnTo>
                  <a:lnTo>
                    <a:pt x="4072939" y="401174"/>
                  </a:lnTo>
                  <a:lnTo>
                    <a:pt x="3977618" y="452820"/>
                  </a:lnTo>
                  <a:lnTo>
                    <a:pt x="3877915" y="394204"/>
                  </a:lnTo>
                  <a:lnTo>
                    <a:pt x="3847421" y="376266"/>
                  </a:lnTo>
                  <a:lnTo>
                    <a:pt x="3790612" y="330423"/>
                  </a:lnTo>
                  <a:lnTo>
                    <a:pt x="3770465" y="301710"/>
                  </a:lnTo>
                  <a:lnTo>
                    <a:pt x="3754650" y="269766"/>
                  </a:lnTo>
                  <a:lnTo>
                    <a:pt x="3727532" y="231149"/>
                  </a:lnTo>
                  <a:lnTo>
                    <a:pt x="3701199" y="212850"/>
                  </a:lnTo>
                  <a:lnTo>
                    <a:pt x="3683412" y="188813"/>
                  </a:lnTo>
                  <a:lnTo>
                    <a:pt x="3671548" y="153852"/>
                  </a:lnTo>
                  <a:lnTo>
                    <a:pt x="3656498" y="136956"/>
                  </a:lnTo>
                  <a:lnTo>
                    <a:pt x="3633298" y="124246"/>
                  </a:lnTo>
                  <a:lnTo>
                    <a:pt x="3612167" y="116511"/>
                  </a:lnTo>
                  <a:lnTo>
                    <a:pt x="3581395" y="118082"/>
                  </a:lnTo>
                  <a:lnTo>
                    <a:pt x="3545519" y="131302"/>
                  </a:lnTo>
                  <a:lnTo>
                    <a:pt x="3480230" y="151811"/>
                  </a:lnTo>
                  <a:lnTo>
                    <a:pt x="3332477" y="156041"/>
                  </a:lnTo>
                  <a:lnTo>
                    <a:pt x="3278070" y="149367"/>
                  </a:lnTo>
                  <a:lnTo>
                    <a:pt x="3221452" y="145924"/>
                  </a:lnTo>
                  <a:lnTo>
                    <a:pt x="3166728" y="136828"/>
                  </a:lnTo>
                  <a:lnTo>
                    <a:pt x="3110764" y="130324"/>
                  </a:lnTo>
                  <a:lnTo>
                    <a:pt x="3089191" y="132025"/>
                  </a:lnTo>
                  <a:lnTo>
                    <a:pt x="3035469" y="122546"/>
                  </a:lnTo>
                  <a:lnTo>
                    <a:pt x="2989813" y="107137"/>
                  </a:lnTo>
                  <a:lnTo>
                    <a:pt x="2946182" y="99039"/>
                  </a:lnTo>
                  <a:lnTo>
                    <a:pt x="2913430" y="92961"/>
                  </a:lnTo>
                  <a:lnTo>
                    <a:pt x="2878339" y="96851"/>
                  </a:lnTo>
                  <a:lnTo>
                    <a:pt x="2845529" y="88158"/>
                  </a:lnTo>
                  <a:lnTo>
                    <a:pt x="2735435" y="59020"/>
                  </a:lnTo>
                  <a:lnTo>
                    <a:pt x="2698133" y="25695"/>
                  </a:lnTo>
                  <a:lnTo>
                    <a:pt x="2570766" y="10627"/>
                  </a:lnTo>
                  <a:lnTo>
                    <a:pt x="2547302" y="7843"/>
                  </a:lnTo>
                  <a:lnTo>
                    <a:pt x="2520994" y="0"/>
                  </a:lnTo>
                  <a:lnTo>
                    <a:pt x="2497319" y="2466"/>
                  </a:lnTo>
                  <a:close/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95" name="Zhytomyr¬0" descr="Zhytomyr¬0">
              <a:extLst>
                <a:ext uri="{FF2B5EF4-FFF2-40B4-BE49-F238E27FC236}">
                  <a16:creationId xmlns:a16="http://schemas.microsoft.com/office/drawing/2014/main" id="{DBA1DEF2-5F8D-4D2E-8F3A-0F12A9DCE9B1}"/>
                </a:ext>
              </a:extLst>
            </p:cNvPr>
            <p:cNvSpPr/>
            <p:nvPr/>
          </p:nvSpPr>
          <p:spPr>
            <a:xfrm>
              <a:off x="2607352" y="1507563"/>
              <a:ext cx="877423" cy="943753"/>
            </a:xfrm>
            <a:custGeom>
              <a:avLst/>
              <a:gdLst/>
              <a:ahLst/>
              <a:cxnLst/>
              <a:rect l="0" t="0" r="0" b="0"/>
              <a:pathLst>
                <a:path w="8953623" h="10932180">
                  <a:moveTo>
                    <a:pt x="3647014" y="0"/>
                  </a:moveTo>
                  <a:lnTo>
                    <a:pt x="3540790" y="46501"/>
                  </a:lnTo>
                  <a:lnTo>
                    <a:pt x="3473503" y="134660"/>
                  </a:lnTo>
                  <a:lnTo>
                    <a:pt x="3444900" y="172129"/>
                  </a:lnTo>
                  <a:lnTo>
                    <a:pt x="3421179" y="226877"/>
                  </a:lnTo>
                  <a:lnTo>
                    <a:pt x="3400054" y="269320"/>
                  </a:lnTo>
                  <a:lnTo>
                    <a:pt x="3374526" y="320518"/>
                  </a:lnTo>
                  <a:lnTo>
                    <a:pt x="3360097" y="382853"/>
                  </a:lnTo>
                  <a:lnTo>
                    <a:pt x="3321160" y="425742"/>
                  </a:lnTo>
                  <a:lnTo>
                    <a:pt x="3302504" y="446294"/>
                  </a:lnTo>
                  <a:lnTo>
                    <a:pt x="3241652" y="480001"/>
                  </a:lnTo>
                  <a:lnTo>
                    <a:pt x="3215069" y="489671"/>
                  </a:lnTo>
                  <a:lnTo>
                    <a:pt x="3137577" y="517896"/>
                  </a:lnTo>
                  <a:lnTo>
                    <a:pt x="3062363" y="508714"/>
                  </a:lnTo>
                  <a:lnTo>
                    <a:pt x="2982472" y="508714"/>
                  </a:lnTo>
                  <a:lnTo>
                    <a:pt x="2935734" y="508714"/>
                  </a:lnTo>
                  <a:lnTo>
                    <a:pt x="2896336" y="522423"/>
                  </a:lnTo>
                  <a:lnTo>
                    <a:pt x="2843735" y="516875"/>
                  </a:lnTo>
                  <a:lnTo>
                    <a:pt x="2817679" y="510138"/>
                  </a:lnTo>
                  <a:lnTo>
                    <a:pt x="2786690" y="501850"/>
                  </a:lnTo>
                  <a:lnTo>
                    <a:pt x="2762116" y="491032"/>
                  </a:lnTo>
                  <a:lnTo>
                    <a:pt x="2737530" y="480192"/>
                  </a:lnTo>
                  <a:lnTo>
                    <a:pt x="2717060" y="463743"/>
                  </a:lnTo>
                  <a:lnTo>
                    <a:pt x="2691394" y="452946"/>
                  </a:lnTo>
                  <a:lnTo>
                    <a:pt x="2630588" y="421024"/>
                  </a:lnTo>
                  <a:lnTo>
                    <a:pt x="2554418" y="329890"/>
                  </a:lnTo>
                  <a:lnTo>
                    <a:pt x="2503683" y="280201"/>
                  </a:lnTo>
                  <a:lnTo>
                    <a:pt x="2484471" y="261392"/>
                  </a:lnTo>
                  <a:lnTo>
                    <a:pt x="2469382" y="229916"/>
                  </a:lnTo>
                  <a:lnTo>
                    <a:pt x="2445192" y="216272"/>
                  </a:lnTo>
                  <a:lnTo>
                    <a:pt x="2374356" y="191108"/>
                  </a:lnTo>
                  <a:lnTo>
                    <a:pt x="2342648" y="208408"/>
                  </a:lnTo>
                  <a:lnTo>
                    <a:pt x="2313254" y="225792"/>
                  </a:lnTo>
                  <a:lnTo>
                    <a:pt x="2255253" y="267024"/>
                  </a:lnTo>
                  <a:lnTo>
                    <a:pt x="2179022" y="353163"/>
                  </a:lnTo>
                  <a:lnTo>
                    <a:pt x="2182676" y="428463"/>
                  </a:lnTo>
                  <a:lnTo>
                    <a:pt x="2184119" y="458451"/>
                  </a:lnTo>
                  <a:lnTo>
                    <a:pt x="2200442" y="489204"/>
                  </a:lnTo>
                  <a:lnTo>
                    <a:pt x="2207163" y="518236"/>
                  </a:lnTo>
                  <a:lnTo>
                    <a:pt x="2212834" y="542762"/>
                  </a:lnTo>
                  <a:lnTo>
                    <a:pt x="2217082" y="665669"/>
                  </a:lnTo>
                  <a:lnTo>
                    <a:pt x="2208521" y="686900"/>
                  </a:lnTo>
                  <a:lnTo>
                    <a:pt x="2188862" y="717802"/>
                  </a:lnTo>
                  <a:lnTo>
                    <a:pt x="2144122" y="766918"/>
                  </a:lnTo>
                  <a:lnTo>
                    <a:pt x="2117999" y="806279"/>
                  </a:lnTo>
                  <a:lnTo>
                    <a:pt x="2091540" y="850124"/>
                  </a:lnTo>
                  <a:lnTo>
                    <a:pt x="2069737" y="886276"/>
                  </a:lnTo>
                  <a:lnTo>
                    <a:pt x="2030459" y="912205"/>
                  </a:lnTo>
                  <a:lnTo>
                    <a:pt x="2008570" y="946698"/>
                  </a:lnTo>
                  <a:lnTo>
                    <a:pt x="1994246" y="969269"/>
                  </a:lnTo>
                  <a:lnTo>
                    <a:pt x="1995816" y="996431"/>
                  </a:lnTo>
                  <a:lnTo>
                    <a:pt x="1978642" y="1020149"/>
                  </a:lnTo>
                  <a:lnTo>
                    <a:pt x="1934179" y="1025399"/>
                  </a:lnTo>
                  <a:lnTo>
                    <a:pt x="1883728" y="970672"/>
                  </a:lnTo>
                  <a:lnTo>
                    <a:pt x="1857586" y="953499"/>
                  </a:lnTo>
                  <a:lnTo>
                    <a:pt x="1828575" y="934435"/>
                  </a:lnTo>
                  <a:lnTo>
                    <a:pt x="1742842" y="901068"/>
                  </a:lnTo>
                  <a:lnTo>
                    <a:pt x="1727008" y="875967"/>
                  </a:lnTo>
                  <a:lnTo>
                    <a:pt x="1735165" y="851485"/>
                  </a:lnTo>
                  <a:lnTo>
                    <a:pt x="1712782" y="876946"/>
                  </a:lnTo>
                  <a:lnTo>
                    <a:pt x="1689357" y="893860"/>
                  </a:lnTo>
                  <a:lnTo>
                    <a:pt x="1668338" y="903094"/>
                  </a:lnTo>
                  <a:lnTo>
                    <a:pt x="1645395" y="905892"/>
                  </a:lnTo>
                  <a:lnTo>
                    <a:pt x="1621318" y="908831"/>
                  </a:lnTo>
                  <a:lnTo>
                    <a:pt x="1583509" y="908230"/>
                  </a:lnTo>
                  <a:lnTo>
                    <a:pt x="1561066" y="915413"/>
                  </a:lnTo>
                  <a:lnTo>
                    <a:pt x="1535221" y="930376"/>
                  </a:lnTo>
                  <a:lnTo>
                    <a:pt x="1480813" y="957580"/>
                  </a:lnTo>
                  <a:lnTo>
                    <a:pt x="1450865" y="969907"/>
                  </a:lnTo>
                  <a:lnTo>
                    <a:pt x="1425831" y="967908"/>
                  </a:lnTo>
                  <a:lnTo>
                    <a:pt x="1396477" y="990225"/>
                  </a:lnTo>
                  <a:lnTo>
                    <a:pt x="1370473" y="1049656"/>
                  </a:lnTo>
                  <a:lnTo>
                    <a:pt x="1357033" y="1097680"/>
                  </a:lnTo>
                  <a:lnTo>
                    <a:pt x="1343592" y="1145704"/>
                  </a:lnTo>
                  <a:lnTo>
                    <a:pt x="1332994" y="1194775"/>
                  </a:lnTo>
                  <a:lnTo>
                    <a:pt x="1369267" y="1254836"/>
                  </a:lnTo>
                  <a:lnTo>
                    <a:pt x="1405446" y="1275433"/>
                  </a:lnTo>
                  <a:lnTo>
                    <a:pt x="1430480" y="1301710"/>
                  </a:lnTo>
                  <a:lnTo>
                    <a:pt x="1452606" y="1329992"/>
                  </a:lnTo>
                  <a:lnTo>
                    <a:pt x="1462769" y="1368642"/>
                  </a:lnTo>
                  <a:lnTo>
                    <a:pt x="1463738" y="1392854"/>
                  </a:lnTo>
                  <a:lnTo>
                    <a:pt x="1457684" y="1425489"/>
                  </a:lnTo>
                  <a:lnTo>
                    <a:pt x="1416031" y="1424276"/>
                  </a:lnTo>
                  <a:lnTo>
                    <a:pt x="1369557" y="1393547"/>
                  </a:lnTo>
                  <a:lnTo>
                    <a:pt x="1325747" y="1358838"/>
                  </a:lnTo>
                  <a:lnTo>
                    <a:pt x="1281937" y="1324130"/>
                  </a:lnTo>
                  <a:lnTo>
                    <a:pt x="1240026" y="1286036"/>
                  </a:lnTo>
                  <a:lnTo>
                    <a:pt x="1226454" y="1264984"/>
                  </a:lnTo>
                  <a:lnTo>
                    <a:pt x="1213977" y="1212207"/>
                  </a:lnTo>
                  <a:lnTo>
                    <a:pt x="1195167" y="1186093"/>
                  </a:lnTo>
                  <a:lnTo>
                    <a:pt x="1175330" y="1161590"/>
                  </a:lnTo>
                  <a:lnTo>
                    <a:pt x="1152433" y="1145307"/>
                  </a:lnTo>
                  <a:lnTo>
                    <a:pt x="1128520" y="1142567"/>
                  </a:lnTo>
                  <a:lnTo>
                    <a:pt x="1103802" y="1154788"/>
                  </a:lnTo>
                  <a:lnTo>
                    <a:pt x="1086701" y="1201269"/>
                  </a:lnTo>
                  <a:lnTo>
                    <a:pt x="1081952" y="1233318"/>
                  </a:lnTo>
                  <a:lnTo>
                    <a:pt x="1085013" y="1263923"/>
                  </a:lnTo>
                  <a:lnTo>
                    <a:pt x="1080911" y="1293549"/>
                  </a:lnTo>
                  <a:lnTo>
                    <a:pt x="1077001" y="1321816"/>
                  </a:lnTo>
                  <a:lnTo>
                    <a:pt x="1067781" y="1353504"/>
                  </a:lnTo>
                  <a:lnTo>
                    <a:pt x="1061871" y="1381961"/>
                  </a:lnTo>
                  <a:lnTo>
                    <a:pt x="1053047" y="1424489"/>
                  </a:lnTo>
                  <a:lnTo>
                    <a:pt x="1032393" y="1462362"/>
                  </a:lnTo>
                  <a:lnTo>
                    <a:pt x="1027869" y="1505740"/>
                  </a:lnTo>
                  <a:lnTo>
                    <a:pt x="1037470" y="1530797"/>
                  </a:lnTo>
                  <a:lnTo>
                    <a:pt x="1059808" y="1546812"/>
                  </a:lnTo>
                  <a:lnTo>
                    <a:pt x="1082270" y="1562868"/>
                  </a:lnTo>
                  <a:lnTo>
                    <a:pt x="1104739" y="1578926"/>
                  </a:lnTo>
                  <a:lnTo>
                    <a:pt x="1127511" y="1595428"/>
                  </a:lnTo>
                  <a:lnTo>
                    <a:pt x="1138042" y="1619997"/>
                  </a:lnTo>
                  <a:lnTo>
                    <a:pt x="1146880" y="1647626"/>
                  </a:lnTo>
                  <a:lnTo>
                    <a:pt x="1136090" y="1674744"/>
                  </a:lnTo>
                  <a:lnTo>
                    <a:pt x="1127160" y="1700249"/>
                  </a:lnTo>
                  <a:lnTo>
                    <a:pt x="1118423" y="1725263"/>
                  </a:lnTo>
                  <a:lnTo>
                    <a:pt x="1090434" y="1757377"/>
                  </a:lnTo>
                  <a:lnTo>
                    <a:pt x="1066699" y="1786141"/>
                  </a:lnTo>
                  <a:lnTo>
                    <a:pt x="1044995" y="1804504"/>
                  </a:lnTo>
                  <a:lnTo>
                    <a:pt x="1023785" y="1815865"/>
                  </a:lnTo>
                  <a:lnTo>
                    <a:pt x="1002570" y="1827227"/>
                  </a:lnTo>
                  <a:lnTo>
                    <a:pt x="981579" y="1831874"/>
                  </a:lnTo>
                  <a:lnTo>
                    <a:pt x="959854" y="1834908"/>
                  </a:lnTo>
                  <a:lnTo>
                    <a:pt x="916414" y="1840976"/>
                  </a:lnTo>
                  <a:lnTo>
                    <a:pt x="868437" y="1838969"/>
                  </a:lnTo>
                  <a:lnTo>
                    <a:pt x="804796" y="1866193"/>
                  </a:lnTo>
                  <a:lnTo>
                    <a:pt x="811569" y="1941195"/>
                  </a:lnTo>
                  <a:lnTo>
                    <a:pt x="855899" y="2002002"/>
                  </a:lnTo>
                  <a:lnTo>
                    <a:pt x="885042" y="2055260"/>
                  </a:lnTo>
                  <a:lnTo>
                    <a:pt x="904952" y="2091648"/>
                  </a:lnTo>
                  <a:lnTo>
                    <a:pt x="921427" y="2126142"/>
                  </a:lnTo>
                  <a:lnTo>
                    <a:pt x="929928" y="2162716"/>
                  </a:lnTo>
                  <a:lnTo>
                    <a:pt x="938436" y="2199290"/>
                  </a:lnTo>
                  <a:lnTo>
                    <a:pt x="939259" y="2237495"/>
                  </a:lnTo>
                  <a:lnTo>
                    <a:pt x="927210" y="2279693"/>
                  </a:lnTo>
                  <a:lnTo>
                    <a:pt x="918446" y="2310393"/>
                  </a:lnTo>
                  <a:lnTo>
                    <a:pt x="905777" y="2331897"/>
                  </a:lnTo>
                  <a:lnTo>
                    <a:pt x="891848" y="2347703"/>
                  </a:lnTo>
                  <a:lnTo>
                    <a:pt x="877920" y="2363509"/>
                  </a:lnTo>
                  <a:lnTo>
                    <a:pt x="845606" y="2381708"/>
                  </a:lnTo>
                  <a:lnTo>
                    <a:pt x="812321" y="2399134"/>
                  </a:lnTo>
                  <a:lnTo>
                    <a:pt x="778231" y="2418690"/>
                  </a:lnTo>
                  <a:lnTo>
                    <a:pt x="746306" y="2448358"/>
                  </a:lnTo>
                  <a:lnTo>
                    <a:pt x="727958" y="2471162"/>
                  </a:lnTo>
                  <a:lnTo>
                    <a:pt x="722004" y="2500528"/>
                  </a:lnTo>
                  <a:lnTo>
                    <a:pt x="719102" y="2527249"/>
                  </a:lnTo>
                  <a:lnTo>
                    <a:pt x="716199" y="2553968"/>
                  </a:lnTo>
                  <a:lnTo>
                    <a:pt x="715824" y="2578976"/>
                  </a:lnTo>
                  <a:lnTo>
                    <a:pt x="692511" y="2621315"/>
                  </a:lnTo>
                  <a:lnTo>
                    <a:pt x="671486" y="2640784"/>
                  </a:lnTo>
                  <a:lnTo>
                    <a:pt x="651095" y="2660548"/>
                  </a:lnTo>
                  <a:lnTo>
                    <a:pt x="630696" y="2680313"/>
                  </a:lnTo>
                  <a:lnTo>
                    <a:pt x="611142" y="2699458"/>
                  </a:lnTo>
                  <a:lnTo>
                    <a:pt x="598045" y="2727196"/>
                  </a:lnTo>
                  <a:lnTo>
                    <a:pt x="581189" y="2762921"/>
                  </a:lnTo>
                  <a:lnTo>
                    <a:pt x="580450" y="2817823"/>
                  </a:lnTo>
                  <a:lnTo>
                    <a:pt x="580364" y="2867299"/>
                  </a:lnTo>
                  <a:lnTo>
                    <a:pt x="580299" y="2916774"/>
                  </a:lnTo>
                  <a:lnTo>
                    <a:pt x="581268" y="2961296"/>
                  </a:lnTo>
                  <a:lnTo>
                    <a:pt x="565401" y="2978838"/>
                  </a:lnTo>
                  <a:lnTo>
                    <a:pt x="550219" y="2995642"/>
                  </a:lnTo>
                  <a:lnTo>
                    <a:pt x="458563" y="3081910"/>
                  </a:lnTo>
                  <a:lnTo>
                    <a:pt x="436714" y="3130924"/>
                  </a:lnTo>
                  <a:lnTo>
                    <a:pt x="439643" y="3205584"/>
                  </a:lnTo>
                  <a:lnTo>
                    <a:pt x="422582" y="3219592"/>
                  </a:lnTo>
                  <a:lnTo>
                    <a:pt x="384007" y="3238163"/>
                  </a:lnTo>
                  <a:lnTo>
                    <a:pt x="336953" y="3277673"/>
                  </a:lnTo>
                  <a:lnTo>
                    <a:pt x="296078" y="3288964"/>
                  </a:lnTo>
                  <a:lnTo>
                    <a:pt x="271585" y="3295724"/>
                  </a:lnTo>
                  <a:lnTo>
                    <a:pt x="239408" y="3296620"/>
                  </a:lnTo>
                  <a:lnTo>
                    <a:pt x="207666" y="3301204"/>
                  </a:lnTo>
                  <a:lnTo>
                    <a:pt x="175925" y="3305787"/>
                  </a:lnTo>
                  <a:lnTo>
                    <a:pt x="145516" y="3313833"/>
                  </a:lnTo>
                  <a:lnTo>
                    <a:pt x="124696" y="3331125"/>
                  </a:lnTo>
                  <a:lnTo>
                    <a:pt x="103170" y="3354246"/>
                  </a:lnTo>
                  <a:lnTo>
                    <a:pt x="94530" y="3381457"/>
                  </a:lnTo>
                  <a:lnTo>
                    <a:pt x="90693" y="3411378"/>
                  </a:lnTo>
                  <a:lnTo>
                    <a:pt x="83544" y="3443370"/>
                  </a:lnTo>
                  <a:lnTo>
                    <a:pt x="65191" y="3477320"/>
                  </a:lnTo>
                  <a:lnTo>
                    <a:pt x="51282" y="3495490"/>
                  </a:lnTo>
                  <a:lnTo>
                    <a:pt x="28121" y="3513395"/>
                  </a:lnTo>
                  <a:lnTo>
                    <a:pt x="42788" y="3563232"/>
                  </a:lnTo>
                  <a:lnTo>
                    <a:pt x="86314" y="3602531"/>
                  </a:lnTo>
                  <a:lnTo>
                    <a:pt x="107015" y="3650773"/>
                  </a:lnTo>
                  <a:lnTo>
                    <a:pt x="108551" y="3683220"/>
                  </a:lnTo>
                  <a:lnTo>
                    <a:pt x="102761" y="3721702"/>
                  </a:lnTo>
                  <a:lnTo>
                    <a:pt x="109733" y="3756872"/>
                  </a:lnTo>
                  <a:lnTo>
                    <a:pt x="135987" y="3776307"/>
                  </a:lnTo>
                  <a:lnTo>
                    <a:pt x="165083" y="3802726"/>
                  </a:lnTo>
                  <a:lnTo>
                    <a:pt x="184545" y="3830320"/>
                  </a:lnTo>
                  <a:lnTo>
                    <a:pt x="184999" y="3853098"/>
                  </a:lnTo>
                  <a:lnTo>
                    <a:pt x="168836" y="3877057"/>
                  </a:lnTo>
                  <a:lnTo>
                    <a:pt x="142515" y="3891903"/>
                  </a:lnTo>
                  <a:lnTo>
                    <a:pt x="118576" y="3894943"/>
                  </a:lnTo>
                  <a:lnTo>
                    <a:pt x="87976" y="3907849"/>
                  </a:lnTo>
                  <a:lnTo>
                    <a:pt x="96180" y="3931056"/>
                  </a:lnTo>
                  <a:lnTo>
                    <a:pt x="117943" y="3957073"/>
                  </a:lnTo>
                  <a:lnTo>
                    <a:pt x="141962" y="3982174"/>
                  </a:lnTo>
                  <a:lnTo>
                    <a:pt x="161423" y="4008507"/>
                  </a:lnTo>
                  <a:lnTo>
                    <a:pt x="180885" y="4034834"/>
                  </a:lnTo>
                  <a:lnTo>
                    <a:pt x="195994" y="4063007"/>
                  </a:lnTo>
                  <a:lnTo>
                    <a:pt x="192709" y="4090119"/>
                  </a:lnTo>
                  <a:lnTo>
                    <a:pt x="187599" y="4132254"/>
                  </a:lnTo>
                  <a:lnTo>
                    <a:pt x="180496" y="4172279"/>
                  </a:lnTo>
                  <a:lnTo>
                    <a:pt x="172306" y="4212534"/>
                  </a:lnTo>
                  <a:lnTo>
                    <a:pt x="164114" y="4252795"/>
                  </a:lnTo>
                  <a:lnTo>
                    <a:pt x="154914" y="4292899"/>
                  </a:lnTo>
                  <a:lnTo>
                    <a:pt x="145101" y="4333596"/>
                  </a:lnTo>
                  <a:lnTo>
                    <a:pt x="138652" y="4360319"/>
                  </a:lnTo>
                  <a:lnTo>
                    <a:pt x="131970" y="4384990"/>
                  </a:lnTo>
                  <a:lnTo>
                    <a:pt x="127420" y="4409767"/>
                  </a:lnTo>
                  <a:lnTo>
                    <a:pt x="122876" y="4434538"/>
                  </a:lnTo>
                  <a:lnTo>
                    <a:pt x="119335" y="4459849"/>
                  </a:lnTo>
                  <a:lnTo>
                    <a:pt x="120620" y="4487297"/>
                  </a:lnTo>
                  <a:lnTo>
                    <a:pt x="122124" y="4519540"/>
                  </a:lnTo>
                  <a:lnTo>
                    <a:pt x="139925" y="4563514"/>
                  </a:lnTo>
                  <a:lnTo>
                    <a:pt x="161423" y="4605636"/>
                  </a:lnTo>
                  <a:lnTo>
                    <a:pt x="182922" y="4647751"/>
                  </a:lnTo>
                  <a:lnTo>
                    <a:pt x="209085" y="4687512"/>
                  </a:lnTo>
                  <a:lnTo>
                    <a:pt x="226713" y="4713087"/>
                  </a:lnTo>
                  <a:lnTo>
                    <a:pt x="250454" y="4738932"/>
                  </a:lnTo>
                  <a:lnTo>
                    <a:pt x="277276" y="4774512"/>
                  </a:lnTo>
                  <a:lnTo>
                    <a:pt x="304586" y="4866729"/>
                  </a:lnTo>
                  <a:lnTo>
                    <a:pt x="302884" y="4891274"/>
                  </a:lnTo>
                  <a:lnTo>
                    <a:pt x="301202" y="4915570"/>
                  </a:lnTo>
                  <a:lnTo>
                    <a:pt x="290815" y="4956056"/>
                  </a:lnTo>
                  <a:lnTo>
                    <a:pt x="283844" y="4979686"/>
                  </a:lnTo>
                  <a:lnTo>
                    <a:pt x="272290" y="5018918"/>
                  </a:lnTo>
                  <a:lnTo>
                    <a:pt x="254147" y="5055329"/>
                  </a:lnTo>
                  <a:lnTo>
                    <a:pt x="233513" y="5091226"/>
                  </a:lnTo>
                  <a:lnTo>
                    <a:pt x="212877" y="5127121"/>
                  </a:lnTo>
                  <a:lnTo>
                    <a:pt x="189010" y="5162596"/>
                  </a:lnTo>
                  <a:lnTo>
                    <a:pt x="168222" y="5197318"/>
                  </a:lnTo>
                  <a:lnTo>
                    <a:pt x="147950" y="5231176"/>
                  </a:lnTo>
                  <a:lnTo>
                    <a:pt x="113182" y="5260609"/>
                  </a:lnTo>
                  <a:lnTo>
                    <a:pt x="83894" y="5295252"/>
                  </a:lnTo>
                  <a:lnTo>
                    <a:pt x="74581" y="5321117"/>
                  </a:lnTo>
                  <a:lnTo>
                    <a:pt x="80365" y="5347984"/>
                  </a:lnTo>
                  <a:lnTo>
                    <a:pt x="71653" y="5374146"/>
                  </a:lnTo>
                  <a:lnTo>
                    <a:pt x="57561" y="5416374"/>
                  </a:lnTo>
                  <a:lnTo>
                    <a:pt x="30528" y="5451446"/>
                  </a:lnTo>
                  <a:lnTo>
                    <a:pt x="6358" y="5488404"/>
                  </a:lnTo>
                  <a:lnTo>
                    <a:pt x="0" y="5522703"/>
                  </a:lnTo>
                  <a:lnTo>
                    <a:pt x="7280" y="5546498"/>
                  </a:lnTo>
                  <a:lnTo>
                    <a:pt x="32202" y="5568657"/>
                  </a:lnTo>
                  <a:lnTo>
                    <a:pt x="62672" y="5587611"/>
                  </a:lnTo>
                  <a:lnTo>
                    <a:pt x="114098" y="5612348"/>
                  </a:lnTo>
                  <a:lnTo>
                    <a:pt x="151260" y="5629013"/>
                  </a:lnTo>
                  <a:lnTo>
                    <a:pt x="173664" y="5661144"/>
                  </a:lnTo>
                  <a:lnTo>
                    <a:pt x="175510" y="5686138"/>
                  </a:lnTo>
                  <a:lnTo>
                    <a:pt x="167504" y="5731109"/>
                  </a:lnTo>
                  <a:lnTo>
                    <a:pt x="157341" y="5749561"/>
                  </a:lnTo>
                  <a:lnTo>
                    <a:pt x="137227" y="5764671"/>
                  </a:lnTo>
                  <a:lnTo>
                    <a:pt x="111097" y="5791722"/>
                  </a:lnTo>
                  <a:lnTo>
                    <a:pt x="95890" y="5807465"/>
                  </a:lnTo>
                  <a:lnTo>
                    <a:pt x="80933" y="5825568"/>
                  </a:lnTo>
                  <a:lnTo>
                    <a:pt x="66207" y="5842055"/>
                  </a:lnTo>
                  <a:lnTo>
                    <a:pt x="51487" y="5858535"/>
                  </a:lnTo>
                  <a:lnTo>
                    <a:pt x="36819" y="5874271"/>
                  </a:lnTo>
                  <a:lnTo>
                    <a:pt x="18603" y="5886940"/>
                  </a:lnTo>
                  <a:lnTo>
                    <a:pt x="45123" y="5899411"/>
                  </a:lnTo>
                  <a:lnTo>
                    <a:pt x="70289" y="5910062"/>
                  </a:lnTo>
                  <a:lnTo>
                    <a:pt x="86354" y="5925375"/>
                  </a:lnTo>
                  <a:lnTo>
                    <a:pt x="93515" y="5954030"/>
                  </a:lnTo>
                  <a:lnTo>
                    <a:pt x="96034" y="5974903"/>
                  </a:lnTo>
                  <a:lnTo>
                    <a:pt x="104299" y="5997115"/>
                  </a:lnTo>
                  <a:lnTo>
                    <a:pt x="123338" y="6010713"/>
                  </a:lnTo>
                  <a:lnTo>
                    <a:pt x="153265" y="6018878"/>
                  </a:lnTo>
                  <a:lnTo>
                    <a:pt x="183187" y="6024318"/>
                  </a:lnTo>
                  <a:lnTo>
                    <a:pt x="206308" y="6027042"/>
                  </a:lnTo>
                  <a:lnTo>
                    <a:pt x="218272" y="6049755"/>
                  </a:lnTo>
                  <a:lnTo>
                    <a:pt x="224273" y="6072336"/>
                  </a:lnTo>
                  <a:lnTo>
                    <a:pt x="228071" y="6095049"/>
                  </a:lnTo>
                  <a:lnTo>
                    <a:pt x="232134" y="6118592"/>
                  </a:lnTo>
                  <a:lnTo>
                    <a:pt x="240339" y="6142235"/>
                  </a:lnTo>
                  <a:lnTo>
                    <a:pt x="255276" y="6165779"/>
                  </a:lnTo>
                  <a:lnTo>
                    <a:pt x="282262" y="6179220"/>
                  </a:lnTo>
                  <a:lnTo>
                    <a:pt x="309908" y="6187714"/>
                  </a:lnTo>
                  <a:lnTo>
                    <a:pt x="338246" y="6192983"/>
                  </a:lnTo>
                  <a:lnTo>
                    <a:pt x="366577" y="6198536"/>
                  </a:lnTo>
                  <a:lnTo>
                    <a:pt x="394818" y="6203673"/>
                  </a:lnTo>
                  <a:lnTo>
                    <a:pt x="422582" y="6213387"/>
                  </a:lnTo>
                  <a:lnTo>
                    <a:pt x="411317" y="6246276"/>
                  </a:lnTo>
                  <a:lnTo>
                    <a:pt x="390827" y="6259302"/>
                  </a:lnTo>
                  <a:lnTo>
                    <a:pt x="369532" y="6270520"/>
                  </a:lnTo>
                  <a:lnTo>
                    <a:pt x="348237" y="6281731"/>
                  </a:lnTo>
                  <a:lnTo>
                    <a:pt x="326343" y="6291676"/>
                  </a:lnTo>
                  <a:lnTo>
                    <a:pt x="305601" y="6301799"/>
                  </a:lnTo>
                  <a:lnTo>
                    <a:pt x="257511" y="6344923"/>
                  </a:lnTo>
                  <a:lnTo>
                    <a:pt x="237917" y="6366165"/>
                  </a:lnTo>
                  <a:lnTo>
                    <a:pt x="223995" y="6391576"/>
                  </a:lnTo>
                  <a:lnTo>
                    <a:pt x="210061" y="6416986"/>
                  </a:lnTo>
                  <a:lnTo>
                    <a:pt x="201989" y="6446630"/>
                  </a:lnTo>
                  <a:lnTo>
                    <a:pt x="189985" y="6490868"/>
                  </a:lnTo>
                  <a:lnTo>
                    <a:pt x="160064" y="6599684"/>
                  </a:lnTo>
                  <a:lnTo>
                    <a:pt x="143630" y="6660259"/>
                  </a:lnTo>
                  <a:lnTo>
                    <a:pt x="140959" y="6698252"/>
                  </a:lnTo>
                  <a:lnTo>
                    <a:pt x="149183" y="6722105"/>
                  </a:lnTo>
                  <a:lnTo>
                    <a:pt x="157407" y="6745953"/>
                  </a:lnTo>
                  <a:lnTo>
                    <a:pt x="176446" y="6756860"/>
                  </a:lnTo>
                  <a:lnTo>
                    <a:pt x="199509" y="6761549"/>
                  </a:lnTo>
                  <a:lnTo>
                    <a:pt x="222571" y="6766232"/>
                  </a:lnTo>
                  <a:lnTo>
                    <a:pt x="250302" y="6765282"/>
                  </a:lnTo>
                  <a:lnTo>
                    <a:pt x="278397" y="6768349"/>
                  </a:lnTo>
                  <a:lnTo>
                    <a:pt x="306491" y="6771415"/>
                  </a:lnTo>
                  <a:lnTo>
                    <a:pt x="333979" y="6777905"/>
                  </a:lnTo>
                  <a:lnTo>
                    <a:pt x="357291" y="6796911"/>
                  </a:lnTo>
                  <a:lnTo>
                    <a:pt x="377242" y="6821365"/>
                  </a:lnTo>
                  <a:lnTo>
                    <a:pt x="386303" y="6851359"/>
                  </a:lnTo>
                  <a:lnTo>
                    <a:pt x="391295" y="6883964"/>
                  </a:lnTo>
                  <a:lnTo>
                    <a:pt x="397343" y="6916602"/>
                  </a:lnTo>
                  <a:lnTo>
                    <a:pt x="412452" y="6946543"/>
                  </a:lnTo>
                  <a:lnTo>
                    <a:pt x="442987" y="6971017"/>
                  </a:lnTo>
                  <a:lnTo>
                    <a:pt x="465192" y="6983264"/>
                  </a:lnTo>
                  <a:lnTo>
                    <a:pt x="490033" y="6994119"/>
                  </a:lnTo>
                  <a:lnTo>
                    <a:pt x="513716" y="7005027"/>
                  </a:lnTo>
                  <a:lnTo>
                    <a:pt x="537392" y="7015935"/>
                  </a:lnTo>
                  <a:lnTo>
                    <a:pt x="560442" y="7026295"/>
                  </a:lnTo>
                  <a:lnTo>
                    <a:pt x="581722" y="7039030"/>
                  </a:lnTo>
                  <a:lnTo>
                    <a:pt x="606104" y="7053605"/>
                  </a:lnTo>
                  <a:lnTo>
                    <a:pt x="630882" y="7076245"/>
                  </a:lnTo>
                  <a:lnTo>
                    <a:pt x="653813" y="7093438"/>
                  </a:lnTo>
                  <a:lnTo>
                    <a:pt x="676920" y="7110756"/>
                  </a:lnTo>
                  <a:lnTo>
                    <a:pt x="700847" y="7131800"/>
                  </a:lnTo>
                  <a:lnTo>
                    <a:pt x="724549" y="7147846"/>
                  </a:lnTo>
                  <a:lnTo>
                    <a:pt x="750177" y="7165191"/>
                  </a:lnTo>
                  <a:lnTo>
                    <a:pt x="785756" y="7188649"/>
                  </a:lnTo>
                  <a:lnTo>
                    <a:pt x="751345" y="7231859"/>
                  </a:lnTo>
                  <a:lnTo>
                    <a:pt x="734065" y="7260744"/>
                  </a:lnTo>
                  <a:lnTo>
                    <a:pt x="750388" y="7293382"/>
                  </a:lnTo>
                  <a:lnTo>
                    <a:pt x="783092" y="7303591"/>
                  </a:lnTo>
                  <a:lnTo>
                    <a:pt x="806154" y="7287941"/>
                  </a:lnTo>
                  <a:lnTo>
                    <a:pt x="833905" y="7273716"/>
                  </a:lnTo>
                  <a:lnTo>
                    <a:pt x="860569" y="7282507"/>
                  </a:lnTo>
                  <a:lnTo>
                    <a:pt x="872446" y="7316022"/>
                  </a:lnTo>
                  <a:lnTo>
                    <a:pt x="874168" y="7336909"/>
                  </a:lnTo>
                  <a:lnTo>
                    <a:pt x="875889" y="7357801"/>
                  </a:lnTo>
                  <a:lnTo>
                    <a:pt x="893213" y="7388599"/>
                  </a:lnTo>
                  <a:lnTo>
                    <a:pt x="937702" y="7395003"/>
                  </a:lnTo>
                  <a:lnTo>
                    <a:pt x="966662" y="7398123"/>
                  </a:lnTo>
                  <a:lnTo>
                    <a:pt x="995824" y="7403504"/>
                  </a:lnTo>
                  <a:lnTo>
                    <a:pt x="1024551" y="7419945"/>
                  </a:lnTo>
                  <a:lnTo>
                    <a:pt x="1050990" y="7453889"/>
                  </a:lnTo>
                  <a:lnTo>
                    <a:pt x="1053008" y="7491064"/>
                  </a:lnTo>
                  <a:lnTo>
                    <a:pt x="1046262" y="7525530"/>
                  </a:lnTo>
                  <a:lnTo>
                    <a:pt x="1042832" y="7559981"/>
                  </a:lnTo>
                  <a:lnTo>
                    <a:pt x="1101488" y="7575354"/>
                  </a:lnTo>
                  <a:lnTo>
                    <a:pt x="1155731" y="7581744"/>
                  </a:lnTo>
                  <a:lnTo>
                    <a:pt x="1209974" y="7588148"/>
                  </a:lnTo>
                  <a:lnTo>
                    <a:pt x="1264613" y="7592514"/>
                  </a:lnTo>
                  <a:lnTo>
                    <a:pt x="1292014" y="7574609"/>
                  </a:lnTo>
                  <a:lnTo>
                    <a:pt x="1306714" y="7539583"/>
                  </a:lnTo>
                  <a:lnTo>
                    <a:pt x="1314397" y="7501313"/>
                  </a:lnTo>
                  <a:lnTo>
                    <a:pt x="1326361" y="7470311"/>
                  </a:lnTo>
                  <a:lnTo>
                    <a:pt x="1350240" y="7460688"/>
                  </a:lnTo>
                  <a:lnTo>
                    <a:pt x="1377616" y="7402225"/>
                  </a:lnTo>
                  <a:lnTo>
                    <a:pt x="1396484" y="7379077"/>
                  </a:lnTo>
                  <a:lnTo>
                    <a:pt x="1448319" y="7381094"/>
                  </a:lnTo>
                  <a:lnTo>
                    <a:pt x="1476032" y="7394047"/>
                  </a:lnTo>
                  <a:lnTo>
                    <a:pt x="1483537" y="7430767"/>
                  </a:lnTo>
                  <a:lnTo>
                    <a:pt x="1485720" y="7452333"/>
                  </a:lnTo>
                  <a:lnTo>
                    <a:pt x="1484453" y="7480031"/>
                  </a:lnTo>
                  <a:lnTo>
                    <a:pt x="1482178" y="7506939"/>
                  </a:lnTo>
                  <a:lnTo>
                    <a:pt x="1477621" y="7560746"/>
                  </a:lnTo>
                  <a:lnTo>
                    <a:pt x="1467030" y="7614824"/>
                  </a:lnTo>
                  <a:lnTo>
                    <a:pt x="1463171" y="7649224"/>
                  </a:lnTo>
                  <a:lnTo>
                    <a:pt x="1474073" y="7697525"/>
                  </a:lnTo>
                  <a:lnTo>
                    <a:pt x="1490343" y="7715047"/>
                  </a:lnTo>
                  <a:lnTo>
                    <a:pt x="1512139" y="7738532"/>
                  </a:lnTo>
                  <a:lnTo>
                    <a:pt x="1553891" y="7774151"/>
                  </a:lnTo>
                  <a:lnTo>
                    <a:pt x="1586918" y="7812981"/>
                  </a:lnTo>
                  <a:lnTo>
                    <a:pt x="1603426" y="7832397"/>
                  </a:lnTo>
                  <a:lnTo>
                    <a:pt x="1617974" y="7852380"/>
                  </a:lnTo>
                  <a:lnTo>
                    <a:pt x="1626363" y="7872830"/>
                  </a:lnTo>
                  <a:lnTo>
                    <a:pt x="1634745" y="7893281"/>
                  </a:lnTo>
                  <a:lnTo>
                    <a:pt x="1630438" y="7932679"/>
                  </a:lnTo>
                  <a:lnTo>
                    <a:pt x="1621020" y="7955504"/>
                  </a:lnTo>
                  <a:lnTo>
                    <a:pt x="1547460" y="7988446"/>
                  </a:lnTo>
                  <a:lnTo>
                    <a:pt x="1537318" y="8010235"/>
                  </a:lnTo>
                  <a:lnTo>
                    <a:pt x="1535227" y="8031972"/>
                  </a:lnTo>
                  <a:lnTo>
                    <a:pt x="1547000" y="8065131"/>
                  </a:lnTo>
                  <a:lnTo>
                    <a:pt x="1602601" y="8082363"/>
                  </a:lnTo>
                  <a:lnTo>
                    <a:pt x="1623639" y="8112225"/>
                  </a:lnTo>
                  <a:lnTo>
                    <a:pt x="1620447" y="8142021"/>
                  </a:lnTo>
                  <a:lnTo>
                    <a:pt x="1598749" y="8153272"/>
                  </a:lnTo>
                  <a:lnTo>
                    <a:pt x="1571955" y="8181597"/>
                  </a:lnTo>
                  <a:lnTo>
                    <a:pt x="1558745" y="8198012"/>
                  </a:lnTo>
                  <a:lnTo>
                    <a:pt x="1546901" y="8218694"/>
                  </a:lnTo>
                  <a:lnTo>
                    <a:pt x="1537945" y="8241446"/>
                  </a:lnTo>
                  <a:lnTo>
                    <a:pt x="1528995" y="8264192"/>
                  </a:lnTo>
                  <a:lnTo>
                    <a:pt x="1522868" y="8288844"/>
                  </a:lnTo>
                  <a:lnTo>
                    <a:pt x="1521622" y="8310818"/>
                  </a:lnTo>
                  <a:lnTo>
                    <a:pt x="1520375" y="8332785"/>
                  </a:lnTo>
                  <a:lnTo>
                    <a:pt x="1533869" y="8366584"/>
                  </a:lnTo>
                  <a:lnTo>
                    <a:pt x="1559371" y="8385287"/>
                  </a:lnTo>
                  <a:lnTo>
                    <a:pt x="1588911" y="8385973"/>
                  </a:lnTo>
                  <a:lnTo>
                    <a:pt x="1618197" y="8395146"/>
                  </a:lnTo>
                  <a:lnTo>
                    <a:pt x="1642216" y="8402672"/>
                  </a:lnTo>
                  <a:lnTo>
                    <a:pt x="1667165" y="8430515"/>
                  </a:lnTo>
                  <a:lnTo>
                    <a:pt x="1679445" y="8464947"/>
                  </a:lnTo>
                  <a:lnTo>
                    <a:pt x="1679372" y="8504892"/>
                  </a:lnTo>
                  <a:lnTo>
                    <a:pt x="1676497" y="8526807"/>
                  </a:lnTo>
                  <a:lnTo>
                    <a:pt x="1672606" y="8547489"/>
                  </a:lnTo>
                  <a:lnTo>
                    <a:pt x="1668721" y="8568171"/>
                  </a:lnTo>
                  <a:lnTo>
                    <a:pt x="1661725" y="8605979"/>
                  </a:lnTo>
                  <a:lnTo>
                    <a:pt x="1608120" y="8618068"/>
                  </a:lnTo>
                  <a:lnTo>
                    <a:pt x="1583027" y="8625052"/>
                  </a:lnTo>
                  <a:lnTo>
                    <a:pt x="1549994" y="8646755"/>
                  </a:lnTo>
                  <a:lnTo>
                    <a:pt x="1532503" y="8675344"/>
                  </a:lnTo>
                  <a:lnTo>
                    <a:pt x="1511743" y="8702687"/>
                  </a:lnTo>
                  <a:lnTo>
                    <a:pt x="1490343" y="8710712"/>
                  </a:lnTo>
                  <a:lnTo>
                    <a:pt x="1468935" y="8718738"/>
                  </a:lnTo>
                  <a:lnTo>
                    <a:pt x="1436746" y="8720605"/>
                  </a:lnTo>
                  <a:lnTo>
                    <a:pt x="1384244" y="8713430"/>
                  </a:lnTo>
                  <a:lnTo>
                    <a:pt x="1360819" y="8711154"/>
                  </a:lnTo>
                  <a:lnTo>
                    <a:pt x="1336938" y="8707554"/>
                  </a:lnTo>
                  <a:lnTo>
                    <a:pt x="1313513" y="8702555"/>
                  </a:lnTo>
                  <a:lnTo>
                    <a:pt x="1289904" y="8698499"/>
                  </a:lnTo>
                  <a:lnTo>
                    <a:pt x="1266392" y="8693005"/>
                  </a:lnTo>
                  <a:lnTo>
                    <a:pt x="1242783" y="8686233"/>
                  </a:lnTo>
                  <a:lnTo>
                    <a:pt x="1244149" y="8715897"/>
                  </a:lnTo>
                  <a:lnTo>
                    <a:pt x="1253711" y="8743173"/>
                  </a:lnTo>
                  <a:lnTo>
                    <a:pt x="1267270" y="8769203"/>
                  </a:lnTo>
                  <a:lnTo>
                    <a:pt x="1280829" y="8795240"/>
                  </a:lnTo>
                  <a:lnTo>
                    <a:pt x="1297521" y="8820353"/>
                  </a:lnTo>
                  <a:lnTo>
                    <a:pt x="1314871" y="8845374"/>
                  </a:lnTo>
                  <a:lnTo>
                    <a:pt x="1332230" y="8870395"/>
                  </a:lnTo>
                  <a:lnTo>
                    <a:pt x="1349719" y="8894915"/>
                  </a:lnTo>
                  <a:lnTo>
                    <a:pt x="1362481" y="8921545"/>
                  </a:lnTo>
                  <a:lnTo>
                    <a:pt x="1375241" y="8948176"/>
                  </a:lnTo>
                  <a:lnTo>
                    <a:pt x="1384475" y="8976375"/>
                  </a:lnTo>
                  <a:lnTo>
                    <a:pt x="1384244" y="9007239"/>
                  </a:lnTo>
                  <a:lnTo>
                    <a:pt x="1349449" y="9018984"/>
                  </a:lnTo>
                  <a:lnTo>
                    <a:pt x="1324395" y="9020839"/>
                  </a:lnTo>
                  <a:lnTo>
                    <a:pt x="1299341" y="9022711"/>
                  </a:lnTo>
                  <a:lnTo>
                    <a:pt x="1273463" y="9022460"/>
                  </a:lnTo>
                  <a:lnTo>
                    <a:pt x="1252438" y="9037338"/>
                  </a:lnTo>
                  <a:lnTo>
                    <a:pt x="1243225" y="9096660"/>
                  </a:lnTo>
                  <a:lnTo>
                    <a:pt x="1240065" y="9137811"/>
                  </a:lnTo>
                  <a:lnTo>
                    <a:pt x="1236893" y="9178970"/>
                  </a:lnTo>
                  <a:lnTo>
                    <a:pt x="1237527" y="9218896"/>
                  </a:lnTo>
                  <a:lnTo>
                    <a:pt x="1253263" y="9235469"/>
                  </a:lnTo>
                  <a:lnTo>
                    <a:pt x="1275751" y="9256151"/>
                  </a:lnTo>
                  <a:lnTo>
                    <a:pt x="1308382" y="9262311"/>
                  </a:lnTo>
                  <a:lnTo>
                    <a:pt x="1331195" y="9261585"/>
                  </a:lnTo>
                  <a:lnTo>
                    <a:pt x="1354013" y="9260873"/>
                  </a:lnTo>
                  <a:lnTo>
                    <a:pt x="1380063" y="9260148"/>
                  </a:lnTo>
                  <a:lnTo>
                    <a:pt x="1401925" y="9264315"/>
                  </a:lnTo>
                  <a:lnTo>
                    <a:pt x="1423794" y="9268470"/>
                  </a:lnTo>
                  <a:lnTo>
                    <a:pt x="1449533" y="9298319"/>
                  </a:lnTo>
                  <a:lnTo>
                    <a:pt x="1456999" y="9318822"/>
                  </a:lnTo>
                  <a:lnTo>
                    <a:pt x="1453596" y="9350662"/>
                  </a:lnTo>
                  <a:lnTo>
                    <a:pt x="1433212" y="9398970"/>
                  </a:lnTo>
                  <a:lnTo>
                    <a:pt x="1435579" y="9429459"/>
                  </a:lnTo>
                  <a:lnTo>
                    <a:pt x="1458529" y="9464918"/>
                  </a:lnTo>
                  <a:lnTo>
                    <a:pt x="1484895" y="9498270"/>
                  </a:lnTo>
                  <a:lnTo>
                    <a:pt x="1511269" y="9531614"/>
                  </a:lnTo>
                  <a:lnTo>
                    <a:pt x="1540648" y="9562398"/>
                  </a:lnTo>
                  <a:lnTo>
                    <a:pt x="1558350" y="9583958"/>
                  </a:lnTo>
                  <a:lnTo>
                    <a:pt x="1592399" y="9625426"/>
                  </a:lnTo>
                  <a:lnTo>
                    <a:pt x="1599825" y="9657615"/>
                  </a:lnTo>
                  <a:lnTo>
                    <a:pt x="1607316" y="9688697"/>
                  </a:lnTo>
                  <a:lnTo>
                    <a:pt x="1614808" y="9719773"/>
                  </a:lnTo>
                  <a:lnTo>
                    <a:pt x="1622366" y="9749298"/>
                  </a:lnTo>
                  <a:lnTo>
                    <a:pt x="1657641" y="9789348"/>
                  </a:lnTo>
                  <a:lnTo>
                    <a:pt x="1697409" y="9821802"/>
                  </a:lnTo>
                  <a:lnTo>
                    <a:pt x="1731096" y="9824717"/>
                  </a:lnTo>
                  <a:lnTo>
                    <a:pt x="1763332" y="9819639"/>
                  </a:lnTo>
                  <a:lnTo>
                    <a:pt x="1790945" y="9826068"/>
                  </a:lnTo>
                  <a:lnTo>
                    <a:pt x="1811660" y="9830910"/>
                  </a:lnTo>
                  <a:lnTo>
                    <a:pt x="1832683" y="9839820"/>
                  </a:lnTo>
                  <a:lnTo>
                    <a:pt x="1853510" y="9843757"/>
                  </a:lnTo>
                  <a:lnTo>
                    <a:pt x="1890303" y="9850701"/>
                  </a:lnTo>
                  <a:lnTo>
                    <a:pt x="1928251" y="9854481"/>
                  </a:lnTo>
                  <a:lnTo>
                    <a:pt x="1965050" y="9860079"/>
                  </a:lnTo>
                  <a:lnTo>
                    <a:pt x="2001844" y="9865678"/>
                  </a:lnTo>
                  <a:lnTo>
                    <a:pt x="2037469" y="9872715"/>
                  </a:lnTo>
                  <a:lnTo>
                    <a:pt x="2072501" y="9888641"/>
                  </a:lnTo>
                  <a:lnTo>
                    <a:pt x="2100695" y="9901456"/>
                  </a:lnTo>
                  <a:lnTo>
                    <a:pt x="2129521" y="9919460"/>
                  </a:lnTo>
                  <a:lnTo>
                    <a:pt x="2159561" y="9934885"/>
                  </a:lnTo>
                  <a:lnTo>
                    <a:pt x="2189593" y="9950317"/>
                  </a:lnTo>
                  <a:lnTo>
                    <a:pt x="2221678" y="9963210"/>
                  </a:lnTo>
                  <a:lnTo>
                    <a:pt x="2253413" y="9967536"/>
                  </a:lnTo>
                  <a:lnTo>
                    <a:pt x="2276534" y="9970683"/>
                  </a:lnTo>
                  <a:lnTo>
                    <a:pt x="2299188" y="9970095"/>
                  </a:lnTo>
                  <a:lnTo>
                    <a:pt x="2321419" y="9971611"/>
                  </a:lnTo>
                  <a:lnTo>
                    <a:pt x="2343657" y="9973123"/>
                  </a:lnTo>
                  <a:lnTo>
                    <a:pt x="2364972" y="9977864"/>
                  </a:lnTo>
                  <a:lnTo>
                    <a:pt x="2382633" y="9994734"/>
                  </a:lnTo>
                  <a:lnTo>
                    <a:pt x="2415040" y="10005121"/>
                  </a:lnTo>
                  <a:lnTo>
                    <a:pt x="2462741" y="9995565"/>
                  </a:lnTo>
                  <a:lnTo>
                    <a:pt x="2534850" y="9978516"/>
                  </a:lnTo>
                  <a:lnTo>
                    <a:pt x="2607064" y="9966165"/>
                  </a:lnTo>
                  <a:lnTo>
                    <a:pt x="2679278" y="9953813"/>
                  </a:lnTo>
                  <a:lnTo>
                    <a:pt x="2750945" y="9946638"/>
                  </a:lnTo>
                  <a:lnTo>
                    <a:pt x="2786610" y="9956642"/>
                  </a:lnTo>
                  <a:lnTo>
                    <a:pt x="2826905" y="9968506"/>
                  </a:lnTo>
                  <a:lnTo>
                    <a:pt x="2866006" y="9982864"/>
                  </a:lnTo>
                  <a:lnTo>
                    <a:pt x="2903584" y="9997450"/>
                  </a:lnTo>
                  <a:lnTo>
                    <a:pt x="2923527" y="10004428"/>
                  </a:lnTo>
                  <a:lnTo>
                    <a:pt x="2948514" y="10003921"/>
                  </a:lnTo>
                  <a:lnTo>
                    <a:pt x="2975680" y="10000174"/>
                  </a:lnTo>
                  <a:lnTo>
                    <a:pt x="3002844" y="9996422"/>
                  </a:lnTo>
                  <a:lnTo>
                    <a:pt x="3033154" y="9989062"/>
                  </a:lnTo>
                  <a:lnTo>
                    <a:pt x="3062732" y="9979771"/>
                  </a:lnTo>
                  <a:lnTo>
                    <a:pt x="3121876" y="9961186"/>
                  </a:lnTo>
                  <a:lnTo>
                    <a:pt x="3180643" y="9936395"/>
                  </a:lnTo>
                  <a:lnTo>
                    <a:pt x="3220515" y="9926721"/>
                  </a:lnTo>
                  <a:lnTo>
                    <a:pt x="3241376" y="9921663"/>
                  </a:lnTo>
                  <a:lnTo>
                    <a:pt x="3272952" y="9912569"/>
                  </a:lnTo>
                  <a:lnTo>
                    <a:pt x="3304845" y="9904957"/>
                  </a:lnTo>
                  <a:lnTo>
                    <a:pt x="3336737" y="9897354"/>
                  </a:lnTo>
                  <a:lnTo>
                    <a:pt x="3368255" y="9892143"/>
                  </a:lnTo>
                  <a:lnTo>
                    <a:pt x="3389173" y="9894075"/>
                  </a:lnTo>
                  <a:lnTo>
                    <a:pt x="3411768" y="9896160"/>
                  </a:lnTo>
                  <a:lnTo>
                    <a:pt x="3434620" y="9903428"/>
                  </a:lnTo>
                  <a:lnTo>
                    <a:pt x="3457187" y="9906316"/>
                  </a:lnTo>
                  <a:lnTo>
                    <a:pt x="3511469" y="9913266"/>
                  </a:lnTo>
                  <a:lnTo>
                    <a:pt x="3572103" y="9900538"/>
                  </a:lnTo>
                  <a:lnTo>
                    <a:pt x="3625851" y="9894075"/>
                  </a:lnTo>
                  <a:lnTo>
                    <a:pt x="3658259" y="9890185"/>
                  </a:lnTo>
                  <a:lnTo>
                    <a:pt x="3690184" y="9889855"/>
                  </a:lnTo>
                  <a:lnTo>
                    <a:pt x="3722427" y="9877754"/>
                  </a:lnTo>
                  <a:lnTo>
                    <a:pt x="3742060" y="9870380"/>
                  </a:lnTo>
                  <a:lnTo>
                    <a:pt x="3761885" y="9856070"/>
                  </a:lnTo>
                  <a:lnTo>
                    <a:pt x="3782276" y="9846467"/>
                  </a:lnTo>
                  <a:lnTo>
                    <a:pt x="3802667" y="9836871"/>
                  </a:lnTo>
                  <a:lnTo>
                    <a:pt x="3824154" y="9831873"/>
                  </a:lnTo>
                  <a:lnTo>
                    <a:pt x="3847565" y="9839668"/>
                  </a:lnTo>
                  <a:lnTo>
                    <a:pt x="3898622" y="9856682"/>
                  </a:lnTo>
                  <a:lnTo>
                    <a:pt x="3943336" y="9888378"/>
                  </a:lnTo>
                  <a:lnTo>
                    <a:pt x="3990384" y="9913122"/>
                  </a:lnTo>
                  <a:lnTo>
                    <a:pt x="4013908" y="9925493"/>
                  </a:lnTo>
                  <a:lnTo>
                    <a:pt x="4038217" y="9935228"/>
                  </a:lnTo>
                  <a:lnTo>
                    <a:pt x="4063839" y="9941685"/>
                  </a:lnTo>
                  <a:lnTo>
                    <a:pt x="4089453" y="9948140"/>
                  </a:lnTo>
                  <a:lnTo>
                    <a:pt x="4115668" y="9950462"/>
                  </a:lnTo>
                  <a:lnTo>
                    <a:pt x="4145451" y="9945760"/>
                  </a:lnTo>
                  <a:lnTo>
                    <a:pt x="4172232" y="9941533"/>
                  </a:lnTo>
                  <a:lnTo>
                    <a:pt x="4194708" y="9927901"/>
                  </a:lnTo>
                  <a:lnTo>
                    <a:pt x="4213457" y="9909032"/>
                  </a:lnTo>
                  <a:lnTo>
                    <a:pt x="4232207" y="9890165"/>
                  </a:lnTo>
                  <a:lnTo>
                    <a:pt x="4247389" y="9866226"/>
                  </a:lnTo>
                  <a:lnTo>
                    <a:pt x="4261065" y="9842385"/>
                  </a:lnTo>
                  <a:lnTo>
                    <a:pt x="4274744" y="9818545"/>
                  </a:lnTo>
                  <a:lnTo>
                    <a:pt x="4287577" y="9794881"/>
                  </a:lnTo>
                  <a:lnTo>
                    <a:pt x="4299151" y="9775737"/>
                  </a:lnTo>
                  <a:lnTo>
                    <a:pt x="4310718" y="9756586"/>
                  </a:lnTo>
                  <a:lnTo>
                    <a:pt x="4334514" y="9737651"/>
                  </a:lnTo>
                  <a:lnTo>
                    <a:pt x="4363214" y="9732620"/>
                  </a:lnTo>
                  <a:lnTo>
                    <a:pt x="4395589" y="9739967"/>
                  </a:lnTo>
                  <a:lnTo>
                    <a:pt x="4429731" y="9753974"/>
                  </a:lnTo>
                  <a:lnTo>
                    <a:pt x="4463707" y="9769630"/>
                  </a:lnTo>
                  <a:lnTo>
                    <a:pt x="4497572" y="9790001"/>
                  </a:lnTo>
                  <a:lnTo>
                    <a:pt x="4524941" y="9793418"/>
                  </a:lnTo>
                  <a:lnTo>
                    <a:pt x="4562459" y="9789295"/>
                  </a:lnTo>
                  <a:lnTo>
                    <a:pt x="4596245" y="9770342"/>
                  </a:lnTo>
                  <a:lnTo>
                    <a:pt x="4629682" y="9748532"/>
                  </a:lnTo>
                  <a:lnTo>
                    <a:pt x="4667219" y="9732448"/>
                  </a:lnTo>
                  <a:lnTo>
                    <a:pt x="4689531" y="9734928"/>
                  </a:lnTo>
                  <a:lnTo>
                    <a:pt x="4711841" y="9737421"/>
                  </a:lnTo>
                  <a:lnTo>
                    <a:pt x="4736188" y="9747940"/>
                  </a:lnTo>
                  <a:lnTo>
                    <a:pt x="4767059" y="9774379"/>
                  </a:lnTo>
                  <a:lnTo>
                    <a:pt x="4787002" y="9791452"/>
                  </a:lnTo>
                  <a:lnTo>
                    <a:pt x="4828438" y="9836179"/>
                  </a:lnTo>
                  <a:lnTo>
                    <a:pt x="4835066" y="9862790"/>
                  </a:lnTo>
                  <a:lnTo>
                    <a:pt x="4926201" y="9838310"/>
                  </a:lnTo>
                  <a:lnTo>
                    <a:pt x="4967453" y="9827124"/>
                  </a:lnTo>
                  <a:lnTo>
                    <a:pt x="5029959" y="9780584"/>
                  </a:lnTo>
                  <a:lnTo>
                    <a:pt x="5052698" y="9774379"/>
                  </a:lnTo>
                  <a:lnTo>
                    <a:pt x="5096904" y="9775196"/>
                  </a:lnTo>
                  <a:lnTo>
                    <a:pt x="5169461" y="9802175"/>
                  </a:lnTo>
                  <a:lnTo>
                    <a:pt x="5237685" y="9817905"/>
                  </a:lnTo>
                  <a:lnTo>
                    <a:pt x="5271800" y="9825766"/>
                  </a:lnTo>
                  <a:lnTo>
                    <a:pt x="5304202" y="9830515"/>
                  </a:lnTo>
                  <a:lnTo>
                    <a:pt x="5332902" y="9827428"/>
                  </a:lnTo>
                  <a:lnTo>
                    <a:pt x="5361603" y="9824335"/>
                  </a:lnTo>
                  <a:lnTo>
                    <a:pt x="5386592" y="9813176"/>
                  </a:lnTo>
                  <a:lnTo>
                    <a:pt x="5402275" y="9789336"/>
                  </a:lnTo>
                  <a:lnTo>
                    <a:pt x="5420319" y="9761900"/>
                  </a:lnTo>
                  <a:lnTo>
                    <a:pt x="5421847" y="9722859"/>
                  </a:lnTo>
                  <a:lnTo>
                    <a:pt x="5436277" y="9695484"/>
                  </a:lnTo>
                  <a:lnTo>
                    <a:pt x="5451176" y="9667264"/>
                  </a:lnTo>
                  <a:lnTo>
                    <a:pt x="5468646" y="9621904"/>
                  </a:lnTo>
                  <a:lnTo>
                    <a:pt x="5487962" y="9597549"/>
                  </a:lnTo>
                  <a:lnTo>
                    <a:pt x="5510972" y="9568551"/>
                  </a:lnTo>
                  <a:lnTo>
                    <a:pt x="5547757" y="9555051"/>
                  </a:lnTo>
                  <a:lnTo>
                    <a:pt x="5585896" y="9541782"/>
                  </a:lnTo>
                  <a:lnTo>
                    <a:pt x="5624041" y="9528513"/>
                  </a:lnTo>
                  <a:lnTo>
                    <a:pt x="5664152" y="9514928"/>
                  </a:lnTo>
                  <a:lnTo>
                    <a:pt x="5691995" y="9486016"/>
                  </a:lnTo>
                  <a:lnTo>
                    <a:pt x="5708476" y="9468896"/>
                  </a:lnTo>
                  <a:lnTo>
                    <a:pt x="5714911" y="9445010"/>
                  </a:lnTo>
                  <a:lnTo>
                    <a:pt x="5720558" y="9420727"/>
                  </a:lnTo>
                  <a:lnTo>
                    <a:pt x="5726202" y="9396443"/>
                  </a:lnTo>
                  <a:lnTo>
                    <a:pt x="5731340" y="9371409"/>
                  </a:lnTo>
                  <a:lnTo>
                    <a:pt x="5740963" y="9351355"/>
                  </a:lnTo>
                  <a:lnTo>
                    <a:pt x="6008154" y="9383254"/>
                  </a:lnTo>
                  <a:lnTo>
                    <a:pt x="6042922" y="9394881"/>
                  </a:lnTo>
                  <a:lnTo>
                    <a:pt x="6049491" y="9419092"/>
                  </a:lnTo>
                  <a:lnTo>
                    <a:pt x="6018719" y="9481703"/>
                  </a:lnTo>
                  <a:lnTo>
                    <a:pt x="6041907" y="9496468"/>
                  </a:lnTo>
                  <a:lnTo>
                    <a:pt x="6070496" y="9505029"/>
                  </a:lnTo>
                  <a:lnTo>
                    <a:pt x="6097332" y="9515937"/>
                  </a:lnTo>
                  <a:lnTo>
                    <a:pt x="6124172" y="9526845"/>
                  </a:lnTo>
                  <a:lnTo>
                    <a:pt x="6148784" y="9541228"/>
                  </a:lnTo>
                  <a:lnTo>
                    <a:pt x="6165344" y="9556747"/>
                  </a:lnTo>
                  <a:lnTo>
                    <a:pt x="6127937" y="9635852"/>
                  </a:lnTo>
                  <a:lnTo>
                    <a:pt x="6124534" y="9666922"/>
                  </a:lnTo>
                  <a:lnTo>
                    <a:pt x="6122029" y="9690002"/>
                  </a:lnTo>
                  <a:lnTo>
                    <a:pt x="6143877" y="9725899"/>
                  </a:lnTo>
                  <a:lnTo>
                    <a:pt x="6146298" y="9751250"/>
                  </a:lnTo>
                  <a:lnTo>
                    <a:pt x="6148573" y="9775374"/>
                  </a:lnTo>
                  <a:lnTo>
                    <a:pt x="6135317" y="9800540"/>
                  </a:lnTo>
                  <a:lnTo>
                    <a:pt x="6142222" y="9824704"/>
                  </a:lnTo>
                  <a:lnTo>
                    <a:pt x="6166096" y="9887303"/>
                  </a:lnTo>
                  <a:lnTo>
                    <a:pt x="6187114" y="9929437"/>
                  </a:lnTo>
                  <a:lnTo>
                    <a:pt x="6208125" y="9971579"/>
                  </a:lnTo>
                  <a:lnTo>
                    <a:pt x="6232137" y="10011637"/>
                  </a:lnTo>
                  <a:lnTo>
                    <a:pt x="6267427" y="10042632"/>
                  </a:lnTo>
                  <a:lnTo>
                    <a:pt x="6290436" y="10056515"/>
                  </a:lnTo>
                  <a:lnTo>
                    <a:pt x="6314969" y="10068181"/>
                  </a:lnTo>
                  <a:lnTo>
                    <a:pt x="6339503" y="10079848"/>
                  </a:lnTo>
                  <a:lnTo>
                    <a:pt x="6364892" y="10089423"/>
                  </a:lnTo>
                  <a:lnTo>
                    <a:pt x="6388424" y="10102185"/>
                  </a:lnTo>
                  <a:lnTo>
                    <a:pt x="6379500" y="10135265"/>
                  </a:lnTo>
                  <a:lnTo>
                    <a:pt x="6357137" y="10163392"/>
                  </a:lnTo>
                  <a:lnTo>
                    <a:pt x="6334774" y="10191519"/>
                  </a:lnTo>
                  <a:lnTo>
                    <a:pt x="6303362" y="10226255"/>
                  </a:lnTo>
                  <a:lnTo>
                    <a:pt x="6272801" y="10261326"/>
                  </a:lnTo>
                  <a:lnTo>
                    <a:pt x="6242247" y="10296404"/>
                  </a:lnTo>
                  <a:lnTo>
                    <a:pt x="6211726" y="10332591"/>
                  </a:lnTo>
                  <a:lnTo>
                    <a:pt x="6191189" y="10364701"/>
                  </a:lnTo>
                  <a:lnTo>
                    <a:pt x="6170660" y="10396812"/>
                  </a:lnTo>
                  <a:lnTo>
                    <a:pt x="6160365" y="10424353"/>
                  </a:lnTo>
                  <a:lnTo>
                    <a:pt x="6176114" y="10457571"/>
                  </a:lnTo>
                  <a:lnTo>
                    <a:pt x="6214318" y="10476241"/>
                  </a:lnTo>
                  <a:lnTo>
                    <a:pt x="6234452" y="10484583"/>
                  </a:lnTo>
                  <a:lnTo>
                    <a:pt x="6256478" y="10491403"/>
                  </a:lnTo>
                  <a:lnTo>
                    <a:pt x="6278243" y="10512961"/>
                  </a:lnTo>
                  <a:lnTo>
                    <a:pt x="6271099" y="10537726"/>
                  </a:lnTo>
                  <a:lnTo>
                    <a:pt x="6272327" y="10559422"/>
                  </a:lnTo>
                  <a:lnTo>
                    <a:pt x="6278243" y="10579616"/>
                  </a:lnTo>
                  <a:lnTo>
                    <a:pt x="6284157" y="10599803"/>
                  </a:lnTo>
                  <a:lnTo>
                    <a:pt x="6305446" y="10634024"/>
                  </a:lnTo>
                  <a:lnTo>
                    <a:pt x="6327539" y="10666524"/>
                  </a:lnTo>
                  <a:lnTo>
                    <a:pt x="6351235" y="10692395"/>
                  </a:lnTo>
                  <a:lnTo>
                    <a:pt x="6346256" y="10712912"/>
                  </a:lnTo>
                  <a:lnTo>
                    <a:pt x="6320569" y="10749401"/>
                  </a:lnTo>
                  <a:lnTo>
                    <a:pt x="6304088" y="10767320"/>
                  </a:lnTo>
                  <a:lnTo>
                    <a:pt x="6287607" y="10785246"/>
                  </a:lnTo>
                  <a:lnTo>
                    <a:pt x="6272868" y="10801891"/>
                  </a:lnTo>
                  <a:lnTo>
                    <a:pt x="6278928" y="10832069"/>
                  </a:lnTo>
                  <a:lnTo>
                    <a:pt x="6306812" y="10859813"/>
                  </a:lnTo>
                  <a:lnTo>
                    <a:pt x="6341428" y="10882316"/>
                  </a:lnTo>
                  <a:lnTo>
                    <a:pt x="6361213" y="10889741"/>
                  </a:lnTo>
                  <a:lnTo>
                    <a:pt x="6400795" y="10904587"/>
                  </a:lnTo>
                  <a:lnTo>
                    <a:pt x="6445496" y="10908114"/>
                  </a:lnTo>
                  <a:lnTo>
                    <a:pt x="6479552" y="10900623"/>
                  </a:lnTo>
                  <a:lnTo>
                    <a:pt x="6534553" y="10870847"/>
                  </a:lnTo>
                  <a:lnTo>
                    <a:pt x="6605924" y="10888700"/>
                  </a:lnTo>
                  <a:lnTo>
                    <a:pt x="6665818" y="10897603"/>
                  </a:lnTo>
                  <a:lnTo>
                    <a:pt x="6727112" y="10910146"/>
                  </a:lnTo>
                  <a:lnTo>
                    <a:pt x="6757460" y="10916365"/>
                  </a:lnTo>
                  <a:lnTo>
                    <a:pt x="6784685" y="10929482"/>
                  </a:lnTo>
                  <a:lnTo>
                    <a:pt x="6816881" y="10930544"/>
                  </a:lnTo>
                  <a:lnTo>
                    <a:pt x="6867128" y="10932179"/>
                  </a:lnTo>
                  <a:lnTo>
                    <a:pt x="6912290" y="10921198"/>
                  </a:lnTo>
                  <a:lnTo>
                    <a:pt x="6961065" y="10916946"/>
                  </a:lnTo>
                  <a:lnTo>
                    <a:pt x="7002679" y="10913312"/>
                  </a:lnTo>
                  <a:lnTo>
                    <a:pt x="7044543" y="10914802"/>
                  </a:lnTo>
                  <a:lnTo>
                    <a:pt x="7086203" y="10911505"/>
                  </a:lnTo>
                  <a:lnTo>
                    <a:pt x="7121632" y="10908722"/>
                  </a:lnTo>
                  <a:lnTo>
                    <a:pt x="7154785" y="10899160"/>
                  </a:lnTo>
                  <a:lnTo>
                    <a:pt x="7190938" y="10901981"/>
                  </a:lnTo>
                  <a:lnTo>
                    <a:pt x="7216268" y="10903959"/>
                  </a:lnTo>
                  <a:lnTo>
                    <a:pt x="7282811" y="10926871"/>
                  </a:lnTo>
                  <a:lnTo>
                    <a:pt x="7304937" y="10892161"/>
                  </a:lnTo>
                  <a:lnTo>
                    <a:pt x="7302608" y="10864073"/>
                  </a:lnTo>
                  <a:lnTo>
                    <a:pt x="7303828" y="10836692"/>
                  </a:lnTo>
                  <a:lnTo>
                    <a:pt x="7305048" y="10809309"/>
                  </a:lnTo>
                  <a:lnTo>
                    <a:pt x="7309982" y="10782923"/>
                  </a:lnTo>
                  <a:lnTo>
                    <a:pt x="7331033" y="10757804"/>
                  </a:lnTo>
                  <a:lnTo>
                    <a:pt x="7351965" y="10748927"/>
                  </a:lnTo>
                  <a:lnTo>
                    <a:pt x="7375159" y="10739219"/>
                  </a:lnTo>
                  <a:lnTo>
                    <a:pt x="7399046" y="10730593"/>
                  </a:lnTo>
                  <a:lnTo>
                    <a:pt x="7422927" y="10721973"/>
                  </a:lnTo>
                  <a:lnTo>
                    <a:pt x="7447063" y="10714878"/>
                  </a:lnTo>
                  <a:lnTo>
                    <a:pt x="7469770" y="10711554"/>
                  </a:lnTo>
                  <a:lnTo>
                    <a:pt x="7492654" y="10708210"/>
                  </a:lnTo>
                  <a:lnTo>
                    <a:pt x="7518487" y="10722567"/>
                  </a:lnTo>
                  <a:lnTo>
                    <a:pt x="7545947" y="10734675"/>
                  </a:lnTo>
                  <a:lnTo>
                    <a:pt x="7573468" y="10746243"/>
                  </a:lnTo>
                  <a:lnTo>
                    <a:pt x="7602756" y="10750319"/>
                  </a:lnTo>
                  <a:lnTo>
                    <a:pt x="7633001" y="10741475"/>
                  </a:lnTo>
                  <a:lnTo>
                    <a:pt x="7663416" y="10727196"/>
                  </a:lnTo>
                  <a:lnTo>
                    <a:pt x="7685529" y="10712069"/>
                  </a:lnTo>
                  <a:lnTo>
                    <a:pt x="7702365" y="10696590"/>
                  </a:lnTo>
                  <a:lnTo>
                    <a:pt x="7719201" y="10681119"/>
                  </a:lnTo>
                  <a:lnTo>
                    <a:pt x="7741809" y="10650347"/>
                  </a:lnTo>
                  <a:lnTo>
                    <a:pt x="7763104" y="10618756"/>
                  </a:lnTo>
                  <a:lnTo>
                    <a:pt x="7779835" y="10586811"/>
                  </a:lnTo>
                  <a:lnTo>
                    <a:pt x="7820704" y="10559211"/>
                  </a:lnTo>
                  <a:lnTo>
                    <a:pt x="7851786" y="10555551"/>
                  </a:lnTo>
                  <a:lnTo>
                    <a:pt x="7873753" y="10556494"/>
                  </a:lnTo>
                  <a:lnTo>
                    <a:pt x="7895340" y="10557675"/>
                  </a:lnTo>
                  <a:lnTo>
                    <a:pt x="7919997" y="10561929"/>
                  </a:lnTo>
                  <a:lnTo>
                    <a:pt x="7914821" y="10537019"/>
                  </a:lnTo>
                  <a:lnTo>
                    <a:pt x="7917129" y="10506459"/>
                  </a:lnTo>
                  <a:lnTo>
                    <a:pt x="7924087" y="10478957"/>
                  </a:lnTo>
                  <a:lnTo>
                    <a:pt x="7953987" y="10461258"/>
                  </a:lnTo>
                  <a:lnTo>
                    <a:pt x="7992120" y="10447691"/>
                  </a:lnTo>
                  <a:lnTo>
                    <a:pt x="8026102" y="10439507"/>
                  </a:lnTo>
                  <a:lnTo>
                    <a:pt x="8040611" y="10386768"/>
                  </a:lnTo>
                  <a:lnTo>
                    <a:pt x="8045143" y="10347020"/>
                  </a:lnTo>
                  <a:lnTo>
                    <a:pt x="8049673" y="10307267"/>
                  </a:lnTo>
                  <a:lnTo>
                    <a:pt x="8047978" y="10267552"/>
                  </a:lnTo>
                  <a:lnTo>
                    <a:pt x="7997065" y="10252614"/>
                  </a:lnTo>
                  <a:lnTo>
                    <a:pt x="7967824" y="10266107"/>
                  </a:lnTo>
                  <a:lnTo>
                    <a:pt x="7933602" y="10272207"/>
                  </a:lnTo>
                  <a:lnTo>
                    <a:pt x="7893889" y="10279284"/>
                  </a:lnTo>
                  <a:lnTo>
                    <a:pt x="7845468" y="10274416"/>
                  </a:lnTo>
                  <a:lnTo>
                    <a:pt x="7805747" y="10270849"/>
                  </a:lnTo>
                  <a:lnTo>
                    <a:pt x="7815586" y="10247345"/>
                  </a:lnTo>
                  <a:lnTo>
                    <a:pt x="7832278" y="10234530"/>
                  </a:lnTo>
                  <a:lnTo>
                    <a:pt x="7846557" y="10215083"/>
                  </a:lnTo>
                  <a:lnTo>
                    <a:pt x="7869929" y="10183230"/>
                  </a:lnTo>
                  <a:lnTo>
                    <a:pt x="7893704" y="10142065"/>
                  </a:lnTo>
                  <a:lnTo>
                    <a:pt x="7910481" y="10099461"/>
                  </a:lnTo>
                  <a:lnTo>
                    <a:pt x="7927259" y="10056857"/>
                  </a:lnTo>
                  <a:lnTo>
                    <a:pt x="7936880" y="10013114"/>
                  </a:lnTo>
                  <a:lnTo>
                    <a:pt x="7934968" y="9972963"/>
                  </a:lnTo>
                  <a:lnTo>
                    <a:pt x="7933464" y="9941460"/>
                  </a:lnTo>
                  <a:lnTo>
                    <a:pt x="7917926" y="9920481"/>
                  </a:lnTo>
                  <a:lnTo>
                    <a:pt x="7902324" y="9898151"/>
                  </a:lnTo>
                  <a:lnTo>
                    <a:pt x="7886720" y="9875828"/>
                  </a:lnTo>
                  <a:lnTo>
                    <a:pt x="7871755" y="9850985"/>
                  </a:lnTo>
                  <a:lnTo>
                    <a:pt x="7872395" y="9809741"/>
                  </a:lnTo>
                  <a:lnTo>
                    <a:pt x="7900662" y="9798351"/>
                  </a:lnTo>
                  <a:lnTo>
                    <a:pt x="7916369" y="9766663"/>
                  </a:lnTo>
                  <a:lnTo>
                    <a:pt x="7944490" y="9762131"/>
                  </a:lnTo>
                  <a:lnTo>
                    <a:pt x="7972203" y="9757646"/>
                  </a:lnTo>
                  <a:lnTo>
                    <a:pt x="8002361" y="9779898"/>
                  </a:lnTo>
                  <a:lnTo>
                    <a:pt x="8028820" y="9768937"/>
                  </a:lnTo>
                  <a:lnTo>
                    <a:pt x="8054665" y="9745810"/>
                  </a:lnTo>
                  <a:lnTo>
                    <a:pt x="8063118" y="9696822"/>
                  </a:lnTo>
                  <a:lnTo>
                    <a:pt x="8089328" y="9681028"/>
                  </a:lnTo>
                  <a:lnTo>
                    <a:pt x="8121313" y="9692766"/>
                  </a:lnTo>
                  <a:lnTo>
                    <a:pt x="8152778" y="9699361"/>
                  </a:lnTo>
                  <a:lnTo>
                    <a:pt x="8170281" y="9687325"/>
                  </a:lnTo>
                  <a:lnTo>
                    <a:pt x="8206558" y="9662351"/>
                  </a:lnTo>
                  <a:lnTo>
                    <a:pt x="8266895" y="9607685"/>
                  </a:lnTo>
                  <a:lnTo>
                    <a:pt x="8296779" y="9590749"/>
                  </a:lnTo>
                  <a:lnTo>
                    <a:pt x="8320889" y="9577091"/>
                  </a:lnTo>
                  <a:lnTo>
                    <a:pt x="8345954" y="9570107"/>
                  </a:lnTo>
                  <a:lnTo>
                    <a:pt x="8370232" y="9560823"/>
                  </a:lnTo>
                  <a:lnTo>
                    <a:pt x="8394500" y="9551543"/>
                  </a:lnTo>
                  <a:lnTo>
                    <a:pt x="8417701" y="9540687"/>
                  </a:lnTo>
                  <a:lnTo>
                    <a:pt x="8439604" y="9521379"/>
                  </a:lnTo>
                  <a:lnTo>
                    <a:pt x="8475816" y="9476770"/>
                  </a:lnTo>
                  <a:lnTo>
                    <a:pt x="8560660" y="9450648"/>
                  </a:lnTo>
                  <a:lnTo>
                    <a:pt x="8577701" y="9437602"/>
                  </a:lnTo>
                  <a:lnTo>
                    <a:pt x="8603566" y="9407102"/>
                  </a:lnTo>
                  <a:lnTo>
                    <a:pt x="8636829" y="9379917"/>
                  </a:lnTo>
                  <a:lnTo>
                    <a:pt x="8648515" y="9359129"/>
                  </a:lnTo>
                  <a:lnTo>
                    <a:pt x="8667965" y="9323471"/>
                  </a:lnTo>
                  <a:lnTo>
                    <a:pt x="8658316" y="9302322"/>
                  </a:lnTo>
                  <a:lnTo>
                    <a:pt x="8673549" y="9272460"/>
                  </a:lnTo>
                  <a:lnTo>
                    <a:pt x="8704890" y="9250229"/>
                  </a:lnTo>
                  <a:lnTo>
                    <a:pt x="8730681" y="9238456"/>
                  </a:lnTo>
                  <a:lnTo>
                    <a:pt x="8756475" y="9226685"/>
                  </a:lnTo>
                  <a:lnTo>
                    <a:pt x="8786653" y="9214036"/>
                  </a:lnTo>
                  <a:lnTo>
                    <a:pt x="8816378" y="9197654"/>
                  </a:lnTo>
                  <a:lnTo>
                    <a:pt x="8846094" y="9181272"/>
                  </a:lnTo>
                  <a:lnTo>
                    <a:pt x="8874827" y="9161876"/>
                  </a:lnTo>
                  <a:lnTo>
                    <a:pt x="8896630" y="9136441"/>
                  </a:lnTo>
                  <a:lnTo>
                    <a:pt x="8918428" y="9111010"/>
                  </a:lnTo>
                  <a:lnTo>
                    <a:pt x="8934042" y="9080147"/>
                  </a:lnTo>
                  <a:lnTo>
                    <a:pt x="8936073" y="9041230"/>
                  </a:lnTo>
                  <a:lnTo>
                    <a:pt x="8910986" y="8990231"/>
                  </a:lnTo>
                  <a:lnTo>
                    <a:pt x="8885741" y="8950095"/>
                  </a:lnTo>
                  <a:lnTo>
                    <a:pt x="8860502" y="8909958"/>
                  </a:lnTo>
                  <a:lnTo>
                    <a:pt x="8828545" y="8862336"/>
                  </a:lnTo>
                  <a:lnTo>
                    <a:pt x="8798695" y="8815433"/>
                  </a:lnTo>
                  <a:lnTo>
                    <a:pt x="8768840" y="8768537"/>
                  </a:lnTo>
                  <a:lnTo>
                    <a:pt x="8740897" y="8722919"/>
                  </a:lnTo>
                  <a:lnTo>
                    <a:pt x="8721159" y="8684854"/>
                  </a:lnTo>
                  <a:lnTo>
                    <a:pt x="8701421" y="8646795"/>
                  </a:lnTo>
                  <a:lnTo>
                    <a:pt x="8690209" y="8616874"/>
                  </a:lnTo>
                  <a:lnTo>
                    <a:pt x="8710006" y="8590876"/>
                  </a:lnTo>
                  <a:lnTo>
                    <a:pt x="8742624" y="8578399"/>
                  </a:lnTo>
                  <a:lnTo>
                    <a:pt x="8757504" y="8548069"/>
                  </a:lnTo>
                  <a:lnTo>
                    <a:pt x="8691573" y="8311840"/>
                  </a:lnTo>
                  <a:lnTo>
                    <a:pt x="8687155" y="8268636"/>
                  </a:lnTo>
                  <a:lnTo>
                    <a:pt x="8685012" y="8247783"/>
                  </a:lnTo>
                  <a:lnTo>
                    <a:pt x="8712257" y="8218159"/>
                  </a:lnTo>
                  <a:lnTo>
                    <a:pt x="8739809" y="8216978"/>
                  </a:lnTo>
                  <a:lnTo>
                    <a:pt x="8788125" y="8206407"/>
                  </a:lnTo>
                  <a:lnTo>
                    <a:pt x="8836780" y="8189742"/>
                  </a:lnTo>
                  <a:lnTo>
                    <a:pt x="8885431" y="8173076"/>
                  </a:lnTo>
                  <a:lnTo>
                    <a:pt x="8934427" y="8150298"/>
                  </a:lnTo>
                  <a:lnTo>
                    <a:pt x="8947951" y="8112469"/>
                  </a:lnTo>
                  <a:lnTo>
                    <a:pt x="8953622" y="8088326"/>
                  </a:lnTo>
                  <a:lnTo>
                    <a:pt x="8952398" y="8067327"/>
                  </a:lnTo>
                  <a:lnTo>
                    <a:pt x="8928762" y="8053643"/>
                  </a:lnTo>
                  <a:lnTo>
                    <a:pt x="8891440" y="8060996"/>
                  </a:lnTo>
                  <a:lnTo>
                    <a:pt x="8872142" y="8044205"/>
                  </a:lnTo>
                  <a:lnTo>
                    <a:pt x="8865727" y="8011435"/>
                  </a:lnTo>
                  <a:lnTo>
                    <a:pt x="8870409" y="7987199"/>
                  </a:lnTo>
                  <a:lnTo>
                    <a:pt x="8881673" y="7968035"/>
                  </a:lnTo>
                  <a:lnTo>
                    <a:pt x="8893787" y="7950017"/>
                  </a:lnTo>
                  <a:lnTo>
                    <a:pt x="8906152" y="7913626"/>
                  </a:lnTo>
                  <a:lnTo>
                    <a:pt x="8889831" y="7883699"/>
                  </a:lnTo>
                  <a:lnTo>
                    <a:pt x="8865299" y="7872778"/>
                  </a:lnTo>
                  <a:lnTo>
                    <a:pt x="8842209" y="7861012"/>
                  </a:lnTo>
                  <a:lnTo>
                    <a:pt x="8823184" y="7846971"/>
                  </a:lnTo>
                  <a:lnTo>
                    <a:pt x="8804155" y="7832937"/>
                  </a:lnTo>
                  <a:lnTo>
                    <a:pt x="8789028" y="7816114"/>
                  </a:lnTo>
                  <a:lnTo>
                    <a:pt x="8779655" y="7791205"/>
                  </a:lnTo>
                  <a:lnTo>
                    <a:pt x="8774300" y="7732523"/>
                  </a:lnTo>
                  <a:lnTo>
                    <a:pt x="8779655" y="7687553"/>
                  </a:lnTo>
                  <a:lnTo>
                    <a:pt x="8779655" y="7644304"/>
                  </a:lnTo>
                  <a:lnTo>
                    <a:pt x="8779655" y="7605644"/>
                  </a:lnTo>
                  <a:lnTo>
                    <a:pt x="8770840" y="7564775"/>
                  </a:lnTo>
                  <a:lnTo>
                    <a:pt x="8768775" y="7525965"/>
                  </a:lnTo>
                  <a:lnTo>
                    <a:pt x="8766539" y="7483757"/>
                  </a:lnTo>
                  <a:lnTo>
                    <a:pt x="8771162" y="7440805"/>
                  </a:lnTo>
                  <a:lnTo>
                    <a:pt x="8767417" y="7398110"/>
                  </a:lnTo>
                  <a:lnTo>
                    <a:pt x="8776511" y="7376300"/>
                  </a:lnTo>
                  <a:lnTo>
                    <a:pt x="8790882" y="7352967"/>
                  </a:lnTo>
                  <a:lnTo>
                    <a:pt x="8806859" y="7335537"/>
                  </a:lnTo>
                  <a:lnTo>
                    <a:pt x="8778297" y="7297451"/>
                  </a:lnTo>
                  <a:lnTo>
                    <a:pt x="8731837" y="7288509"/>
                  </a:lnTo>
                  <a:lnTo>
                    <a:pt x="8690593" y="7255659"/>
                  </a:lnTo>
                  <a:lnTo>
                    <a:pt x="8670446" y="7207622"/>
                  </a:lnTo>
                  <a:lnTo>
                    <a:pt x="8650441" y="7161431"/>
                  </a:lnTo>
                  <a:lnTo>
                    <a:pt x="8630426" y="7115247"/>
                  </a:lnTo>
                  <a:lnTo>
                    <a:pt x="8611758" y="7071174"/>
                  </a:lnTo>
                  <a:lnTo>
                    <a:pt x="8591951" y="7058056"/>
                  </a:lnTo>
                  <a:lnTo>
                    <a:pt x="8571388" y="7051376"/>
                  </a:lnTo>
                  <a:lnTo>
                    <a:pt x="8538606" y="7053987"/>
                  </a:lnTo>
                  <a:lnTo>
                    <a:pt x="8508973" y="7056698"/>
                  </a:lnTo>
                  <a:lnTo>
                    <a:pt x="8479344" y="7059402"/>
                  </a:lnTo>
                  <a:lnTo>
                    <a:pt x="8451585" y="7062297"/>
                  </a:lnTo>
                  <a:lnTo>
                    <a:pt x="8434169" y="7043099"/>
                  </a:lnTo>
                  <a:lnTo>
                    <a:pt x="8428622" y="6993281"/>
                  </a:lnTo>
                  <a:lnTo>
                    <a:pt x="8455609" y="6939190"/>
                  </a:lnTo>
                  <a:lnTo>
                    <a:pt x="8461373" y="6889398"/>
                  </a:lnTo>
                  <a:lnTo>
                    <a:pt x="8412359" y="6867015"/>
                  </a:lnTo>
                  <a:lnTo>
                    <a:pt x="8394726" y="6851313"/>
                  </a:lnTo>
                  <a:lnTo>
                    <a:pt x="8387728" y="6824794"/>
                  </a:lnTo>
                  <a:lnTo>
                    <a:pt x="8389099" y="6799483"/>
                  </a:lnTo>
                  <a:lnTo>
                    <a:pt x="8392007" y="6775141"/>
                  </a:lnTo>
                  <a:lnTo>
                    <a:pt x="8394903" y="6750793"/>
                  </a:lnTo>
                  <a:lnTo>
                    <a:pt x="8399123" y="6726788"/>
                  </a:lnTo>
                  <a:lnTo>
                    <a:pt x="8397442" y="6700329"/>
                  </a:lnTo>
                  <a:lnTo>
                    <a:pt x="8395926" y="6676468"/>
                  </a:lnTo>
                  <a:lnTo>
                    <a:pt x="8365897" y="6625253"/>
                  </a:lnTo>
                  <a:lnTo>
                    <a:pt x="8330795" y="6580632"/>
                  </a:lnTo>
                  <a:lnTo>
                    <a:pt x="8313240" y="6558321"/>
                  </a:lnTo>
                  <a:lnTo>
                    <a:pt x="8295042" y="6538582"/>
                  </a:lnTo>
                  <a:lnTo>
                    <a:pt x="8277744" y="6523499"/>
                  </a:lnTo>
                  <a:lnTo>
                    <a:pt x="8260446" y="6508424"/>
                  </a:lnTo>
                  <a:lnTo>
                    <a:pt x="8232860" y="6499020"/>
                  </a:lnTo>
                  <a:lnTo>
                    <a:pt x="8184274" y="6500892"/>
                  </a:lnTo>
                  <a:lnTo>
                    <a:pt x="8129809" y="6498268"/>
                  </a:lnTo>
                  <a:lnTo>
                    <a:pt x="8081877" y="6504460"/>
                  </a:lnTo>
                  <a:lnTo>
                    <a:pt x="8047873" y="6518059"/>
                  </a:lnTo>
                  <a:lnTo>
                    <a:pt x="8025773" y="6526817"/>
                  </a:lnTo>
                  <a:lnTo>
                    <a:pt x="8005646" y="6542632"/>
                  </a:lnTo>
                  <a:lnTo>
                    <a:pt x="7983948" y="6550704"/>
                  </a:lnTo>
                  <a:lnTo>
                    <a:pt x="7955274" y="6561394"/>
                  </a:lnTo>
                  <a:lnTo>
                    <a:pt x="7922312" y="6567983"/>
                  </a:lnTo>
                  <a:lnTo>
                    <a:pt x="7892813" y="6576549"/>
                  </a:lnTo>
                  <a:lnTo>
                    <a:pt x="7864250" y="6573826"/>
                  </a:lnTo>
                  <a:lnTo>
                    <a:pt x="7842982" y="6566492"/>
                  </a:lnTo>
                  <a:lnTo>
                    <a:pt x="7826666" y="6530629"/>
                  </a:lnTo>
                  <a:lnTo>
                    <a:pt x="7828367" y="6494601"/>
                  </a:lnTo>
                  <a:lnTo>
                    <a:pt x="7850645" y="6471809"/>
                  </a:lnTo>
                  <a:lnTo>
                    <a:pt x="7954020" y="6465009"/>
                  </a:lnTo>
                  <a:lnTo>
                    <a:pt x="7986236" y="6420382"/>
                  </a:lnTo>
                  <a:lnTo>
                    <a:pt x="7992106" y="6391563"/>
                  </a:lnTo>
                  <a:lnTo>
                    <a:pt x="7902330" y="6348036"/>
                  </a:lnTo>
                  <a:lnTo>
                    <a:pt x="7894501" y="6322190"/>
                  </a:lnTo>
                  <a:lnTo>
                    <a:pt x="7905054" y="6296345"/>
                  </a:lnTo>
                  <a:lnTo>
                    <a:pt x="7940270" y="6292032"/>
                  </a:lnTo>
                  <a:lnTo>
                    <a:pt x="8005131" y="6311560"/>
                  </a:lnTo>
                  <a:lnTo>
                    <a:pt x="8026110" y="6307227"/>
                  </a:lnTo>
                  <a:lnTo>
                    <a:pt x="8045234" y="6292948"/>
                  </a:lnTo>
                  <a:lnTo>
                    <a:pt x="8058753" y="6274582"/>
                  </a:lnTo>
                  <a:lnTo>
                    <a:pt x="8066721" y="6250590"/>
                  </a:lnTo>
                  <a:lnTo>
                    <a:pt x="8075077" y="6229697"/>
                  </a:lnTo>
                  <a:lnTo>
                    <a:pt x="8089356" y="6193992"/>
                  </a:lnTo>
                  <a:lnTo>
                    <a:pt x="8102226" y="6169835"/>
                  </a:lnTo>
                  <a:lnTo>
                    <a:pt x="8106362" y="6145361"/>
                  </a:lnTo>
                  <a:lnTo>
                    <a:pt x="8110499" y="6120894"/>
                  </a:lnTo>
                  <a:lnTo>
                    <a:pt x="8106034" y="6096809"/>
                  </a:lnTo>
                  <a:lnTo>
                    <a:pt x="8085957" y="6061032"/>
                  </a:lnTo>
                  <a:lnTo>
                    <a:pt x="8002987" y="6035187"/>
                  </a:lnTo>
                  <a:lnTo>
                    <a:pt x="7998437" y="5968156"/>
                  </a:lnTo>
                  <a:lnTo>
                    <a:pt x="8012973" y="5939508"/>
                  </a:lnTo>
                  <a:lnTo>
                    <a:pt x="8043797" y="5945417"/>
                  </a:lnTo>
                  <a:lnTo>
                    <a:pt x="8074609" y="5949968"/>
                  </a:lnTo>
                  <a:lnTo>
                    <a:pt x="8102921" y="5914823"/>
                  </a:lnTo>
                  <a:lnTo>
                    <a:pt x="8116036" y="5878426"/>
                  </a:lnTo>
                  <a:lnTo>
                    <a:pt x="8128125" y="5840683"/>
                  </a:lnTo>
                  <a:lnTo>
                    <a:pt x="8140208" y="5802940"/>
                  </a:lnTo>
                  <a:lnTo>
                    <a:pt x="8150515" y="5762996"/>
                  </a:lnTo>
                  <a:lnTo>
                    <a:pt x="8160771" y="5733226"/>
                  </a:lnTo>
                  <a:lnTo>
                    <a:pt x="8147417" y="5714569"/>
                  </a:lnTo>
                  <a:lnTo>
                    <a:pt x="8112238" y="5695121"/>
                  </a:lnTo>
                  <a:lnTo>
                    <a:pt x="8080516" y="5673377"/>
                  </a:lnTo>
                  <a:lnTo>
                    <a:pt x="8049588" y="5650638"/>
                  </a:lnTo>
                  <a:lnTo>
                    <a:pt x="8027118" y="5628110"/>
                  </a:lnTo>
                  <a:lnTo>
                    <a:pt x="8019310" y="5605370"/>
                  </a:lnTo>
                  <a:lnTo>
                    <a:pt x="8044344" y="5559206"/>
                  </a:lnTo>
                  <a:lnTo>
                    <a:pt x="8062666" y="5508900"/>
                  </a:lnTo>
                  <a:lnTo>
                    <a:pt x="8088683" y="5463910"/>
                  </a:lnTo>
                  <a:lnTo>
                    <a:pt x="8121710" y="5406758"/>
                  </a:lnTo>
                  <a:lnTo>
                    <a:pt x="8177180" y="5358365"/>
                  </a:lnTo>
                  <a:lnTo>
                    <a:pt x="8202939" y="5297963"/>
                  </a:lnTo>
                  <a:lnTo>
                    <a:pt x="8238788" y="5202178"/>
                  </a:lnTo>
                  <a:lnTo>
                    <a:pt x="8329276" y="5162226"/>
                  </a:lnTo>
                  <a:lnTo>
                    <a:pt x="8380712" y="5141102"/>
                  </a:lnTo>
                  <a:lnTo>
                    <a:pt x="8408332" y="5108893"/>
                  </a:lnTo>
                  <a:lnTo>
                    <a:pt x="8422132" y="5092795"/>
                  </a:lnTo>
                  <a:lnTo>
                    <a:pt x="8432811" y="5050410"/>
                  </a:lnTo>
                  <a:lnTo>
                    <a:pt x="8434612" y="5026226"/>
                  </a:lnTo>
                  <a:lnTo>
                    <a:pt x="8429822" y="4996938"/>
                  </a:lnTo>
                  <a:lnTo>
                    <a:pt x="8419205" y="4959275"/>
                  </a:lnTo>
                  <a:lnTo>
                    <a:pt x="8406034" y="4912516"/>
                  </a:lnTo>
                  <a:lnTo>
                    <a:pt x="8390689" y="4863701"/>
                  </a:lnTo>
                  <a:lnTo>
                    <a:pt x="8379760" y="4816456"/>
                  </a:lnTo>
                  <a:lnTo>
                    <a:pt x="8369646" y="4772652"/>
                  </a:lnTo>
                  <a:lnTo>
                    <a:pt x="8369360" y="4730168"/>
                  </a:lnTo>
                  <a:lnTo>
                    <a:pt x="8352558" y="4687235"/>
                  </a:lnTo>
                  <a:lnTo>
                    <a:pt x="8343588" y="4664311"/>
                  </a:lnTo>
                  <a:lnTo>
                    <a:pt x="8326448" y="4649808"/>
                  </a:lnTo>
                  <a:lnTo>
                    <a:pt x="8304949" y="4640985"/>
                  </a:lnTo>
                  <a:lnTo>
                    <a:pt x="8283455" y="4632168"/>
                  </a:lnTo>
                  <a:lnTo>
                    <a:pt x="8258251" y="4628619"/>
                  </a:lnTo>
                  <a:lnTo>
                    <a:pt x="8231502" y="4628745"/>
                  </a:lnTo>
                  <a:lnTo>
                    <a:pt x="8177995" y="4629008"/>
                  </a:lnTo>
                  <a:lnTo>
                    <a:pt x="8120910" y="4642502"/>
                  </a:lnTo>
                  <a:lnTo>
                    <a:pt x="8090041" y="4647791"/>
                  </a:lnTo>
                  <a:lnTo>
                    <a:pt x="8066920" y="4647791"/>
                  </a:lnTo>
                  <a:lnTo>
                    <a:pt x="8064790" y="4544673"/>
                  </a:lnTo>
                  <a:lnTo>
                    <a:pt x="8099287" y="4385656"/>
                  </a:lnTo>
                  <a:lnTo>
                    <a:pt x="8121326" y="4292781"/>
                  </a:lnTo>
                  <a:lnTo>
                    <a:pt x="8126259" y="4271993"/>
                  </a:lnTo>
                  <a:lnTo>
                    <a:pt x="8135182" y="4251120"/>
                  </a:lnTo>
                  <a:lnTo>
                    <a:pt x="8139008" y="4230208"/>
                  </a:lnTo>
                  <a:lnTo>
                    <a:pt x="8142959" y="4186490"/>
                  </a:lnTo>
                  <a:lnTo>
                    <a:pt x="8107107" y="4132722"/>
                  </a:lnTo>
                  <a:lnTo>
                    <a:pt x="8069273" y="4106560"/>
                  </a:lnTo>
                  <a:lnTo>
                    <a:pt x="8041073" y="4071066"/>
                  </a:lnTo>
                  <a:lnTo>
                    <a:pt x="7988980" y="4005434"/>
                  </a:lnTo>
                  <a:lnTo>
                    <a:pt x="7948705" y="3933813"/>
                  </a:lnTo>
                  <a:lnTo>
                    <a:pt x="7902330" y="3864316"/>
                  </a:lnTo>
                  <a:lnTo>
                    <a:pt x="7876510" y="3825591"/>
                  </a:lnTo>
                  <a:lnTo>
                    <a:pt x="7846840" y="3790038"/>
                  </a:lnTo>
                  <a:lnTo>
                    <a:pt x="7824800" y="3748701"/>
                  </a:lnTo>
                  <a:lnTo>
                    <a:pt x="7792267" y="3737225"/>
                  </a:lnTo>
                  <a:lnTo>
                    <a:pt x="7756681" y="3743847"/>
                  </a:lnTo>
                  <a:lnTo>
                    <a:pt x="7722783" y="3739178"/>
                  </a:lnTo>
                  <a:lnTo>
                    <a:pt x="7715259" y="3702754"/>
                  </a:lnTo>
                  <a:lnTo>
                    <a:pt x="7722256" y="3643519"/>
                  </a:lnTo>
                  <a:lnTo>
                    <a:pt x="7714625" y="3597717"/>
                  </a:lnTo>
                  <a:lnTo>
                    <a:pt x="7774942" y="3577062"/>
                  </a:lnTo>
                  <a:lnTo>
                    <a:pt x="7832773" y="3575776"/>
                  </a:lnTo>
                  <a:lnTo>
                    <a:pt x="7883291" y="3584118"/>
                  </a:lnTo>
                  <a:lnTo>
                    <a:pt x="7915599" y="3606535"/>
                  </a:lnTo>
                  <a:lnTo>
                    <a:pt x="7932257" y="3623563"/>
                  </a:lnTo>
                  <a:lnTo>
                    <a:pt x="7948910" y="3640597"/>
                  </a:lnTo>
                  <a:lnTo>
                    <a:pt x="7967513" y="3655937"/>
                  </a:lnTo>
                  <a:lnTo>
                    <a:pt x="7989382" y="3650766"/>
                  </a:lnTo>
                  <a:lnTo>
                    <a:pt x="7996214" y="3600461"/>
                  </a:lnTo>
                  <a:lnTo>
                    <a:pt x="7990742" y="3565079"/>
                  </a:lnTo>
                  <a:lnTo>
                    <a:pt x="7985267" y="3529691"/>
                  </a:lnTo>
                  <a:lnTo>
                    <a:pt x="7976654" y="3493815"/>
                  </a:lnTo>
                  <a:lnTo>
                    <a:pt x="7972216" y="3462436"/>
                  </a:lnTo>
                  <a:lnTo>
                    <a:pt x="7971437" y="3430503"/>
                  </a:lnTo>
                  <a:lnTo>
                    <a:pt x="7973060" y="3399131"/>
                  </a:lnTo>
                  <a:lnTo>
                    <a:pt x="7974682" y="3367760"/>
                  </a:lnTo>
                  <a:lnTo>
                    <a:pt x="7978883" y="3336658"/>
                  </a:lnTo>
                  <a:lnTo>
                    <a:pt x="7995845" y="3300452"/>
                  </a:lnTo>
                  <a:lnTo>
                    <a:pt x="8012432" y="3281993"/>
                  </a:lnTo>
                  <a:lnTo>
                    <a:pt x="8028832" y="3263112"/>
                  </a:lnTo>
                  <a:lnTo>
                    <a:pt x="8045228" y="3244231"/>
                  </a:lnTo>
                  <a:lnTo>
                    <a:pt x="8061478" y="3224973"/>
                  </a:lnTo>
                  <a:lnTo>
                    <a:pt x="8070994" y="3203263"/>
                  </a:lnTo>
                  <a:lnTo>
                    <a:pt x="8072352" y="3173342"/>
                  </a:lnTo>
                  <a:lnTo>
                    <a:pt x="8067624" y="3152535"/>
                  </a:lnTo>
                  <a:lnTo>
                    <a:pt x="8060092" y="3119396"/>
                  </a:lnTo>
                  <a:lnTo>
                    <a:pt x="8050313" y="3100514"/>
                  </a:lnTo>
                  <a:lnTo>
                    <a:pt x="8023670" y="3069340"/>
                  </a:lnTo>
                  <a:lnTo>
                    <a:pt x="7989382" y="3046838"/>
                  </a:lnTo>
                  <a:lnTo>
                    <a:pt x="7952457" y="3027442"/>
                  </a:lnTo>
                  <a:lnTo>
                    <a:pt x="7906840" y="3017168"/>
                  </a:lnTo>
                  <a:lnTo>
                    <a:pt x="7865610" y="3006036"/>
                  </a:lnTo>
                  <a:lnTo>
                    <a:pt x="7848628" y="2972560"/>
                  </a:lnTo>
                  <a:lnTo>
                    <a:pt x="7845158" y="2942401"/>
                  </a:lnTo>
                  <a:lnTo>
                    <a:pt x="7831599" y="2923065"/>
                  </a:lnTo>
                  <a:lnTo>
                    <a:pt x="7810811" y="2881392"/>
                  </a:lnTo>
                  <a:lnTo>
                    <a:pt x="7790797" y="2859134"/>
                  </a:lnTo>
                  <a:lnTo>
                    <a:pt x="7770781" y="2836876"/>
                  </a:lnTo>
                  <a:lnTo>
                    <a:pt x="7745377" y="2814473"/>
                  </a:lnTo>
                  <a:lnTo>
                    <a:pt x="7718701" y="2793845"/>
                  </a:lnTo>
                  <a:lnTo>
                    <a:pt x="7665361" y="2752580"/>
                  </a:lnTo>
                  <a:lnTo>
                    <a:pt x="7605573" y="2718195"/>
                  </a:lnTo>
                  <a:lnTo>
                    <a:pt x="7566358" y="2708150"/>
                  </a:lnTo>
                  <a:lnTo>
                    <a:pt x="7538158" y="2735697"/>
                  </a:lnTo>
                  <a:lnTo>
                    <a:pt x="7462772" y="2868592"/>
                  </a:lnTo>
                  <a:lnTo>
                    <a:pt x="7431044" y="2838993"/>
                  </a:lnTo>
                  <a:lnTo>
                    <a:pt x="7415705" y="2787065"/>
                  </a:lnTo>
                  <a:lnTo>
                    <a:pt x="7403136" y="2735355"/>
                  </a:lnTo>
                  <a:lnTo>
                    <a:pt x="7390572" y="2683644"/>
                  </a:lnTo>
                  <a:lnTo>
                    <a:pt x="7381464" y="2631696"/>
                  </a:lnTo>
                  <a:lnTo>
                    <a:pt x="7378655" y="2597976"/>
                  </a:lnTo>
                  <a:lnTo>
                    <a:pt x="7374849" y="2552300"/>
                  </a:lnTo>
                  <a:lnTo>
                    <a:pt x="7373531" y="2502953"/>
                  </a:lnTo>
                  <a:lnTo>
                    <a:pt x="7366414" y="2457875"/>
                  </a:lnTo>
                  <a:lnTo>
                    <a:pt x="7360591" y="2420936"/>
                  </a:lnTo>
                  <a:lnTo>
                    <a:pt x="7339125" y="2373861"/>
                  </a:lnTo>
                  <a:lnTo>
                    <a:pt x="7328329" y="2336817"/>
                  </a:lnTo>
                  <a:lnTo>
                    <a:pt x="7318700" y="2296500"/>
                  </a:lnTo>
                  <a:lnTo>
                    <a:pt x="7284848" y="2232677"/>
                  </a:lnTo>
                  <a:lnTo>
                    <a:pt x="7287526" y="2208958"/>
                  </a:lnTo>
                  <a:lnTo>
                    <a:pt x="7336270" y="2201900"/>
                  </a:lnTo>
                  <a:lnTo>
                    <a:pt x="7370398" y="2197876"/>
                  </a:lnTo>
                  <a:lnTo>
                    <a:pt x="7401770" y="2187192"/>
                  </a:lnTo>
                  <a:lnTo>
                    <a:pt x="7433141" y="2176507"/>
                  </a:lnTo>
                  <a:lnTo>
                    <a:pt x="7461909" y="2159286"/>
                  </a:lnTo>
                  <a:lnTo>
                    <a:pt x="7495621" y="2135506"/>
                  </a:lnTo>
                  <a:lnTo>
                    <a:pt x="7547913" y="2098628"/>
                  </a:lnTo>
                  <a:lnTo>
                    <a:pt x="7584211" y="2074174"/>
                  </a:lnTo>
                  <a:lnTo>
                    <a:pt x="7613961" y="2044372"/>
                  </a:lnTo>
                  <a:lnTo>
                    <a:pt x="7643710" y="2014570"/>
                  </a:lnTo>
                  <a:lnTo>
                    <a:pt x="7667650" y="1978661"/>
                  </a:lnTo>
                  <a:lnTo>
                    <a:pt x="7695572" y="1920594"/>
                  </a:lnTo>
                  <a:lnTo>
                    <a:pt x="7707377" y="1896050"/>
                  </a:lnTo>
                  <a:lnTo>
                    <a:pt x="7724965" y="1854391"/>
                  </a:lnTo>
                  <a:lnTo>
                    <a:pt x="7724135" y="1825380"/>
                  </a:lnTo>
                  <a:lnTo>
                    <a:pt x="7723054" y="1786806"/>
                  </a:lnTo>
                  <a:lnTo>
                    <a:pt x="7717296" y="1752737"/>
                  </a:lnTo>
                  <a:lnTo>
                    <a:pt x="7721412" y="1713843"/>
                  </a:lnTo>
                  <a:lnTo>
                    <a:pt x="7729102" y="1659970"/>
                  </a:lnTo>
                  <a:lnTo>
                    <a:pt x="7729576" y="1624070"/>
                  </a:lnTo>
                  <a:lnTo>
                    <a:pt x="7730038" y="1588172"/>
                  </a:lnTo>
                  <a:lnTo>
                    <a:pt x="7724550" y="1553744"/>
                  </a:lnTo>
                  <a:lnTo>
                    <a:pt x="7707813" y="1539738"/>
                  </a:lnTo>
                  <a:lnTo>
                    <a:pt x="7685266" y="1552681"/>
                  </a:lnTo>
                  <a:lnTo>
                    <a:pt x="7664392" y="1572980"/>
                  </a:lnTo>
                  <a:lnTo>
                    <a:pt x="7630283" y="1572383"/>
                  </a:lnTo>
                  <a:lnTo>
                    <a:pt x="7601047" y="1524060"/>
                  </a:lnTo>
                  <a:lnTo>
                    <a:pt x="7586751" y="1500293"/>
                  </a:lnTo>
                  <a:lnTo>
                    <a:pt x="7559836" y="1516632"/>
                  </a:lnTo>
                  <a:lnTo>
                    <a:pt x="7527818" y="1512110"/>
                  </a:lnTo>
                  <a:lnTo>
                    <a:pt x="7505145" y="1496212"/>
                  </a:lnTo>
                  <a:lnTo>
                    <a:pt x="7368017" y="1416492"/>
                  </a:lnTo>
                  <a:lnTo>
                    <a:pt x="7413964" y="1261492"/>
                  </a:lnTo>
                  <a:lnTo>
                    <a:pt x="7340556" y="1145281"/>
                  </a:lnTo>
                  <a:lnTo>
                    <a:pt x="7305748" y="1090129"/>
                  </a:lnTo>
                  <a:lnTo>
                    <a:pt x="7239608" y="1083477"/>
                  </a:lnTo>
                  <a:lnTo>
                    <a:pt x="7192296" y="1043266"/>
                  </a:lnTo>
                  <a:lnTo>
                    <a:pt x="7180056" y="1024223"/>
                  </a:lnTo>
                  <a:lnTo>
                    <a:pt x="7167176" y="989920"/>
                  </a:lnTo>
                  <a:lnTo>
                    <a:pt x="7218313" y="902209"/>
                  </a:lnTo>
                  <a:lnTo>
                    <a:pt x="7227658" y="846037"/>
                  </a:lnTo>
                  <a:lnTo>
                    <a:pt x="7234695" y="803105"/>
                  </a:lnTo>
                  <a:lnTo>
                    <a:pt x="7215931" y="672782"/>
                  </a:lnTo>
                  <a:lnTo>
                    <a:pt x="7200453" y="631126"/>
                  </a:lnTo>
                  <a:lnTo>
                    <a:pt x="7160693" y="572105"/>
                  </a:lnTo>
                  <a:lnTo>
                    <a:pt x="7123946" y="536103"/>
                  </a:lnTo>
                  <a:lnTo>
                    <a:pt x="7090240" y="518377"/>
                  </a:lnTo>
                  <a:lnTo>
                    <a:pt x="7071239" y="488305"/>
                  </a:lnTo>
                  <a:lnTo>
                    <a:pt x="7056467" y="464884"/>
                  </a:lnTo>
                  <a:lnTo>
                    <a:pt x="7048580" y="435809"/>
                  </a:lnTo>
                  <a:lnTo>
                    <a:pt x="7041313" y="409413"/>
                  </a:lnTo>
                  <a:lnTo>
                    <a:pt x="6992173" y="230866"/>
                  </a:lnTo>
                  <a:lnTo>
                    <a:pt x="7016871" y="193524"/>
                  </a:lnTo>
                  <a:lnTo>
                    <a:pt x="6815522" y="141454"/>
                  </a:lnTo>
                  <a:lnTo>
                    <a:pt x="6747450" y="123835"/>
                  </a:lnTo>
                  <a:lnTo>
                    <a:pt x="6676608" y="108320"/>
                  </a:lnTo>
                  <a:lnTo>
                    <a:pt x="6607407" y="130572"/>
                  </a:lnTo>
                  <a:lnTo>
                    <a:pt x="6544841" y="150678"/>
                  </a:lnTo>
                  <a:lnTo>
                    <a:pt x="6472053" y="188126"/>
                  </a:lnTo>
                  <a:lnTo>
                    <a:pt x="6456431" y="258431"/>
                  </a:lnTo>
                  <a:lnTo>
                    <a:pt x="6450969" y="282978"/>
                  </a:lnTo>
                  <a:lnTo>
                    <a:pt x="6464252" y="322552"/>
                  </a:lnTo>
                  <a:lnTo>
                    <a:pt x="6452355" y="344124"/>
                  </a:lnTo>
                  <a:lnTo>
                    <a:pt x="6432781" y="379595"/>
                  </a:lnTo>
                  <a:lnTo>
                    <a:pt x="6386168" y="420125"/>
                  </a:lnTo>
                  <a:lnTo>
                    <a:pt x="6353062" y="443418"/>
                  </a:lnTo>
                  <a:lnTo>
                    <a:pt x="6319836" y="461143"/>
                  </a:lnTo>
                  <a:lnTo>
                    <a:pt x="6263266" y="471684"/>
                  </a:lnTo>
                  <a:lnTo>
                    <a:pt x="6232342" y="452153"/>
                  </a:lnTo>
                  <a:lnTo>
                    <a:pt x="6195271" y="444778"/>
                  </a:lnTo>
                  <a:lnTo>
                    <a:pt x="6174702" y="440696"/>
                  </a:lnTo>
                  <a:lnTo>
                    <a:pt x="6145738" y="442885"/>
                  </a:lnTo>
                  <a:lnTo>
                    <a:pt x="6124541" y="443420"/>
                  </a:lnTo>
                  <a:lnTo>
                    <a:pt x="6063611" y="445014"/>
                  </a:lnTo>
                  <a:lnTo>
                    <a:pt x="5964107" y="486564"/>
                  </a:lnTo>
                  <a:lnTo>
                    <a:pt x="5910992" y="516871"/>
                  </a:lnTo>
                  <a:lnTo>
                    <a:pt x="5888760" y="529559"/>
                  </a:lnTo>
                  <a:lnTo>
                    <a:pt x="5843724" y="542736"/>
                  </a:lnTo>
                  <a:lnTo>
                    <a:pt x="5810340" y="561758"/>
                  </a:lnTo>
                  <a:lnTo>
                    <a:pt x="5695082" y="627472"/>
                  </a:lnTo>
                  <a:lnTo>
                    <a:pt x="5645540" y="735778"/>
                  </a:lnTo>
                  <a:lnTo>
                    <a:pt x="5577745" y="847399"/>
                  </a:lnTo>
                  <a:lnTo>
                    <a:pt x="5530611" y="911690"/>
                  </a:lnTo>
                  <a:lnTo>
                    <a:pt x="5510160" y="970072"/>
                  </a:lnTo>
                  <a:lnTo>
                    <a:pt x="5526061" y="1048709"/>
                  </a:lnTo>
                  <a:lnTo>
                    <a:pt x="5530775" y="1072130"/>
                  </a:lnTo>
                  <a:lnTo>
                    <a:pt x="5545100" y="1096338"/>
                  </a:lnTo>
                  <a:lnTo>
                    <a:pt x="5545100" y="1120799"/>
                  </a:lnTo>
                  <a:lnTo>
                    <a:pt x="5531436" y="1272206"/>
                  </a:lnTo>
                  <a:lnTo>
                    <a:pt x="5517744" y="1297901"/>
                  </a:lnTo>
                  <a:lnTo>
                    <a:pt x="5485251" y="1313948"/>
                  </a:lnTo>
                  <a:lnTo>
                    <a:pt x="5357819" y="1318517"/>
                  </a:lnTo>
                  <a:lnTo>
                    <a:pt x="5427230" y="1131065"/>
                  </a:lnTo>
                  <a:lnTo>
                    <a:pt x="5368271" y="1097676"/>
                  </a:lnTo>
                  <a:lnTo>
                    <a:pt x="5329809" y="1101054"/>
                  </a:lnTo>
                  <a:lnTo>
                    <a:pt x="5304834" y="1178310"/>
                  </a:lnTo>
                  <a:lnTo>
                    <a:pt x="5244498" y="1169767"/>
                  </a:lnTo>
                  <a:lnTo>
                    <a:pt x="5145607" y="1155782"/>
                  </a:lnTo>
                  <a:lnTo>
                    <a:pt x="5131685" y="991900"/>
                  </a:lnTo>
                  <a:lnTo>
                    <a:pt x="5116636" y="918130"/>
                  </a:lnTo>
                  <a:lnTo>
                    <a:pt x="5111920" y="895007"/>
                  </a:lnTo>
                  <a:lnTo>
                    <a:pt x="5102332" y="870969"/>
                  </a:lnTo>
                  <a:lnTo>
                    <a:pt x="5094873" y="846039"/>
                  </a:lnTo>
                  <a:lnTo>
                    <a:pt x="5090072" y="797752"/>
                  </a:lnTo>
                  <a:lnTo>
                    <a:pt x="5067991" y="737967"/>
                  </a:lnTo>
                  <a:lnTo>
                    <a:pt x="5064951" y="677375"/>
                  </a:lnTo>
                  <a:lnTo>
                    <a:pt x="5062762" y="634061"/>
                  </a:lnTo>
                  <a:lnTo>
                    <a:pt x="5078214" y="566965"/>
                  </a:lnTo>
                  <a:lnTo>
                    <a:pt x="5066311" y="527753"/>
                  </a:lnTo>
                  <a:lnTo>
                    <a:pt x="5057888" y="500060"/>
                  </a:lnTo>
                  <a:lnTo>
                    <a:pt x="5032834" y="485587"/>
                  </a:lnTo>
                  <a:lnTo>
                    <a:pt x="5005096" y="485587"/>
                  </a:lnTo>
                  <a:lnTo>
                    <a:pt x="4951374" y="485587"/>
                  </a:lnTo>
                  <a:lnTo>
                    <a:pt x="4892990" y="515043"/>
                  </a:lnTo>
                  <a:lnTo>
                    <a:pt x="4841879" y="511430"/>
                  </a:lnTo>
                  <a:lnTo>
                    <a:pt x="4792292" y="507922"/>
                  </a:lnTo>
                  <a:lnTo>
                    <a:pt x="4741155" y="460402"/>
                  </a:lnTo>
                  <a:lnTo>
                    <a:pt x="4694977" y="443420"/>
                  </a:lnTo>
                  <a:lnTo>
                    <a:pt x="4666580" y="432985"/>
                  </a:lnTo>
                  <a:lnTo>
                    <a:pt x="4634635" y="431008"/>
                  </a:lnTo>
                  <a:lnTo>
                    <a:pt x="4601119" y="423017"/>
                  </a:lnTo>
                  <a:lnTo>
                    <a:pt x="4395390" y="400702"/>
                  </a:lnTo>
                  <a:lnTo>
                    <a:pt x="4173340" y="690996"/>
                  </a:lnTo>
                  <a:lnTo>
                    <a:pt x="4107371" y="686896"/>
                  </a:lnTo>
                  <a:lnTo>
                    <a:pt x="4073275" y="603116"/>
                  </a:lnTo>
                  <a:lnTo>
                    <a:pt x="4063542" y="527943"/>
                  </a:lnTo>
                  <a:lnTo>
                    <a:pt x="4035276" y="458382"/>
                  </a:lnTo>
                  <a:lnTo>
                    <a:pt x="4026030" y="435642"/>
                  </a:lnTo>
                  <a:lnTo>
                    <a:pt x="4007135" y="421720"/>
                  </a:lnTo>
                  <a:lnTo>
                    <a:pt x="3990392" y="405335"/>
                  </a:lnTo>
                  <a:lnTo>
                    <a:pt x="3961572" y="377111"/>
                  </a:lnTo>
                  <a:lnTo>
                    <a:pt x="3934282" y="341172"/>
                  </a:lnTo>
                  <a:lnTo>
                    <a:pt x="3900614" y="318282"/>
                  </a:lnTo>
                  <a:lnTo>
                    <a:pt x="3868821" y="296689"/>
                  </a:lnTo>
                  <a:lnTo>
                    <a:pt x="3777673" y="259581"/>
                  </a:lnTo>
                  <a:lnTo>
                    <a:pt x="3761877" y="228509"/>
                  </a:lnTo>
                  <a:lnTo>
                    <a:pt x="3746446" y="198139"/>
                  </a:lnTo>
                  <a:lnTo>
                    <a:pt x="3781202" y="65285"/>
                  </a:lnTo>
                  <a:lnTo>
                    <a:pt x="3779558" y="24479"/>
                  </a:lnTo>
                  <a:lnTo>
                    <a:pt x="3764595" y="3182"/>
                  </a:lnTo>
                  <a:close/>
                </a:path>
              </a:pathLst>
            </a:custGeom>
            <a:solidFill>
              <a:schemeClr val="accent4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96" name="Volyn¬0" descr="Volyn¬0">
              <a:extLst>
                <a:ext uri="{FF2B5EF4-FFF2-40B4-BE49-F238E27FC236}">
                  <a16:creationId xmlns:a16="http://schemas.microsoft.com/office/drawing/2014/main" id="{08541648-2EF2-44D3-AA1D-8BF011A0C8B9}"/>
                </a:ext>
              </a:extLst>
            </p:cNvPr>
            <p:cNvSpPr/>
            <p:nvPr/>
          </p:nvSpPr>
          <p:spPr>
            <a:xfrm>
              <a:off x="1377266" y="1370587"/>
              <a:ext cx="855751" cy="756853"/>
            </a:xfrm>
            <a:custGeom>
              <a:avLst/>
              <a:gdLst/>
              <a:ahLst/>
              <a:cxnLst/>
              <a:rect l="0" t="0" r="0" b="0"/>
              <a:pathLst>
                <a:path w="8732468" h="8767178">
                  <a:moveTo>
                    <a:pt x="5704370" y="14983"/>
                  </a:moveTo>
                  <a:lnTo>
                    <a:pt x="5671725" y="38276"/>
                  </a:lnTo>
                  <a:lnTo>
                    <a:pt x="5633449" y="54323"/>
                  </a:lnTo>
                  <a:lnTo>
                    <a:pt x="5609839" y="50199"/>
                  </a:lnTo>
                  <a:lnTo>
                    <a:pt x="5587693" y="52388"/>
                  </a:lnTo>
                  <a:lnTo>
                    <a:pt x="5514430" y="23782"/>
                  </a:lnTo>
                  <a:lnTo>
                    <a:pt x="5543633" y="0"/>
                  </a:lnTo>
                  <a:lnTo>
                    <a:pt x="5443508" y="33346"/>
                  </a:lnTo>
                  <a:lnTo>
                    <a:pt x="5406953" y="54705"/>
                  </a:lnTo>
                  <a:lnTo>
                    <a:pt x="5358626" y="72834"/>
                  </a:lnTo>
                  <a:lnTo>
                    <a:pt x="5321727" y="78105"/>
                  </a:lnTo>
                  <a:lnTo>
                    <a:pt x="5291167" y="86394"/>
                  </a:lnTo>
                  <a:lnTo>
                    <a:pt x="5246769" y="98423"/>
                  </a:lnTo>
                  <a:lnTo>
                    <a:pt x="5206772" y="115511"/>
                  </a:lnTo>
                  <a:lnTo>
                    <a:pt x="5164670" y="132640"/>
                  </a:lnTo>
                  <a:lnTo>
                    <a:pt x="5134471" y="144946"/>
                  </a:lnTo>
                  <a:lnTo>
                    <a:pt x="5101484" y="151407"/>
                  </a:lnTo>
                  <a:lnTo>
                    <a:pt x="5070817" y="162565"/>
                  </a:lnTo>
                  <a:lnTo>
                    <a:pt x="5004631" y="186666"/>
                  </a:lnTo>
                  <a:lnTo>
                    <a:pt x="4922281" y="249724"/>
                  </a:lnTo>
                  <a:lnTo>
                    <a:pt x="4859985" y="268660"/>
                  </a:lnTo>
                  <a:lnTo>
                    <a:pt x="4806428" y="284919"/>
                  </a:lnTo>
                  <a:lnTo>
                    <a:pt x="4749982" y="266599"/>
                  </a:lnTo>
                  <a:lnTo>
                    <a:pt x="4698120" y="275461"/>
                  </a:lnTo>
                  <a:lnTo>
                    <a:pt x="4668726" y="280478"/>
                  </a:lnTo>
                  <a:lnTo>
                    <a:pt x="4634235" y="295418"/>
                  </a:lnTo>
                  <a:lnTo>
                    <a:pt x="4606991" y="306746"/>
                  </a:lnTo>
                  <a:lnTo>
                    <a:pt x="4549411" y="330720"/>
                  </a:lnTo>
                  <a:lnTo>
                    <a:pt x="4436493" y="345384"/>
                  </a:lnTo>
                  <a:lnTo>
                    <a:pt x="4374395" y="343471"/>
                  </a:lnTo>
                  <a:lnTo>
                    <a:pt x="4341922" y="342451"/>
                  </a:lnTo>
                  <a:lnTo>
                    <a:pt x="4307444" y="340219"/>
                  </a:lnTo>
                  <a:lnTo>
                    <a:pt x="4275096" y="335310"/>
                  </a:lnTo>
                  <a:lnTo>
                    <a:pt x="4243625" y="330528"/>
                  </a:lnTo>
                  <a:lnTo>
                    <a:pt x="4218525" y="319413"/>
                  </a:lnTo>
                  <a:lnTo>
                    <a:pt x="4185326" y="321708"/>
                  </a:lnTo>
                  <a:lnTo>
                    <a:pt x="4098867" y="327659"/>
                  </a:lnTo>
                  <a:lnTo>
                    <a:pt x="4024187" y="383555"/>
                  </a:lnTo>
                  <a:lnTo>
                    <a:pt x="3937767" y="392438"/>
                  </a:lnTo>
                  <a:lnTo>
                    <a:pt x="3886887" y="397667"/>
                  </a:lnTo>
                  <a:lnTo>
                    <a:pt x="3827619" y="356754"/>
                  </a:lnTo>
                  <a:lnTo>
                    <a:pt x="3777267" y="344831"/>
                  </a:lnTo>
                  <a:lnTo>
                    <a:pt x="3744814" y="337138"/>
                  </a:lnTo>
                  <a:lnTo>
                    <a:pt x="3712637" y="333610"/>
                  </a:lnTo>
                  <a:lnTo>
                    <a:pt x="3679332" y="332589"/>
                  </a:lnTo>
                  <a:lnTo>
                    <a:pt x="3567687" y="329104"/>
                  </a:lnTo>
                  <a:lnTo>
                    <a:pt x="3456623" y="353397"/>
                  </a:lnTo>
                  <a:lnTo>
                    <a:pt x="3346085" y="363874"/>
                  </a:lnTo>
                  <a:lnTo>
                    <a:pt x="3311356" y="367168"/>
                  </a:lnTo>
                  <a:lnTo>
                    <a:pt x="3277373" y="381004"/>
                  </a:lnTo>
                  <a:lnTo>
                    <a:pt x="3242710" y="384277"/>
                  </a:lnTo>
                  <a:lnTo>
                    <a:pt x="3183772" y="389867"/>
                  </a:lnTo>
                  <a:lnTo>
                    <a:pt x="3120883" y="394564"/>
                  </a:lnTo>
                  <a:lnTo>
                    <a:pt x="3061799" y="396519"/>
                  </a:lnTo>
                  <a:lnTo>
                    <a:pt x="3008651" y="398262"/>
                  </a:lnTo>
                  <a:lnTo>
                    <a:pt x="2790294" y="388931"/>
                  </a:lnTo>
                  <a:lnTo>
                    <a:pt x="2755756" y="407400"/>
                  </a:lnTo>
                  <a:lnTo>
                    <a:pt x="2698650" y="437963"/>
                  </a:lnTo>
                  <a:lnTo>
                    <a:pt x="2684326" y="504867"/>
                  </a:lnTo>
                  <a:lnTo>
                    <a:pt x="2649663" y="554302"/>
                  </a:lnTo>
                  <a:lnTo>
                    <a:pt x="2636612" y="572877"/>
                  </a:lnTo>
                  <a:lnTo>
                    <a:pt x="2623713" y="595533"/>
                  </a:lnTo>
                  <a:lnTo>
                    <a:pt x="2607495" y="611430"/>
                  </a:lnTo>
                  <a:lnTo>
                    <a:pt x="2573980" y="644245"/>
                  </a:lnTo>
                  <a:lnTo>
                    <a:pt x="2500507" y="698738"/>
                  </a:lnTo>
                  <a:lnTo>
                    <a:pt x="2482357" y="739289"/>
                  </a:lnTo>
                  <a:lnTo>
                    <a:pt x="2459190" y="791189"/>
                  </a:lnTo>
                  <a:lnTo>
                    <a:pt x="2460786" y="833185"/>
                  </a:lnTo>
                  <a:lnTo>
                    <a:pt x="2452437" y="887550"/>
                  </a:lnTo>
                  <a:lnTo>
                    <a:pt x="2449132" y="908910"/>
                  </a:lnTo>
                  <a:lnTo>
                    <a:pt x="2441740" y="929420"/>
                  </a:lnTo>
                  <a:lnTo>
                    <a:pt x="2437473" y="950119"/>
                  </a:lnTo>
                  <a:lnTo>
                    <a:pt x="2423168" y="1019533"/>
                  </a:lnTo>
                  <a:lnTo>
                    <a:pt x="2431392" y="1040913"/>
                  </a:lnTo>
                  <a:lnTo>
                    <a:pt x="2402104" y="1121505"/>
                  </a:lnTo>
                  <a:lnTo>
                    <a:pt x="2373885" y="1201353"/>
                  </a:lnTo>
                  <a:lnTo>
                    <a:pt x="2270483" y="1253211"/>
                  </a:lnTo>
                  <a:lnTo>
                    <a:pt x="2203519" y="1298331"/>
                  </a:lnTo>
                  <a:lnTo>
                    <a:pt x="2170149" y="1320795"/>
                  </a:lnTo>
                  <a:lnTo>
                    <a:pt x="2139779" y="1351824"/>
                  </a:lnTo>
                  <a:lnTo>
                    <a:pt x="2108301" y="1377222"/>
                  </a:lnTo>
                  <a:lnTo>
                    <a:pt x="2081183" y="1399113"/>
                  </a:lnTo>
                  <a:lnTo>
                    <a:pt x="2048413" y="1417773"/>
                  </a:lnTo>
                  <a:lnTo>
                    <a:pt x="2019890" y="1438431"/>
                  </a:lnTo>
                  <a:lnTo>
                    <a:pt x="1995324" y="1456220"/>
                  </a:lnTo>
                  <a:lnTo>
                    <a:pt x="1963484" y="1466336"/>
                  </a:lnTo>
                  <a:lnTo>
                    <a:pt x="1938278" y="1483318"/>
                  </a:lnTo>
                  <a:lnTo>
                    <a:pt x="1901511" y="1508099"/>
                  </a:lnTo>
                  <a:lnTo>
                    <a:pt x="1857557" y="1537810"/>
                  </a:lnTo>
                  <a:lnTo>
                    <a:pt x="1825380" y="1569010"/>
                  </a:lnTo>
                  <a:lnTo>
                    <a:pt x="1779004" y="1614025"/>
                  </a:lnTo>
                  <a:lnTo>
                    <a:pt x="1743623" y="1673448"/>
                  </a:lnTo>
                  <a:lnTo>
                    <a:pt x="1697525" y="1718632"/>
                  </a:lnTo>
                  <a:lnTo>
                    <a:pt x="1651743" y="1763477"/>
                  </a:lnTo>
                  <a:lnTo>
                    <a:pt x="1589579" y="1820094"/>
                  </a:lnTo>
                  <a:lnTo>
                    <a:pt x="1535659" y="1854652"/>
                  </a:lnTo>
                  <a:lnTo>
                    <a:pt x="1503014" y="1875586"/>
                  </a:lnTo>
                  <a:lnTo>
                    <a:pt x="1468649" y="1892440"/>
                  </a:lnTo>
                  <a:lnTo>
                    <a:pt x="1435001" y="1911781"/>
                  </a:lnTo>
                  <a:lnTo>
                    <a:pt x="1351503" y="1959812"/>
                  </a:lnTo>
                  <a:lnTo>
                    <a:pt x="1326509" y="1979726"/>
                  </a:lnTo>
                  <a:lnTo>
                    <a:pt x="1222810" y="1986591"/>
                  </a:lnTo>
                  <a:lnTo>
                    <a:pt x="1184835" y="1971884"/>
                  </a:lnTo>
                  <a:lnTo>
                    <a:pt x="1168679" y="1946338"/>
                  </a:lnTo>
                  <a:lnTo>
                    <a:pt x="1165686" y="1919942"/>
                  </a:lnTo>
                  <a:lnTo>
                    <a:pt x="1153571" y="1876479"/>
                  </a:lnTo>
                  <a:lnTo>
                    <a:pt x="1104667" y="1776653"/>
                  </a:lnTo>
                  <a:lnTo>
                    <a:pt x="1071832" y="1747196"/>
                  </a:lnTo>
                  <a:lnTo>
                    <a:pt x="1020909" y="1701503"/>
                  </a:lnTo>
                  <a:lnTo>
                    <a:pt x="854518" y="1711916"/>
                  </a:lnTo>
                  <a:lnTo>
                    <a:pt x="782109" y="1707751"/>
                  </a:lnTo>
                  <a:lnTo>
                    <a:pt x="674717" y="1701566"/>
                  </a:lnTo>
                  <a:lnTo>
                    <a:pt x="624156" y="1628158"/>
                  </a:lnTo>
                  <a:lnTo>
                    <a:pt x="520951" y="1631579"/>
                  </a:lnTo>
                  <a:lnTo>
                    <a:pt x="480039" y="1632920"/>
                  </a:lnTo>
                  <a:lnTo>
                    <a:pt x="405143" y="1653831"/>
                  </a:lnTo>
                  <a:lnTo>
                    <a:pt x="375410" y="1683267"/>
                  </a:lnTo>
                  <a:lnTo>
                    <a:pt x="321937" y="1691725"/>
                  </a:lnTo>
                  <a:lnTo>
                    <a:pt x="270441" y="1684011"/>
                  </a:lnTo>
                  <a:lnTo>
                    <a:pt x="216266" y="1695509"/>
                  </a:lnTo>
                  <a:lnTo>
                    <a:pt x="134017" y="1712894"/>
                  </a:lnTo>
                  <a:lnTo>
                    <a:pt x="6456" y="1796163"/>
                  </a:lnTo>
                  <a:lnTo>
                    <a:pt x="10877" y="1891377"/>
                  </a:lnTo>
                  <a:lnTo>
                    <a:pt x="13046" y="1937475"/>
                  </a:lnTo>
                  <a:lnTo>
                    <a:pt x="49685" y="1944574"/>
                  </a:lnTo>
                  <a:lnTo>
                    <a:pt x="66644" y="1979790"/>
                  </a:lnTo>
                  <a:lnTo>
                    <a:pt x="95464" y="2039597"/>
                  </a:lnTo>
                  <a:lnTo>
                    <a:pt x="103880" y="2105099"/>
                  </a:lnTo>
                  <a:lnTo>
                    <a:pt x="123773" y="2167498"/>
                  </a:lnTo>
                  <a:lnTo>
                    <a:pt x="130275" y="2187837"/>
                  </a:lnTo>
                  <a:lnTo>
                    <a:pt x="144135" y="2211024"/>
                  </a:lnTo>
                  <a:lnTo>
                    <a:pt x="151890" y="2249343"/>
                  </a:lnTo>
                  <a:lnTo>
                    <a:pt x="146107" y="2303433"/>
                  </a:lnTo>
                  <a:lnTo>
                    <a:pt x="130579" y="2336162"/>
                  </a:lnTo>
                  <a:lnTo>
                    <a:pt x="84992" y="2343601"/>
                  </a:lnTo>
                  <a:lnTo>
                    <a:pt x="65756" y="2270935"/>
                  </a:lnTo>
                  <a:lnTo>
                    <a:pt x="0" y="2288555"/>
                  </a:lnTo>
                  <a:lnTo>
                    <a:pt x="11775" y="2333591"/>
                  </a:lnTo>
                  <a:lnTo>
                    <a:pt x="9351" y="2392186"/>
                  </a:lnTo>
                  <a:lnTo>
                    <a:pt x="28564" y="2434097"/>
                  </a:lnTo>
                  <a:lnTo>
                    <a:pt x="48754" y="2532988"/>
                  </a:lnTo>
                  <a:lnTo>
                    <a:pt x="118783" y="2484360"/>
                  </a:lnTo>
                  <a:lnTo>
                    <a:pt x="172745" y="2514348"/>
                  </a:lnTo>
                  <a:lnTo>
                    <a:pt x="237418" y="2603675"/>
                  </a:lnTo>
                  <a:lnTo>
                    <a:pt x="111282" y="2643716"/>
                  </a:lnTo>
                  <a:lnTo>
                    <a:pt x="121058" y="2703416"/>
                  </a:lnTo>
                  <a:lnTo>
                    <a:pt x="166858" y="2755167"/>
                  </a:lnTo>
                  <a:lnTo>
                    <a:pt x="171130" y="2732405"/>
                  </a:lnTo>
                  <a:lnTo>
                    <a:pt x="214911" y="2761905"/>
                  </a:lnTo>
                  <a:lnTo>
                    <a:pt x="244665" y="2781946"/>
                  </a:lnTo>
                  <a:lnTo>
                    <a:pt x="224348" y="2811191"/>
                  </a:lnTo>
                  <a:lnTo>
                    <a:pt x="238035" y="2833995"/>
                  </a:lnTo>
                  <a:lnTo>
                    <a:pt x="263666" y="2876714"/>
                  </a:lnTo>
                  <a:lnTo>
                    <a:pt x="341792" y="2904513"/>
                  </a:lnTo>
                  <a:lnTo>
                    <a:pt x="300604" y="2976816"/>
                  </a:lnTo>
                  <a:lnTo>
                    <a:pt x="252997" y="3004020"/>
                  </a:lnTo>
                  <a:lnTo>
                    <a:pt x="239881" y="3055325"/>
                  </a:lnTo>
                  <a:lnTo>
                    <a:pt x="270592" y="3081020"/>
                  </a:lnTo>
                  <a:lnTo>
                    <a:pt x="270680" y="3111476"/>
                  </a:lnTo>
                  <a:lnTo>
                    <a:pt x="248256" y="3134323"/>
                  </a:lnTo>
                  <a:lnTo>
                    <a:pt x="191573" y="3158912"/>
                  </a:lnTo>
                  <a:lnTo>
                    <a:pt x="147516" y="3194448"/>
                  </a:lnTo>
                  <a:lnTo>
                    <a:pt x="129153" y="3267644"/>
                  </a:lnTo>
                  <a:lnTo>
                    <a:pt x="112894" y="3304624"/>
                  </a:lnTo>
                  <a:lnTo>
                    <a:pt x="98846" y="3325218"/>
                  </a:lnTo>
                  <a:lnTo>
                    <a:pt x="88019" y="3397308"/>
                  </a:lnTo>
                  <a:lnTo>
                    <a:pt x="89452" y="3431717"/>
                  </a:lnTo>
                  <a:lnTo>
                    <a:pt x="110833" y="3491290"/>
                  </a:lnTo>
                  <a:lnTo>
                    <a:pt x="127857" y="3510014"/>
                  </a:lnTo>
                  <a:lnTo>
                    <a:pt x="168322" y="3554584"/>
                  </a:lnTo>
                  <a:lnTo>
                    <a:pt x="245663" y="3525231"/>
                  </a:lnTo>
                  <a:lnTo>
                    <a:pt x="293801" y="3553540"/>
                  </a:lnTo>
                  <a:lnTo>
                    <a:pt x="355031" y="3589544"/>
                  </a:lnTo>
                  <a:lnTo>
                    <a:pt x="366571" y="3683375"/>
                  </a:lnTo>
                  <a:lnTo>
                    <a:pt x="391735" y="3748049"/>
                  </a:lnTo>
                  <a:lnTo>
                    <a:pt x="413711" y="3852040"/>
                  </a:lnTo>
                  <a:lnTo>
                    <a:pt x="410587" y="3790003"/>
                  </a:lnTo>
                  <a:lnTo>
                    <a:pt x="458384" y="3850064"/>
                  </a:lnTo>
                  <a:lnTo>
                    <a:pt x="463423" y="3881306"/>
                  </a:lnTo>
                  <a:lnTo>
                    <a:pt x="447207" y="3903557"/>
                  </a:lnTo>
                  <a:lnTo>
                    <a:pt x="444783" y="3933036"/>
                  </a:lnTo>
                  <a:lnTo>
                    <a:pt x="480467" y="3946532"/>
                  </a:lnTo>
                  <a:lnTo>
                    <a:pt x="513473" y="3971292"/>
                  </a:lnTo>
                  <a:lnTo>
                    <a:pt x="516555" y="3997837"/>
                  </a:lnTo>
                  <a:lnTo>
                    <a:pt x="531835" y="4013288"/>
                  </a:lnTo>
                  <a:lnTo>
                    <a:pt x="546840" y="4028441"/>
                  </a:lnTo>
                  <a:lnTo>
                    <a:pt x="568816" y="4026125"/>
                  </a:lnTo>
                  <a:lnTo>
                    <a:pt x="629536" y="4057175"/>
                  </a:lnTo>
                  <a:lnTo>
                    <a:pt x="601099" y="4085846"/>
                  </a:lnTo>
                  <a:lnTo>
                    <a:pt x="689618" y="4109861"/>
                  </a:lnTo>
                  <a:lnTo>
                    <a:pt x="713167" y="4128819"/>
                  </a:lnTo>
                  <a:lnTo>
                    <a:pt x="707684" y="4171387"/>
                  </a:lnTo>
                  <a:lnTo>
                    <a:pt x="737226" y="4186034"/>
                  </a:lnTo>
                  <a:lnTo>
                    <a:pt x="757310" y="4195999"/>
                  </a:lnTo>
                  <a:lnTo>
                    <a:pt x="781921" y="4187821"/>
                  </a:lnTo>
                  <a:lnTo>
                    <a:pt x="803875" y="4194192"/>
                  </a:lnTo>
                  <a:lnTo>
                    <a:pt x="828359" y="4201315"/>
                  </a:lnTo>
                  <a:lnTo>
                    <a:pt x="842684" y="4221614"/>
                  </a:lnTo>
                  <a:lnTo>
                    <a:pt x="862364" y="4236360"/>
                  </a:lnTo>
                  <a:lnTo>
                    <a:pt x="933391" y="4289660"/>
                  </a:lnTo>
                  <a:lnTo>
                    <a:pt x="926292" y="4379179"/>
                  </a:lnTo>
                  <a:lnTo>
                    <a:pt x="895815" y="4398331"/>
                  </a:lnTo>
                  <a:lnTo>
                    <a:pt x="876241" y="4449019"/>
                  </a:lnTo>
                  <a:lnTo>
                    <a:pt x="888185" y="4505234"/>
                  </a:lnTo>
                  <a:lnTo>
                    <a:pt x="903170" y="4545126"/>
                  </a:lnTo>
                  <a:lnTo>
                    <a:pt x="912734" y="4570629"/>
                  </a:lnTo>
                  <a:lnTo>
                    <a:pt x="938407" y="4596046"/>
                  </a:lnTo>
                  <a:lnTo>
                    <a:pt x="950776" y="4621298"/>
                  </a:lnTo>
                  <a:lnTo>
                    <a:pt x="958194" y="4642230"/>
                  </a:lnTo>
                  <a:lnTo>
                    <a:pt x="994919" y="4670581"/>
                  </a:lnTo>
                  <a:lnTo>
                    <a:pt x="1050071" y="4696110"/>
                  </a:lnTo>
                  <a:lnTo>
                    <a:pt x="1053236" y="4783651"/>
                  </a:lnTo>
                  <a:lnTo>
                    <a:pt x="1064263" y="4814574"/>
                  </a:lnTo>
                  <a:lnTo>
                    <a:pt x="1085432" y="4843012"/>
                  </a:lnTo>
                  <a:lnTo>
                    <a:pt x="1093083" y="4862540"/>
                  </a:lnTo>
                  <a:lnTo>
                    <a:pt x="1084614" y="4905624"/>
                  </a:lnTo>
                  <a:lnTo>
                    <a:pt x="1063668" y="4915101"/>
                  </a:lnTo>
                  <a:lnTo>
                    <a:pt x="1062989" y="4949849"/>
                  </a:lnTo>
                  <a:lnTo>
                    <a:pt x="1085432" y="4979032"/>
                  </a:lnTo>
                  <a:lnTo>
                    <a:pt x="1083222" y="5007318"/>
                  </a:lnTo>
                  <a:lnTo>
                    <a:pt x="1063672" y="5022558"/>
                  </a:lnTo>
                  <a:lnTo>
                    <a:pt x="1085009" y="5050481"/>
                  </a:lnTo>
                  <a:lnTo>
                    <a:pt x="1133319" y="5086377"/>
                  </a:lnTo>
                  <a:lnTo>
                    <a:pt x="1173699" y="5105891"/>
                  </a:lnTo>
                  <a:lnTo>
                    <a:pt x="1205136" y="5134091"/>
                  </a:lnTo>
                  <a:lnTo>
                    <a:pt x="1221946" y="5149160"/>
                  </a:lnTo>
                  <a:lnTo>
                    <a:pt x="1232590" y="5169967"/>
                  </a:lnTo>
                  <a:lnTo>
                    <a:pt x="1250021" y="5185782"/>
                  </a:lnTo>
                  <a:lnTo>
                    <a:pt x="1258799" y="5227713"/>
                  </a:lnTo>
                  <a:lnTo>
                    <a:pt x="1248023" y="5275677"/>
                  </a:lnTo>
                  <a:lnTo>
                    <a:pt x="1258179" y="5314996"/>
                  </a:lnTo>
                  <a:lnTo>
                    <a:pt x="1264747" y="5340393"/>
                  </a:lnTo>
                  <a:lnTo>
                    <a:pt x="1311782" y="5368876"/>
                  </a:lnTo>
                  <a:lnTo>
                    <a:pt x="1328909" y="5391167"/>
                  </a:lnTo>
                  <a:lnTo>
                    <a:pt x="1337627" y="5413398"/>
                  </a:lnTo>
                  <a:lnTo>
                    <a:pt x="1351140" y="5435887"/>
                  </a:lnTo>
                  <a:lnTo>
                    <a:pt x="1371202" y="5452381"/>
                  </a:lnTo>
                  <a:lnTo>
                    <a:pt x="1457794" y="5513397"/>
                  </a:lnTo>
                  <a:lnTo>
                    <a:pt x="1456856" y="5555835"/>
                  </a:lnTo>
                  <a:lnTo>
                    <a:pt x="1509814" y="5603358"/>
                  </a:lnTo>
                  <a:lnTo>
                    <a:pt x="1566649" y="5654343"/>
                  </a:lnTo>
                  <a:lnTo>
                    <a:pt x="1634635" y="5650393"/>
                  </a:lnTo>
                  <a:lnTo>
                    <a:pt x="1697525" y="5680894"/>
                  </a:lnTo>
                  <a:lnTo>
                    <a:pt x="1725454" y="5694453"/>
                  </a:lnTo>
                  <a:lnTo>
                    <a:pt x="1729233" y="5724988"/>
                  </a:lnTo>
                  <a:lnTo>
                    <a:pt x="1754656" y="5740743"/>
                  </a:lnTo>
                  <a:lnTo>
                    <a:pt x="1796798" y="5766859"/>
                  </a:lnTo>
                  <a:lnTo>
                    <a:pt x="1838201" y="5772834"/>
                  </a:lnTo>
                  <a:lnTo>
                    <a:pt x="1882512" y="5792427"/>
                  </a:lnTo>
                  <a:lnTo>
                    <a:pt x="1893037" y="5817699"/>
                  </a:lnTo>
                  <a:lnTo>
                    <a:pt x="1889311" y="5865644"/>
                  </a:lnTo>
                  <a:lnTo>
                    <a:pt x="1870271" y="5883562"/>
                  </a:lnTo>
                  <a:lnTo>
                    <a:pt x="1863406" y="5908979"/>
                  </a:lnTo>
                  <a:lnTo>
                    <a:pt x="1829634" y="5950441"/>
                  </a:lnTo>
                  <a:lnTo>
                    <a:pt x="1694062" y="5958375"/>
                  </a:lnTo>
                  <a:lnTo>
                    <a:pt x="1653998" y="5958375"/>
                  </a:lnTo>
                  <a:lnTo>
                    <a:pt x="1625686" y="5958375"/>
                  </a:lnTo>
                  <a:lnTo>
                    <a:pt x="1595468" y="5941690"/>
                  </a:lnTo>
                  <a:lnTo>
                    <a:pt x="1568304" y="5947493"/>
                  </a:lnTo>
                  <a:lnTo>
                    <a:pt x="1549027" y="5963156"/>
                  </a:lnTo>
                  <a:lnTo>
                    <a:pt x="1488097" y="5938201"/>
                  </a:lnTo>
                  <a:lnTo>
                    <a:pt x="1420044" y="5952934"/>
                  </a:lnTo>
                  <a:lnTo>
                    <a:pt x="1353396" y="5957418"/>
                  </a:lnTo>
                  <a:lnTo>
                    <a:pt x="1275840" y="5936421"/>
                  </a:lnTo>
                  <a:lnTo>
                    <a:pt x="1240498" y="6015500"/>
                  </a:lnTo>
                  <a:lnTo>
                    <a:pt x="1234141" y="6051145"/>
                  </a:lnTo>
                  <a:lnTo>
                    <a:pt x="1215674" y="6110183"/>
                  </a:lnTo>
                  <a:lnTo>
                    <a:pt x="1213676" y="6159361"/>
                  </a:lnTo>
                  <a:lnTo>
                    <a:pt x="1236416" y="6199129"/>
                  </a:lnTo>
                  <a:lnTo>
                    <a:pt x="1257671" y="6225884"/>
                  </a:lnTo>
                  <a:lnTo>
                    <a:pt x="1278689" y="6241784"/>
                  </a:lnTo>
                  <a:lnTo>
                    <a:pt x="1301705" y="6253536"/>
                  </a:lnTo>
                  <a:lnTo>
                    <a:pt x="1320388" y="6282672"/>
                  </a:lnTo>
                  <a:lnTo>
                    <a:pt x="1382552" y="6315363"/>
                  </a:lnTo>
                  <a:lnTo>
                    <a:pt x="1399811" y="6268091"/>
                  </a:lnTo>
                  <a:lnTo>
                    <a:pt x="1455406" y="6298415"/>
                  </a:lnTo>
                  <a:lnTo>
                    <a:pt x="1468503" y="6325579"/>
                  </a:lnTo>
                  <a:lnTo>
                    <a:pt x="1454898" y="6357841"/>
                  </a:lnTo>
                  <a:lnTo>
                    <a:pt x="1437171" y="6382559"/>
                  </a:lnTo>
                  <a:lnTo>
                    <a:pt x="1435008" y="6407231"/>
                  </a:lnTo>
                  <a:lnTo>
                    <a:pt x="1429205" y="6473476"/>
                  </a:lnTo>
                  <a:lnTo>
                    <a:pt x="1487398" y="6564526"/>
                  </a:lnTo>
                  <a:lnTo>
                    <a:pt x="1551982" y="6582701"/>
                  </a:lnTo>
                  <a:lnTo>
                    <a:pt x="1586624" y="6592449"/>
                  </a:lnTo>
                  <a:lnTo>
                    <a:pt x="1619652" y="6576285"/>
                  </a:lnTo>
                  <a:lnTo>
                    <a:pt x="1655357" y="6596300"/>
                  </a:lnTo>
                  <a:lnTo>
                    <a:pt x="1664332" y="6632348"/>
                  </a:lnTo>
                  <a:lnTo>
                    <a:pt x="1637676" y="6660231"/>
                  </a:lnTo>
                  <a:lnTo>
                    <a:pt x="1614976" y="6806176"/>
                  </a:lnTo>
                  <a:lnTo>
                    <a:pt x="1668474" y="6772529"/>
                  </a:lnTo>
                  <a:lnTo>
                    <a:pt x="1694808" y="6816655"/>
                  </a:lnTo>
                  <a:lnTo>
                    <a:pt x="1705821" y="6835141"/>
                  </a:lnTo>
                  <a:lnTo>
                    <a:pt x="1700631" y="6856396"/>
                  </a:lnTo>
                  <a:lnTo>
                    <a:pt x="1718035" y="6920987"/>
                  </a:lnTo>
                  <a:lnTo>
                    <a:pt x="1759305" y="6955412"/>
                  </a:lnTo>
                  <a:lnTo>
                    <a:pt x="1764173" y="7007083"/>
                  </a:lnTo>
                  <a:lnTo>
                    <a:pt x="1760954" y="7028886"/>
                  </a:lnTo>
                  <a:lnTo>
                    <a:pt x="1787439" y="6989415"/>
                  </a:lnTo>
                  <a:lnTo>
                    <a:pt x="1807706" y="6975797"/>
                  </a:lnTo>
                  <a:lnTo>
                    <a:pt x="1829673" y="6961031"/>
                  </a:lnTo>
                  <a:lnTo>
                    <a:pt x="1855644" y="6954165"/>
                  </a:lnTo>
                  <a:lnTo>
                    <a:pt x="1879794" y="6954034"/>
                  </a:lnTo>
                  <a:lnTo>
                    <a:pt x="1903945" y="6953902"/>
                  </a:lnTo>
                  <a:lnTo>
                    <a:pt x="1926770" y="6961156"/>
                  </a:lnTo>
                  <a:lnTo>
                    <a:pt x="1945084" y="6971715"/>
                  </a:lnTo>
                  <a:lnTo>
                    <a:pt x="1963398" y="6982273"/>
                  </a:lnTo>
                  <a:lnTo>
                    <a:pt x="1981811" y="7013883"/>
                  </a:lnTo>
                  <a:lnTo>
                    <a:pt x="1977867" y="7042709"/>
                  </a:lnTo>
                  <a:lnTo>
                    <a:pt x="1987252" y="7076449"/>
                  </a:lnTo>
                  <a:lnTo>
                    <a:pt x="2006654" y="7098877"/>
                  </a:lnTo>
                  <a:lnTo>
                    <a:pt x="2033139" y="7111150"/>
                  </a:lnTo>
                  <a:lnTo>
                    <a:pt x="2062064" y="7119975"/>
                  </a:lnTo>
                  <a:lnTo>
                    <a:pt x="2088926" y="7132248"/>
                  </a:lnTo>
                  <a:lnTo>
                    <a:pt x="2117831" y="7164055"/>
                  </a:lnTo>
                  <a:lnTo>
                    <a:pt x="2132069" y="7224247"/>
                  </a:lnTo>
                  <a:lnTo>
                    <a:pt x="2179335" y="7239277"/>
                  </a:lnTo>
                  <a:lnTo>
                    <a:pt x="2209204" y="7254557"/>
                  </a:lnTo>
                  <a:lnTo>
                    <a:pt x="2234811" y="7268242"/>
                  </a:lnTo>
                  <a:lnTo>
                    <a:pt x="2260413" y="7281919"/>
                  </a:lnTo>
                  <a:lnTo>
                    <a:pt x="2282063" y="7294159"/>
                  </a:lnTo>
                  <a:lnTo>
                    <a:pt x="2307770" y="7272699"/>
                  </a:lnTo>
                  <a:lnTo>
                    <a:pt x="2329916" y="7255342"/>
                  </a:lnTo>
                  <a:lnTo>
                    <a:pt x="2370119" y="7232233"/>
                  </a:lnTo>
                  <a:lnTo>
                    <a:pt x="2403476" y="7220633"/>
                  </a:lnTo>
                  <a:lnTo>
                    <a:pt x="2432823" y="7214553"/>
                  </a:lnTo>
                  <a:lnTo>
                    <a:pt x="2458457" y="7213115"/>
                  </a:lnTo>
                  <a:lnTo>
                    <a:pt x="2483722" y="7211116"/>
                  </a:lnTo>
                  <a:lnTo>
                    <a:pt x="2511296" y="7205959"/>
                  </a:lnTo>
                  <a:lnTo>
                    <a:pt x="2545009" y="7192162"/>
                  </a:lnTo>
                  <a:lnTo>
                    <a:pt x="2563976" y="7160784"/>
                  </a:lnTo>
                  <a:lnTo>
                    <a:pt x="2580628" y="7126035"/>
                  </a:lnTo>
                  <a:lnTo>
                    <a:pt x="2606196" y="7107141"/>
                  </a:lnTo>
                  <a:lnTo>
                    <a:pt x="2649670" y="7114541"/>
                  </a:lnTo>
                  <a:lnTo>
                    <a:pt x="2672706" y="7120865"/>
                  </a:lnTo>
                  <a:lnTo>
                    <a:pt x="2698268" y="7132103"/>
                  </a:lnTo>
                  <a:lnTo>
                    <a:pt x="2723118" y="7145827"/>
                  </a:lnTo>
                  <a:lnTo>
                    <a:pt x="2772817" y="7173261"/>
                  </a:lnTo>
                  <a:lnTo>
                    <a:pt x="2817656" y="7209837"/>
                  </a:lnTo>
                  <a:lnTo>
                    <a:pt x="2820274" y="7246030"/>
                  </a:lnTo>
                  <a:lnTo>
                    <a:pt x="2804730" y="7273682"/>
                  </a:lnTo>
                  <a:lnTo>
                    <a:pt x="2789529" y="7303267"/>
                  </a:lnTo>
                  <a:lnTo>
                    <a:pt x="2798985" y="7339789"/>
                  </a:lnTo>
                  <a:lnTo>
                    <a:pt x="2834545" y="7373258"/>
                  </a:lnTo>
                  <a:lnTo>
                    <a:pt x="2872743" y="7404261"/>
                  </a:lnTo>
                  <a:lnTo>
                    <a:pt x="2910941" y="7435264"/>
                  </a:lnTo>
                  <a:lnTo>
                    <a:pt x="2952409" y="7463536"/>
                  </a:lnTo>
                  <a:lnTo>
                    <a:pt x="2991629" y="7466240"/>
                  </a:lnTo>
                  <a:lnTo>
                    <a:pt x="3018279" y="7436906"/>
                  </a:lnTo>
                  <a:lnTo>
                    <a:pt x="3045490" y="7421942"/>
                  </a:lnTo>
                  <a:lnTo>
                    <a:pt x="3072905" y="7420122"/>
                  </a:lnTo>
                  <a:lnTo>
                    <a:pt x="3093091" y="7426018"/>
                  </a:lnTo>
                  <a:lnTo>
                    <a:pt x="3134046" y="7437988"/>
                  </a:lnTo>
                  <a:lnTo>
                    <a:pt x="3158276" y="7460621"/>
                  </a:lnTo>
                  <a:lnTo>
                    <a:pt x="3185585" y="7492673"/>
                  </a:lnTo>
                  <a:lnTo>
                    <a:pt x="3211114" y="7522640"/>
                  </a:lnTo>
                  <a:lnTo>
                    <a:pt x="3247446" y="7556029"/>
                  </a:lnTo>
                  <a:lnTo>
                    <a:pt x="3263121" y="7593324"/>
                  </a:lnTo>
                  <a:lnTo>
                    <a:pt x="3273720" y="7628501"/>
                  </a:lnTo>
                  <a:lnTo>
                    <a:pt x="3271556" y="7661521"/>
                  </a:lnTo>
                  <a:lnTo>
                    <a:pt x="3257681" y="7695340"/>
                  </a:lnTo>
                  <a:lnTo>
                    <a:pt x="3244359" y="7719748"/>
                  </a:lnTo>
                  <a:lnTo>
                    <a:pt x="3226698" y="7736401"/>
                  </a:lnTo>
                  <a:lnTo>
                    <a:pt x="3207349" y="7748390"/>
                  </a:lnTo>
                  <a:lnTo>
                    <a:pt x="3188006" y="7760373"/>
                  </a:lnTo>
                  <a:lnTo>
                    <a:pt x="3166130" y="7767832"/>
                  </a:lnTo>
                  <a:lnTo>
                    <a:pt x="3143424" y="7772870"/>
                  </a:lnTo>
                  <a:lnTo>
                    <a:pt x="3098005" y="7782940"/>
                  </a:lnTo>
                  <a:lnTo>
                    <a:pt x="3048900" y="7784998"/>
                  </a:lnTo>
                  <a:lnTo>
                    <a:pt x="3006039" y="7800074"/>
                  </a:lnTo>
                  <a:lnTo>
                    <a:pt x="2968382" y="7826790"/>
                  </a:lnTo>
                  <a:lnTo>
                    <a:pt x="2957072" y="7849041"/>
                  </a:lnTo>
                  <a:lnTo>
                    <a:pt x="2964148" y="7877795"/>
                  </a:lnTo>
                  <a:lnTo>
                    <a:pt x="2993331" y="7904603"/>
                  </a:lnTo>
                  <a:lnTo>
                    <a:pt x="3026444" y="7927936"/>
                  </a:lnTo>
                  <a:lnTo>
                    <a:pt x="3059557" y="7951269"/>
                  </a:lnTo>
                  <a:lnTo>
                    <a:pt x="3095539" y="7971364"/>
                  </a:lnTo>
                  <a:lnTo>
                    <a:pt x="3117578" y="7985061"/>
                  </a:lnTo>
                  <a:lnTo>
                    <a:pt x="3135556" y="7996233"/>
                  </a:lnTo>
                  <a:lnTo>
                    <a:pt x="3151582" y="8024505"/>
                  </a:lnTo>
                  <a:lnTo>
                    <a:pt x="3158454" y="8054380"/>
                  </a:lnTo>
                  <a:lnTo>
                    <a:pt x="3154154" y="8099416"/>
                  </a:lnTo>
                  <a:lnTo>
                    <a:pt x="3142587" y="8127550"/>
                  </a:lnTo>
                  <a:lnTo>
                    <a:pt x="3143945" y="8154214"/>
                  </a:lnTo>
                  <a:lnTo>
                    <a:pt x="3161190" y="8183759"/>
                  </a:lnTo>
                  <a:lnTo>
                    <a:pt x="3181892" y="8203353"/>
                  </a:lnTo>
                  <a:lnTo>
                    <a:pt x="3222761" y="8202693"/>
                  </a:lnTo>
                  <a:lnTo>
                    <a:pt x="3264190" y="8184939"/>
                  </a:lnTo>
                  <a:lnTo>
                    <a:pt x="3287602" y="8160525"/>
                  </a:lnTo>
                  <a:lnTo>
                    <a:pt x="3298589" y="8133130"/>
                  </a:lnTo>
                  <a:lnTo>
                    <a:pt x="3298286" y="8088812"/>
                  </a:lnTo>
                  <a:lnTo>
                    <a:pt x="3288644" y="8056405"/>
                  </a:lnTo>
                  <a:lnTo>
                    <a:pt x="3303924" y="8021782"/>
                  </a:lnTo>
                  <a:lnTo>
                    <a:pt x="3329302" y="8005670"/>
                  </a:lnTo>
                  <a:lnTo>
                    <a:pt x="3355615" y="8010900"/>
                  </a:lnTo>
                  <a:lnTo>
                    <a:pt x="3379759" y="8022659"/>
                  </a:lnTo>
                  <a:lnTo>
                    <a:pt x="3387811" y="8045840"/>
                  </a:lnTo>
                  <a:lnTo>
                    <a:pt x="3395059" y="8072107"/>
                  </a:lnTo>
                  <a:lnTo>
                    <a:pt x="3403487" y="8096575"/>
                  </a:lnTo>
                  <a:lnTo>
                    <a:pt x="3416460" y="8120507"/>
                  </a:lnTo>
                  <a:lnTo>
                    <a:pt x="3445385" y="8133314"/>
                  </a:lnTo>
                  <a:lnTo>
                    <a:pt x="3481103" y="8136909"/>
                  </a:lnTo>
                  <a:lnTo>
                    <a:pt x="3521206" y="8135168"/>
                  </a:lnTo>
                  <a:lnTo>
                    <a:pt x="3561000" y="8131962"/>
                  </a:lnTo>
                  <a:lnTo>
                    <a:pt x="3596744" y="8132965"/>
                  </a:lnTo>
                  <a:lnTo>
                    <a:pt x="3618046" y="8150692"/>
                  </a:lnTo>
                  <a:lnTo>
                    <a:pt x="3623573" y="8172772"/>
                  </a:lnTo>
                  <a:lnTo>
                    <a:pt x="3622214" y="8201334"/>
                  </a:lnTo>
                  <a:lnTo>
                    <a:pt x="3620855" y="8225821"/>
                  </a:lnTo>
                  <a:lnTo>
                    <a:pt x="3629014" y="8247584"/>
                  </a:lnTo>
                  <a:lnTo>
                    <a:pt x="3652122" y="8259726"/>
                  </a:lnTo>
                  <a:lnTo>
                    <a:pt x="3690240" y="8265357"/>
                  </a:lnTo>
                  <a:lnTo>
                    <a:pt x="3713264" y="8267165"/>
                  </a:lnTo>
                  <a:lnTo>
                    <a:pt x="3736471" y="8270706"/>
                  </a:lnTo>
                  <a:lnTo>
                    <a:pt x="3759678" y="8274241"/>
                  </a:lnTo>
                  <a:lnTo>
                    <a:pt x="3783196" y="8279477"/>
                  </a:lnTo>
                  <a:lnTo>
                    <a:pt x="3803119" y="8289746"/>
                  </a:lnTo>
                  <a:lnTo>
                    <a:pt x="3823048" y="8300020"/>
                  </a:lnTo>
                  <a:lnTo>
                    <a:pt x="3838804" y="8315690"/>
                  </a:lnTo>
                  <a:lnTo>
                    <a:pt x="3848003" y="8338713"/>
                  </a:lnTo>
                  <a:lnTo>
                    <a:pt x="3850721" y="8367282"/>
                  </a:lnTo>
                  <a:lnTo>
                    <a:pt x="3849362" y="8393121"/>
                  </a:lnTo>
                  <a:lnTo>
                    <a:pt x="3844489" y="8425521"/>
                  </a:lnTo>
                  <a:lnTo>
                    <a:pt x="3841185" y="8460956"/>
                  </a:lnTo>
                  <a:lnTo>
                    <a:pt x="3853444" y="8482897"/>
                  </a:lnTo>
                  <a:lnTo>
                    <a:pt x="3872200" y="8498844"/>
                  </a:lnTo>
                  <a:lnTo>
                    <a:pt x="3909785" y="8516287"/>
                  </a:lnTo>
                  <a:lnTo>
                    <a:pt x="3940200" y="8522038"/>
                  </a:lnTo>
                  <a:lnTo>
                    <a:pt x="3996158" y="8542601"/>
                  </a:lnTo>
                  <a:lnTo>
                    <a:pt x="4032272" y="8560427"/>
                  </a:lnTo>
                  <a:lnTo>
                    <a:pt x="4068359" y="8575390"/>
                  </a:lnTo>
                  <a:lnTo>
                    <a:pt x="4118566" y="8562221"/>
                  </a:lnTo>
                  <a:lnTo>
                    <a:pt x="4152688" y="8538664"/>
                  </a:lnTo>
                  <a:lnTo>
                    <a:pt x="4186811" y="8515113"/>
                  </a:lnTo>
                  <a:lnTo>
                    <a:pt x="4221117" y="8487955"/>
                  </a:lnTo>
                  <a:lnTo>
                    <a:pt x="4260443" y="8471528"/>
                  </a:lnTo>
                  <a:lnTo>
                    <a:pt x="4293852" y="8463073"/>
                  </a:lnTo>
                  <a:lnTo>
                    <a:pt x="4315912" y="8458410"/>
                  </a:lnTo>
                  <a:lnTo>
                    <a:pt x="4347482" y="8451743"/>
                  </a:lnTo>
                  <a:lnTo>
                    <a:pt x="4374329" y="8449382"/>
                  </a:lnTo>
                  <a:lnTo>
                    <a:pt x="4400248" y="8454328"/>
                  </a:lnTo>
                  <a:lnTo>
                    <a:pt x="4426166" y="8459280"/>
                  </a:lnTo>
                  <a:lnTo>
                    <a:pt x="4450330" y="8471501"/>
                  </a:lnTo>
                  <a:lnTo>
                    <a:pt x="4475054" y="8492413"/>
                  </a:lnTo>
                  <a:lnTo>
                    <a:pt x="4510422" y="8522341"/>
                  </a:lnTo>
                  <a:lnTo>
                    <a:pt x="4599302" y="8540662"/>
                  </a:lnTo>
                  <a:lnTo>
                    <a:pt x="4620597" y="8540022"/>
                  </a:lnTo>
                  <a:lnTo>
                    <a:pt x="4650881" y="8507101"/>
                  </a:lnTo>
                  <a:lnTo>
                    <a:pt x="4647055" y="8476546"/>
                  </a:lnTo>
                  <a:lnTo>
                    <a:pt x="4642360" y="8446170"/>
                  </a:lnTo>
                  <a:lnTo>
                    <a:pt x="4637374" y="8416341"/>
                  </a:lnTo>
                  <a:lnTo>
                    <a:pt x="4636458" y="8388946"/>
                  </a:lnTo>
                  <a:lnTo>
                    <a:pt x="4643718" y="8365917"/>
                  </a:lnTo>
                  <a:lnTo>
                    <a:pt x="4671285" y="8360423"/>
                  </a:lnTo>
                  <a:lnTo>
                    <a:pt x="4693121" y="8367645"/>
                  </a:lnTo>
                  <a:lnTo>
                    <a:pt x="4713090" y="8380881"/>
                  </a:lnTo>
                  <a:lnTo>
                    <a:pt x="4733060" y="8394116"/>
                  </a:lnTo>
                  <a:lnTo>
                    <a:pt x="4750820" y="8412846"/>
                  </a:lnTo>
                  <a:lnTo>
                    <a:pt x="4767499" y="8432565"/>
                  </a:lnTo>
                  <a:lnTo>
                    <a:pt x="4784177" y="8452290"/>
                  </a:lnTo>
                  <a:lnTo>
                    <a:pt x="4800136" y="8473018"/>
                  </a:lnTo>
                  <a:lnTo>
                    <a:pt x="4817824" y="8486973"/>
                  </a:lnTo>
                  <a:lnTo>
                    <a:pt x="4836487" y="8498692"/>
                  </a:lnTo>
                  <a:lnTo>
                    <a:pt x="4866171" y="8506678"/>
                  </a:lnTo>
                  <a:lnTo>
                    <a:pt x="5019134" y="8480180"/>
                  </a:lnTo>
                  <a:lnTo>
                    <a:pt x="5049681" y="8485726"/>
                  </a:lnTo>
                  <a:lnTo>
                    <a:pt x="5086375" y="8509818"/>
                  </a:lnTo>
                  <a:lnTo>
                    <a:pt x="5101438" y="8529312"/>
                  </a:lnTo>
                  <a:lnTo>
                    <a:pt x="5110268" y="8550911"/>
                  </a:lnTo>
                  <a:lnTo>
                    <a:pt x="5119099" y="8572502"/>
                  </a:lnTo>
                  <a:lnTo>
                    <a:pt x="5122073" y="8596547"/>
                  </a:lnTo>
                  <a:lnTo>
                    <a:pt x="5122509" y="8621641"/>
                  </a:lnTo>
                  <a:lnTo>
                    <a:pt x="5122970" y="8646734"/>
                  </a:lnTo>
                  <a:lnTo>
                    <a:pt x="5119890" y="8672639"/>
                  </a:lnTo>
                  <a:lnTo>
                    <a:pt x="5117068" y="8697812"/>
                  </a:lnTo>
                  <a:lnTo>
                    <a:pt x="5114298" y="8722503"/>
                  </a:lnTo>
                  <a:lnTo>
                    <a:pt x="5111278" y="8745691"/>
                  </a:lnTo>
                  <a:lnTo>
                    <a:pt x="5110268" y="8767177"/>
                  </a:lnTo>
                  <a:lnTo>
                    <a:pt x="5129875" y="8737487"/>
                  </a:lnTo>
                  <a:lnTo>
                    <a:pt x="5149864" y="8722200"/>
                  </a:lnTo>
                  <a:lnTo>
                    <a:pt x="5174199" y="8703252"/>
                  </a:lnTo>
                  <a:lnTo>
                    <a:pt x="5198534" y="8684299"/>
                  </a:lnTo>
                  <a:lnTo>
                    <a:pt x="5227110" y="8661830"/>
                  </a:lnTo>
                  <a:lnTo>
                    <a:pt x="5254453" y="8639321"/>
                  </a:lnTo>
                  <a:lnTo>
                    <a:pt x="5281795" y="8616813"/>
                  </a:lnTo>
                  <a:lnTo>
                    <a:pt x="5307442" y="8593989"/>
                  </a:lnTo>
                  <a:lnTo>
                    <a:pt x="5329259" y="8572674"/>
                  </a:lnTo>
                  <a:lnTo>
                    <a:pt x="5351082" y="8551352"/>
                  </a:lnTo>
                  <a:lnTo>
                    <a:pt x="5369098" y="8532286"/>
                  </a:lnTo>
                  <a:lnTo>
                    <a:pt x="5381504" y="8507727"/>
                  </a:lnTo>
                  <a:lnTo>
                    <a:pt x="5390472" y="8486980"/>
                  </a:lnTo>
                  <a:lnTo>
                    <a:pt x="5404071" y="8458417"/>
                  </a:lnTo>
                  <a:lnTo>
                    <a:pt x="5415019" y="8439397"/>
                  </a:lnTo>
                  <a:lnTo>
                    <a:pt x="5428492" y="8423028"/>
                  </a:lnTo>
                  <a:lnTo>
                    <a:pt x="5444880" y="8409449"/>
                  </a:lnTo>
                  <a:lnTo>
                    <a:pt x="5467877" y="8403943"/>
                  </a:lnTo>
                  <a:lnTo>
                    <a:pt x="5498055" y="8406798"/>
                  </a:lnTo>
                  <a:lnTo>
                    <a:pt x="5530568" y="8412173"/>
                  </a:lnTo>
                  <a:lnTo>
                    <a:pt x="5561261" y="8414489"/>
                  </a:lnTo>
                  <a:lnTo>
                    <a:pt x="5584218" y="8407135"/>
                  </a:lnTo>
                  <a:lnTo>
                    <a:pt x="5594499" y="8383611"/>
                  </a:lnTo>
                  <a:lnTo>
                    <a:pt x="5605381" y="8289759"/>
                  </a:lnTo>
                  <a:lnTo>
                    <a:pt x="5590417" y="8258473"/>
                  </a:lnTo>
                  <a:lnTo>
                    <a:pt x="5550669" y="8251588"/>
                  </a:lnTo>
                  <a:lnTo>
                    <a:pt x="5527851" y="8247591"/>
                  </a:lnTo>
                  <a:lnTo>
                    <a:pt x="5505033" y="8243594"/>
                  </a:lnTo>
                  <a:lnTo>
                    <a:pt x="5484292" y="8237178"/>
                  </a:lnTo>
                  <a:lnTo>
                    <a:pt x="5453038" y="8185019"/>
                  </a:lnTo>
                  <a:lnTo>
                    <a:pt x="5431275" y="8146933"/>
                  </a:lnTo>
                  <a:lnTo>
                    <a:pt x="5409512" y="8108848"/>
                  </a:lnTo>
                  <a:lnTo>
                    <a:pt x="5387749" y="8070762"/>
                  </a:lnTo>
                  <a:lnTo>
                    <a:pt x="5362992" y="8038222"/>
                  </a:lnTo>
                  <a:lnTo>
                    <a:pt x="5344222" y="8021795"/>
                  </a:lnTo>
                  <a:lnTo>
                    <a:pt x="5325460" y="8005373"/>
                  </a:lnTo>
                  <a:lnTo>
                    <a:pt x="5303479" y="7988517"/>
                  </a:lnTo>
                  <a:lnTo>
                    <a:pt x="5283015" y="7972827"/>
                  </a:lnTo>
                  <a:lnTo>
                    <a:pt x="5262544" y="7957145"/>
                  </a:lnTo>
                  <a:lnTo>
                    <a:pt x="5243314" y="7942366"/>
                  </a:lnTo>
                  <a:lnTo>
                    <a:pt x="5213901" y="7913526"/>
                  </a:lnTo>
                  <a:lnTo>
                    <a:pt x="5201403" y="7887140"/>
                  </a:lnTo>
                  <a:lnTo>
                    <a:pt x="5230744" y="7857489"/>
                  </a:lnTo>
                  <a:lnTo>
                    <a:pt x="5259893" y="7861294"/>
                  </a:lnTo>
                  <a:lnTo>
                    <a:pt x="5286550" y="7870850"/>
                  </a:lnTo>
                  <a:lnTo>
                    <a:pt x="5312119" y="7878936"/>
                  </a:lnTo>
                  <a:lnTo>
                    <a:pt x="5342864" y="7872176"/>
                  </a:lnTo>
                  <a:lnTo>
                    <a:pt x="5381253" y="7844616"/>
                  </a:lnTo>
                  <a:lnTo>
                    <a:pt x="5409512" y="7809610"/>
                  </a:lnTo>
                  <a:lnTo>
                    <a:pt x="5436089" y="7776695"/>
                  </a:lnTo>
                  <a:lnTo>
                    <a:pt x="5465364" y="7734547"/>
                  </a:lnTo>
                  <a:lnTo>
                    <a:pt x="5478884" y="7693995"/>
                  </a:lnTo>
                  <a:lnTo>
                    <a:pt x="5455122" y="7646650"/>
                  </a:lnTo>
                  <a:lnTo>
                    <a:pt x="5414992" y="7621622"/>
                  </a:lnTo>
                  <a:lnTo>
                    <a:pt x="5378219" y="7597419"/>
                  </a:lnTo>
                  <a:lnTo>
                    <a:pt x="5341446" y="7573210"/>
                  </a:lnTo>
                  <a:lnTo>
                    <a:pt x="5307562" y="7550160"/>
                  </a:lnTo>
                  <a:lnTo>
                    <a:pt x="5296607" y="7529406"/>
                  </a:lnTo>
                  <a:lnTo>
                    <a:pt x="5307423" y="7491492"/>
                  </a:lnTo>
                  <a:lnTo>
                    <a:pt x="5350144" y="7424672"/>
                  </a:lnTo>
                  <a:lnTo>
                    <a:pt x="5370061" y="7412432"/>
                  </a:lnTo>
                  <a:lnTo>
                    <a:pt x="5402402" y="7408792"/>
                  </a:lnTo>
                  <a:lnTo>
                    <a:pt x="5435648" y="7418790"/>
                  </a:lnTo>
                  <a:lnTo>
                    <a:pt x="5465272" y="7430113"/>
                  </a:lnTo>
                  <a:lnTo>
                    <a:pt x="5508739" y="7441470"/>
                  </a:lnTo>
                  <a:lnTo>
                    <a:pt x="5590792" y="7458867"/>
                  </a:lnTo>
                  <a:lnTo>
                    <a:pt x="5673380" y="7470916"/>
                  </a:lnTo>
                  <a:lnTo>
                    <a:pt x="5714678" y="7476944"/>
                  </a:lnTo>
                  <a:lnTo>
                    <a:pt x="5756437" y="7480940"/>
                  </a:lnTo>
                  <a:lnTo>
                    <a:pt x="5793078" y="7483163"/>
                  </a:lnTo>
                  <a:lnTo>
                    <a:pt x="5829726" y="7485385"/>
                  </a:lnTo>
                  <a:lnTo>
                    <a:pt x="5860485" y="7486052"/>
                  </a:lnTo>
                  <a:lnTo>
                    <a:pt x="5882854" y="7481804"/>
                  </a:lnTo>
                  <a:lnTo>
                    <a:pt x="5915341" y="7469386"/>
                  </a:lnTo>
                  <a:lnTo>
                    <a:pt x="5937421" y="7445249"/>
                  </a:lnTo>
                  <a:lnTo>
                    <a:pt x="5950861" y="7412432"/>
                  </a:lnTo>
                  <a:lnTo>
                    <a:pt x="5962086" y="7378996"/>
                  </a:lnTo>
                  <a:lnTo>
                    <a:pt x="5963075" y="7340627"/>
                  </a:lnTo>
                  <a:lnTo>
                    <a:pt x="5959026" y="7313140"/>
                  </a:lnTo>
                  <a:lnTo>
                    <a:pt x="5951890" y="7264719"/>
                  </a:lnTo>
                  <a:lnTo>
                    <a:pt x="5926974" y="7221391"/>
                  </a:lnTo>
                  <a:lnTo>
                    <a:pt x="5903259" y="7179837"/>
                  </a:lnTo>
                  <a:lnTo>
                    <a:pt x="5887636" y="7152508"/>
                  </a:lnTo>
                  <a:lnTo>
                    <a:pt x="5878773" y="7111830"/>
                  </a:lnTo>
                  <a:lnTo>
                    <a:pt x="5904617" y="7075334"/>
                  </a:lnTo>
                  <a:lnTo>
                    <a:pt x="6017048" y="7093931"/>
                  </a:lnTo>
                  <a:lnTo>
                    <a:pt x="6120634" y="7097736"/>
                  </a:lnTo>
                  <a:lnTo>
                    <a:pt x="6214743" y="7128152"/>
                  </a:lnTo>
                  <a:lnTo>
                    <a:pt x="6246669" y="7108064"/>
                  </a:lnTo>
                  <a:lnTo>
                    <a:pt x="6240588" y="7081903"/>
                  </a:lnTo>
                  <a:lnTo>
                    <a:pt x="6219102" y="7059097"/>
                  </a:lnTo>
                  <a:lnTo>
                    <a:pt x="6201138" y="7047899"/>
                  </a:lnTo>
                  <a:lnTo>
                    <a:pt x="6165216" y="7025503"/>
                  </a:lnTo>
                  <a:lnTo>
                    <a:pt x="6118028" y="7003139"/>
                  </a:lnTo>
                  <a:lnTo>
                    <a:pt x="6101845" y="6973087"/>
                  </a:lnTo>
                  <a:lnTo>
                    <a:pt x="6102109" y="6943120"/>
                  </a:lnTo>
                  <a:lnTo>
                    <a:pt x="6132749" y="6925886"/>
                  </a:lnTo>
                  <a:lnTo>
                    <a:pt x="6152112" y="6913640"/>
                  </a:lnTo>
                  <a:lnTo>
                    <a:pt x="6167135" y="6894198"/>
                  </a:lnTo>
                  <a:lnTo>
                    <a:pt x="6174310" y="6873134"/>
                  </a:lnTo>
                  <a:lnTo>
                    <a:pt x="6167794" y="6848436"/>
                  </a:lnTo>
                  <a:lnTo>
                    <a:pt x="6157611" y="6823468"/>
                  </a:lnTo>
                  <a:lnTo>
                    <a:pt x="6147442" y="6798500"/>
                  </a:lnTo>
                  <a:lnTo>
                    <a:pt x="6133494" y="6773545"/>
                  </a:lnTo>
                  <a:lnTo>
                    <a:pt x="6129049" y="6751372"/>
                  </a:lnTo>
                  <a:lnTo>
                    <a:pt x="6164417" y="6741850"/>
                  </a:lnTo>
                  <a:lnTo>
                    <a:pt x="6190513" y="6774092"/>
                  </a:lnTo>
                  <a:lnTo>
                    <a:pt x="6215693" y="6797767"/>
                  </a:lnTo>
                  <a:lnTo>
                    <a:pt x="6241947" y="6815297"/>
                  </a:lnTo>
                  <a:lnTo>
                    <a:pt x="6268201" y="6832832"/>
                  </a:lnTo>
                  <a:lnTo>
                    <a:pt x="6295478" y="6844301"/>
                  </a:lnTo>
                  <a:lnTo>
                    <a:pt x="6323559" y="6853382"/>
                  </a:lnTo>
                  <a:lnTo>
                    <a:pt x="6379721" y="6871558"/>
                  </a:lnTo>
                  <a:lnTo>
                    <a:pt x="6440441" y="6878997"/>
                  </a:lnTo>
                  <a:lnTo>
                    <a:pt x="6513986" y="6900991"/>
                  </a:lnTo>
                  <a:lnTo>
                    <a:pt x="6541831" y="6865055"/>
                  </a:lnTo>
                  <a:lnTo>
                    <a:pt x="6554242" y="6837211"/>
                  </a:lnTo>
                  <a:lnTo>
                    <a:pt x="6577917" y="6815297"/>
                  </a:lnTo>
                  <a:lnTo>
                    <a:pt x="6604079" y="6803973"/>
                  </a:lnTo>
                  <a:lnTo>
                    <a:pt x="6647033" y="6791561"/>
                  </a:lnTo>
                  <a:lnTo>
                    <a:pt x="6687729" y="6777382"/>
                  </a:lnTo>
                  <a:lnTo>
                    <a:pt x="6720737" y="6762254"/>
                  </a:lnTo>
                  <a:lnTo>
                    <a:pt x="6741907" y="6752540"/>
                  </a:lnTo>
                  <a:lnTo>
                    <a:pt x="6763010" y="6737536"/>
                  </a:lnTo>
                  <a:lnTo>
                    <a:pt x="6784668" y="6729609"/>
                  </a:lnTo>
                  <a:lnTo>
                    <a:pt x="6820603" y="6716472"/>
                  </a:lnTo>
                  <a:lnTo>
                    <a:pt x="6861604" y="6713880"/>
                  </a:lnTo>
                  <a:lnTo>
                    <a:pt x="6898925" y="6699682"/>
                  </a:lnTo>
                  <a:lnTo>
                    <a:pt x="6926340" y="6674304"/>
                  </a:lnTo>
                  <a:lnTo>
                    <a:pt x="6935968" y="6636304"/>
                  </a:lnTo>
                  <a:lnTo>
                    <a:pt x="6961491" y="6611270"/>
                  </a:lnTo>
                  <a:lnTo>
                    <a:pt x="7012370" y="6595376"/>
                  </a:lnTo>
                  <a:lnTo>
                    <a:pt x="7069713" y="6599030"/>
                  </a:lnTo>
                  <a:lnTo>
                    <a:pt x="7121997" y="6599030"/>
                  </a:lnTo>
                  <a:lnTo>
                    <a:pt x="7165247" y="6599030"/>
                  </a:lnTo>
                  <a:lnTo>
                    <a:pt x="7190664" y="6597579"/>
                  </a:lnTo>
                  <a:lnTo>
                    <a:pt x="7213126" y="6603105"/>
                  </a:lnTo>
                  <a:lnTo>
                    <a:pt x="7235594" y="6608632"/>
                  </a:lnTo>
                  <a:lnTo>
                    <a:pt x="7254106" y="6621209"/>
                  </a:lnTo>
                  <a:lnTo>
                    <a:pt x="7283856" y="6650714"/>
                  </a:lnTo>
                  <a:lnTo>
                    <a:pt x="7317951" y="6684520"/>
                  </a:lnTo>
                  <a:lnTo>
                    <a:pt x="7351335" y="6722375"/>
                  </a:lnTo>
                  <a:lnTo>
                    <a:pt x="7381790" y="6759524"/>
                  </a:lnTo>
                  <a:lnTo>
                    <a:pt x="7368185" y="6813938"/>
                  </a:lnTo>
                  <a:lnTo>
                    <a:pt x="7388484" y="6834679"/>
                  </a:lnTo>
                  <a:lnTo>
                    <a:pt x="7435499" y="6840423"/>
                  </a:lnTo>
                  <a:lnTo>
                    <a:pt x="7525566" y="6844901"/>
                  </a:lnTo>
                  <a:lnTo>
                    <a:pt x="7559978" y="6861540"/>
                  </a:lnTo>
                  <a:lnTo>
                    <a:pt x="7602304" y="6890479"/>
                  </a:lnTo>
                  <a:lnTo>
                    <a:pt x="7628934" y="6914959"/>
                  </a:lnTo>
                  <a:lnTo>
                    <a:pt x="7656256" y="6950360"/>
                  </a:lnTo>
                  <a:lnTo>
                    <a:pt x="7687834" y="6977155"/>
                  </a:lnTo>
                  <a:lnTo>
                    <a:pt x="7720248" y="7002308"/>
                  </a:lnTo>
                  <a:lnTo>
                    <a:pt x="7756070" y="7014582"/>
                  </a:lnTo>
                  <a:lnTo>
                    <a:pt x="7795291" y="7008442"/>
                  </a:lnTo>
                  <a:lnTo>
                    <a:pt x="7821387" y="6985386"/>
                  </a:lnTo>
                  <a:lnTo>
                    <a:pt x="7829914" y="6921560"/>
                  </a:lnTo>
                  <a:lnTo>
                    <a:pt x="7829914" y="6849004"/>
                  </a:lnTo>
                  <a:lnTo>
                    <a:pt x="7849699" y="6796251"/>
                  </a:lnTo>
                  <a:lnTo>
                    <a:pt x="7860923" y="6766323"/>
                  </a:lnTo>
                  <a:lnTo>
                    <a:pt x="7872814" y="6747507"/>
                  </a:lnTo>
                  <a:lnTo>
                    <a:pt x="7897307" y="6717138"/>
                  </a:lnTo>
                  <a:lnTo>
                    <a:pt x="7919071" y="6692876"/>
                  </a:lnTo>
                  <a:lnTo>
                    <a:pt x="7936218" y="6666746"/>
                  </a:lnTo>
                  <a:lnTo>
                    <a:pt x="7939468" y="6645267"/>
                  </a:lnTo>
                  <a:lnTo>
                    <a:pt x="7942727" y="6623794"/>
                  </a:lnTo>
                  <a:lnTo>
                    <a:pt x="7942146" y="6595291"/>
                  </a:lnTo>
                  <a:lnTo>
                    <a:pt x="7935393" y="6552774"/>
                  </a:lnTo>
                  <a:lnTo>
                    <a:pt x="7919071" y="6454839"/>
                  </a:lnTo>
                  <a:lnTo>
                    <a:pt x="7910807" y="6402984"/>
                  </a:lnTo>
                  <a:lnTo>
                    <a:pt x="7934463" y="6295975"/>
                  </a:lnTo>
                  <a:lnTo>
                    <a:pt x="7928593" y="6234490"/>
                  </a:lnTo>
                  <a:lnTo>
                    <a:pt x="7925038" y="6198363"/>
                  </a:lnTo>
                  <a:lnTo>
                    <a:pt x="7943532" y="6150583"/>
                  </a:lnTo>
                  <a:lnTo>
                    <a:pt x="7963870" y="6124164"/>
                  </a:lnTo>
                  <a:lnTo>
                    <a:pt x="8050138" y="6099169"/>
                  </a:lnTo>
                  <a:lnTo>
                    <a:pt x="8085018" y="6068549"/>
                  </a:lnTo>
                  <a:lnTo>
                    <a:pt x="8104790" y="6051172"/>
                  </a:lnTo>
                  <a:lnTo>
                    <a:pt x="8121436" y="6028756"/>
                  </a:lnTo>
                  <a:lnTo>
                    <a:pt x="8140785" y="6010059"/>
                  </a:lnTo>
                  <a:lnTo>
                    <a:pt x="8160134" y="5991356"/>
                  </a:lnTo>
                  <a:lnTo>
                    <a:pt x="8182418" y="5976181"/>
                  </a:lnTo>
                  <a:lnTo>
                    <a:pt x="8210156" y="5971973"/>
                  </a:lnTo>
                  <a:lnTo>
                    <a:pt x="8248295" y="5966183"/>
                  </a:lnTo>
                  <a:lnTo>
                    <a:pt x="8270692" y="5973483"/>
                  </a:lnTo>
                  <a:lnTo>
                    <a:pt x="8290404" y="5982855"/>
                  </a:lnTo>
                  <a:lnTo>
                    <a:pt x="8310116" y="5992226"/>
                  </a:lnTo>
                  <a:lnTo>
                    <a:pt x="8350251" y="6003253"/>
                  </a:lnTo>
                  <a:lnTo>
                    <a:pt x="8374547" y="5985849"/>
                  </a:lnTo>
                  <a:lnTo>
                    <a:pt x="8400538" y="5943068"/>
                  </a:lnTo>
                  <a:lnTo>
                    <a:pt x="8414182" y="5917566"/>
                  </a:lnTo>
                  <a:lnTo>
                    <a:pt x="8403856" y="5895855"/>
                  </a:lnTo>
                  <a:lnTo>
                    <a:pt x="8378266" y="5879427"/>
                  </a:lnTo>
                  <a:lnTo>
                    <a:pt x="8343453" y="5864516"/>
                  </a:lnTo>
                  <a:lnTo>
                    <a:pt x="8307570" y="5849737"/>
                  </a:lnTo>
                  <a:lnTo>
                    <a:pt x="8275960" y="5830329"/>
                  </a:lnTo>
                  <a:lnTo>
                    <a:pt x="8255041" y="5803308"/>
                  </a:lnTo>
                  <a:lnTo>
                    <a:pt x="8255041" y="5781545"/>
                  </a:lnTo>
                  <a:lnTo>
                    <a:pt x="8270803" y="5751486"/>
                  </a:lnTo>
                  <a:lnTo>
                    <a:pt x="8287844" y="5729301"/>
                  </a:lnTo>
                  <a:lnTo>
                    <a:pt x="8305367" y="5712174"/>
                  </a:lnTo>
                  <a:lnTo>
                    <a:pt x="8322890" y="5695047"/>
                  </a:lnTo>
                  <a:lnTo>
                    <a:pt x="8340287" y="5682727"/>
                  </a:lnTo>
                  <a:lnTo>
                    <a:pt x="8390587" y="5652728"/>
                  </a:lnTo>
                  <a:lnTo>
                    <a:pt x="8420534" y="5641899"/>
                  </a:lnTo>
                  <a:lnTo>
                    <a:pt x="8435947" y="5615598"/>
                  </a:lnTo>
                  <a:lnTo>
                    <a:pt x="8444769" y="5555920"/>
                  </a:lnTo>
                  <a:lnTo>
                    <a:pt x="8447138" y="5532503"/>
                  </a:lnTo>
                  <a:lnTo>
                    <a:pt x="8442752" y="5508147"/>
                  </a:lnTo>
                  <a:lnTo>
                    <a:pt x="8429595" y="5489220"/>
                  </a:lnTo>
                  <a:lnTo>
                    <a:pt x="8409916" y="5466632"/>
                  </a:lnTo>
                  <a:lnTo>
                    <a:pt x="8382903" y="5441493"/>
                  </a:lnTo>
                  <a:lnTo>
                    <a:pt x="8347865" y="5419175"/>
                  </a:lnTo>
                  <a:lnTo>
                    <a:pt x="8314567" y="5395803"/>
                  </a:lnTo>
                  <a:lnTo>
                    <a:pt x="8294492" y="5368045"/>
                  </a:lnTo>
                  <a:lnTo>
                    <a:pt x="8289743" y="5336311"/>
                  </a:lnTo>
                  <a:lnTo>
                    <a:pt x="8305373" y="5314996"/>
                  </a:lnTo>
                  <a:lnTo>
                    <a:pt x="8319895" y="5295191"/>
                  </a:lnTo>
                  <a:lnTo>
                    <a:pt x="8351617" y="5278268"/>
                  </a:lnTo>
                  <a:lnTo>
                    <a:pt x="8393145" y="5269708"/>
                  </a:lnTo>
                  <a:lnTo>
                    <a:pt x="8441749" y="5263965"/>
                  </a:lnTo>
                  <a:lnTo>
                    <a:pt x="8470827" y="5263008"/>
                  </a:lnTo>
                  <a:lnTo>
                    <a:pt x="8499878" y="5260588"/>
                  </a:lnTo>
                  <a:lnTo>
                    <a:pt x="8564956" y="5255167"/>
                  </a:lnTo>
                  <a:lnTo>
                    <a:pt x="8640725" y="5229242"/>
                  </a:lnTo>
                  <a:lnTo>
                    <a:pt x="8705268" y="5227943"/>
                  </a:lnTo>
                  <a:lnTo>
                    <a:pt x="8724354" y="5214826"/>
                  </a:lnTo>
                  <a:lnTo>
                    <a:pt x="8732432" y="5194810"/>
                  </a:lnTo>
                  <a:lnTo>
                    <a:pt x="8732467" y="5170811"/>
                  </a:lnTo>
                  <a:lnTo>
                    <a:pt x="8731265" y="5146628"/>
                  </a:lnTo>
                  <a:lnTo>
                    <a:pt x="8722903" y="5120704"/>
                  </a:lnTo>
                  <a:lnTo>
                    <a:pt x="8716849" y="5080316"/>
                  </a:lnTo>
                  <a:lnTo>
                    <a:pt x="8720424" y="5017836"/>
                  </a:lnTo>
                  <a:lnTo>
                    <a:pt x="8697994" y="4989550"/>
                  </a:lnTo>
                  <a:lnTo>
                    <a:pt x="8671259" y="4965426"/>
                  </a:lnTo>
                  <a:lnTo>
                    <a:pt x="8670481" y="4936851"/>
                  </a:lnTo>
                  <a:lnTo>
                    <a:pt x="8664065" y="4907167"/>
                  </a:lnTo>
                  <a:lnTo>
                    <a:pt x="8653578" y="4878373"/>
                  </a:lnTo>
                  <a:lnTo>
                    <a:pt x="8643092" y="4849581"/>
                  </a:lnTo>
                  <a:lnTo>
                    <a:pt x="8627766" y="4821684"/>
                  </a:lnTo>
                  <a:lnTo>
                    <a:pt x="8610051" y="4795403"/>
                  </a:lnTo>
                  <a:lnTo>
                    <a:pt x="8592337" y="4769123"/>
                  </a:lnTo>
                  <a:lnTo>
                    <a:pt x="8572665" y="4744345"/>
                  </a:lnTo>
                  <a:lnTo>
                    <a:pt x="8550203" y="4723308"/>
                  </a:lnTo>
                  <a:lnTo>
                    <a:pt x="8527741" y="4702276"/>
                  </a:lnTo>
                  <a:lnTo>
                    <a:pt x="8502839" y="4684674"/>
                  </a:lnTo>
                  <a:lnTo>
                    <a:pt x="8478115" y="4671623"/>
                  </a:lnTo>
                  <a:lnTo>
                    <a:pt x="8449485" y="4672982"/>
                  </a:lnTo>
                  <a:lnTo>
                    <a:pt x="8428823" y="4678000"/>
                  </a:lnTo>
                  <a:lnTo>
                    <a:pt x="8396819" y="4689726"/>
                  </a:lnTo>
                  <a:lnTo>
                    <a:pt x="8376098" y="4704269"/>
                  </a:lnTo>
                  <a:lnTo>
                    <a:pt x="8357624" y="4718553"/>
                  </a:lnTo>
                  <a:lnTo>
                    <a:pt x="8320330" y="4731472"/>
                  </a:lnTo>
                  <a:lnTo>
                    <a:pt x="8283519" y="4709347"/>
                  </a:lnTo>
                  <a:lnTo>
                    <a:pt x="8238528" y="4688625"/>
                  </a:lnTo>
                  <a:lnTo>
                    <a:pt x="8196550" y="4678423"/>
                  </a:lnTo>
                  <a:lnTo>
                    <a:pt x="8208534" y="4633281"/>
                  </a:lnTo>
                  <a:lnTo>
                    <a:pt x="8221823" y="4546953"/>
                  </a:lnTo>
                  <a:lnTo>
                    <a:pt x="8216955" y="4502959"/>
                  </a:lnTo>
                  <a:lnTo>
                    <a:pt x="8209009" y="4459855"/>
                  </a:lnTo>
                  <a:lnTo>
                    <a:pt x="8289131" y="4450542"/>
                  </a:lnTo>
                  <a:lnTo>
                    <a:pt x="8366428" y="4438672"/>
                  </a:lnTo>
                  <a:lnTo>
                    <a:pt x="8435947" y="4419988"/>
                  </a:lnTo>
                  <a:lnTo>
                    <a:pt x="8480284" y="4408071"/>
                  </a:lnTo>
                  <a:lnTo>
                    <a:pt x="8518356" y="4397045"/>
                  </a:lnTo>
                  <a:lnTo>
                    <a:pt x="8547479" y="4376455"/>
                  </a:lnTo>
                  <a:lnTo>
                    <a:pt x="8574275" y="4353512"/>
                  </a:lnTo>
                  <a:lnTo>
                    <a:pt x="8594145" y="4320511"/>
                  </a:lnTo>
                  <a:lnTo>
                    <a:pt x="8602580" y="4299855"/>
                  </a:lnTo>
                  <a:lnTo>
                    <a:pt x="8607328" y="4274445"/>
                  </a:lnTo>
                  <a:lnTo>
                    <a:pt x="8605977" y="4231387"/>
                  </a:lnTo>
                  <a:lnTo>
                    <a:pt x="8608680" y="4192629"/>
                  </a:lnTo>
                  <a:lnTo>
                    <a:pt x="8614260" y="4171241"/>
                  </a:lnTo>
                  <a:lnTo>
                    <a:pt x="8614002" y="4130093"/>
                  </a:lnTo>
                  <a:lnTo>
                    <a:pt x="8591005" y="4094898"/>
                  </a:lnTo>
                  <a:lnTo>
                    <a:pt x="8551371" y="4060106"/>
                  </a:lnTo>
                  <a:lnTo>
                    <a:pt x="8509440" y="4026505"/>
                  </a:lnTo>
                  <a:lnTo>
                    <a:pt x="8471307" y="3990162"/>
                  </a:lnTo>
                  <a:lnTo>
                    <a:pt x="8450758" y="3970589"/>
                  </a:lnTo>
                  <a:lnTo>
                    <a:pt x="8436176" y="3941068"/>
                  </a:lnTo>
                  <a:lnTo>
                    <a:pt x="8411460" y="3926233"/>
                  </a:lnTo>
                  <a:lnTo>
                    <a:pt x="8389934" y="3913332"/>
                  </a:lnTo>
                  <a:lnTo>
                    <a:pt x="8366428" y="3907424"/>
                  </a:lnTo>
                  <a:lnTo>
                    <a:pt x="8344811" y="3896309"/>
                  </a:lnTo>
                  <a:lnTo>
                    <a:pt x="8319672" y="3877351"/>
                  </a:lnTo>
                  <a:lnTo>
                    <a:pt x="8140785" y="3805175"/>
                  </a:lnTo>
                  <a:lnTo>
                    <a:pt x="8112129" y="3759227"/>
                  </a:lnTo>
                  <a:lnTo>
                    <a:pt x="8058064" y="3687518"/>
                  </a:lnTo>
                  <a:lnTo>
                    <a:pt x="8005740" y="3647073"/>
                  </a:lnTo>
                  <a:lnTo>
                    <a:pt x="7947632" y="3602506"/>
                  </a:lnTo>
                  <a:lnTo>
                    <a:pt x="7916947" y="3578968"/>
                  </a:lnTo>
                  <a:lnTo>
                    <a:pt x="7898666" y="3549458"/>
                  </a:lnTo>
                  <a:lnTo>
                    <a:pt x="7895308" y="3511308"/>
                  </a:lnTo>
                  <a:lnTo>
                    <a:pt x="7891867" y="3469206"/>
                  </a:lnTo>
                  <a:lnTo>
                    <a:pt x="7863193" y="3440345"/>
                  </a:lnTo>
                  <a:lnTo>
                    <a:pt x="7833376" y="3427040"/>
                  </a:lnTo>
                  <a:lnTo>
                    <a:pt x="7803560" y="3413736"/>
                  </a:lnTo>
                  <a:lnTo>
                    <a:pt x="7770969" y="3402142"/>
                  </a:lnTo>
                  <a:lnTo>
                    <a:pt x="7740691" y="3380899"/>
                  </a:lnTo>
                  <a:lnTo>
                    <a:pt x="7731618" y="3354992"/>
                  </a:lnTo>
                  <a:lnTo>
                    <a:pt x="7723203" y="3334547"/>
                  </a:lnTo>
                  <a:lnTo>
                    <a:pt x="7707783" y="3297077"/>
                  </a:lnTo>
                  <a:lnTo>
                    <a:pt x="7710513" y="3265134"/>
                  </a:lnTo>
                  <a:lnTo>
                    <a:pt x="7720485" y="3233892"/>
                  </a:lnTo>
                  <a:lnTo>
                    <a:pt x="7730456" y="3202650"/>
                  </a:lnTo>
                  <a:lnTo>
                    <a:pt x="7747412" y="3172364"/>
                  </a:lnTo>
                  <a:lnTo>
                    <a:pt x="7759929" y="3138678"/>
                  </a:lnTo>
                  <a:lnTo>
                    <a:pt x="7771212" y="3108329"/>
                  </a:lnTo>
                  <a:lnTo>
                    <a:pt x="7788155" y="3074366"/>
                  </a:lnTo>
                  <a:lnTo>
                    <a:pt x="7792574" y="3042104"/>
                  </a:lnTo>
                  <a:lnTo>
                    <a:pt x="7755359" y="3037726"/>
                  </a:lnTo>
                  <a:lnTo>
                    <a:pt x="7701571" y="3097299"/>
                  </a:lnTo>
                  <a:lnTo>
                    <a:pt x="7664718" y="3115555"/>
                  </a:lnTo>
                  <a:lnTo>
                    <a:pt x="7632179" y="3119903"/>
                  </a:lnTo>
                  <a:lnTo>
                    <a:pt x="7592445" y="3119668"/>
                  </a:lnTo>
                  <a:lnTo>
                    <a:pt x="7561343" y="3107394"/>
                  </a:lnTo>
                  <a:lnTo>
                    <a:pt x="7532293" y="3092010"/>
                  </a:lnTo>
                  <a:lnTo>
                    <a:pt x="7514216" y="3065649"/>
                  </a:lnTo>
                  <a:lnTo>
                    <a:pt x="7511011" y="3027141"/>
                  </a:lnTo>
                  <a:lnTo>
                    <a:pt x="7481617" y="3011829"/>
                  </a:lnTo>
                  <a:lnTo>
                    <a:pt x="7460685" y="3018980"/>
                  </a:lnTo>
                  <a:lnTo>
                    <a:pt x="7445899" y="3034110"/>
                  </a:lnTo>
                  <a:lnTo>
                    <a:pt x="7429043" y="3066253"/>
                  </a:lnTo>
                  <a:lnTo>
                    <a:pt x="7422375" y="3093813"/>
                  </a:lnTo>
                  <a:lnTo>
                    <a:pt x="7369491" y="3149751"/>
                  </a:lnTo>
                  <a:lnTo>
                    <a:pt x="7334624" y="3165276"/>
                  </a:lnTo>
                  <a:lnTo>
                    <a:pt x="7305626" y="3160442"/>
                  </a:lnTo>
                  <a:lnTo>
                    <a:pt x="7278719" y="3144699"/>
                  </a:lnTo>
                  <a:lnTo>
                    <a:pt x="7252576" y="3134597"/>
                  </a:lnTo>
                  <a:lnTo>
                    <a:pt x="7216766" y="3120769"/>
                  </a:lnTo>
                  <a:lnTo>
                    <a:pt x="7173603" y="3121062"/>
                  </a:lnTo>
                  <a:lnTo>
                    <a:pt x="7131520" y="3129157"/>
                  </a:lnTo>
                  <a:lnTo>
                    <a:pt x="7089432" y="3137252"/>
                  </a:lnTo>
                  <a:lnTo>
                    <a:pt x="7047304" y="3153248"/>
                  </a:lnTo>
                  <a:lnTo>
                    <a:pt x="7015898" y="3172683"/>
                  </a:lnTo>
                  <a:lnTo>
                    <a:pt x="6996542" y="3193925"/>
                  </a:lnTo>
                  <a:lnTo>
                    <a:pt x="6987772" y="3226465"/>
                  </a:lnTo>
                  <a:lnTo>
                    <a:pt x="6977813" y="3255655"/>
                  </a:lnTo>
                  <a:lnTo>
                    <a:pt x="6968613" y="3283990"/>
                  </a:lnTo>
                  <a:lnTo>
                    <a:pt x="6954374" y="3306212"/>
                  </a:lnTo>
                  <a:lnTo>
                    <a:pt x="6932928" y="3318224"/>
                  </a:lnTo>
                  <a:lnTo>
                    <a:pt x="6895746" y="3307964"/>
                  </a:lnTo>
                  <a:lnTo>
                    <a:pt x="6866742" y="3284958"/>
                  </a:lnTo>
                  <a:lnTo>
                    <a:pt x="6845876" y="3252934"/>
                  </a:lnTo>
                  <a:lnTo>
                    <a:pt x="6827884" y="3218824"/>
                  </a:lnTo>
                  <a:lnTo>
                    <a:pt x="6821316" y="3176710"/>
                  </a:lnTo>
                  <a:lnTo>
                    <a:pt x="6828194" y="3141399"/>
                  </a:lnTo>
                  <a:lnTo>
                    <a:pt x="6838839" y="3086756"/>
                  </a:lnTo>
                  <a:lnTo>
                    <a:pt x="6860668" y="3019257"/>
                  </a:lnTo>
                  <a:lnTo>
                    <a:pt x="6858115" y="2963212"/>
                  </a:lnTo>
                  <a:lnTo>
                    <a:pt x="6855689" y="2910270"/>
                  </a:lnTo>
                  <a:lnTo>
                    <a:pt x="6846192" y="2877988"/>
                  </a:lnTo>
                  <a:lnTo>
                    <a:pt x="6849957" y="2816311"/>
                  </a:lnTo>
                  <a:lnTo>
                    <a:pt x="6853229" y="2763072"/>
                  </a:lnTo>
                  <a:lnTo>
                    <a:pt x="6874036" y="2708473"/>
                  </a:lnTo>
                  <a:lnTo>
                    <a:pt x="6873079" y="2655808"/>
                  </a:lnTo>
                  <a:lnTo>
                    <a:pt x="6872017" y="2596480"/>
                  </a:lnTo>
                  <a:lnTo>
                    <a:pt x="6852029" y="2539308"/>
                  </a:lnTo>
                  <a:lnTo>
                    <a:pt x="6834994" y="2481702"/>
                  </a:lnTo>
                  <a:lnTo>
                    <a:pt x="6826480" y="2452899"/>
                  </a:lnTo>
                  <a:lnTo>
                    <a:pt x="6819073" y="2424186"/>
                  </a:lnTo>
                  <a:lnTo>
                    <a:pt x="6814589" y="2394649"/>
                  </a:lnTo>
                  <a:lnTo>
                    <a:pt x="6810111" y="2365113"/>
                  </a:lnTo>
                  <a:lnTo>
                    <a:pt x="6809676" y="2334561"/>
                  </a:lnTo>
                  <a:lnTo>
                    <a:pt x="6814589" y="2303516"/>
                  </a:lnTo>
                  <a:lnTo>
                    <a:pt x="6820169" y="2268230"/>
                  </a:lnTo>
                  <a:lnTo>
                    <a:pt x="6839057" y="2241314"/>
                  </a:lnTo>
                  <a:lnTo>
                    <a:pt x="6863557" y="2216463"/>
                  </a:lnTo>
                  <a:lnTo>
                    <a:pt x="6888063" y="2191611"/>
                  </a:lnTo>
                  <a:lnTo>
                    <a:pt x="6917825" y="2169578"/>
                  </a:lnTo>
                  <a:lnTo>
                    <a:pt x="6943810" y="2147093"/>
                  </a:lnTo>
                  <a:lnTo>
                    <a:pt x="6969794" y="2124609"/>
                  </a:lnTo>
                  <a:lnTo>
                    <a:pt x="6992276" y="2100467"/>
                  </a:lnTo>
                  <a:lnTo>
                    <a:pt x="7002300" y="2072282"/>
                  </a:lnTo>
                  <a:lnTo>
                    <a:pt x="7008631" y="2043066"/>
                  </a:lnTo>
                  <a:lnTo>
                    <a:pt x="7004126" y="2009005"/>
                  </a:lnTo>
                  <a:lnTo>
                    <a:pt x="6985971" y="1970267"/>
                  </a:lnTo>
                  <a:lnTo>
                    <a:pt x="6961141" y="1949174"/>
                  </a:lnTo>
                  <a:lnTo>
                    <a:pt x="6937689" y="1943262"/>
                  </a:lnTo>
                  <a:lnTo>
                    <a:pt x="6898232" y="1937422"/>
                  </a:lnTo>
                  <a:lnTo>
                    <a:pt x="6871714" y="1926741"/>
                  </a:lnTo>
                  <a:lnTo>
                    <a:pt x="6860344" y="1898804"/>
                  </a:lnTo>
                  <a:lnTo>
                    <a:pt x="6858610" y="1862185"/>
                  </a:lnTo>
                  <a:lnTo>
                    <a:pt x="6847234" y="1835607"/>
                  </a:lnTo>
                  <a:lnTo>
                    <a:pt x="6827172" y="1849762"/>
                  </a:lnTo>
                  <a:lnTo>
                    <a:pt x="6791461" y="1855628"/>
                  </a:lnTo>
                  <a:lnTo>
                    <a:pt x="6768339" y="1853290"/>
                  </a:lnTo>
                  <a:lnTo>
                    <a:pt x="6740397" y="1850456"/>
                  </a:lnTo>
                  <a:lnTo>
                    <a:pt x="6705773" y="1836968"/>
                  </a:lnTo>
                  <a:lnTo>
                    <a:pt x="6680541" y="1820054"/>
                  </a:lnTo>
                  <a:lnTo>
                    <a:pt x="6662372" y="1781022"/>
                  </a:lnTo>
                  <a:lnTo>
                    <a:pt x="6664720" y="1744049"/>
                  </a:lnTo>
                  <a:lnTo>
                    <a:pt x="6663605" y="1694147"/>
                  </a:lnTo>
                  <a:lnTo>
                    <a:pt x="6654590" y="1600782"/>
                  </a:lnTo>
                  <a:lnTo>
                    <a:pt x="6658230" y="1538531"/>
                  </a:lnTo>
                  <a:lnTo>
                    <a:pt x="6666329" y="1453392"/>
                  </a:lnTo>
                  <a:lnTo>
                    <a:pt x="6673966" y="1373076"/>
                  </a:lnTo>
                  <a:lnTo>
                    <a:pt x="6680845" y="1332230"/>
                  </a:lnTo>
                  <a:lnTo>
                    <a:pt x="6698974" y="1294249"/>
                  </a:lnTo>
                  <a:lnTo>
                    <a:pt x="6717104" y="1256267"/>
                  </a:lnTo>
                  <a:lnTo>
                    <a:pt x="6746629" y="1219996"/>
                  </a:lnTo>
                  <a:lnTo>
                    <a:pt x="6796908" y="1151428"/>
                  </a:lnTo>
                  <a:lnTo>
                    <a:pt x="6835792" y="1098397"/>
                  </a:lnTo>
                  <a:lnTo>
                    <a:pt x="6871292" y="1043738"/>
                  </a:lnTo>
                  <a:lnTo>
                    <a:pt x="6920688" y="999085"/>
                  </a:lnTo>
                  <a:lnTo>
                    <a:pt x="6950992" y="971690"/>
                  </a:lnTo>
                  <a:lnTo>
                    <a:pt x="6986742" y="948715"/>
                  </a:lnTo>
                  <a:lnTo>
                    <a:pt x="7018622" y="922914"/>
                  </a:lnTo>
                  <a:lnTo>
                    <a:pt x="7040372" y="905317"/>
                  </a:lnTo>
                  <a:lnTo>
                    <a:pt x="7070016" y="866896"/>
                  </a:lnTo>
                  <a:lnTo>
                    <a:pt x="7094794" y="826340"/>
                  </a:lnTo>
                  <a:lnTo>
                    <a:pt x="7119570" y="785784"/>
                  </a:lnTo>
                  <a:lnTo>
                    <a:pt x="7140008" y="742305"/>
                  </a:lnTo>
                  <a:lnTo>
                    <a:pt x="7143760" y="714803"/>
                  </a:lnTo>
                  <a:lnTo>
                    <a:pt x="7147691" y="685921"/>
                  </a:lnTo>
                  <a:lnTo>
                    <a:pt x="7129245" y="667792"/>
                  </a:lnTo>
                  <a:lnTo>
                    <a:pt x="7121997" y="644073"/>
                  </a:lnTo>
                  <a:lnTo>
                    <a:pt x="7110687" y="607125"/>
                  </a:lnTo>
                  <a:lnTo>
                    <a:pt x="7093415" y="567876"/>
                  </a:lnTo>
                  <a:lnTo>
                    <a:pt x="7089353" y="531177"/>
                  </a:lnTo>
                  <a:lnTo>
                    <a:pt x="7088436" y="494820"/>
                  </a:lnTo>
                  <a:lnTo>
                    <a:pt x="7101151" y="461438"/>
                  </a:lnTo>
                  <a:lnTo>
                    <a:pt x="7132879" y="431882"/>
                  </a:lnTo>
                  <a:lnTo>
                    <a:pt x="7221778" y="391076"/>
                  </a:lnTo>
                  <a:lnTo>
                    <a:pt x="7209083" y="364999"/>
                  </a:lnTo>
                  <a:lnTo>
                    <a:pt x="7108887" y="360674"/>
                  </a:lnTo>
                  <a:lnTo>
                    <a:pt x="7009099" y="357072"/>
                  </a:lnTo>
                  <a:lnTo>
                    <a:pt x="6909312" y="353469"/>
                  </a:lnTo>
                  <a:lnTo>
                    <a:pt x="6809933" y="349484"/>
                  </a:lnTo>
                  <a:lnTo>
                    <a:pt x="6795550" y="333948"/>
                  </a:lnTo>
                  <a:lnTo>
                    <a:pt x="6791909" y="302353"/>
                  </a:lnTo>
                  <a:lnTo>
                    <a:pt x="6794191" y="278180"/>
                  </a:lnTo>
                  <a:lnTo>
                    <a:pt x="6800403" y="240129"/>
                  </a:lnTo>
                  <a:lnTo>
                    <a:pt x="6805073" y="214250"/>
                  </a:lnTo>
                  <a:lnTo>
                    <a:pt x="6772474" y="210557"/>
                  </a:lnTo>
                  <a:lnTo>
                    <a:pt x="6632965" y="184093"/>
                  </a:lnTo>
                  <a:lnTo>
                    <a:pt x="6542404" y="217715"/>
                  </a:lnTo>
                  <a:lnTo>
                    <a:pt x="6431016" y="214250"/>
                  </a:lnTo>
                  <a:lnTo>
                    <a:pt x="6376542" y="212550"/>
                  </a:lnTo>
                  <a:lnTo>
                    <a:pt x="6323348" y="189257"/>
                  </a:lnTo>
                  <a:lnTo>
                    <a:pt x="6269151" y="184326"/>
                  </a:lnTo>
                  <a:lnTo>
                    <a:pt x="6231429" y="180883"/>
                  </a:lnTo>
                  <a:lnTo>
                    <a:pt x="6191344" y="191956"/>
                  </a:lnTo>
                  <a:lnTo>
                    <a:pt x="6153536" y="189767"/>
                  </a:lnTo>
                  <a:lnTo>
                    <a:pt x="6115622" y="187556"/>
                  </a:lnTo>
                  <a:lnTo>
                    <a:pt x="6089671" y="167579"/>
                  </a:lnTo>
                  <a:lnTo>
                    <a:pt x="6058319" y="151681"/>
                  </a:lnTo>
                  <a:lnTo>
                    <a:pt x="6035434" y="140056"/>
                  </a:lnTo>
                  <a:lnTo>
                    <a:pt x="6006252" y="132448"/>
                  </a:lnTo>
                  <a:lnTo>
                    <a:pt x="5982148" y="123117"/>
                  </a:lnTo>
                  <a:lnTo>
                    <a:pt x="5922088" y="99823"/>
                  </a:lnTo>
                  <a:lnTo>
                    <a:pt x="5781649" y="12134"/>
                  </a:lnTo>
                  <a:lnTo>
                    <a:pt x="5722354" y="14301"/>
                  </a:lnTo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97" name="Kherson¬0" descr="Kherson¬0">
              <a:extLst>
                <a:ext uri="{FF2B5EF4-FFF2-40B4-BE49-F238E27FC236}">
                  <a16:creationId xmlns:a16="http://schemas.microsoft.com/office/drawing/2014/main" id="{9DB3348A-282B-4482-B8F0-B2BA1585AE47}"/>
                </a:ext>
              </a:extLst>
            </p:cNvPr>
            <p:cNvSpPr/>
            <p:nvPr/>
          </p:nvSpPr>
          <p:spPr>
            <a:xfrm>
              <a:off x="4473453" y="4046980"/>
              <a:ext cx="154705" cy="26026"/>
            </a:xfrm>
            <a:custGeom>
              <a:avLst/>
              <a:gdLst/>
              <a:ahLst/>
              <a:cxnLst/>
              <a:rect l="0" t="0" r="0" b="0"/>
              <a:pathLst>
                <a:path w="1578683" h="301481">
                  <a:moveTo>
                    <a:pt x="1312934" y="144457"/>
                  </a:moveTo>
                  <a:lnTo>
                    <a:pt x="1328874" y="181651"/>
                  </a:lnTo>
                  <a:lnTo>
                    <a:pt x="1373712" y="177912"/>
                  </a:lnTo>
                  <a:lnTo>
                    <a:pt x="1422936" y="173791"/>
                  </a:lnTo>
                  <a:lnTo>
                    <a:pt x="1457626" y="129710"/>
                  </a:lnTo>
                  <a:lnTo>
                    <a:pt x="1513563" y="168648"/>
                  </a:lnTo>
                  <a:lnTo>
                    <a:pt x="1578682" y="214000"/>
                  </a:lnTo>
                  <a:lnTo>
                    <a:pt x="1498256" y="276526"/>
                  </a:lnTo>
                  <a:lnTo>
                    <a:pt x="1449803" y="282730"/>
                  </a:lnTo>
                  <a:lnTo>
                    <a:pt x="1303924" y="301480"/>
                  </a:lnTo>
                  <a:lnTo>
                    <a:pt x="1194767" y="250174"/>
                  </a:lnTo>
                  <a:lnTo>
                    <a:pt x="1053734" y="239034"/>
                  </a:lnTo>
                  <a:lnTo>
                    <a:pt x="986907" y="233766"/>
                  </a:lnTo>
                  <a:lnTo>
                    <a:pt x="904280" y="248004"/>
                  </a:lnTo>
                  <a:lnTo>
                    <a:pt x="845362" y="239567"/>
                  </a:lnTo>
                  <a:lnTo>
                    <a:pt x="779649" y="230169"/>
                  </a:lnTo>
                  <a:lnTo>
                    <a:pt x="722012" y="183288"/>
                  </a:lnTo>
                  <a:lnTo>
                    <a:pt x="652131" y="173295"/>
                  </a:lnTo>
                  <a:lnTo>
                    <a:pt x="612006" y="167559"/>
                  </a:lnTo>
                  <a:lnTo>
                    <a:pt x="471866" y="145499"/>
                  </a:lnTo>
                  <a:lnTo>
                    <a:pt x="441384" y="145499"/>
                  </a:lnTo>
                  <a:lnTo>
                    <a:pt x="397132" y="145499"/>
                  </a:lnTo>
                  <a:lnTo>
                    <a:pt x="349312" y="151790"/>
                  </a:lnTo>
                  <a:lnTo>
                    <a:pt x="305709" y="148605"/>
                  </a:lnTo>
                  <a:lnTo>
                    <a:pt x="269317" y="145967"/>
                  </a:lnTo>
                  <a:lnTo>
                    <a:pt x="110220" y="86079"/>
                  </a:lnTo>
                  <a:lnTo>
                    <a:pt x="66904" y="68945"/>
                  </a:lnTo>
                  <a:lnTo>
                    <a:pt x="0" y="44339"/>
                  </a:lnTo>
                  <a:lnTo>
                    <a:pt x="42887" y="0"/>
                  </a:lnTo>
                  <a:lnTo>
                    <a:pt x="289471" y="81995"/>
                  </a:lnTo>
                  <a:lnTo>
                    <a:pt x="349914" y="99256"/>
                  </a:lnTo>
                  <a:lnTo>
                    <a:pt x="593982" y="129518"/>
                  </a:lnTo>
                  <a:lnTo>
                    <a:pt x="756013" y="116381"/>
                  </a:lnTo>
                  <a:lnTo>
                    <a:pt x="736631" y="51052"/>
                  </a:lnTo>
                  <a:lnTo>
                    <a:pt x="799117" y="34519"/>
                  </a:lnTo>
                  <a:lnTo>
                    <a:pt x="835589" y="35753"/>
                  </a:lnTo>
                  <a:lnTo>
                    <a:pt x="935053" y="43613"/>
                  </a:lnTo>
                  <a:lnTo>
                    <a:pt x="980024" y="108521"/>
                  </a:lnTo>
                  <a:lnTo>
                    <a:pt x="1000302" y="127394"/>
                  </a:lnTo>
                  <a:lnTo>
                    <a:pt x="1066481" y="160502"/>
                  </a:lnTo>
                  <a:lnTo>
                    <a:pt x="1167048" y="39065"/>
                  </a:lnTo>
                  <a:lnTo>
                    <a:pt x="1249347" y="96702"/>
                  </a:lnTo>
                  <a:lnTo>
                    <a:pt x="1273739" y="114812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98" name="Kherson¬1" descr="Kherson¬1">
              <a:extLst>
                <a:ext uri="{FF2B5EF4-FFF2-40B4-BE49-F238E27FC236}">
                  <a16:creationId xmlns:a16="http://schemas.microsoft.com/office/drawing/2014/main" id="{E6F077CA-F0DC-4375-ACD7-DD1AA6D23C14}"/>
                </a:ext>
              </a:extLst>
            </p:cNvPr>
            <p:cNvSpPr/>
            <p:nvPr/>
          </p:nvSpPr>
          <p:spPr>
            <a:xfrm>
              <a:off x="4449923" y="4047107"/>
              <a:ext cx="12392" cy="5075"/>
            </a:xfrm>
            <a:custGeom>
              <a:avLst/>
              <a:gdLst/>
              <a:ahLst/>
              <a:cxnLst/>
              <a:rect l="0" t="0" r="0" b="0"/>
              <a:pathLst>
                <a:path w="126452" h="58788">
                  <a:moveTo>
                    <a:pt x="126451" y="31496"/>
                  </a:moveTo>
                  <a:lnTo>
                    <a:pt x="72984" y="58787"/>
                  </a:lnTo>
                  <a:lnTo>
                    <a:pt x="37703" y="30811"/>
                  </a:lnTo>
                  <a:lnTo>
                    <a:pt x="0" y="20653"/>
                  </a:lnTo>
                  <a:lnTo>
                    <a:pt x="9521" y="726"/>
                  </a:lnTo>
                  <a:lnTo>
                    <a:pt x="40506" y="0"/>
                  </a:lnTo>
                  <a:lnTo>
                    <a:pt x="65757" y="9897"/>
                  </a:lnTo>
                  <a:lnTo>
                    <a:pt x="86456" y="13168"/>
                  </a:lnTo>
                  <a:lnTo>
                    <a:pt x="123350" y="14495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599" name="Kherson¬2" descr="Kherson¬2">
              <a:extLst>
                <a:ext uri="{FF2B5EF4-FFF2-40B4-BE49-F238E27FC236}">
                  <a16:creationId xmlns:a16="http://schemas.microsoft.com/office/drawing/2014/main" id="{C1FE4CF3-DBD4-4530-A59E-4794588047F4}"/>
                </a:ext>
              </a:extLst>
            </p:cNvPr>
            <p:cNvSpPr/>
            <p:nvPr/>
          </p:nvSpPr>
          <p:spPr>
            <a:xfrm>
              <a:off x="4356300" y="3842306"/>
              <a:ext cx="7394" cy="5238"/>
            </a:xfrm>
            <a:custGeom>
              <a:avLst/>
              <a:gdLst/>
              <a:ahLst/>
              <a:cxnLst/>
              <a:rect l="0" t="0" r="0" b="0"/>
              <a:pathLst>
                <a:path w="75454" h="60673">
                  <a:moveTo>
                    <a:pt x="34550" y="2378"/>
                  </a:moveTo>
                  <a:lnTo>
                    <a:pt x="67196" y="9264"/>
                  </a:lnTo>
                  <a:lnTo>
                    <a:pt x="75453" y="40081"/>
                  </a:lnTo>
                  <a:lnTo>
                    <a:pt x="58701" y="57122"/>
                  </a:lnTo>
                  <a:lnTo>
                    <a:pt x="36392" y="60672"/>
                  </a:lnTo>
                  <a:lnTo>
                    <a:pt x="7609" y="52446"/>
                  </a:lnTo>
                  <a:lnTo>
                    <a:pt x="0" y="24566"/>
                  </a:lnTo>
                  <a:lnTo>
                    <a:pt x="17897" y="0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600" name="Kherson¬3" descr="Kherson¬3">
              <a:extLst>
                <a:ext uri="{FF2B5EF4-FFF2-40B4-BE49-F238E27FC236}">
                  <a16:creationId xmlns:a16="http://schemas.microsoft.com/office/drawing/2014/main" id="{71316759-8D3D-427F-9081-1BCB97968CD7}"/>
                </a:ext>
              </a:extLst>
            </p:cNvPr>
            <p:cNvSpPr/>
            <p:nvPr/>
          </p:nvSpPr>
          <p:spPr>
            <a:xfrm>
              <a:off x="4367421" y="3850423"/>
              <a:ext cx="18941" cy="8183"/>
            </a:xfrm>
            <a:custGeom>
              <a:avLst/>
              <a:gdLst/>
              <a:ahLst/>
              <a:cxnLst/>
              <a:rect l="0" t="0" r="0" b="0"/>
              <a:pathLst>
                <a:path w="193279" h="94789">
                  <a:moveTo>
                    <a:pt x="193278" y="94788"/>
                  </a:moveTo>
                  <a:lnTo>
                    <a:pt x="39998" y="88965"/>
                  </a:lnTo>
                  <a:lnTo>
                    <a:pt x="0" y="52449"/>
                  </a:lnTo>
                  <a:lnTo>
                    <a:pt x="10241" y="24736"/>
                  </a:lnTo>
                  <a:lnTo>
                    <a:pt x="53597" y="31365"/>
                  </a:lnTo>
                  <a:lnTo>
                    <a:pt x="96999" y="21803"/>
                  </a:lnTo>
                  <a:lnTo>
                    <a:pt x="130073" y="0"/>
                  </a:lnTo>
                  <a:lnTo>
                    <a:pt x="158291" y="15472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601" name="Kherson¬4" descr="Kherson¬4">
              <a:extLst>
                <a:ext uri="{FF2B5EF4-FFF2-40B4-BE49-F238E27FC236}">
                  <a16:creationId xmlns:a16="http://schemas.microsoft.com/office/drawing/2014/main" id="{A6222C61-9391-4D78-9391-E0F5417C3B98}"/>
                </a:ext>
              </a:extLst>
            </p:cNvPr>
            <p:cNvSpPr/>
            <p:nvPr/>
          </p:nvSpPr>
          <p:spPr>
            <a:xfrm>
              <a:off x="4378402" y="3836064"/>
              <a:ext cx="19240" cy="10777"/>
            </a:xfrm>
            <a:custGeom>
              <a:avLst/>
              <a:gdLst/>
              <a:ahLst/>
              <a:cxnLst/>
              <a:rect l="0" t="0" r="0" b="0"/>
              <a:pathLst>
                <a:path w="196336" h="124843">
                  <a:moveTo>
                    <a:pt x="196335" y="49185"/>
                  </a:moveTo>
                  <a:lnTo>
                    <a:pt x="178867" y="82206"/>
                  </a:lnTo>
                  <a:lnTo>
                    <a:pt x="138736" y="110861"/>
                  </a:lnTo>
                  <a:lnTo>
                    <a:pt x="114427" y="102056"/>
                  </a:lnTo>
                  <a:lnTo>
                    <a:pt x="74851" y="93979"/>
                  </a:lnTo>
                  <a:lnTo>
                    <a:pt x="25549" y="124842"/>
                  </a:lnTo>
                  <a:lnTo>
                    <a:pt x="0" y="106226"/>
                  </a:lnTo>
                  <a:lnTo>
                    <a:pt x="16157" y="76259"/>
                  </a:lnTo>
                  <a:lnTo>
                    <a:pt x="48332" y="64610"/>
                  </a:lnTo>
                  <a:lnTo>
                    <a:pt x="87310" y="42425"/>
                  </a:lnTo>
                  <a:lnTo>
                    <a:pt x="114598" y="0"/>
                  </a:lnTo>
                  <a:lnTo>
                    <a:pt x="167181" y="15776"/>
                  </a:lnTo>
                  <a:lnTo>
                    <a:pt x="187710" y="22405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602" name="Kherson¬5" descr="Kherson¬5">
              <a:extLst>
                <a:ext uri="{FF2B5EF4-FFF2-40B4-BE49-F238E27FC236}">
                  <a16:creationId xmlns:a16="http://schemas.microsoft.com/office/drawing/2014/main" id="{37F2E28D-F63B-4824-8217-043FC694230A}"/>
                </a:ext>
              </a:extLst>
            </p:cNvPr>
            <p:cNvSpPr/>
            <p:nvPr/>
          </p:nvSpPr>
          <p:spPr>
            <a:xfrm>
              <a:off x="4366009" y="3835342"/>
              <a:ext cx="13296" cy="10414"/>
            </a:xfrm>
            <a:custGeom>
              <a:avLst/>
              <a:gdLst/>
              <a:ahLst/>
              <a:cxnLst/>
              <a:rect l="0" t="0" r="0" b="0"/>
              <a:pathLst>
                <a:path w="135682" h="120630">
                  <a:moveTo>
                    <a:pt x="67927" y="17767"/>
                  </a:moveTo>
                  <a:lnTo>
                    <a:pt x="115918" y="0"/>
                  </a:lnTo>
                  <a:lnTo>
                    <a:pt x="135681" y="14403"/>
                  </a:lnTo>
                  <a:lnTo>
                    <a:pt x="118712" y="68437"/>
                  </a:lnTo>
                  <a:lnTo>
                    <a:pt x="56108" y="120629"/>
                  </a:lnTo>
                  <a:lnTo>
                    <a:pt x="19552" y="80678"/>
                  </a:lnTo>
                  <a:lnTo>
                    <a:pt x="9521" y="61169"/>
                  </a:lnTo>
                  <a:lnTo>
                    <a:pt x="0" y="31366"/>
                  </a:lnTo>
                  <a:lnTo>
                    <a:pt x="29799" y="19041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603" name="Kherson¬6" descr="Kherson¬6">
              <a:extLst>
                <a:ext uri="{FF2B5EF4-FFF2-40B4-BE49-F238E27FC236}">
                  <a16:creationId xmlns:a16="http://schemas.microsoft.com/office/drawing/2014/main" id="{5FDDA031-1E09-4ACE-ACC5-557F175DA596}"/>
                </a:ext>
              </a:extLst>
            </p:cNvPr>
            <p:cNvSpPr/>
            <p:nvPr/>
          </p:nvSpPr>
          <p:spPr>
            <a:xfrm>
              <a:off x="4385249" y="3824336"/>
              <a:ext cx="13097" cy="6499"/>
            </a:xfrm>
            <a:custGeom>
              <a:avLst/>
              <a:gdLst/>
              <a:ahLst/>
              <a:cxnLst/>
              <a:rect l="0" t="0" r="0" b="0"/>
              <a:pathLst>
                <a:path w="133645" h="75283">
                  <a:moveTo>
                    <a:pt x="46552" y="25676"/>
                  </a:moveTo>
                  <a:lnTo>
                    <a:pt x="76693" y="17180"/>
                  </a:lnTo>
                  <a:lnTo>
                    <a:pt x="98707" y="0"/>
                  </a:lnTo>
                  <a:lnTo>
                    <a:pt x="125152" y="2849"/>
                  </a:lnTo>
                  <a:lnTo>
                    <a:pt x="133644" y="27759"/>
                  </a:lnTo>
                  <a:lnTo>
                    <a:pt x="117620" y="73369"/>
                  </a:lnTo>
                  <a:lnTo>
                    <a:pt x="43789" y="75282"/>
                  </a:lnTo>
                  <a:lnTo>
                    <a:pt x="5150" y="64784"/>
                  </a:lnTo>
                  <a:lnTo>
                    <a:pt x="0" y="33926"/>
                  </a:lnTo>
                  <a:lnTo>
                    <a:pt x="18492" y="23124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604" name="Kherson¬7" descr="Kherson¬7">
              <a:extLst>
                <a:ext uri="{FF2B5EF4-FFF2-40B4-BE49-F238E27FC236}">
                  <a16:creationId xmlns:a16="http://schemas.microsoft.com/office/drawing/2014/main" id="{C72B0CA7-F2CB-4F2D-992F-8068F74B5DEA}"/>
                </a:ext>
              </a:extLst>
            </p:cNvPr>
            <p:cNvSpPr/>
            <p:nvPr/>
          </p:nvSpPr>
          <p:spPr>
            <a:xfrm>
              <a:off x="4358154" y="3824766"/>
              <a:ext cx="13700" cy="6565"/>
            </a:xfrm>
            <a:custGeom>
              <a:avLst/>
              <a:gdLst/>
              <a:ahLst/>
              <a:cxnLst/>
              <a:rect l="0" t="0" r="0" b="0"/>
              <a:pathLst>
                <a:path w="139800" h="76046">
                  <a:moveTo>
                    <a:pt x="67326" y="16325"/>
                  </a:moveTo>
                  <a:lnTo>
                    <a:pt x="123437" y="6887"/>
                  </a:lnTo>
                  <a:lnTo>
                    <a:pt x="139799" y="44379"/>
                  </a:lnTo>
                  <a:lnTo>
                    <a:pt x="88410" y="71707"/>
                  </a:lnTo>
                  <a:lnTo>
                    <a:pt x="12241" y="76045"/>
                  </a:lnTo>
                  <a:lnTo>
                    <a:pt x="0" y="19726"/>
                  </a:lnTo>
                  <a:lnTo>
                    <a:pt x="24479" y="0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605" name="Kherson¬8" descr="Kherson¬8">
              <a:extLst>
                <a:ext uri="{FF2B5EF4-FFF2-40B4-BE49-F238E27FC236}">
                  <a16:creationId xmlns:a16="http://schemas.microsoft.com/office/drawing/2014/main" id="{AED917E7-8279-4CF5-81C0-88ED784E85F9}"/>
                </a:ext>
              </a:extLst>
            </p:cNvPr>
            <p:cNvSpPr/>
            <p:nvPr/>
          </p:nvSpPr>
          <p:spPr>
            <a:xfrm>
              <a:off x="4165895" y="3885301"/>
              <a:ext cx="11638" cy="18902"/>
            </a:xfrm>
            <a:custGeom>
              <a:avLst/>
              <a:gdLst/>
              <a:ahLst/>
              <a:cxnLst/>
              <a:rect l="0" t="0" r="0" b="0"/>
              <a:pathLst>
                <a:path w="118757" h="218952">
                  <a:moveTo>
                    <a:pt x="97210" y="218951"/>
                  </a:moveTo>
                  <a:lnTo>
                    <a:pt x="77782" y="205736"/>
                  </a:lnTo>
                  <a:lnTo>
                    <a:pt x="75211" y="159484"/>
                  </a:lnTo>
                  <a:lnTo>
                    <a:pt x="64328" y="138745"/>
                  </a:lnTo>
                  <a:lnTo>
                    <a:pt x="49709" y="110985"/>
                  </a:lnTo>
                  <a:lnTo>
                    <a:pt x="7225" y="68693"/>
                  </a:lnTo>
                  <a:lnTo>
                    <a:pt x="589" y="40090"/>
                  </a:lnTo>
                  <a:lnTo>
                    <a:pt x="0" y="13816"/>
                  </a:lnTo>
                  <a:lnTo>
                    <a:pt x="18058" y="0"/>
                  </a:lnTo>
                  <a:lnTo>
                    <a:pt x="51495" y="66907"/>
                  </a:lnTo>
                  <a:lnTo>
                    <a:pt x="118756" y="154130"/>
                  </a:lnTo>
                  <a:lnTo>
                    <a:pt x="110580" y="209732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606" name="Kherson¬9" descr="Kherson¬9">
              <a:extLst>
                <a:ext uri="{FF2B5EF4-FFF2-40B4-BE49-F238E27FC236}">
                  <a16:creationId xmlns:a16="http://schemas.microsoft.com/office/drawing/2014/main" id="{C2572AA3-5115-4CBD-9286-90B1DB633ABB}"/>
                </a:ext>
              </a:extLst>
            </p:cNvPr>
            <p:cNvSpPr/>
            <p:nvPr/>
          </p:nvSpPr>
          <p:spPr>
            <a:xfrm>
              <a:off x="4087813" y="3907663"/>
              <a:ext cx="229844" cy="103451"/>
            </a:xfrm>
            <a:custGeom>
              <a:avLst/>
              <a:gdLst/>
              <a:ahLst/>
              <a:cxnLst/>
              <a:rect l="0" t="0" r="0" b="0"/>
              <a:pathLst>
                <a:path w="2345427" h="1198349">
                  <a:moveTo>
                    <a:pt x="618868" y="705008"/>
                  </a:moveTo>
                  <a:lnTo>
                    <a:pt x="665069" y="726734"/>
                  </a:lnTo>
                  <a:lnTo>
                    <a:pt x="723348" y="741651"/>
                  </a:lnTo>
                  <a:lnTo>
                    <a:pt x="778139" y="755678"/>
                  </a:lnTo>
                  <a:lnTo>
                    <a:pt x="842665" y="765755"/>
                  </a:lnTo>
                  <a:lnTo>
                    <a:pt x="899136" y="767879"/>
                  </a:lnTo>
                  <a:lnTo>
                    <a:pt x="941812" y="764480"/>
                  </a:lnTo>
                  <a:lnTo>
                    <a:pt x="979785" y="771618"/>
                  </a:lnTo>
                  <a:lnTo>
                    <a:pt x="998193" y="783856"/>
                  </a:lnTo>
                  <a:lnTo>
                    <a:pt x="1019401" y="786411"/>
                  </a:lnTo>
                  <a:lnTo>
                    <a:pt x="1059895" y="785136"/>
                  </a:lnTo>
                  <a:lnTo>
                    <a:pt x="1130263" y="794909"/>
                  </a:lnTo>
                  <a:lnTo>
                    <a:pt x="1184880" y="801287"/>
                  </a:lnTo>
                  <a:lnTo>
                    <a:pt x="1234232" y="811067"/>
                  </a:lnTo>
                  <a:lnTo>
                    <a:pt x="1263479" y="816852"/>
                  </a:lnTo>
                  <a:lnTo>
                    <a:pt x="1296801" y="851402"/>
                  </a:lnTo>
                  <a:lnTo>
                    <a:pt x="1331906" y="861947"/>
                  </a:lnTo>
                  <a:lnTo>
                    <a:pt x="1366168" y="872235"/>
                  </a:lnTo>
                  <a:lnTo>
                    <a:pt x="1405527" y="862081"/>
                  </a:lnTo>
                  <a:lnTo>
                    <a:pt x="1437748" y="871175"/>
                  </a:lnTo>
                  <a:lnTo>
                    <a:pt x="1473836" y="891611"/>
                  </a:lnTo>
                  <a:lnTo>
                    <a:pt x="1535940" y="905216"/>
                  </a:lnTo>
                  <a:lnTo>
                    <a:pt x="1581333" y="903219"/>
                  </a:lnTo>
                  <a:lnTo>
                    <a:pt x="1624865" y="914356"/>
                  </a:lnTo>
                  <a:lnTo>
                    <a:pt x="1703707" y="934591"/>
                  </a:lnTo>
                  <a:lnTo>
                    <a:pt x="1772019" y="981475"/>
                  </a:lnTo>
                  <a:lnTo>
                    <a:pt x="1848954" y="1000729"/>
                  </a:lnTo>
                  <a:lnTo>
                    <a:pt x="1925975" y="1019987"/>
                  </a:lnTo>
                  <a:lnTo>
                    <a:pt x="1998151" y="995586"/>
                  </a:lnTo>
                  <a:lnTo>
                    <a:pt x="2093618" y="1037707"/>
                  </a:lnTo>
                  <a:lnTo>
                    <a:pt x="2113852" y="1046677"/>
                  </a:lnTo>
                  <a:lnTo>
                    <a:pt x="2191429" y="1087785"/>
                  </a:lnTo>
                  <a:lnTo>
                    <a:pt x="2232704" y="1115495"/>
                  </a:lnTo>
                  <a:lnTo>
                    <a:pt x="2250597" y="1138281"/>
                  </a:lnTo>
                  <a:lnTo>
                    <a:pt x="2276568" y="1153371"/>
                  </a:lnTo>
                  <a:lnTo>
                    <a:pt x="2298753" y="1166251"/>
                  </a:lnTo>
                  <a:lnTo>
                    <a:pt x="2323663" y="1173603"/>
                  </a:lnTo>
                  <a:lnTo>
                    <a:pt x="2345426" y="1187289"/>
                  </a:lnTo>
                  <a:lnTo>
                    <a:pt x="2309726" y="1198348"/>
                  </a:lnTo>
                  <a:lnTo>
                    <a:pt x="2273210" y="1175516"/>
                  </a:lnTo>
                  <a:lnTo>
                    <a:pt x="2238530" y="1161061"/>
                  </a:lnTo>
                  <a:lnTo>
                    <a:pt x="2196657" y="1143635"/>
                  </a:lnTo>
                  <a:lnTo>
                    <a:pt x="2154662" y="1124635"/>
                  </a:lnTo>
                  <a:lnTo>
                    <a:pt x="2112116" y="1108648"/>
                  </a:lnTo>
                  <a:lnTo>
                    <a:pt x="2054516" y="1087019"/>
                  </a:lnTo>
                  <a:lnTo>
                    <a:pt x="1989181" y="1076902"/>
                  </a:lnTo>
                  <a:lnTo>
                    <a:pt x="1932229" y="1053142"/>
                  </a:lnTo>
                  <a:lnTo>
                    <a:pt x="1903620" y="1041236"/>
                  </a:lnTo>
                  <a:lnTo>
                    <a:pt x="1868087" y="1023385"/>
                  </a:lnTo>
                  <a:lnTo>
                    <a:pt x="1837652" y="1017687"/>
                  </a:lnTo>
                  <a:lnTo>
                    <a:pt x="1808832" y="1017553"/>
                  </a:lnTo>
                  <a:lnTo>
                    <a:pt x="1735252" y="1001021"/>
                  </a:lnTo>
                  <a:lnTo>
                    <a:pt x="1678251" y="971224"/>
                  </a:lnTo>
                  <a:lnTo>
                    <a:pt x="1618661" y="956010"/>
                  </a:lnTo>
                  <a:lnTo>
                    <a:pt x="1571051" y="943809"/>
                  </a:lnTo>
                  <a:lnTo>
                    <a:pt x="1514770" y="948103"/>
                  </a:lnTo>
                  <a:lnTo>
                    <a:pt x="1466531" y="939009"/>
                  </a:lnTo>
                  <a:lnTo>
                    <a:pt x="1396479" y="925919"/>
                  </a:lnTo>
                  <a:lnTo>
                    <a:pt x="1333444" y="890550"/>
                  </a:lnTo>
                  <a:lnTo>
                    <a:pt x="1260965" y="880433"/>
                  </a:lnTo>
                  <a:lnTo>
                    <a:pt x="1174083" y="868319"/>
                  </a:lnTo>
                  <a:lnTo>
                    <a:pt x="1086867" y="859262"/>
                  </a:lnTo>
                  <a:lnTo>
                    <a:pt x="999874" y="846516"/>
                  </a:lnTo>
                  <a:lnTo>
                    <a:pt x="949040" y="839077"/>
                  </a:lnTo>
                  <a:lnTo>
                    <a:pt x="897006" y="839031"/>
                  </a:lnTo>
                  <a:lnTo>
                    <a:pt x="846708" y="826455"/>
                  </a:lnTo>
                  <a:lnTo>
                    <a:pt x="787214" y="811615"/>
                  </a:lnTo>
                  <a:lnTo>
                    <a:pt x="723674" y="794652"/>
                  </a:lnTo>
                  <a:lnTo>
                    <a:pt x="666818" y="770976"/>
                  </a:lnTo>
                  <a:lnTo>
                    <a:pt x="613345" y="748661"/>
                  </a:lnTo>
                  <a:lnTo>
                    <a:pt x="563739" y="718824"/>
                  </a:lnTo>
                  <a:lnTo>
                    <a:pt x="509550" y="698506"/>
                  </a:lnTo>
                  <a:lnTo>
                    <a:pt x="407485" y="660211"/>
                  </a:lnTo>
                  <a:lnTo>
                    <a:pt x="294035" y="636191"/>
                  </a:lnTo>
                  <a:lnTo>
                    <a:pt x="212468" y="559724"/>
                  </a:lnTo>
                  <a:lnTo>
                    <a:pt x="140590" y="492348"/>
                  </a:lnTo>
                  <a:lnTo>
                    <a:pt x="100019" y="360325"/>
                  </a:lnTo>
                  <a:lnTo>
                    <a:pt x="58979" y="272424"/>
                  </a:lnTo>
                  <a:lnTo>
                    <a:pt x="47498" y="247858"/>
                  </a:lnTo>
                  <a:lnTo>
                    <a:pt x="34643" y="224814"/>
                  </a:lnTo>
                  <a:lnTo>
                    <a:pt x="26420" y="198890"/>
                  </a:lnTo>
                  <a:lnTo>
                    <a:pt x="17490" y="170796"/>
                  </a:lnTo>
                  <a:lnTo>
                    <a:pt x="0" y="51987"/>
                  </a:lnTo>
                  <a:lnTo>
                    <a:pt x="8951" y="26228"/>
                  </a:lnTo>
                  <a:lnTo>
                    <a:pt x="26631" y="2341"/>
                  </a:lnTo>
                  <a:lnTo>
                    <a:pt x="63416" y="0"/>
                  </a:lnTo>
                  <a:lnTo>
                    <a:pt x="87858" y="52363"/>
                  </a:lnTo>
                  <a:lnTo>
                    <a:pt x="120548" y="163224"/>
                  </a:lnTo>
                  <a:lnTo>
                    <a:pt x="122014" y="220483"/>
                  </a:lnTo>
                  <a:lnTo>
                    <a:pt x="122693" y="247303"/>
                  </a:lnTo>
                  <a:lnTo>
                    <a:pt x="120827" y="273912"/>
                  </a:lnTo>
                  <a:lnTo>
                    <a:pt x="125093" y="300689"/>
                  </a:lnTo>
                  <a:lnTo>
                    <a:pt x="131232" y="339071"/>
                  </a:lnTo>
                  <a:lnTo>
                    <a:pt x="150068" y="360747"/>
                  </a:lnTo>
                  <a:lnTo>
                    <a:pt x="168263" y="393182"/>
                  </a:lnTo>
                  <a:lnTo>
                    <a:pt x="220542" y="486268"/>
                  </a:lnTo>
                  <a:lnTo>
                    <a:pt x="277924" y="544674"/>
                  </a:lnTo>
                  <a:lnTo>
                    <a:pt x="372842" y="595170"/>
                  </a:lnTo>
                  <a:lnTo>
                    <a:pt x="394903" y="606902"/>
                  </a:lnTo>
                  <a:lnTo>
                    <a:pt x="412651" y="622250"/>
                  </a:lnTo>
                  <a:lnTo>
                    <a:pt x="436556" y="632194"/>
                  </a:lnTo>
                  <a:lnTo>
                    <a:pt x="527757" y="670195"/>
                  </a:lnTo>
                  <a:lnTo>
                    <a:pt x="573512" y="629899"/>
                  </a:lnTo>
                  <a:lnTo>
                    <a:pt x="607200" y="641421"/>
                  </a:lnTo>
                  <a:close/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607" name="Kherson¬10" descr="Kherson¬10">
              <a:extLst>
                <a:ext uri="{FF2B5EF4-FFF2-40B4-BE49-F238E27FC236}">
                  <a16:creationId xmlns:a16="http://schemas.microsoft.com/office/drawing/2014/main" id="{61F7F93F-3D32-4327-9370-2F594A1C5B02}"/>
                </a:ext>
              </a:extLst>
            </p:cNvPr>
            <p:cNvSpPr/>
            <p:nvPr/>
          </p:nvSpPr>
          <p:spPr>
            <a:xfrm>
              <a:off x="4093774" y="3353506"/>
              <a:ext cx="1236044" cy="834056"/>
            </a:xfrm>
            <a:custGeom>
              <a:avLst/>
              <a:gdLst/>
              <a:ahLst/>
              <a:cxnLst/>
              <a:rect l="0" t="0" r="0" b="0"/>
              <a:pathLst>
                <a:path w="12613150" h="9661476">
                  <a:moveTo>
                    <a:pt x="5518847" y="62948"/>
                  </a:moveTo>
                  <a:lnTo>
                    <a:pt x="5521312" y="121650"/>
                  </a:lnTo>
                  <a:lnTo>
                    <a:pt x="5527854" y="185026"/>
                  </a:lnTo>
                  <a:lnTo>
                    <a:pt x="5557611" y="225321"/>
                  </a:lnTo>
                  <a:lnTo>
                    <a:pt x="5609552" y="248489"/>
                  </a:lnTo>
                  <a:lnTo>
                    <a:pt x="5632589" y="292485"/>
                  </a:lnTo>
                  <a:lnTo>
                    <a:pt x="5642877" y="312164"/>
                  </a:lnTo>
                  <a:lnTo>
                    <a:pt x="5625790" y="349610"/>
                  </a:lnTo>
                  <a:lnTo>
                    <a:pt x="5615691" y="368378"/>
                  </a:lnTo>
                  <a:lnTo>
                    <a:pt x="5603096" y="386290"/>
                  </a:lnTo>
                  <a:lnTo>
                    <a:pt x="5605338" y="432626"/>
                  </a:lnTo>
                  <a:lnTo>
                    <a:pt x="5616299" y="456645"/>
                  </a:lnTo>
                  <a:lnTo>
                    <a:pt x="5628506" y="480188"/>
                  </a:lnTo>
                  <a:lnTo>
                    <a:pt x="5640719" y="503732"/>
                  </a:lnTo>
                  <a:lnTo>
                    <a:pt x="5653757" y="527565"/>
                  </a:lnTo>
                  <a:lnTo>
                    <a:pt x="5657074" y="553644"/>
                  </a:lnTo>
                  <a:lnTo>
                    <a:pt x="5664469" y="611619"/>
                  </a:lnTo>
                  <a:lnTo>
                    <a:pt x="5635141" y="665519"/>
                  </a:lnTo>
                  <a:lnTo>
                    <a:pt x="5638028" y="723664"/>
                  </a:lnTo>
                  <a:lnTo>
                    <a:pt x="5654786" y="768688"/>
                  </a:lnTo>
                  <a:lnTo>
                    <a:pt x="5666599" y="799837"/>
                  </a:lnTo>
                  <a:lnTo>
                    <a:pt x="5678152" y="831056"/>
                  </a:lnTo>
                  <a:lnTo>
                    <a:pt x="5679523" y="858385"/>
                  </a:lnTo>
                  <a:lnTo>
                    <a:pt x="5665232" y="877367"/>
                  </a:lnTo>
                  <a:lnTo>
                    <a:pt x="5643088" y="884383"/>
                  </a:lnTo>
                  <a:lnTo>
                    <a:pt x="5616562" y="889223"/>
                  </a:lnTo>
                  <a:lnTo>
                    <a:pt x="5589069" y="890972"/>
                  </a:lnTo>
                  <a:lnTo>
                    <a:pt x="5561561" y="892711"/>
                  </a:lnTo>
                  <a:lnTo>
                    <a:pt x="5534105" y="890774"/>
                  </a:lnTo>
                  <a:lnTo>
                    <a:pt x="5511533" y="884172"/>
                  </a:lnTo>
                  <a:lnTo>
                    <a:pt x="5494377" y="840699"/>
                  </a:lnTo>
                  <a:lnTo>
                    <a:pt x="5478887" y="794395"/>
                  </a:lnTo>
                  <a:lnTo>
                    <a:pt x="5463396" y="748100"/>
                  </a:lnTo>
                  <a:lnTo>
                    <a:pt x="5443946" y="696975"/>
                  </a:lnTo>
                  <a:lnTo>
                    <a:pt x="5425839" y="676058"/>
                  </a:lnTo>
                  <a:lnTo>
                    <a:pt x="5394597" y="691741"/>
                  </a:lnTo>
                  <a:lnTo>
                    <a:pt x="5395918" y="731822"/>
                  </a:lnTo>
                  <a:lnTo>
                    <a:pt x="5401338" y="774883"/>
                  </a:lnTo>
                  <a:lnTo>
                    <a:pt x="5384843" y="806425"/>
                  </a:lnTo>
                  <a:lnTo>
                    <a:pt x="5351031" y="817516"/>
                  </a:lnTo>
                  <a:lnTo>
                    <a:pt x="5317477" y="831289"/>
                  </a:lnTo>
                  <a:lnTo>
                    <a:pt x="5307505" y="850162"/>
                  </a:lnTo>
                  <a:lnTo>
                    <a:pt x="5304888" y="872182"/>
                  </a:lnTo>
                  <a:lnTo>
                    <a:pt x="5308237" y="913547"/>
                  </a:lnTo>
                  <a:lnTo>
                    <a:pt x="5319752" y="950813"/>
                  </a:lnTo>
                  <a:lnTo>
                    <a:pt x="5333845" y="986684"/>
                  </a:lnTo>
                  <a:lnTo>
                    <a:pt x="5354618" y="1012884"/>
                  </a:lnTo>
                  <a:lnTo>
                    <a:pt x="5382319" y="1022908"/>
                  </a:lnTo>
                  <a:lnTo>
                    <a:pt x="5410203" y="1025243"/>
                  </a:lnTo>
                  <a:lnTo>
                    <a:pt x="5440130" y="1030802"/>
                  </a:lnTo>
                  <a:lnTo>
                    <a:pt x="5468013" y="1031066"/>
                  </a:lnTo>
                  <a:lnTo>
                    <a:pt x="5505775" y="1025587"/>
                  </a:lnTo>
                  <a:lnTo>
                    <a:pt x="5541782" y="1025665"/>
                  </a:lnTo>
                  <a:lnTo>
                    <a:pt x="5567306" y="1052829"/>
                  </a:lnTo>
                  <a:lnTo>
                    <a:pt x="5599633" y="1125460"/>
                  </a:lnTo>
                  <a:lnTo>
                    <a:pt x="5628921" y="1180362"/>
                  </a:lnTo>
                  <a:lnTo>
                    <a:pt x="5643475" y="1236458"/>
                  </a:lnTo>
                  <a:lnTo>
                    <a:pt x="5650759" y="1264506"/>
                  </a:lnTo>
                  <a:lnTo>
                    <a:pt x="5654851" y="1292622"/>
                  </a:lnTo>
                  <a:lnTo>
                    <a:pt x="5653000" y="1323510"/>
                  </a:lnTo>
                  <a:lnTo>
                    <a:pt x="5651146" y="1354395"/>
                  </a:lnTo>
                  <a:lnTo>
                    <a:pt x="5643984" y="1388498"/>
                  </a:lnTo>
                  <a:lnTo>
                    <a:pt x="5629870" y="1426887"/>
                  </a:lnTo>
                  <a:lnTo>
                    <a:pt x="5620084" y="1453530"/>
                  </a:lnTo>
                  <a:lnTo>
                    <a:pt x="5607474" y="1476831"/>
                  </a:lnTo>
                  <a:lnTo>
                    <a:pt x="5599949" y="1504417"/>
                  </a:lnTo>
                  <a:lnTo>
                    <a:pt x="5588006" y="1548067"/>
                  </a:lnTo>
                  <a:lnTo>
                    <a:pt x="5580481" y="1586880"/>
                  </a:lnTo>
                  <a:lnTo>
                    <a:pt x="5584986" y="1632273"/>
                  </a:lnTo>
                  <a:lnTo>
                    <a:pt x="5588905" y="1671569"/>
                  </a:lnTo>
                  <a:lnTo>
                    <a:pt x="5611505" y="1713251"/>
                  </a:lnTo>
                  <a:lnTo>
                    <a:pt x="5636676" y="1754693"/>
                  </a:lnTo>
                  <a:lnTo>
                    <a:pt x="5661849" y="1796135"/>
                  </a:lnTo>
                  <a:lnTo>
                    <a:pt x="5689727" y="1837345"/>
                  </a:lnTo>
                  <a:lnTo>
                    <a:pt x="5701968" y="1877107"/>
                  </a:lnTo>
                  <a:lnTo>
                    <a:pt x="5680118" y="1903124"/>
                  </a:lnTo>
                  <a:lnTo>
                    <a:pt x="5673917" y="1935497"/>
                  </a:lnTo>
                  <a:lnTo>
                    <a:pt x="5667958" y="1962801"/>
                  </a:lnTo>
                  <a:lnTo>
                    <a:pt x="5662007" y="1990105"/>
                  </a:lnTo>
                  <a:lnTo>
                    <a:pt x="5656634" y="2011787"/>
                  </a:lnTo>
                  <a:lnTo>
                    <a:pt x="5616274" y="2014491"/>
                  </a:lnTo>
                  <a:lnTo>
                    <a:pt x="5581563" y="1982744"/>
                  </a:lnTo>
                  <a:lnTo>
                    <a:pt x="5556172" y="1965679"/>
                  </a:lnTo>
                  <a:lnTo>
                    <a:pt x="5515871" y="1954492"/>
                  </a:lnTo>
                  <a:lnTo>
                    <a:pt x="5487051" y="1973690"/>
                  </a:lnTo>
                  <a:lnTo>
                    <a:pt x="5459797" y="1999087"/>
                  </a:lnTo>
                  <a:lnTo>
                    <a:pt x="5437088" y="2052883"/>
                  </a:lnTo>
                  <a:lnTo>
                    <a:pt x="5387758" y="2104269"/>
                  </a:lnTo>
                  <a:lnTo>
                    <a:pt x="5364419" y="2132065"/>
                  </a:lnTo>
                  <a:lnTo>
                    <a:pt x="5322977" y="2147029"/>
                  </a:lnTo>
                  <a:lnTo>
                    <a:pt x="5294548" y="2144055"/>
                  </a:lnTo>
                  <a:lnTo>
                    <a:pt x="5268063" y="2140989"/>
                  </a:lnTo>
                  <a:lnTo>
                    <a:pt x="5241577" y="2137922"/>
                  </a:lnTo>
                  <a:lnTo>
                    <a:pt x="5217247" y="2134803"/>
                  </a:lnTo>
                  <a:lnTo>
                    <a:pt x="5183054" y="2116370"/>
                  </a:lnTo>
                  <a:lnTo>
                    <a:pt x="5176248" y="2084068"/>
                  </a:lnTo>
                  <a:lnTo>
                    <a:pt x="5153806" y="2067536"/>
                  </a:lnTo>
                  <a:lnTo>
                    <a:pt x="5106789" y="2100734"/>
                  </a:lnTo>
                  <a:lnTo>
                    <a:pt x="5103775" y="2157906"/>
                  </a:lnTo>
                  <a:lnTo>
                    <a:pt x="5085791" y="2200839"/>
                  </a:lnTo>
                  <a:lnTo>
                    <a:pt x="5073256" y="2230807"/>
                  </a:lnTo>
                  <a:lnTo>
                    <a:pt x="5057446" y="2259791"/>
                  </a:lnTo>
                  <a:lnTo>
                    <a:pt x="5043630" y="2289249"/>
                  </a:lnTo>
                  <a:lnTo>
                    <a:pt x="5032452" y="2312966"/>
                  </a:lnTo>
                  <a:lnTo>
                    <a:pt x="5026496" y="2340130"/>
                  </a:lnTo>
                  <a:lnTo>
                    <a:pt x="5013703" y="2364060"/>
                  </a:lnTo>
                  <a:lnTo>
                    <a:pt x="5001719" y="2386437"/>
                  </a:lnTo>
                  <a:lnTo>
                    <a:pt x="4979693" y="2413611"/>
                  </a:lnTo>
                  <a:lnTo>
                    <a:pt x="4959294" y="2441591"/>
                  </a:lnTo>
                  <a:lnTo>
                    <a:pt x="4938898" y="2469567"/>
                  </a:lnTo>
                  <a:lnTo>
                    <a:pt x="4919535" y="2498610"/>
                  </a:lnTo>
                  <a:lnTo>
                    <a:pt x="4915768" y="2520485"/>
                  </a:lnTo>
                  <a:lnTo>
                    <a:pt x="4918236" y="2544412"/>
                  </a:lnTo>
                  <a:lnTo>
                    <a:pt x="4928905" y="2564302"/>
                  </a:lnTo>
                  <a:lnTo>
                    <a:pt x="4933450" y="2587135"/>
                  </a:lnTo>
                  <a:lnTo>
                    <a:pt x="4934142" y="2618045"/>
                  </a:lnTo>
                  <a:lnTo>
                    <a:pt x="4935487" y="2648710"/>
                  </a:lnTo>
                  <a:lnTo>
                    <a:pt x="4952494" y="2671465"/>
                  </a:lnTo>
                  <a:lnTo>
                    <a:pt x="4982930" y="2679964"/>
                  </a:lnTo>
                  <a:lnTo>
                    <a:pt x="5015231" y="2657264"/>
                  </a:lnTo>
                  <a:lnTo>
                    <a:pt x="5046346" y="2661940"/>
                  </a:lnTo>
                  <a:lnTo>
                    <a:pt x="5242725" y="2780069"/>
                  </a:lnTo>
                  <a:lnTo>
                    <a:pt x="5265337" y="2793885"/>
                  </a:lnTo>
                  <a:lnTo>
                    <a:pt x="5294672" y="2811739"/>
                  </a:lnTo>
                  <a:lnTo>
                    <a:pt x="5427923" y="2942230"/>
                  </a:lnTo>
                  <a:lnTo>
                    <a:pt x="5436725" y="2963909"/>
                  </a:lnTo>
                  <a:lnTo>
                    <a:pt x="5437584" y="2993005"/>
                  </a:lnTo>
                  <a:lnTo>
                    <a:pt x="5427203" y="3011515"/>
                  </a:lnTo>
                  <a:lnTo>
                    <a:pt x="5416822" y="3030023"/>
                  </a:lnTo>
                  <a:lnTo>
                    <a:pt x="5400495" y="3050822"/>
                  </a:lnTo>
                  <a:lnTo>
                    <a:pt x="5383677" y="3071366"/>
                  </a:lnTo>
                  <a:lnTo>
                    <a:pt x="5350036" y="3112446"/>
                  </a:lnTo>
                  <a:lnTo>
                    <a:pt x="5311945" y="3153761"/>
                  </a:lnTo>
                  <a:lnTo>
                    <a:pt x="5306147" y="3180181"/>
                  </a:lnTo>
                  <a:lnTo>
                    <a:pt x="5315663" y="3235948"/>
                  </a:lnTo>
                  <a:lnTo>
                    <a:pt x="5269718" y="3198964"/>
                  </a:lnTo>
                  <a:lnTo>
                    <a:pt x="5231888" y="3175840"/>
                  </a:lnTo>
                  <a:lnTo>
                    <a:pt x="5200048" y="3150254"/>
                  </a:lnTo>
                  <a:lnTo>
                    <a:pt x="5168044" y="3124541"/>
                  </a:lnTo>
                  <a:lnTo>
                    <a:pt x="5159496" y="3081226"/>
                  </a:lnTo>
                  <a:lnTo>
                    <a:pt x="5127959" y="3059125"/>
                  </a:lnTo>
                  <a:lnTo>
                    <a:pt x="5096513" y="3061283"/>
                  </a:lnTo>
                  <a:lnTo>
                    <a:pt x="5064193" y="3081443"/>
                  </a:lnTo>
                  <a:lnTo>
                    <a:pt x="5042265" y="3104009"/>
                  </a:lnTo>
                  <a:lnTo>
                    <a:pt x="5035156" y="3168120"/>
                  </a:lnTo>
                  <a:lnTo>
                    <a:pt x="5040907" y="3215543"/>
                  </a:lnTo>
                  <a:lnTo>
                    <a:pt x="5046656" y="3262973"/>
                  </a:lnTo>
                  <a:lnTo>
                    <a:pt x="5059483" y="3309969"/>
                  </a:lnTo>
                  <a:lnTo>
                    <a:pt x="5077634" y="3321642"/>
                  </a:lnTo>
                  <a:lnTo>
                    <a:pt x="5128176" y="3330392"/>
                  </a:lnTo>
                  <a:lnTo>
                    <a:pt x="5185261" y="3316160"/>
                  </a:lnTo>
                  <a:lnTo>
                    <a:pt x="5238133" y="3321642"/>
                  </a:lnTo>
                  <a:lnTo>
                    <a:pt x="5265728" y="3344835"/>
                  </a:lnTo>
                  <a:lnTo>
                    <a:pt x="5275830" y="3382777"/>
                  </a:lnTo>
                  <a:lnTo>
                    <a:pt x="5274226" y="3404078"/>
                  </a:lnTo>
                  <a:lnTo>
                    <a:pt x="5243112" y="3421825"/>
                  </a:lnTo>
                  <a:lnTo>
                    <a:pt x="5199961" y="3417822"/>
                  </a:lnTo>
                  <a:lnTo>
                    <a:pt x="5160565" y="3426823"/>
                  </a:lnTo>
                  <a:lnTo>
                    <a:pt x="5130663" y="3431065"/>
                  </a:lnTo>
                  <a:lnTo>
                    <a:pt x="5102113" y="3438615"/>
                  </a:lnTo>
                  <a:lnTo>
                    <a:pt x="5073572" y="3446168"/>
                  </a:lnTo>
                  <a:lnTo>
                    <a:pt x="5047217" y="3457187"/>
                  </a:lnTo>
                  <a:lnTo>
                    <a:pt x="5028666" y="3478061"/>
                  </a:lnTo>
                  <a:lnTo>
                    <a:pt x="5000274" y="3517209"/>
                  </a:lnTo>
                  <a:lnTo>
                    <a:pt x="4981057" y="3543350"/>
                  </a:lnTo>
                  <a:lnTo>
                    <a:pt x="4961839" y="3569491"/>
                  </a:lnTo>
                  <a:lnTo>
                    <a:pt x="4942129" y="3593852"/>
                  </a:lnTo>
                  <a:lnTo>
                    <a:pt x="4865079" y="3599737"/>
                  </a:lnTo>
                  <a:lnTo>
                    <a:pt x="4804801" y="3611990"/>
                  </a:lnTo>
                  <a:lnTo>
                    <a:pt x="4744380" y="3623602"/>
                  </a:lnTo>
                  <a:lnTo>
                    <a:pt x="4683959" y="3635217"/>
                  </a:lnTo>
                  <a:lnTo>
                    <a:pt x="4622539" y="3645405"/>
                  </a:lnTo>
                  <a:lnTo>
                    <a:pt x="4560757" y="3645365"/>
                  </a:lnTo>
                  <a:lnTo>
                    <a:pt x="4543077" y="3664406"/>
                  </a:lnTo>
                  <a:lnTo>
                    <a:pt x="4529472" y="3687527"/>
                  </a:lnTo>
                  <a:lnTo>
                    <a:pt x="4537716" y="3716564"/>
                  </a:lnTo>
                  <a:lnTo>
                    <a:pt x="4556596" y="3737384"/>
                  </a:lnTo>
                  <a:lnTo>
                    <a:pt x="4583881" y="3751458"/>
                  </a:lnTo>
                  <a:lnTo>
                    <a:pt x="4612661" y="3763330"/>
                  </a:lnTo>
                  <a:lnTo>
                    <a:pt x="4650007" y="3766164"/>
                  </a:lnTo>
                  <a:lnTo>
                    <a:pt x="4688619" y="3765063"/>
                  </a:lnTo>
                  <a:lnTo>
                    <a:pt x="4765839" y="3762853"/>
                  </a:lnTo>
                  <a:lnTo>
                    <a:pt x="4848904" y="3741579"/>
                  </a:lnTo>
                  <a:lnTo>
                    <a:pt x="4885847" y="3726979"/>
                  </a:lnTo>
                  <a:lnTo>
                    <a:pt x="4912075" y="3751802"/>
                  </a:lnTo>
                  <a:lnTo>
                    <a:pt x="4935236" y="3779177"/>
                  </a:lnTo>
                  <a:lnTo>
                    <a:pt x="4964735" y="3775946"/>
                  </a:lnTo>
                  <a:lnTo>
                    <a:pt x="4991624" y="3766421"/>
                  </a:lnTo>
                  <a:lnTo>
                    <a:pt x="5015061" y="3784104"/>
                  </a:lnTo>
                  <a:lnTo>
                    <a:pt x="5005545" y="3828994"/>
                  </a:lnTo>
                  <a:lnTo>
                    <a:pt x="4971752" y="3850909"/>
                  </a:lnTo>
                  <a:lnTo>
                    <a:pt x="4948414" y="3856199"/>
                  </a:lnTo>
                  <a:lnTo>
                    <a:pt x="4925066" y="3861488"/>
                  </a:lnTo>
                  <a:lnTo>
                    <a:pt x="4898141" y="3864434"/>
                  </a:lnTo>
                  <a:lnTo>
                    <a:pt x="4869526" y="3867079"/>
                  </a:lnTo>
                  <a:lnTo>
                    <a:pt x="4840904" y="3869724"/>
                  </a:lnTo>
                  <a:lnTo>
                    <a:pt x="4810763" y="3871261"/>
                  </a:lnTo>
                  <a:lnTo>
                    <a:pt x="4781106" y="3876604"/>
                  </a:lnTo>
                  <a:lnTo>
                    <a:pt x="4751449" y="3881946"/>
                  </a:lnTo>
                  <a:lnTo>
                    <a:pt x="4721873" y="3890414"/>
                  </a:lnTo>
                  <a:lnTo>
                    <a:pt x="4695418" y="3903808"/>
                  </a:lnTo>
                  <a:lnTo>
                    <a:pt x="4660124" y="3931617"/>
                  </a:lnTo>
                  <a:lnTo>
                    <a:pt x="4641006" y="3948692"/>
                  </a:lnTo>
                  <a:lnTo>
                    <a:pt x="4621894" y="3965767"/>
                  </a:lnTo>
                  <a:lnTo>
                    <a:pt x="4601607" y="3980876"/>
                  </a:lnTo>
                  <a:lnTo>
                    <a:pt x="4534696" y="3977478"/>
                  </a:lnTo>
                  <a:lnTo>
                    <a:pt x="4482628" y="3954686"/>
                  </a:lnTo>
                  <a:lnTo>
                    <a:pt x="4432895" y="3962292"/>
                  </a:lnTo>
                  <a:lnTo>
                    <a:pt x="4231586" y="3993576"/>
                  </a:lnTo>
                  <a:lnTo>
                    <a:pt x="4209631" y="3996934"/>
                  </a:lnTo>
                  <a:lnTo>
                    <a:pt x="4179903" y="3985419"/>
                  </a:lnTo>
                  <a:lnTo>
                    <a:pt x="4157209" y="3966400"/>
                  </a:lnTo>
                  <a:lnTo>
                    <a:pt x="4131422" y="3925525"/>
                  </a:lnTo>
                  <a:lnTo>
                    <a:pt x="4119171" y="3890234"/>
                  </a:lnTo>
                  <a:lnTo>
                    <a:pt x="4095567" y="3868440"/>
                  </a:lnTo>
                  <a:lnTo>
                    <a:pt x="4078210" y="3852413"/>
                  </a:lnTo>
                  <a:lnTo>
                    <a:pt x="4047173" y="3849446"/>
                  </a:lnTo>
                  <a:lnTo>
                    <a:pt x="4019395" y="3842593"/>
                  </a:lnTo>
                  <a:lnTo>
                    <a:pt x="3993102" y="3834197"/>
                  </a:lnTo>
                  <a:lnTo>
                    <a:pt x="3972241" y="3821075"/>
                  </a:lnTo>
                  <a:lnTo>
                    <a:pt x="3960905" y="3799067"/>
                  </a:lnTo>
                  <a:lnTo>
                    <a:pt x="3935245" y="3786265"/>
                  </a:lnTo>
                  <a:lnTo>
                    <a:pt x="3896797" y="3792823"/>
                  </a:lnTo>
                  <a:lnTo>
                    <a:pt x="3874672" y="3800841"/>
                  </a:lnTo>
                  <a:lnTo>
                    <a:pt x="3852090" y="3808589"/>
                  </a:lnTo>
                  <a:lnTo>
                    <a:pt x="3829515" y="3816338"/>
                  </a:lnTo>
                  <a:lnTo>
                    <a:pt x="3806480" y="3823664"/>
                  </a:lnTo>
                  <a:lnTo>
                    <a:pt x="3767122" y="3828876"/>
                  </a:lnTo>
                  <a:lnTo>
                    <a:pt x="3740556" y="3815389"/>
                  </a:lnTo>
                  <a:lnTo>
                    <a:pt x="3736131" y="3772675"/>
                  </a:lnTo>
                  <a:lnTo>
                    <a:pt x="3713689" y="3766000"/>
                  </a:lnTo>
                  <a:lnTo>
                    <a:pt x="3689678" y="3771652"/>
                  </a:lnTo>
                  <a:lnTo>
                    <a:pt x="3661668" y="3762341"/>
                  </a:lnTo>
                  <a:lnTo>
                    <a:pt x="3653504" y="3726979"/>
                  </a:lnTo>
                  <a:lnTo>
                    <a:pt x="3610065" y="3719413"/>
                  </a:lnTo>
                  <a:lnTo>
                    <a:pt x="3585833" y="3737518"/>
                  </a:lnTo>
                  <a:lnTo>
                    <a:pt x="3593610" y="3759451"/>
                  </a:lnTo>
                  <a:lnTo>
                    <a:pt x="3597671" y="3810608"/>
                  </a:lnTo>
                  <a:lnTo>
                    <a:pt x="3597349" y="3837093"/>
                  </a:lnTo>
                  <a:lnTo>
                    <a:pt x="3595014" y="3858915"/>
                  </a:lnTo>
                  <a:lnTo>
                    <a:pt x="3592680" y="3880737"/>
                  </a:lnTo>
                  <a:lnTo>
                    <a:pt x="3578690" y="3911966"/>
                  </a:lnTo>
                  <a:lnTo>
                    <a:pt x="3554390" y="3935450"/>
                  </a:lnTo>
                  <a:lnTo>
                    <a:pt x="3535164" y="3944609"/>
                  </a:lnTo>
                  <a:lnTo>
                    <a:pt x="3515934" y="3953771"/>
                  </a:lnTo>
                  <a:lnTo>
                    <a:pt x="3491486" y="3961116"/>
                  </a:lnTo>
                  <a:lnTo>
                    <a:pt x="3460353" y="3969097"/>
                  </a:lnTo>
                  <a:lnTo>
                    <a:pt x="3421949" y="3978929"/>
                  </a:lnTo>
                  <a:lnTo>
                    <a:pt x="3396633" y="3982101"/>
                  </a:lnTo>
                  <a:lnTo>
                    <a:pt x="3360855" y="3975125"/>
                  </a:lnTo>
                  <a:lnTo>
                    <a:pt x="3343377" y="3954134"/>
                  </a:lnTo>
                  <a:lnTo>
                    <a:pt x="3330261" y="3931202"/>
                  </a:lnTo>
                  <a:lnTo>
                    <a:pt x="3330940" y="3898088"/>
                  </a:lnTo>
                  <a:lnTo>
                    <a:pt x="3308009" y="3875236"/>
                  </a:lnTo>
                  <a:lnTo>
                    <a:pt x="3280165" y="3864707"/>
                  </a:lnTo>
                  <a:lnTo>
                    <a:pt x="3257683" y="3865721"/>
                  </a:lnTo>
                  <a:lnTo>
                    <a:pt x="3235204" y="3866731"/>
                  </a:lnTo>
                  <a:lnTo>
                    <a:pt x="3207965" y="3871116"/>
                  </a:lnTo>
                  <a:lnTo>
                    <a:pt x="3181514" y="3876604"/>
                  </a:lnTo>
                  <a:lnTo>
                    <a:pt x="3128596" y="3887571"/>
                  </a:lnTo>
                  <a:lnTo>
                    <a:pt x="3076007" y="3903194"/>
                  </a:lnTo>
                  <a:lnTo>
                    <a:pt x="3045882" y="3910924"/>
                  </a:lnTo>
                  <a:lnTo>
                    <a:pt x="3027805" y="3933729"/>
                  </a:lnTo>
                  <a:lnTo>
                    <a:pt x="3011940" y="3965048"/>
                  </a:lnTo>
                  <a:lnTo>
                    <a:pt x="2994263" y="4017997"/>
                  </a:lnTo>
                  <a:lnTo>
                    <a:pt x="2986989" y="4055722"/>
                  </a:lnTo>
                  <a:lnTo>
                    <a:pt x="2970246" y="4111579"/>
                  </a:lnTo>
                  <a:lnTo>
                    <a:pt x="2963493" y="4133831"/>
                  </a:lnTo>
                  <a:lnTo>
                    <a:pt x="2937067" y="4155284"/>
                  </a:lnTo>
                  <a:lnTo>
                    <a:pt x="2882270" y="4145918"/>
                  </a:lnTo>
                  <a:lnTo>
                    <a:pt x="2861270" y="4141164"/>
                  </a:lnTo>
                  <a:lnTo>
                    <a:pt x="2839079" y="4140563"/>
                  </a:lnTo>
                  <a:lnTo>
                    <a:pt x="2818339" y="4135038"/>
                  </a:lnTo>
                  <a:lnTo>
                    <a:pt x="2793172" y="4128362"/>
                  </a:lnTo>
                  <a:lnTo>
                    <a:pt x="2763679" y="4117522"/>
                  </a:lnTo>
                  <a:lnTo>
                    <a:pt x="2739445" y="4107833"/>
                  </a:lnTo>
                  <a:lnTo>
                    <a:pt x="2703404" y="4093378"/>
                  </a:lnTo>
                  <a:lnTo>
                    <a:pt x="2667446" y="4076198"/>
                  </a:lnTo>
                  <a:lnTo>
                    <a:pt x="2631994" y="4060224"/>
                  </a:lnTo>
                  <a:lnTo>
                    <a:pt x="2582378" y="4054897"/>
                  </a:lnTo>
                  <a:lnTo>
                    <a:pt x="2550380" y="4061585"/>
                  </a:lnTo>
                  <a:lnTo>
                    <a:pt x="2518382" y="4068270"/>
                  </a:lnTo>
                  <a:lnTo>
                    <a:pt x="2486325" y="4078672"/>
                  </a:lnTo>
                  <a:lnTo>
                    <a:pt x="2459964" y="4105176"/>
                  </a:lnTo>
                  <a:lnTo>
                    <a:pt x="2452064" y="4125844"/>
                  </a:lnTo>
                  <a:lnTo>
                    <a:pt x="2445649" y="4145918"/>
                  </a:lnTo>
                  <a:lnTo>
                    <a:pt x="2439224" y="4165994"/>
                  </a:lnTo>
                  <a:lnTo>
                    <a:pt x="2433987" y="4186492"/>
                  </a:lnTo>
                  <a:lnTo>
                    <a:pt x="2406420" y="4274632"/>
                  </a:lnTo>
                  <a:lnTo>
                    <a:pt x="2385488" y="4323460"/>
                  </a:lnTo>
                  <a:lnTo>
                    <a:pt x="2351788" y="4360828"/>
                  </a:lnTo>
                  <a:lnTo>
                    <a:pt x="2334939" y="4379509"/>
                  </a:lnTo>
                  <a:lnTo>
                    <a:pt x="2315148" y="4394941"/>
                  </a:lnTo>
                  <a:lnTo>
                    <a:pt x="2290582" y="4408435"/>
                  </a:lnTo>
                  <a:lnTo>
                    <a:pt x="2266023" y="4421929"/>
                  </a:lnTo>
                  <a:lnTo>
                    <a:pt x="2236207" y="4433714"/>
                  </a:lnTo>
                  <a:lnTo>
                    <a:pt x="2200811" y="4443797"/>
                  </a:lnTo>
                  <a:lnTo>
                    <a:pt x="2160953" y="4456782"/>
                  </a:lnTo>
                  <a:lnTo>
                    <a:pt x="2134158" y="4462844"/>
                  </a:lnTo>
                  <a:lnTo>
                    <a:pt x="2107369" y="4468906"/>
                  </a:lnTo>
                  <a:lnTo>
                    <a:pt x="2080645" y="4471609"/>
                  </a:lnTo>
                  <a:lnTo>
                    <a:pt x="2060544" y="4456044"/>
                  </a:lnTo>
                  <a:lnTo>
                    <a:pt x="2037587" y="4428834"/>
                  </a:lnTo>
                  <a:lnTo>
                    <a:pt x="2015238" y="4403536"/>
                  </a:lnTo>
                  <a:lnTo>
                    <a:pt x="1991649" y="4393378"/>
                  </a:lnTo>
                  <a:lnTo>
                    <a:pt x="1966587" y="4390873"/>
                  </a:lnTo>
                  <a:lnTo>
                    <a:pt x="1942371" y="4393471"/>
                  </a:lnTo>
                  <a:lnTo>
                    <a:pt x="1918146" y="4396070"/>
                  </a:lnTo>
                  <a:lnTo>
                    <a:pt x="1893481" y="4404097"/>
                  </a:lnTo>
                  <a:lnTo>
                    <a:pt x="1869107" y="4426369"/>
                  </a:lnTo>
                  <a:lnTo>
                    <a:pt x="1854652" y="4447285"/>
                  </a:lnTo>
                  <a:lnTo>
                    <a:pt x="1840352" y="4466927"/>
                  </a:lnTo>
                  <a:lnTo>
                    <a:pt x="1826056" y="4486560"/>
                  </a:lnTo>
                  <a:lnTo>
                    <a:pt x="1812267" y="4505421"/>
                  </a:lnTo>
                  <a:lnTo>
                    <a:pt x="1766893" y="4522087"/>
                  </a:lnTo>
                  <a:lnTo>
                    <a:pt x="1732328" y="4518974"/>
                  </a:lnTo>
                  <a:lnTo>
                    <a:pt x="1697533" y="4513163"/>
                  </a:lnTo>
                  <a:lnTo>
                    <a:pt x="1666341" y="4507961"/>
                  </a:lnTo>
                  <a:lnTo>
                    <a:pt x="1625293" y="4500811"/>
                  </a:lnTo>
                  <a:lnTo>
                    <a:pt x="1591444" y="4499564"/>
                  </a:lnTo>
                  <a:lnTo>
                    <a:pt x="1606401" y="4518605"/>
                  </a:lnTo>
                  <a:lnTo>
                    <a:pt x="1617374" y="4565783"/>
                  </a:lnTo>
                  <a:lnTo>
                    <a:pt x="1603387" y="4615349"/>
                  </a:lnTo>
                  <a:lnTo>
                    <a:pt x="1610481" y="4664146"/>
                  </a:lnTo>
                  <a:lnTo>
                    <a:pt x="1674025" y="4853722"/>
                  </a:lnTo>
                  <a:lnTo>
                    <a:pt x="1699744" y="4906048"/>
                  </a:lnTo>
                  <a:lnTo>
                    <a:pt x="1736721" y="4959651"/>
                  </a:lnTo>
                  <a:lnTo>
                    <a:pt x="1770983" y="4998759"/>
                  </a:lnTo>
                  <a:lnTo>
                    <a:pt x="1894544" y="5139962"/>
                  </a:lnTo>
                  <a:lnTo>
                    <a:pt x="1972549" y="5015675"/>
                  </a:lnTo>
                  <a:lnTo>
                    <a:pt x="2101512" y="5119815"/>
                  </a:lnTo>
                  <a:lnTo>
                    <a:pt x="2193450" y="5194027"/>
                  </a:lnTo>
                  <a:lnTo>
                    <a:pt x="2140449" y="5349860"/>
                  </a:lnTo>
                  <a:lnTo>
                    <a:pt x="2200805" y="5379616"/>
                  </a:lnTo>
                  <a:lnTo>
                    <a:pt x="2259124" y="5352917"/>
                  </a:lnTo>
                  <a:lnTo>
                    <a:pt x="2275572" y="5307822"/>
                  </a:lnTo>
                  <a:lnTo>
                    <a:pt x="2317777" y="5284397"/>
                  </a:lnTo>
                  <a:lnTo>
                    <a:pt x="2362965" y="5259322"/>
                  </a:lnTo>
                  <a:lnTo>
                    <a:pt x="2441215" y="5259450"/>
                  </a:lnTo>
                  <a:lnTo>
                    <a:pt x="2466038" y="5240871"/>
                  </a:lnTo>
                  <a:lnTo>
                    <a:pt x="2494864" y="5219238"/>
                  </a:lnTo>
                  <a:lnTo>
                    <a:pt x="2498005" y="5175495"/>
                  </a:lnTo>
                  <a:lnTo>
                    <a:pt x="2525895" y="5153819"/>
                  </a:lnTo>
                  <a:lnTo>
                    <a:pt x="2567548" y="5149525"/>
                  </a:lnTo>
                  <a:lnTo>
                    <a:pt x="2586502" y="5160532"/>
                  </a:lnTo>
                  <a:lnTo>
                    <a:pt x="2686605" y="5262423"/>
                  </a:lnTo>
                  <a:lnTo>
                    <a:pt x="2701357" y="5280317"/>
                  </a:lnTo>
                  <a:lnTo>
                    <a:pt x="2728053" y="5312702"/>
                  </a:lnTo>
                  <a:lnTo>
                    <a:pt x="2770175" y="5372426"/>
                  </a:lnTo>
                  <a:lnTo>
                    <a:pt x="2811533" y="5386406"/>
                  </a:lnTo>
                  <a:lnTo>
                    <a:pt x="2856715" y="5401627"/>
                  </a:lnTo>
                  <a:lnTo>
                    <a:pt x="2906579" y="5393807"/>
                  </a:lnTo>
                  <a:lnTo>
                    <a:pt x="2952995" y="5391848"/>
                  </a:lnTo>
                  <a:lnTo>
                    <a:pt x="3174965" y="5382583"/>
                  </a:lnTo>
                  <a:lnTo>
                    <a:pt x="3196980" y="5309642"/>
                  </a:lnTo>
                  <a:lnTo>
                    <a:pt x="3370575" y="5210944"/>
                  </a:lnTo>
                  <a:lnTo>
                    <a:pt x="3402580" y="5192669"/>
                  </a:lnTo>
                  <a:lnTo>
                    <a:pt x="3451510" y="5175449"/>
                  </a:lnTo>
                  <a:lnTo>
                    <a:pt x="3476674" y="5160618"/>
                  </a:lnTo>
                  <a:lnTo>
                    <a:pt x="3495160" y="5149695"/>
                  </a:lnTo>
                  <a:lnTo>
                    <a:pt x="3512247" y="5131243"/>
                  </a:lnTo>
                  <a:lnTo>
                    <a:pt x="3531083" y="5121173"/>
                  </a:lnTo>
                  <a:lnTo>
                    <a:pt x="3558834" y="5110504"/>
                  </a:lnTo>
                  <a:lnTo>
                    <a:pt x="3619410" y="5078028"/>
                  </a:lnTo>
                  <a:lnTo>
                    <a:pt x="3646611" y="5099701"/>
                  </a:lnTo>
                  <a:lnTo>
                    <a:pt x="3686140" y="5087162"/>
                  </a:lnTo>
                  <a:lnTo>
                    <a:pt x="3745610" y="5068209"/>
                  </a:lnTo>
                  <a:lnTo>
                    <a:pt x="3905727" y="4928062"/>
                  </a:lnTo>
                  <a:lnTo>
                    <a:pt x="3937778" y="4923938"/>
                  </a:lnTo>
                  <a:lnTo>
                    <a:pt x="3975270" y="4931463"/>
                  </a:lnTo>
                  <a:lnTo>
                    <a:pt x="3973655" y="4973297"/>
                  </a:lnTo>
                  <a:lnTo>
                    <a:pt x="3952186" y="4985662"/>
                  </a:lnTo>
                  <a:lnTo>
                    <a:pt x="3937778" y="5004194"/>
                  </a:lnTo>
                  <a:lnTo>
                    <a:pt x="3910403" y="5039345"/>
                  </a:lnTo>
                  <a:lnTo>
                    <a:pt x="3861482" y="5111056"/>
                  </a:lnTo>
                  <a:lnTo>
                    <a:pt x="3824879" y="5133414"/>
                  </a:lnTo>
                  <a:lnTo>
                    <a:pt x="3781142" y="5160110"/>
                  </a:lnTo>
                  <a:lnTo>
                    <a:pt x="3738379" y="5157471"/>
                  </a:lnTo>
                  <a:lnTo>
                    <a:pt x="3691582" y="5172856"/>
                  </a:lnTo>
                  <a:lnTo>
                    <a:pt x="3647330" y="5187355"/>
                  </a:lnTo>
                  <a:lnTo>
                    <a:pt x="3615918" y="5220723"/>
                  </a:lnTo>
                  <a:lnTo>
                    <a:pt x="3575967" y="5238149"/>
                  </a:lnTo>
                  <a:lnTo>
                    <a:pt x="3530482" y="5257912"/>
                  </a:lnTo>
                  <a:lnTo>
                    <a:pt x="3477012" y="5268075"/>
                  </a:lnTo>
                  <a:lnTo>
                    <a:pt x="3433142" y="5293919"/>
                  </a:lnTo>
                  <a:lnTo>
                    <a:pt x="3381201" y="5324568"/>
                  </a:lnTo>
                  <a:lnTo>
                    <a:pt x="3363729" y="5386921"/>
                  </a:lnTo>
                  <a:lnTo>
                    <a:pt x="3317527" y="5417694"/>
                  </a:lnTo>
                  <a:lnTo>
                    <a:pt x="3241994" y="5468066"/>
                  </a:lnTo>
                  <a:lnTo>
                    <a:pt x="3170584" y="5481836"/>
                  </a:lnTo>
                  <a:lnTo>
                    <a:pt x="3147504" y="5582276"/>
                  </a:lnTo>
                  <a:lnTo>
                    <a:pt x="3142530" y="5603959"/>
                  </a:lnTo>
                  <a:lnTo>
                    <a:pt x="3133560" y="5623210"/>
                  </a:lnTo>
                  <a:lnTo>
                    <a:pt x="3136621" y="5646207"/>
                  </a:lnTo>
                  <a:lnTo>
                    <a:pt x="3142571" y="5690840"/>
                  </a:lnTo>
                  <a:lnTo>
                    <a:pt x="3190561" y="5683824"/>
                  </a:lnTo>
                  <a:lnTo>
                    <a:pt x="3201913" y="5722379"/>
                  </a:lnTo>
                  <a:lnTo>
                    <a:pt x="3183334" y="5757701"/>
                  </a:lnTo>
                  <a:lnTo>
                    <a:pt x="3145420" y="5785076"/>
                  </a:lnTo>
                  <a:lnTo>
                    <a:pt x="3109543" y="5794598"/>
                  </a:lnTo>
                  <a:lnTo>
                    <a:pt x="3080857" y="5809432"/>
                  </a:lnTo>
                  <a:lnTo>
                    <a:pt x="3039240" y="5830943"/>
                  </a:lnTo>
                  <a:lnTo>
                    <a:pt x="2999541" y="5876382"/>
                  </a:lnTo>
                  <a:lnTo>
                    <a:pt x="2963874" y="5907364"/>
                  </a:lnTo>
                  <a:lnTo>
                    <a:pt x="2913338" y="5909317"/>
                  </a:lnTo>
                  <a:lnTo>
                    <a:pt x="2666888" y="5857804"/>
                  </a:lnTo>
                  <a:lnTo>
                    <a:pt x="2630627" y="5832559"/>
                  </a:lnTo>
                  <a:lnTo>
                    <a:pt x="2555946" y="5780531"/>
                  </a:lnTo>
                  <a:lnTo>
                    <a:pt x="2587913" y="5745671"/>
                  </a:lnTo>
                  <a:lnTo>
                    <a:pt x="2475569" y="5716938"/>
                  </a:lnTo>
                  <a:lnTo>
                    <a:pt x="2399438" y="5697429"/>
                  </a:lnTo>
                  <a:lnTo>
                    <a:pt x="2361015" y="5746694"/>
                  </a:lnTo>
                  <a:lnTo>
                    <a:pt x="2310978" y="5737343"/>
                  </a:lnTo>
                  <a:lnTo>
                    <a:pt x="2232341" y="5722550"/>
                  </a:lnTo>
                  <a:lnTo>
                    <a:pt x="2123696" y="5635287"/>
                  </a:lnTo>
                  <a:lnTo>
                    <a:pt x="2055263" y="5638050"/>
                  </a:lnTo>
                  <a:lnTo>
                    <a:pt x="2030440" y="5639026"/>
                  </a:lnTo>
                  <a:lnTo>
                    <a:pt x="2014500" y="5655137"/>
                  </a:lnTo>
                  <a:lnTo>
                    <a:pt x="1992697" y="5662529"/>
                  </a:lnTo>
                  <a:lnTo>
                    <a:pt x="1960857" y="5673325"/>
                  </a:lnTo>
                  <a:lnTo>
                    <a:pt x="1841540" y="5692707"/>
                  </a:lnTo>
                  <a:lnTo>
                    <a:pt x="1810426" y="5688375"/>
                  </a:lnTo>
                  <a:lnTo>
                    <a:pt x="1731788" y="5677409"/>
                  </a:lnTo>
                  <a:lnTo>
                    <a:pt x="1665141" y="5632779"/>
                  </a:lnTo>
                  <a:lnTo>
                    <a:pt x="1585996" y="5621725"/>
                  </a:lnTo>
                  <a:lnTo>
                    <a:pt x="1531078" y="5614076"/>
                  </a:lnTo>
                  <a:lnTo>
                    <a:pt x="1471184" y="5620237"/>
                  </a:lnTo>
                  <a:lnTo>
                    <a:pt x="1417330" y="5608120"/>
                  </a:lnTo>
                  <a:lnTo>
                    <a:pt x="1395607" y="5603274"/>
                  </a:lnTo>
                  <a:lnTo>
                    <a:pt x="1373634" y="5594772"/>
                  </a:lnTo>
                  <a:lnTo>
                    <a:pt x="1350683" y="5593163"/>
                  </a:lnTo>
                  <a:lnTo>
                    <a:pt x="1306853" y="5590019"/>
                  </a:lnTo>
                  <a:lnTo>
                    <a:pt x="1285307" y="5617136"/>
                  </a:lnTo>
                  <a:lnTo>
                    <a:pt x="1237785" y="5604039"/>
                  </a:lnTo>
                  <a:lnTo>
                    <a:pt x="1169435" y="5585126"/>
                  </a:lnTo>
                  <a:lnTo>
                    <a:pt x="1237983" y="5548700"/>
                  </a:lnTo>
                  <a:lnTo>
                    <a:pt x="1101765" y="5529232"/>
                  </a:lnTo>
                  <a:lnTo>
                    <a:pt x="996410" y="5514184"/>
                  </a:lnTo>
                  <a:lnTo>
                    <a:pt x="948763" y="5405453"/>
                  </a:lnTo>
                  <a:lnTo>
                    <a:pt x="833800" y="5405453"/>
                  </a:lnTo>
                  <a:lnTo>
                    <a:pt x="807600" y="5405453"/>
                  </a:lnTo>
                  <a:lnTo>
                    <a:pt x="786600" y="5413440"/>
                  </a:lnTo>
                  <a:lnTo>
                    <a:pt x="761711" y="5417694"/>
                  </a:lnTo>
                  <a:lnTo>
                    <a:pt x="734764" y="5422330"/>
                  </a:lnTo>
                  <a:lnTo>
                    <a:pt x="704738" y="5420370"/>
                  </a:lnTo>
                  <a:lnTo>
                    <a:pt x="677382" y="5420410"/>
                  </a:lnTo>
                  <a:lnTo>
                    <a:pt x="652896" y="5423126"/>
                  </a:lnTo>
                  <a:lnTo>
                    <a:pt x="629775" y="5428568"/>
                  </a:lnTo>
                  <a:lnTo>
                    <a:pt x="598410" y="5438856"/>
                  </a:lnTo>
                  <a:lnTo>
                    <a:pt x="565844" y="5456920"/>
                  </a:lnTo>
                  <a:lnTo>
                    <a:pt x="533198" y="5465294"/>
                  </a:lnTo>
                  <a:lnTo>
                    <a:pt x="503231" y="5472993"/>
                  </a:lnTo>
                  <a:lnTo>
                    <a:pt x="466892" y="5466950"/>
                  </a:lnTo>
                  <a:lnTo>
                    <a:pt x="436627" y="5469372"/>
                  </a:lnTo>
                  <a:lnTo>
                    <a:pt x="362582" y="5475405"/>
                  </a:lnTo>
                  <a:lnTo>
                    <a:pt x="291402" y="5488409"/>
                  </a:lnTo>
                  <a:lnTo>
                    <a:pt x="217633" y="5458489"/>
                  </a:lnTo>
                  <a:lnTo>
                    <a:pt x="94307" y="5408461"/>
                  </a:lnTo>
                  <a:lnTo>
                    <a:pt x="84822" y="5296669"/>
                  </a:lnTo>
                  <a:lnTo>
                    <a:pt x="0" y="5262621"/>
                  </a:lnTo>
                  <a:lnTo>
                    <a:pt x="26333" y="5310017"/>
                  </a:lnTo>
                  <a:lnTo>
                    <a:pt x="39703" y="5375052"/>
                  </a:lnTo>
                  <a:lnTo>
                    <a:pt x="74814" y="5417688"/>
                  </a:lnTo>
                  <a:lnTo>
                    <a:pt x="116743" y="5468646"/>
                  </a:lnTo>
                  <a:lnTo>
                    <a:pt x="192025" y="5483569"/>
                  </a:lnTo>
                  <a:lnTo>
                    <a:pt x="231238" y="5530577"/>
                  </a:lnTo>
                  <a:lnTo>
                    <a:pt x="302924" y="5616609"/>
                  </a:lnTo>
                  <a:lnTo>
                    <a:pt x="320011" y="5697032"/>
                  </a:lnTo>
                  <a:lnTo>
                    <a:pt x="420306" y="5767257"/>
                  </a:lnTo>
                  <a:lnTo>
                    <a:pt x="466808" y="5799770"/>
                  </a:lnTo>
                  <a:lnTo>
                    <a:pt x="507228" y="5815499"/>
                  </a:lnTo>
                  <a:lnTo>
                    <a:pt x="535920" y="5869273"/>
                  </a:lnTo>
                  <a:lnTo>
                    <a:pt x="557004" y="5908802"/>
                  </a:lnTo>
                  <a:lnTo>
                    <a:pt x="584677" y="6052769"/>
                  </a:lnTo>
                  <a:lnTo>
                    <a:pt x="605293" y="6066501"/>
                  </a:lnTo>
                  <a:lnTo>
                    <a:pt x="640885" y="6004480"/>
                  </a:lnTo>
                  <a:lnTo>
                    <a:pt x="606059" y="5865363"/>
                  </a:lnTo>
                  <a:lnTo>
                    <a:pt x="642019" y="5786295"/>
                  </a:lnTo>
                  <a:lnTo>
                    <a:pt x="655981" y="5755608"/>
                  </a:lnTo>
                  <a:lnTo>
                    <a:pt x="681081" y="5751271"/>
                  </a:lnTo>
                  <a:lnTo>
                    <a:pt x="700503" y="5730528"/>
                  </a:lnTo>
                  <a:lnTo>
                    <a:pt x="742481" y="5723474"/>
                  </a:lnTo>
                  <a:lnTo>
                    <a:pt x="785558" y="5739836"/>
                  </a:lnTo>
                  <a:lnTo>
                    <a:pt x="827006" y="5740053"/>
                  </a:lnTo>
                  <a:lnTo>
                    <a:pt x="857885" y="5723006"/>
                  </a:lnTo>
                  <a:lnTo>
                    <a:pt x="902558" y="5716674"/>
                  </a:lnTo>
                  <a:lnTo>
                    <a:pt x="937183" y="5725089"/>
                  </a:lnTo>
                  <a:lnTo>
                    <a:pt x="966548" y="5732230"/>
                  </a:lnTo>
                  <a:lnTo>
                    <a:pt x="994730" y="5756756"/>
                  </a:lnTo>
                  <a:lnTo>
                    <a:pt x="1024235" y="5765896"/>
                  </a:lnTo>
                  <a:lnTo>
                    <a:pt x="1093282" y="5787107"/>
                  </a:lnTo>
                  <a:lnTo>
                    <a:pt x="1159489" y="5815583"/>
                  </a:lnTo>
                  <a:lnTo>
                    <a:pt x="1221463" y="5851584"/>
                  </a:lnTo>
                  <a:lnTo>
                    <a:pt x="1262012" y="5875136"/>
                  </a:lnTo>
                  <a:lnTo>
                    <a:pt x="1310810" y="5881895"/>
                  </a:lnTo>
                  <a:lnTo>
                    <a:pt x="1352041" y="5901919"/>
                  </a:lnTo>
                  <a:lnTo>
                    <a:pt x="1394764" y="5922612"/>
                  </a:lnTo>
                  <a:lnTo>
                    <a:pt x="1438752" y="5957553"/>
                  </a:lnTo>
                  <a:lnTo>
                    <a:pt x="1482619" y="5974008"/>
                  </a:lnTo>
                  <a:lnTo>
                    <a:pt x="1543617" y="5996831"/>
                  </a:lnTo>
                  <a:lnTo>
                    <a:pt x="1563889" y="5942893"/>
                  </a:lnTo>
                  <a:lnTo>
                    <a:pt x="1596876" y="5938639"/>
                  </a:lnTo>
                  <a:lnTo>
                    <a:pt x="1622084" y="5935405"/>
                  </a:lnTo>
                  <a:lnTo>
                    <a:pt x="1689369" y="5944078"/>
                  </a:lnTo>
                  <a:lnTo>
                    <a:pt x="1716019" y="5943188"/>
                  </a:lnTo>
                  <a:lnTo>
                    <a:pt x="1762224" y="5982928"/>
                  </a:lnTo>
                  <a:lnTo>
                    <a:pt x="1765752" y="6006263"/>
                  </a:lnTo>
                  <a:lnTo>
                    <a:pt x="1790021" y="6044729"/>
                  </a:lnTo>
                  <a:lnTo>
                    <a:pt x="1839035" y="6122346"/>
                  </a:lnTo>
                  <a:lnTo>
                    <a:pt x="1913207" y="6177728"/>
                  </a:lnTo>
                  <a:lnTo>
                    <a:pt x="1928766" y="6274603"/>
                  </a:lnTo>
                  <a:lnTo>
                    <a:pt x="1918602" y="6300276"/>
                  </a:lnTo>
                  <a:lnTo>
                    <a:pt x="1882220" y="6304741"/>
                  </a:lnTo>
                  <a:lnTo>
                    <a:pt x="1852938" y="6297982"/>
                  </a:lnTo>
                  <a:lnTo>
                    <a:pt x="1825389" y="6299088"/>
                  </a:lnTo>
                  <a:lnTo>
                    <a:pt x="1724859" y="6303166"/>
                  </a:lnTo>
                  <a:lnTo>
                    <a:pt x="1767672" y="6374833"/>
                  </a:lnTo>
                  <a:lnTo>
                    <a:pt x="1727457" y="6418787"/>
                  </a:lnTo>
                  <a:lnTo>
                    <a:pt x="1705396" y="6442844"/>
                  </a:lnTo>
                  <a:lnTo>
                    <a:pt x="1614986" y="6486792"/>
                  </a:lnTo>
                  <a:lnTo>
                    <a:pt x="1581912" y="6497675"/>
                  </a:lnTo>
                  <a:lnTo>
                    <a:pt x="1499372" y="6524752"/>
                  </a:lnTo>
                  <a:lnTo>
                    <a:pt x="1388854" y="6539843"/>
                  </a:lnTo>
                  <a:lnTo>
                    <a:pt x="1303074" y="6527602"/>
                  </a:lnTo>
                  <a:lnTo>
                    <a:pt x="1234303" y="6517736"/>
                  </a:lnTo>
                  <a:lnTo>
                    <a:pt x="1168412" y="6505029"/>
                  </a:lnTo>
                  <a:lnTo>
                    <a:pt x="1099046" y="6520796"/>
                  </a:lnTo>
                  <a:lnTo>
                    <a:pt x="1075918" y="6528960"/>
                  </a:lnTo>
                  <a:lnTo>
                    <a:pt x="1051948" y="6542395"/>
                  </a:lnTo>
                  <a:lnTo>
                    <a:pt x="1032222" y="6560288"/>
                  </a:lnTo>
                  <a:lnTo>
                    <a:pt x="1009271" y="6573847"/>
                  </a:lnTo>
                  <a:lnTo>
                    <a:pt x="981493" y="6590215"/>
                  </a:lnTo>
                  <a:lnTo>
                    <a:pt x="945464" y="6599396"/>
                  </a:lnTo>
                  <a:lnTo>
                    <a:pt x="919494" y="6617373"/>
                  </a:lnTo>
                  <a:lnTo>
                    <a:pt x="897328" y="6641133"/>
                  </a:lnTo>
                  <a:lnTo>
                    <a:pt x="876120" y="6659414"/>
                  </a:lnTo>
                  <a:lnTo>
                    <a:pt x="870526" y="6684020"/>
                  </a:lnTo>
                  <a:lnTo>
                    <a:pt x="885173" y="6716796"/>
                  </a:lnTo>
                  <a:lnTo>
                    <a:pt x="917686" y="6734820"/>
                  </a:lnTo>
                  <a:lnTo>
                    <a:pt x="939899" y="6760192"/>
                  </a:lnTo>
                  <a:lnTo>
                    <a:pt x="957482" y="6780299"/>
                  </a:lnTo>
                  <a:lnTo>
                    <a:pt x="965975" y="6818852"/>
                  </a:lnTo>
                  <a:lnTo>
                    <a:pt x="984783" y="6830929"/>
                  </a:lnTo>
                  <a:lnTo>
                    <a:pt x="1033078" y="6861956"/>
                  </a:lnTo>
                  <a:lnTo>
                    <a:pt x="1121950" y="6867736"/>
                  </a:lnTo>
                  <a:lnTo>
                    <a:pt x="1177934" y="6858133"/>
                  </a:lnTo>
                  <a:lnTo>
                    <a:pt x="1213296" y="6849966"/>
                  </a:lnTo>
                  <a:lnTo>
                    <a:pt x="1280163" y="6849966"/>
                  </a:lnTo>
                  <a:lnTo>
                    <a:pt x="1330278" y="6849966"/>
                  </a:lnTo>
                  <a:lnTo>
                    <a:pt x="1343198" y="6826886"/>
                  </a:lnTo>
                  <a:lnTo>
                    <a:pt x="1328787" y="6768309"/>
                  </a:lnTo>
                  <a:lnTo>
                    <a:pt x="1268133" y="6729763"/>
                  </a:lnTo>
                  <a:lnTo>
                    <a:pt x="1286752" y="6675862"/>
                  </a:lnTo>
                  <a:lnTo>
                    <a:pt x="1345539" y="6662428"/>
                  </a:lnTo>
                  <a:lnTo>
                    <a:pt x="1414146" y="6716585"/>
                  </a:lnTo>
                  <a:lnTo>
                    <a:pt x="1448615" y="6739793"/>
                  </a:lnTo>
                  <a:lnTo>
                    <a:pt x="1474542" y="6757219"/>
                  </a:lnTo>
                  <a:lnTo>
                    <a:pt x="1502426" y="6766021"/>
                  </a:lnTo>
                  <a:lnTo>
                    <a:pt x="1523429" y="6791477"/>
                  </a:lnTo>
                  <a:lnTo>
                    <a:pt x="1549908" y="6823661"/>
                  </a:lnTo>
                  <a:lnTo>
                    <a:pt x="1559002" y="6886907"/>
                  </a:lnTo>
                  <a:lnTo>
                    <a:pt x="1598234" y="6901659"/>
                  </a:lnTo>
                  <a:lnTo>
                    <a:pt x="1624502" y="6911519"/>
                  </a:lnTo>
                  <a:lnTo>
                    <a:pt x="1658168" y="6907138"/>
                  </a:lnTo>
                  <a:lnTo>
                    <a:pt x="1682564" y="6919339"/>
                  </a:lnTo>
                  <a:lnTo>
                    <a:pt x="1723888" y="6939995"/>
                  </a:lnTo>
                  <a:lnTo>
                    <a:pt x="1777398" y="6972384"/>
                  </a:lnTo>
                  <a:lnTo>
                    <a:pt x="1825389" y="6972384"/>
                  </a:lnTo>
                  <a:lnTo>
                    <a:pt x="1868493" y="6972384"/>
                  </a:lnTo>
                  <a:lnTo>
                    <a:pt x="1904919" y="6942203"/>
                  </a:lnTo>
                  <a:lnTo>
                    <a:pt x="1946445" y="6976458"/>
                  </a:lnTo>
                  <a:lnTo>
                    <a:pt x="1979770" y="7003966"/>
                  </a:lnTo>
                  <a:lnTo>
                    <a:pt x="2046972" y="7091651"/>
                  </a:lnTo>
                  <a:lnTo>
                    <a:pt x="2067508" y="7130166"/>
                  </a:lnTo>
                  <a:lnTo>
                    <a:pt x="2077752" y="7149331"/>
                  </a:lnTo>
                  <a:lnTo>
                    <a:pt x="2083910" y="7173137"/>
                  </a:lnTo>
                  <a:lnTo>
                    <a:pt x="2096070" y="7191372"/>
                  </a:lnTo>
                  <a:lnTo>
                    <a:pt x="2135048" y="7225978"/>
                  </a:lnTo>
                  <a:lnTo>
                    <a:pt x="2157155" y="7237707"/>
                  </a:lnTo>
                  <a:lnTo>
                    <a:pt x="2368150" y="7323950"/>
                  </a:lnTo>
                  <a:lnTo>
                    <a:pt x="2444492" y="7344479"/>
                  </a:lnTo>
                  <a:lnTo>
                    <a:pt x="2434760" y="7293133"/>
                  </a:lnTo>
                  <a:lnTo>
                    <a:pt x="2523170" y="7338275"/>
                  </a:lnTo>
                  <a:lnTo>
                    <a:pt x="2557220" y="7336783"/>
                  </a:lnTo>
                  <a:lnTo>
                    <a:pt x="2617880" y="7279618"/>
                  </a:lnTo>
                  <a:lnTo>
                    <a:pt x="2644232" y="7283866"/>
                  </a:lnTo>
                  <a:lnTo>
                    <a:pt x="2647246" y="7331429"/>
                  </a:lnTo>
                  <a:lnTo>
                    <a:pt x="2595221" y="7366456"/>
                  </a:lnTo>
                  <a:lnTo>
                    <a:pt x="2572137" y="7388600"/>
                  </a:lnTo>
                  <a:lnTo>
                    <a:pt x="2566696" y="7409005"/>
                  </a:lnTo>
                  <a:lnTo>
                    <a:pt x="2575625" y="7448113"/>
                  </a:lnTo>
                  <a:lnTo>
                    <a:pt x="2607375" y="7480499"/>
                  </a:lnTo>
                  <a:lnTo>
                    <a:pt x="2612947" y="7520536"/>
                  </a:lnTo>
                  <a:lnTo>
                    <a:pt x="2618730" y="7562236"/>
                  </a:lnTo>
                  <a:lnTo>
                    <a:pt x="2608349" y="7608143"/>
                  </a:lnTo>
                  <a:lnTo>
                    <a:pt x="2633346" y="7645682"/>
                  </a:lnTo>
                  <a:lnTo>
                    <a:pt x="2661868" y="7676877"/>
                  </a:lnTo>
                  <a:lnTo>
                    <a:pt x="2701397" y="7669399"/>
                  </a:lnTo>
                  <a:lnTo>
                    <a:pt x="2732645" y="7682402"/>
                  </a:lnTo>
                  <a:lnTo>
                    <a:pt x="2786747" y="7704931"/>
                  </a:lnTo>
                  <a:lnTo>
                    <a:pt x="2842350" y="7732306"/>
                  </a:lnTo>
                  <a:lnTo>
                    <a:pt x="2897227" y="7751775"/>
                  </a:lnTo>
                  <a:lnTo>
                    <a:pt x="2926258" y="7756364"/>
                  </a:lnTo>
                  <a:lnTo>
                    <a:pt x="2990062" y="7780297"/>
                  </a:lnTo>
                  <a:lnTo>
                    <a:pt x="3042512" y="7795341"/>
                  </a:lnTo>
                  <a:lnTo>
                    <a:pt x="3093095" y="7814348"/>
                  </a:lnTo>
                  <a:lnTo>
                    <a:pt x="3131346" y="7832325"/>
                  </a:lnTo>
                  <a:lnTo>
                    <a:pt x="3207094" y="7851707"/>
                  </a:lnTo>
                  <a:lnTo>
                    <a:pt x="3264523" y="7862627"/>
                  </a:lnTo>
                  <a:lnTo>
                    <a:pt x="3320250" y="7876912"/>
                  </a:lnTo>
                  <a:lnTo>
                    <a:pt x="3396078" y="7896334"/>
                  </a:lnTo>
                  <a:lnTo>
                    <a:pt x="3480875" y="7935060"/>
                  </a:lnTo>
                  <a:lnTo>
                    <a:pt x="3561004" y="7928598"/>
                  </a:lnTo>
                  <a:lnTo>
                    <a:pt x="3648651" y="7921461"/>
                  </a:lnTo>
                  <a:lnTo>
                    <a:pt x="3607122" y="7844603"/>
                  </a:lnTo>
                  <a:lnTo>
                    <a:pt x="3722864" y="7821147"/>
                  </a:lnTo>
                  <a:lnTo>
                    <a:pt x="3745266" y="7831600"/>
                  </a:lnTo>
                  <a:lnTo>
                    <a:pt x="3802397" y="7789525"/>
                  </a:lnTo>
                  <a:lnTo>
                    <a:pt x="3824879" y="7784421"/>
                  </a:lnTo>
                  <a:lnTo>
                    <a:pt x="3849833" y="7782976"/>
                  </a:lnTo>
                  <a:lnTo>
                    <a:pt x="3904540" y="7764444"/>
                  </a:lnTo>
                  <a:lnTo>
                    <a:pt x="3943303" y="7734641"/>
                  </a:lnTo>
                  <a:lnTo>
                    <a:pt x="3992184" y="7738176"/>
                  </a:lnTo>
                  <a:lnTo>
                    <a:pt x="4027084" y="7740768"/>
                  </a:lnTo>
                  <a:lnTo>
                    <a:pt x="4060111" y="7766357"/>
                  </a:lnTo>
                  <a:lnTo>
                    <a:pt x="4095560" y="7759933"/>
                  </a:lnTo>
                  <a:lnTo>
                    <a:pt x="4123317" y="7740681"/>
                  </a:lnTo>
                  <a:lnTo>
                    <a:pt x="4163318" y="7731581"/>
                  </a:lnTo>
                  <a:lnTo>
                    <a:pt x="4189716" y="7735023"/>
                  </a:lnTo>
                  <a:lnTo>
                    <a:pt x="4212539" y="7727287"/>
                  </a:lnTo>
                  <a:lnTo>
                    <a:pt x="4255129" y="7712838"/>
                  </a:lnTo>
                  <a:lnTo>
                    <a:pt x="4284628" y="7673777"/>
                  </a:lnTo>
                  <a:lnTo>
                    <a:pt x="4324074" y="7656559"/>
                  </a:lnTo>
                  <a:lnTo>
                    <a:pt x="4364415" y="7639000"/>
                  </a:lnTo>
                  <a:lnTo>
                    <a:pt x="4529128" y="7629057"/>
                  </a:lnTo>
                  <a:lnTo>
                    <a:pt x="4568908" y="7641602"/>
                  </a:lnTo>
                  <a:lnTo>
                    <a:pt x="4605381" y="7653161"/>
                  </a:lnTo>
                  <a:lnTo>
                    <a:pt x="4642575" y="7677516"/>
                  </a:lnTo>
                  <a:lnTo>
                    <a:pt x="4679085" y="7687844"/>
                  </a:lnTo>
                  <a:lnTo>
                    <a:pt x="4710838" y="7696860"/>
                  </a:lnTo>
                  <a:lnTo>
                    <a:pt x="4738979" y="7668251"/>
                  </a:lnTo>
                  <a:lnTo>
                    <a:pt x="4772942" y="7682402"/>
                  </a:lnTo>
                  <a:lnTo>
                    <a:pt x="4804909" y="7703189"/>
                  </a:lnTo>
                  <a:lnTo>
                    <a:pt x="4828710" y="7725928"/>
                  </a:lnTo>
                  <a:lnTo>
                    <a:pt x="4898885" y="7767207"/>
                  </a:lnTo>
                  <a:lnTo>
                    <a:pt x="4944916" y="7692098"/>
                  </a:lnTo>
                  <a:lnTo>
                    <a:pt x="5009613" y="7683761"/>
                  </a:lnTo>
                  <a:lnTo>
                    <a:pt x="5076049" y="7675222"/>
                  </a:lnTo>
                  <a:lnTo>
                    <a:pt x="5303462" y="7724992"/>
                  </a:lnTo>
                  <a:lnTo>
                    <a:pt x="5322456" y="7626635"/>
                  </a:lnTo>
                  <a:lnTo>
                    <a:pt x="5349667" y="7503068"/>
                  </a:lnTo>
                  <a:lnTo>
                    <a:pt x="5320208" y="7550848"/>
                  </a:lnTo>
                  <a:lnTo>
                    <a:pt x="5297977" y="7478378"/>
                  </a:lnTo>
                  <a:lnTo>
                    <a:pt x="5318382" y="7456615"/>
                  </a:lnTo>
                  <a:lnTo>
                    <a:pt x="5352978" y="7474124"/>
                  </a:lnTo>
                  <a:lnTo>
                    <a:pt x="5398079" y="7486917"/>
                  </a:lnTo>
                  <a:lnTo>
                    <a:pt x="5433231" y="7488151"/>
                  </a:lnTo>
                  <a:lnTo>
                    <a:pt x="5454402" y="7502857"/>
                  </a:lnTo>
                  <a:lnTo>
                    <a:pt x="5509229" y="7541028"/>
                  </a:lnTo>
                  <a:lnTo>
                    <a:pt x="5539243" y="7629268"/>
                  </a:lnTo>
                  <a:lnTo>
                    <a:pt x="5612184" y="7637518"/>
                  </a:lnTo>
                  <a:lnTo>
                    <a:pt x="5676115" y="7644699"/>
                  </a:lnTo>
                  <a:lnTo>
                    <a:pt x="5777024" y="7531339"/>
                  </a:lnTo>
                  <a:lnTo>
                    <a:pt x="5835256" y="7500141"/>
                  </a:lnTo>
                  <a:lnTo>
                    <a:pt x="5879548" y="7483984"/>
                  </a:lnTo>
                  <a:lnTo>
                    <a:pt x="5914870" y="7438551"/>
                  </a:lnTo>
                  <a:lnTo>
                    <a:pt x="5890601" y="7371045"/>
                  </a:lnTo>
                  <a:lnTo>
                    <a:pt x="5908709" y="7330117"/>
                  </a:lnTo>
                  <a:lnTo>
                    <a:pt x="5929030" y="7315833"/>
                  </a:lnTo>
                  <a:lnTo>
                    <a:pt x="5990744" y="7284631"/>
                  </a:lnTo>
                  <a:lnTo>
                    <a:pt x="5978714" y="7199365"/>
                  </a:lnTo>
                  <a:lnTo>
                    <a:pt x="6020243" y="7168251"/>
                  </a:lnTo>
                  <a:lnTo>
                    <a:pt x="6038729" y="7232520"/>
                  </a:lnTo>
                  <a:lnTo>
                    <a:pt x="5996310" y="7270518"/>
                  </a:lnTo>
                  <a:lnTo>
                    <a:pt x="5999838" y="7336917"/>
                  </a:lnTo>
                  <a:lnTo>
                    <a:pt x="6002774" y="7391323"/>
                  </a:lnTo>
                  <a:lnTo>
                    <a:pt x="6035293" y="7468980"/>
                  </a:lnTo>
                  <a:lnTo>
                    <a:pt x="6028407" y="7520536"/>
                  </a:lnTo>
                  <a:lnTo>
                    <a:pt x="6021939" y="7568999"/>
                  </a:lnTo>
                  <a:lnTo>
                    <a:pt x="5972252" y="7599049"/>
                  </a:lnTo>
                  <a:lnTo>
                    <a:pt x="5967195" y="7629361"/>
                  </a:lnTo>
                  <a:lnTo>
                    <a:pt x="5975781" y="7654565"/>
                  </a:lnTo>
                  <a:lnTo>
                    <a:pt x="6035715" y="7654051"/>
                  </a:lnTo>
                  <a:lnTo>
                    <a:pt x="6084298" y="7561520"/>
                  </a:lnTo>
                  <a:lnTo>
                    <a:pt x="6160346" y="7573587"/>
                  </a:lnTo>
                  <a:lnTo>
                    <a:pt x="6207401" y="7605381"/>
                  </a:lnTo>
                  <a:lnTo>
                    <a:pt x="6251389" y="7635729"/>
                  </a:lnTo>
                  <a:lnTo>
                    <a:pt x="6304523" y="7657923"/>
                  </a:lnTo>
                  <a:lnTo>
                    <a:pt x="6328497" y="7664425"/>
                  </a:lnTo>
                  <a:lnTo>
                    <a:pt x="6354895" y="7694135"/>
                  </a:lnTo>
                  <a:lnTo>
                    <a:pt x="6349032" y="7729200"/>
                  </a:lnTo>
                  <a:lnTo>
                    <a:pt x="6338527" y="7751775"/>
                  </a:lnTo>
                  <a:lnTo>
                    <a:pt x="6318504" y="7795003"/>
                  </a:lnTo>
                  <a:lnTo>
                    <a:pt x="6254706" y="7797301"/>
                  </a:lnTo>
                  <a:lnTo>
                    <a:pt x="6244676" y="7841552"/>
                  </a:lnTo>
                  <a:lnTo>
                    <a:pt x="6279185" y="7858249"/>
                  </a:lnTo>
                  <a:lnTo>
                    <a:pt x="6345919" y="7846523"/>
                  </a:lnTo>
                  <a:lnTo>
                    <a:pt x="6335256" y="7772561"/>
                  </a:lnTo>
                  <a:lnTo>
                    <a:pt x="6387495" y="7761297"/>
                  </a:lnTo>
                  <a:lnTo>
                    <a:pt x="6427787" y="7783826"/>
                  </a:lnTo>
                  <a:lnTo>
                    <a:pt x="6466560" y="7786207"/>
                  </a:lnTo>
                  <a:lnTo>
                    <a:pt x="6508548" y="7800743"/>
                  </a:lnTo>
                  <a:lnTo>
                    <a:pt x="6529806" y="7812429"/>
                  </a:lnTo>
                  <a:lnTo>
                    <a:pt x="6596670" y="7879714"/>
                  </a:lnTo>
                  <a:lnTo>
                    <a:pt x="6560539" y="7893915"/>
                  </a:lnTo>
                  <a:lnTo>
                    <a:pt x="6580646" y="7934046"/>
                  </a:lnTo>
                  <a:lnTo>
                    <a:pt x="6590121" y="7953000"/>
                  </a:lnTo>
                  <a:lnTo>
                    <a:pt x="6617583" y="7962943"/>
                  </a:lnTo>
                  <a:lnTo>
                    <a:pt x="6673264" y="8013058"/>
                  </a:lnTo>
                  <a:lnTo>
                    <a:pt x="6670120" y="8082180"/>
                  </a:lnTo>
                  <a:lnTo>
                    <a:pt x="6743870" y="8085023"/>
                  </a:lnTo>
                  <a:lnTo>
                    <a:pt x="6789263" y="8086762"/>
                  </a:lnTo>
                  <a:lnTo>
                    <a:pt x="6810939" y="8022410"/>
                  </a:lnTo>
                  <a:lnTo>
                    <a:pt x="6867642" y="8033336"/>
                  </a:lnTo>
                  <a:lnTo>
                    <a:pt x="6897991" y="8036741"/>
                  </a:lnTo>
                  <a:lnTo>
                    <a:pt x="6964812" y="8121873"/>
                  </a:lnTo>
                  <a:lnTo>
                    <a:pt x="7006384" y="8102709"/>
                  </a:lnTo>
                  <a:lnTo>
                    <a:pt x="6994481" y="8015142"/>
                  </a:lnTo>
                  <a:lnTo>
                    <a:pt x="6919419" y="7995041"/>
                  </a:lnTo>
                  <a:lnTo>
                    <a:pt x="6976464" y="7909558"/>
                  </a:lnTo>
                  <a:lnTo>
                    <a:pt x="7005575" y="7873727"/>
                  </a:lnTo>
                  <a:lnTo>
                    <a:pt x="7057392" y="7867008"/>
                  </a:lnTo>
                  <a:lnTo>
                    <a:pt x="7137260" y="7903992"/>
                  </a:lnTo>
                  <a:lnTo>
                    <a:pt x="7165528" y="7879631"/>
                  </a:lnTo>
                  <a:lnTo>
                    <a:pt x="7153960" y="7812388"/>
                  </a:lnTo>
                  <a:lnTo>
                    <a:pt x="7080724" y="7817151"/>
                  </a:lnTo>
                  <a:lnTo>
                    <a:pt x="7056710" y="7778980"/>
                  </a:lnTo>
                  <a:lnTo>
                    <a:pt x="7048673" y="7745952"/>
                  </a:lnTo>
                  <a:lnTo>
                    <a:pt x="7080426" y="7650780"/>
                  </a:lnTo>
                  <a:lnTo>
                    <a:pt x="7104828" y="7681131"/>
                  </a:lnTo>
                  <a:lnTo>
                    <a:pt x="7146481" y="7651118"/>
                  </a:lnTo>
                  <a:lnTo>
                    <a:pt x="7184823" y="7623532"/>
                  </a:lnTo>
                  <a:lnTo>
                    <a:pt x="7151163" y="7579199"/>
                  </a:lnTo>
                  <a:lnTo>
                    <a:pt x="7225376" y="7561346"/>
                  </a:lnTo>
                  <a:lnTo>
                    <a:pt x="7250028" y="7543878"/>
                  </a:lnTo>
                  <a:lnTo>
                    <a:pt x="7240590" y="7492107"/>
                  </a:lnTo>
                  <a:lnTo>
                    <a:pt x="7275701" y="7485177"/>
                  </a:lnTo>
                  <a:lnTo>
                    <a:pt x="7299207" y="7485704"/>
                  </a:lnTo>
                  <a:lnTo>
                    <a:pt x="7326284" y="7500990"/>
                  </a:lnTo>
                  <a:lnTo>
                    <a:pt x="7342358" y="7517820"/>
                  </a:lnTo>
                  <a:lnTo>
                    <a:pt x="7377165" y="7554119"/>
                  </a:lnTo>
                  <a:lnTo>
                    <a:pt x="7379038" y="7616692"/>
                  </a:lnTo>
                  <a:lnTo>
                    <a:pt x="7398115" y="7660639"/>
                  </a:lnTo>
                  <a:lnTo>
                    <a:pt x="7423782" y="7662915"/>
                  </a:lnTo>
                  <a:lnTo>
                    <a:pt x="7456599" y="7640234"/>
                  </a:lnTo>
                  <a:lnTo>
                    <a:pt x="7483937" y="7612562"/>
                  </a:lnTo>
                  <a:lnTo>
                    <a:pt x="7497409" y="7574945"/>
                  </a:lnTo>
                  <a:lnTo>
                    <a:pt x="7493986" y="7533140"/>
                  </a:lnTo>
                  <a:lnTo>
                    <a:pt x="7490603" y="7500135"/>
                  </a:lnTo>
                  <a:lnTo>
                    <a:pt x="7491843" y="7458097"/>
                  </a:lnTo>
                  <a:lnTo>
                    <a:pt x="7483341" y="7419628"/>
                  </a:lnTo>
                  <a:lnTo>
                    <a:pt x="7469900" y="7398076"/>
                  </a:lnTo>
                  <a:lnTo>
                    <a:pt x="7463398" y="7377717"/>
                  </a:lnTo>
                  <a:lnTo>
                    <a:pt x="7454431" y="7349663"/>
                  </a:lnTo>
                  <a:lnTo>
                    <a:pt x="7448013" y="7320462"/>
                  </a:lnTo>
                  <a:lnTo>
                    <a:pt x="7440277" y="7292023"/>
                  </a:lnTo>
                  <a:lnTo>
                    <a:pt x="7430095" y="7254360"/>
                  </a:lnTo>
                  <a:lnTo>
                    <a:pt x="7424049" y="7215088"/>
                  </a:lnTo>
                  <a:lnTo>
                    <a:pt x="7429397" y="7179125"/>
                  </a:lnTo>
                  <a:lnTo>
                    <a:pt x="7437239" y="7142860"/>
                  </a:lnTo>
                  <a:lnTo>
                    <a:pt x="7456915" y="7112016"/>
                  </a:lnTo>
                  <a:lnTo>
                    <a:pt x="7490603" y="7087992"/>
                  </a:lnTo>
                  <a:lnTo>
                    <a:pt x="7530048" y="7089350"/>
                  </a:lnTo>
                  <a:lnTo>
                    <a:pt x="7553610" y="7104822"/>
                  </a:lnTo>
                  <a:lnTo>
                    <a:pt x="7576067" y="7143573"/>
                  </a:lnTo>
                  <a:lnTo>
                    <a:pt x="7598060" y="7154639"/>
                  </a:lnTo>
                  <a:lnTo>
                    <a:pt x="7621671" y="7152686"/>
                  </a:lnTo>
                  <a:lnTo>
                    <a:pt x="7729320" y="7205604"/>
                  </a:lnTo>
                  <a:lnTo>
                    <a:pt x="7750804" y="7187013"/>
                  </a:lnTo>
                  <a:lnTo>
                    <a:pt x="7761833" y="7158760"/>
                  </a:lnTo>
                  <a:lnTo>
                    <a:pt x="7773525" y="7131524"/>
                  </a:lnTo>
                  <a:lnTo>
                    <a:pt x="7785217" y="7104280"/>
                  </a:lnTo>
                  <a:lnTo>
                    <a:pt x="7797753" y="7078684"/>
                  </a:lnTo>
                  <a:lnTo>
                    <a:pt x="7846990" y="7065891"/>
                  </a:lnTo>
                  <a:lnTo>
                    <a:pt x="7872818" y="7056710"/>
                  </a:lnTo>
                  <a:lnTo>
                    <a:pt x="7891540" y="7038727"/>
                  </a:lnTo>
                  <a:lnTo>
                    <a:pt x="7914986" y="7014542"/>
                  </a:lnTo>
                  <a:lnTo>
                    <a:pt x="7945679" y="7013733"/>
                  </a:lnTo>
                  <a:lnTo>
                    <a:pt x="7968350" y="7019364"/>
                  </a:lnTo>
                  <a:lnTo>
                    <a:pt x="7990792" y="7050289"/>
                  </a:lnTo>
                  <a:lnTo>
                    <a:pt x="8018360" y="7082551"/>
                  </a:lnTo>
                  <a:lnTo>
                    <a:pt x="8032145" y="7098680"/>
                  </a:lnTo>
                  <a:lnTo>
                    <a:pt x="8047412" y="7114642"/>
                  </a:lnTo>
                  <a:lnTo>
                    <a:pt x="8064605" y="7128799"/>
                  </a:lnTo>
                  <a:lnTo>
                    <a:pt x="8081804" y="7142959"/>
                  </a:lnTo>
                  <a:lnTo>
                    <a:pt x="8100215" y="7155142"/>
                  </a:lnTo>
                  <a:lnTo>
                    <a:pt x="8121736" y="7161445"/>
                  </a:lnTo>
                  <a:lnTo>
                    <a:pt x="8149791" y="7169655"/>
                  </a:lnTo>
                  <a:lnTo>
                    <a:pt x="8172378" y="7169386"/>
                  </a:lnTo>
                  <a:lnTo>
                    <a:pt x="8209836" y="7161662"/>
                  </a:lnTo>
                  <a:lnTo>
                    <a:pt x="8237351" y="7143756"/>
                  </a:lnTo>
                  <a:lnTo>
                    <a:pt x="8262457" y="7124685"/>
                  </a:lnTo>
                  <a:lnTo>
                    <a:pt x="8277922" y="7100891"/>
                  </a:lnTo>
                  <a:lnTo>
                    <a:pt x="8318962" y="7104314"/>
                  </a:lnTo>
                  <a:lnTo>
                    <a:pt x="8333075" y="7120973"/>
                  </a:lnTo>
                  <a:lnTo>
                    <a:pt x="8343450" y="7144054"/>
                  </a:lnTo>
                  <a:lnTo>
                    <a:pt x="8359771" y="7157355"/>
                  </a:lnTo>
                  <a:lnTo>
                    <a:pt x="8377454" y="7171727"/>
                  </a:lnTo>
                  <a:lnTo>
                    <a:pt x="8398749" y="7177782"/>
                  </a:lnTo>
                  <a:lnTo>
                    <a:pt x="8422338" y="7180486"/>
                  </a:lnTo>
                  <a:lnTo>
                    <a:pt x="8445993" y="7183183"/>
                  </a:lnTo>
                  <a:lnTo>
                    <a:pt x="8471892" y="7182706"/>
                  </a:lnTo>
                  <a:lnTo>
                    <a:pt x="8497155" y="7183202"/>
                  </a:lnTo>
                  <a:lnTo>
                    <a:pt x="8522416" y="7183729"/>
                  </a:lnTo>
                  <a:lnTo>
                    <a:pt x="8546777" y="7186321"/>
                  </a:lnTo>
                  <a:lnTo>
                    <a:pt x="8569238" y="7194082"/>
                  </a:lnTo>
                  <a:lnTo>
                    <a:pt x="8591760" y="7201846"/>
                  </a:lnTo>
                  <a:lnTo>
                    <a:pt x="8612317" y="7214474"/>
                  </a:lnTo>
                  <a:lnTo>
                    <a:pt x="8627730" y="7238969"/>
                  </a:lnTo>
                  <a:lnTo>
                    <a:pt x="8658423" y="7287763"/>
                  </a:lnTo>
                  <a:lnTo>
                    <a:pt x="8658990" y="7353734"/>
                  </a:lnTo>
                  <a:lnTo>
                    <a:pt x="8683494" y="7406274"/>
                  </a:lnTo>
                  <a:lnTo>
                    <a:pt x="8697866" y="7437072"/>
                  </a:lnTo>
                  <a:lnTo>
                    <a:pt x="8722695" y="7462093"/>
                  </a:lnTo>
                  <a:lnTo>
                    <a:pt x="8747425" y="7486529"/>
                  </a:lnTo>
                  <a:lnTo>
                    <a:pt x="8772159" y="7510956"/>
                  </a:lnTo>
                  <a:lnTo>
                    <a:pt x="8796210" y="7535087"/>
                  </a:lnTo>
                  <a:lnTo>
                    <a:pt x="8811366" y="7565417"/>
                  </a:lnTo>
                  <a:lnTo>
                    <a:pt x="8826190" y="7607833"/>
                  </a:lnTo>
                  <a:lnTo>
                    <a:pt x="8848086" y="7625265"/>
                  </a:lnTo>
                  <a:lnTo>
                    <a:pt x="8882608" y="7618419"/>
                  </a:lnTo>
                  <a:lnTo>
                    <a:pt x="8888381" y="7596240"/>
                  </a:lnTo>
                  <a:lnTo>
                    <a:pt x="8894328" y="7573575"/>
                  </a:lnTo>
                  <a:lnTo>
                    <a:pt x="8900278" y="7550907"/>
                  </a:lnTo>
                  <a:lnTo>
                    <a:pt x="8906299" y="7528564"/>
                  </a:lnTo>
                  <a:lnTo>
                    <a:pt x="8926974" y="7517808"/>
                  </a:lnTo>
                  <a:lnTo>
                    <a:pt x="8959750" y="7519383"/>
                  </a:lnTo>
                  <a:lnTo>
                    <a:pt x="8978478" y="7546160"/>
                  </a:lnTo>
                  <a:lnTo>
                    <a:pt x="8989547" y="7585813"/>
                  </a:lnTo>
                  <a:lnTo>
                    <a:pt x="8995237" y="7605982"/>
                  </a:lnTo>
                  <a:lnTo>
                    <a:pt x="9001118" y="7626387"/>
                  </a:lnTo>
                  <a:lnTo>
                    <a:pt x="9018826" y="7656782"/>
                  </a:lnTo>
                  <a:lnTo>
                    <a:pt x="9050759" y="7664707"/>
                  </a:lnTo>
                  <a:lnTo>
                    <a:pt x="9070953" y="7656503"/>
                  </a:lnTo>
                  <a:lnTo>
                    <a:pt x="9101078" y="7653821"/>
                  </a:lnTo>
                  <a:lnTo>
                    <a:pt x="9124333" y="7680852"/>
                  </a:lnTo>
                  <a:lnTo>
                    <a:pt x="9143076" y="7706060"/>
                  </a:lnTo>
                  <a:lnTo>
                    <a:pt x="9164752" y="7711545"/>
                  </a:lnTo>
                  <a:lnTo>
                    <a:pt x="9190248" y="7698839"/>
                  </a:lnTo>
                  <a:lnTo>
                    <a:pt x="9203103" y="7676949"/>
                  </a:lnTo>
                  <a:lnTo>
                    <a:pt x="9202061" y="7649468"/>
                  </a:lnTo>
                  <a:lnTo>
                    <a:pt x="9187888" y="7622812"/>
                  </a:lnTo>
                  <a:lnTo>
                    <a:pt x="9174531" y="7595338"/>
                  </a:lnTo>
                  <a:lnTo>
                    <a:pt x="9170351" y="7556909"/>
                  </a:lnTo>
                  <a:lnTo>
                    <a:pt x="9173313" y="7519501"/>
                  </a:lnTo>
                  <a:lnTo>
                    <a:pt x="9165037" y="7481075"/>
                  </a:lnTo>
                  <a:lnTo>
                    <a:pt x="9152309" y="7453830"/>
                  </a:lnTo>
                  <a:lnTo>
                    <a:pt x="9113344" y="7441630"/>
                  </a:lnTo>
                  <a:lnTo>
                    <a:pt x="9092849" y="7436492"/>
                  </a:lnTo>
                  <a:lnTo>
                    <a:pt x="9069917" y="7433912"/>
                  </a:lnTo>
                  <a:lnTo>
                    <a:pt x="9050780" y="7418508"/>
                  </a:lnTo>
                  <a:lnTo>
                    <a:pt x="9021833" y="7395254"/>
                  </a:lnTo>
                  <a:lnTo>
                    <a:pt x="8997729" y="7351858"/>
                  </a:lnTo>
                  <a:lnTo>
                    <a:pt x="9023086" y="7334008"/>
                  </a:lnTo>
                  <a:lnTo>
                    <a:pt x="9053497" y="7350494"/>
                  </a:lnTo>
                  <a:lnTo>
                    <a:pt x="9083241" y="7366288"/>
                  </a:lnTo>
                  <a:lnTo>
                    <a:pt x="9119955" y="7347586"/>
                  </a:lnTo>
                  <a:lnTo>
                    <a:pt x="9128618" y="7325020"/>
                  </a:lnTo>
                  <a:lnTo>
                    <a:pt x="9136474" y="7301526"/>
                  </a:lnTo>
                  <a:lnTo>
                    <a:pt x="9144322" y="7278043"/>
                  </a:lnTo>
                  <a:lnTo>
                    <a:pt x="9150480" y="7253753"/>
                  </a:lnTo>
                  <a:lnTo>
                    <a:pt x="9169111" y="7234879"/>
                  </a:lnTo>
                  <a:lnTo>
                    <a:pt x="9206259" y="7245254"/>
                  </a:lnTo>
                  <a:lnTo>
                    <a:pt x="9223527" y="7271606"/>
                  </a:lnTo>
                  <a:lnTo>
                    <a:pt x="9245835" y="7297452"/>
                  </a:lnTo>
                  <a:lnTo>
                    <a:pt x="9263220" y="7334706"/>
                  </a:lnTo>
                  <a:lnTo>
                    <a:pt x="9266625" y="7355591"/>
                  </a:lnTo>
                  <a:lnTo>
                    <a:pt x="9264817" y="7397087"/>
                  </a:lnTo>
                  <a:lnTo>
                    <a:pt x="9260135" y="7417994"/>
                  </a:lnTo>
                  <a:lnTo>
                    <a:pt x="9244207" y="7476663"/>
                  </a:lnTo>
                  <a:lnTo>
                    <a:pt x="9230134" y="7512599"/>
                  </a:lnTo>
                  <a:lnTo>
                    <a:pt x="9239848" y="7540929"/>
                  </a:lnTo>
                  <a:lnTo>
                    <a:pt x="9269769" y="7550445"/>
                  </a:lnTo>
                  <a:lnTo>
                    <a:pt x="9295609" y="7515098"/>
                  </a:lnTo>
                  <a:lnTo>
                    <a:pt x="9322035" y="7503378"/>
                  </a:lnTo>
                  <a:lnTo>
                    <a:pt x="9345941" y="7485156"/>
                  </a:lnTo>
                  <a:lnTo>
                    <a:pt x="9369400" y="7464961"/>
                  </a:lnTo>
                  <a:lnTo>
                    <a:pt x="9390543" y="7434619"/>
                  </a:lnTo>
                  <a:lnTo>
                    <a:pt x="9399848" y="7415349"/>
                  </a:lnTo>
                  <a:lnTo>
                    <a:pt x="9408514" y="7387220"/>
                  </a:lnTo>
                  <a:lnTo>
                    <a:pt x="9418609" y="7353384"/>
                  </a:lnTo>
                  <a:lnTo>
                    <a:pt x="9405435" y="7324716"/>
                  </a:lnTo>
                  <a:lnTo>
                    <a:pt x="9377241" y="7317851"/>
                  </a:lnTo>
                  <a:lnTo>
                    <a:pt x="9347609" y="7307945"/>
                  </a:lnTo>
                  <a:lnTo>
                    <a:pt x="9337789" y="7289288"/>
                  </a:lnTo>
                  <a:lnTo>
                    <a:pt x="9309906" y="7236237"/>
                  </a:lnTo>
                  <a:lnTo>
                    <a:pt x="9274882" y="7214732"/>
                  </a:lnTo>
                  <a:lnTo>
                    <a:pt x="9248021" y="7166865"/>
                  </a:lnTo>
                  <a:lnTo>
                    <a:pt x="9234670" y="7129066"/>
                  </a:lnTo>
                  <a:lnTo>
                    <a:pt x="9233048" y="7101576"/>
                  </a:lnTo>
                  <a:lnTo>
                    <a:pt x="9231480" y="7074089"/>
                  </a:lnTo>
                  <a:lnTo>
                    <a:pt x="9233048" y="7042454"/>
                  </a:lnTo>
                  <a:lnTo>
                    <a:pt x="9235799" y="7010450"/>
                  </a:lnTo>
                  <a:lnTo>
                    <a:pt x="9240912" y="6946426"/>
                  </a:lnTo>
                  <a:lnTo>
                    <a:pt x="9251903" y="6880206"/>
                  </a:lnTo>
                  <a:lnTo>
                    <a:pt x="9257555" y="6844500"/>
                  </a:lnTo>
                  <a:lnTo>
                    <a:pt x="9278903" y="6833242"/>
                  </a:lnTo>
                  <a:lnTo>
                    <a:pt x="9310138" y="6842556"/>
                  </a:lnTo>
                  <a:lnTo>
                    <a:pt x="9361286" y="6869640"/>
                  </a:lnTo>
                  <a:lnTo>
                    <a:pt x="9390840" y="6895650"/>
                  </a:lnTo>
                  <a:lnTo>
                    <a:pt x="9416705" y="6926114"/>
                  </a:lnTo>
                  <a:lnTo>
                    <a:pt x="9442555" y="6956574"/>
                  </a:lnTo>
                  <a:lnTo>
                    <a:pt x="9464873" y="6990807"/>
                  </a:lnTo>
                  <a:lnTo>
                    <a:pt x="9488788" y="7026771"/>
                  </a:lnTo>
                  <a:lnTo>
                    <a:pt x="9504477" y="7059197"/>
                  </a:lnTo>
                  <a:lnTo>
                    <a:pt x="9544943" y="7103325"/>
                  </a:lnTo>
                  <a:lnTo>
                    <a:pt x="9564963" y="7122496"/>
                  </a:lnTo>
                  <a:lnTo>
                    <a:pt x="9585368" y="7164149"/>
                  </a:lnTo>
                  <a:lnTo>
                    <a:pt x="9610356" y="7214943"/>
                  </a:lnTo>
                  <a:lnTo>
                    <a:pt x="9637495" y="7372642"/>
                  </a:lnTo>
                  <a:lnTo>
                    <a:pt x="9657450" y="7398104"/>
                  </a:lnTo>
                  <a:lnTo>
                    <a:pt x="9673313" y="7418375"/>
                  </a:lnTo>
                  <a:lnTo>
                    <a:pt x="9726032" y="7441037"/>
                  </a:lnTo>
                  <a:lnTo>
                    <a:pt x="9749950" y="7455229"/>
                  </a:lnTo>
                  <a:lnTo>
                    <a:pt x="9762315" y="7482709"/>
                  </a:lnTo>
                  <a:lnTo>
                    <a:pt x="9761723" y="7566313"/>
                  </a:lnTo>
                  <a:lnTo>
                    <a:pt x="9763556" y="7645664"/>
                  </a:lnTo>
                  <a:lnTo>
                    <a:pt x="9764421" y="7685333"/>
                  </a:lnTo>
                  <a:lnTo>
                    <a:pt x="9765252" y="7724037"/>
                  </a:lnTo>
                  <a:lnTo>
                    <a:pt x="9768991" y="7754472"/>
                  </a:lnTo>
                  <a:lnTo>
                    <a:pt x="9772643" y="7784914"/>
                  </a:lnTo>
                  <a:lnTo>
                    <a:pt x="9779207" y="7806559"/>
                  </a:lnTo>
                  <a:lnTo>
                    <a:pt x="9809463" y="7813622"/>
                  </a:lnTo>
                  <a:lnTo>
                    <a:pt x="9832916" y="7781683"/>
                  </a:lnTo>
                  <a:lnTo>
                    <a:pt x="9842214" y="7761929"/>
                  </a:lnTo>
                  <a:lnTo>
                    <a:pt x="9846546" y="7734278"/>
                  </a:lnTo>
                  <a:lnTo>
                    <a:pt x="9849237" y="7705511"/>
                  </a:lnTo>
                  <a:lnTo>
                    <a:pt x="9854632" y="7647970"/>
                  </a:lnTo>
                  <a:lnTo>
                    <a:pt x="9850589" y="7584114"/>
                  </a:lnTo>
                  <a:lnTo>
                    <a:pt x="9854679" y="7558602"/>
                  </a:lnTo>
                  <a:lnTo>
                    <a:pt x="9858858" y="7532765"/>
                  </a:lnTo>
                  <a:lnTo>
                    <a:pt x="9884646" y="7444098"/>
                  </a:lnTo>
                  <a:lnTo>
                    <a:pt x="9857553" y="7402376"/>
                  </a:lnTo>
                  <a:lnTo>
                    <a:pt x="9836404" y="7394184"/>
                  </a:lnTo>
                  <a:lnTo>
                    <a:pt x="9815233" y="7388582"/>
                  </a:lnTo>
                  <a:lnTo>
                    <a:pt x="9794118" y="7382982"/>
                  </a:lnTo>
                  <a:lnTo>
                    <a:pt x="9773428" y="7379078"/>
                  </a:lnTo>
                  <a:lnTo>
                    <a:pt x="9756744" y="7362735"/>
                  </a:lnTo>
                  <a:lnTo>
                    <a:pt x="9745244" y="7338433"/>
                  </a:lnTo>
                  <a:lnTo>
                    <a:pt x="9751938" y="7302708"/>
                  </a:lnTo>
                  <a:lnTo>
                    <a:pt x="9760706" y="7282852"/>
                  </a:lnTo>
                  <a:lnTo>
                    <a:pt x="9771707" y="7263442"/>
                  </a:lnTo>
                  <a:lnTo>
                    <a:pt x="9793814" y="7224626"/>
                  </a:lnTo>
                  <a:lnTo>
                    <a:pt x="9826373" y="7189440"/>
                  </a:lnTo>
                  <a:lnTo>
                    <a:pt x="9849237" y="7187270"/>
                  </a:lnTo>
                  <a:lnTo>
                    <a:pt x="9884330" y="7215206"/>
                  </a:lnTo>
                  <a:lnTo>
                    <a:pt x="9900927" y="7238963"/>
                  </a:lnTo>
                  <a:lnTo>
                    <a:pt x="9917521" y="7262716"/>
                  </a:lnTo>
                  <a:lnTo>
                    <a:pt x="9933018" y="7288352"/>
                  </a:lnTo>
                  <a:lnTo>
                    <a:pt x="9948543" y="7302885"/>
                  </a:lnTo>
                  <a:lnTo>
                    <a:pt x="9974436" y="7327221"/>
                  </a:lnTo>
                  <a:lnTo>
                    <a:pt x="9995703" y="7328964"/>
                  </a:lnTo>
                  <a:lnTo>
                    <a:pt x="10034658" y="7325782"/>
                  </a:lnTo>
                  <a:lnTo>
                    <a:pt x="10070945" y="7334173"/>
                  </a:lnTo>
                  <a:lnTo>
                    <a:pt x="10091542" y="7348516"/>
                  </a:lnTo>
                  <a:lnTo>
                    <a:pt x="10100431" y="7368071"/>
                  </a:lnTo>
                  <a:lnTo>
                    <a:pt x="10109029" y="7388582"/>
                  </a:lnTo>
                  <a:lnTo>
                    <a:pt x="10117695" y="7409089"/>
                  </a:lnTo>
                  <a:lnTo>
                    <a:pt x="10126994" y="7429751"/>
                  </a:lnTo>
                  <a:lnTo>
                    <a:pt x="10145765" y="7444352"/>
                  </a:lnTo>
                  <a:lnTo>
                    <a:pt x="10176120" y="7467981"/>
                  </a:lnTo>
                  <a:lnTo>
                    <a:pt x="10227428" y="7467513"/>
                  </a:lnTo>
                  <a:lnTo>
                    <a:pt x="10261373" y="7487872"/>
                  </a:lnTo>
                  <a:lnTo>
                    <a:pt x="10291874" y="7506174"/>
                  </a:lnTo>
                  <a:lnTo>
                    <a:pt x="10315813" y="7542352"/>
                  </a:lnTo>
                  <a:lnTo>
                    <a:pt x="10347073" y="7565408"/>
                  </a:lnTo>
                  <a:lnTo>
                    <a:pt x="10380938" y="7584858"/>
                  </a:lnTo>
                  <a:lnTo>
                    <a:pt x="10422024" y="7586765"/>
                  </a:lnTo>
                  <a:lnTo>
                    <a:pt x="10445015" y="7581522"/>
                  </a:lnTo>
                  <a:lnTo>
                    <a:pt x="10473571" y="7564044"/>
                  </a:lnTo>
                  <a:lnTo>
                    <a:pt x="10492261" y="7552621"/>
                  </a:lnTo>
                  <a:lnTo>
                    <a:pt x="10506816" y="7536445"/>
                  </a:lnTo>
                  <a:lnTo>
                    <a:pt x="10517091" y="7517802"/>
                  </a:lnTo>
                  <a:lnTo>
                    <a:pt x="10527425" y="7499158"/>
                  </a:lnTo>
                  <a:lnTo>
                    <a:pt x="10533775" y="7476834"/>
                  </a:lnTo>
                  <a:lnTo>
                    <a:pt x="10540218" y="7455229"/>
                  </a:lnTo>
                  <a:lnTo>
                    <a:pt x="10553110" y="7412025"/>
                  </a:lnTo>
                  <a:lnTo>
                    <a:pt x="10562298" y="7367733"/>
                  </a:lnTo>
                  <a:lnTo>
                    <a:pt x="10586470" y="7338256"/>
                  </a:lnTo>
                  <a:lnTo>
                    <a:pt x="10613547" y="7331410"/>
                  </a:lnTo>
                  <a:lnTo>
                    <a:pt x="10645626" y="7348035"/>
                  </a:lnTo>
                  <a:lnTo>
                    <a:pt x="10734470" y="7496129"/>
                  </a:lnTo>
                  <a:lnTo>
                    <a:pt x="10737453" y="7521888"/>
                  </a:lnTo>
                  <a:lnTo>
                    <a:pt x="10740280" y="7547220"/>
                  </a:lnTo>
                  <a:lnTo>
                    <a:pt x="10722489" y="7579013"/>
                  </a:lnTo>
                  <a:lnTo>
                    <a:pt x="10710797" y="7622859"/>
                  </a:lnTo>
                  <a:lnTo>
                    <a:pt x="10716651" y="7653905"/>
                  </a:lnTo>
                  <a:lnTo>
                    <a:pt x="10717048" y="7687832"/>
                  </a:lnTo>
                  <a:lnTo>
                    <a:pt x="10716521" y="7721597"/>
                  </a:lnTo>
                  <a:lnTo>
                    <a:pt x="10711600" y="7742238"/>
                  </a:lnTo>
                  <a:lnTo>
                    <a:pt x="10706673" y="7762887"/>
                  </a:lnTo>
                  <a:lnTo>
                    <a:pt x="10697182" y="7787255"/>
                  </a:lnTo>
                  <a:lnTo>
                    <a:pt x="10681679" y="7815687"/>
                  </a:lnTo>
                  <a:lnTo>
                    <a:pt x="10659209" y="7849524"/>
                  </a:lnTo>
                  <a:lnTo>
                    <a:pt x="10635785" y="7864066"/>
                  </a:lnTo>
                  <a:lnTo>
                    <a:pt x="10610651" y="7862906"/>
                  </a:lnTo>
                  <a:lnTo>
                    <a:pt x="10594627" y="7845614"/>
                  </a:lnTo>
                  <a:lnTo>
                    <a:pt x="10581410" y="7810481"/>
                  </a:lnTo>
                  <a:lnTo>
                    <a:pt x="10580560" y="7769213"/>
                  </a:lnTo>
                  <a:lnTo>
                    <a:pt x="10582814" y="7748166"/>
                  </a:lnTo>
                  <a:lnTo>
                    <a:pt x="10581918" y="7714394"/>
                  </a:lnTo>
                  <a:lnTo>
                    <a:pt x="10575580" y="7693996"/>
                  </a:lnTo>
                  <a:lnTo>
                    <a:pt x="10555175" y="7670149"/>
                  </a:lnTo>
                  <a:lnTo>
                    <a:pt x="10514735" y="7702445"/>
                  </a:lnTo>
                  <a:lnTo>
                    <a:pt x="10498050" y="7736799"/>
                  </a:lnTo>
                  <a:lnTo>
                    <a:pt x="10481307" y="7771151"/>
                  </a:lnTo>
                  <a:lnTo>
                    <a:pt x="10468412" y="7808420"/>
                  </a:lnTo>
                  <a:lnTo>
                    <a:pt x="10443641" y="7833373"/>
                  </a:lnTo>
                  <a:lnTo>
                    <a:pt x="10421004" y="7814565"/>
                  </a:lnTo>
                  <a:lnTo>
                    <a:pt x="10421878" y="7792563"/>
                  </a:lnTo>
                  <a:lnTo>
                    <a:pt x="10430749" y="7769039"/>
                  </a:lnTo>
                  <a:lnTo>
                    <a:pt x="10442925" y="7745357"/>
                  </a:lnTo>
                  <a:lnTo>
                    <a:pt x="10453160" y="7720475"/>
                  </a:lnTo>
                  <a:lnTo>
                    <a:pt x="10456642" y="7692368"/>
                  </a:lnTo>
                  <a:lnTo>
                    <a:pt x="10438209" y="7666069"/>
                  </a:lnTo>
                  <a:lnTo>
                    <a:pt x="10415299" y="7666726"/>
                  </a:lnTo>
                  <a:lnTo>
                    <a:pt x="10390804" y="7683202"/>
                  </a:lnTo>
                  <a:lnTo>
                    <a:pt x="10373875" y="7709337"/>
                  </a:lnTo>
                  <a:lnTo>
                    <a:pt x="10366672" y="7731079"/>
                  </a:lnTo>
                  <a:lnTo>
                    <a:pt x="10335400" y="7761746"/>
                  </a:lnTo>
                  <a:lnTo>
                    <a:pt x="10304524" y="7770168"/>
                  </a:lnTo>
                  <a:lnTo>
                    <a:pt x="10287226" y="7791205"/>
                  </a:lnTo>
                  <a:lnTo>
                    <a:pt x="10267770" y="7823882"/>
                  </a:lnTo>
                  <a:lnTo>
                    <a:pt x="10262744" y="7844256"/>
                  </a:lnTo>
                  <a:lnTo>
                    <a:pt x="10257718" y="7864621"/>
                  </a:lnTo>
                  <a:lnTo>
                    <a:pt x="10255352" y="7886964"/>
                  </a:lnTo>
                  <a:lnTo>
                    <a:pt x="10255938" y="7909545"/>
                  </a:lnTo>
                  <a:lnTo>
                    <a:pt x="10257243" y="7954699"/>
                  </a:lnTo>
                  <a:lnTo>
                    <a:pt x="10269057" y="8000547"/>
                  </a:lnTo>
                  <a:lnTo>
                    <a:pt x="10287226" y="8030601"/>
                  </a:lnTo>
                  <a:lnTo>
                    <a:pt x="10308440" y="8038759"/>
                  </a:lnTo>
                  <a:lnTo>
                    <a:pt x="10356558" y="8098061"/>
                  </a:lnTo>
                  <a:lnTo>
                    <a:pt x="10363395" y="8120370"/>
                  </a:lnTo>
                  <a:lnTo>
                    <a:pt x="10351157" y="8148938"/>
                  </a:lnTo>
                  <a:lnTo>
                    <a:pt x="10325224" y="8156972"/>
                  </a:lnTo>
                  <a:lnTo>
                    <a:pt x="10291188" y="8131001"/>
                  </a:lnTo>
                  <a:lnTo>
                    <a:pt x="10271627" y="8098014"/>
                  </a:lnTo>
                  <a:lnTo>
                    <a:pt x="10238258" y="8086368"/>
                  </a:lnTo>
                  <a:lnTo>
                    <a:pt x="10204598" y="8101158"/>
                  </a:lnTo>
                  <a:lnTo>
                    <a:pt x="10193381" y="8135333"/>
                  </a:lnTo>
                  <a:lnTo>
                    <a:pt x="10179267" y="8161266"/>
                  </a:lnTo>
                  <a:lnTo>
                    <a:pt x="10152642" y="8176822"/>
                  </a:lnTo>
                  <a:lnTo>
                    <a:pt x="10138971" y="8204705"/>
                  </a:lnTo>
                  <a:lnTo>
                    <a:pt x="10129304" y="8224338"/>
                  </a:lnTo>
                  <a:lnTo>
                    <a:pt x="10126678" y="8249934"/>
                  </a:lnTo>
                  <a:lnTo>
                    <a:pt x="10132166" y="8271356"/>
                  </a:lnTo>
                  <a:lnTo>
                    <a:pt x="10137660" y="8292775"/>
                  </a:lnTo>
                  <a:lnTo>
                    <a:pt x="10150974" y="8310541"/>
                  </a:lnTo>
                  <a:lnTo>
                    <a:pt x="10175692" y="8316240"/>
                  </a:lnTo>
                  <a:lnTo>
                    <a:pt x="10207736" y="8323638"/>
                  </a:lnTo>
                  <a:lnTo>
                    <a:pt x="10238810" y="8315778"/>
                  </a:lnTo>
                  <a:lnTo>
                    <a:pt x="10269549" y="8309440"/>
                  </a:lnTo>
                  <a:lnTo>
                    <a:pt x="10300230" y="8303134"/>
                  </a:lnTo>
                  <a:lnTo>
                    <a:pt x="10331332" y="8297602"/>
                  </a:lnTo>
                  <a:lnTo>
                    <a:pt x="10363395" y="8310798"/>
                  </a:lnTo>
                  <a:lnTo>
                    <a:pt x="10378346" y="8327867"/>
                  </a:lnTo>
                  <a:lnTo>
                    <a:pt x="10381078" y="8366565"/>
                  </a:lnTo>
                  <a:lnTo>
                    <a:pt x="10371956" y="8406470"/>
                  </a:lnTo>
                  <a:lnTo>
                    <a:pt x="10364753" y="8426413"/>
                  </a:lnTo>
                  <a:lnTo>
                    <a:pt x="10357612" y="8446356"/>
                  </a:lnTo>
                  <a:lnTo>
                    <a:pt x="10350906" y="8466761"/>
                  </a:lnTo>
                  <a:lnTo>
                    <a:pt x="10346044" y="8503047"/>
                  </a:lnTo>
                  <a:lnTo>
                    <a:pt x="10360679" y="8533870"/>
                  </a:lnTo>
                  <a:lnTo>
                    <a:pt x="10381078" y="8540669"/>
                  </a:lnTo>
                  <a:lnTo>
                    <a:pt x="10404958" y="8535284"/>
                  </a:lnTo>
                  <a:lnTo>
                    <a:pt x="10430051" y="8509391"/>
                  </a:lnTo>
                  <a:lnTo>
                    <a:pt x="10444215" y="8476686"/>
                  </a:lnTo>
                  <a:lnTo>
                    <a:pt x="10453910" y="8441429"/>
                  </a:lnTo>
                  <a:lnTo>
                    <a:pt x="10468130" y="8410091"/>
                  </a:lnTo>
                  <a:lnTo>
                    <a:pt x="10490600" y="8383870"/>
                  </a:lnTo>
                  <a:lnTo>
                    <a:pt x="10513020" y="8378806"/>
                  </a:lnTo>
                  <a:lnTo>
                    <a:pt x="10559061" y="8392409"/>
                  </a:lnTo>
                  <a:lnTo>
                    <a:pt x="10588373" y="8402328"/>
                  </a:lnTo>
                  <a:lnTo>
                    <a:pt x="10617761" y="8404650"/>
                  </a:lnTo>
                  <a:lnTo>
                    <a:pt x="10647089" y="8406978"/>
                  </a:lnTo>
                  <a:lnTo>
                    <a:pt x="10676765" y="8402011"/>
                  </a:lnTo>
                  <a:lnTo>
                    <a:pt x="10723854" y="8388328"/>
                  </a:lnTo>
                  <a:lnTo>
                    <a:pt x="10744720" y="8365570"/>
                  </a:lnTo>
                  <a:lnTo>
                    <a:pt x="10759247" y="8340015"/>
                  </a:lnTo>
                  <a:lnTo>
                    <a:pt x="10770105" y="8313514"/>
                  </a:lnTo>
                  <a:lnTo>
                    <a:pt x="10780914" y="8287023"/>
                  </a:lnTo>
                  <a:lnTo>
                    <a:pt x="10788036" y="8260110"/>
                  </a:lnTo>
                  <a:lnTo>
                    <a:pt x="10794584" y="8231910"/>
                  </a:lnTo>
                  <a:lnTo>
                    <a:pt x="10807799" y="8175504"/>
                  </a:lnTo>
                  <a:lnTo>
                    <a:pt x="10818248" y="8117052"/>
                  </a:lnTo>
                  <a:lnTo>
                    <a:pt x="10848993" y="8065964"/>
                  </a:lnTo>
                  <a:lnTo>
                    <a:pt x="10866443" y="8037057"/>
                  </a:lnTo>
                  <a:lnTo>
                    <a:pt x="10889887" y="8009558"/>
                  </a:lnTo>
                  <a:lnTo>
                    <a:pt x="10908841" y="7980270"/>
                  </a:lnTo>
                  <a:lnTo>
                    <a:pt x="10927854" y="7950988"/>
                  </a:lnTo>
                  <a:lnTo>
                    <a:pt x="10942442" y="7919569"/>
                  </a:lnTo>
                  <a:lnTo>
                    <a:pt x="10941487" y="7883699"/>
                  </a:lnTo>
                  <a:lnTo>
                    <a:pt x="10940891" y="7860999"/>
                  </a:lnTo>
                  <a:lnTo>
                    <a:pt x="10933242" y="7793797"/>
                  </a:lnTo>
                  <a:lnTo>
                    <a:pt x="10923804" y="7774884"/>
                  </a:lnTo>
                  <a:lnTo>
                    <a:pt x="10907560" y="7745977"/>
                  </a:lnTo>
                  <a:lnTo>
                    <a:pt x="10896721" y="7700901"/>
                  </a:lnTo>
                  <a:lnTo>
                    <a:pt x="10891257" y="7649211"/>
                  </a:lnTo>
                  <a:lnTo>
                    <a:pt x="10889800" y="7598054"/>
                  </a:lnTo>
                  <a:lnTo>
                    <a:pt x="10888278" y="7546898"/>
                  </a:lnTo>
                  <a:lnTo>
                    <a:pt x="10890395" y="7495512"/>
                  </a:lnTo>
                  <a:lnTo>
                    <a:pt x="10897958" y="7468834"/>
                  </a:lnTo>
                  <a:lnTo>
                    <a:pt x="10919625" y="7444684"/>
                  </a:lnTo>
                  <a:lnTo>
                    <a:pt x="10937245" y="7429726"/>
                  </a:lnTo>
                  <a:lnTo>
                    <a:pt x="10957808" y="7417150"/>
                  </a:lnTo>
                  <a:lnTo>
                    <a:pt x="10978424" y="7404571"/>
                  </a:lnTo>
                  <a:lnTo>
                    <a:pt x="11001750" y="7394119"/>
                  </a:lnTo>
                  <a:lnTo>
                    <a:pt x="11025820" y="7387220"/>
                  </a:lnTo>
                  <a:lnTo>
                    <a:pt x="11049834" y="7380325"/>
                  </a:lnTo>
                  <a:lnTo>
                    <a:pt x="11075389" y="7376663"/>
                  </a:lnTo>
                  <a:lnTo>
                    <a:pt x="11099269" y="7376341"/>
                  </a:lnTo>
                  <a:lnTo>
                    <a:pt x="11123194" y="7376012"/>
                  </a:lnTo>
                  <a:lnTo>
                    <a:pt x="11145722" y="7378700"/>
                  </a:lnTo>
                  <a:lnTo>
                    <a:pt x="11165923" y="7385862"/>
                  </a:lnTo>
                  <a:lnTo>
                    <a:pt x="11197031" y="7406605"/>
                  </a:lnTo>
                  <a:lnTo>
                    <a:pt x="11222704" y="7424542"/>
                  </a:lnTo>
                  <a:lnTo>
                    <a:pt x="11246169" y="7433472"/>
                  </a:lnTo>
                  <a:lnTo>
                    <a:pt x="11293351" y="7461737"/>
                  </a:lnTo>
                  <a:lnTo>
                    <a:pt x="11328263" y="7496209"/>
                  </a:lnTo>
                  <a:lnTo>
                    <a:pt x="11365867" y="7535487"/>
                  </a:lnTo>
                  <a:lnTo>
                    <a:pt x="11393664" y="7564472"/>
                  </a:lnTo>
                  <a:lnTo>
                    <a:pt x="11427714" y="7582371"/>
                  </a:lnTo>
                  <a:lnTo>
                    <a:pt x="11446120" y="7619817"/>
                  </a:lnTo>
                  <a:lnTo>
                    <a:pt x="11460615" y="7649316"/>
                  </a:lnTo>
                  <a:lnTo>
                    <a:pt x="11486759" y="7819637"/>
                  </a:lnTo>
                  <a:lnTo>
                    <a:pt x="11486929" y="7856494"/>
                  </a:lnTo>
                  <a:lnTo>
                    <a:pt x="11467033" y="7878257"/>
                  </a:lnTo>
                  <a:lnTo>
                    <a:pt x="11432765" y="7878245"/>
                  </a:lnTo>
                  <a:lnTo>
                    <a:pt x="11401235" y="7859213"/>
                  </a:lnTo>
                  <a:lnTo>
                    <a:pt x="11374930" y="7832477"/>
                  </a:lnTo>
                  <a:lnTo>
                    <a:pt x="11354088" y="7801620"/>
                  </a:lnTo>
                  <a:lnTo>
                    <a:pt x="11334588" y="7773519"/>
                  </a:lnTo>
                  <a:lnTo>
                    <a:pt x="11314828" y="7752671"/>
                  </a:lnTo>
                  <a:lnTo>
                    <a:pt x="11284638" y="7747357"/>
                  </a:lnTo>
                  <a:lnTo>
                    <a:pt x="11251248" y="7761133"/>
                  </a:lnTo>
                  <a:lnTo>
                    <a:pt x="11217606" y="7777600"/>
                  </a:lnTo>
                  <a:lnTo>
                    <a:pt x="11183968" y="7794067"/>
                  </a:lnTo>
                  <a:lnTo>
                    <a:pt x="11150321" y="7812205"/>
                  </a:lnTo>
                  <a:lnTo>
                    <a:pt x="11114785" y="7818450"/>
                  </a:lnTo>
                  <a:lnTo>
                    <a:pt x="11089667" y="7819082"/>
                  </a:lnTo>
                  <a:lnTo>
                    <a:pt x="11055697" y="7825250"/>
                  </a:lnTo>
                  <a:lnTo>
                    <a:pt x="11045784" y="7844585"/>
                  </a:lnTo>
                  <a:lnTo>
                    <a:pt x="11045673" y="7872599"/>
                  </a:lnTo>
                  <a:lnTo>
                    <a:pt x="11057101" y="7893214"/>
                  </a:lnTo>
                  <a:lnTo>
                    <a:pt x="11080821" y="7903927"/>
                  </a:lnTo>
                  <a:lnTo>
                    <a:pt x="11107644" y="7913402"/>
                  </a:lnTo>
                  <a:lnTo>
                    <a:pt x="11130554" y="7924502"/>
                  </a:lnTo>
                  <a:lnTo>
                    <a:pt x="11155616" y="7942966"/>
                  </a:lnTo>
                  <a:lnTo>
                    <a:pt x="11168012" y="7968602"/>
                  </a:lnTo>
                  <a:lnTo>
                    <a:pt x="11171358" y="7997949"/>
                  </a:lnTo>
                  <a:lnTo>
                    <a:pt x="11173711" y="8027572"/>
                  </a:lnTo>
                  <a:lnTo>
                    <a:pt x="11169755" y="8057865"/>
                  </a:lnTo>
                  <a:lnTo>
                    <a:pt x="11180592" y="8085001"/>
                  </a:lnTo>
                  <a:lnTo>
                    <a:pt x="11238659" y="8162959"/>
                  </a:lnTo>
                  <a:lnTo>
                    <a:pt x="11264531" y="8184722"/>
                  </a:lnTo>
                  <a:lnTo>
                    <a:pt x="11289438" y="8192415"/>
                  </a:lnTo>
                  <a:lnTo>
                    <a:pt x="11308742" y="8207425"/>
                  </a:lnTo>
                  <a:lnTo>
                    <a:pt x="11331816" y="8258383"/>
                  </a:lnTo>
                  <a:lnTo>
                    <a:pt x="11359061" y="8271346"/>
                  </a:lnTo>
                  <a:lnTo>
                    <a:pt x="11387922" y="8252268"/>
                  </a:lnTo>
                  <a:lnTo>
                    <a:pt x="11400938" y="8225138"/>
                  </a:lnTo>
                  <a:lnTo>
                    <a:pt x="11405313" y="8193819"/>
                  </a:lnTo>
                  <a:lnTo>
                    <a:pt x="11407139" y="8163396"/>
                  </a:lnTo>
                  <a:lnTo>
                    <a:pt x="11414366" y="8137187"/>
                  </a:lnTo>
                  <a:lnTo>
                    <a:pt x="11432514" y="8120370"/>
                  </a:lnTo>
                  <a:lnTo>
                    <a:pt x="11463458" y="8129333"/>
                  </a:lnTo>
                  <a:lnTo>
                    <a:pt x="11480117" y="8161173"/>
                  </a:lnTo>
                  <a:lnTo>
                    <a:pt x="11493723" y="8196554"/>
                  </a:lnTo>
                  <a:lnTo>
                    <a:pt x="11529730" y="8268525"/>
                  </a:lnTo>
                  <a:lnTo>
                    <a:pt x="11544517" y="8315737"/>
                  </a:lnTo>
                  <a:lnTo>
                    <a:pt x="11552212" y="8365201"/>
                  </a:lnTo>
                  <a:lnTo>
                    <a:pt x="11559908" y="8414668"/>
                  </a:lnTo>
                  <a:lnTo>
                    <a:pt x="11561458" y="8465322"/>
                  </a:lnTo>
                  <a:lnTo>
                    <a:pt x="11563095" y="8529783"/>
                  </a:lnTo>
                  <a:lnTo>
                    <a:pt x="11564354" y="8577219"/>
                  </a:lnTo>
                  <a:lnTo>
                    <a:pt x="11558255" y="8633969"/>
                  </a:lnTo>
                  <a:lnTo>
                    <a:pt x="11572611" y="8679408"/>
                  </a:lnTo>
                  <a:lnTo>
                    <a:pt x="11589633" y="8713192"/>
                  </a:lnTo>
                  <a:lnTo>
                    <a:pt x="11615399" y="8738115"/>
                  </a:lnTo>
                  <a:lnTo>
                    <a:pt x="11643342" y="8759661"/>
                  </a:lnTo>
                  <a:lnTo>
                    <a:pt x="11668311" y="8780171"/>
                  </a:lnTo>
                  <a:lnTo>
                    <a:pt x="11680946" y="8807159"/>
                  </a:lnTo>
                  <a:lnTo>
                    <a:pt x="11674627" y="8845355"/>
                  </a:lnTo>
                  <a:lnTo>
                    <a:pt x="11646969" y="8855202"/>
                  </a:lnTo>
                  <a:lnTo>
                    <a:pt x="11626127" y="8876305"/>
                  </a:lnTo>
                  <a:lnTo>
                    <a:pt x="11614779" y="8903838"/>
                  </a:lnTo>
                  <a:lnTo>
                    <a:pt x="11617477" y="8945187"/>
                  </a:lnTo>
                  <a:lnTo>
                    <a:pt x="11625668" y="8970485"/>
                  </a:lnTo>
                  <a:lnTo>
                    <a:pt x="11633826" y="8995792"/>
                  </a:lnTo>
                  <a:lnTo>
                    <a:pt x="11643236" y="9022225"/>
                  </a:lnTo>
                  <a:lnTo>
                    <a:pt x="11639264" y="9048021"/>
                  </a:lnTo>
                  <a:lnTo>
                    <a:pt x="11634914" y="9076203"/>
                  </a:lnTo>
                  <a:lnTo>
                    <a:pt x="11604485" y="9130742"/>
                  </a:lnTo>
                  <a:lnTo>
                    <a:pt x="11583491" y="9184044"/>
                  </a:lnTo>
                  <a:lnTo>
                    <a:pt x="11573061" y="9210694"/>
                  </a:lnTo>
                  <a:lnTo>
                    <a:pt x="11564736" y="9237520"/>
                  </a:lnTo>
                  <a:lnTo>
                    <a:pt x="11563095" y="9260213"/>
                  </a:lnTo>
                  <a:lnTo>
                    <a:pt x="11561440" y="9282900"/>
                  </a:lnTo>
                  <a:lnTo>
                    <a:pt x="11582133" y="9313258"/>
                  </a:lnTo>
                  <a:lnTo>
                    <a:pt x="11609706" y="9325391"/>
                  </a:lnTo>
                  <a:lnTo>
                    <a:pt x="11638843" y="9317450"/>
                  </a:lnTo>
                  <a:lnTo>
                    <a:pt x="11667836" y="9295575"/>
                  </a:lnTo>
                  <a:lnTo>
                    <a:pt x="11694728" y="9271354"/>
                  </a:lnTo>
                  <a:lnTo>
                    <a:pt x="11716658" y="9237111"/>
                  </a:lnTo>
                  <a:lnTo>
                    <a:pt x="11724958" y="9215329"/>
                  </a:lnTo>
                  <a:lnTo>
                    <a:pt x="11734781" y="9189867"/>
                  </a:lnTo>
                  <a:lnTo>
                    <a:pt x="11738790" y="9154545"/>
                  </a:lnTo>
                  <a:lnTo>
                    <a:pt x="11752163" y="9130993"/>
                  </a:lnTo>
                  <a:lnTo>
                    <a:pt x="11771765" y="9114796"/>
                  </a:lnTo>
                  <a:lnTo>
                    <a:pt x="11805115" y="9107404"/>
                  </a:lnTo>
                  <a:lnTo>
                    <a:pt x="11833776" y="9133715"/>
                  </a:lnTo>
                  <a:lnTo>
                    <a:pt x="11867706" y="9155534"/>
                  </a:lnTo>
                  <a:lnTo>
                    <a:pt x="11890737" y="9182044"/>
                  </a:lnTo>
                  <a:lnTo>
                    <a:pt x="11907229" y="9212607"/>
                  </a:lnTo>
                  <a:lnTo>
                    <a:pt x="11923666" y="9243166"/>
                  </a:lnTo>
                  <a:lnTo>
                    <a:pt x="11933727" y="9276755"/>
                  </a:lnTo>
                  <a:lnTo>
                    <a:pt x="11941227" y="9311897"/>
                  </a:lnTo>
                  <a:lnTo>
                    <a:pt x="11956237" y="9382193"/>
                  </a:lnTo>
                  <a:lnTo>
                    <a:pt x="11961880" y="9457677"/>
                  </a:lnTo>
                  <a:lnTo>
                    <a:pt x="11991553" y="9521372"/>
                  </a:lnTo>
                  <a:lnTo>
                    <a:pt x="12014832" y="9571248"/>
                  </a:lnTo>
                  <a:lnTo>
                    <a:pt x="12045174" y="9615990"/>
                  </a:lnTo>
                  <a:lnTo>
                    <a:pt x="12074528" y="9661475"/>
                  </a:lnTo>
                  <a:lnTo>
                    <a:pt x="12158857" y="9624746"/>
                  </a:lnTo>
                  <a:lnTo>
                    <a:pt x="12148681" y="9594205"/>
                  </a:lnTo>
                  <a:lnTo>
                    <a:pt x="12138257" y="9563764"/>
                  </a:lnTo>
                  <a:lnTo>
                    <a:pt x="12124863" y="9534972"/>
                  </a:lnTo>
                  <a:lnTo>
                    <a:pt x="12103304" y="9488813"/>
                  </a:lnTo>
                  <a:lnTo>
                    <a:pt x="12075129" y="9447833"/>
                  </a:lnTo>
                  <a:lnTo>
                    <a:pt x="12055484" y="9400316"/>
                  </a:lnTo>
                  <a:lnTo>
                    <a:pt x="12035218" y="9351091"/>
                  </a:lnTo>
                  <a:lnTo>
                    <a:pt x="12025049" y="9300251"/>
                  </a:lnTo>
                  <a:lnTo>
                    <a:pt x="12007874" y="9250691"/>
                  </a:lnTo>
                  <a:lnTo>
                    <a:pt x="11926270" y="8982391"/>
                  </a:lnTo>
                  <a:lnTo>
                    <a:pt x="11909939" y="8951447"/>
                  </a:lnTo>
                  <a:lnTo>
                    <a:pt x="11897035" y="8926748"/>
                  </a:lnTo>
                  <a:lnTo>
                    <a:pt x="11879380" y="8905243"/>
                  </a:lnTo>
                  <a:lnTo>
                    <a:pt x="11862339" y="8884800"/>
                  </a:lnTo>
                  <a:lnTo>
                    <a:pt x="11841209" y="8859422"/>
                  </a:lnTo>
                  <a:lnTo>
                    <a:pt x="11791444" y="8749116"/>
                  </a:lnTo>
                  <a:lnTo>
                    <a:pt x="11783445" y="8716135"/>
                  </a:lnTo>
                  <a:lnTo>
                    <a:pt x="11756839" y="8606210"/>
                  </a:lnTo>
                  <a:lnTo>
                    <a:pt x="11753735" y="8491274"/>
                  </a:lnTo>
                  <a:lnTo>
                    <a:pt x="11731758" y="8378806"/>
                  </a:lnTo>
                  <a:lnTo>
                    <a:pt x="11717554" y="8337699"/>
                  </a:lnTo>
                  <a:lnTo>
                    <a:pt x="11711362" y="8314875"/>
                  </a:lnTo>
                  <a:lnTo>
                    <a:pt x="11653921" y="8154374"/>
                  </a:lnTo>
                  <a:lnTo>
                    <a:pt x="11615551" y="8016990"/>
                  </a:lnTo>
                  <a:lnTo>
                    <a:pt x="11618180" y="7844544"/>
                  </a:lnTo>
                  <a:lnTo>
                    <a:pt x="11614779" y="7717746"/>
                  </a:lnTo>
                  <a:lnTo>
                    <a:pt x="11619086" y="7688715"/>
                  </a:lnTo>
                  <a:lnTo>
                    <a:pt x="11608507" y="7589931"/>
                  </a:lnTo>
                  <a:lnTo>
                    <a:pt x="11565291" y="7513718"/>
                  </a:lnTo>
                  <a:lnTo>
                    <a:pt x="11563074" y="7429382"/>
                  </a:lnTo>
                  <a:lnTo>
                    <a:pt x="11561933" y="7383264"/>
                  </a:lnTo>
                  <a:lnTo>
                    <a:pt x="11572986" y="7353554"/>
                  </a:lnTo>
                  <a:lnTo>
                    <a:pt x="11594355" y="7313768"/>
                  </a:lnTo>
                  <a:lnTo>
                    <a:pt x="11649614" y="7211454"/>
                  </a:lnTo>
                  <a:lnTo>
                    <a:pt x="11772543" y="7230883"/>
                  </a:lnTo>
                  <a:lnTo>
                    <a:pt x="11818791" y="7141022"/>
                  </a:lnTo>
                  <a:lnTo>
                    <a:pt x="11837324" y="7105058"/>
                  </a:lnTo>
                  <a:lnTo>
                    <a:pt x="11832729" y="6976188"/>
                  </a:lnTo>
                  <a:lnTo>
                    <a:pt x="11878633" y="6972356"/>
                  </a:lnTo>
                  <a:lnTo>
                    <a:pt x="11944933" y="7023320"/>
                  </a:lnTo>
                  <a:lnTo>
                    <a:pt x="11914854" y="7099405"/>
                  </a:lnTo>
                  <a:lnTo>
                    <a:pt x="11950731" y="7121981"/>
                  </a:lnTo>
                  <a:lnTo>
                    <a:pt x="12022001" y="7144634"/>
                  </a:lnTo>
                  <a:lnTo>
                    <a:pt x="12065334" y="7082365"/>
                  </a:lnTo>
                  <a:lnTo>
                    <a:pt x="12127551" y="7064849"/>
                  </a:lnTo>
                  <a:lnTo>
                    <a:pt x="12265704" y="7025999"/>
                  </a:lnTo>
                  <a:lnTo>
                    <a:pt x="12318488" y="7018099"/>
                  </a:lnTo>
                  <a:lnTo>
                    <a:pt x="12362873" y="6994119"/>
                  </a:lnTo>
                  <a:lnTo>
                    <a:pt x="12406867" y="6970278"/>
                  </a:lnTo>
                  <a:lnTo>
                    <a:pt x="12441383" y="6931084"/>
                  </a:lnTo>
                  <a:lnTo>
                    <a:pt x="12543783" y="6830895"/>
                  </a:lnTo>
                  <a:lnTo>
                    <a:pt x="12567062" y="6808102"/>
                  </a:lnTo>
                  <a:lnTo>
                    <a:pt x="12590645" y="6791319"/>
                  </a:lnTo>
                  <a:lnTo>
                    <a:pt x="12613149" y="6772411"/>
                  </a:lnTo>
                  <a:lnTo>
                    <a:pt x="12574429" y="6770064"/>
                  </a:lnTo>
                  <a:lnTo>
                    <a:pt x="12537340" y="6767677"/>
                  </a:lnTo>
                  <a:lnTo>
                    <a:pt x="12490719" y="6765693"/>
                  </a:lnTo>
                  <a:lnTo>
                    <a:pt x="12462578" y="6764055"/>
                  </a:lnTo>
                  <a:lnTo>
                    <a:pt x="12442294" y="6753299"/>
                  </a:lnTo>
                  <a:lnTo>
                    <a:pt x="12436320" y="6726163"/>
                  </a:lnTo>
                  <a:lnTo>
                    <a:pt x="12434189" y="6696999"/>
                  </a:lnTo>
                  <a:lnTo>
                    <a:pt x="12438760" y="6644872"/>
                  </a:lnTo>
                  <a:lnTo>
                    <a:pt x="12431926" y="6605039"/>
                  </a:lnTo>
                  <a:lnTo>
                    <a:pt x="12424085" y="6567019"/>
                  </a:lnTo>
                  <a:lnTo>
                    <a:pt x="12416225" y="6529000"/>
                  </a:lnTo>
                  <a:lnTo>
                    <a:pt x="12407382" y="6492103"/>
                  </a:lnTo>
                  <a:lnTo>
                    <a:pt x="12407763" y="6452763"/>
                  </a:lnTo>
                  <a:lnTo>
                    <a:pt x="12408231" y="6408176"/>
                  </a:lnTo>
                  <a:lnTo>
                    <a:pt x="12438971" y="6369878"/>
                  </a:lnTo>
                  <a:lnTo>
                    <a:pt x="12443125" y="6326268"/>
                  </a:lnTo>
                  <a:lnTo>
                    <a:pt x="12447221" y="6283505"/>
                  </a:lnTo>
                  <a:lnTo>
                    <a:pt x="12410479" y="6190841"/>
                  </a:lnTo>
                  <a:lnTo>
                    <a:pt x="12398241" y="6145355"/>
                  </a:lnTo>
                  <a:lnTo>
                    <a:pt x="12394679" y="6107699"/>
                  </a:lnTo>
                  <a:lnTo>
                    <a:pt x="12385836" y="6058281"/>
                  </a:lnTo>
                  <a:lnTo>
                    <a:pt x="12380745" y="6016141"/>
                  </a:lnTo>
                  <a:lnTo>
                    <a:pt x="12373759" y="5973973"/>
                  </a:lnTo>
                  <a:lnTo>
                    <a:pt x="12366777" y="5931805"/>
                  </a:lnTo>
                  <a:lnTo>
                    <a:pt x="12356600" y="5889024"/>
                  </a:lnTo>
                  <a:lnTo>
                    <a:pt x="12342480" y="5858359"/>
                  </a:lnTo>
                  <a:lnTo>
                    <a:pt x="12212442" y="5851857"/>
                  </a:lnTo>
                  <a:lnTo>
                    <a:pt x="12190139" y="5851553"/>
                  </a:lnTo>
                  <a:lnTo>
                    <a:pt x="12162380" y="5840698"/>
                  </a:lnTo>
                  <a:lnTo>
                    <a:pt x="12141705" y="5816163"/>
                  </a:lnTo>
                  <a:lnTo>
                    <a:pt x="12119402" y="5797144"/>
                  </a:lnTo>
                  <a:lnTo>
                    <a:pt x="12085491" y="5791181"/>
                  </a:lnTo>
                  <a:lnTo>
                    <a:pt x="12055378" y="5786791"/>
                  </a:lnTo>
                  <a:lnTo>
                    <a:pt x="12022825" y="5768581"/>
                  </a:lnTo>
                  <a:lnTo>
                    <a:pt x="11997791" y="5748862"/>
                  </a:lnTo>
                  <a:lnTo>
                    <a:pt x="11981259" y="5700858"/>
                  </a:lnTo>
                  <a:lnTo>
                    <a:pt x="11958894" y="5689693"/>
                  </a:lnTo>
                  <a:lnTo>
                    <a:pt x="11936570" y="5678540"/>
                  </a:lnTo>
                  <a:lnTo>
                    <a:pt x="11891779" y="5686515"/>
                  </a:lnTo>
                  <a:lnTo>
                    <a:pt x="11844638" y="5695135"/>
                  </a:lnTo>
                  <a:lnTo>
                    <a:pt x="11797509" y="5703742"/>
                  </a:lnTo>
                  <a:lnTo>
                    <a:pt x="11748293" y="5713493"/>
                  </a:lnTo>
                  <a:lnTo>
                    <a:pt x="11716788" y="5701934"/>
                  </a:lnTo>
                  <a:lnTo>
                    <a:pt x="11709269" y="5667958"/>
                  </a:lnTo>
                  <a:lnTo>
                    <a:pt x="11708618" y="5643445"/>
                  </a:lnTo>
                  <a:lnTo>
                    <a:pt x="11707958" y="5618938"/>
                  </a:lnTo>
                  <a:lnTo>
                    <a:pt x="11709080" y="5594524"/>
                  </a:lnTo>
                  <a:lnTo>
                    <a:pt x="11729498" y="5579024"/>
                  </a:lnTo>
                  <a:lnTo>
                    <a:pt x="11754873" y="5550951"/>
                  </a:lnTo>
                  <a:lnTo>
                    <a:pt x="11772580" y="5516987"/>
                  </a:lnTo>
                  <a:lnTo>
                    <a:pt x="11765756" y="5484301"/>
                  </a:lnTo>
                  <a:lnTo>
                    <a:pt x="11697320" y="5464457"/>
                  </a:lnTo>
                  <a:lnTo>
                    <a:pt x="11639258" y="5459816"/>
                  </a:lnTo>
                  <a:lnTo>
                    <a:pt x="11581190" y="5455171"/>
                  </a:lnTo>
                  <a:lnTo>
                    <a:pt x="11522068" y="5454058"/>
                  </a:lnTo>
                  <a:lnTo>
                    <a:pt x="11488526" y="5457059"/>
                  </a:lnTo>
                  <a:lnTo>
                    <a:pt x="11448833" y="5466621"/>
                  </a:lnTo>
                  <a:lnTo>
                    <a:pt x="11409210" y="5469998"/>
                  </a:lnTo>
                  <a:lnTo>
                    <a:pt x="11377851" y="5426029"/>
                  </a:lnTo>
                  <a:lnTo>
                    <a:pt x="11376266" y="5391941"/>
                  </a:lnTo>
                  <a:lnTo>
                    <a:pt x="11360413" y="5360529"/>
                  </a:lnTo>
                  <a:lnTo>
                    <a:pt x="11349880" y="5339615"/>
                  </a:lnTo>
                  <a:lnTo>
                    <a:pt x="11329134" y="5300681"/>
                  </a:lnTo>
                  <a:lnTo>
                    <a:pt x="11309474" y="5275284"/>
                  </a:lnTo>
                  <a:lnTo>
                    <a:pt x="11295124" y="5258513"/>
                  </a:lnTo>
                  <a:lnTo>
                    <a:pt x="11280787" y="5241742"/>
                  </a:lnTo>
                  <a:lnTo>
                    <a:pt x="11265374" y="5217471"/>
                  </a:lnTo>
                  <a:lnTo>
                    <a:pt x="11250240" y="5172819"/>
                  </a:lnTo>
                  <a:lnTo>
                    <a:pt x="11245623" y="5143621"/>
                  </a:lnTo>
                  <a:lnTo>
                    <a:pt x="11254857" y="5117685"/>
                  </a:lnTo>
                  <a:lnTo>
                    <a:pt x="11273361" y="5093931"/>
                  </a:lnTo>
                  <a:lnTo>
                    <a:pt x="11292386" y="5070770"/>
                  </a:lnTo>
                  <a:lnTo>
                    <a:pt x="11316472" y="5050727"/>
                  </a:lnTo>
                  <a:lnTo>
                    <a:pt x="11326415" y="5030000"/>
                  </a:lnTo>
                  <a:lnTo>
                    <a:pt x="11335708" y="5010624"/>
                  </a:lnTo>
                  <a:lnTo>
                    <a:pt x="11332037" y="4972934"/>
                  </a:lnTo>
                  <a:lnTo>
                    <a:pt x="11325057" y="4936145"/>
                  </a:lnTo>
                  <a:lnTo>
                    <a:pt x="11318205" y="4899354"/>
                  </a:lnTo>
                  <a:lnTo>
                    <a:pt x="11307781" y="4863464"/>
                  </a:lnTo>
                  <a:lnTo>
                    <a:pt x="11300572" y="4843652"/>
                  </a:lnTo>
                  <a:lnTo>
                    <a:pt x="11290693" y="4820341"/>
                  </a:lnTo>
                  <a:lnTo>
                    <a:pt x="11264847" y="4803208"/>
                  </a:lnTo>
                  <a:lnTo>
                    <a:pt x="11235478" y="4799744"/>
                  </a:lnTo>
                  <a:lnTo>
                    <a:pt x="11200665" y="4798966"/>
                  </a:lnTo>
                  <a:lnTo>
                    <a:pt x="11167275" y="4794687"/>
                  </a:lnTo>
                  <a:lnTo>
                    <a:pt x="11133878" y="4790405"/>
                  </a:lnTo>
                  <a:lnTo>
                    <a:pt x="11101003" y="4783336"/>
                  </a:lnTo>
                  <a:lnTo>
                    <a:pt x="11085320" y="4759279"/>
                  </a:lnTo>
                  <a:lnTo>
                    <a:pt x="11069209" y="4720000"/>
                  </a:lnTo>
                  <a:lnTo>
                    <a:pt x="11036703" y="4710358"/>
                  </a:lnTo>
                  <a:lnTo>
                    <a:pt x="11006438" y="4735584"/>
                  </a:lnTo>
                  <a:lnTo>
                    <a:pt x="10974458" y="4744972"/>
                  </a:lnTo>
                  <a:lnTo>
                    <a:pt x="10938761" y="4730762"/>
                  </a:lnTo>
                  <a:lnTo>
                    <a:pt x="10926074" y="4690309"/>
                  </a:lnTo>
                  <a:lnTo>
                    <a:pt x="10922440" y="4658668"/>
                  </a:lnTo>
                  <a:lnTo>
                    <a:pt x="10918784" y="4627029"/>
                  </a:lnTo>
                  <a:lnTo>
                    <a:pt x="10917736" y="4594504"/>
                  </a:lnTo>
                  <a:lnTo>
                    <a:pt x="10931249" y="4560757"/>
                  </a:lnTo>
                  <a:lnTo>
                    <a:pt x="10960524" y="4541692"/>
                  </a:lnTo>
                  <a:lnTo>
                    <a:pt x="10992358" y="4533264"/>
                  </a:lnTo>
                  <a:lnTo>
                    <a:pt x="11043732" y="4534055"/>
                  </a:lnTo>
                  <a:lnTo>
                    <a:pt x="11080626" y="4542265"/>
                  </a:lnTo>
                  <a:lnTo>
                    <a:pt x="11118301" y="4528086"/>
                  </a:lnTo>
                  <a:lnTo>
                    <a:pt x="11148184" y="4467222"/>
                  </a:lnTo>
                  <a:lnTo>
                    <a:pt x="11165910" y="4447840"/>
                  </a:lnTo>
                  <a:lnTo>
                    <a:pt x="11187540" y="4424204"/>
                  </a:lnTo>
                  <a:lnTo>
                    <a:pt x="11227969" y="4421098"/>
                  </a:lnTo>
                  <a:lnTo>
                    <a:pt x="11268264" y="4371240"/>
                  </a:lnTo>
                  <a:lnTo>
                    <a:pt x="11260447" y="4324865"/>
                  </a:lnTo>
                  <a:lnTo>
                    <a:pt x="11284247" y="4290051"/>
                  </a:lnTo>
                  <a:lnTo>
                    <a:pt x="11299502" y="4267693"/>
                  </a:lnTo>
                  <a:lnTo>
                    <a:pt x="11329175" y="4240020"/>
                  </a:lnTo>
                  <a:lnTo>
                    <a:pt x="11331851" y="4211163"/>
                  </a:lnTo>
                  <a:lnTo>
                    <a:pt x="11336613" y="4159182"/>
                  </a:lnTo>
                  <a:lnTo>
                    <a:pt x="11321141" y="4101495"/>
                  </a:lnTo>
                  <a:lnTo>
                    <a:pt x="11337292" y="4050661"/>
                  </a:lnTo>
                  <a:lnTo>
                    <a:pt x="11355217" y="4033707"/>
                  </a:lnTo>
                  <a:lnTo>
                    <a:pt x="11376505" y="4029525"/>
                  </a:lnTo>
                  <a:lnTo>
                    <a:pt x="11399865" y="4024818"/>
                  </a:lnTo>
                  <a:lnTo>
                    <a:pt x="11433082" y="4009845"/>
                  </a:lnTo>
                  <a:lnTo>
                    <a:pt x="11461071" y="3996255"/>
                  </a:lnTo>
                  <a:lnTo>
                    <a:pt x="11489053" y="3982656"/>
                  </a:lnTo>
                  <a:lnTo>
                    <a:pt x="11516884" y="3968623"/>
                  </a:lnTo>
                  <a:lnTo>
                    <a:pt x="11527200" y="3948159"/>
                  </a:lnTo>
                  <a:lnTo>
                    <a:pt x="11522279" y="3906478"/>
                  </a:lnTo>
                  <a:lnTo>
                    <a:pt x="11519055" y="3885623"/>
                  </a:lnTo>
                  <a:lnTo>
                    <a:pt x="11510038" y="3849353"/>
                  </a:lnTo>
                  <a:lnTo>
                    <a:pt x="11500733" y="3806782"/>
                  </a:lnTo>
                  <a:lnTo>
                    <a:pt x="11488585" y="3779552"/>
                  </a:lnTo>
                  <a:lnTo>
                    <a:pt x="11474664" y="3762294"/>
                  </a:lnTo>
                  <a:lnTo>
                    <a:pt x="11460754" y="3745043"/>
                  </a:lnTo>
                  <a:lnTo>
                    <a:pt x="11429779" y="3735096"/>
                  </a:lnTo>
                  <a:lnTo>
                    <a:pt x="11398637" y="3729233"/>
                  </a:lnTo>
                  <a:lnTo>
                    <a:pt x="11366757" y="3740063"/>
                  </a:lnTo>
                  <a:lnTo>
                    <a:pt x="11346808" y="3725574"/>
                  </a:lnTo>
                  <a:lnTo>
                    <a:pt x="11327063" y="3709975"/>
                  </a:lnTo>
                  <a:lnTo>
                    <a:pt x="11311473" y="3657315"/>
                  </a:lnTo>
                  <a:lnTo>
                    <a:pt x="11299204" y="3603151"/>
                  </a:lnTo>
                  <a:lnTo>
                    <a:pt x="11286932" y="3548987"/>
                  </a:lnTo>
                  <a:lnTo>
                    <a:pt x="11277990" y="3493018"/>
                  </a:lnTo>
                  <a:lnTo>
                    <a:pt x="11274719" y="3471215"/>
                  </a:lnTo>
                  <a:lnTo>
                    <a:pt x="11252916" y="3441588"/>
                  </a:lnTo>
                  <a:lnTo>
                    <a:pt x="11217014" y="3425189"/>
                  </a:lnTo>
                  <a:lnTo>
                    <a:pt x="11178142" y="3412725"/>
                  </a:lnTo>
                  <a:lnTo>
                    <a:pt x="11139267" y="3400267"/>
                  </a:lnTo>
                  <a:lnTo>
                    <a:pt x="11097192" y="3392373"/>
                  </a:lnTo>
                  <a:lnTo>
                    <a:pt x="11065247" y="3382804"/>
                  </a:lnTo>
                  <a:lnTo>
                    <a:pt x="11026750" y="3371267"/>
                  </a:lnTo>
                  <a:lnTo>
                    <a:pt x="11020142" y="3351089"/>
                  </a:lnTo>
                  <a:lnTo>
                    <a:pt x="10999955" y="3332479"/>
                  </a:lnTo>
                  <a:lnTo>
                    <a:pt x="10977289" y="3313748"/>
                  </a:lnTo>
                  <a:lnTo>
                    <a:pt x="10955077" y="3306632"/>
                  </a:lnTo>
                  <a:lnTo>
                    <a:pt x="10932845" y="3299510"/>
                  </a:lnTo>
                  <a:lnTo>
                    <a:pt x="10901269" y="3293963"/>
                  </a:lnTo>
                  <a:lnTo>
                    <a:pt x="10855777" y="3291669"/>
                  </a:lnTo>
                  <a:lnTo>
                    <a:pt x="10838045" y="3266436"/>
                  </a:lnTo>
                  <a:lnTo>
                    <a:pt x="10832675" y="3227124"/>
                  </a:lnTo>
                  <a:lnTo>
                    <a:pt x="10832417" y="3203876"/>
                  </a:lnTo>
                  <a:lnTo>
                    <a:pt x="10831292" y="3180135"/>
                  </a:lnTo>
                  <a:lnTo>
                    <a:pt x="10830157" y="3156387"/>
                  </a:lnTo>
                  <a:lnTo>
                    <a:pt x="10829029" y="3132184"/>
                  </a:lnTo>
                  <a:lnTo>
                    <a:pt x="10821767" y="3110762"/>
                  </a:lnTo>
                  <a:lnTo>
                    <a:pt x="10814499" y="3089343"/>
                  </a:lnTo>
                  <a:lnTo>
                    <a:pt x="10802029" y="3071754"/>
                  </a:lnTo>
                  <a:lnTo>
                    <a:pt x="10780960" y="3059072"/>
                  </a:lnTo>
                  <a:lnTo>
                    <a:pt x="10753780" y="3054350"/>
                  </a:lnTo>
                  <a:lnTo>
                    <a:pt x="10726532" y="3055655"/>
                  </a:lnTo>
                  <a:lnTo>
                    <a:pt x="10700705" y="3050921"/>
                  </a:lnTo>
                  <a:lnTo>
                    <a:pt x="10680052" y="3023189"/>
                  </a:lnTo>
                  <a:lnTo>
                    <a:pt x="10674477" y="2973927"/>
                  </a:lnTo>
                  <a:lnTo>
                    <a:pt x="10673500" y="2923065"/>
                  </a:lnTo>
                  <a:lnTo>
                    <a:pt x="10672545" y="2872206"/>
                  </a:lnTo>
                  <a:lnTo>
                    <a:pt x="10676033" y="2820091"/>
                  </a:lnTo>
                  <a:lnTo>
                    <a:pt x="10673500" y="2787045"/>
                  </a:lnTo>
                  <a:lnTo>
                    <a:pt x="10671633" y="2764135"/>
                  </a:lnTo>
                  <a:lnTo>
                    <a:pt x="10664235" y="2737697"/>
                  </a:lnTo>
                  <a:lnTo>
                    <a:pt x="10659904" y="2714951"/>
                  </a:lnTo>
                  <a:lnTo>
                    <a:pt x="10653526" y="2681374"/>
                  </a:lnTo>
                  <a:lnTo>
                    <a:pt x="10638305" y="2646732"/>
                  </a:lnTo>
                  <a:lnTo>
                    <a:pt x="10631332" y="2612941"/>
                  </a:lnTo>
                  <a:lnTo>
                    <a:pt x="10625261" y="2583480"/>
                  </a:lnTo>
                  <a:lnTo>
                    <a:pt x="10622192" y="2552961"/>
                  </a:lnTo>
                  <a:lnTo>
                    <a:pt x="10617742" y="2523164"/>
                  </a:lnTo>
                  <a:lnTo>
                    <a:pt x="10500760" y="2482360"/>
                  </a:lnTo>
                  <a:lnTo>
                    <a:pt x="10486780" y="2442747"/>
                  </a:lnTo>
                  <a:lnTo>
                    <a:pt x="10490776" y="2415496"/>
                  </a:lnTo>
                  <a:lnTo>
                    <a:pt x="10485797" y="2389867"/>
                  </a:lnTo>
                  <a:lnTo>
                    <a:pt x="10478740" y="2354030"/>
                  </a:lnTo>
                  <a:lnTo>
                    <a:pt x="10468195" y="2320621"/>
                  </a:lnTo>
                  <a:lnTo>
                    <a:pt x="10465398" y="2283768"/>
                  </a:lnTo>
                  <a:lnTo>
                    <a:pt x="10460006" y="2213000"/>
                  </a:lnTo>
                  <a:lnTo>
                    <a:pt x="10482216" y="2144353"/>
                  </a:lnTo>
                  <a:lnTo>
                    <a:pt x="10476275" y="2074301"/>
                  </a:lnTo>
                  <a:lnTo>
                    <a:pt x="10468920" y="2053131"/>
                  </a:lnTo>
                  <a:lnTo>
                    <a:pt x="10443635" y="1915154"/>
                  </a:lnTo>
                  <a:lnTo>
                    <a:pt x="10442457" y="1884586"/>
                  </a:lnTo>
                  <a:lnTo>
                    <a:pt x="10452962" y="1864116"/>
                  </a:lnTo>
                  <a:lnTo>
                    <a:pt x="10469488" y="1848504"/>
                  </a:lnTo>
                  <a:lnTo>
                    <a:pt x="10487229" y="1833705"/>
                  </a:lnTo>
                  <a:lnTo>
                    <a:pt x="10500707" y="1814345"/>
                  </a:lnTo>
                  <a:lnTo>
                    <a:pt x="10504850" y="1785941"/>
                  </a:lnTo>
                  <a:lnTo>
                    <a:pt x="10504152" y="1756163"/>
                  </a:lnTo>
                  <a:lnTo>
                    <a:pt x="10477645" y="1727448"/>
                  </a:lnTo>
                  <a:lnTo>
                    <a:pt x="10443142" y="1709769"/>
                  </a:lnTo>
                  <a:lnTo>
                    <a:pt x="10408775" y="1687999"/>
                  </a:lnTo>
                  <a:lnTo>
                    <a:pt x="10392816" y="1672065"/>
                  </a:lnTo>
                  <a:lnTo>
                    <a:pt x="10386510" y="1644480"/>
                  </a:lnTo>
                  <a:lnTo>
                    <a:pt x="10380219" y="1616884"/>
                  </a:lnTo>
                  <a:lnTo>
                    <a:pt x="10382811" y="1576986"/>
                  </a:lnTo>
                  <a:lnTo>
                    <a:pt x="10400115" y="1515260"/>
                  </a:lnTo>
                  <a:lnTo>
                    <a:pt x="10429304" y="1489590"/>
                  </a:lnTo>
                  <a:lnTo>
                    <a:pt x="10454524" y="1479897"/>
                  </a:lnTo>
                  <a:lnTo>
                    <a:pt x="10479735" y="1470196"/>
                  </a:lnTo>
                  <a:lnTo>
                    <a:pt x="10505213" y="1459427"/>
                  </a:lnTo>
                  <a:lnTo>
                    <a:pt x="10511649" y="1421405"/>
                  </a:lnTo>
                  <a:lnTo>
                    <a:pt x="10475007" y="1391906"/>
                  </a:lnTo>
                  <a:lnTo>
                    <a:pt x="10258654" y="1410525"/>
                  </a:lnTo>
                  <a:lnTo>
                    <a:pt x="10231747" y="1412779"/>
                  </a:lnTo>
                  <a:lnTo>
                    <a:pt x="10199861" y="1425231"/>
                  </a:lnTo>
                  <a:lnTo>
                    <a:pt x="10177044" y="1439087"/>
                  </a:lnTo>
                  <a:lnTo>
                    <a:pt x="10167481" y="1513387"/>
                  </a:lnTo>
                  <a:lnTo>
                    <a:pt x="10145185" y="1544718"/>
                  </a:lnTo>
                  <a:lnTo>
                    <a:pt x="10129434" y="1558786"/>
                  </a:lnTo>
                  <a:lnTo>
                    <a:pt x="10117484" y="1579553"/>
                  </a:lnTo>
                  <a:lnTo>
                    <a:pt x="10114471" y="1610469"/>
                  </a:lnTo>
                  <a:lnTo>
                    <a:pt x="10091350" y="1625433"/>
                  </a:lnTo>
                  <a:lnTo>
                    <a:pt x="10065677" y="1633339"/>
                  </a:lnTo>
                  <a:lnTo>
                    <a:pt x="10026060" y="1621358"/>
                  </a:lnTo>
                  <a:lnTo>
                    <a:pt x="10006598" y="1612640"/>
                  </a:lnTo>
                  <a:lnTo>
                    <a:pt x="9988336" y="1597766"/>
                  </a:lnTo>
                  <a:lnTo>
                    <a:pt x="9967571" y="1581913"/>
                  </a:lnTo>
                  <a:lnTo>
                    <a:pt x="9924941" y="1592966"/>
                  </a:lnTo>
                  <a:lnTo>
                    <a:pt x="9896267" y="1606736"/>
                  </a:lnTo>
                  <a:lnTo>
                    <a:pt x="9872107" y="1625150"/>
                  </a:lnTo>
                  <a:lnTo>
                    <a:pt x="9846515" y="1637680"/>
                  </a:lnTo>
                  <a:lnTo>
                    <a:pt x="9820920" y="1650216"/>
                  </a:lnTo>
                  <a:lnTo>
                    <a:pt x="9793160" y="1657090"/>
                  </a:lnTo>
                  <a:lnTo>
                    <a:pt x="9768985" y="1647202"/>
                  </a:lnTo>
                  <a:lnTo>
                    <a:pt x="9752741" y="1626626"/>
                  </a:lnTo>
                  <a:lnTo>
                    <a:pt x="9752201" y="1585401"/>
                  </a:lnTo>
                  <a:lnTo>
                    <a:pt x="9753255" y="1551143"/>
                  </a:lnTo>
                  <a:lnTo>
                    <a:pt x="9751308" y="1517982"/>
                  </a:lnTo>
                  <a:lnTo>
                    <a:pt x="9748698" y="1472543"/>
                  </a:lnTo>
                  <a:lnTo>
                    <a:pt x="9718408" y="1430759"/>
                  </a:lnTo>
                  <a:lnTo>
                    <a:pt x="9703708" y="1388768"/>
                  </a:lnTo>
                  <a:lnTo>
                    <a:pt x="9688360" y="1344814"/>
                  </a:lnTo>
                  <a:lnTo>
                    <a:pt x="9680528" y="1296656"/>
                  </a:lnTo>
                  <a:lnTo>
                    <a:pt x="9665624" y="1252748"/>
                  </a:lnTo>
                  <a:lnTo>
                    <a:pt x="9654607" y="1220335"/>
                  </a:lnTo>
                  <a:lnTo>
                    <a:pt x="9642884" y="1187044"/>
                  </a:lnTo>
                  <a:lnTo>
                    <a:pt x="9631613" y="1153449"/>
                  </a:lnTo>
                  <a:lnTo>
                    <a:pt x="9620343" y="1119854"/>
                  </a:lnTo>
                  <a:lnTo>
                    <a:pt x="9609770" y="1086036"/>
                  </a:lnTo>
                  <a:lnTo>
                    <a:pt x="9601693" y="1052798"/>
                  </a:lnTo>
                  <a:lnTo>
                    <a:pt x="9596130" y="1029912"/>
                  </a:lnTo>
                  <a:lnTo>
                    <a:pt x="9585427" y="991115"/>
                  </a:lnTo>
                  <a:lnTo>
                    <a:pt x="9573121" y="945341"/>
                  </a:lnTo>
                  <a:lnTo>
                    <a:pt x="9560808" y="899564"/>
                  </a:lnTo>
                  <a:lnTo>
                    <a:pt x="9546874" y="847037"/>
                  </a:lnTo>
                  <a:lnTo>
                    <a:pt x="9530953" y="794358"/>
                  </a:lnTo>
                  <a:lnTo>
                    <a:pt x="9515047" y="741682"/>
                  </a:lnTo>
                  <a:lnTo>
                    <a:pt x="9497011" y="689682"/>
                  </a:lnTo>
                  <a:lnTo>
                    <a:pt x="9480636" y="646097"/>
                  </a:lnTo>
                  <a:lnTo>
                    <a:pt x="9470091" y="618049"/>
                  </a:lnTo>
                  <a:lnTo>
                    <a:pt x="9452672" y="583186"/>
                  </a:lnTo>
                  <a:lnTo>
                    <a:pt x="9435743" y="548162"/>
                  </a:lnTo>
                  <a:lnTo>
                    <a:pt x="9292316" y="577537"/>
                  </a:lnTo>
                  <a:lnTo>
                    <a:pt x="9257562" y="578083"/>
                  </a:lnTo>
                  <a:lnTo>
                    <a:pt x="9203618" y="578941"/>
                  </a:lnTo>
                  <a:lnTo>
                    <a:pt x="9145720" y="570517"/>
                  </a:lnTo>
                  <a:lnTo>
                    <a:pt x="9091615" y="567203"/>
                  </a:lnTo>
                  <a:lnTo>
                    <a:pt x="9071210" y="560403"/>
                  </a:lnTo>
                  <a:lnTo>
                    <a:pt x="8943652" y="544804"/>
                  </a:lnTo>
                  <a:lnTo>
                    <a:pt x="8823737" y="517852"/>
                  </a:lnTo>
                  <a:lnTo>
                    <a:pt x="8701236" y="477431"/>
                  </a:lnTo>
                  <a:lnTo>
                    <a:pt x="8545707" y="419410"/>
                  </a:lnTo>
                  <a:lnTo>
                    <a:pt x="8511139" y="402005"/>
                  </a:lnTo>
                  <a:lnTo>
                    <a:pt x="8495450" y="387984"/>
                  </a:lnTo>
                  <a:lnTo>
                    <a:pt x="8460879" y="365562"/>
                  </a:lnTo>
                  <a:lnTo>
                    <a:pt x="8416949" y="357735"/>
                  </a:lnTo>
                  <a:lnTo>
                    <a:pt x="8378660" y="359178"/>
                  </a:lnTo>
                  <a:lnTo>
                    <a:pt x="8337974" y="357932"/>
                  </a:lnTo>
                  <a:lnTo>
                    <a:pt x="8299977" y="361809"/>
                  </a:lnTo>
                  <a:lnTo>
                    <a:pt x="8250454" y="366821"/>
                  </a:lnTo>
                  <a:lnTo>
                    <a:pt x="8149604" y="393624"/>
                  </a:lnTo>
                  <a:lnTo>
                    <a:pt x="8049700" y="423018"/>
                  </a:lnTo>
                  <a:lnTo>
                    <a:pt x="7949793" y="452417"/>
                  </a:lnTo>
                  <a:lnTo>
                    <a:pt x="7850196" y="484521"/>
                  </a:lnTo>
                  <a:lnTo>
                    <a:pt x="7804863" y="499188"/>
                  </a:lnTo>
                  <a:lnTo>
                    <a:pt x="7758931" y="514052"/>
                  </a:lnTo>
                  <a:lnTo>
                    <a:pt x="7706370" y="518657"/>
                  </a:lnTo>
                  <a:lnTo>
                    <a:pt x="7652522" y="519593"/>
                  </a:lnTo>
                  <a:lnTo>
                    <a:pt x="7598674" y="520530"/>
                  </a:lnTo>
                  <a:lnTo>
                    <a:pt x="7543322" y="517838"/>
                  </a:lnTo>
                  <a:lnTo>
                    <a:pt x="7496097" y="518234"/>
                  </a:lnTo>
                  <a:lnTo>
                    <a:pt x="7471618" y="499194"/>
                  </a:lnTo>
                  <a:lnTo>
                    <a:pt x="7457200" y="472439"/>
                  </a:lnTo>
                  <a:lnTo>
                    <a:pt x="7439242" y="422120"/>
                  </a:lnTo>
                  <a:lnTo>
                    <a:pt x="7429410" y="383659"/>
                  </a:lnTo>
                  <a:lnTo>
                    <a:pt x="7403604" y="361809"/>
                  </a:lnTo>
                  <a:lnTo>
                    <a:pt x="7382650" y="367336"/>
                  </a:lnTo>
                  <a:lnTo>
                    <a:pt x="7295982" y="393604"/>
                  </a:lnTo>
                  <a:lnTo>
                    <a:pt x="7270861" y="378817"/>
                  </a:lnTo>
                  <a:lnTo>
                    <a:pt x="7262657" y="347571"/>
                  </a:lnTo>
                  <a:lnTo>
                    <a:pt x="7256617" y="315606"/>
                  </a:lnTo>
                  <a:lnTo>
                    <a:pt x="7247179" y="287004"/>
                  </a:lnTo>
                  <a:lnTo>
                    <a:pt x="7234346" y="268762"/>
                  </a:lnTo>
                  <a:lnTo>
                    <a:pt x="7225738" y="243002"/>
                  </a:lnTo>
                  <a:lnTo>
                    <a:pt x="7235955" y="217982"/>
                  </a:lnTo>
                  <a:lnTo>
                    <a:pt x="7248543" y="194511"/>
                  </a:lnTo>
                  <a:lnTo>
                    <a:pt x="7261125" y="171033"/>
                  </a:lnTo>
                  <a:lnTo>
                    <a:pt x="7276554" y="149236"/>
                  </a:lnTo>
                  <a:lnTo>
                    <a:pt x="7291477" y="125178"/>
                  </a:lnTo>
                  <a:lnTo>
                    <a:pt x="7264465" y="68633"/>
                  </a:lnTo>
                  <a:lnTo>
                    <a:pt x="7254639" y="43552"/>
                  </a:lnTo>
                  <a:lnTo>
                    <a:pt x="7232420" y="37770"/>
                  </a:lnTo>
                  <a:lnTo>
                    <a:pt x="7202295" y="38086"/>
                  </a:lnTo>
                  <a:lnTo>
                    <a:pt x="7172176" y="38415"/>
                  </a:lnTo>
                  <a:lnTo>
                    <a:pt x="7134485" y="43994"/>
                  </a:lnTo>
                  <a:lnTo>
                    <a:pt x="7096202" y="51684"/>
                  </a:lnTo>
                  <a:lnTo>
                    <a:pt x="7019627" y="67070"/>
                  </a:lnTo>
                  <a:lnTo>
                    <a:pt x="6943411" y="92025"/>
                  </a:lnTo>
                  <a:lnTo>
                    <a:pt x="6935939" y="124968"/>
                  </a:lnTo>
                  <a:lnTo>
                    <a:pt x="6943858" y="163224"/>
                  </a:lnTo>
                  <a:lnTo>
                    <a:pt x="6952230" y="200966"/>
                  </a:lnTo>
                  <a:lnTo>
                    <a:pt x="6949154" y="238835"/>
                  </a:lnTo>
                  <a:lnTo>
                    <a:pt x="6933697" y="253864"/>
                  </a:lnTo>
                  <a:lnTo>
                    <a:pt x="6911215" y="266599"/>
                  </a:lnTo>
                  <a:lnTo>
                    <a:pt x="6888726" y="279333"/>
                  </a:lnTo>
                  <a:lnTo>
                    <a:pt x="6859234" y="289826"/>
                  </a:lnTo>
                  <a:lnTo>
                    <a:pt x="6828243" y="297878"/>
                  </a:lnTo>
                  <a:lnTo>
                    <a:pt x="6766244" y="313996"/>
                  </a:lnTo>
                  <a:lnTo>
                    <a:pt x="6699848" y="321304"/>
                  </a:lnTo>
                  <a:lnTo>
                    <a:pt x="6678618" y="325083"/>
                  </a:lnTo>
                  <a:lnTo>
                    <a:pt x="6497715" y="357727"/>
                  </a:lnTo>
                  <a:lnTo>
                    <a:pt x="6468129" y="386594"/>
                  </a:lnTo>
                  <a:lnTo>
                    <a:pt x="6461205" y="434921"/>
                  </a:lnTo>
                  <a:lnTo>
                    <a:pt x="6460988" y="459744"/>
                  </a:lnTo>
                  <a:lnTo>
                    <a:pt x="6430447" y="473370"/>
                  </a:lnTo>
                  <a:lnTo>
                    <a:pt x="6398421" y="463826"/>
                  </a:lnTo>
                  <a:lnTo>
                    <a:pt x="6367816" y="447274"/>
                  </a:lnTo>
                  <a:lnTo>
                    <a:pt x="6337464" y="425444"/>
                  </a:lnTo>
                  <a:lnTo>
                    <a:pt x="6290813" y="384121"/>
                  </a:lnTo>
                  <a:lnTo>
                    <a:pt x="6281439" y="364533"/>
                  </a:lnTo>
                  <a:lnTo>
                    <a:pt x="6264671" y="329475"/>
                  </a:lnTo>
                  <a:lnTo>
                    <a:pt x="6257481" y="278529"/>
                  </a:lnTo>
                  <a:lnTo>
                    <a:pt x="6239275" y="236671"/>
                  </a:lnTo>
                  <a:lnTo>
                    <a:pt x="6230171" y="215745"/>
                  </a:lnTo>
                  <a:lnTo>
                    <a:pt x="6217543" y="196673"/>
                  </a:lnTo>
                  <a:lnTo>
                    <a:pt x="6184838" y="170577"/>
                  </a:lnTo>
                  <a:lnTo>
                    <a:pt x="6164104" y="163368"/>
                  </a:lnTo>
                  <a:lnTo>
                    <a:pt x="6135898" y="164582"/>
                  </a:lnTo>
                  <a:lnTo>
                    <a:pt x="6097838" y="166218"/>
                  </a:lnTo>
                  <a:lnTo>
                    <a:pt x="6046068" y="172509"/>
                  </a:lnTo>
                  <a:lnTo>
                    <a:pt x="5995801" y="171382"/>
                  </a:lnTo>
                  <a:lnTo>
                    <a:pt x="5970662" y="170788"/>
                  </a:lnTo>
                  <a:lnTo>
                    <a:pt x="5946263" y="169225"/>
                  </a:lnTo>
                  <a:lnTo>
                    <a:pt x="5923706" y="163224"/>
                  </a:lnTo>
                  <a:lnTo>
                    <a:pt x="5901159" y="157223"/>
                  </a:lnTo>
                  <a:lnTo>
                    <a:pt x="5880075" y="147910"/>
                  </a:lnTo>
                  <a:lnTo>
                    <a:pt x="5863859" y="133296"/>
                  </a:lnTo>
                  <a:lnTo>
                    <a:pt x="5844279" y="111474"/>
                  </a:lnTo>
                  <a:lnTo>
                    <a:pt x="5823598" y="89836"/>
                  </a:lnTo>
                  <a:lnTo>
                    <a:pt x="5798570" y="74813"/>
                  </a:lnTo>
                  <a:lnTo>
                    <a:pt x="5755127" y="58108"/>
                  </a:lnTo>
                  <a:lnTo>
                    <a:pt x="5711220" y="43566"/>
                  </a:lnTo>
                  <a:lnTo>
                    <a:pt x="5666630" y="31287"/>
                  </a:lnTo>
                  <a:lnTo>
                    <a:pt x="5622044" y="19000"/>
                  </a:lnTo>
                  <a:lnTo>
                    <a:pt x="5576385" y="9055"/>
                  </a:lnTo>
                  <a:lnTo>
                    <a:pt x="5530611" y="0"/>
                  </a:lnTo>
                  <a:close/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608" name="Zaporizhia¬0" descr="Zaporizhia¬0">
              <a:extLst>
                <a:ext uri="{FF2B5EF4-FFF2-40B4-BE49-F238E27FC236}">
                  <a16:creationId xmlns:a16="http://schemas.microsoft.com/office/drawing/2014/main" id="{3B9A8E77-B106-4690-86D4-67FF91A2E110}"/>
                </a:ext>
              </a:extLst>
            </p:cNvPr>
            <p:cNvSpPr/>
            <p:nvPr/>
          </p:nvSpPr>
          <p:spPr>
            <a:xfrm>
              <a:off x="5673909" y="3811692"/>
              <a:ext cx="46206" cy="39399"/>
            </a:xfrm>
            <a:custGeom>
              <a:avLst/>
              <a:gdLst/>
              <a:ahLst/>
              <a:cxnLst/>
              <a:rect l="0" t="0" r="0" b="0"/>
              <a:pathLst>
                <a:path w="471510" h="456389">
                  <a:moveTo>
                    <a:pt x="447722" y="51982"/>
                  </a:moveTo>
                  <a:lnTo>
                    <a:pt x="435654" y="71069"/>
                  </a:lnTo>
                  <a:lnTo>
                    <a:pt x="316424" y="182817"/>
                  </a:lnTo>
                  <a:lnTo>
                    <a:pt x="351833" y="285000"/>
                  </a:lnTo>
                  <a:lnTo>
                    <a:pt x="300484" y="354630"/>
                  </a:lnTo>
                  <a:lnTo>
                    <a:pt x="238513" y="438746"/>
                  </a:lnTo>
                  <a:lnTo>
                    <a:pt x="177468" y="398367"/>
                  </a:lnTo>
                  <a:lnTo>
                    <a:pt x="119571" y="408608"/>
                  </a:lnTo>
                  <a:lnTo>
                    <a:pt x="92875" y="425571"/>
                  </a:lnTo>
                  <a:lnTo>
                    <a:pt x="67553" y="445334"/>
                  </a:lnTo>
                  <a:lnTo>
                    <a:pt x="42807" y="447371"/>
                  </a:lnTo>
                  <a:lnTo>
                    <a:pt x="13692" y="456388"/>
                  </a:lnTo>
                  <a:lnTo>
                    <a:pt x="0" y="415491"/>
                  </a:lnTo>
                  <a:lnTo>
                    <a:pt x="79707" y="381490"/>
                  </a:lnTo>
                  <a:lnTo>
                    <a:pt x="97982" y="299114"/>
                  </a:lnTo>
                  <a:lnTo>
                    <a:pt x="106403" y="256778"/>
                  </a:lnTo>
                  <a:lnTo>
                    <a:pt x="142193" y="251340"/>
                  </a:lnTo>
                  <a:lnTo>
                    <a:pt x="154729" y="272976"/>
                  </a:lnTo>
                  <a:lnTo>
                    <a:pt x="145232" y="308384"/>
                  </a:lnTo>
                  <a:lnTo>
                    <a:pt x="154967" y="335713"/>
                  </a:lnTo>
                  <a:lnTo>
                    <a:pt x="181025" y="352847"/>
                  </a:lnTo>
                  <a:lnTo>
                    <a:pt x="237642" y="330064"/>
                  </a:lnTo>
                  <a:lnTo>
                    <a:pt x="258685" y="227155"/>
                  </a:lnTo>
                  <a:lnTo>
                    <a:pt x="286101" y="188094"/>
                  </a:lnTo>
                  <a:lnTo>
                    <a:pt x="298255" y="170749"/>
                  </a:lnTo>
                  <a:lnTo>
                    <a:pt x="321125" y="156887"/>
                  </a:lnTo>
                  <a:lnTo>
                    <a:pt x="335409" y="140314"/>
                  </a:lnTo>
                  <a:lnTo>
                    <a:pt x="367283" y="103414"/>
                  </a:lnTo>
                  <a:lnTo>
                    <a:pt x="408561" y="3653"/>
                  </a:lnTo>
                  <a:lnTo>
                    <a:pt x="459823" y="0"/>
                  </a:lnTo>
                  <a:lnTo>
                    <a:pt x="471509" y="20101"/>
                  </a:lnTo>
                  <a:lnTo>
                    <a:pt x="459823" y="47821"/>
                  </a:lnTo>
                </a:path>
              </a:pathLst>
            </a:custGeom>
            <a:solidFill>
              <a:srgbClr val="C0C0C0"/>
            </a:solidFill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609" name="Mykolaiv¬0" descr="Mykolaiv¬0">
              <a:extLst>
                <a:ext uri="{FF2B5EF4-FFF2-40B4-BE49-F238E27FC236}">
                  <a16:creationId xmlns:a16="http://schemas.microsoft.com/office/drawing/2014/main" id="{A5566928-FD4B-4408-9DCC-1911FD98F4B4}"/>
                </a:ext>
              </a:extLst>
            </p:cNvPr>
            <p:cNvSpPr/>
            <p:nvPr/>
          </p:nvSpPr>
          <p:spPr>
            <a:xfrm>
              <a:off x="3644081" y="3066650"/>
              <a:ext cx="1006769" cy="736963"/>
            </a:xfrm>
            <a:custGeom>
              <a:avLst/>
              <a:gdLst/>
              <a:ahLst/>
              <a:cxnLst/>
              <a:rect l="0" t="0" r="0" b="0"/>
              <a:pathLst>
                <a:path w="10273523" h="8536773">
                  <a:moveTo>
                    <a:pt x="320942" y="502597"/>
                  </a:moveTo>
                  <a:lnTo>
                    <a:pt x="314142" y="525718"/>
                  </a:lnTo>
                  <a:lnTo>
                    <a:pt x="308701" y="554281"/>
                  </a:lnTo>
                  <a:lnTo>
                    <a:pt x="305405" y="575260"/>
                  </a:lnTo>
                  <a:lnTo>
                    <a:pt x="308766" y="601060"/>
                  </a:lnTo>
                  <a:lnTo>
                    <a:pt x="395753" y="633177"/>
                  </a:lnTo>
                  <a:lnTo>
                    <a:pt x="384873" y="701184"/>
                  </a:lnTo>
                  <a:lnTo>
                    <a:pt x="353591" y="718863"/>
                  </a:lnTo>
                  <a:lnTo>
                    <a:pt x="330470" y="702627"/>
                  </a:lnTo>
                  <a:lnTo>
                    <a:pt x="301520" y="691956"/>
                  </a:lnTo>
                  <a:lnTo>
                    <a:pt x="273338" y="699818"/>
                  </a:lnTo>
                  <a:lnTo>
                    <a:pt x="248686" y="735358"/>
                  </a:lnTo>
                  <a:lnTo>
                    <a:pt x="229812" y="754225"/>
                  </a:lnTo>
                  <a:lnTo>
                    <a:pt x="188733" y="736110"/>
                  </a:lnTo>
                  <a:lnTo>
                    <a:pt x="158338" y="746055"/>
                  </a:lnTo>
                  <a:lnTo>
                    <a:pt x="125078" y="762391"/>
                  </a:lnTo>
                  <a:lnTo>
                    <a:pt x="89551" y="777085"/>
                  </a:lnTo>
                  <a:lnTo>
                    <a:pt x="54505" y="793941"/>
                  </a:lnTo>
                  <a:lnTo>
                    <a:pt x="24420" y="815440"/>
                  </a:lnTo>
                  <a:lnTo>
                    <a:pt x="0" y="840229"/>
                  </a:lnTo>
                  <a:lnTo>
                    <a:pt x="2657" y="872566"/>
                  </a:lnTo>
                  <a:lnTo>
                    <a:pt x="50437" y="880980"/>
                  </a:lnTo>
                  <a:lnTo>
                    <a:pt x="74752" y="891611"/>
                  </a:lnTo>
                  <a:lnTo>
                    <a:pt x="71416" y="942873"/>
                  </a:lnTo>
                  <a:lnTo>
                    <a:pt x="64446" y="971733"/>
                  </a:lnTo>
                  <a:lnTo>
                    <a:pt x="66588" y="1003144"/>
                  </a:lnTo>
                  <a:lnTo>
                    <a:pt x="71369" y="1040596"/>
                  </a:lnTo>
                  <a:lnTo>
                    <a:pt x="69314" y="1061635"/>
                  </a:lnTo>
                  <a:lnTo>
                    <a:pt x="41238" y="1088323"/>
                  </a:lnTo>
                  <a:lnTo>
                    <a:pt x="34820" y="1109421"/>
                  </a:lnTo>
                  <a:lnTo>
                    <a:pt x="33945" y="1131006"/>
                  </a:lnTo>
                  <a:lnTo>
                    <a:pt x="32584" y="1162286"/>
                  </a:lnTo>
                  <a:lnTo>
                    <a:pt x="31933" y="1183283"/>
                  </a:lnTo>
                  <a:lnTo>
                    <a:pt x="34993" y="1213825"/>
                  </a:lnTo>
                  <a:lnTo>
                    <a:pt x="48372" y="1231288"/>
                  </a:lnTo>
                  <a:lnTo>
                    <a:pt x="70678" y="1238456"/>
                  </a:lnTo>
                  <a:lnTo>
                    <a:pt x="95343" y="1243561"/>
                  </a:lnTo>
                  <a:lnTo>
                    <a:pt x="119453" y="1246958"/>
                  </a:lnTo>
                  <a:lnTo>
                    <a:pt x="142767" y="1252062"/>
                  </a:lnTo>
                  <a:lnTo>
                    <a:pt x="164464" y="1260977"/>
                  </a:lnTo>
                  <a:lnTo>
                    <a:pt x="185362" y="1280089"/>
                  </a:lnTo>
                  <a:lnTo>
                    <a:pt x="203975" y="1303745"/>
                  </a:lnTo>
                  <a:lnTo>
                    <a:pt x="221543" y="1328919"/>
                  </a:lnTo>
                  <a:lnTo>
                    <a:pt x="238097" y="1354752"/>
                  </a:lnTo>
                  <a:lnTo>
                    <a:pt x="255665" y="1379917"/>
                  </a:lnTo>
                  <a:lnTo>
                    <a:pt x="275081" y="1403652"/>
                  </a:lnTo>
                  <a:lnTo>
                    <a:pt x="299684" y="1424947"/>
                  </a:lnTo>
                  <a:lnTo>
                    <a:pt x="315103" y="1439601"/>
                  </a:lnTo>
                  <a:lnTo>
                    <a:pt x="335279" y="1496469"/>
                  </a:lnTo>
                  <a:lnTo>
                    <a:pt x="336504" y="1586925"/>
                  </a:lnTo>
                  <a:lnTo>
                    <a:pt x="342717" y="1630194"/>
                  </a:lnTo>
                  <a:lnTo>
                    <a:pt x="348915" y="1673338"/>
                  </a:lnTo>
                  <a:lnTo>
                    <a:pt x="360080" y="1718097"/>
                  </a:lnTo>
                  <a:lnTo>
                    <a:pt x="367196" y="1760773"/>
                  </a:lnTo>
                  <a:lnTo>
                    <a:pt x="379865" y="1836865"/>
                  </a:lnTo>
                  <a:lnTo>
                    <a:pt x="383329" y="1913801"/>
                  </a:lnTo>
                  <a:lnTo>
                    <a:pt x="397120" y="1990651"/>
                  </a:lnTo>
                  <a:lnTo>
                    <a:pt x="403148" y="2024207"/>
                  </a:lnTo>
                  <a:lnTo>
                    <a:pt x="407082" y="2049306"/>
                  </a:lnTo>
                  <a:lnTo>
                    <a:pt x="414365" y="2089773"/>
                  </a:lnTo>
                  <a:lnTo>
                    <a:pt x="425689" y="2118507"/>
                  </a:lnTo>
                  <a:lnTo>
                    <a:pt x="443223" y="2143476"/>
                  </a:lnTo>
                  <a:lnTo>
                    <a:pt x="459690" y="2156593"/>
                  </a:lnTo>
                  <a:lnTo>
                    <a:pt x="476157" y="2169710"/>
                  </a:lnTo>
                  <a:lnTo>
                    <a:pt x="498760" y="2184845"/>
                  </a:lnTo>
                  <a:lnTo>
                    <a:pt x="530420" y="2204200"/>
                  </a:lnTo>
                  <a:lnTo>
                    <a:pt x="552183" y="2206918"/>
                  </a:lnTo>
                  <a:lnTo>
                    <a:pt x="589056" y="2221454"/>
                  </a:lnTo>
                  <a:lnTo>
                    <a:pt x="622006" y="2245341"/>
                  </a:lnTo>
                  <a:lnTo>
                    <a:pt x="662360" y="2250444"/>
                  </a:lnTo>
                  <a:lnTo>
                    <a:pt x="676287" y="2313684"/>
                  </a:lnTo>
                  <a:lnTo>
                    <a:pt x="679044" y="2354360"/>
                  </a:lnTo>
                  <a:lnTo>
                    <a:pt x="674607" y="2381024"/>
                  </a:lnTo>
                  <a:lnTo>
                    <a:pt x="670155" y="2407680"/>
                  </a:lnTo>
                  <a:lnTo>
                    <a:pt x="646038" y="2431349"/>
                  </a:lnTo>
                  <a:lnTo>
                    <a:pt x="620139" y="2447876"/>
                  </a:lnTo>
                  <a:lnTo>
                    <a:pt x="601210" y="2474671"/>
                  </a:lnTo>
                  <a:lnTo>
                    <a:pt x="599793" y="2530643"/>
                  </a:lnTo>
                  <a:lnTo>
                    <a:pt x="613268" y="2550243"/>
                  </a:lnTo>
                  <a:lnTo>
                    <a:pt x="630374" y="2569493"/>
                  </a:lnTo>
                  <a:lnTo>
                    <a:pt x="654202" y="2575527"/>
                  </a:lnTo>
                  <a:lnTo>
                    <a:pt x="681444" y="2590960"/>
                  </a:lnTo>
                  <a:lnTo>
                    <a:pt x="721147" y="2631933"/>
                  </a:lnTo>
                  <a:lnTo>
                    <a:pt x="739242" y="2663892"/>
                  </a:lnTo>
                  <a:lnTo>
                    <a:pt x="735806" y="2697949"/>
                  </a:lnTo>
                  <a:lnTo>
                    <a:pt x="725174" y="2727414"/>
                  </a:lnTo>
                  <a:lnTo>
                    <a:pt x="699936" y="2769595"/>
                  </a:lnTo>
                  <a:lnTo>
                    <a:pt x="679723" y="2797347"/>
                  </a:lnTo>
                  <a:lnTo>
                    <a:pt x="681397" y="2832610"/>
                  </a:lnTo>
                  <a:lnTo>
                    <a:pt x="689332" y="2872099"/>
                  </a:lnTo>
                  <a:lnTo>
                    <a:pt x="697722" y="2892458"/>
                  </a:lnTo>
                  <a:lnTo>
                    <a:pt x="706109" y="2912810"/>
                  </a:lnTo>
                  <a:lnTo>
                    <a:pt x="714822" y="2933413"/>
                  </a:lnTo>
                  <a:lnTo>
                    <a:pt x="732166" y="2974584"/>
                  </a:lnTo>
                  <a:lnTo>
                    <a:pt x="725243" y="3027198"/>
                  </a:lnTo>
                  <a:lnTo>
                    <a:pt x="739890" y="3047518"/>
                  </a:lnTo>
                  <a:lnTo>
                    <a:pt x="842249" y="3087542"/>
                  </a:lnTo>
                  <a:lnTo>
                    <a:pt x="869104" y="3101926"/>
                  </a:lnTo>
                  <a:lnTo>
                    <a:pt x="894829" y="3127553"/>
                  </a:lnTo>
                  <a:lnTo>
                    <a:pt x="919553" y="3160634"/>
                  </a:lnTo>
                  <a:lnTo>
                    <a:pt x="943915" y="3175380"/>
                  </a:lnTo>
                  <a:lnTo>
                    <a:pt x="1000665" y="3150346"/>
                  </a:lnTo>
                  <a:lnTo>
                    <a:pt x="1063296" y="3150814"/>
                  </a:lnTo>
                  <a:lnTo>
                    <a:pt x="1123460" y="3137294"/>
                  </a:lnTo>
                  <a:lnTo>
                    <a:pt x="1168347" y="3186261"/>
                  </a:lnTo>
                  <a:lnTo>
                    <a:pt x="1205074" y="3198501"/>
                  </a:lnTo>
                  <a:lnTo>
                    <a:pt x="1253000" y="3174865"/>
                  </a:lnTo>
                  <a:lnTo>
                    <a:pt x="1279885" y="3154975"/>
                  </a:lnTo>
                  <a:lnTo>
                    <a:pt x="1306773" y="3135091"/>
                  </a:lnTo>
                  <a:lnTo>
                    <a:pt x="1330192" y="3112556"/>
                  </a:lnTo>
                  <a:lnTo>
                    <a:pt x="1334294" y="3091044"/>
                  </a:lnTo>
                  <a:lnTo>
                    <a:pt x="1364664" y="3085517"/>
                  </a:lnTo>
                  <a:lnTo>
                    <a:pt x="1401772" y="3093425"/>
                  </a:lnTo>
                  <a:lnTo>
                    <a:pt x="1409173" y="3116163"/>
                  </a:lnTo>
                  <a:lnTo>
                    <a:pt x="1424065" y="3138652"/>
                  </a:lnTo>
                  <a:lnTo>
                    <a:pt x="1441270" y="3152667"/>
                  </a:lnTo>
                  <a:lnTo>
                    <a:pt x="1484089" y="3153161"/>
                  </a:lnTo>
                  <a:lnTo>
                    <a:pt x="1530164" y="3152257"/>
                  </a:lnTo>
                  <a:lnTo>
                    <a:pt x="1576236" y="3151355"/>
                  </a:lnTo>
                  <a:lnTo>
                    <a:pt x="1625333" y="3149316"/>
                  </a:lnTo>
                  <a:lnTo>
                    <a:pt x="1652578" y="3154975"/>
                  </a:lnTo>
                  <a:lnTo>
                    <a:pt x="1687947" y="3235221"/>
                  </a:lnTo>
                  <a:lnTo>
                    <a:pt x="1678896" y="3266850"/>
                  </a:lnTo>
                  <a:lnTo>
                    <a:pt x="1653778" y="3275517"/>
                  </a:lnTo>
                  <a:lnTo>
                    <a:pt x="1659152" y="3309375"/>
                  </a:lnTo>
                  <a:lnTo>
                    <a:pt x="1677070" y="3326357"/>
                  </a:lnTo>
                  <a:lnTo>
                    <a:pt x="1694988" y="3343339"/>
                  </a:lnTo>
                  <a:lnTo>
                    <a:pt x="1715750" y="3357339"/>
                  </a:lnTo>
                  <a:lnTo>
                    <a:pt x="1743652" y="3340767"/>
                  </a:lnTo>
                  <a:lnTo>
                    <a:pt x="1754172" y="3321298"/>
                  </a:lnTo>
                  <a:lnTo>
                    <a:pt x="1768627" y="3282448"/>
                  </a:lnTo>
                  <a:lnTo>
                    <a:pt x="1776363" y="3244745"/>
                  </a:lnTo>
                  <a:lnTo>
                    <a:pt x="1782629" y="3207457"/>
                  </a:lnTo>
                  <a:lnTo>
                    <a:pt x="1784080" y="3174569"/>
                  </a:lnTo>
                  <a:lnTo>
                    <a:pt x="1834642" y="3142557"/>
                  </a:lnTo>
                  <a:lnTo>
                    <a:pt x="1878630" y="3135930"/>
                  </a:lnTo>
                  <a:lnTo>
                    <a:pt x="1920540" y="3127770"/>
                  </a:lnTo>
                  <a:lnTo>
                    <a:pt x="1956014" y="3120839"/>
                  </a:lnTo>
                  <a:lnTo>
                    <a:pt x="1991528" y="3109193"/>
                  </a:lnTo>
                  <a:lnTo>
                    <a:pt x="2027997" y="3104643"/>
                  </a:lnTo>
                  <a:lnTo>
                    <a:pt x="2038862" y="3141244"/>
                  </a:lnTo>
                  <a:lnTo>
                    <a:pt x="2058454" y="3175248"/>
                  </a:lnTo>
                  <a:lnTo>
                    <a:pt x="2063366" y="3202577"/>
                  </a:lnTo>
                  <a:lnTo>
                    <a:pt x="2067672" y="3224340"/>
                  </a:lnTo>
                  <a:lnTo>
                    <a:pt x="2090886" y="3257961"/>
                  </a:lnTo>
                  <a:lnTo>
                    <a:pt x="2085150" y="3280516"/>
                  </a:lnTo>
                  <a:lnTo>
                    <a:pt x="2067145" y="3293990"/>
                  </a:lnTo>
                  <a:lnTo>
                    <a:pt x="2051121" y="3308676"/>
                  </a:lnTo>
                  <a:lnTo>
                    <a:pt x="2035094" y="3323363"/>
                  </a:lnTo>
                  <a:lnTo>
                    <a:pt x="2020791" y="3339427"/>
                  </a:lnTo>
                  <a:lnTo>
                    <a:pt x="2018475" y="3360359"/>
                  </a:lnTo>
                  <a:lnTo>
                    <a:pt x="2076642" y="3364996"/>
                  </a:lnTo>
                  <a:lnTo>
                    <a:pt x="2137956" y="3370517"/>
                  </a:lnTo>
                  <a:lnTo>
                    <a:pt x="2189857" y="3372613"/>
                  </a:lnTo>
                  <a:lnTo>
                    <a:pt x="2212259" y="3410831"/>
                  </a:lnTo>
                  <a:lnTo>
                    <a:pt x="2221142" y="3441979"/>
                  </a:lnTo>
                  <a:lnTo>
                    <a:pt x="2230028" y="3473126"/>
                  </a:lnTo>
                  <a:lnTo>
                    <a:pt x="2237913" y="3505316"/>
                  </a:lnTo>
                  <a:lnTo>
                    <a:pt x="2324519" y="3548078"/>
                  </a:lnTo>
                  <a:lnTo>
                    <a:pt x="2338843" y="3588840"/>
                  </a:lnTo>
                  <a:lnTo>
                    <a:pt x="2332236" y="3754484"/>
                  </a:lnTo>
                  <a:lnTo>
                    <a:pt x="2324519" y="3788831"/>
                  </a:lnTo>
                  <a:lnTo>
                    <a:pt x="2301398" y="3801070"/>
                  </a:lnTo>
                  <a:lnTo>
                    <a:pt x="2278267" y="3813312"/>
                  </a:lnTo>
                  <a:lnTo>
                    <a:pt x="2276909" y="3840522"/>
                  </a:lnTo>
                  <a:lnTo>
                    <a:pt x="2283715" y="3867719"/>
                  </a:lnTo>
                  <a:lnTo>
                    <a:pt x="2280518" y="3906115"/>
                  </a:lnTo>
                  <a:lnTo>
                    <a:pt x="2273303" y="3946305"/>
                  </a:lnTo>
                  <a:lnTo>
                    <a:pt x="2268990" y="3967144"/>
                  </a:lnTo>
                  <a:lnTo>
                    <a:pt x="2263800" y="4000317"/>
                  </a:lnTo>
                  <a:lnTo>
                    <a:pt x="2246443" y="4053644"/>
                  </a:lnTo>
                  <a:lnTo>
                    <a:pt x="2227942" y="4105756"/>
                  </a:lnTo>
                  <a:lnTo>
                    <a:pt x="2209450" y="4157867"/>
                  </a:lnTo>
                  <a:lnTo>
                    <a:pt x="2188809" y="4208004"/>
                  </a:lnTo>
                  <a:lnTo>
                    <a:pt x="2286434" y="4594070"/>
                  </a:lnTo>
                  <a:lnTo>
                    <a:pt x="2392533" y="4970841"/>
                  </a:lnTo>
                  <a:lnTo>
                    <a:pt x="2459199" y="4983767"/>
                  </a:lnTo>
                  <a:lnTo>
                    <a:pt x="2529356" y="4988524"/>
                  </a:lnTo>
                  <a:lnTo>
                    <a:pt x="2595200" y="5002129"/>
                  </a:lnTo>
                  <a:lnTo>
                    <a:pt x="2637455" y="5019300"/>
                  </a:lnTo>
                  <a:lnTo>
                    <a:pt x="2702657" y="5025759"/>
                  </a:lnTo>
                  <a:lnTo>
                    <a:pt x="2753835" y="5022060"/>
                  </a:lnTo>
                  <a:lnTo>
                    <a:pt x="2800592" y="5022528"/>
                  </a:lnTo>
                  <a:lnTo>
                    <a:pt x="2834041" y="5027585"/>
                  </a:lnTo>
                  <a:lnTo>
                    <a:pt x="2862346" y="5116215"/>
                  </a:lnTo>
                  <a:lnTo>
                    <a:pt x="2871322" y="5138149"/>
                  </a:lnTo>
                  <a:lnTo>
                    <a:pt x="2927629" y="5118264"/>
                  </a:lnTo>
                  <a:lnTo>
                    <a:pt x="2963050" y="5100833"/>
                  </a:lnTo>
                  <a:lnTo>
                    <a:pt x="2999178" y="5085098"/>
                  </a:lnTo>
                  <a:lnTo>
                    <a:pt x="3035303" y="5069371"/>
                  </a:lnTo>
                  <a:lnTo>
                    <a:pt x="3071729" y="5055862"/>
                  </a:lnTo>
                  <a:lnTo>
                    <a:pt x="3113435" y="5048377"/>
                  </a:lnTo>
                  <a:lnTo>
                    <a:pt x="3299827" y="5010925"/>
                  </a:lnTo>
                  <a:lnTo>
                    <a:pt x="3324265" y="5008929"/>
                  </a:lnTo>
                  <a:lnTo>
                    <a:pt x="3349625" y="5040933"/>
                  </a:lnTo>
                  <a:lnTo>
                    <a:pt x="3386305" y="5141888"/>
                  </a:lnTo>
                  <a:lnTo>
                    <a:pt x="3399079" y="5183033"/>
                  </a:lnTo>
                  <a:lnTo>
                    <a:pt x="3377930" y="5216277"/>
                  </a:lnTo>
                  <a:lnTo>
                    <a:pt x="3362973" y="5233457"/>
                  </a:lnTo>
                  <a:lnTo>
                    <a:pt x="3348748" y="5251047"/>
                  </a:lnTo>
                  <a:lnTo>
                    <a:pt x="3334522" y="5268634"/>
                  </a:lnTo>
                  <a:lnTo>
                    <a:pt x="3320647" y="5286791"/>
                  </a:lnTo>
                  <a:lnTo>
                    <a:pt x="3302496" y="5300015"/>
                  </a:lnTo>
                  <a:lnTo>
                    <a:pt x="3263212" y="5313031"/>
                  </a:lnTo>
                  <a:lnTo>
                    <a:pt x="3239929" y="5319052"/>
                  </a:lnTo>
                  <a:lnTo>
                    <a:pt x="3216650" y="5325080"/>
                  </a:lnTo>
                  <a:lnTo>
                    <a:pt x="3195765" y="5333002"/>
                  </a:lnTo>
                  <a:lnTo>
                    <a:pt x="3193852" y="5378481"/>
                  </a:lnTo>
                  <a:lnTo>
                    <a:pt x="3182435" y="5417976"/>
                  </a:lnTo>
                  <a:lnTo>
                    <a:pt x="3181440" y="5452356"/>
                  </a:lnTo>
                  <a:lnTo>
                    <a:pt x="3183102" y="5485727"/>
                  </a:lnTo>
                  <a:lnTo>
                    <a:pt x="3198825" y="5511478"/>
                  </a:lnTo>
                  <a:lnTo>
                    <a:pt x="3234491" y="5525802"/>
                  </a:lnTo>
                  <a:lnTo>
                    <a:pt x="3275140" y="5534614"/>
                  </a:lnTo>
                  <a:lnTo>
                    <a:pt x="3303802" y="5539467"/>
                  </a:lnTo>
                  <a:lnTo>
                    <a:pt x="3328343" y="5550291"/>
                  </a:lnTo>
                  <a:lnTo>
                    <a:pt x="3352887" y="5561112"/>
                  </a:lnTo>
                  <a:lnTo>
                    <a:pt x="3373782" y="5577554"/>
                  </a:lnTo>
                  <a:lnTo>
                    <a:pt x="3400431" y="5610138"/>
                  </a:lnTo>
                  <a:lnTo>
                    <a:pt x="3443812" y="5610430"/>
                  </a:lnTo>
                  <a:lnTo>
                    <a:pt x="3466551" y="5595749"/>
                  </a:lnTo>
                  <a:lnTo>
                    <a:pt x="3490209" y="5582928"/>
                  </a:lnTo>
                  <a:lnTo>
                    <a:pt x="3513863" y="5570107"/>
                  </a:lnTo>
                  <a:lnTo>
                    <a:pt x="3537803" y="5559865"/>
                  </a:lnTo>
                  <a:lnTo>
                    <a:pt x="3566378" y="5563890"/>
                  </a:lnTo>
                  <a:lnTo>
                    <a:pt x="3592798" y="5587346"/>
                  </a:lnTo>
                  <a:lnTo>
                    <a:pt x="3587824" y="5618460"/>
                  </a:lnTo>
                  <a:lnTo>
                    <a:pt x="3586804" y="5641417"/>
                  </a:lnTo>
                  <a:lnTo>
                    <a:pt x="3602927" y="5674875"/>
                  </a:lnTo>
                  <a:lnTo>
                    <a:pt x="3627335" y="5695023"/>
                  </a:lnTo>
                  <a:lnTo>
                    <a:pt x="3645440" y="5707683"/>
                  </a:lnTo>
                  <a:lnTo>
                    <a:pt x="3661591" y="5723031"/>
                  </a:lnTo>
                  <a:lnTo>
                    <a:pt x="3677748" y="5738375"/>
                  </a:lnTo>
                  <a:lnTo>
                    <a:pt x="3691390" y="5756433"/>
                  </a:lnTo>
                  <a:lnTo>
                    <a:pt x="3702397" y="5778798"/>
                  </a:lnTo>
                  <a:lnTo>
                    <a:pt x="3709166" y="5812957"/>
                  </a:lnTo>
                  <a:lnTo>
                    <a:pt x="3714673" y="5853457"/>
                  </a:lnTo>
                  <a:lnTo>
                    <a:pt x="3732318" y="5879455"/>
                  </a:lnTo>
                  <a:lnTo>
                    <a:pt x="3760943" y="5888081"/>
                  </a:lnTo>
                  <a:lnTo>
                    <a:pt x="3788178" y="5882153"/>
                  </a:lnTo>
                  <a:lnTo>
                    <a:pt x="3811206" y="5883529"/>
                  </a:lnTo>
                  <a:lnTo>
                    <a:pt x="3833828" y="5885880"/>
                  </a:lnTo>
                  <a:lnTo>
                    <a:pt x="3851160" y="5900223"/>
                  </a:lnTo>
                  <a:lnTo>
                    <a:pt x="3862899" y="5931139"/>
                  </a:lnTo>
                  <a:lnTo>
                    <a:pt x="3872337" y="5971428"/>
                  </a:lnTo>
                  <a:lnTo>
                    <a:pt x="3858685" y="6002462"/>
                  </a:lnTo>
                  <a:lnTo>
                    <a:pt x="3823640" y="6021847"/>
                  </a:lnTo>
                  <a:lnTo>
                    <a:pt x="3804686" y="6044161"/>
                  </a:lnTo>
                  <a:lnTo>
                    <a:pt x="3811011" y="6071493"/>
                  </a:lnTo>
                  <a:lnTo>
                    <a:pt x="3818520" y="6116442"/>
                  </a:lnTo>
                  <a:lnTo>
                    <a:pt x="3826725" y="6143172"/>
                  </a:lnTo>
                  <a:lnTo>
                    <a:pt x="3826173" y="6166452"/>
                  </a:lnTo>
                  <a:lnTo>
                    <a:pt x="3824061" y="6189244"/>
                  </a:lnTo>
                  <a:lnTo>
                    <a:pt x="3811966" y="6208948"/>
                  </a:lnTo>
                  <a:lnTo>
                    <a:pt x="3786727" y="6224935"/>
                  </a:lnTo>
                  <a:lnTo>
                    <a:pt x="3763606" y="6234460"/>
                  </a:lnTo>
                  <a:lnTo>
                    <a:pt x="3741837" y="6246698"/>
                  </a:lnTo>
                  <a:lnTo>
                    <a:pt x="3739930" y="6279198"/>
                  </a:lnTo>
                  <a:lnTo>
                    <a:pt x="3736494" y="6317673"/>
                  </a:lnTo>
                  <a:lnTo>
                    <a:pt x="3728238" y="6354155"/>
                  </a:lnTo>
                  <a:lnTo>
                    <a:pt x="3719987" y="6390646"/>
                  </a:lnTo>
                  <a:lnTo>
                    <a:pt x="3706251" y="6424761"/>
                  </a:lnTo>
                  <a:lnTo>
                    <a:pt x="3684712" y="6450732"/>
                  </a:lnTo>
                  <a:lnTo>
                    <a:pt x="3598615" y="6484736"/>
                  </a:lnTo>
                  <a:lnTo>
                    <a:pt x="3577655" y="6519509"/>
                  </a:lnTo>
                  <a:lnTo>
                    <a:pt x="3582780" y="6545691"/>
                  </a:lnTo>
                  <a:lnTo>
                    <a:pt x="3570455" y="6570430"/>
                  </a:lnTo>
                  <a:lnTo>
                    <a:pt x="3434032" y="6582293"/>
                  </a:lnTo>
                  <a:lnTo>
                    <a:pt x="3401644" y="6579859"/>
                  </a:lnTo>
                  <a:lnTo>
                    <a:pt x="3376082" y="6580216"/>
                  </a:lnTo>
                  <a:lnTo>
                    <a:pt x="3353470" y="6580414"/>
                  </a:lnTo>
                  <a:lnTo>
                    <a:pt x="3331059" y="6584029"/>
                  </a:lnTo>
                  <a:lnTo>
                    <a:pt x="3308651" y="6587641"/>
                  </a:lnTo>
                  <a:lnTo>
                    <a:pt x="3286082" y="6594295"/>
                  </a:lnTo>
                  <a:lnTo>
                    <a:pt x="3268492" y="6605792"/>
                  </a:lnTo>
                  <a:lnTo>
                    <a:pt x="3234485" y="6574517"/>
                  </a:lnTo>
                  <a:lnTo>
                    <a:pt x="3173258" y="6562105"/>
                  </a:lnTo>
                  <a:lnTo>
                    <a:pt x="3137731" y="6637936"/>
                  </a:lnTo>
                  <a:lnTo>
                    <a:pt x="3128299" y="6660074"/>
                  </a:lnTo>
                  <a:lnTo>
                    <a:pt x="3090404" y="6676672"/>
                  </a:lnTo>
                  <a:lnTo>
                    <a:pt x="3063069" y="6670244"/>
                  </a:lnTo>
                  <a:lnTo>
                    <a:pt x="3007336" y="6677893"/>
                  </a:lnTo>
                  <a:lnTo>
                    <a:pt x="2896198" y="6693920"/>
                  </a:lnTo>
                  <a:lnTo>
                    <a:pt x="2875397" y="6705098"/>
                  </a:lnTo>
                  <a:lnTo>
                    <a:pt x="2881260" y="6737570"/>
                  </a:lnTo>
                  <a:lnTo>
                    <a:pt x="2892499" y="6788218"/>
                  </a:lnTo>
                  <a:lnTo>
                    <a:pt x="2899938" y="6830427"/>
                  </a:lnTo>
                  <a:lnTo>
                    <a:pt x="2912117" y="6871038"/>
                  </a:lnTo>
                  <a:lnTo>
                    <a:pt x="2924299" y="6911656"/>
                  </a:lnTo>
                  <a:lnTo>
                    <a:pt x="2941135" y="6950624"/>
                  </a:lnTo>
                  <a:lnTo>
                    <a:pt x="2967890" y="6974415"/>
                  </a:lnTo>
                  <a:lnTo>
                    <a:pt x="2986996" y="6991409"/>
                  </a:lnTo>
                  <a:lnTo>
                    <a:pt x="3018045" y="7006590"/>
                  </a:lnTo>
                  <a:lnTo>
                    <a:pt x="3039979" y="7020663"/>
                  </a:lnTo>
                  <a:lnTo>
                    <a:pt x="3071391" y="7040476"/>
                  </a:lnTo>
                  <a:lnTo>
                    <a:pt x="3091263" y="7058103"/>
                  </a:lnTo>
                  <a:lnTo>
                    <a:pt x="3143387" y="7094026"/>
                  </a:lnTo>
                  <a:lnTo>
                    <a:pt x="3161537" y="7122344"/>
                  </a:lnTo>
                  <a:lnTo>
                    <a:pt x="3174640" y="7152602"/>
                  </a:lnTo>
                  <a:lnTo>
                    <a:pt x="3187737" y="7182852"/>
                  </a:lnTo>
                  <a:lnTo>
                    <a:pt x="3196478" y="7215891"/>
                  </a:lnTo>
                  <a:lnTo>
                    <a:pt x="3214080" y="7250534"/>
                  </a:lnTo>
                  <a:lnTo>
                    <a:pt x="3225654" y="7273302"/>
                  </a:lnTo>
                  <a:lnTo>
                    <a:pt x="3257876" y="7289524"/>
                  </a:lnTo>
                  <a:lnTo>
                    <a:pt x="3290255" y="7309027"/>
                  </a:lnTo>
                  <a:lnTo>
                    <a:pt x="3322703" y="7329206"/>
                  </a:lnTo>
                  <a:lnTo>
                    <a:pt x="3350298" y="7354128"/>
                  </a:lnTo>
                  <a:lnTo>
                    <a:pt x="3367785" y="7385196"/>
                  </a:lnTo>
                  <a:lnTo>
                    <a:pt x="3378324" y="7424899"/>
                  </a:lnTo>
                  <a:lnTo>
                    <a:pt x="3375952" y="7455843"/>
                  </a:lnTo>
                  <a:lnTo>
                    <a:pt x="3375952" y="7509359"/>
                  </a:lnTo>
                  <a:lnTo>
                    <a:pt x="3386686" y="7564230"/>
                  </a:lnTo>
                  <a:lnTo>
                    <a:pt x="3394996" y="7610987"/>
                  </a:lnTo>
                  <a:lnTo>
                    <a:pt x="3394996" y="7638191"/>
                  </a:lnTo>
                  <a:lnTo>
                    <a:pt x="3387347" y="7675479"/>
                  </a:lnTo>
                  <a:lnTo>
                    <a:pt x="3378160" y="7712441"/>
                  </a:lnTo>
                  <a:lnTo>
                    <a:pt x="3371869" y="7751090"/>
                  </a:lnTo>
                  <a:lnTo>
                    <a:pt x="3369230" y="7788111"/>
                  </a:lnTo>
                  <a:lnTo>
                    <a:pt x="3379276" y="7817545"/>
                  </a:lnTo>
                  <a:lnTo>
                    <a:pt x="3389548" y="7844941"/>
                  </a:lnTo>
                  <a:lnTo>
                    <a:pt x="3399830" y="7872335"/>
                  </a:lnTo>
                  <a:lnTo>
                    <a:pt x="3411259" y="7897865"/>
                  </a:lnTo>
                  <a:lnTo>
                    <a:pt x="3412679" y="7927910"/>
                  </a:lnTo>
                  <a:lnTo>
                    <a:pt x="3400788" y="7969585"/>
                  </a:lnTo>
                  <a:lnTo>
                    <a:pt x="3389548" y="7990483"/>
                  </a:lnTo>
                  <a:lnTo>
                    <a:pt x="3378324" y="8011384"/>
                  </a:lnTo>
                  <a:lnTo>
                    <a:pt x="3368774" y="8031522"/>
                  </a:lnTo>
                  <a:lnTo>
                    <a:pt x="3397715" y="8171390"/>
                  </a:lnTo>
                  <a:lnTo>
                    <a:pt x="3402515" y="8194424"/>
                  </a:lnTo>
                  <a:lnTo>
                    <a:pt x="3404264" y="8222611"/>
                  </a:lnTo>
                  <a:lnTo>
                    <a:pt x="3409953" y="8244843"/>
                  </a:lnTo>
                  <a:lnTo>
                    <a:pt x="3415447" y="8266302"/>
                  </a:lnTo>
                  <a:lnTo>
                    <a:pt x="3424938" y="8294461"/>
                  </a:lnTo>
                  <a:lnTo>
                    <a:pt x="3431722" y="8323731"/>
                  </a:lnTo>
                  <a:lnTo>
                    <a:pt x="3438773" y="8378943"/>
                  </a:lnTo>
                  <a:lnTo>
                    <a:pt x="3441241" y="8409425"/>
                  </a:lnTo>
                  <a:lnTo>
                    <a:pt x="3494968" y="8408612"/>
                  </a:lnTo>
                  <a:lnTo>
                    <a:pt x="3581047" y="8464175"/>
                  </a:lnTo>
                  <a:lnTo>
                    <a:pt x="3633028" y="8480155"/>
                  </a:lnTo>
                  <a:lnTo>
                    <a:pt x="3691325" y="8498092"/>
                  </a:lnTo>
                  <a:lnTo>
                    <a:pt x="3745713" y="8494861"/>
                  </a:lnTo>
                  <a:lnTo>
                    <a:pt x="3804416" y="8503276"/>
                  </a:lnTo>
                  <a:lnTo>
                    <a:pt x="3848450" y="8509521"/>
                  </a:lnTo>
                  <a:lnTo>
                    <a:pt x="3890082" y="8528357"/>
                  </a:lnTo>
                  <a:lnTo>
                    <a:pt x="3933630" y="8534564"/>
                  </a:lnTo>
                  <a:lnTo>
                    <a:pt x="3960152" y="8536772"/>
                  </a:lnTo>
                  <a:lnTo>
                    <a:pt x="3985530" y="8532441"/>
                  </a:lnTo>
                  <a:lnTo>
                    <a:pt x="4007083" y="8522323"/>
                  </a:lnTo>
                  <a:lnTo>
                    <a:pt x="4048717" y="8504173"/>
                  </a:lnTo>
                  <a:lnTo>
                    <a:pt x="4089527" y="8467617"/>
                  </a:lnTo>
                  <a:lnTo>
                    <a:pt x="4121339" y="8455667"/>
                  </a:lnTo>
                  <a:lnTo>
                    <a:pt x="4160679" y="8440921"/>
                  </a:lnTo>
                  <a:lnTo>
                    <a:pt x="4200293" y="8437947"/>
                  </a:lnTo>
                  <a:lnTo>
                    <a:pt x="4238312" y="8417589"/>
                  </a:lnTo>
                  <a:lnTo>
                    <a:pt x="4303418" y="8382688"/>
                  </a:lnTo>
                  <a:lnTo>
                    <a:pt x="4265516" y="8342393"/>
                  </a:lnTo>
                  <a:lnTo>
                    <a:pt x="4295446" y="8295168"/>
                  </a:lnTo>
                  <a:lnTo>
                    <a:pt x="4317802" y="8259846"/>
                  </a:lnTo>
                  <a:lnTo>
                    <a:pt x="4387766" y="8234725"/>
                  </a:lnTo>
                  <a:lnTo>
                    <a:pt x="4423299" y="8189075"/>
                  </a:lnTo>
                  <a:lnTo>
                    <a:pt x="4449211" y="8155791"/>
                  </a:lnTo>
                  <a:lnTo>
                    <a:pt x="4460686" y="8100151"/>
                  </a:lnTo>
                  <a:lnTo>
                    <a:pt x="4479072" y="8061214"/>
                  </a:lnTo>
                  <a:lnTo>
                    <a:pt x="4494929" y="8027631"/>
                  </a:lnTo>
                  <a:lnTo>
                    <a:pt x="4518729" y="8001155"/>
                  </a:lnTo>
                  <a:lnTo>
                    <a:pt x="4536198" y="7968720"/>
                  </a:lnTo>
                  <a:lnTo>
                    <a:pt x="4554646" y="7919793"/>
                  </a:lnTo>
                  <a:lnTo>
                    <a:pt x="4556069" y="7893267"/>
                  </a:lnTo>
                  <a:lnTo>
                    <a:pt x="4546191" y="7871551"/>
                  </a:lnTo>
                  <a:lnTo>
                    <a:pt x="4491611" y="7854082"/>
                  </a:lnTo>
                  <a:lnTo>
                    <a:pt x="4464407" y="7837547"/>
                  </a:lnTo>
                  <a:lnTo>
                    <a:pt x="4430108" y="7813660"/>
                  </a:lnTo>
                  <a:lnTo>
                    <a:pt x="4327919" y="7742501"/>
                  </a:lnTo>
                  <a:lnTo>
                    <a:pt x="4376121" y="7679851"/>
                  </a:lnTo>
                  <a:lnTo>
                    <a:pt x="4352572" y="7578341"/>
                  </a:lnTo>
                  <a:lnTo>
                    <a:pt x="4347341" y="7555728"/>
                  </a:lnTo>
                  <a:lnTo>
                    <a:pt x="4330805" y="7538303"/>
                  </a:lnTo>
                  <a:lnTo>
                    <a:pt x="4326731" y="7515777"/>
                  </a:lnTo>
                  <a:lnTo>
                    <a:pt x="4356652" y="7504888"/>
                  </a:lnTo>
                  <a:lnTo>
                    <a:pt x="4439859" y="7553260"/>
                  </a:lnTo>
                  <a:lnTo>
                    <a:pt x="4394736" y="7667517"/>
                  </a:lnTo>
                  <a:lnTo>
                    <a:pt x="4442346" y="7713002"/>
                  </a:lnTo>
                  <a:lnTo>
                    <a:pt x="4487335" y="7728638"/>
                  </a:lnTo>
                  <a:lnTo>
                    <a:pt x="4507635" y="7745642"/>
                  </a:lnTo>
                  <a:lnTo>
                    <a:pt x="4565334" y="7802132"/>
                  </a:lnTo>
                  <a:lnTo>
                    <a:pt x="4646017" y="7847534"/>
                  </a:lnTo>
                  <a:lnTo>
                    <a:pt x="4644678" y="7703012"/>
                  </a:lnTo>
                  <a:lnTo>
                    <a:pt x="4632775" y="7662670"/>
                  </a:lnTo>
                  <a:lnTo>
                    <a:pt x="4638216" y="7642272"/>
                  </a:lnTo>
                  <a:lnTo>
                    <a:pt x="4663889" y="7628114"/>
                  </a:lnTo>
                  <a:lnTo>
                    <a:pt x="4696045" y="7626372"/>
                  </a:lnTo>
                  <a:lnTo>
                    <a:pt x="4719827" y="7612345"/>
                  </a:lnTo>
                  <a:lnTo>
                    <a:pt x="4780545" y="7576555"/>
                  </a:lnTo>
                  <a:lnTo>
                    <a:pt x="4836189" y="7533581"/>
                  </a:lnTo>
                  <a:lnTo>
                    <a:pt x="4861288" y="7464084"/>
                  </a:lnTo>
                  <a:lnTo>
                    <a:pt x="4873020" y="7431565"/>
                  </a:lnTo>
                  <a:lnTo>
                    <a:pt x="4871405" y="7387273"/>
                  </a:lnTo>
                  <a:lnTo>
                    <a:pt x="4888492" y="7357985"/>
                  </a:lnTo>
                  <a:lnTo>
                    <a:pt x="4926471" y="7367212"/>
                  </a:lnTo>
                  <a:lnTo>
                    <a:pt x="4938989" y="7408701"/>
                  </a:lnTo>
                  <a:lnTo>
                    <a:pt x="4933376" y="7442321"/>
                  </a:lnTo>
                  <a:lnTo>
                    <a:pt x="4920028" y="7522319"/>
                  </a:lnTo>
                  <a:lnTo>
                    <a:pt x="4821526" y="7603204"/>
                  </a:lnTo>
                  <a:lnTo>
                    <a:pt x="4774236" y="7664035"/>
                  </a:lnTo>
                  <a:lnTo>
                    <a:pt x="4700253" y="7759207"/>
                  </a:lnTo>
                  <a:lnTo>
                    <a:pt x="4748138" y="7812423"/>
                  </a:lnTo>
                  <a:lnTo>
                    <a:pt x="4718469" y="7897983"/>
                  </a:lnTo>
                  <a:lnTo>
                    <a:pt x="4692365" y="7973265"/>
                  </a:lnTo>
                  <a:lnTo>
                    <a:pt x="4615430" y="8006253"/>
                  </a:lnTo>
                  <a:lnTo>
                    <a:pt x="4600129" y="8050334"/>
                  </a:lnTo>
                  <a:lnTo>
                    <a:pt x="4588501" y="8083907"/>
                  </a:lnTo>
                  <a:lnTo>
                    <a:pt x="4601192" y="8128540"/>
                  </a:lnTo>
                  <a:lnTo>
                    <a:pt x="4587884" y="8160507"/>
                  </a:lnTo>
                  <a:lnTo>
                    <a:pt x="4578663" y="8182651"/>
                  </a:lnTo>
                  <a:lnTo>
                    <a:pt x="4555198" y="8197782"/>
                  </a:lnTo>
                  <a:lnTo>
                    <a:pt x="4545723" y="8218996"/>
                  </a:lnTo>
                  <a:lnTo>
                    <a:pt x="4478347" y="8247646"/>
                  </a:lnTo>
                  <a:lnTo>
                    <a:pt x="4444219" y="8284881"/>
                  </a:lnTo>
                  <a:lnTo>
                    <a:pt x="4419054" y="8370699"/>
                  </a:lnTo>
                  <a:lnTo>
                    <a:pt x="4466834" y="8391742"/>
                  </a:lnTo>
                  <a:lnTo>
                    <a:pt x="4523219" y="8416646"/>
                  </a:lnTo>
                  <a:lnTo>
                    <a:pt x="4588318" y="8388465"/>
                  </a:lnTo>
                  <a:lnTo>
                    <a:pt x="4670865" y="8437987"/>
                  </a:lnTo>
                  <a:lnTo>
                    <a:pt x="4695500" y="8450266"/>
                  </a:lnTo>
                  <a:lnTo>
                    <a:pt x="4712224" y="8485761"/>
                  </a:lnTo>
                  <a:lnTo>
                    <a:pt x="4798002" y="8526484"/>
                  </a:lnTo>
                  <a:lnTo>
                    <a:pt x="4823210" y="8495113"/>
                  </a:lnTo>
                  <a:lnTo>
                    <a:pt x="4840145" y="8448229"/>
                  </a:lnTo>
                  <a:lnTo>
                    <a:pt x="4850051" y="8366959"/>
                  </a:lnTo>
                  <a:lnTo>
                    <a:pt x="4876257" y="8333253"/>
                  </a:lnTo>
                  <a:lnTo>
                    <a:pt x="4905710" y="8295419"/>
                  </a:lnTo>
                  <a:lnTo>
                    <a:pt x="4980881" y="8263669"/>
                  </a:lnTo>
                  <a:lnTo>
                    <a:pt x="5028602" y="8259800"/>
                  </a:lnTo>
                  <a:lnTo>
                    <a:pt x="5074797" y="8256061"/>
                  </a:lnTo>
                  <a:lnTo>
                    <a:pt x="5233076" y="8316376"/>
                  </a:lnTo>
                  <a:lnTo>
                    <a:pt x="5276152" y="8341410"/>
                  </a:lnTo>
                  <a:lnTo>
                    <a:pt x="5306885" y="8359264"/>
                  </a:lnTo>
                  <a:lnTo>
                    <a:pt x="5337169" y="8384853"/>
                  </a:lnTo>
                  <a:lnTo>
                    <a:pt x="5370004" y="8398542"/>
                  </a:lnTo>
                  <a:lnTo>
                    <a:pt x="5421161" y="8419837"/>
                  </a:lnTo>
                  <a:lnTo>
                    <a:pt x="5448796" y="8397884"/>
                  </a:lnTo>
                  <a:lnTo>
                    <a:pt x="5491070" y="8406703"/>
                  </a:lnTo>
                  <a:lnTo>
                    <a:pt x="5534490" y="8415756"/>
                  </a:lnTo>
                  <a:lnTo>
                    <a:pt x="5570426" y="8455543"/>
                  </a:lnTo>
                  <a:lnTo>
                    <a:pt x="5617564" y="8461109"/>
                  </a:lnTo>
                  <a:lnTo>
                    <a:pt x="5772032" y="8405084"/>
                  </a:lnTo>
                  <a:lnTo>
                    <a:pt x="5794387" y="8393103"/>
                  </a:lnTo>
                  <a:lnTo>
                    <a:pt x="5813605" y="8382853"/>
                  </a:lnTo>
                  <a:lnTo>
                    <a:pt x="5831709" y="8367086"/>
                  </a:lnTo>
                  <a:lnTo>
                    <a:pt x="5851513" y="8359093"/>
                  </a:lnTo>
                  <a:lnTo>
                    <a:pt x="5909627" y="8335885"/>
                  </a:lnTo>
                  <a:lnTo>
                    <a:pt x="5976228" y="8296650"/>
                  </a:lnTo>
                  <a:lnTo>
                    <a:pt x="5980739" y="8225796"/>
                  </a:lnTo>
                  <a:lnTo>
                    <a:pt x="5859168" y="7993286"/>
                  </a:lnTo>
                  <a:lnTo>
                    <a:pt x="5983793" y="7949930"/>
                  </a:lnTo>
                  <a:lnTo>
                    <a:pt x="5963053" y="7847664"/>
                  </a:lnTo>
                  <a:lnTo>
                    <a:pt x="5952083" y="7793593"/>
                  </a:lnTo>
                  <a:lnTo>
                    <a:pt x="5924203" y="7735361"/>
                  </a:lnTo>
                  <a:lnTo>
                    <a:pt x="5881440" y="7699397"/>
                  </a:lnTo>
                  <a:lnTo>
                    <a:pt x="5862526" y="7687243"/>
                  </a:lnTo>
                  <a:lnTo>
                    <a:pt x="5786143" y="7598699"/>
                  </a:lnTo>
                  <a:lnTo>
                    <a:pt x="5796090" y="7469228"/>
                  </a:lnTo>
                  <a:lnTo>
                    <a:pt x="5843355" y="7382474"/>
                  </a:lnTo>
                  <a:lnTo>
                    <a:pt x="5905419" y="7268769"/>
                  </a:lnTo>
                  <a:lnTo>
                    <a:pt x="6024687" y="7274586"/>
                  </a:lnTo>
                  <a:lnTo>
                    <a:pt x="6074591" y="7219249"/>
                  </a:lnTo>
                  <a:lnTo>
                    <a:pt x="6110086" y="7179884"/>
                  </a:lnTo>
                  <a:lnTo>
                    <a:pt x="6204998" y="6893607"/>
                  </a:lnTo>
                  <a:lnTo>
                    <a:pt x="6198366" y="6843834"/>
                  </a:lnTo>
                  <a:lnTo>
                    <a:pt x="6176897" y="6811870"/>
                  </a:lnTo>
                  <a:lnTo>
                    <a:pt x="6114715" y="6814803"/>
                  </a:lnTo>
                  <a:lnTo>
                    <a:pt x="6083685" y="6852506"/>
                  </a:lnTo>
                  <a:lnTo>
                    <a:pt x="6039222" y="6864239"/>
                  </a:lnTo>
                  <a:lnTo>
                    <a:pt x="6012489" y="6871336"/>
                  </a:lnTo>
                  <a:lnTo>
                    <a:pt x="5973893" y="6858713"/>
                  </a:lnTo>
                  <a:lnTo>
                    <a:pt x="5954896" y="6839753"/>
                  </a:lnTo>
                  <a:lnTo>
                    <a:pt x="5865205" y="6749976"/>
                  </a:lnTo>
                  <a:lnTo>
                    <a:pt x="6001051" y="6593300"/>
                  </a:lnTo>
                  <a:lnTo>
                    <a:pt x="6056905" y="6521463"/>
                  </a:lnTo>
                  <a:lnTo>
                    <a:pt x="6071447" y="6502766"/>
                  </a:lnTo>
                  <a:lnTo>
                    <a:pt x="6096989" y="6457404"/>
                  </a:lnTo>
                  <a:lnTo>
                    <a:pt x="6085474" y="6434417"/>
                  </a:lnTo>
                  <a:lnTo>
                    <a:pt x="6049215" y="6361897"/>
                  </a:lnTo>
                  <a:lnTo>
                    <a:pt x="5937973" y="6498425"/>
                  </a:lnTo>
                  <a:lnTo>
                    <a:pt x="5895045" y="6503789"/>
                  </a:lnTo>
                  <a:lnTo>
                    <a:pt x="5848756" y="6500127"/>
                  </a:lnTo>
                  <a:lnTo>
                    <a:pt x="5795284" y="6491244"/>
                  </a:lnTo>
                  <a:lnTo>
                    <a:pt x="5772671" y="6478919"/>
                  </a:lnTo>
                  <a:lnTo>
                    <a:pt x="5749503" y="6452096"/>
                  </a:lnTo>
                  <a:lnTo>
                    <a:pt x="5734072" y="6434200"/>
                  </a:lnTo>
                  <a:lnTo>
                    <a:pt x="5730714" y="6408142"/>
                  </a:lnTo>
                  <a:lnTo>
                    <a:pt x="5723657" y="6386807"/>
                  </a:lnTo>
                  <a:lnTo>
                    <a:pt x="5659648" y="6194803"/>
                  </a:lnTo>
                  <a:lnTo>
                    <a:pt x="5874891" y="6102654"/>
                  </a:lnTo>
                  <a:lnTo>
                    <a:pt x="5831114" y="5977384"/>
                  </a:lnTo>
                  <a:lnTo>
                    <a:pt x="5772842" y="5810504"/>
                  </a:lnTo>
                  <a:lnTo>
                    <a:pt x="5666743" y="5890844"/>
                  </a:lnTo>
                  <a:lnTo>
                    <a:pt x="5631163" y="5808725"/>
                  </a:lnTo>
                  <a:lnTo>
                    <a:pt x="5597035" y="5729954"/>
                  </a:lnTo>
                  <a:lnTo>
                    <a:pt x="5715797" y="5625012"/>
                  </a:lnTo>
                  <a:lnTo>
                    <a:pt x="5631163" y="5482276"/>
                  </a:lnTo>
                  <a:lnTo>
                    <a:pt x="5588918" y="5410994"/>
                  </a:lnTo>
                  <a:lnTo>
                    <a:pt x="5526872" y="5417111"/>
                  </a:lnTo>
                  <a:lnTo>
                    <a:pt x="5458423" y="5396582"/>
                  </a:lnTo>
                  <a:lnTo>
                    <a:pt x="5426373" y="5386933"/>
                  </a:lnTo>
                  <a:lnTo>
                    <a:pt x="5352259" y="5331247"/>
                  </a:lnTo>
                  <a:lnTo>
                    <a:pt x="5333284" y="5302731"/>
                  </a:lnTo>
                  <a:lnTo>
                    <a:pt x="5292074" y="5240924"/>
                  </a:lnTo>
                  <a:lnTo>
                    <a:pt x="5322081" y="5110984"/>
                  </a:lnTo>
                  <a:lnTo>
                    <a:pt x="5408092" y="5108222"/>
                  </a:lnTo>
                  <a:lnTo>
                    <a:pt x="5423331" y="5161223"/>
                  </a:lnTo>
                  <a:lnTo>
                    <a:pt x="5392855" y="5227833"/>
                  </a:lnTo>
                  <a:lnTo>
                    <a:pt x="5404014" y="5268720"/>
                  </a:lnTo>
                  <a:lnTo>
                    <a:pt x="5432856" y="5374475"/>
                  </a:lnTo>
                  <a:lnTo>
                    <a:pt x="5641070" y="5361682"/>
                  </a:lnTo>
                  <a:lnTo>
                    <a:pt x="5697810" y="5430587"/>
                  </a:lnTo>
                  <a:lnTo>
                    <a:pt x="5761788" y="5508287"/>
                  </a:lnTo>
                  <a:lnTo>
                    <a:pt x="5692760" y="5623356"/>
                  </a:lnTo>
                  <a:lnTo>
                    <a:pt x="5710058" y="5712148"/>
                  </a:lnTo>
                  <a:lnTo>
                    <a:pt x="5730801" y="5818842"/>
                  </a:lnTo>
                  <a:lnTo>
                    <a:pt x="5837110" y="5785898"/>
                  </a:lnTo>
                  <a:lnTo>
                    <a:pt x="5880081" y="5848167"/>
                  </a:lnTo>
                  <a:lnTo>
                    <a:pt x="5902266" y="5862281"/>
                  </a:lnTo>
                  <a:lnTo>
                    <a:pt x="5909925" y="5899643"/>
                  </a:lnTo>
                  <a:lnTo>
                    <a:pt x="5915450" y="5924339"/>
                  </a:lnTo>
                  <a:lnTo>
                    <a:pt x="5942865" y="6047736"/>
                  </a:lnTo>
                  <a:lnTo>
                    <a:pt x="5906005" y="6140996"/>
                  </a:lnTo>
                  <a:lnTo>
                    <a:pt x="5850161" y="6249423"/>
                  </a:lnTo>
                  <a:lnTo>
                    <a:pt x="5836602" y="6275735"/>
                  </a:lnTo>
                  <a:lnTo>
                    <a:pt x="5825204" y="6296648"/>
                  </a:lnTo>
                  <a:lnTo>
                    <a:pt x="5821592" y="6326960"/>
                  </a:lnTo>
                  <a:lnTo>
                    <a:pt x="5831709" y="6375115"/>
                  </a:lnTo>
                  <a:lnTo>
                    <a:pt x="5885607" y="6386807"/>
                  </a:lnTo>
                  <a:lnTo>
                    <a:pt x="5927691" y="6388165"/>
                  </a:lnTo>
                  <a:lnTo>
                    <a:pt x="5956424" y="6370656"/>
                  </a:lnTo>
                  <a:lnTo>
                    <a:pt x="6000967" y="6353141"/>
                  </a:lnTo>
                  <a:lnTo>
                    <a:pt x="6033784" y="6347365"/>
                  </a:lnTo>
                  <a:lnTo>
                    <a:pt x="6076380" y="6339877"/>
                  </a:lnTo>
                  <a:lnTo>
                    <a:pt x="6152294" y="6342726"/>
                  </a:lnTo>
                  <a:lnTo>
                    <a:pt x="6187489" y="6369128"/>
                  </a:lnTo>
                  <a:lnTo>
                    <a:pt x="6339957" y="6483421"/>
                  </a:lnTo>
                  <a:lnTo>
                    <a:pt x="5952514" y="6585440"/>
                  </a:lnTo>
                  <a:lnTo>
                    <a:pt x="6067791" y="6755423"/>
                  </a:lnTo>
                  <a:lnTo>
                    <a:pt x="6147274" y="6797288"/>
                  </a:lnTo>
                  <a:lnTo>
                    <a:pt x="6261407" y="6696081"/>
                  </a:lnTo>
                  <a:lnTo>
                    <a:pt x="6315345" y="6792144"/>
                  </a:lnTo>
                  <a:lnTo>
                    <a:pt x="6327586" y="6835459"/>
                  </a:lnTo>
                  <a:lnTo>
                    <a:pt x="6327586" y="6900661"/>
                  </a:lnTo>
                  <a:lnTo>
                    <a:pt x="6234327" y="7238123"/>
                  </a:lnTo>
                  <a:lnTo>
                    <a:pt x="6202446" y="7279097"/>
                  </a:lnTo>
                  <a:lnTo>
                    <a:pt x="6147188" y="7350165"/>
                  </a:lnTo>
                  <a:lnTo>
                    <a:pt x="6085644" y="7359898"/>
                  </a:lnTo>
                  <a:lnTo>
                    <a:pt x="6062346" y="7461362"/>
                  </a:lnTo>
                  <a:lnTo>
                    <a:pt x="6054570" y="7495152"/>
                  </a:lnTo>
                  <a:lnTo>
                    <a:pt x="6053463" y="7633305"/>
                  </a:lnTo>
                  <a:lnTo>
                    <a:pt x="6058275" y="7669470"/>
                  </a:lnTo>
                  <a:lnTo>
                    <a:pt x="6109109" y="7810336"/>
                  </a:lnTo>
                  <a:lnTo>
                    <a:pt x="6125301" y="7834638"/>
                  </a:lnTo>
                  <a:lnTo>
                    <a:pt x="6147749" y="7855704"/>
                  </a:lnTo>
                  <a:lnTo>
                    <a:pt x="6163010" y="7876226"/>
                  </a:lnTo>
                  <a:lnTo>
                    <a:pt x="6196862" y="7877467"/>
                  </a:lnTo>
                  <a:lnTo>
                    <a:pt x="6237901" y="7884623"/>
                  </a:lnTo>
                  <a:lnTo>
                    <a:pt x="6269103" y="7889826"/>
                  </a:lnTo>
                  <a:lnTo>
                    <a:pt x="6303891" y="7895630"/>
                  </a:lnTo>
                  <a:lnTo>
                    <a:pt x="6338460" y="7898743"/>
                  </a:lnTo>
                  <a:lnTo>
                    <a:pt x="6373844" y="7885748"/>
                  </a:lnTo>
                  <a:lnTo>
                    <a:pt x="6397631" y="7863223"/>
                  </a:lnTo>
                  <a:lnTo>
                    <a:pt x="6411928" y="7843583"/>
                  </a:lnTo>
                  <a:lnTo>
                    <a:pt x="6426225" y="7823950"/>
                  </a:lnTo>
                  <a:lnTo>
                    <a:pt x="6440674" y="7803031"/>
                  </a:lnTo>
                  <a:lnTo>
                    <a:pt x="6465057" y="7780759"/>
                  </a:lnTo>
                  <a:lnTo>
                    <a:pt x="6489722" y="7772732"/>
                  </a:lnTo>
                  <a:lnTo>
                    <a:pt x="6513937" y="7770134"/>
                  </a:lnTo>
                  <a:lnTo>
                    <a:pt x="6538153" y="7767535"/>
                  </a:lnTo>
                  <a:lnTo>
                    <a:pt x="6563215" y="7770069"/>
                  </a:lnTo>
                  <a:lnTo>
                    <a:pt x="6586798" y="7780192"/>
                  </a:lnTo>
                  <a:lnTo>
                    <a:pt x="6609153" y="7805496"/>
                  </a:lnTo>
                  <a:lnTo>
                    <a:pt x="6632113" y="7832700"/>
                  </a:lnTo>
                  <a:lnTo>
                    <a:pt x="6652214" y="7848271"/>
                  </a:lnTo>
                  <a:lnTo>
                    <a:pt x="6678935" y="7845568"/>
                  </a:lnTo>
                  <a:lnTo>
                    <a:pt x="6705724" y="7839506"/>
                  </a:lnTo>
                  <a:lnTo>
                    <a:pt x="6732519" y="7833438"/>
                  </a:lnTo>
                  <a:lnTo>
                    <a:pt x="6758477" y="7824425"/>
                  </a:lnTo>
                  <a:lnTo>
                    <a:pt x="6807774" y="7810376"/>
                  </a:lnTo>
                  <a:lnTo>
                    <a:pt x="6837589" y="7798585"/>
                  </a:lnTo>
                  <a:lnTo>
                    <a:pt x="6862149" y="7785097"/>
                  </a:lnTo>
                  <a:lnTo>
                    <a:pt x="6886708" y="7771606"/>
                  </a:lnTo>
                  <a:lnTo>
                    <a:pt x="6906512" y="7756172"/>
                  </a:lnTo>
                  <a:lnTo>
                    <a:pt x="6923364" y="7737491"/>
                  </a:lnTo>
                  <a:lnTo>
                    <a:pt x="6957054" y="7700122"/>
                  </a:lnTo>
                  <a:lnTo>
                    <a:pt x="6977987" y="7651294"/>
                  </a:lnTo>
                  <a:lnTo>
                    <a:pt x="6999526" y="7582424"/>
                  </a:lnTo>
                  <a:lnTo>
                    <a:pt x="7010791" y="7542650"/>
                  </a:lnTo>
                  <a:lnTo>
                    <a:pt x="7017215" y="7522574"/>
                  </a:lnTo>
                  <a:lnTo>
                    <a:pt x="7023636" y="7502507"/>
                  </a:lnTo>
                  <a:lnTo>
                    <a:pt x="7031540" y="7481838"/>
                  </a:lnTo>
                  <a:lnTo>
                    <a:pt x="7057892" y="7455334"/>
                  </a:lnTo>
                  <a:lnTo>
                    <a:pt x="7089949" y="7444932"/>
                  </a:lnTo>
                  <a:lnTo>
                    <a:pt x="7121947" y="7438247"/>
                  </a:lnTo>
                  <a:lnTo>
                    <a:pt x="7153948" y="7431553"/>
                  </a:lnTo>
                  <a:lnTo>
                    <a:pt x="7186222" y="7429072"/>
                  </a:lnTo>
                  <a:lnTo>
                    <a:pt x="7239016" y="7452860"/>
                  </a:lnTo>
                  <a:lnTo>
                    <a:pt x="7274970" y="7470040"/>
                  </a:lnTo>
                  <a:lnTo>
                    <a:pt x="7311017" y="7484489"/>
                  </a:lnTo>
                  <a:lnTo>
                    <a:pt x="7335248" y="7494185"/>
                  </a:lnTo>
                  <a:lnTo>
                    <a:pt x="7364747" y="7505027"/>
                  </a:lnTo>
                  <a:lnTo>
                    <a:pt x="7389906" y="7511700"/>
                  </a:lnTo>
                  <a:lnTo>
                    <a:pt x="7410645" y="7517228"/>
                  </a:lnTo>
                  <a:lnTo>
                    <a:pt x="7432839" y="7517827"/>
                  </a:lnTo>
                  <a:lnTo>
                    <a:pt x="7453837" y="7522583"/>
                  </a:lnTo>
                  <a:lnTo>
                    <a:pt x="7489602" y="7530682"/>
                  </a:lnTo>
                  <a:lnTo>
                    <a:pt x="7521842" y="7521222"/>
                  </a:lnTo>
                  <a:lnTo>
                    <a:pt x="7541819" y="7488241"/>
                  </a:lnTo>
                  <a:lnTo>
                    <a:pt x="7553130" y="7450494"/>
                  </a:lnTo>
                  <a:lnTo>
                    <a:pt x="7565830" y="7394659"/>
                  </a:lnTo>
                  <a:lnTo>
                    <a:pt x="7577615" y="7359359"/>
                  </a:lnTo>
                  <a:lnTo>
                    <a:pt x="7590858" y="7323646"/>
                  </a:lnTo>
                  <a:lnTo>
                    <a:pt x="7607902" y="7297127"/>
                  </a:lnTo>
                  <a:lnTo>
                    <a:pt x="7629302" y="7284545"/>
                  </a:lnTo>
                  <a:lnTo>
                    <a:pt x="7700163" y="7264227"/>
                  </a:lnTo>
                  <a:lnTo>
                    <a:pt x="7753080" y="7253260"/>
                  </a:lnTo>
                  <a:lnTo>
                    <a:pt x="7779538" y="7247778"/>
                  </a:lnTo>
                  <a:lnTo>
                    <a:pt x="7806770" y="7243394"/>
                  </a:lnTo>
                  <a:lnTo>
                    <a:pt x="7829252" y="7242377"/>
                  </a:lnTo>
                  <a:lnTo>
                    <a:pt x="7851735" y="7241369"/>
                  </a:lnTo>
                  <a:lnTo>
                    <a:pt x="7879578" y="7251902"/>
                  </a:lnTo>
                  <a:lnTo>
                    <a:pt x="7902513" y="7274744"/>
                  </a:lnTo>
                  <a:lnTo>
                    <a:pt x="7901822" y="7307858"/>
                  </a:lnTo>
                  <a:lnTo>
                    <a:pt x="7914946" y="7330796"/>
                  </a:lnTo>
                  <a:lnTo>
                    <a:pt x="7932421" y="7351787"/>
                  </a:lnTo>
                  <a:lnTo>
                    <a:pt x="7968199" y="7358763"/>
                  </a:lnTo>
                  <a:lnTo>
                    <a:pt x="7993518" y="7355604"/>
                  </a:lnTo>
                  <a:lnTo>
                    <a:pt x="8031919" y="7345753"/>
                  </a:lnTo>
                  <a:lnTo>
                    <a:pt x="8063061" y="7337779"/>
                  </a:lnTo>
                  <a:lnTo>
                    <a:pt x="8087506" y="7330433"/>
                  </a:lnTo>
                  <a:lnTo>
                    <a:pt x="8106733" y="7321271"/>
                  </a:lnTo>
                  <a:lnTo>
                    <a:pt x="8125957" y="7312112"/>
                  </a:lnTo>
                  <a:lnTo>
                    <a:pt x="8150259" y="7288628"/>
                  </a:lnTo>
                  <a:lnTo>
                    <a:pt x="8164246" y="7257402"/>
                  </a:lnTo>
                  <a:lnTo>
                    <a:pt x="8166581" y="7235577"/>
                  </a:lnTo>
                  <a:lnTo>
                    <a:pt x="8168915" y="7213755"/>
                  </a:lnTo>
                  <a:lnTo>
                    <a:pt x="8169238" y="7187270"/>
                  </a:lnTo>
                  <a:lnTo>
                    <a:pt x="8166581" y="7153967"/>
                  </a:lnTo>
                  <a:lnTo>
                    <a:pt x="8157400" y="7114180"/>
                  </a:lnTo>
                  <a:lnTo>
                    <a:pt x="8181631" y="7096076"/>
                  </a:lnTo>
                  <a:lnTo>
                    <a:pt x="8209639" y="7096513"/>
                  </a:lnTo>
                  <a:lnTo>
                    <a:pt x="8233228" y="7139003"/>
                  </a:lnTo>
                  <a:lnTo>
                    <a:pt x="8261245" y="7148314"/>
                  </a:lnTo>
                  <a:lnTo>
                    <a:pt x="8285262" y="7142662"/>
                  </a:lnTo>
                  <a:lnTo>
                    <a:pt x="8307704" y="7149337"/>
                  </a:lnTo>
                  <a:lnTo>
                    <a:pt x="8311570" y="7178619"/>
                  </a:lnTo>
                  <a:lnTo>
                    <a:pt x="8322655" y="7204205"/>
                  </a:lnTo>
                  <a:lnTo>
                    <a:pt x="8358374" y="7202934"/>
                  </a:lnTo>
                  <a:lnTo>
                    <a:pt x="8401081" y="7193000"/>
                  </a:lnTo>
                  <a:lnTo>
                    <a:pt x="8423663" y="7185252"/>
                  </a:lnTo>
                  <a:lnTo>
                    <a:pt x="8446238" y="7177503"/>
                  </a:lnTo>
                  <a:lnTo>
                    <a:pt x="8468370" y="7169491"/>
                  </a:lnTo>
                  <a:lnTo>
                    <a:pt x="8506811" y="7162927"/>
                  </a:lnTo>
                  <a:lnTo>
                    <a:pt x="8532472" y="7175730"/>
                  </a:lnTo>
                  <a:lnTo>
                    <a:pt x="8543804" y="7197731"/>
                  </a:lnTo>
                  <a:lnTo>
                    <a:pt x="8564668" y="7210853"/>
                  </a:lnTo>
                  <a:lnTo>
                    <a:pt x="8590964" y="7219256"/>
                  </a:lnTo>
                  <a:lnTo>
                    <a:pt x="8618739" y="7226102"/>
                  </a:lnTo>
                  <a:lnTo>
                    <a:pt x="8649776" y="7229069"/>
                  </a:lnTo>
                  <a:lnTo>
                    <a:pt x="8667139" y="7245102"/>
                  </a:lnTo>
                  <a:lnTo>
                    <a:pt x="8690744" y="7266890"/>
                  </a:lnTo>
                  <a:lnTo>
                    <a:pt x="8702998" y="7302181"/>
                  </a:lnTo>
                  <a:lnTo>
                    <a:pt x="8720184" y="7329429"/>
                  </a:lnTo>
                  <a:lnTo>
                    <a:pt x="8738261" y="7354478"/>
                  </a:lnTo>
                  <a:lnTo>
                    <a:pt x="8764671" y="7369671"/>
                  </a:lnTo>
                  <a:lnTo>
                    <a:pt x="8803159" y="7370239"/>
                  </a:lnTo>
                  <a:lnTo>
                    <a:pt x="9004455" y="7338948"/>
                  </a:lnTo>
                  <a:lnTo>
                    <a:pt x="9054189" y="7331342"/>
                  </a:lnTo>
                  <a:lnTo>
                    <a:pt x="9106263" y="7354134"/>
                  </a:lnTo>
                  <a:lnTo>
                    <a:pt x="9155441" y="7356633"/>
                  </a:lnTo>
                  <a:lnTo>
                    <a:pt x="9193454" y="7342423"/>
                  </a:lnTo>
                  <a:lnTo>
                    <a:pt x="9212573" y="7325348"/>
                  </a:lnTo>
                  <a:lnTo>
                    <a:pt x="9231685" y="7308273"/>
                  </a:lnTo>
                  <a:lnTo>
                    <a:pt x="9250229" y="7288938"/>
                  </a:lnTo>
                  <a:lnTo>
                    <a:pt x="9293439" y="7267070"/>
                  </a:lnTo>
                  <a:lnTo>
                    <a:pt x="9323009" y="7258602"/>
                  </a:lnTo>
                  <a:lnTo>
                    <a:pt x="9352673" y="7253260"/>
                  </a:lnTo>
                  <a:lnTo>
                    <a:pt x="9382324" y="7247911"/>
                  </a:lnTo>
                  <a:lnTo>
                    <a:pt x="9412464" y="7246380"/>
                  </a:lnTo>
                  <a:lnTo>
                    <a:pt x="9441080" y="7243735"/>
                  </a:lnTo>
                  <a:lnTo>
                    <a:pt x="9469701" y="7241090"/>
                  </a:lnTo>
                  <a:lnTo>
                    <a:pt x="9496627" y="7238138"/>
                  </a:lnTo>
                  <a:lnTo>
                    <a:pt x="9519974" y="7232855"/>
                  </a:lnTo>
                  <a:lnTo>
                    <a:pt x="9543318" y="7227565"/>
                  </a:lnTo>
                  <a:lnTo>
                    <a:pt x="9563271" y="7218921"/>
                  </a:lnTo>
                  <a:lnTo>
                    <a:pt x="9586621" y="7160766"/>
                  </a:lnTo>
                  <a:lnTo>
                    <a:pt x="9563184" y="7143084"/>
                  </a:lnTo>
                  <a:lnTo>
                    <a:pt x="9536296" y="7152602"/>
                  </a:lnTo>
                  <a:lnTo>
                    <a:pt x="9506797" y="7155833"/>
                  </a:lnTo>
                  <a:lnTo>
                    <a:pt x="9487328" y="7144442"/>
                  </a:lnTo>
                  <a:lnTo>
                    <a:pt x="9472755" y="7110692"/>
                  </a:lnTo>
                  <a:lnTo>
                    <a:pt x="9420470" y="7118235"/>
                  </a:lnTo>
                  <a:lnTo>
                    <a:pt x="9337399" y="7139509"/>
                  </a:lnTo>
                  <a:lnTo>
                    <a:pt x="9260173" y="7141719"/>
                  </a:lnTo>
                  <a:lnTo>
                    <a:pt x="9221567" y="7142826"/>
                  </a:lnTo>
                  <a:lnTo>
                    <a:pt x="9184221" y="7139986"/>
                  </a:lnTo>
                  <a:lnTo>
                    <a:pt x="9155441" y="7128120"/>
                  </a:lnTo>
                  <a:lnTo>
                    <a:pt x="9128156" y="7114047"/>
                  </a:lnTo>
                  <a:lnTo>
                    <a:pt x="9109277" y="7093226"/>
                  </a:lnTo>
                  <a:lnTo>
                    <a:pt x="9101032" y="7064189"/>
                  </a:lnTo>
                  <a:lnTo>
                    <a:pt x="9114638" y="7041068"/>
                  </a:lnTo>
                  <a:lnTo>
                    <a:pt x="9132320" y="7022021"/>
                  </a:lnTo>
                  <a:lnTo>
                    <a:pt x="9194099" y="7022061"/>
                  </a:lnTo>
                  <a:lnTo>
                    <a:pt x="9255525" y="7011873"/>
                  </a:lnTo>
                  <a:lnTo>
                    <a:pt x="9315946" y="7000258"/>
                  </a:lnTo>
                  <a:lnTo>
                    <a:pt x="9376370" y="6988646"/>
                  </a:lnTo>
                  <a:lnTo>
                    <a:pt x="9436640" y="6976393"/>
                  </a:lnTo>
                  <a:lnTo>
                    <a:pt x="9498211" y="6971696"/>
                  </a:lnTo>
                  <a:lnTo>
                    <a:pt x="9533400" y="6946153"/>
                  </a:lnTo>
                  <a:lnTo>
                    <a:pt x="9552617" y="6920006"/>
                  </a:lnTo>
                  <a:lnTo>
                    <a:pt x="9571834" y="6893865"/>
                  </a:lnTo>
                  <a:lnTo>
                    <a:pt x="9590382" y="6865770"/>
                  </a:lnTo>
                  <a:lnTo>
                    <a:pt x="9618777" y="6833850"/>
                  </a:lnTo>
                  <a:lnTo>
                    <a:pt x="9645126" y="6822824"/>
                  </a:lnTo>
                  <a:lnTo>
                    <a:pt x="9673673" y="6815271"/>
                  </a:lnTo>
                  <a:lnTo>
                    <a:pt x="9702223" y="6807721"/>
                  </a:lnTo>
                  <a:lnTo>
                    <a:pt x="9732125" y="6803479"/>
                  </a:lnTo>
                  <a:lnTo>
                    <a:pt x="9758009" y="6797591"/>
                  </a:lnTo>
                  <a:lnTo>
                    <a:pt x="9814666" y="6798481"/>
                  </a:lnTo>
                  <a:lnTo>
                    <a:pt x="9835539" y="6794872"/>
                  </a:lnTo>
                  <a:lnTo>
                    <a:pt x="9847390" y="6759433"/>
                  </a:lnTo>
                  <a:lnTo>
                    <a:pt x="9837288" y="6721500"/>
                  </a:lnTo>
                  <a:lnTo>
                    <a:pt x="9809696" y="6698298"/>
                  </a:lnTo>
                  <a:lnTo>
                    <a:pt x="9756815" y="6692816"/>
                  </a:lnTo>
                  <a:lnTo>
                    <a:pt x="9699730" y="6707057"/>
                  </a:lnTo>
                  <a:lnTo>
                    <a:pt x="9649194" y="6698298"/>
                  </a:lnTo>
                  <a:lnTo>
                    <a:pt x="9631046" y="6686631"/>
                  </a:lnTo>
                  <a:lnTo>
                    <a:pt x="9618219" y="6639629"/>
                  </a:lnTo>
                  <a:lnTo>
                    <a:pt x="9612468" y="6592206"/>
                  </a:lnTo>
                  <a:lnTo>
                    <a:pt x="9606716" y="6544776"/>
                  </a:lnTo>
                  <a:lnTo>
                    <a:pt x="9607752" y="6496797"/>
                  </a:lnTo>
                  <a:lnTo>
                    <a:pt x="9621475" y="6471466"/>
                  </a:lnTo>
                  <a:lnTo>
                    <a:pt x="9651910" y="6448022"/>
                  </a:lnTo>
                  <a:lnTo>
                    <a:pt x="9686172" y="6431573"/>
                  </a:lnTo>
                  <a:lnTo>
                    <a:pt x="9731056" y="6457882"/>
                  </a:lnTo>
                  <a:lnTo>
                    <a:pt x="9739604" y="6501197"/>
                  </a:lnTo>
                  <a:lnTo>
                    <a:pt x="9771608" y="6526916"/>
                  </a:lnTo>
                  <a:lnTo>
                    <a:pt x="9803448" y="6552506"/>
                  </a:lnTo>
                  <a:lnTo>
                    <a:pt x="9841278" y="6575627"/>
                  </a:lnTo>
                  <a:lnTo>
                    <a:pt x="9874985" y="6599005"/>
                  </a:lnTo>
                  <a:lnTo>
                    <a:pt x="9877701" y="6556837"/>
                  </a:lnTo>
                  <a:lnTo>
                    <a:pt x="9883505" y="6530423"/>
                  </a:lnTo>
                  <a:lnTo>
                    <a:pt x="9921596" y="6489108"/>
                  </a:lnTo>
                  <a:lnTo>
                    <a:pt x="9955237" y="6448022"/>
                  </a:lnTo>
                  <a:lnTo>
                    <a:pt x="9972055" y="6427478"/>
                  </a:lnTo>
                  <a:lnTo>
                    <a:pt x="9988383" y="6406685"/>
                  </a:lnTo>
                  <a:lnTo>
                    <a:pt x="9998763" y="6388171"/>
                  </a:lnTo>
                  <a:lnTo>
                    <a:pt x="10009144" y="6369667"/>
                  </a:lnTo>
                  <a:lnTo>
                    <a:pt x="10008285" y="6340565"/>
                  </a:lnTo>
                  <a:lnTo>
                    <a:pt x="9999489" y="6318886"/>
                  </a:lnTo>
                  <a:lnTo>
                    <a:pt x="9866226" y="6188395"/>
                  </a:lnTo>
                  <a:lnTo>
                    <a:pt x="9836897" y="6170541"/>
                  </a:lnTo>
                  <a:lnTo>
                    <a:pt x="9814285" y="6156725"/>
                  </a:lnTo>
                  <a:lnTo>
                    <a:pt x="9638140" y="6041616"/>
                  </a:lnTo>
                  <a:lnTo>
                    <a:pt x="9586792" y="6033926"/>
                  </a:lnTo>
                  <a:lnTo>
                    <a:pt x="9554484" y="6056626"/>
                  </a:lnTo>
                  <a:lnTo>
                    <a:pt x="9524048" y="6048127"/>
                  </a:lnTo>
                  <a:lnTo>
                    <a:pt x="9507048" y="6025375"/>
                  </a:lnTo>
                  <a:lnTo>
                    <a:pt x="9505696" y="5994707"/>
                  </a:lnTo>
                  <a:lnTo>
                    <a:pt x="9505011" y="5963791"/>
                  </a:lnTo>
                  <a:lnTo>
                    <a:pt x="9500459" y="5940965"/>
                  </a:lnTo>
                  <a:lnTo>
                    <a:pt x="9489796" y="5921074"/>
                  </a:lnTo>
                  <a:lnTo>
                    <a:pt x="9487328" y="5897141"/>
                  </a:lnTo>
                  <a:lnTo>
                    <a:pt x="9491089" y="5875273"/>
                  </a:lnTo>
                  <a:lnTo>
                    <a:pt x="9510458" y="5846229"/>
                  </a:lnTo>
                  <a:lnTo>
                    <a:pt x="9530854" y="5818253"/>
                  </a:lnTo>
                  <a:lnTo>
                    <a:pt x="9551253" y="5790273"/>
                  </a:lnTo>
                  <a:lnTo>
                    <a:pt x="9573273" y="5763100"/>
                  </a:lnTo>
                  <a:lnTo>
                    <a:pt x="9585263" y="5740716"/>
                  </a:lnTo>
                  <a:lnTo>
                    <a:pt x="9598056" y="5716786"/>
                  </a:lnTo>
                  <a:lnTo>
                    <a:pt x="9604012" y="5689628"/>
                  </a:lnTo>
                  <a:lnTo>
                    <a:pt x="9615184" y="5665905"/>
                  </a:lnTo>
                  <a:lnTo>
                    <a:pt x="9629000" y="5636453"/>
                  </a:lnTo>
                  <a:lnTo>
                    <a:pt x="9644816" y="5607463"/>
                  </a:lnTo>
                  <a:lnTo>
                    <a:pt x="9657352" y="5577495"/>
                  </a:lnTo>
                  <a:lnTo>
                    <a:pt x="9675329" y="5534562"/>
                  </a:lnTo>
                  <a:lnTo>
                    <a:pt x="9678349" y="5477390"/>
                  </a:lnTo>
                  <a:lnTo>
                    <a:pt x="9706319" y="5440115"/>
                  </a:lnTo>
                  <a:lnTo>
                    <a:pt x="9747808" y="5460724"/>
                  </a:lnTo>
                  <a:lnTo>
                    <a:pt x="9754608" y="5493032"/>
                  </a:lnTo>
                  <a:lnTo>
                    <a:pt x="9777050" y="5509481"/>
                  </a:lnTo>
                  <a:lnTo>
                    <a:pt x="9813138" y="5514572"/>
                  </a:lnTo>
                  <a:lnTo>
                    <a:pt x="9839623" y="5517645"/>
                  </a:lnTo>
                  <a:lnTo>
                    <a:pt x="9866108" y="5520711"/>
                  </a:lnTo>
                  <a:lnTo>
                    <a:pt x="9894537" y="5523679"/>
                  </a:lnTo>
                  <a:lnTo>
                    <a:pt x="9922591" y="5513571"/>
                  </a:lnTo>
                  <a:lnTo>
                    <a:pt x="9950118" y="5490515"/>
                  </a:lnTo>
                  <a:lnTo>
                    <a:pt x="10008648" y="5429539"/>
                  </a:lnTo>
                  <a:lnTo>
                    <a:pt x="10031357" y="5375750"/>
                  </a:lnTo>
                  <a:lnTo>
                    <a:pt x="10058611" y="5350346"/>
                  </a:lnTo>
                  <a:lnTo>
                    <a:pt x="10087431" y="5331154"/>
                  </a:lnTo>
                  <a:lnTo>
                    <a:pt x="10127726" y="5342341"/>
                  </a:lnTo>
                  <a:lnTo>
                    <a:pt x="10153123" y="5359400"/>
                  </a:lnTo>
                  <a:lnTo>
                    <a:pt x="10187834" y="5391156"/>
                  </a:lnTo>
                  <a:lnTo>
                    <a:pt x="10209597" y="5393872"/>
                  </a:lnTo>
                  <a:lnTo>
                    <a:pt x="10233561" y="5366767"/>
                  </a:lnTo>
                  <a:lnTo>
                    <a:pt x="10239518" y="5339463"/>
                  </a:lnTo>
                  <a:lnTo>
                    <a:pt x="10245471" y="5312153"/>
                  </a:lnTo>
                  <a:lnTo>
                    <a:pt x="10251678" y="5279780"/>
                  </a:lnTo>
                  <a:lnTo>
                    <a:pt x="10273522" y="5253769"/>
                  </a:lnTo>
                  <a:lnTo>
                    <a:pt x="10261281" y="5214001"/>
                  </a:lnTo>
                  <a:lnTo>
                    <a:pt x="10233410" y="5172798"/>
                  </a:lnTo>
                  <a:lnTo>
                    <a:pt x="10208230" y="5131349"/>
                  </a:lnTo>
                  <a:lnTo>
                    <a:pt x="10183059" y="5089907"/>
                  </a:lnTo>
                  <a:lnTo>
                    <a:pt x="10160459" y="5048235"/>
                  </a:lnTo>
                  <a:lnTo>
                    <a:pt x="10156546" y="5008935"/>
                  </a:lnTo>
                  <a:lnTo>
                    <a:pt x="10152041" y="4963536"/>
                  </a:lnTo>
                  <a:lnTo>
                    <a:pt x="10159560" y="4924729"/>
                  </a:lnTo>
                  <a:lnTo>
                    <a:pt x="10171509" y="4881079"/>
                  </a:lnTo>
                  <a:lnTo>
                    <a:pt x="10179028" y="4853487"/>
                  </a:lnTo>
                  <a:lnTo>
                    <a:pt x="10191645" y="4830186"/>
                  </a:lnTo>
                  <a:lnTo>
                    <a:pt x="10201430" y="4803543"/>
                  </a:lnTo>
                  <a:lnTo>
                    <a:pt x="10215538" y="4765160"/>
                  </a:lnTo>
                  <a:lnTo>
                    <a:pt x="10222706" y="4731057"/>
                  </a:lnTo>
                  <a:lnTo>
                    <a:pt x="10224554" y="4700166"/>
                  </a:lnTo>
                  <a:lnTo>
                    <a:pt x="10226405" y="4669278"/>
                  </a:lnTo>
                  <a:lnTo>
                    <a:pt x="10222313" y="4641162"/>
                  </a:lnTo>
                  <a:lnTo>
                    <a:pt x="10215035" y="4613114"/>
                  </a:lnTo>
                  <a:lnTo>
                    <a:pt x="10200475" y="4557018"/>
                  </a:lnTo>
                  <a:lnTo>
                    <a:pt x="10171193" y="4502122"/>
                  </a:lnTo>
                  <a:lnTo>
                    <a:pt x="10138866" y="4429485"/>
                  </a:lnTo>
                  <a:lnTo>
                    <a:pt x="10129252" y="4407889"/>
                  </a:lnTo>
                  <a:lnTo>
                    <a:pt x="10095340" y="4402283"/>
                  </a:lnTo>
                  <a:lnTo>
                    <a:pt x="10057188" y="4407902"/>
                  </a:lnTo>
                  <a:lnTo>
                    <a:pt x="10011690" y="4407464"/>
                  </a:lnTo>
                  <a:lnTo>
                    <a:pt x="9981763" y="4401899"/>
                  </a:lnTo>
                  <a:lnTo>
                    <a:pt x="9953879" y="4399564"/>
                  </a:lnTo>
                  <a:lnTo>
                    <a:pt x="9926179" y="4389540"/>
                  </a:lnTo>
                  <a:lnTo>
                    <a:pt x="9905405" y="4363340"/>
                  </a:lnTo>
                  <a:lnTo>
                    <a:pt x="9891306" y="4327476"/>
                  </a:lnTo>
                  <a:lnTo>
                    <a:pt x="9879791" y="4290210"/>
                  </a:lnTo>
                  <a:lnTo>
                    <a:pt x="9876455" y="4248838"/>
                  </a:lnTo>
                  <a:lnTo>
                    <a:pt x="9879065" y="4226818"/>
                  </a:lnTo>
                  <a:lnTo>
                    <a:pt x="9889031" y="4207951"/>
                  </a:lnTo>
                  <a:lnTo>
                    <a:pt x="9922591" y="4194172"/>
                  </a:lnTo>
                  <a:lnTo>
                    <a:pt x="9956403" y="4183081"/>
                  </a:lnTo>
                  <a:lnTo>
                    <a:pt x="9972898" y="4151539"/>
                  </a:lnTo>
                  <a:lnTo>
                    <a:pt x="9969199" y="4129181"/>
                  </a:lnTo>
                  <a:lnTo>
                    <a:pt x="9965770" y="4087785"/>
                  </a:lnTo>
                  <a:lnTo>
                    <a:pt x="9981084" y="4055436"/>
                  </a:lnTo>
                  <a:lnTo>
                    <a:pt x="10015507" y="4073631"/>
                  </a:lnTo>
                  <a:lnTo>
                    <a:pt x="10034963" y="4124756"/>
                  </a:lnTo>
                  <a:lnTo>
                    <a:pt x="10050453" y="4171051"/>
                  </a:lnTo>
                  <a:lnTo>
                    <a:pt x="10065947" y="4217355"/>
                  </a:lnTo>
                  <a:lnTo>
                    <a:pt x="10078501" y="4258066"/>
                  </a:lnTo>
                  <a:lnTo>
                    <a:pt x="10105669" y="4267470"/>
                  </a:lnTo>
                  <a:lnTo>
                    <a:pt x="10133127" y="4269367"/>
                  </a:lnTo>
                  <a:lnTo>
                    <a:pt x="10160629" y="4267628"/>
                  </a:lnTo>
                  <a:lnTo>
                    <a:pt x="10188129" y="4265886"/>
                  </a:lnTo>
                  <a:lnTo>
                    <a:pt x="10214654" y="4261039"/>
                  </a:lnTo>
                  <a:lnTo>
                    <a:pt x="10236802" y="4254029"/>
                  </a:lnTo>
                  <a:lnTo>
                    <a:pt x="10251092" y="4235050"/>
                  </a:lnTo>
                  <a:lnTo>
                    <a:pt x="10249719" y="4207719"/>
                  </a:lnTo>
                  <a:lnTo>
                    <a:pt x="10238160" y="4176493"/>
                  </a:lnTo>
                  <a:lnTo>
                    <a:pt x="10226353" y="4145350"/>
                  </a:lnTo>
                  <a:lnTo>
                    <a:pt x="10210270" y="4113907"/>
                  </a:lnTo>
                  <a:lnTo>
                    <a:pt x="10206701" y="4042175"/>
                  </a:lnTo>
                  <a:lnTo>
                    <a:pt x="10236036" y="3988281"/>
                  </a:lnTo>
                  <a:lnTo>
                    <a:pt x="10228635" y="3930300"/>
                  </a:lnTo>
                  <a:lnTo>
                    <a:pt x="10225317" y="3904221"/>
                  </a:lnTo>
                  <a:lnTo>
                    <a:pt x="10212279" y="3880394"/>
                  </a:lnTo>
                  <a:lnTo>
                    <a:pt x="10200072" y="3856852"/>
                  </a:lnTo>
                  <a:lnTo>
                    <a:pt x="10187865" y="3833307"/>
                  </a:lnTo>
                  <a:lnTo>
                    <a:pt x="10176904" y="3809289"/>
                  </a:lnTo>
                  <a:lnTo>
                    <a:pt x="10175587" y="3782038"/>
                  </a:lnTo>
                  <a:lnTo>
                    <a:pt x="10187260" y="3745034"/>
                  </a:lnTo>
                  <a:lnTo>
                    <a:pt x="10197356" y="3726272"/>
                  </a:lnTo>
                  <a:lnTo>
                    <a:pt x="10207445" y="3707503"/>
                  </a:lnTo>
                  <a:lnTo>
                    <a:pt x="10204156" y="3669141"/>
                  </a:lnTo>
                  <a:lnTo>
                    <a:pt x="10181112" y="3625145"/>
                  </a:lnTo>
                  <a:lnTo>
                    <a:pt x="10129171" y="3601977"/>
                  </a:lnTo>
                  <a:lnTo>
                    <a:pt x="10099421" y="3561690"/>
                  </a:lnTo>
                  <a:lnTo>
                    <a:pt x="10092872" y="3498312"/>
                  </a:lnTo>
                  <a:lnTo>
                    <a:pt x="10090407" y="3439610"/>
                  </a:lnTo>
                  <a:lnTo>
                    <a:pt x="10102140" y="3376703"/>
                  </a:lnTo>
                  <a:lnTo>
                    <a:pt x="10057036" y="3365649"/>
                  </a:lnTo>
                  <a:lnTo>
                    <a:pt x="10011352" y="3358118"/>
                  </a:lnTo>
                  <a:lnTo>
                    <a:pt x="9964753" y="3352216"/>
                  </a:lnTo>
                  <a:lnTo>
                    <a:pt x="9918161" y="3346314"/>
                  </a:lnTo>
                  <a:lnTo>
                    <a:pt x="9870644" y="3341683"/>
                  </a:lnTo>
                  <a:lnTo>
                    <a:pt x="9824659" y="3335893"/>
                  </a:lnTo>
                  <a:lnTo>
                    <a:pt x="9794494" y="3328256"/>
                  </a:lnTo>
                  <a:lnTo>
                    <a:pt x="9765047" y="3310885"/>
                  </a:lnTo>
                  <a:lnTo>
                    <a:pt x="9749845" y="3284203"/>
                  </a:lnTo>
                  <a:lnTo>
                    <a:pt x="9749021" y="3261285"/>
                  </a:lnTo>
                  <a:lnTo>
                    <a:pt x="9767528" y="3224354"/>
                  </a:lnTo>
                  <a:lnTo>
                    <a:pt x="9793167" y="3190627"/>
                  </a:lnTo>
                  <a:lnTo>
                    <a:pt x="9808335" y="3175386"/>
                  </a:lnTo>
                  <a:lnTo>
                    <a:pt x="9823503" y="3160151"/>
                  </a:lnTo>
                  <a:lnTo>
                    <a:pt x="9839021" y="3145940"/>
                  </a:lnTo>
                  <a:lnTo>
                    <a:pt x="9861978" y="3115063"/>
                  </a:lnTo>
                  <a:lnTo>
                    <a:pt x="9869543" y="3080175"/>
                  </a:lnTo>
                  <a:lnTo>
                    <a:pt x="9869543" y="3047129"/>
                  </a:lnTo>
                  <a:lnTo>
                    <a:pt x="9862514" y="3015117"/>
                  </a:lnTo>
                  <a:lnTo>
                    <a:pt x="9851861" y="2983599"/>
                  </a:lnTo>
                  <a:lnTo>
                    <a:pt x="9841204" y="2952090"/>
                  </a:lnTo>
                  <a:lnTo>
                    <a:pt x="9826920" y="2921640"/>
                  </a:lnTo>
                  <a:lnTo>
                    <a:pt x="9811054" y="2891106"/>
                  </a:lnTo>
                  <a:lnTo>
                    <a:pt x="9779319" y="2830038"/>
                  </a:lnTo>
                  <a:lnTo>
                    <a:pt x="9742643" y="2769324"/>
                  </a:lnTo>
                  <a:lnTo>
                    <a:pt x="9722641" y="2708843"/>
                  </a:lnTo>
                  <a:lnTo>
                    <a:pt x="9740308" y="2687475"/>
                  </a:lnTo>
                  <a:lnTo>
                    <a:pt x="9759367" y="2677556"/>
                  </a:lnTo>
                  <a:lnTo>
                    <a:pt x="9778420" y="2667637"/>
                  </a:lnTo>
                  <a:lnTo>
                    <a:pt x="9802375" y="2658458"/>
                  </a:lnTo>
                  <a:lnTo>
                    <a:pt x="9827375" y="2650353"/>
                  </a:lnTo>
                  <a:lnTo>
                    <a:pt x="9877379" y="2634135"/>
                  </a:lnTo>
                  <a:lnTo>
                    <a:pt x="9929028" y="2622925"/>
                  </a:lnTo>
                  <a:lnTo>
                    <a:pt x="9951833" y="2617662"/>
                  </a:lnTo>
                  <a:lnTo>
                    <a:pt x="9976697" y="2618177"/>
                  </a:lnTo>
                  <a:lnTo>
                    <a:pt x="10023568" y="2617115"/>
                  </a:lnTo>
                  <a:lnTo>
                    <a:pt x="10051814" y="2614991"/>
                  </a:lnTo>
                  <a:lnTo>
                    <a:pt x="10080051" y="2612855"/>
                  </a:lnTo>
                  <a:lnTo>
                    <a:pt x="10107600" y="2608422"/>
                  </a:lnTo>
                  <a:lnTo>
                    <a:pt x="10107489" y="2571425"/>
                  </a:lnTo>
                  <a:lnTo>
                    <a:pt x="10118843" y="2496527"/>
                  </a:lnTo>
                  <a:lnTo>
                    <a:pt x="10071109" y="2463585"/>
                  </a:lnTo>
                  <a:lnTo>
                    <a:pt x="10027748" y="2440715"/>
                  </a:lnTo>
                  <a:lnTo>
                    <a:pt x="9998763" y="2412323"/>
                  </a:lnTo>
                  <a:lnTo>
                    <a:pt x="9987710" y="2392854"/>
                  </a:lnTo>
                  <a:lnTo>
                    <a:pt x="10011005" y="2281698"/>
                  </a:lnTo>
                  <a:lnTo>
                    <a:pt x="10008279" y="2243659"/>
                  </a:lnTo>
                  <a:lnTo>
                    <a:pt x="10002847" y="2185168"/>
                  </a:lnTo>
                  <a:lnTo>
                    <a:pt x="9998763" y="2125320"/>
                  </a:lnTo>
                  <a:lnTo>
                    <a:pt x="9994345" y="2063519"/>
                  </a:lnTo>
                  <a:lnTo>
                    <a:pt x="10001058" y="2039395"/>
                  </a:lnTo>
                  <a:lnTo>
                    <a:pt x="10018220" y="2001777"/>
                  </a:lnTo>
                  <a:lnTo>
                    <a:pt x="10035484" y="1949855"/>
                  </a:lnTo>
                  <a:lnTo>
                    <a:pt x="10038842" y="1927565"/>
                  </a:lnTo>
                  <a:lnTo>
                    <a:pt x="10034442" y="1903678"/>
                  </a:lnTo>
                  <a:lnTo>
                    <a:pt x="10031409" y="1879126"/>
                  </a:lnTo>
                  <a:lnTo>
                    <a:pt x="10028374" y="1854572"/>
                  </a:lnTo>
                  <a:lnTo>
                    <a:pt x="10026297" y="1829518"/>
                  </a:lnTo>
                  <a:lnTo>
                    <a:pt x="10034126" y="1808395"/>
                  </a:lnTo>
                  <a:lnTo>
                    <a:pt x="10047929" y="1787950"/>
                  </a:lnTo>
                  <a:lnTo>
                    <a:pt x="10072015" y="1760826"/>
                  </a:lnTo>
                  <a:lnTo>
                    <a:pt x="10089899" y="1741747"/>
                  </a:lnTo>
                  <a:lnTo>
                    <a:pt x="10086020" y="1704967"/>
                  </a:lnTo>
                  <a:lnTo>
                    <a:pt x="10079010" y="1677816"/>
                  </a:lnTo>
                  <a:lnTo>
                    <a:pt x="10072005" y="1650664"/>
                  </a:lnTo>
                  <a:lnTo>
                    <a:pt x="10064034" y="1624727"/>
                  </a:lnTo>
                  <a:lnTo>
                    <a:pt x="10035893" y="1618771"/>
                  </a:lnTo>
                  <a:lnTo>
                    <a:pt x="10014704" y="1623797"/>
                  </a:lnTo>
                  <a:lnTo>
                    <a:pt x="9993316" y="1628848"/>
                  </a:lnTo>
                  <a:lnTo>
                    <a:pt x="9971943" y="1633907"/>
                  </a:lnTo>
                  <a:lnTo>
                    <a:pt x="9949387" y="1637903"/>
                  </a:lnTo>
                  <a:lnTo>
                    <a:pt x="9925311" y="1635648"/>
                  </a:lnTo>
                  <a:lnTo>
                    <a:pt x="9902186" y="1622048"/>
                  </a:lnTo>
                  <a:lnTo>
                    <a:pt x="9884507" y="1603003"/>
                  </a:lnTo>
                  <a:lnTo>
                    <a:pt x="9898019" y="1541083"/>
                  </a:lnTo>
                  <a:lnTo>
                    <a:pt x="9915792" y="1496910"/>
                  </a:lnTo>
                  <a:lnTo>
                    <a:pt x="9933561" y="1452732"/>
                  </a:lnTo>
                  <a:lnTo>
                    <a:pt x="9954025" y="1408071"/>
                  </a:lnTo>
                  <a:lnTo>
                    <a:pt x="9955876" y="1378189"/>
                  </a:lnTo>
                  <a:lnTo>
                    <a:pt x="9939889" y="1362929"/>
                  </a:lnTo>
                  <a:lnTo>
                    <a:pt x="9913069" y="1359526"/>
                  </a:lnTo>
                  <a:lnTo>
                    <a:pt x="9891220" y="1337934"/>
                  </a:lnTo>
                  <a:lnTo>
                    <a:pt x="9847951" y="1319106"/>
                  </a:lnTo>
                  <a:lnTo>
                    <a:pt x="9836404" y="1289521"/>
                  </a:lnTo>
                  <a:lnTo>
                    <a:pt x="9843691" y="1253434"/>
                  </a:lnTo>
                  <a:lnTo>
                    <a:pt x="9850379" y="1216436"/>
                  </a:lnTo>
                  <a:lnTo>
                    <a:pt x="9841216" y="1176240"/>
                  </a:lnTo>
                  <a:lnTo>
                    <a:pt x="9817906" y="1152241"/>
                  </a:lnTo>
                  <a:lnTo>
                    <a:pt x="9793365" y="1124214"/>
                  </a:lnTo>
                  <a:lnTo>
                    <a:pt x="9768818" y="1096191"/>
                  </a:lnTo>
                  <a:lnTo>
                    <a:pt x="9742816" y="1064833"/>
                  </a:lnTo>
                  <a:lnTo>
                    <a:pt x="9732160" y="1030361"/>
                  </a:lnTo>
                  <a:lnTo>
                    <a:pt x="9728141" y="1000710"/>
                  </a:lnTo>
                  <a:lnTo>
                    <a:pt x="9725279" y="970236"/>
                  </a:lnTo>
                  <a:lnTo>
                    <a:pt x="9710387" y="943308"/>
                  </a:lnTo>
                  <a:lnTo>
                    <a:pt x="9675515" y="947793"/>
                  </a:lnTo>
                  <a:lnTo>
                    <a:pt x="9658762" y="965071"/>
                  </a:lnTo>
                  <a:lnTo>
                    <a:pt x="9642382" y="980029"/>
                  </a:lnTo>
                  <a:lnTo>
                    <a:pt x="9625999" y="994992"/>
                  </a:lnTo>
                  <a:lnTo>
                    <a:pt x="9597498" y="1011315"/>
                  </a:lnTo>
                  <a:lnTo>
                    <a:pt x="9567742" y="1018569"/>
                  </a:lnTo>
                  <a:lnTo>
                    <a:pt x="9543867" y="1006105"/>
                  </a:lnTo>
                  <a:lnTo>
                    <a:pt x="9518600" y="993634"/>
                  </a:lnTo>
                  <a:lnTo>
                    <a:pt x="9492652" y="980754"/>
                  </a:lnTo>
                  <a:lnTo>
                    <a:pt x="9462948" y="973869"/>
                  </a:lnTo>
                  <a:lnTo>
                    <a:pt x="9427474" y="977311"/>
                  </a:lnTo>
                  <a:lnTo>
                    <a:pt x="9397045" y="1003678"/>
                  </a:lnTo>
                  <a:lnTo>
                    <a:pt x="9381480" y="1028547"/>
                  </a:lnTo>
                  <a:lnTo>
                    <a:pt x="9374423" y="1052124"/>
                  </a:lnTo>
                  <a:lnTo>
                    <a:pt x="9367360" y="1075700"/>
                  </a:lnTo>
                  <a:lnTo>
                    <a:pt x="9368824" y="1098408"/>
                  </a:lnTo>
                  <a:lnTo>
                    <a:pt x="9377307" y="1139137"/>
                  </a:lnTo>
                  <a:lnTo>
                    <a:pt x="9388022" y="1174539"/>
                  </a:lnTo>
                  <a:lnTo>
                    <a:pt x="9390602" y="1205396"/>
                  </a:lnTo>
                  <a:lnTo>
                    <a:pt x="9372492" y="1227437"/>
                  </a:lnTo>
                  <a:lnTo>
                    <a:pt x="9343303" y="1237467"/>
                  </a:lnTo>
                  <a:lnTo>
                    <a:pt x="9313218" y="1243910"/>
                  </a:lnTo>
                  <a:lnTo>
                    <a:pt x="9283123" y="1250361"/>
                  </a:lnTo>
                  <a:lnTo>
                    <a:pt x="9252220" y="1253645"/>
                  </a:lnTo>
                  <a:lnTo>
                    <a:pt x="9227524" y="1262957"/>
                  </a:lnTo>
                  <a:lnTo>
                    <a:pt x="9220637" y="1295681"/>
                  </a:lnTo>
                  <a:lnTo>
                    <a:pt x="9210474" y="1334320"/>
                  </a:lnTo>
                  <a:lnTo>
                    <a:pt x="9193520" y="1363608"/>
                  </a:lnTo>
                  <a:lnTo>
                    <a:pt x="9161013" y="1376436"/>
                  </a:lnTo>
                  <a:lnTo>
                    <a:pt x="9122643" y="1364380"/>
                  </a:lnTo>
                  <a:lnTo>
                    <a:pt x="9103928" y="1352311"/>
                  </a:lnTo>
                  <a:lnTo>
                    <a:pt x="9073493" y="1309187"/>
                  </a:lnTo>
                  <a:lnTo>
                    <a:pt x="9055243" y="1270264"/>
                  </a:lnTo>
                  <a:lnTo>
                    <a:pt x="9035737" y="1237111"/>
                  </a:lnTo>
                  <a:lnTo>
                    <a:pt x="8993014" y="1246409"/>
                  </a:lnTo>
                  <a:lnTo>
                    <a:pt x="8972485" y="1256506"/>
                  </a:lnTo>
                  <a:lnTo>
                    <a:pt x="8935759" y="1269406"/>
                  </a:lnTo>
                  <a:lnTo>
                    <a:pt x="8903798" y="1273839"/>
                  </a:lnTo>
                  <a:lnTo>
                    <a:pt x="8871260" y="1276608"/>
                  </a:lnTo>
                  <a:lnTo>
                    <a:pt x="8839761" y="1274702"/>
                  </a:lnTo>
                  <a:lnTo>
                    <a:pt x="8796341" y="1292878"/>
                  </a:lnTo>
                  <a:lnTo>
                    <a:pt x="8772091" y="1306193"/>
                  </a:lnTo>
                  <a:lnTo>
                    <a:pt x="8747137" y="1323088"/>
                  </a:lnTo>
                  <a:lnTo>
                    <a:pt x="8724246" y="1339128"/>
                  </a:lnTo>
                  <a:lnTo>
                    <a:pt x="8701757" y="1360674"/>
                  </a:lnTo>
                  <a:lnTo>
                    <a:pt x="8692967" y="1379930"/>
                  </a:lnTo>
                  <a:lnTo>
                    <a:pt x="8684174" y="1399188"/>
                  </a:lnTo>
                  <a:lnTo>
                    <a:pt x="8676736" y="1422817"/>
                  </a:lnTo>
                  <a:lnTo>
                    <a:pt x="8673920" y="1445220"/>
                  </a:lnTo>
                  <a:lnTo>
                    <a:pt x="8671105" y="1467622"/>
                  </a:lnTo>
                  <a:lnTo>
                    <a:pt x="8671710" y="1489669"/>
                  </a:lnTo>
                  <a:lnTo>
                    <a:pt x="8684279" y="1523191"/>
                  </a:lnTo>
                  <a:lnTo>
                    <a:pt x="8714724" y="1536354"/>
                  </a:lnTo>
                  <a:lnTo>
                    <a:pt x="8796334" y="1547236"/>
                  </a:lnTo>
                  <a:lnTo>
                    <a:pt x="8792260" y="1651971"/>
                  </a:lnTo>
                  <a:lnTo>
                    <a:pt x="8747289" y="1668912"/>
                  </a:lnTo>
                  <a:lnTo>
                    <a:pt x="8709289" y="1671016"/>
                  </a:lnTo>
                  <a:lnTo>
                    <a:pt x="8671282" y="1673114"/>
                  </a:lnTo>
                  <a:lnTo>
                    <a:pt x="8631290" y="1675264"/>
                  </a:lnTo>
                  <a:lnTo>
                    <a:pt x="8615437" y="1691415"/>
                  </a:lnTo>
                  <a:lnTo>
                    <a:pt x="8599491" y="1714384"/>
                  </a:lnTo>
                  <a:lnTo>
                    <a:pt x="8596009" y="1736457"/>
                  </a:lnTo>
                  <a:lnTo>
                    <a:pt x="8601825" y="1758070"/>
                  </a:lnTo>
                  <a:lnTo>
                    <a:pt x="8610008" y="1779575"/>
                  </a:lnTo>
                  <a:lnTo>
                    <a:pt x="8626475" y="1800679"/>
                  </a:lnTo>
                  <a:lnTo>
                    <a:pt x="8637194" y="1820635"/>
                  </a:lnTo>
                  <a:lnTo>
                    <a:pt x="8648412" y="1841547"/>
                  </a:lnTo>
                  <a:lnTo>
                    <a:pt x="8635625" y="1907602"/>
                  </a:lnTo>
                  <a:lnTo>
                    <a:pt x="8638552" y="1943057"/>
                  </a:lnTo>
                  <a:lnTo>
                    <a:pt x="8680720" y="1975701"/>
                  </a:lnTo>
                  <a:lnTo>
                    <a:pt x="8679988" y="2004053"/>
                  </a:lnTo>
                  <a:lnTo>
                    <a:pt x="8660182" y="2016102"/>
                  </a:lnTo>
                  <a:lnTo>
                    <a:pt x="8636639" y="2018080"/>
                  </a:lnTo>
                  <a:lnTo>
                    <a:pt x="8614073" y="2020585"/>
                  </a:lnTo>
                  <a:lnTo>
                    <a:pt x="8591497" y="2023086"/>
                  </a:lnTo>
                  <a:lnTo>
                    <a:pt x="8570500" y="2026066"/>
                  </a:lnTo>
                  <a:lnTo>
                    <a:pt x="8558107" y="2053461"/>
                  </a:lnTo>
                  <a:lnTo>
                    <a:pt x="8560395" y="2098109"/>
                  </a:lnTo>
                  <a:lnTo>
                    <a:pt x="8561022" y="2140283"/>
                  </a:lnTo>
                  <a:lnTo>
                    <a:pt x="8561617" y="2182451"/>
                  </a:lnTo>
                  <a:lnTo>
                    <a:pt x="8560829" y="2223128"/>
                  </a:lnTo>
                  <a:lnTo>
                    <a:pt x="8431808" y="2246375"/>
                  </a:lnTo>
                  <a:lnTo>
                    <a:pt x="8314829" y="2253174"/>
                  </a:lnTo>
                  <a:lnTo>
                    <a:pt x="8278403" y="2263766"/>
                  </a:lnTo>
                  <a:lnTo>
                    <a:pt x="8213155" y="2275578"/>
                  </a:lnTo>
                  <a:lnTo>
                    <a:pt x="8163719" y="2281573"/>
                  </a:lnTo>
                  <a:lnTo>
                    <a:pt x="8116243" y="2291267"/>
                  </a:lnTo>
                  <a:lnTo>
                    <a:pt x="7973417" y="2321189"/>
                  </a:lnTo>
                  <a:lnTo>
                    <a:pt x="7943494" y="2327308"/>
                  </a:lnTo>
                  <a:lnTo>
                    <a:pt x="7913489" y="2342397"/>
                  </a:lnTo>
                  <a:lnTo>
                    <a:pt x="7880924" y="2336152"/>
                  </a:lnTo>
                  <a:lnTo>
                    <a:pt x="7860268" y="2332155"/>
                  </a:lnTo>
                  <a:lnTo>
                    <a:pt x="7798811" y="2309811"/>
                  </a:lnTo>
                  <a:lnTo>
                    <a:pt x="7739463" y="2284461"/>
                  </a:lnTo>
                  <a:lnTo>
                    <a:pt x="7680120" y="2259110"/>
                  </a:lnTo>
                  <a:lnTo>
                    <a:pt x="7622806" y="2230884"/>
                  </a:lnTo>
                  <a:lnTo>
                    <a:pt x="7593924" y="2212378"/>
                  </a:lnTo>
                  <a:lnTo>
                    <a:pt x="7506023" y="2270486"/>
                  </a:lnTo>
                  <a:lnTo>
                    <a:pt x="7470462" y="2231656"/>
                  </a:lnTo>
                  <a:lnTo>
                    <a:pt x="7422471" y="2185795"/>
                  </a:lnTo>
                  <a:lnTo>
                    <a:pt x="7368130" y="2151165"/>
                  </a:lnTo>
                  <a:lnTo>
                    <a:pt x="7340960" y="2133853"/>
                  </a:lnTo>
                  <a:lnTo>
                    <a:pt x="7312468" y="2119688"/>
                  </a:lnTo>
                  <a:lnTo>
                    <a:pt x="7285159" y="2110363"/>
                  </a:lnTo>
                  <a:lnTo>
                    <a:pt x="7257849" y="2101030"/>
                  </a:lnTo>
                  <a:lnTo>
                    <a:pt x="7231952" y="2097396"/>
                  </a:lnTo>
                  <a:lnTo>
                    <a:pt x="7210348" y="2100839"/>
                  </a:lnTo>
                  <a:lnTo>
                    <a:pt x="7140975" y="2118520"/>
                  </a:lnTo>
                  <a:lnTo>
                    <a:pt x="7077385" y="2135442"/>
                  </a:lnTo>
                  <a:lnTo>
                    <a:pt x="7060729" y="2149807"/>
                  </a:lnTo>
                  <a:lnTo>
                    <a:pt x="7042876" y="2165192"/>
                  </a:lnTo>
                  <a:lnTo>
                    <a:pt x="7032414" y="2191888"/>
                  </a:lnTo>
                  <a:lnTo>
                    <a:pt x="7019919" y="2211014"/>
                  </a:lnTo>
                  <a:lnTo>
                    <a:pt x="7003808" y="2235665"/>
                  </a:lnTo>
                  <a:lnTo>
                    <a:pt x="6984960" y="2261457"/>
                  </a:lnTo>
                  <a:lnTo>
                    <a:pt x="6970951" y="2287185"/>
                  </a:lnTo>
                  <a:lnTo>
                    <a:pt x="6946357" y="2332360"/>
                  </a:lnTo>
                  <a:lnTo>
                    <a:pt x="6927168" y="2386233"/>
                  </a:lnTo>
                  <a:lnTo>
                    <a:pt x="6898863" y="2430004"/>
                  </a:lnTo>
                  <a:lnTo>
                    <a:pt x="6884709" y="2451892"/>
                  </a:lnTo>
                  <a:lnTo>
                    <a:pt x="6867643" y="2471335"/>
                  </a:lnTo>
                  <a:lnTo>
                    <a:pt x="6847179" y="2485777"/>
                  </a:lnTo>
                  <a:lnTo>
                    <a:pt x="6826715" y="2500220"/>
                  </a:lnTo>
                  <a:lnTo>
                    <a:pt x="6802723" y="2509340"/>
                  </a:lnTo>
                  <a:lnTo>
                    <a:pt x="6772365" y="2511622"/>
                  </a:lnTo>
                  <a:lnTo>
                    <a:pt x="6720663" y="2510515"/>
                  </a:lnTo>
                  <a:lnTo>
                    <a:pt x="6689387" y="2503458"/>
                  </a:lnTo>
                  <a:lnTo>
                    <a:pt x="6658115" y="2496401"/>
                  </a:lnTo>
                  <a:lnTo>
                    <a:pt x="6628727" y="2484841"/>
                  </a:lnTo>
                  <a:lnTo>
                    <a:pt x="6600087" y="2449689"/>
                  </a:lnTo>
                  <a:lnTo>
                    <a:pt x="6589917" y="2419307"/>
                  </a:lnTo>
                  <a:lnTo>
                    <a:pt x="6579214" y="2387842"/>
                  </a:lnTo>
                  <a:lnTo>
                    <a:pt x="6568511" y="2356379"/>
                  </a:lnTo>
                  <a:lnTo>
                    <a:pt x="6556738" y="2324598"/>
                  </a:lnTo>
                  <a:lnTo>
                    <a:pt x="6537046" y="2300790"/>
                  </a:lnTo>
                  <a:lnTo>
                    <a:pt x="6518384" y="2278222"/>
                  </a:lnTo>
                  <a:lnTo>
                    <a:pt x="6481279" y="2261346"/>
                  </a:lnTo>
                  <a:lnTo>
                    <a:pt x="6442984" y="2247978"/>
                  </a:lnTo>
                  <a:lnTo>
                    <a:pt x="6425512" y="2232777"/>
                  </a:lnTo>
                  <a:lnTo>
                    <a:pt x="6408635" y="2218116"/>
                  </a:lnTo>
                  <a:lnTo>
                    <a:pt x="6397755" y="2193669"/>
                  </a:lnTo>
                  <a:lnTo>
                    <a:pt x="6376547" y="2183809"/>
                  </a:lnTo>
                  <a:lnTo>
                    <a:pt x="6345359" y="2171985"/>
                  </a:lnTo>
                  <a:lnTo>
                    <a:pt x="6312517" y="2162989"/>
                  </a:lnTo>
                  <a:lnTo>
                    <a:pt x="6279970" y="2155247"/>
                  </a:lnTo>
                  <a:lnTo>
                    <a:pt x="6235554" y="2144134"/>
                  </a:lnTo>
                  <a:lnTo>
                    <a:pt x="6206496" y="2145243"/>
                  </a:lnTo>
                  <a:lnTo>
                    <a:pt x="6188835" y="2160688"/>
                  </a:lnTo>
                  <a:lnTo>
                    <a:pt x="6171180" y="2176132"/>
                  </a:lnTo>
                  <a:lnTo>
                    <a:pt x="6165121" y="2204940"/>
                  </a:lnTo>
                  <a:lnTo>
                    <a:pt x="6164356" y="2249099"/>
                  </a:lnTo>
                  <a:lnTo>
                    <a:pt x="6032286" y="2262110"/>
                  </a:lnTo>
                  <a:lnTo>
                    <a:pt x="5919096" y="2254118"/>
                  </a:lnTo>
                  <a:lnTo>
                    <a:pt x="5803903" y="2262704"/>
                  </a:lnTo>
                  <a:lnTo>
                    <a:pt x="5774358" y="2259644"/>
                  </a:lnTo>
                  <a:lnTo>
                    <a:pt x="5756660" y="2241555"/>
                  </a:lnTo>
                  <a:lnTo>
                    <a:pt x="5758570" y="2215544"/>
                  </a:lnTo>
                  <a:lnTo>
                    <a:pt x="5761735" y="2187891"/>
                  </a:lnTo>
                  <a:lnTo>
                    <a:pt x="5764895" y="2160239"/>
                  </a:lnTo>
                  <a:lnTo>
                    <a:pt x="5770290" y="2131084"/>
                  </a:lnTo>
                  <a:lnTo>
                    <a:pt x="5773080" y="2090848"/>
                  </a:lnTo>
                  <a:lnTo>
                    <a:pt x="5760991" y="2073661"/>
                  </a:lnTo>
                  <a:lnTo>
                    <a:pt x="5748130" y="2055954"/>
                  </a:lnTo>
                  <a:lnTo>
                    <a:pt x="5735272" y="2038240"/>
                  </a:lnTo>
                  <a:lnTo>
                    <a:pt x="5721170" y="2021035"/>
                  </a:lnTo>
                  <a:lnTo>
                    <a:pt x="5718203" y="1996106"/>
                  </a:lnTo>
                  <a:lnTo>
                    <a:pt x="5725080" y="1959550"/>
                  </a:lnTo>
                  <a:lnTo>
                    <a:pt x="5738608" y="1938973"/>
                  </a:lnTo>
                  <a:lnTo>
                    <a:pt x="5752133" y="1918398"/>
                  </a:lnTo>
                  <a:lnTo>
                    <a:pt x="5770460" y="1897123"/>
                  </a:lnTo>
                  <a:lnTo>
                    <a:pt x="5786217" y="1873684"/>
                  </a:lnTo>
                  <a:lnTo>
                    <a:pt x="5801965" y="1850253"/>
                  </a:lnTo>
                  <a:lnTo>
                    <a:pt x="5815518" y="1825521"/>
                  </a:lnTo>
                  <a:lnTo>
                    <a:pt x="5820218" y="1800238"/>
                  </a:lnTo>
                  <a:lnTo>
                    <a:pt x="5824922" y="1774952"/>
                  </a:lnTo>
                  <a:lnTo>
                    <a:pt x="5820814" y="1748803"/>
                  </a:lnTo>
                  <a:lnTo>
                    <a:pt x="5801175" y="1722701"/>
                  </a:lnTo>
                  <a:lnTo>
                    <a:pt x="5787758" y="1704881"/>
                  </a:lnTo>
                  <a:lnTo>
                    <a:pt x="5772817" y="1686863"/>
                  </a:lnTo>
                  <a:lnTo>
                    <a:pt x="5757655" y="1669658"/>
                  </a:lnTo>
                  <a:lnTo>
                    <a:pt x="5742487" y="1652451"/>
                  </a:lnTo>
                  <a:lnTo>
                    <a:pt x="5727291" y="1636320"/>
                  </a:lnTo>
                  <a:lnTo>
                    <a:pt x="5712768" y="1619332"/>
                  </a:lnTo>
                  <a:lnTo>
                    <a:pt x="5694989" y="1598512"/>
                  </a:lnTo>
                  <a:lnTo>
                    <a:pt x="5693426" y="1553271"/>
                  </a:lnTo>
                  <a:lnTo>
                    <a:pt x="5695082" y="1528197"/>
                  </a:lnTo>
                  <a:lnTo>
                    <a:pt x="5652108" y="1452105"/>
                  </a:lnTo>
                  <a:lnTo>
                    <a:pt x="5612408" y="1446751"/>
                  </a:lnTo>
                  <a:lnTo>
                    <a:pt x="5538577" y="1474383"/>
                  </a:lnTo>
                  <a:lnTo>
                    <a:pt x="5519617" y="1490111"/>
                  </a:lnTo>
                  <a:lnTo>
                    <a:pt x="5480549" y="1436250"/>
                  </a:lnTo>
                  <a:lnTo>
                    <a:pt x="5439336" y="1395065"/>
                  </a:lnTo>
                  <a:lnTo>
                    <a:pt x="5408079" y="1348645"/>
                  </a:lnTo>
                  <a:lnTo>
                    <a:pt x="5390766" y="1322930"/>
                  </a:lnTo>
                  <a:lnTo>
                    <a:pt x="5375790" y="1295107"/>
                  </a:lnTo>
                  <a:lnTo>
                    <a:pt x="5360470" y="1267033"/>
                  </a:lnTo>
                  <a:lnTo>
                    <a:pt x="5345162" y="1238965"/>
                  </a:lnTo>
                  <a:lnTo>
                    <a:pt x="5330602" y="1211154"/>
                  </a:lnTo>
                  <a:lnTo>
                    <a:pt x="5315586" y="1184061"/>
                  </a:lnTo>
                  <a:lnTo>
                    <a:pt x="5305317" y="1165523"/>
                  </a:lnTo>
                  <a:lnTo>
                    <a:pt x="5291600" y="1144605"/>
                  </a:lnTo>
                  <a:lnTo>
                    <a:pt x="5280224" y="1124214"/>
                  </a:lnTo>
                  <a:lnTo>
                    <a:pt x="5268847" y="1103821"/>
                  </a:lnTo>
                  <a:lnTo>
                    <a:pt x="5258823" y="1084044"/>
                  </a:lnTo>
                  <a:lnTo>
                    <a:pt x="5254377" y="1063005"/>
                  </a:lnTo>
                  <a:lnTo>
                    <a:pt x="5281879" y="1055652"/>
                  </a:lnTo>
                  <a:lnTo>
                    <a:pt x="5324822" y="1037332"/>
                  </a:lnTo>
                  <a:lnTo>
                    <a:pt x="5365918" y="1016755"/>
                  </a:lnTo>
                  <a:lnTo>
                    <a:pt x="5407010" y="996186"/>
                  </a:lnTo>
                  <a:lnTo>
                    <a:pt x="5447020" y="972643"/>
                  </a:lnTo>
                  <a:lnTo>
                    <a:pt x="5469291" y="954190"/>
                  </a:lnTo>
                  <a:lnTo>
                    <a:pt x="5481052" y="933633"/>
                  </a:lnTo>
                  <a:lnTo>
                    <a:pt x="5490177" y="898575"/>
                  </a:lnTo>
                  <a:lnTo>
                    <a:pt x="5493773" y="871220"/>
                  </a:lnTo>
                  <a:lnTo>
                    <a:pt x="5487566" y="831360"/>
                  </a:lnTo>
                  <a:lnTo>
                    <a:pt x="5472773" y="794099"/>
                  </a:lnTo>
                  <a:lnTo>
                    <a:pt x="5459769" y="756956"/>
                  </a:lnTo>
                  <a:lnTo>
                    <a:pt x="5453187" y="722175"/>
                  </a:lnTo>
                  <a:lnTo>
                    <a:pt x="5446164" y="701190"/>
                  </a:lnTo>
                  <a:lnTo>
                    <a:pt x="5439147" y="680211"/>
                  </a:lnTo>
                  <a:lnTo>
                    <a:pt x="5429932" y="661237"/>
                  </a:lnTo>
                  <a:lnTo>
                    <a:pt x="5398455" y="649249"/>
                  </a:lnTo>
                  <a:lnTo>
                    <a:pt x="5346957" y="666389"/>
                  </a:lnTo>
                  <a:lnTo>
                    <a:pt x="5295187" y="680785"/>
                  </a:lnTo>
                  <a:lnTo>
                    <a:pt x="5269294" y="687986"/>
                  </a:lnTo>
                  <a:lnTo>
                    <a:pt x="5243475" y="694990"/>
                  </a:lnTo>
                  <a:lnTo>
                    <a:pt x="5221731" y="697108"/>
                  </a:lnTo>
                  <a:lnTo>
                    <a:pt x="5199990" y="699224"/>
                  </a:lnTo>
                  <a:lnTo>
                    <a:pt x="5172767" y="687591"/>
                  </a:lnTo>
                  <a:lnTo>
                    <a:pt x="5164606" y="652222"/>
                  </a:lnTo>
                  <a:lnTo>
                    <a:pt x="5138347" y="633289"/>
                  </a:lnTo>
                  <a:lnTo>
                    <a:pt x="5110200" y="644059"/>
                  </a:lnTo>
                  <a:lnTo>
                    <a:pt x="5083463" y="661422"/>
                  </a:lnTo>
                  <a:lnTo>
                    <a:pt x="5053068" y="664462"/>
                  </a:lnTo>
                  <a:lnTo>
                    <a:pt x="4959874" y="549052"/>
                  </a:lnTo>
                  <a:lnTo>
                    <a:pt x="4936964" y="545866"/>
                  </a:lnTo>
                  <a:lnTo>
                    <a:pt x="4900724" y="567886"/>
                  </a:lnTo>
                  <a:lnTo>
                    <a:pt x="4882536" y="580576"/>
                  </a:lnTo>
                  <a:lnTo>
                    <a:pt x="4864968" y="596792"/>
                  </a:lnTo>
                  <a:lnTo>
                    <a:pt x="4840591" y="624333"/>
                  </a:lnTo>
                  <a:lnTo>
                    <a:pt x="4843599" y="664462"/>
                  </a:lnTo>
                  <a:lnTo>
                    <a:pt x="4850926" y="705859"/>
                  </a:lnTo>
                  <a:lnTo>
                    <a:pt x="4812900" y="744631"/>
                  </a:lnTo>
                  <a:lnTo>
                    <a:pt x="4762854" y="752663"/>
                  </a:lnTo>
                  <a:lnTo>
                    <a:pt x="4723895" y="754232"/>
                  </a:lnTo>
                  <a:lnTo>
                    <a:pt x="4706215" y="699824"/>
                  </a:lnTo>
                  <a:lnTo>
                    <a:pt x="4676992" y="688099"/>
                  </a:lnTo>
                  <a:lnTo>
                    <a:pt x="4651108" y="699528"/>
                  </a:lnTo>
                  <a:lnTo>
                    <a:pt x="4625436" y="763842"/>
                  </a:lnTo>
                  <a:lnTo>
                    <a:pt x="4637416" y="823472"/>
                  </a:lnTo>
                  <a:lnTo>
                    <a:pt x="4625963" y="880729"/>
                  </a:lnTo>
                  <a:lnTo>
                    <a:pt x="4538911" y="897052"/>
                  </a:lnTo>
                  <a:lnTo>
                    <a:pt x="4524428" y="857370"/>
                  </a:lnTo>
                  <a:lnTo>
                    <a:pt x="4534688" y="836286"/>
                  </a:lnTo>
                  <a:lnTo>
                    <a:pt x="4554010" y="802751"/>
                  </a:lnTo>
                  <a:lnTo>
                    <a:pt x="4564754" y="775996"/>
                  </a:lnTo>
                  <a:lnTo>
                    <a:pt x="4571231" y="712098"/>
                  </a:lnTo>
                  <a:lnTo>
                    <a:pt x="4575860" y="665372"/>
                  </a:lnTo>
                  <a:lnTo>
                    <a:pt x="4575637" y="631811"/>
                  </a:lnTo>
                  <a:lnTo>
                    <a:pt x="4575439" y="598250"/>
                  </a:lnTo>
                  <a:lnTo>
                    <a:pt x="4555232" y="566522"/>
                  </a:lnTo>
                  <a:lnTo>
                    <a:pt x="4515656" y="550621"/>
                  </a:lnTo>
                  <a:lnTo>
                    <a:pt x="4477702" y="551557"/>
                  </a:lnTo>
                  <a:lnTo>
                    <a:pt x="4439741" y="552494"/>
                  </a:lnTo>
                  <a:lnTo>
                    <a:pt x="4388914" y="557329"/>
                  </a:lnTo>
                  <a:lnTo>
                    <a:pt x="4319913" y="562439"/>
                  </a:lnTo>
                  <a:lnTo>
                    <a:pt x="4288368" y="575300"/>
                  </a:lnTo>
                  <a:lnTo>
                    <a:pt x="4264410" y="601277"/>
                  </a:lnTo>
                  <a:lnTo>
                    <a:pt x="4238306" y="625012"/>
                  </a:lnTo>
                  <a:lnTo>
                    <a:pt x="4206804" y="626219"/>
                  </a:lnTo>
                  <a:lnTo>
                    <a:pt x="4185475" y="612916"/>
                  </a:lnTo>
                  <a:lnTo>
                    <a:pt x="4171652" y="589649"/>
                  </a:lnTo>
                  <a:lnTo>
                    <a:pt x="4159644" y="564009"/>
                  </a:lnTo>
                  <a:lnTo>
                    <a:pt x="4153957" y="531371"/>
                  </a:lnTo>
                  <a:lnTo>
                    <a:pt x="4143090" y="512113"/>
                  </a:lnTo>
                  <a:lnTo>
                    <a:pt x="4097815" y="528106"/>
                  </a:lnTo>
                  <a:lnTo>
                    <a:pt x="4072359" y="548841"/>
                  </a:lnTo>
                  <a:lnTo>
                    <a:pt x="4046910" y="569575"/>
                  </a:lnTo>
                  <a:lnTo>
                    <a:pt x="4020397" y="592473"/>
                  </a:lnTo>
                  <a:lnTo>
                    <a:pt x="3998913" y="601891"/>
                  </a:lnTo>
                  <a:lnTo>
                    <a:pt x="3950407" y="599298"/>
                  </a:lnTo>
                  <a:lnTo>
                    <a:pt x="3913219" y="589649"/>
                  </a:lnTo>
                  <a:lnTo>
                    <a:pt x="3876030" y="579996"/>
                  </a:lnTo>
                  <a:lnTo>
                    <a:pt x="3838088" y="569627"/>
                  </a:lnTo>
                  <a:lnTo>
                    <a:pt x="3782771" y="562347"/>
                  </a:lnTo>
                  <a:lnTo>
                    <a:pt x="3740522" y="567017"/>
                  </a:lnTo>
                  <a:lnTo>
                    <a:pt x="3701027" y="562439"/>
                  </a:lnTo>
                  <a:lnTo>
                    <a:pt x="3661529" y="555252"/>
                  </a:lnTo>
                  <a:lnTo>
                    <a:pt x="3626266" y="536989"/>
                  </a:lnTo>
                  <a:lnTo>
                    <a:pt x="3596292" y="502591"/>
                  </a:lnTo>
                  <a:lnTo>
                    <a:pt x="3582470" y="481005"/>
                  </a:lnTo>
                  <a:lnTo>
                    <a:pt x="3588128" y="369294"/>
                  </a:lnTo>
                  <a:lnTo>
                    <a:pt x="3583797" y="343826"/>
                  </a:lnTo>
                  <a:lnTo>
                    <a:pt x="3565265" y="332192"/>
                  </a:lnTo>
                  <a:lnTo>
                    <a:pt x="3537803" y="328486"/>
                  </a:lnTo>
                  <a:lnTo>
                    <a:pt x="3509364" y="325979"/>
                  </a:lnTo>
                  <a:lnTo>
                    <a:pt x="3476284" y="328354"/>
                  </a:lnTo>
                  <a:lnTo>
                    <a:pt x="3458908" y="314886"/>
                  </a:lnTo>
                  <a:lnTo>
                    <a:pt x="3443303" y="262141"/>
                  </a:lnTo>
                  <a:lnTo>
                    <a:pt x="3439868" y="215593"/>
                  </a:lnTo>
                  <a:lnTo>
                    <a:pt x="3436432" y="169041"/>
                  </a:lnTo>
                  <a:lnTo>
                    <a:pt x="3434466" y="120252"/>
                  </a:lnTo>
                  <a:lnTo>
                    <a:pt x="3432535" y="97974"/>
                  </a:lnTo>
                  <a:lnTo>
                    <a:pt x="3413798" y="75254"/>
                  </a:lnTo>
                  <a:lnTo>
                    <a:pt x="3356648" y="75538"/>
                  </a:lnTo>
                  <a:lnTo>
                    <a:pt x="3327226" y="75141"/>
                  </a:lnTo>
                  <a:lnTo>
                    <a:pt x="3288633" y="70394"/>
                  </a:lnTo>
                  <a:lnTo>
                    <a:pt x="3259662" y="49785"/>
                  </a:lnTo>
                  <a:lnTo>
                    <a:pt x="3238559" y="34682"/>
                  </a:lnTo>
                  <a:lnTo>
                    <a:pt x="3213801" y="32842"/>
                  </a:lnTo>
                  <a:lnTo>
                    <a:pt x="3186981" y="39147"/>
                  </a:lnTo>
                  <a:lnTo>
                    <a:pt x="3161029" y="46929"/>
                  </a:lnTo>
                  <a:lnTo>
                    <a:pt x="3135071" y="54698"/>
                  </a:lnTo>
                  <a:lnTo>
                    <a:pt x="3109919" y="64260"/>
                  </a:lnTo>
                  <a:lnTo>
                    <a:pt x="3087576" y="70050"/>
                  </a:lnTo>
                  <a:lnTo>
                    <a:pt x="3065233" y="75834"/>
                  </a:lnTo>
                  <a:lnTo>
                    <a:pt x="3031809" y="70050"/>
                  </a:lnTo>
                  <a:lnTo>
                    <a:pt x="3009392" y="44556"/>
                  </a:lnTo>
                  <a:lnTo>
                    <a:pt x="3008682" y="11561"/>
                  </a:lnTo>
                  <a:lnTo>
                    <a:pt x="2990366" y="0"/>
                  </a:lnTo>
                  <a:lnTo>
                    <a:pt x="2931982" y="11824"/>
                  </a:lnTo>
                  <a:lnTo>
                    <a:pt x="2910753" y="14278"/>
                  </a:lnTo>
                  <a:lnTo>
                    <a:pt x="2806123" y="39905"/>
                  </a:lnTo>
                  <a:lnTo>
                    <a:pt x="2772011" y="45563"/>
                  </a:lnTo>
                  <a:lnTo>
                    <a:pt x="2740512" y="70559"/>
                  </a:lnTo>
                  <a:lnTo>
                    <a:pt x="2736094" y="100842"/>
                  </a:lnTo>
                  <a:lnTo>
                    <a:pt x="2733105" y="141539"/>
                  </a:lnTo>
                  <a:lnTo>
                    <a:pt x="2723043" y="178861"/>
                  </a:lnTo>
                  <a:lnTo>
                    <a:pt x="2711720" y="215265"/>
                  </a:lnTo>
                  <a:lnTo>
                    <a:pt x="2693563" y="240390"/>
                  </a:lnTo>
                  <a:lnTo>
                    <a:pt x="2667276" y="246873"/>
                  </a:lnTo>
                  <a:lnTo>
                    <a:pt x="2621995" y="237569"/>
                  </a:lnTo>
                  <a:lnTo>
                    <a:pt x="2595187" y="235992"/>
                  </a:lnTo>
                  <a:lnTo>
                    <a:pt x="2568370" y="234415"/>
                  </a:lnTo>
                  <a:lnTo>
                    <a:pt x="2542778" y="237944"/>
                  </a:lnTo>
                  <a:lnTo>
                    <a:pt x="2529898" y="256389"/>
                  </a:lnTo>
                  <a:lnTo>
                    <a:pt x="2526336" y="281733"/>
                  </a:lnTo>
                  <a:lnTo>
                    <a:pt x="2517130" y="315387"/>
                  </a:lnTo>
                  <a:lnTo>
                    <a:pt x="2504052" y="338001"/>
                  </a:lnTo>
                  <a:lnTo>
                    <a:pt x="2488428" y="352431"/>
                  </a:lnTo>
                  <a:lnTo>
                    <a:pt x="2457168" y="364150"/>
                  </a:lnTo>
                  <a:lnTo>
                    <a:pt x="2426522" y="366570"/>
                  </a:lnTo>
                  <a:lnTo>
                    <a:pt x="2395699" y="367032"/>
                  </a:lnTo>
                  <a:lnTo>
                    <a:pt x="2370286" y="357985"/>
                  </a:lnTo>
                  <a:lnTo>
                    <a:pt x="2354427" y="338009"/>
                  </a:lnTo>
                  <a:lnTo>
                    <a:pt x="2351711" y="297205"/>
                  </a:lnTo>
                  <a:lnTo>
                    <a:pt x="2350350" y="256397"/>
                  </a:lnTo>
                  <a:lnTo>
                    <a:pt x="2335520" y="227056"/>
                  </a:lnTo>
                  <a:lnTo>
                    <a:pt x="2317713" y="215593"/>
                  </a:lnTo>
                  <a:lnTo>
                    <a:pt x="2299900" y="204126"/>
                  </a:lnTo>
                  <a:lnTo>
                    <a:pt x="2278797" y="196291"/>
                  </a:lnTo>
                  <a:lnTo>
                    <a:pt x="2250077" y="200386"/>
                  </a:lnTo>
                  <a:lnTo>
                    <a:pt x="2225213" y="219669"/>
                  </a:lnTo>
                  <a:lnTo>
                    <a:pt x="2205217" y="245270"/>
                  </a:lnTo>
                  <a:lnTo>
                    <a:pt x="2183591" y="290894"/>
                  </a:lnTo>
                  <a:lnTo>
                    <a:pt x="2176239" y="326092"/>
                  </a:lnTo>
                  <a:lnTo>
                    <a:pt x="2169446" y="352972"/>
                  </a:lnTo>
                  <a:lnTo>
                    <a:pt x="2144821" y="361546"/>
                  </a:lnTo>
                  <a:lnTo>
                    <a:pt x="2117902" y="357997"/>
                  </a:lnTo>
                  <a:lnTo>
                    <a:pt x="2094635" y="348890"/>
                  </a:lnTo>
                  <a:lnTo>
                    <a:pt x="2080726" y="321382"/>
                  </a:lnTo>
                  <a:lnTo>
                    <a:pt x="2078620" y="289344"/>
                  </a:lnTo>
                  <a:lnTo>
                    <a:pt x="2074236" y="257761"/>
                  </a:lnTo>
                  <a:lnTo>
                    <a:pt x="2047032" y="235998"/>
                  </a:lnTo>
                  <a:lnTo>
                    <a:pt x="2023356" y="238531"/>
                  </a:lnTo>
                  <a:lnTo>
                    <a:pt x="1999977" y="247064"/>
                  </a:lnTo>
                  <a:lnTo>
                    <a:pt x="1976301" y="253679"/>
                  </a:lnTo>
                  <a:lnTo>
                    <a:pt x="1950179" y="256383"/>
                  </a:lnTo>
                  <a:lnTo>
                    <a:pt x="1927334" y="257755"/>
                  </a:lnTo>
                  <a:lnTo>
                    <a:pt x="1904482" y="259127"/>
                  </a:lnTo>
                  <a:lnTo>
                    <a:pt x="1881243" y="259332"/>
                  </a:lnTo>
                  <a:lnTo>
                    <a:pt x="1853267" y="258282"/>
                  </a:lnTo>
                  <a:lnTo>
                    <a:pt x="1826676" y="242792"/>
                  </a:lnTo>
                  <a:lnTo>
                    <a:pt x="1804616" y="224748"/>
                  </a:lnTo>
                  <a:lnTo>
                    <a:pt x="1746179" y="216801"/>
                  </a:lnTo>
                  <a:lnTo>
                    <a:pt x="1716503" y="229186"/>
                  </a:lnTo>
                  <a:lnTo>
                    <a:pt x="1698703" y="245897"/>
                  </a:lnTo>
                  <a:lnTo>
                    <a:pt x="1659924" y="247751"/>
                  </a:lnTo>
                  <a:lnTo>
                    <a:pt x="1629370" y="245132"/>
                  </a:lnTo>
                  <a:lnTo>
                    <a:pt x="1600885" y="248232"/>
                  </a:lnTo>
                  <a:lnTo>
                    <a:pt x="1572397" y="251324"/>
                  </a:lnTo>
                  <a:lnTo>
                    <a:pt x="1545853" y="259259"/>
                  </a:lnTo>
                  <a:lnTo>
                    <a:pt x="1534232" y="278152"/>
                  </a:lnTo>
                  <a:lnTo>
                    <a:pt x="1534034" y="304506"/>
                  </a:lnTo>
                  <a:lnTo>
                    <a:pt x="1507582" y="321850"/>
                  </a:lnTo>
                  <a:lnTo>
                    <a:pt x="1497512" y="343443"/>
                  </a:lnTo>
                  <a:lnTo>
                    <a:pt x="1486861" y="366268"/>
                  </a:lnTo>
                  <a:lnTo>
                    <a:pt x="1489776" y="392449"/>
                  </a:lnTo>
                  <a:lnTo>
                    <a:pt x="1474381" y="415531"/>
                  </a:lnTo>
                  <a:lnTo>
                    <a:pt x="1440690" y="432507"/>
                  </a:lnTo>
                  <a:lnTo>
                    <a:pt x="1409092" y="429137"/>
                  </a:lnTo>
                  <a:lnTo>
                    <a:pt x="1377504" y="425760"/>
                  </a:lnTo>
                  <a:lnTo>
                    <a:pt x="1338799" y="415987"/>
                  </a:lnTo>
                  <a:lnTo>
                    <a:pt x="1298919" y="403292"/>
                  </a:lnTo>
                  <a:lnTo>
                    <a:pt x="1219166" y="377907"/>
                  </a:lnTo>
                  <a:lnTo>
                    <a:pt x="1135729" y="342869"/>
                  </a:lnTo>
                  <a:lnTo>
                    <a:pt x="1105774" y="329837"/>
                  </a:lnTo>
                  <a:lnTo>
                    <a:pt x="1057936" y="337659"/>
                  </a:lnTo>
                  <a:lnTo>
                    <a:pt x="1034911" y="345506"/>
                  </a:lnTo>
                  <a:lnTo>
                    <a:pt x="978784" y="331195"/>
                  </a:lnTo>
                  <a:lnTo>
                    <a:pt x="955297" y="338595"/>
                  </a:lnTo>
                  <a:lnTo>
                    <a:pt x="920787" y="336643"/>
                  </a:lnTo>
                  <a:lnTo>
                    <a:pt x="870883" y="333755"/>
                  </a:lnTo>
                  <a:lnTo>
                    <a:pt x="821085" y="322061"/>
                  </a:lnTo>
                  <a:lnTo>
                    <a:pt x="771162" y="318962"/>
                  </a:lnTo>
                  <a:lnTo>
                    <a:pt x="736309" y="316793"/>
                  </a:lnTo>
                  <a:lnTo>
                    <a:pt x="715845" y="343402"/>
                  </a:lnTo>
                  <a:lnTo>
                    <a:pt x="680027" y="339361"/>
                  </a:lnTo>
                  <a:lnTo>
                    <a:pt x="645173" y="306247"/>
                  </a:lnTo>
                  <a:lnTo>
                    <a:pt x="628343" y="293117"/>
                  </a:lnTo>
                  <a:lnTo>
                    <a:pt x="593858" y="288237"/>
                  </a:lnTo>
                  <a:lnTo>
                    <a:pt x="559451" y="297997"/>
                  </a:lnTo>
                  <a:lnTo>
                    <a:pt x="526325" y="318962"/>
                  </a:lnTo>
                  <a:lnTo>
                    <a:pt x="495483" y="341919"/>
                  </a:lnTo>
                  <a:lnTo>
                    <a:pt x="469736" y="373475"/>
                  </a:lnTo>
                  <a:lnTo>
                    <a:pt x="455597" y="400568"/>
                  </a:lnTo>
                  <a:lnTo>
                    <a:pt x="434981" y="440077"/>
                  </a:lnTo>
                  <a:lnTo>
                    <a:pt x="427211" y="465693"/>
                  </a:lnTo>
                  <a:lnTo>
                    <a:pt x="410710" y="479462"/>
                  </a:lnTo>
                  <a:lnTo>
                    <a:pt x="392001" y="490350"/>
                  </a:lnTo>
                  <a:lnTo>
                    <a:pt x="361407" y="493054"/>
                  </a:lnTo>
                  <a:lnTo>
                    <a:pt x="314136" y="488986"/>
                  </a:lnTo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610" name="Odessa¬0" descr="Odessa¬0">
              <a:extLst>
                <a:ext uri="{FF2B5EF4-FFF2-40B4-BE49-F238E27FC236}">
                  <a16:creationId xmlns:a16="http://schemas.microsoft.com/office/drawing/2014/main" id="{357C76A1-40FD-42A5-9D3D-5301C6FCC6F5}"/>
                </a:ext>
              </a:extLst>
            </p:cNvPr>
            <p:cNvSpPr/>
            <p:nvPr/>
          </p:nvSpPr>
          <p:spPr>
            <a:xfrm>
              <a:off x="2959698" y="3066937"/>
              <a:ext cx="1063859" cy="1367932"/>
            </a:xfrm>
            <a:custGeom>
              <a:avLst/>
              <a:gdLst/>
              <a:ahLst/>
              <a:cxnLst/>
              <a:rect l="0" t="0" r="0" b="0"/>
              <a:pathLst>
                <a:path w="10856097" h="15845753">
                  <a:moveTo>
                    <a:pt x="6029786" y="0"/>
                  </a:moveTo>
                  <a:lnTo>
                    <a:pt x="6007068" y="5519"/>
                  </a:lnTo>
                  <a:lnTo>
                    <a:pt x="5979736" y="29189"/>
                  </a:lnTo>
                  <a:lnTo>
                    <a:pt x="5967616" y="49045"/>
                  </a:lnTo>
                  <a:lnTo>
                    <a:pt x="5955502" y="68903"/>
                  </a:lnTo>
                  <a:lnTo>
                    <a:pt x="5943946" y="92618"/>
                  </a:lnTo>
                  <a:lnTo>
                    <a:pt x="5932253" y="117052"/>
                  </a:lnTo>
                  <a:lnTo>
                    <a:pt x="5920567" y="141494"/>
                  </a:lnTo>
                  <a:lnTo>
                    <a:pt x="5907846" y="166850"/>
                  </a:lnTo>
                  <a:lnTo>
                    <a:pt x="5894169" y="189148"/>
                  </a:lnTo>
                  <a:lnTo>
                    <a:pt x="5880489" y="211438"/>
                  </a:lnTo>
                  <a:lnTo>
                    <a:pt x="5866009" y="231494"/>
                  </a:lnTo>
                  <a:lnTo>
                    <a:pt x="5847924" y="244914"/>
                  </a:lnTo>
                  <a:lnTo>
                    <a:pt x="5812794" y="230597"/>
                  </a:lnTo>
                  <a:lnTo>
                    <a:pt x="5796234" y="213629"/>
                  </a:lnTo>
                  <a:lnTo>
                    <a:pt x="5779674" y="196659"/>
                  </a:lnTo>
                  <a:lnTo>
                    <a:pt x="5762620" y="175529"/>
                  </a:lnTo>
                  <a:lnTo>
                    <a:pt x="5745908" y="153780"/>
                  </a:lnTo>
                  <a:lnTo>
                    <a:pt x="5729196" y="132029"/>
                  </a:lnTo>
                  <a:lnTo>
                    <a:pt x="5712782" y="109745"/>
                  </a:lnTo>
                  <a:lnTo>
                    <a:pt x="5694218" y="93931"/>
                  </a:lnTo>
                  <a:lnTo>
                    <a:pt x="5675652" y="78122"/>
                  </a:lnTo>
                  <a:lnTo>
                    <a:pt x="5655123" y="68580"/>
                  </a:lnTo>
                  <a:lnTo>
                    <a:pt x="5633010" y="69450"/>
                  </a:lnTo>
                  <a:lnTo>
                    <a:pt x="5609889" y="74885"/>
                  </a:lnTo>
                  <a:lnTo>
                    <a:pt x="5585400" y="88491"/>
                  </a:lnTo>
                  <a:lnTo>
                    <a:pt x="5562279" y="103454"/>
                  </a:lnTo>
                  <a:lnTo>
                    <a:pt x="5541874" y="115694"/>
                  </a:lnTo>
                  <a:lnTo>
                    <a:pt x="5518021" y="119176"/>
                  </a:lnTo>
                  <a:lnTo>
                    <a:pt x="5493145" y="110953"/>
                  </a:lnTo>
                  <a:lnTo>
                    <a:pt x="5469786" y="114329"/>
                  </a:lnTo>
                  <a:lnTo>
                    <a:pt x="5460071" y="136686"/>
                  </a:lnTo>
                  <a:lnTo>
                    <a:pt x="5425556" y="147382"/>
                  </a:lnTo>
                  <a:lnTo>
                    <a:pt x="5409938" y="170095"/>
                  </a:lnTo>
                  <a:lnTo>
                    <a:pt x="5380048" y="171421"/>
                  </a:lnTo>
                  <a:lnTo>
                    <a:pt x="5344615" y="187816"/>
                  </a:lnTo>
                  <a:lnTo>
                    <a:pt x="5324988" y="200597"/>
                  </a:lnTo>
                  <a:lnTo>
                    <a:pt x="5306561" y="212263"/>
                  </a:lnTo>
                  <a:lnTo>
                    <a:pt x="5269717" y="235596"/>
                  </a:lnTo>
                  <a:lnTo>
                    <a:pt x="5235831" y="258170"/>
                  </a:lnTo>
                  <a:lnTo>
                    <a:pt x="5198596" y="239593"/>
                  </a:lnTo>
                  <a:lnTo>
                    <a:pt x="5195154" y="209717"/>
                  </a:lnTo>
                  <a:lnTo>
                    <a:pt x="5174625" y="200023"/>
                  </a:lnTo>
                  <a:lnTo>
                    <a:pt x="5154010" y="193818"/>
                  </a:lnTo>
                  <a:lnTo>
                    <a:pt x="5124300" y="216345"/>
                  </a:lnTo>
                  <a:lnTo>
                    <a:pt x="5092717" y="239995"/>
                  </a:lnTo>
                  <a:lnTo>
                    <a:pt x="5082448" y="259370"/>
                  </a:lnTo>
                  <a:lnTo>
                    <a:pt x="5084848" y="280276"/>
                  </a:lnTo>
                  <a:lnTo>
                    <a:pt x="5087248" y="301175"/>
                  </a:lnTo>
                  <a:lnTo>
                    <a:pt x="5101935" y="323909"/>
                  </a:lnTo>
                  <a:lnTo>
                    <a:pt x="5122935" y="352365"/>
                  </a:lnTo>
                  <a:lnTo>
                    <a:pt x="5173267" y="420371"/>
                  </a:lnTo>
                  <a:lnTo>
                    <a:pt x="5198097" y="454039"/>
                  </a:lnTo>
                  <a:lnTo>
                    <a:pt x="5211848" y="479845"/>
                  </a:lnTo>
                  <a:lnTo>
                    <a:pt x="5212710" y="504707"/>
                  </a:lnTo>
                  <a:lnTo>
                    <a:pt x="5213575" y="529571"/>
                  </a:lnTo>
                  <a:lnTo>
                    <a:pt x="5201724" y="554248"/>
                  </a:lnTo>
                  <a:lnTo>
                    <a:pt x="5177341" y="589037"/>
                  </a:lnTo>
                  <a:lnTo>
                    <a:pt x="5161144" y="603954"/>
                  </a:lnTo>
                  <a:lnTo>
                    <a:pt x="5155479" y="633757"/>
                  </a:lnTo>
                  <a:lnTo>
                    <a:pt x="5163869" y="683061"/>
                  </a:lnTo>
                  <a:lnTo>
                    <a:pt x="5156943" y="714175"/>
                  </a:lnTo>
                  <a:lnTo>
                    <a:pt x="5109525" y="720427"/>
                  </a:lnTo>
                  <a:lnTo>
                    <a:pt x="5086721" y="682982"/>
                  </a:lnTo>
                  <a:lnTo>
                    <a:pt x="5054927" y="684254"/>
                  </a:lnTo>
                  <a:lnTo>
                    <a:pt x="4974780" y="712817"/>
                  </a:lnTo>
                  <a:lnTo>
                    <a:pt x="4931149" y="716899"/>
                  </a:lnTo>
                  <a:lnTo>
                    <a:pt x="4848493" y="724674"/>
                  </a:lnTo>
                  <a:lnTo>
                    <a:pt x="4762635" y="719702"/>
                  </a:lnTo>
                  <a:lnTo>
                    <a:pt x="4679511" y="718257"/>
                  </a:lnTo>
                  <a:lnTo>
                    <a:pt x="4655758" y="717862"/>
                  </a:lnTo>
                  <a:lnTo>
                    <a:pt x="4621571" y="717288"/>
                  </a:lnTo>
                  <a:lnTo>
                    <a:pt x="4588379" y="714181"/>
                  </a:lnTo>
                  <a:lnTo>
                    <a:pt x="4555184" y="711068"/>
                  </a:lnTo>
                  <a:lnTo>
                    <a:pt x="4522916" y="705681"/>
                  </a:lnTo>
                  <a:lnTo>
                    <a:pt x="4501324" y="695136"/>
                  </a:lnTo>
                  <a:lnTo>
                    <a:pt x="4475223" y="682427"/>
                  </a:lnTo>
                  <a:lnTo>
                    <a:pt x="4448684" y="662960"/>
                  </a:lnTo>
                  <a:lnTo>
                    <a:pt x="4423795" y="647533"/>
                  </a:lnTo>
                  <a:lnTo>
                    <a:pt x="4393530" y="628830"/>
                  </a:lnTo>
                  <a:lnTo>
                    <a:pt x="4363650" y="612462"/>
                  </a:lnTo>
                  <a:lnTo>
                    <a:pt x="4342183" y="583602"/>
                  </a:lnTo>
                  <a:lnTo>
                    <a:pt x="4328071" y="565328"/>
                  </a:lnTo>
                  <a:lnTo>
                    <a:pt x="4295933" y="561839"/>
                  </a:lnTo>
                  <a:lnTo>
                    <a:pt x="4278319" y="590000"/>
                  </a:lnTo>
                  <a:lnTo>
                    <a:pt x="4254742" y="610595"/>
                  </a:lnTo>
                  <a:lnTo>
                    <a:pt x="4227926" y="627129"/>
                  </a:lnTo>
                  <a:lnTo>
                    <a:pt x="4201111" y="643655"/>
                  </a:lnTo>
                  <a:lnTo>
                    <a:pt x="4171718" y="655816"/>
                  </a:lnTo>
                  <a:lnTo>
                    <a:pt x="4140874" y="665214"/>
                  </a:lnTo>
                  <a:lnTo>
                    <a:pt x="4099682" y="668485"/>
                  </a:lnTo>
                  <a:lnTo>
                    <a:pt x="4068666" y="679710"/>
                  </a:lnTo>
                  <a:lnTo>
                    <a:pt x="4052463" y="699218"/>
                  </a:lnTo>
                  <a:lnTo>
                    <a:pt x="4030917" y="718705"/>
                  </a:lnTo>
                  <a:lnTo>
                    <a:pt x="3989831" y="725908"/>
                  </a:lnTo>
                  <a:lnTo>
                    <a:pt x="3890570" y="732073"/>
                  </a:lnTo>
                  <a:lnTo>
                    <a:pt x="3826370" y="727108"/>
                  </a:lnTo>
                  <a:lnTo>
                    <a:pt x="3779737" y="716384"/>
                  </a:lnTo>
                  <a:lnTo>
                    <a:pt x="3735532" y="720981"/>
                  </a:lnTo>
                  <a:lnTo>
                    <a:pt x="3711908" y="723441"/>
                  </a:lnTo>
                  <a:lnTo>
                    <a:pt x="3689769" y="727596"/>
                  </a:lnTo>
                  <a:lnTo>
                    <a:pt x="3667525" y="731862"/>
                  </a:lnTo>
                  <a:lnTo>
                    <a:pt x="3645280" y="736136"/>
                  </a:lnTo>
                  <a:lnTo>
                    <a:pt x="3622805" y="739302"/>
                  </a:lnTo>
                  <a:lnTo>
                    <a:pt x="3598153" y="737304"/>
                  </a:lnTo>
                  <a:lnTo>
                    <a:pt x="3568792" y="709037"/>
                  </a:lnTo>
                  <a:lnTo>
                    <a:pt x="3528952" y="691145"/>
                  </a:lnTo>
                  <a:lnTo>
                    <a:pt x="3487978" y="676095"/>
                  </a:lnTo>
                  <a:lnTo>
                    <a:pt x="3447004" y="661040"/>
                  </a:lnTo>
                  <a:lnTo>
                    <a:pt x="3404718" y="649123"/>
                  </a:lnTo>
                  <a:lnTo>
                    <a:pt x="3368281" y="633929"/>
                  </a:lnTo>
                  <a:lnTo>
                    <a:pt x="3336269" y="620579"/>
                  </a:lnTo>
                  <a:lnTo>
                    <a:pt x="3317948" y="598567"/>
                  </a:lnTo>
                  <a:lnTo>
                    <a:pt x="3308590" y="576672"/>
                  </a:lnTo>
                  <a:lnTo>
                    <a:pt x="3267622" y="546875"/>
                  </a:lnTo>
                  <a:lnTo>
                    <a:pt x="3243143" y="530554"/>
                  </a:lnTo>
                  <a:lnTo>
                    <a:pt x="3217118" y="514020"/>
                  </a:lnTo>
                  <a:lnTo>
                    <a:pt x="3192889" y="494373"/>
                  </a:lnTo>
                  <a:lnTo>
                    <a:pt x="3171047" y="472063"/>
                  </a:lnTo>
                  <a:lnTo>
                    <a:pt x="3149211" y="449759"/>
                  </a:lnTo>
                  <a:lnTo>
                    <a:pt x="3129618" y="424309"/>
                  </a:lnTo>
                  <a:lnTo>
                    <a:pt x="3112564" y="398616"/>
                  </a:lnTo>
                  <a:lnTo>
                    <a:pt x="3058162" y="408699"/>
                  </a:lnTo>
                  <a:lnTo>
                    <a:pt x="3014628" y="425819"/>
                  </a:lnTo>
                  <a:lnTo>
                    <a:pt x="2971090" y="442939"/>
                  </a:lnTo>
                  <a:lnTo>
                    <a:pt x="2926297" y="463502"/>
                  </a:lnTo>
                  <a:lnTo>
                    <a:pt x="2900807" y="482905"/>
                  </a:lnTo>
                  <a:lnTo>
                    <a:pt x="2901731" y="523754"/>
                  </a:lnTo>
                  <a:lnTo>
                    <a:pt x="2903722" y="545933"/>
                  </a:lnTo>
                  <a:lnTo>
                    <a:pt x="2909948" y="571198"/>
                  </a:lnTo>
                  <a:lnTo>
                    <a:pt x="2916695" y="597201"/>
                  </a:lnTo>
                  <a:lnTo>
                    <a:pt x="2923442" y="623212"/>
                  </a:lnTo>
                  <a:lnTo>
                    <a:pt x="2930564" y="649697"/>
                  </a:lnTo>
                  <a:lnTo>
                    <a:pt x="2934376" y="673373"/>
                  </a:lnTo>
                  <a:lnTo>
                    <a:pt x="2938188" y="697055"/>
                  </a:lnTo>
                  <a:lnTo>
                    <a:pt x="2938464" y="718026"/>
                  </a:lnTo>
                  <a:lnTo>
                    <a:pt x="2892583" y="773858"/>
                  </a:lnTo>
                  <a:lnTo>
                    <a:pt x="2859253" y="787530"/>
                  </a:lnTo>
                  <a:lnTo>
                    <a:pt x="2825567" y="808033"/>
                  </a:lnTo>
                  <a:lnTo>
                    <a:pt x="2791992" y="830562"/>
                  </a:lnTo>
                  <a:lnTo>
                    <a:pt x="2773876" y="848843"/>
                  </a:lnTo>
                  <a:lnTo>
                    <a:pt x="2755759" y="867118"/>
                  </a:lnTo>
                  <a:lnTo>
                    <a:pt x="2736521" y="891353"/>
                  </a:lnTo>
                  <a:lnTo>
                    <a:pt x="2715385" y="926373"/>
                  </a:lnTo>
                  <a:lnTo>
                    <a:pt x="2697177" y="954368"/>
                  </a:lnTo>
                  <a:lnTo>
                    <a:pt x="2685464" y="973981"/>
                  </a:lnTo>
                  <a:lnTo>
                    <a:pt x="2673752" y="993587"/>
                  </a:lnTo>
                  <a:lnTo>
                    <a:pt x="2663668" y="1013873"/>
                  </a:lnTo>
                  <a:lnTo>
                    <a:pt x="2642848" y="1037140"/>
                  </a:lnTo>
                  <a:lnTo>
                    <a:pt x="2565397" y="1064774"/>
                  </a:lnTo>
                  <a:lnTo>
                    <a:pt x="2490955" y="1088231"/>
                  </a:lnTo>
                  <a:lnTo>
                    <a:pt x="2453732" y="1099964"/>
                  </a:lnTo>
                  <a:lnTo>
                    <a:pt x="2417969" y="1110574"/>
                  </a:lnTo>
                  <a:lnTo>
                    <a:pt x="2388938" y="1118158"/>
                  </a:lnTo>
                  <a:lnTo>
                    <a:pt x="2356385" y="1126040"/>
                  </a:lnTo>
                  <a:lnTo>
                    <a:pt x="2343947" y="1149538"/>
                  </a:lnTo>
                  <a:lnTo>
                    <a:pt x="2367175" y="1180725"/>
                  </a:lnTo>
                  <a:lnTo>
                    <a:pt x="2390065" y="1211035"/>
                  </a:lnTo>
                  <a:lnTo>
                    <a:pt x="2407134" y="1245084"/>
                  </a:lnTo>
                  <a:lnTo>
                    <a:pt x="2433830" y="1273225"/>
                  </a:lnTo>
                  <a:lnTo>
                    <a:pt x="2472824" y="1314371"/>
                  </a:lnTo>
                  <a:lnTo>
                    <a:pt x="2521944" y="1349053"/>
                  </a:lnTo>
                  <a:lnTo>
                    <a:pt x="2560326" y="1390199"/>
                  </a:lnTo>
                  <a:lnTo>
                    <a:pt x="2605765" y="1438909"/>
                  </a:lnTo>
                  <a:lnTo>
                    <a:pt x="2652161" y="1507350"/>
                  </a:lnTo>
                  <a:lnTo>
                    <a:pt x="2722192" y="1524860"/>
                  </a:lnTo>
                  <a:lnTo>
                    <a:pt x="2753919" y="1532807"/>
                  </a:lnTo>
                  <a:lnTo>
                    <a:pt x="2789176" y="1533533"/>
                  </a:lnTo>
                  <a:lnTo>
                    <a:pt x="2821484" y="1535742"/>
                  </a:lnTo>
                  <a:lnTo>
                    <a:pt x="2867985" y="1538973"/>
                  </a:lnTo>
                  <a:lnTo>
                    <a:pt x="2916762" y="1525118"/>
                  </a:lnTo>
                  <a:lnTo>
                    <a:pt x="2946622" y="1486774"/>
                  </a:lnTo>
                  <a:lnTo>
                    <a:pt x="2984412" y="1438190"/>
                  </a:lnTo>
                  <a:lnTo>
                    <a:pt x="2982644" y="1384672"/>
                  </a:lnTo>
                  <a:lnTo>
                    <a:pt x="2996949" y="1328992"/>
                  </a:lnTo>
                  <a:lnTo>
                    <a:pt x="3005001" y="1297659"/>
                  </a:lnTo>
                  <a:lnTo>
                    <a:pt x="3039115" y="1270501"/>
                  </a:lnTo>
                  <a:lnTo>
                    <a:pt x="3065087" y="1261447"/>
                  </a:lnTo>
                  <a:lnTo>
                    <a:pt x="3124829" y="1247208"/>
                  </a:lnTo>
                  <a:lnTo>
                    <a:pt x="3186460" y="1241002"/>
                  </a:lnTo>
                  <a:lnTo>
                    <a:pt x="3233626" y="1247380"/>
                  </a:lnTo>
                  <a:lnTo>
                    <a:pt x="3267906" y="1263022"/>
                  </a:lnTo>
                  <a:lnTo>
                    <a:pt x="3291074" y="1287845"/>
                  </a:lnTo>
                  <a:lnTo>
                    <a:pt x="3384096" y="1439759"/>
                  </a:lnTo>
                  <a:lnTo>
                    <a:pt x="3397866" y="1514743"/>
                  </a:lnTo>
                  <a:lnTo>
                    <a:pt x="3403650" y="1679880"/>
                  </a:lnTo>
                  <a:lnTo>
                    <a:pt x="3434928" y="1731611"/>
                  </a:lnTo>
                  <a:lnTo>
                    <a:pt x="3486660" y="1817219"/>
                  </a:lnTo>
                  <a:lnTo>
                    <a:pt x="3605064" y="1788189"/>
                  </a:lnTo>
                  <a:lnTo>
                    <a:pt x="3651202" y="1822745"/>
                  </a:lnTo>
                  <a:lnTo>
                    <a:pt x="3656650" y="1858107"/>
                  </a:lnTo>
                  <a:lnTo>
                    <a:pt x="3631338" y="1880042"/>
                  </a:lnTo>
                  <a:lnTo>
                    <a:pt x="3591803" y="1960545"/>
                  </a:lnTo>
                  <a:lnTo>
                    <a:pt x="3568238" y="1992768"/>
                  </a:lnTo>
                  <a:lnTo>
                    <a:pt x="3548236" y="2020097"/>
                  </a:lnTo>
                  <a:lnTo>
                    <a:pt x="3517609" y="2041393"/>
                  </a:lnTo>
                  <a:lnTo>
                    <a:pt x="3497501" y="2067581"/>
                  </a:lnTo>
                  <a:lnTo>
                    <a:pt x="3459778" y="2116674"/>
                  </a:lnTo>
                  <a:lnTo>
                    <a:pt x="3416252" y="2206020"/>
                  </a:lnTo>
                  <a:lnTo>
                    <a:pt x="3440376" y="2267525"/>
                  </a:lnTo>
                  <a:lnTo>
                    <a:pt x="3463564" y="2299833"/>
                  </a:lnTo>
                  <a:lnTo>
                    <a:pt x="3579944" y="2301917"/>
                  </a:lnTo>
                  <a:lnTo>
                    <a:pt x="3628087" y="2335538"/>
                  </a:lnTo>
                  <a:lnTo>
                    <a:pt x="3676817" y="2348801"/>
                  </a:lnTo>
                  <a:lnTo>
                    <a:pt x="3666680" y="2462036"/>
                  </a:lnTo>
                  <a:lnTo>
                    <a:pt x="3618564" y="2491963"/>
                  </a:lnTo>
                  <a:lnTo>
                    <a:pt x="3592210" y="2521283"/>
                  </a:lnTo>
                  <a:lnTo>
                    <a:pt x="3562758" y="2539519"/>
                  </a:lnTo>
                  <a:lnTo>
                    <a:pt x="3538317" y="2562687"/>
                  </a:lnTo>
                  <a:lnTo>
                    <a:pt x="3464117" y="2632949"/>
                  </a:lnTo>
                  <a:lnTo>
                    <a:pt x="3485564" y="2736746"/>
                  </a:lnTo>
                  <a:lnTo>
                    <a:pt x="3496149" y="2825203"/>
                  </a:lnTo>
                  <a:lnTo>
                    <a:pt x="3504459" y="2850962"/>
                  </a:lnTo>
                  <a:lnTo>
                    <a:pt x="3511668" y="2924457"/>
                  </a:lnTo>
                  <a:lnTo>
                    <a:pt x="3474346" y="3160575"/>
                  </a:lnTo>
                  <a:lnTo>
                    <a:pt x="3451264" y="3218306"/>
                  </a:lnTo>
                  <a:lnTo>
                    <a:pt x="3430161" y="3271092"/>
                  </a:lnTo>
                  <a:lnTo>
                    <a:pt x="3371413" y="3308372"/>
                  </a:lnTo>
                  <a:lnTo>
                    <a:pt x="3343807" y="3359759"/>
                  </a:lnTo>
                  <a:lnTo>
                    <a:pt x="3322934" y="3362773"/>
                  </a:lnTo>
                  <a:lnTo>
                    <a:pt x="3298349" y="3405119"/>
                  </a:lnTo>
                  <a:lnTo>
                    <a:pt x="3270188" y="3452082"/>
                  </a:lnTo>
                  <a:lnTo>
                    <a:pt x="3223048" y="3523881"/>
                  </a:lnTo>
                  <a:lnTo>
                    <a:pt x="3217311" y="3554270"/>
                  </a:lnTo>
                  <a:lnTo>
                    <a:pt x="3210254" y="3591630"/>
                  </a:lnTo>
                  <a:lnTo>
                    <a:pt x="3259155" y="3767734"/>
                  </a:lnTo>
                  <a:lnTo>
                    <a:pt x="3278518" y="3804546"/>
                  </a:lnTo>
                  <a:lnTo>
                    <a:pt x="3305952" y="3850619"/>
                  </a:lnTo>
                  <a:lnTo>
                    <a:pt x="3358573" y="3919013"/>
                  </a:lnTo>
                  <a:lnTo>
                    <a:pt x="3371011" y="3963687"/>
                  </a:lnTo>
                  <a:lnTo>
                    <a:pt x="3385995" y="4017457"/>
                  </a:lnTo>
                  <a:lnTo>
                    <a:pt x="3388119" y="4106125"/>
                  </a:lnTo>
                  <a:lnTo>
                    <a:pt x="3429495" y="4144594"/>
                  </a:lnTo>
                  <a:lnTo>
                    <a:pt x="3458742" y="4161938"/>
                  </a:lnTo>
                  <a:lnTo>
                    <a:pt x="3481865" y="4146801"/>
                  </a:lnTo>
                  <a:lnTo>
                    <a:pt x="3504307" y="4136430"/>
                  </a:lnTo>
                  <a:lnTo>
                    <a:pt x="3522734" y="4111864"/>
                  </a:lnTo>
                  <a:lnTo>
                    <a:pt x="3527284" y="4077562"/>
                  </a:lnTo>
                  <a:lnTo>
                    <a:pt x="3547833" y="4053458"/>
                  </a:lnTo>
                  <a:lnTo>
                    <a:pt x="3583307" y="4026381"/>
                  </a:lnTo>
                  <a:lnTo>
                    <a:pt x="3661662" y="4020688"/>
                  </a:lnTo>
                  <a:lnTo>
                    <a:pt x="3665876" y="4128483"/>
                  </a:lnTo>
                  <a:lnTo>
                    <a:pt x="3677055" y="4166357"/>
                  </a:lnTo>
                  <a:lnTo>
                    <a:pt x="3712673" y="4203421"/>
                  </a:lnTo>
                  <a:lnTo>
                    <a:pt x="3761832" y="4196411"/>
                  </a:lnTo>
                  <a:lnTo>
                    <a:pt x="3806275" y="4216682"/>
                  </a:lnTo>
                  <a:lnTo>
                    <a:pt x="3844124" y="4267476"/>
                  </a:lnTo>
                  <a:lnTo>
                    <a:pt x="3840766" y="4290519"/>
                  </a:lnTo>
                  <a:lnTo>
                    <a:pt x="3862042" y="4344538"/>
                  </a:lnTo>
                  <a:lnTo>
                    <a:pt x="3874281" y="4373107"/>
                  </a:lnTo>
                  <a:lnTo>
                    <a:pt x="3882313" y="4394355"/>
                  </a:lnTo>
                  <a:lnTo>
                    <a:pt x="3872072" y="4428536"/>
                  </a:lnTo>
                  <a:lnTo>
                    <a:pt x="3887881" y="4446560"/>
                  </a:lnTo>
                  <a:lnTo>
                    <a:pt x="3924587" y="4457520"/>
                  </a:lnTo>
                  <a:lnTo>
                    <a:pt x="3992172" y="4427382"/>
                  </a:lnTo>
                  <a:lnTo>
                    <a:pt x="4014383" y="4447918"/>
                  </a:lnTo>
                  <a:lnTo>
                    <a:pt x="4035250" y="4476989"/>
                  </a:lnTo>
                  <a:lnTo>
                    <a:pt x="4149916" y="4625039"/>
                  </a:lnTo>
                  <a:lnTo>
                    <a:pt x="4063093" y="4621002"/>
                  </a:lnTo>
                  <a:lnTo>
                    <a:pt x="4082390" y="4726756"/>
                  </a:lnTo>
                  <a:lnTo>
                    <a:pt x="4089578" y="4766078"/>
                  </a:lnTo>
                  <a:lnTo>
                    <a:pt x="4181004" y="4900178"/>
                  </a:lnTo>
                  <a:lnTo>
                    <a:pt x="4215693" y="4921262"/>
                  </a:lnTo>
                  <a:lnTo>
                    <a:pt x="4248634" y="4941243"/>
                  </a:lnTo>
                  <a:lnTo>
                    <a:pt x="4273609" y="4926747"/>
                  </a:lnTo>
                  <a:lnTo>
                    <a:pt x="4306829" y="4923979"/>
                  </a:lnTo>
                  <a:lnTo>
                    <a:pt x="4342850" y="4921005"/>
                  </a:lnTo>
                  <a:lnTo>
                    <a:pt x="4409134" y="4918590"/>
                  </a:lnTo>
                  <a:lnTo>
                    <a:pt x="4434683" y="4889974"/>
                  </a:lnTo>
                  <a:lnTo>
                    <a:pt x="4492810" y="4824812"/>
                  </a:lnTo>
                  <a:lnTo>
                    <a:pt x="4448262" y="4650113"/>
                  </a:lnTo>
                  <a:lnTo>
                    <a:pt x="4509497" y="4622019"/>
                  </a:lnTo>
                  <a:lnTo>
                    <a:pt x="4558226" y="4609309"/>
                  </a:lnTo>
                  <a:lnTo>
                    <a:pt x="4693994" y="4615898"/>
                  </a:lnTo>
                  <a:lnTo>
                    <a:pt x="4732569" y="4643782"/>
                  </a:lnTo>
                  <a:lnTo>
                    <a:pt x="4812948" y="4701890"/>
                  </a:lnTo>
                  <a:lnTo>
                    <a:pt x="4925778" y="5078617"/>
                  </a:lnTo>
                  <a:lnTo>
                    <a:pt x="4816898" y="5121213"/>
                  </a:lnTo>
                  <a:lnTo>
                    <a:pt x="4787399" y="5131414"/>
                  </a:lnTo>
                  <a:lnTo>
                    <a:pt x="4752419" y="5137364"/>
                  </a:lnTo>
                  <a:lnTo>
                    <a:pt x="4732569" y="5159297"/>
                  </a:lnTo>
                  <a:lnTo>
                    <a:pt x="4684069" y="5212810"/>
                  </a:lnTo>
                  <a:lnTo>
                    <a:pt x="4721258" y="5266203"/>
                  </a:lnTo>
                  <a:lnTo>
                    <a:pt x="4729852" y="5321157"/>
                  </a:lnTo>
                  <a:lnTo>
                    <a:pt x="4736209" y="5361753"/>
                  </a:lnTo>
                  <a:lnTo>
                    <a:pt x="4734652" y="5402774"/>
                  </a:lnTo>
                  <a:lnTo>
                    <a:pt x="4736652" y="5443578"/>
                  </a:lnTo>
                  <a:lnTo>
                    <a:pt x="4739585" y="5503512"/>
                  </a:lnTo>
                  <a:lnTo>
                    <a:pt x="4752505" y="5567483"/>
                  </a:lnTo>
                  <a:lnTo>
                    <a:pt x="4765215" y="5625843"/>
                  </a:lnTo>
                  <a:lnTo>
                    <a:pt x="4766842" y="5666144"/>
                  </a:lnTo>
                  <a:lnTo>
                    <a:pt x="4762706" y="5691473"/>
                  </a:lnTo>
                  <a:lnTo>
                    <a:pt x="4752149" y="5715533"/>
                  </a:lnTo>
                  <a:lnTo>
                    <a:pt x="4670148" y="5777037"/>
                  </a:lnTo>
                  <a:lnTo>
                    <a:pt x="4586813" y="5767896"/>
                  </a:lnTo>
                  <a:lnTo>
                    <a:pt x="4510861" y="5780906"/>
                  </a:lnTo>
                  <a:lnTo>
                    <a:pt x="4495904" y="5813599"/>
                  </a:lnTo>
                  <a:lnTo>
                    <a:pt x="4510861" y="5847556"/>
                  </a:lnTo>
                  <a:lnTo>
                    <a:pt x="4539675" y="5915695"/>
                  </a:lnTo>
                  <a:lnTo>
                    <a:pt x="4592745" y="5969977"/>
                  </a:lnTo>
                  <a:lnTo>
                    <a:pt x="4618312" y="6040707"/>
                  </a:lnTo>
                  <a:lnTo>
                    <a:pt x="4622290" y="6064765"/>
                  </a:lnTo>
                  <a:lnTo>
                    <a:pt x="4643585" y="6082109"/>
                  </a:lnTo>
                  <a:lnTo>
                    <a:pt x="4664560" y="6080156"/>
                  </a:lnTo>
                  <a:lnTo>
                    <a:pt x="4699349" y="6030339"/>
                  </a:lnTo>
                  <a:lnTo>
                    <a:pt x="4682367" y="5952381"/>
                  </a:lnTo>
                  <a:lnTo>
                    <a:pt x="4752974" y="5918293"/>
                  </a:lnTo>
                  <a:lnTo>
                    <a:pt x="4799244" y="5895975"/>
                  </a:lnTo>
                  <a:lnTo>
                    <a:pt x="4875177" y="5935973"/>
                  </a:lnTo>
                  <a:lnTo>
                    <a:pt x="4899873" y="5976782"/>
                  </a:lnTo>
                  <a:lnTo>
                    <a:pt x="4944633" y="6176984"/>
                  </a:lnTo>
                  <a:lnTo>
                    <a:pt x="4932097" y="6260892"/>
                  </a:lnTo>
                  <a:lnTo>
                    <a:pt x="4877412" y="6245169"/>
                  </a:lnTo>
                  <a:lnTo>
                    <a:pt x="4845467" y="6288267"/>
                  </a:lnTo>
                  <a:lnTo>
                    <a:pt x="4823980" y="6317258"/>
                  </a:lnTo>
                  <a:lnTo>
                    <a:pt x="4821838" y="6397380"/>
                  </a:lnTo>
                  <a:lnTo>
                    <a:pt x="4816904" y="6435167"/>
                  </a:lnTo>
                  <a:lnTo>
                    <a:pt x="4819469" y="6469897"/>
                  </a:lnTo>
                  <a:lnTo>
                    <a:pt x="4814074" y="6527109"/>
                  </a:lnTo>
                  <a:lnTo>
                    <a:pt x="4753739" y="6709628"/>
                  </a:lnTo>
                  <a:lnTo>
                    <a:pt x="4773378" y="6735769"/>
                  </a:lnTo>
                  <a:lnTo>
                    <a:pt x="4807144" y="6757321"/>
                  </a:lnTo>
                  <a:lnTo>
                    <a:pt x="4882702" y="6721490"/>
                  </a:lnTo>
                  <a:lnTo>
                    <a:pt x="4931155" y="6741210"/>
                  </a:lnTo>
                  <a:lnTo>
                    <a:pt x="4961063" y="6753371"/>
                  </a:lnTo>
                  <a:lnTo>
                    <a:pt x="5032088" y="6867965"/>
                  </a:lnTo>
                  <a:lnTo>
                    <a:pt x="5098459" y="6890835"/>
                  </a:lnTo>
                  <a:lnTo>
                    <a:pt x="5151383" y="6909110"/>
                  </a:lnTo>
                  <a:lnTo>
                    <a:pt x="5210040" y="6878120"/>
                  </a:lnTo>
                  <a:lnTo>
                    <a:pt x="5263042" y="6900351"/>
                  </a:lnTo>
                  <a:lnTo>
                    <a:pt x="5348928" y="6936315"/>
                  </a:lnTo>
                  <a:lnTo>
                    <a:pt x="5342193" y="7090786"/>
                  </a:lnTo>
                  <a:lnTo>
                    <a:pt x="5407228" y="7131589"/>
                  </a:lnTo>
                  <a:lnTo>
                    <a:pt x="5426886" y="7143961"/>
                  </a:lnTo>
                  <a:lnTo>
                    <a:pt x="5451774" y="7143831"/>
                  </a:lnTo>
                  <a:lnTo>
                    <a:pt x="5473875" y="7146553"/>
                  </a:lnTo>
                  <a:lnTo>
                    <a:pt x="5499126" y="7149567"/>
                  </a:lnTo>
                  <a:lnTo>
                    <a:pt x="5528942" y="7155734"/>
                  </a:lnTo>
                  <a:lnTo>
                    <a:pt x="5554128" y="7154711"/>
                  </a:lnTo>
                  <a:lnTo>
                    <a:pt x="5693744" y="7149396"/>
                  </a:lnTo>
                  <a:lnTo>
                    <a:pt x="5791850" y="7094693"/>
                  </a:lnTo>
                  <a:lnTo>
                    <a:pt x="5880576" y="7252646"/>
                  </a:lnTo>
                  <a:lnTo>
                    <a:pt x="5913452" y="7311222"/>
                  </a:lnTo>
                  <a:lnTo>
                    <a:pt x="5916326" y="7360484"/>
                  </a:lnTo>
                  <a:lnTo>
                    <a:pt x="5941785" y="7413154"/>
                  </a:lnTo>
                  <a:lnTo>
                    <a:pt x="5977107" y="7421184"/>
                  </a:lnTo>
                  <a:lnTo>
                    <a:pt x="5997043" y="7372812"/>
                  </a:lnTo>
                  <a:lnTo>
                    <a:pt x="6030195" y="7370986"/>
                  </a:lnTo>
                  <a:lnTo>
                    <a:pt x="6051555" y="7372555"/>
                  </a:lnTo>
                  <a:lnTo>
                    <a:pt x="6075107" y="7395552"/>
                  </a:lnTo>
                  <a:lnTo>
                    <a:pt x="6094681" y="7449279"/>
                  </a:lnTo>
                  <a:lnTo>
                    <a:pt x="6072468" y="7489106"/>
                  </a:lnTo>
                  <a:lnTo>
                    <a:pt x="6071005" y="7524685"/>
                  </a:lnTo>
                  <a:lnTo>
                    <a:pt x="6068899" y="7576589"/>
                  </a:lnTo>
                  <a:lnTo>
                    <a:pt x="6117017" y="7637965"/>
                  </a:lnTo>
                  <a:lnTo>
                    <a:pt x="6137652" y="7683826"/>
                  </a:lnTo>
                  <a:lnTo>
                    <a:pt x="6158209" y="7745589"/>
                  </a:lnTo>
                  <a:lnTo>
                    <a:pt x="6161672" y="7782440"/>
                  </a:lnTo>
                  <a:lnTo>
                    <a:pt x="6167303" y="7809948"/>
                  </a:lnTo>
                  <a:lnTo>
                    <a:pt x="6166214" y="7832092"/>
                  </a:lnTo>
                  <a:lnTo>
                    <a:pt x="6163734" y="7882973"/>
                  </a:lnTo>
                  <a:lnTo>
                    <a:pt x="6136064" y="7935937"/>
                  </a:lnTo>
                  <a:lnTo>
                    <a:pt x="6139010" y="7988511"/>
                  </a:lnTo>
                  <a:lnTo>
                    <a:pt x="6141199" y="8027705"/>
                  </a:lnTo>
                  <a:lnTo>
                    <a:pt x="6138886" y="8092824"/>
                  </a:lnTo>
                  <a:lnTo>
                    <a:pt x="6132210" y="8132694"/>
                  </a:lnTo>
                  <a:lnTo>
                    <a:pt x="6134709" y="8161806"/>
                  </a:lnTo>
                  <a:lnTo>
                    <a:pt x="6127745" y="8232880"/>
                  </a:lnTo>
                  <a:lnTo>
                    <a:pt x="6073318" y="8270537"/>
                  </a:lnTo>
                  <a:lnTo>
                    <a:pt x="6080527" y="8344880"/>
                  </a:lnTo>
                  <a:lnTo>
                    <a:pt x="6088408" y="8425945"/>
                  </a:lnTo>
                  <a:lnTo>
                    <a:pt x="6105626" y="8491829"/>
                  </a:lnTo>
                  <a:lnTo>
                    <a:pt x="6137652" y="8566593"/>
                  </a:lnTo>
                  <a:lnTo>
                    <a:pt x="6154910" y="8598133"/>
                  </a:lnTo>
                  <a:lnTo>
                    <a:pt x="6150110" y="8631290"/>
                  </a:lnTo>
                  <a:lnTo>
                    <a:pt x="6152615" y="8668612"/>
                  </a:lnTo>
                  <a:lnTo>
                    <a:pt x="6137891" y="8774280"/>
                  </a:lnTo>
                  <a:lnTo>
                    <a:pt x="6059951" y="8736874"/>
                  </a:lnTo>
                  <a:lnTo>
                    <a:pt x="5985311" y="8748858"/>
                  </a:lnTo>
                  <a:lnTo>
                    <a:pt x="5952051" y="8754259"/>
                  </a:lnTo>
                  <a:lnTo>
                    <a:pt x="5925739" y="8777762"/>
                  </a:lnTo>
                  <a:lnTo>
                    <a:pt x="5896897" y="8792384"/>
                  </a:lnTo>
                  <a:lnTo>
                    <a:pt x="5900110" y="8815552"/>
                  </a:lnTo>
                  <a:lnTo>
                    <a:pt x="5901970" y="8841820"/>
                  </a:lnTo>
                  <a:lnTo>
                    <a:pt x="5896897" y="8869921"/>
                  </a:lnTo>
                  <a:lnTo>
                    <a:pt x="5899300" y="8916039"/>
                  </a:lnTo>
                  <a:lnTo>
                    <a:pt x="5941574" y="8952461"/>
                  </a:lnTo>
                  <a:lnTo>
                    <a:pt x="5970347" y="8984177"/>
                  </a:lnTo>
                  <a:lnTo>
                    <a:pt x="5993983" y="9026212"/>
                  </a:lnTo>
                  <a:lnTo>
                    <a:pt x="6031255" y="9050099"/>
                  </a:lnTo>
                  <a:lnTo>
                    <a:pt x="6107368" y="9039904"/>
                  </a:lnTo>
                  <a:lnTo>
                    <a:pt x="6113173" y="9064423"/>
                  </a:lnTo>
                  <a:lnTo>
                    <a:pt x="6130279" y="9088955"/>
                  </a:lnTo>
                  <a:lnTo>
                    <a:pt x="6148581" y="9156536"/>
                  </a:lnTo>
                  <a:lnTo>
                    <a:pt x="6193419" y="9121555"/>
                  </a:lnTo>
                  <a:lnTo>
                    <a:pt x="6213929" y="9091674"/>
                  </a:lnTo>
                  <a:lnTo>
                    <a:pt x="6242386" y="9073961"/>
                  </a:lnTo>
                  <a:lnTo>
                    <a:pt x="6260224" y="9086419"/>
                  </a:lnTo>
                  <a:lnTo>
                    <a:pt x="6266214" y="9121992"/>
                  </a:lnTo>
                  <a:lnTo>
                    <a:pt x="6285041" y="9147243"/>
                  </a:lnTo>
                  <a:lnTo>
                    <a:pt x="6307682" y="9174618"/>
                  </a:lnTo>
                  <a:lnTo>
                    <a:pt x="6310847" y="9207007"/>
                  </a:lnTo>
                  <a:lnTo>
                    <a:pt x="6326722" y="9223586"/>
                  </a:lnTo>
                  <a:lnTo>
                    <a:pt x="6312733" y="9254951"/>
                  </a:lnTo>
                  <a:lnTo>
                    <a:pt x="6279113" y="9260312"/>
                  </a:lnTo>
                  <a:lnTo>
                    <a:pt x="6280130" y="9284965"/>
                  </a:lnTo>
                  <a:lnTo>
                    <a:pt x="6298811" y="9306554"/>
                  </a:lnTo>
                  <a:lnTo>
                    <a:pt x="6321644" y="9306049"/>
                  </a:lnTo>
                  <a:lnTo>
                    <a:pt x="6355111" y="9327046"/>
                  </a:lnTo>
                  <a:lnTo>
                    <a:pt x="6369845" y="9355351"/>
                  </a:lnTo>
                  <a:lnTo>
                    <a:pt x="6431476" y="9388636"/>
                  </a:lnTo>
                  <a:lnTo>
                    <a:pt x="6435767" y="9353485"/>
                  </a:lnTo>
                  <a:lnTo>
                    <a:pt x="6491305" y="9404490"/>
                  </a:lnTo>
                  <a:lnTo>
                    <a:pt x="6501208" y="9440788"/>
                  </a:lnTo>
                  <a:lnTo>
                    <a:pt x="6517148" y="9471137"/>
                  </a:lnTo>
                  <a:lnTo>
                    <a:pt x="6579591" y="9447166"/>
                  </a:lnTo>
                  <a:lnTo>
                    <a:pt x="6569455" y="9411336"/>
                  </a:lnTo>
                  <a:lnTo>
                    <a:pt x="6664051" y="9443935"/>
                  </a:lnTo>
                  <a:lnTo>
                    <a:pt x="6702665" y="9464464"/>
                  </a:lnTo>
                  <a:lnTo>
                    <a:pt x="6716652" y="9485468"/>
                  </a:lnTo>
                  <a:lnTo>
                    <a:pt x="6727975" y="9503783"/>
                  </a:lnTo>
                  <a:lnTo>
                    <a:pt x="6716804" y="9570393"/>
                  </a:lnTo>
                  <a:lnTo>
                    <a:pt x="6695252" y="9611069"/>
                  </a:lnTo>
                  <a:lnTo>
                    <a:pt x="6686090" y="9637210"/>
                  </a:lnTo>
                  <a:lnTo>
                    <a:pt x="6670850" y="9662923"/>
                  </a:lnTo>
                  <a:lnTo>
                    <a:pt x="6640651" y="9675766"/>
                  </a:lnTo>
                  <a:lnTo>
                    <a:pt x="6618652" y="9683713"/>
                  </a:lnTo>
                  <a:lnTo>
                    <a:pt x="6586521" y="9691492"/>
                  </a:lnTo>
                  <a:lnTo>
                    <a:pt x="6535919" y="9684141"/>
                  </a:lnTo>
                  <a:lnTo>
                    <a:pt x="6482000" y="9701017"/>
                  </a:lnTo>
                  <a:lnTo>
                    <a:pt x="6431454" y="9701017"/>
                  </a:lnTo>
                  <a:lnTo>
                    <a:pt x="6388120" y="9701017"/>
                  </a:lnTo>
                  <a:lnTo>
                    <a:pt x="6344061" y="9694810"/>
                  </a:lnTo>
                  <a:lnTo>
                    <a:pt x="6300876" y="9698292"/>
                  </a:lnTo>
                  <a:lnTo>
                    <a:pt x="6273969" y="9697107"/>
                  </a:lnTo>
                  <a:lnTo>
                    <a:pt x="6236858" y="9705091"/>
                  </a:lnTo>
                  <a:lnTo>
                    <a:pt x="6197692" y="9694335"/>
                  </a:lnTo>
                  <a:lnTo>
                    <a:pt x="6170298" y="9695576"/>
                  </a:lnTo>
                  <a:lnTo>
                    <a:pt x="6120611" y="9692642"/>
                  </a:lnTo>
                  <a:lnTo>
                    <a:pt x="6007734" y="9665475"/>
                  </a:lnTo>
                  <a:lnTo>
                    <a:pt x="5968986" y="9690134"/>
                  </a:lnTo>
                  <a:lnTo>
                    <a:pt x="5900131" y="9733998"/>
                  </a:lnTo>
                  <a:lnTo>
                    <a:pt x="5892501" y="9872399"/>
                  </a:lnTo>
                  <a:lnTo>
                    <a:pt x="5793524" y="9872399"/>
                  </a:lnTo>
                  <a:lnTo>
                    <a:pt x="5752398" y="9865599"/>
                  </a:lnTo>
                  <a:lnTo>
                    <a:pt x="5700925" y="9857646"/>
                  </a:lnTo>
                  <a:lnTo>
                    <a:pt x="5663749" y="9817950"/>
                  </a:lnTo>
                  <a:lnTo>
                    <a:pt x="5654779" y="9785347"/>
                  </a:lnTo>
                  <a:lnTo>
                    <a:pt x="5641459" y="9736972"/>
                  </a:lnTo>
                  <a:lnTo>
                    <a:pt x="5675699" y="9702158"/>
                  </a:lnTo>
                  <a:lnTo>
                    <a:pt x="5667026" y="9653408"/>
                  </a:lnTo>
                  <a:lnTo>
                    <a:pt x="5655994" y="9633517"/>
                  </a:lnTo>
                  <a:lnTo>
                    <a:pt x="5632039" y="9564015"/>
                  </a:lnTo>
                  <a:lnTo>
                    <a:pt x="5596680" y="9508629"/>
                  </a:lnTo>
                  <a:lnTo>
                    <a:pt x="5566369" y="9456179"/>
                  </a:lnTo>
                  <a:lnTo>
                    <a:pt x="5538953" y="9408744"/>
                  </a:lnTo>
                  <a:lnTo>
                    <a:pt x="5487797" y="9351699"/>
                  </a:lnTo>
                  <a:lnTo>
                    <a:pt x="5445313" y="9317437"/>
                  </a:lnTo>
                  <a:lnTo>
                    <a:pt x="5425884" y="9301755"/>
                  </a:lnTo>
                  <a:lnTo>
                    <a:pt x="5382932" y="9286112"/>
                  </a:lnTo>
                  <a:lnTo>
                    <a:pt x="5370499" y="9268470"/>
                  </a:lnTo>
                  <a:lnTo>
                    <a:pt x="5351077" y="9240844"/>
                  </a:lnTo>
                  <a:lnTo>
                    <a:pt x="5350140" y="9206412"/>
                  </a:lnTo>
                  <a:lnTo>
                    <a:pt x="5326973" y="9180060"/>
                  </a:lnTo>
                  <a:lnTo>
                    <a:pt x="5309439" y="9210064"/>
                  </a:lnTo>
                  <a:lnTo>
                    <a:pt x="5340578" y="9309063"/>
                  </a:lnTo>
                  <a:lnTo>
                    <a:pt x="5340578" y="9346000"/>
                  </a:lnTo>
                  <a:lnTo>
                    <a:pt x="5328991" y="9378559"/>
                  </a:lnTo>
                  <a:lnTo>
                    <a:pt x="5244578" y="9481130"/>
                  </a:lnTo>
                  <a:lnTo>
                    <a:pt x="5171934" y="9410440"/>
                  </a:lnTo>
                  <a:lnTo>
                    <a:pt x="5082138" y="9439858"/>
                  </a:lnTo>
                  <a:lnTo>
                    <a:pt x="5075245" y="9491073"/>
                  </a:lnTo>
                  <a:lnTo>
                    <a:pt x="5133400" y="9537536"/>
                  </a:lnTo>
                  <a:lnTo>
                    <a:pt x="5136547" y="9581313"/>
                  </a:lnTo>
                  <a:lnTo>
                    <a:pt x="5121286" y="9617360"/>
                  </a:lnTo>
                  <a:lnTo>
                    <a:pt x="5085180" y="9680653"/>
                  </a:lnTo>
                  <a:lnTo>
                    <a:pt x="5064753" y="9726222"/>
                  </a:lnTo>
                  <a:lnTo>
                    <a:pt x="5012765" y="9751343"/>
                  </a:lnTo>
                  <a:lnTo>
                    <a:pt x="4953023" y="9780246"/>
                  </a:lnTo>
                  <a:lnTo>
                    <a:pt x="4820253" y="9698419"/>
                  </a:lnTo>
                  <a:lnTo>
                    <a:pt x="4804657" y="9633003"/>
                  </a:lnTo>
                  <a:lnTo>
                    <a:pt x="4790484" y="9573623"/>
                  </a:lnTo>
                  <a:lnTo>
                    <a:pt x="4817115" y="9539151"/>
                  </a:lnTo>
                  <a:lnTo>
                    <a:pt x="4776095" y="9484742"/>
                  </a:lnTo>
                  <a:lnTo>
                    <a:pt x="4750505" y="9467273"/>
                  </a:lnTo>
                  <a:lnTo>
                    <a:pt x="4713522" y="9490441"/>
                  </a:lnTo>
                  <a:lnTo>
                    <a:pt x="4684959" y="9491542"/>
                  </a:lnTo>
                  <a:lnTo>
                    <a:pt x="4631338" y="9493619"/>
                  </a:lnTo>
                  <a:lnTo>
                    <a:pt x="4555680" y="9447594"/>
                  </a:lnTo>
                  <a:lnTo>
                    <a:pt x="4509497" y="9420811"/>
                  </a:lnTo>
                  <a:lnTo>
                    <a:pt x="4418130" y="9305792"/>
                  </a:lnTo>
                  <a:lnTo>
                    <a:pt x="4605882" y="9201907"/>
                  </a:lnTo>
                  <a:lnTo>
                    <a:pt x="4509497" y="9121567"/>
                  </a:lnTo>
                  <a:lnTo>
                    <a:pt x="4390650" y="9040168"/>
                  </a:lnTo>
                  <a:lnTo>
                    <a:pt x="4285210" y="9236590"/>
                  </a:lnTo>
                  <a:lnTo>
                    <a:pt x="4232015" y="9309274"/>
                  </a:lnTo>
                  <a:lnTo>
                    <a:pt x="4207528" y="9342775"/>
                  </a:lnTo>
                  <a:lnTo>
                    <a:pt x="4172141" y="9360619"/>
                  </a:lnTo>
                  <a:lnTo>
                    <a:pt x="4144963" y="9389526"/>
                  </a:lnTo>
                  <a:lnTo>
                    <a:pt x="4133613" y="9420306"/>
                  </a:lnTo>
                  <a:lnTo>
                    <a:pt x="4164028" y="9450778"/>
                  </a:lnTo>
                  <a:lnTo>
                    <a:pt x="4158562" y="9482020"/>
                  </a:lnTo>
                  <a:lnTo>
                    <a:pt x="4134081" y="9505147"/>
                  </a:lnTo>
                  <a:lnTo>
                    <a:pt x="4092685" y="9502384"/>
                  </a:lnTo>
                  <a:lnTo>
                    <a:pt x="4036272" y="9394499"/>
                  </a:lnTo>
                  <a:lnTo>
                    <a:pt x="4023906" y="9358247"/>
                  </a:lnTo>
                  <a:lnTo>
                    <a:pt x="4012346" y="9324284"/>
                  </a:lnTo>
                  <a:lnTo>
                    <a:pt x="4008540" y="9285939"/>
                  </a:lnTo>
                  <a:lnTo>
                    <a:pt x="3996702" y="9252148"/>
                  </a:lnTo>
                  <a:lnTo>
                    <a:pt x="3978534" y="9212408"/>
                  </a:lnTo>
                  <a:lnTo>
                    <a:pt x="3974939" y="9188217"/>
                  </a:lnTo>
                  <a:lnTo>
                    <a:pt x="3948461" y="9169856"/>
                  </a:lnTo>
                  <a:lnTo>
                    <a:pt x="3874241" y="9181588"/>
                  </a:lnTo>
                  <a:lnTo>
                    <a:pt x="3855031" y="9239439"/>
                  </a:lnTo>
                  <a:lnTo>
                    <a:pt x="3834844" y="9288875"/>
                  </a:lnTo>
                  <a:lnTo>
                    <a:pt x="3818646" y="9317267"/>
                  </a:lnTo>
                  <a:lnTo>
                    <a:pt x="3795420" y="9408105"/>
                  </a:lnTo>
                  <a:lnTo>
                    <a:pt x="3892629" y="9554499"/>
                  </a:lnTo>
                  <a:lnTo>
                    <a:pt x="3806275" y="9597634"/>
                  </a:lnTo>
                  <a:lnTo>
                    <a:pt x="3764918" y="9598447"/>
                  </a:lnTo>
                  <a:lnTo>
                    <a:pt x="3708854" y="9558706"/>
                  </a:lnTo>
                  <a:lnTo>
                    <a:pt x="3667537" y="9607159"/>
                  </a:lnTo>
                  <a:lnTo>
                    <a:pt x="3630065" y="9651113"/>
                  </a:lnTo>
                  <a:lnTo>
                    <a:pt x="3633553" y="9780287"/>
                  </a:lnTo>
                  <a:lnTo>
                    <a:pt x="3542399" y="9773106"/>
                  </a:lnTo>
                  <a:lnTo>
                    <a:pt x="3496129" y="9769490"/>
                  </a:lnTo>
                  <a:lnTo>
                    <a:pt x="3456046" y="9737697"/>
                  </a:lnTo>
                  <a:lnTo>
                    <a:pt x="3460787" y="9687412"/>
                  </a:lnTo>
                  <a:lnTo>
                    <a:pt x="3463675" y="9656812"/>
                  </a:lnTo>
                  <a:lnTo>
                    <a:pt x="3543481" y="9551733"/>
                  </a:lnTo>
                  <a:lnTo>
                    <a:pt x="3550557" y="9501067"/>
                  </a:lnTo>
                  <a:lnTo>
                    <a:pt x="3558167" y="9446440"/>
                  </a:lnTo>
                  <a:lnTo>
                    <a:pt x="3542083" y="9394630"/>
                  </a:lnTo>
                  <a:lnTo>
                    <a:pt x="3536959" y="9341917"/>
                  </a:lnTo>
                  <a:lnTo>
                    <a:pt x="3533899" y="9310467"/>
                  </a:lnTo>
                  <a:lnTo>
                    <a:pt x="3551751" y="9264262"/>
                  </a:lnTo>
                  <a:lnTo>
                    <a:pt x="3554639" y="9230385"/>
                  </a:lnTo>
                  <a:lnTo>
                    <a:pt x="3559467" y="9173939"/>
                  </a:lnTo>
                  <a:lnTo>
                    <a:pt x="3553789" y="9121741"/>
                  </a:lnTo>
                  <a:lnTo>
                    <a:pt x="3547841" y="9065803"/>
                  </a:lnTo>
                  <a:lnTo>
                    <a:pt x="3535897" y="8953881"/>
                  </a:lnTo>
                  <a:lnTo>
                    <a:pt x="3558319" y="8914349"/>
                  </a:lnTo>
                  <a:lnTo>
                    <a:pt x="3470311" y="8827765"/>
                  </a:lnTo>
                  <a:lnTo>
                    <a:pt x="3363447" y="8826026"/>
                  </a:lnTo>
                  <a:lnTo>
                    <a:pt x="3171977" y="8976494"/>
                  </a:lnTo>
                  <a:lnTo>
                    <a:pt x="3073132" y="9016836"/>
                  </a:lnTo>
                  <a:lnTo>
                    <a:pt x="3030773" y="9034134"/>
                  </a:lnTo>
                  <a:lnTo>
                    <a:pt x="2986100" y="9047097"/>
                  </a:lnTo>
                  <a:lnTo>
                    <a:pt x="2943912" y="9064442"/>
                  </a:lnTo>
                  <a:lnTo>
                    <a:pt x="2871823" y="9083101"/>
                  </a:lnTo>
                  <a:lnTo>
                    <a:pt x="2866000" y="9107416"/>
                  </a:lnTo>
                  <a:lnTo>
                    <a:pt x="2811974" y="9140614"/>
                  </a:lnTo>
                  <a:lnTo>
                    <a:pt x="2788635" y="9154933"/>
                  </a:lnTo>
                  <a:lnTo>
                    <a:pt x="2760329" y="9163565"/>
                  </a:lnTo>
                  <a:lnTo>
                    <a:pt x="2737162" y="9178702"/>
                  </a:lnTo>
                  <a:lnTo>
                    <a:pt x="2707156" y="9198208"/>
                  </a:lnTo>
                  <a:lnTo>
                    <a:pt x="2675993" y="9229964"/>
                  </a:lnTo>
                  <a:lnTo>
                    <a:pt x="2650110" y="9254865"/>
                  </a:lnTo>
                  <a:lnTo>
                    <a:pt x="2631235" y="9273059"/>
                  </a:lnTo>
                  <a:lnTo>
                    <a:pt x="2616403" y="9306133"/>
                  </a:lnTo>
                  <a:lnTo>
                    <a:pt x="2597060" y="9320160"/>
                  </a:lnTo>
                  <a:lnTo>
                    <a:pt x="2575573" y="9346381"/>
                  </a:lnTo>
                  <a:lnTo>
                    <a:pt x="2547671" y="9373719"/>
                  </a:lnTo>
                  <a:lnTo>
                    <a:pt x="2531770" y="9401767"/>
                  </a:lnTo>
                  <a:lnTo>
                    <a:pt x="2495959" y="9464979"/>
                  </a:lnTo>
                  <a:lnTo>
                    <a:pt x="2558486" y="9702118"/>
                  </a:lnTo>
                  <a:lnTo>
                    <a:pt x="2583455" y="9774464"/>
                  </a:lnTo>
                  <a:lnTo>
                    <a:pt x="2593301" y="9794401"/>
                  </a:lnTo>
                  <a:lnTo>
                    <a:pt x="2607942" y="9881921"/>
                  </a:lnTo>
                  <a:lnTo>
                    <a:pt x="2612176" y="9904239"/>
                  </a:lnTo>
                  <a:lnTo>
                    <a:pt x="2630106" y="9970077"/>
                  </a:lnTo>
                  <a:lnTo>
                    <a:pt x="2622838" y="9999793"/>
                  </a:lnTo>
                  <a:lnTo>
                    <a:pt x="2641687" y="10046841"/>
                  </a:lnTo>
                  <a:lnTo>
                    <a:pt x="2626987" y="10092754"/>
                  </a:lnTo>
                  <a:lnTo>
                    <a:pt x="2617293" y="10123010"/>
                  </a:lnTo>
                  <a:lnTo>
                    <a:pt x="2593063" y="10142736"/>
                  </a:lnTo>
                  <a:lnTo>
                    <a:pt x="2582095" y="10171643"/>
                  </a:lnTo>
                  <a:lnTo>
                    <a:pt x="2550071" y="10256189"/>
                  </a:lnTo>
                  <a:lnTo>
                    <a:pt x="2604452" y="10315482"/>
                  </a:lnTo>
                  <a:lnTo>
                    <a:pt x="2651468" y="10378393"/>
                  </a:lnTo>
                  <a:lnTo>
                    <a:pt x="2687813" y="10412909"/>
                  </a:lnTo>
                  <a:lnTo>
                    <a:pt x="2723919" y="10440200"/>
                  </a:lnTo>
                  <a:lnTo>
                    <a:pt x="2757560" y="10470886"/>
                  </a:lnTo>
                  <a:lnTo>
                    <a:pt x="2801218" y="10510797"/>
                  </a:lnTo>
                  <a:lnTo>
                    <a:pt x="2835433" y="10544677"/>
                  </a:lnTo>
                  <a:lnTo>
                    <a:pt x="2865017" y="10597384"/>
                  </a:lnTo>
                  <a:lnTo>
                    <a:pt x="2876578" y="10625733"/>
                  </a:lnTo>
                  <a:lnTo>
                    <a:pt x="2899028" y="10653148"/>
                  </a:lnTo>
                  <a:lnTo>
                    <a:pt x="2900769" y="10683366"/>
                  </a:lnTo>
                  <a:lnTo>
                    <a:pt x="2889847" y="10730381"/>
                  </a:lnTo>
                  <a:lnTo>
                    <a:pt x="2766746" y="10956007"/>
                  </a:lnTo>
                  <a:lnTo>
                    <a:pt x="2741244" y="10986396"/>
                  </a:lnTo>
                  <a:lnTo>
                    <a:pt x="2697440" y="11038470"/>
                  </a:lnTo>
                  <a:lnTo>
                    <a:pt x="2628880" y="11066267"/>
                  </a:lnTo>
                  <a:lnTo>
                    <a:pt x="2607948" y="11137379"/>
                  </a:lnTo>
                  <a:lnTo>
                    <a:pt x="2592938" y="11188430"/>
                  </a:lnTo>
                  <a:lnTo>
                    <a:pt x="2605627" y="11234759"/>
                  </a:lnTo>
                  <a:lnTo>
                    <a:pt x="2612024" y="11285640"/>
                  </a:lnTo>
                  <a:lnTo>
                    <a:pt x="2617287" y="11350290"/>
                  </a:lnTo>
                  <a:lnTo>
                    <a:pt x="2657120" y="11401682"/>
                  </a:lnTo>
                  <a:lnTo>
                    <a:pt x="2678672" y="11459744"/>
                  </a:lnTo>
                  <a:lnTo>
                    <a:pt x="2696228" y="11507056"/>
                  </a:lnTo>
                  <a:lnTo>
                    <a:pt x="2691340" y="11637721"/>
                  </a:lnTo>
                  <a:lnTo>
                    <a:pt x="2648744" y="11670578"/>
                  </a:lnTo>
                  <a:lnTo>
                    <a:pt x="2597845" y="11690601"/>
                  </a:lnTo>
                  <a:lnTo>
                    <a:pt x="2520104" y="11697869"/>
                  </a:lnTo>
                  <a:lnTo>
                    <a:pt x="2274246" y="11793547"/>
                  </a:lnTo>
                  <a:lnTo>
                    <a:pt x="2243407" y="11786192"/>
                  </a:lnTo>
                  <a:lnTo>
                    <a:pt x="2221237" y="11802430"/>
                  </a:lnTo>
                  <a:lnTo>
                    <a:pt x="2184067" y="11800687"/>
                  </a:lnTo>
                  <a:lnTo>
                    <a:pt x="2159073" y="11806597"/>
                  </a:lnTo>
                  <a:lnTo>
                    <a:pt x="2140310" y="11819136"/>
                  </a:lnTo>
                  <a:lnTo>
                    <a:pt x="2109321" y="11826825"/>
                  </a:lnTo>
                  <a:lnTo>
                    <a:pt x="2060037" y="11828230"/>
                  </a:lnTo>
                  <a:lnTo>
                    <a:pt x="2047539" y="11848765"/>
                  </a:lnTo>
                  <a:lnTo>
                    <a:pt x="2024035" y="11854324"/>
                  </a:lnTo>
                  <a:lnTo>
                    <a:pt x="1886973" y="11884595"/>
                  </a:lnTo>
                  <a:lnTo>
                    <a:pt x="1860614" y="11933135"/>
                  </a:lnTo>
                  <a:lnTo>
                    <a:pt x="1873435" y="12065031"/>
                  </a:lnTo>
                  <a:lnTo>
                    <a:pt x="1876051" y="12091901"/>
                  </a:lnTo>
                  <a:lnTo>
                    <a:pt x="1892968" y="12124841"/>
                  </a:lnTo>
                  <a:lnTo>
                    <a:pt x="1899279" y="12152092"/>
                  </a:lnTo>
                  <a:lnTo>
                    <a:pt x="1907905" y="12189364"/>
                  </a:lnTo>
                  <a:lnTo>
                    <a:pt x="1910049" y="12228857"/>
                  </a:lnTo>
                  <a:lnTo>
                    <a:pt x="1916961" y="12266343"/>
                  </a:lnTo>
                  <a:lnTo>
                    <a:pt x="1924697" y="12308300"/>
                  </a:lnTo>
                  <a:lnTo>
                    <a:pt x="1942714" y="12349017"/>
                  </a:lnTo>
                  <a:lnTo>
                    <a:pt x="1946881" y="12391485"/>
                  </a:lnTo>
                  <a:lnTo>
                    <a:pt x="1948965" y="12412861"/>
                  </a:lnTo>
                  <a:lnTo>
                    <a:pt x="1933560" y="12472671"/>
                  </a:lnTo>
                  <a:lnTo>
                    <a:pt x="1925118" y="12493498"/>
                  </a:lnTo>
                  <a:lnTo>
                    <a:pt x="1872689" y="12623223"/>
                  </a:lnTo>
                  <a:lnTo>
                    <a:pt x="1696757" y="12594022"/>
                  </a:lnTo>
                  <a:lnTo>
                    <a:pt x="1666684" y="12644481"/>
                  </a:lnTo>
                  <a:lnTo>
                    <a:pt x="1661158" y="12682355"/>
                  </a:lnTo>
                  <a:lnTo>
                    <a:pt x="1693802" y="12722011"/>
                  </a:lnTo>
                  <a:lnTo>
                    <a:pt x="1687088" y="12772337"/>
                  </a:lnTo>
                  <a:lnTo>
                    <a:pt x="1682011" y="12810341"/>
                  </a:lnTo>
                  <a:lnTo>
                    <a:pt x="1642263" y="12869084"/>
                  </a:lnTo>
                  <a:lnTo>
                    <a:pt x="1604111" y="12881152"/>
                  </a:lnTo>
                  <a:lnTo>
                    <a:pt x="1571954" y="12891353"/>
                  </a:lnTo>
                  <a:lnTo>
                    <a:pt x="1530215" y="12887871"/>
                  </a:lnTo>
                  <a:lnTo>
                    <a:pt x="1496654" y="12890674"/>
                  </a:lnTo>
                  <a:lnTo>
                    <a:pt x="1455786" y="12894072"/>
                  </a:lnTo>
                  <a:lnTo>
                    <a:pt x="1409627" y="12900199"/>
                  </a:lnTo>
                  <a:lnTo>
                    <a:pt x="1368799" y="12900199"/>
                  </a:lnTo>
                  <a:lnTo>
                    <a:pt x="1315881" y="12914905"/>
                  </a:lnTo>
                  <a:lnTo>
                    <a:pt x="1273139" y="12942022"/>
                  </a:lnTo>
                  <a:lnTo>
                    <a:pt x="1284463" y="13006288"/>
                  </a:lnTo>
                  <a:lnTo>
                    <a:pt x="1288064" y="13045272"/>
                  </a:lnTo>
                  <a:lnTo>
                    <a:pt x="1325397" y="13133896"/>
                  </a:lnTo>
                  <a:lnTo>
                    <a:pt x="1293986" y="13165438"/>
                  </a:lnTo>
                  <a:lnTo>
                    <a:pt x="1265424" y="13174954"/>
                  </a:lnTo>
                  <a:lnTo>
                    <a:pt x="1234816" y="13177131"/>
                  </a:lnTo>
                  <a:lnTo>
                    <a:pt x="1178799" y="13184854"/>
                  </a:lnTo>
                  <a:lnTo>
                    <a:pt x="1137904" y="13172917"/>
                  </a:lnTo>
                  <a:lnTo>
                    <a:pt x="1099482" y="13195353"/>
                  </a:lnTo>
                  <a:lnTo>
                    <a:pt x="1064245" y="13247808"/>
                  </a:lnTo>
                  <a:lnTo>
                    <a:pt x="1055698" y="13318158"/>
                  </a:lnTo>
                  <a:lnTo>
                    <a:pt x="1023311" y="13366741"/>
                  </a:lnTo>
                  <a:lnTo>
                    <a:pt x="1008387" y="13383149"/>
                  </a:lnTo>
                  <a:lnTo>
                    <a:pt x="992935" y="13413795"/>
                  </a:lnTo>
                  <a:lnTo>
                    <a:pt x="969346" y="13433685"/>
                  </a:lnTo>
                  <a:lnTo>
                    <a:pt x="978506" y="13482997"/>
                  </a:lnTo>
                  <a:lnTo>
                    <a:pt x="1077654" y="13511346"/>
                  </a:lnTo>
                  <a:lnTo>
                    <a:pt x="1104923" y="13559892"/>
                  </a:lnTo>
                  <a:lnTo>
                    <a:pt x="1124536" y="13594826"/>
                  </a:lnTo>
                  <a:lnTo>
                    <a:pt x="1082856" y="13715802"/>
                  </a:lnTo>
                  <a:lnTo>
                    <a:pt x="1147085" y="13802004"/>
                  </a:lnTo>
                  <a:lnTo>
                    <a:pt x="1183132" y="13833540"/>
                  </a:lnTo>
                  <a:lnTo>
                    <a:pt x="1201493" y="13864571"/>
                  </a:lnTo>
                  <a:lnTo>
                    <a:pt x="1174710" y="13906019"/>
                  </a:lnTo>
                  <a:lnTo>
                    <a:pt x="1085086" y="13918385"/>
                  </a:lnTo>
                  <a:lnTo>
                    <a:pt x="1045068" y="13957064"/>
                  </a:lnTo>
                  <a:lnTo>
                    <a:pt x="1039264" y="13985500"/>
                  </a:lnTo>
                  <a:lnTo>
                    <a:pt x="1053463" y="14036467"/>
                  </a:lnTo>
                  <a:lnTo>
                    <a:pt x="1091251" y="14030517"/>
                  </a:lnTo>
                  <a:lnTo>
                    <a:pt x="1106281" y="14074043"/>
                  </a:lnTo>
                  <a:lnTo>
                    <a:pt x="1109632" y="14097636"/>
                  </a:lnTo>
                  <a:lnTo>
                    <a:pt x="1117262" y="14249595"/>
                  </a:lnTo>
                  <a:lnTo>
                    <a:pt x="1018735" y="14298349"/>
                  </a:lnTo>
                  <a:lnTo>
                    <a:pt x="895443" y="14283513"/>
                  </a:lnTo>
                  <a:lnTo>
                    <a:pt x="846627" y="14277656"/>
                  </a:lnTo>
                  <a:lnTo>
                    <a:pt x="766710" y="14273777"/>
                  </a:lnTo>
                  <a:lnTo>
                    <a:pt x="721337" y="14257672"/>
                  </a:lnTo>
                  <a:lnTo>
                    <a:pt x="669291" y="14262466"/>
                  </a:lnTo>
                  <a:lnTo>
                    <a:pt x="591457" y="14254138"/>
                  </a:lnTo>
                  <a:lnTo>
                    <a:pt x="510102" y="14205257"/>
                  </a:lnTo>
                  <a:lnTo>
                    <a:pt x="443857" y="14195093"/>
                  </a:lnTo>
                  <a:lnTo>
                    <a:pt x="414978" y="14193782"/>
                  </a:lnTo>
                  <a:lnTo>
                    <a:pt x="390088" y="14180049"/>
                  </a:lnTo>
                  <a:lnTo>
                    <a:pt x="362245" y="14176056"/>
                  </a:lnTo>
                  <a:lnTo>
                    <a:pt x="282335" y="14164534"/>
                  </a:lnTo>
                  <a:lnTo>
                    <a:pt x="98667" y="14228759"/>
                  </a:lnTo>
                  <a:lnTo>
                    <a:pt x="82048" y="14318875"/>
                  </a:lnTo>
                  <a:lnTo>
                    <a:pt x="70078" y="14339357"/>
                  </a:lnTo>
                  <a:lnTo>
                    <a:pt x="53485" y="14375997"/>
                  </a:lnTo>
                  <a:lnTo>
                    <a:pt x="34333" y="14420586"/>
                  </a:lnTo>
                  <a:lnTo>
                    <a:pt x="29466" y="14458079"/>
                  </a:lnTo>
                  <a:lnTo>
                    <a:pt x="16757" y="14487537"/>
                  </a:lnTo>
                  <a:lnTo>
                    <a:pt x="7531" y="14506408"/>
                  </a:lnTo>
                  <a:lnTo>
                    <a:pt x="0" y="14571569"/>
                  </a:lnTo>
                  <a:lnTo>
                    <a:pt x="33640" y="14563709"/>
                  </a:lnTo>
                  <a:lnTo>
                    <a:pt x="93521" y="14606166"/>
                  </a:lnTo>
                  <a:lnTo>
                    <a:pt x="120132" y="14616757"/>
                  </a:lnTo>
                  <a:lnTo>
                    <a:pt x="152223" y="14629467"/>
                  </a:lnTo>
                  <a:lnTo>
                    <a:pt x="213365" y="14654330"/>
                  </a:lnTo>
                  <a:lnTo>
                    <a:pt x="231665" y="14683408"/>
                  </a:lnTo>
                  <a:lnTo>
                    <a:pt x="267759" y="14740744"/>
                  </a:lnTo>
                  <a:lnTo>
                    <a:pt x="239620" y="14834893"/>
                  </a:lnTo>
                  <a:lnTo>
                    <a:pt x="253430" y="14901038"/>
                  </a:lnTo>
                  <a:lnTo>
                    <a:pt x="269455" y="14977889"/>
                  </a:lnTo>
                  <a:lnTo>
                    <a:pt x="323011" y="15105617"/>
                  </a:lnTo>
                  <a:lnTo>
                    <a:pt x="362245" y="15174438"/>
                  </a:lnTo>
                  <a:lnTo>
                    <a:pt x="377419" y="15201001"/>
                  </a:lnTo>
                  <a:lnTo>
                    <a:pt x="433575" y="15269778"/>
                  </a:lnTo>
                  <a:lnTo>
                    <a:pt x="456096" y="15290053"/>
                  </a:lnTo>
                  <a:lnTo>
                    <a:pt x="477715" y="15309481"/>
                  </a:lnTo>
                  <a:lnTo>
                    <a:pt x="509555" y="15316575"/>
                  </a:lnTo>
                  <a:lnTo>
                    <a:pt x="532268" y="15333579"/>
                  </a:lnTo>
                  <a:lnTo>
                    <a:pt x="559947" y="15354365"/>
                  </a:lnTo>
                  <a:lnTo>
                    <a:pt x="605723" y="15383904"/>
                  </a:lnTo>
                  <a:lnTo>
                    <a:pt x="661211" y="15405329"/>
                  </a:lnTo>
                  <a:lnTo>
                    <a:pt x="719728" y="15413403"/>
                  </a:lnTo>
                  <a:lnTo>
                    <a:pt x="775745" y="15434230"/>
                  </a:lnTo>
                  <a:lnTo>
                    <a:pt x="823037" y="15451879"/>
                  </a:lnTo>
                  <a:lnTo>
                    <a:pt x="869307" y="15476826"/>
                  </a:lnTo>
                  <a:lnTo>
                    <a:pt x="917206" y="15491361"/>
                  </a:lnTo>
                  <a:lnTo>
                    <a:pt x="966259" y="15506285"/>
                  </a:lnTo>
                  <a:lnTo>
                    <a:pt x="1020608" y="15516997"/>
                  </a:lnTo>
                  <a:lnTo>
                    <a:pt x="1066831" y="15540329"/>
                  </a:lnTo>
                  <a:lnTo>
                    <a:pt x="1100195" y="15557119"/>
                  </a:lnTo>
                  <a:lnTo>
                    <a:pt x="1135985" y="15610427"/>
                  </a:lnTo>
                  <a:lnTo>
                    <a:pt x="1177006" y="15634187"/>
                  </a:lnTo>
                  <a:lnTo>
                    <a:pt x="1314661" y="15714269"/>
                  </a:lnTo>
                  <a:lnTo>
                    <a:pt x="1377042" y="15652586"/>
                  </a:lnTo>
                  <a:lnTo>
                    <a:pt x="1474891" y="15687229"/>
                  </a:lnTo>
                  <a:lnTo>
                    <a:pt x="1565346" y="15719282"/>
                  </a:lnTo>
                  <a:lnTo>
                    <a:pt x="1611610" y="15791963"/>
                  </a:lnTo>
                  <a:lnTo>
                    <a:pt x="1722444" y="15791963"/>
                  </a:lnTo>
                  <a:lnTo>
                    <a:pt x="1752964" y="15789247"/>
                  </a:lnTo>
                  <a:lnTo>
                    <a:pt x="1860508" y="15751373"/>
                  </a:lnTo>
                  <a:lnTo>
                    <a:pt x="1874786" y="15767484"/>
                  </a:lnTo>
                  <a:lnTo>
                    <a:pt x="1883009" y="15725400"/>
                  </a:lnTo>
                  <a:lnTo>
                    <a:pt x="2078734" y="15767444"/>
                  </a:lnTo>
                  <a:lnTo>
                    <a:pt x="2055698" y="15683148"/>
                  </a:lnTo>
                  <a:lnTo>
                    <a:pt x="2040265" y="15665208"/>
                  </a:lnTo>
                  <a:lnTo>
                    <a:pt x="2024537" y="15650338"/>
                  </a:lnTo>
                  <a:lnTo>
                    <a:pt x="1998565" y="15632823"/>
                  </a:lnTo>
                  <a:lnTo>
                    <a:pt x="1978101" y="15619223"/>
                  </a:lnTo>
                  <a:lnTo>
                    <a:pt x="1945878" y="15618842"/>
                  </a:lnTo>
                  <a:lnTo>
                    <a:pt x="1926476" y="15600176"/>
                  </a:lnTo>
                  <a:lnTo>
                    <a:pt x="1906223" y="15560734"/>
                  </a:lnTo>
                  <a:lnTo>
                    <a:pt x="1894129" y="15440357"/>
                  </a:lnTo>
                  <a:lnTo>
                    <a:pt x="2069362" y="15488769"/>
                  </a:lnTo>
                  <a:lnTo>
                    <a:pt x="2039375" y="15397510"/>
                  </a:lnTo>
                  <a:lnTo>
                    <a:pt x="2008088" y="15355472"/>
                  </a:lnTo>
                  <a:lnTo>
                    <a:pt x="1982691" y="15318405"/>
                  </a:lnTo>
                  <a:lnTo>
                    <a:pt x="2001289" y="15262848"/>
                  </a:lnTo>
                  <a:lnTo>
                    <a:pt x="2019795" y="15243256"/>
                  </a:lnTo>
                  <a:lnTo>
                    <a:pt x="2061138" y="15241085"/>
                  </a:lnTo>
                  <a:lnTo>
                    <a:pt x="2175797" y="15221961"/>
                  </a:lnTo>
                  <a:lnTo>
                    <a:pt x="2169229" y="15315639"/>
                  </a:lnTo>
                  <a:lnTo>
                    <a:pt x="2227080" y="15363506"/>
                  </a:lnTo>
                  <a:lnTo>
                    <a:pt x="2258662" y="15371328"/>
                  </a:lnTo>
                  <a:lnTo>
                    <a:pt x="2282912" y="15341526"/>
                  </a:lnTo>
                  <a:lnTo>
                    <a:pt x="2315490" y="15351258"/>
                  </a:lnTo>
                  <a:lnTo>
                    <a:pt x="2347542" y="15360783"/>
                  </a:lnTo>
                  <a:lnTo>
                    <a:pt x="2368176" y="15414597"/>
                  </a:lnTo>
                  <a:lnTo>
                    <a:pt x="2393026" y="15436952"/>
                  </a:lnTo>
                  <a:lnTo>
                    <a:pt x="2441183" y="15480308"/>
                  </a:lnTo>
                  <a:lnTo>
                    <a:pt x="2540178" y="15525623"/>
                  </a:lnTo>
                  <a:lnTo>
                    <a:pt x="2584813" y="15458715"/>
                  </a:lnTo>
                  <a:lnTo>
                    <a:pt x="2624362" y="15399336"/>
                  </a:lnTo>
                  <a:lnTo>
                    <a:pt x="2602751" y="15318451"/>
                  </a:lnTo>
                  <a:lnTo>
                    <a:pt x="2644662" y="15260132"/>
                  </a:lnTo>
                  <a:lnTo>
                    <a:pt x="2669676" y="15253838"/>
                  </a:lnTo>
                  <a:lnTo>
                    <a:pt x="2771713" y="15260349"/>
                  </a:lnTo>
                  <a:lnTo>
                    <a:pt x="2825144" y="15247423"/>
                  </a:lnTo>
                  <a:lnTo>
                    <a:pt x="2827584" y="15162284"/>
                  </a:lnTo>
                  <a:lnTo>
                    <a:pt x="2882699" y="15139076"/>
                  </a:lnTo>
                  <a:lnTo>
                    <a:pt x="2903669" y="15130230"/>
                  </a:lnTo>
                  <a:lnTo>
                    <a:pt x="2928367" y="15134695"/>
                  </a:lnTo>
                  <a:lnTo>
                    <a:pt x="2949346" y="15121393"/>
                  </a:lnTo>
                  <a:lnTo>
                    <a:pt x="2986007" y="15098185"/>
                  </a:lnTo>
                  <a:lnTo>
                    <a:pt x="3013382" y="15054442"/>
                  </a:lnTo>
                  <a:lnTo>
                    <a:pt x="3052721" y="15038425"/>
                  </a:lnTo>
                  <a:lnTo>
                    <a:pt x="3115229" y="15012876"/>
                  </a:lnTo>
                  <a:lnTo>
                    <a:pt x="3136647" y="15039572"/>
                  </a:lnTo>
                  <a:lnTo>
                    <a:pt x="3199623" y="14989451"/>
                  </a:lnTo>
                  <a:lnTo>
                    <a:pt x="3228608" y="14956383"/>
                  </a:lnTo>
                  <a:lnTo>
                    <a:pt x="3272371" y="14935088"/>
                  </a:lnTo>
                  <a:lnTo>
                    <a:pt x="3338511" y="14949717"/>
                  </a:lnTo>
                  <a:lnTo>
                    <a:pt x="3354682" y="14929600"/>
                  </a:lnTo>
                  <a:lnTo>
                    <a:pt x="3373727" y="14910563"/>
                  </a:lnTo>
                  <a:lnTo>
                    <a:pt x="3392412" y="14885870"/>
                  </a:lnTo>
                  <a:lnTo>
                    <a:pt x="3401763" y="14858839"/>
                  </a:lnTo>
                  <a:lnTo>
                    <a:pt x="3418613" y="14841196"/>
                  </a:lnTo>
                  <a:lnTo>
                    <a:pt x="3437297" y="14821681"/>
                  </a:lnTo>
                  <a:lnTo>
                    <a:pt x="3458994" y="14805958"/>
                  </a:lnTo>
                  <a:lnTo>
                    <a:pt x="3475744" y="14784071"/>
                  </a:lnTo>
                  <a:lnTo>
                    <a:pt x="3490175" y="14765322"/>
                  </a:lnTo>
                  <a:lnTo>
                    <a:pt x="3511490" y="14738843"/>
                  </a:lnTo>
                  <a:lnTo>
                    <a:pt x="3517912" y="14716057"/>
                  </a:lnTo>
                  <a:lnTo>
                    <a:pt x="3541396" y="14701016"/>
                  </a:lnTo>
                  <a:lnTo>
                    <a:pt x="3571556" y="14701562"/>
                  </a:lnTo>
                  <a:lnTo>
                    <a:pt x="3596801" y="14711983"/>
                  </a:lnTo>
                  <a:lnTo>
                    <a:pt x="3624512" y="14710110"/>
                  </a:lnTo>
                  <a:lnTo>
                    <a:pt x="3827504" y="14803499"/>
                  </a:lnTo>
                  <a:lnTo>
                    <a:pt x="3790987" y="14658721"/>
                  </a:lnTo>
                  <a:lnTo>
                    <a:pt x="3874281" y="14641252"/>
                  </a:lnTo>
                  <a:lnTo>
                    <a:pt x="3895643" y="14636787"/>
                  </a:lnTo>
                  <a:lnTo>
                    <a:pt x="3971155" y="14669182"/>
                  </a:lnTo>
                  <a:lnTo>
                    <a:pt x="4002143" y="14673898"/>
                  </a:lnTo>
                  <a:lnTo>
                    <a:pt x="4102756" y="14691841"/>
                  </a:lnTo>
                  <a:lnTo>
                    <a:pt x="4173783" y="14646356"/>
                  </a:lnTo>
                  <a:lnTo>
                    <a:pt x="4238814" y="14663015"/>
                  </a:lnTo>
                  <a:lnTo>
                    <a:pt x="4261007" y="14667861"/>
                  </a:lnTo>
                  <a:lnTo>
                    <a:pt x="4296243" y="14695962"/>
                  </a:lnTo>
                  <a:lnTo>
                    <a:pt x="4314986" y="14709266"/>
                  </a:lnTo>
                  <a:lnTo>
                    <a:pt x="4357298" y="14739317"/>
                  </a:lnTo>
                  <a:lnTo>
                    <a:pt x="4400528" y="14761887"/>
                  </a:lnTo>
                  <a:lnTo>
                    <a:pt x="4455088" y="14763672"/>
                  </a:lnTo>
                  <a:lnTo>
                    <a:pt x="4505776" y="14761418"/>
                  </a:lnTo>
                  <a:lnTo>
                    <a:pt x="4613081" y="14820884"/>
                  </a:lnTo>
                  <a:lnTo>
                    <a:pt x="4652316" y="14850725"/>
                  </a:lnTo>
                  <a:lnTo>
                    <a:pt x="4685685" y="14855316"/>
                  </a:lnTo>
                  <a:lnTo>
                    <a:pt x="4734587" y="14879842"/>
                  </a:lnTo>
                  <a:lnTo>
                    <a:pt x="4781555" y="14889110"/>
                  </a:lnTo>
                  <a:lnTo>
                    <a:pt x="4819621" y="14920097"/>
                  </a:lnTo>
                  <a:lnTo>
                    <a:pt x="5025310" y="15150393"/>
                  </a:lnTo>
                  <a:lnTo>
                    <a:pt x="5033170" y="15182614"/>
                  </a:lnTo>
                  <a:lnTo>
                    <a:pt x="5084454" y="15308089"/>
                  </a:lnTo>
                  <a:lnTo>
                    <a:pt x="5137673" y="15471868"/>
                  </a:lnTo>
                  <a:lnTo>
                    <a:pt x="5099817" y="15606998"/>
                  </a:lnTo>
                  <a:lnTo>
                    <a:pt x="5084860" y="15634199"/>
                  </a:lnTo>
                  <a:lnTo>
                    <a:pt x="5070867" y="15806651"/>
                  </a:lnTo>
                  <a:lnTo>
                    <a:pt x="5071255" y="15835511"/>
                  </a:lnTo>
                  <a:lnTo>
                    <a:pt x="5099712" y="15845752"/>
                  </a:lnTo>
                  <a:lnTo>
                    <a:pt x="5131509" y="15842605"/>
                  </a:lnTo>
                  <a:lnTo>
                    <a:pt x="5155507" y="15805122"/>
                  </a:lnTo>
                  <a:lnTo>
                    <a:pt x="5167832" y="15786543"/>
                  </a:lnTo>
                  <a:lnTo>
                    <a:pt x="5202562" y="15801888"/>
                  </a:lnTo>
                  <a:lnTo>
                    <a:pt x="5220201" y="15815698"/>
                  </a:lnTo>
                  <a:lnTo>
                    <a:pt x="5239921" y="15827353"/>
                  </a:lnTo>
                  <a:lnTo>
                    <a:pt x="5259560" y="15795042"/>
                  </a:lnTo>
                  <a:lnTo>
                    <a:pt x="5278582" y="15767372"/>
                  </a:lnTo>
                  <a:lnTo>
                    <a:pt x="5301452" y="15768861"/>
                  </a:lnTo>
                  <a:lnTo>
                    <a:pt x="5351759" y="15729840"/>
                  </a:lnTo>
                  <a:lnTo>
                    <a:pt x="5296348" y="15671738"/>
                  </a:lnTo>
                  <a:lnTo>
                    <a:pt x="5301129" y="15628761"/>
                  </a:lnTo>
                  <a:lnTo>
                    <a:pt x="5311395" y="15607081"/>
                  </a:lnTo>
                  <a:lnTo>
                    <a:pt x="5342082" y="15518538"/>
                  </a:lnTo>
                  <a:lnTo>
                    <a:pt x="5355920" y="15433529"/>
                  </a:lnTo>
                  <a:lnTo>
                    <a:pt x="5381382" y="15354002"/>
                  </a:lnTo>
                  <a:lnTo>
                    <a:pt x="5393325" y="15316684"/>
                  </a:lnTo>
                  <a:lnTo>
                    <a:pt x="5422595" y="15284583"/>
                  </a:lnTo>
                  <a:lnTo>
                    <a:pt x="5423550" y="15243823"/>
                  </a:lnTo>
                  <a:lnTo>
                    <a:pt x="5424545" y="15202207"/>
                  </a:lnTo>
                  <a:lnTo>
                    <a:pt x="5395747" y="15195283"/>
                  </a:lnTo>
                  <a:lnTo>
                    <a:pt x="5390904" y="15163574"/>
                  </a:lnTo>
                  <a:lnTo>
                    <a:pt x="5397790" y="15137473"/>
                  </a:lnTo>
                  <a:lnTo>
                    <a:pt x="5412046" y="15109379"/>
                  </a:lnTo>
                  <a:lnTo>
                    <a:pt x="5409944" y="15081963"/>
                  </a:lnTo>
                  <a:lnTo>
                    <a:pt x="5407265" y="15047361"/>
                  </a:lnTo>
                  <a:lnTo>
                    <a:pt x="5382827" y="15015059"/>
                  </a:lnTo>
                  <a:lnTo>
                    <a:pt x="5380024" y="14978586"/>
                  </a:lnTo>
                  <a:lnTo>
                    <a:pt x="5377959" y="14951760"/>
                  </a:lnTo>
                  <a:lnTo>
                    <a:pt x="5383868" y="14874487"/>
                  </a:lnTo>
                  <a:lnTo>
                    <a:pt x="5364195" y="14829089"/>
                  </a:lnTo>
                  <a:lnTo>
                    <a:pt x="5329552" y="14820757"/>
                  </a:lnTo>
                  <a:lnTo>
                    <a:pt x="5312015" y="14799035"/>
                  </a:lnTo>
                  <a:lnTo>
                    <a:pt x="5331952" y="14788753"/>
                  </a:lnTo>
                  <a:lnTo>
                    <a:pt x="5360437" y="14811790"/>
                  </a:lnTo>
                  <a:lnTo>
                    <a:pt x="5381388" y="14804482"/>
                  </a:lnTo>
                  <a:lnTo>
                    <a:pt x="5404174" y="14768863"/>
                  </a:lnTo>
                  <a:lnTo>
                    <a:pt x="5405808" y="14591776"/>
                  </a:lnTo>
                  <a:lnTo>
                    <a:pt x="5393635" y="14567805"/>
                  </a:lnTo>
                  <a:lnTo>
                    <a:pt x="5352081" y="14539032"/>
                  </a:lnTo>
                  <a:lnTo>
                    <a:pt x="5344668" y="14480753"/>
                  </a:lnTo>
                  <a:lnTo>
                    <a:pt x="5323348" y="14465154"/>
                  </a:lnTo>
                  <a:lnTo>
                    <a:pt x="5298847" y="14485600"/>
                  </a:lnTo>
                  <a:lnTo>
                    <a:pt x="5285412" y="14522577"/>
                  </a:lnTo>
                  <a:lnTo>
                    <a:pt x="5268449" y="14646272"/>
                  </a:lnTo>
                  <a:lnTo>
                    <a:pt x="5249452" y="14658941"/>
                  </a:lnTo>
                  <a:lnTo>
                    <a:pt x="5230920" y="14637004"/>
                  </a:lnTo>
                  <a:lnTo>
                    <a:pt x="5250639" y="14565086"/>
                  </a:lnTo>
                  <a:lnTo>
                    <a:pt x="5226328" y="14531079"/>
                  </a:lnTo>
                  <a:lnTo>
                    <a:pt x="5161786" y="14525473"/>
                  </a:lnTo>
                  <a:lnTo>
                    <a:pt x="5168604" y="14574518"/>
                  </a:lnTo>
                  <a:lnTo>
                    <a:pt x="5142001" y="14599090"/>
                  </a:lnTo>
                  <a:lnTo>
                    <a:pt x="5103771" y="14563892"/>
                  </a:lnTo>
                  <a:lnTo>
                    <a:pt x="5135722" y="14482704"/>
                  </a:lnTo>
                  <a:lnTo>
                    <a:pt x="5103907" y="14450823"/>
                  </a:lnTo>
                  <a:lnTo>
                    <a:pt x="5082144" y="14448101"/>
                  </a:lnTo>
                  <a:lnTo>
                    <a:pt x="5011903" y="14472884"/>
                  </a:lnTo>
                  <a:lnTo>
                    <a:pt x="5037874" y="14595298"/>
                  </a:lnTo>
                  <a:lnTo>
                    <a:pt x="5025013" y="14650774"/>
                  </a:lnTo>
                  <a:lnTo>
                    <a:pt x="4997176" y="14646818"/>
                  </a:lnTo>
                  <a:lnTo>
                    <a:pt x="4978771" y="14631730"/>
                  </a:lnTo>
                  <a:lnTo>
                    <a:pt x="4949997" y="14593308"/>
                  </a:lnTo>
                  <a:lnTo>
                    <a:pt x="4936990" y="14563545"/>
                  </a:lnTo>
                  <a:lnTo>
                    <a:pt x="4920287" y="14533795"/>
                  </a:lnTo>
                  <a:lnTo>
                    <a:pt x="4906384" y="14509012"/>
                  </a:lnTo>
                  <a:lnTo>
                    <a:pt x="4884212" y="14489333"/>
                  </a:lnTo>
                  <a:lnTo>
                    <a:pt x="4868594" y="14467139"/>
                  </a:lnTo>
                  <a:lnTo>
                    <a:pt x="4860213" y="14440622"/>
                  </a:lnTo>
                  <a:lnTo>
                    <a:pt x="4871314" y="14419538"/>
                  </a:lnTo>
                  <a:lnTo>
                    <a:pt x="4957324" y="14406659"/>
                  </a:lnTo>
                  <a:lnTo>
                    <a:pt x="4943638" y="14287640"/>
                  </a:lnTo>
                  <a:lnTo>
                    <a:pt x="5004614" y="14239993"/>
                  </a:lnTo>
                  <a:lnTo>
                    <a:pt x="5055429" y="14216357"/>
                  </a:lnTo>
                  <a:lnTo>
                    <a:pt x="5082057" y="14184027"/>
                  </a:lnTo>
                  <a:lnTo>
                    <a:pt x="5087697" y="14149338"/>
                  </a:lnTo>
                  <a:lnTo>
                    <a:pt x="5101191" y="14118937"/>
                  </a:lnTo>
                  <a:lnTo>
                    <a:pt x="5069838" y="14129131"/>
                  </a:lnTo>
                  <a:lnTo>
                    <a:pt x="5046776" y="14105331"/>
                  </a:lnTo>
                  <a:lnTo>
                    <a:pt x="5026991" y="14097936"/>
                  </a:lnTo>
                  <a:lnTo>
                    <a:pt x="5005209" y="14103973"/>
                  </a:lnTo>
                  <a:lnTo>
                    <a:pt x="4955305" y="14103973"/>
                  </a:lnTo>
                  <a:lnTo>
                    <a:pt x="4860496" y="14070778"/>
                  </a:lnTo>
                  <a:lnTo>
                    <a:pt x="4842751" y="14045487"/>
                  </a:lnTo>
                  <a:lnTo>
                    <a:pt x="4833952" y="14018239"/>
                  </a:lnTo>
                  <a:lnTo>
                    <a:pt x="4838897" y="13914521"/>
                  </a:lnTo>
                  <a:lnTo>
                    <a:pt x="4878712" y="13792786"/>
                  </a:lnTo>
                  <a:lnTo>
                    <a:pt x="4876758" y="13713594"/>
                  </a:lnTo>
                  <a:lnTo>
                    <a:pt x="4873884" y="13597003"/>
                  </a:lnTo>
                  <a:lnTo>
                    <a:pt x="4821177" y="13442153"/>
                  </a:lnTo>
                  <a:lnTo>
                    <a:pt x="4848189" y="13332743"/>
                  </a:lnTo>
                  <a:lnTo>
                    <a:pt x="4866061" y="13260267"/>
                  </a:lnTo>
                  <a:lnTo>
                    <a:pt x="4945932" y="13260992"/>
                  </a:lnTo>
                  <a:lnTo>
                    <a:pt x="4988292" y="13215764"/>
                  </a:lnTo>
                  <a:lnTo>
                    <a:pt x="4985576" y="13194001"/>
                  </a:lnTo>
                  <a:lnTo>
                    <a:pt x="4974820" y="13175937"/>
                  </a:lnTo>
                  <a:lnTo>
                    <a:pt x="4951296" y="13170067"/>
                  </a:lnTo>
                  <a:lnTo>
                    <a:pt x="4894354" y="13089688"/>
                  </a:lnTo>
                  <a:lnTo>
                    <a:pt x="4948341" y="12951802"/>
                  </a:lnTo>
                  <a:lnTo>
                    <a:pt x="4984209" y="12892032"/>
                  </a:lnTo>
                  <a:lnTo>
                    <a:pt x="5014350" y="12858288"/>
                  </a:lnTo>
                  <a:lnTo>
                    <a:pt x="5032268" y="12836010"/>
                  </a:lnTo>
                  <a:lnTo>
                    <a:pt x="5013116" y="12755848"/>
                  </a:lnTo>
                  <a:lnTo>
                    <a:pt x="4952270" y="12701315"/>
                  </a:lnTo>
                  <a:lnTo>
                    <a:pt x="4977409" y="12632240"/>
                  </a:lnTo>
                  <a:lnTo>
                    <a:pt x="5005981" y="12628156"/>
                  </a:lnTo>
                  <a:lnTo>
                    <a:pt x="5019664" y="12644996"/>
                  </a:lnTo>
                  <a:lnTo>
                    <a:pt x="5033862" y="12668920"/>
                  </a:lnTo>
                  <a:lnTo>
                    <a:pt x="5044060" y="12704328"/>
                  </a:lnTo>
                  <a:lnTo>
                    <a:pt x="5068650" y="12728854"/>
                  </a:lnTo>
                  <a:lnTo>
                    <a:pt x="5110285" y="12708706"/>
                  </a:lnTo>
                  <a:lnTo>
                    <a:pt x="5139276" y="12719292"/>
                  </a:lnTo>
                  <a:lnTo>
                    <a:pt x="5159206" y="12754958"/>
                  </a:lnTo>
                  <a:lnTo>
                    <a:pt x="5154623" y="12780290"/>
                  </a:lnTo>
                  <a:lnTo>
                    <a:pt x="5162397" y="12804986"/>
                  </a:lnTo>
                  <a:lnTo>
                    <a:pt x="5187201" y="12828615"/>
                  </a:lnTo>
                  <a:lnTo>
                    <a:pt x="5213593" y="12880386"/>
                  </a:lnTo>
                  <a:lnTo>
                    <a:pt x="5156595" y="12913888"/>
                  </a:lnTo>
                  <a:lnTo>
                    <a:pt x="5150159" y="12957330"/>
                  </a:lnTo>
                  <a:lnTo>
                    <a:pt x="5145719" y="12987297"/>
                  </a:lnTo>
                  <a:lnTo>
                    <a:pt x="5124464" y="13060152"/>
                  </a:lnTo>
                  <a:lnTo>
                    <a:pt x="5128396" y="13083825"/>
                  </a:lnTo>
                  <a:lnTo>
                    <a:pt x="5133136" y="13112176"/>
                  </a:lnTo>
                  <a:lnTo>
                    <a:pt x="5165293" y="13120632"/>
                  </a:lnTo>
                  <a:lnTo>
                    <a:pt x="5169196" y="13158639"/>
                  </a:lnTo>
                  <a:lnTo>
                    <a:pt x="5173490" y="13200425"/>
                  </a:lnTo>
                  <a:lnTo>
                    <a:pt x="5138894" y="13237270"/>
                  </a:lnTo>
                  <a:lnTo>
                    <a:pt x="5137911" y="13278337"/>
                  </a:lnTo>
                  <a:lnTo>
                    <a:pt x="5146946" y="13317351"/>
                  </a:lnTo>
                  <a:lnTo>
                    <a:pt x="5174597" y="13341542"/>
                  </a:lnTo>
                  <a:lnTo>
                    <a:pt x="5196084" y="13352549"/>
                  </a:lnTo>
                  <a:lnTo>
                    <a:pt x="5212722" y="13368105"/>
                  </a:lnTo>
                  <a:lnTo>
                    <a:pt x="5260208" y="13412608"/>
                  </a:lnTo>
                  <a:lnTo>
                    <a:pt x="5316865" y="13502977"/>
                  </a:lnTo>
                  <a:lnTo>
                    <a:pt x="5339226" y="13563975"/>
                  </a:lnTo>
                  <a:lnTo>
                    <a:pt x="5363622" y="13630535"/>
                  </a:lnTo>
                  <a:lnTo>
                    <a:pt x="5316396" y="13686476"/>
                  </a:lnTo>
                  <a:lnTo>
                    <a:pt x="5335152" y="13744885"/>
                  </a:lnTo>
                  <a:lnTo>
                    <a:pt x="5364862" y="13735230"/>
                  </a:lnTo>
                  <a:lnTo>
                    <a:pt x="5367156" y="13706918"/>
                  </a:lnTo>
                  <a:lnTo>
                    <a:pt x="5407154" y="13659107"/>
                  </a:lnTo>
                  <a:lnTo>
                    <a:pt x="5471230" y="13667436"/>
                  </a:lnTo>
                  <a:lnTo>
                    <a:pt x="5505176" y="13633348"/>
                  </a:lnTo>
                  <a:lnTo>
                    <a:pt x="5514019" y="13610943"/>
                  </a:lnTo>
                  <a:lnTo>
                    <a:pt x="5502286" y="13578424"/>
                  </a:lnTo>
                  <a:lnTo>
                    <a:pt x="5505176" y="13553092"/>
                  </a:lnTo>
                  <a:lnTo>
                    <a:pt x="5520942" y="13536730"/>
                  </a:lnTo>
                  <a:lnTo>
                    <a:pt x="5543852" y="13541704"/>
                  </a:lnTo>
                  <a:lnTo>
                    <a:pt x="5582619" y="13564654"/>
                  </a:lnTo>
                  <a:lnTo>
                    <a:pt x="5642256" y="13549440"/>
                  </a:lnTo>
                  <a:lnTo>
                    <a:pt x="5672480" y="13502766"/>
                  </a:lnTo>
                  <a:lnTo>
                    <a:pt x="5704695" y="13475689"/>
                  </a:lnTo>
                  <a:lnTo>
                    <a:pt x="5779977" y="13459451"/>
                  </a:lnTo>
                  <a:lnTo>
                    <a:pt x="5789456" y="13412992"/>
                  </a:lnTo>
                  <a:lnTo>
                    <a:pt x="5779193" y="13336054"/>
                  </a:lnTo>
                  <a:lnTo>
                    <a:pt x="5688374" y="13374821"/>
                  </a:lnTo>
                  <a:lnTo>
                    <a:pt x="5647995" y="13342262"/>
                  </a:lnTo>
                  <a:lnTo>
                    <a:pt x="5558264" y="13223373"/>
                  </a:lnTo>
                  <a:lnTo>
                    <a:pt x="5540181" y="13178148"/>
                  </a:lnTo>
                  <a:lnTo>
                    <a:pt x="5545489" y="13111029"/>
                  </a:lnTo>
                  <a:lnTo>
                    <a:pt x="5563665" y="13086544"/>
                  </a:lnTo>
                  <a:lnTo>
                    <a:pt x="5585422" y="13070219"/>
                  </a:lnTo>
                  <a:lnTo>
                    <a:pt x="5612118" y="13055944"/>
                  </a:lnTo>
                  <a:lnTo>
                    <a:pt x="5644445" y="13052158"/>
                  </a:lnTo>
                  <a:lnTo>
                    <a:pt x="5672480" y="13041660"/>
                  </a:lnTo>
                  <a:lnTo>
                    <a:pt x="5698404" y="13031924"/>
                  </a:lnTo>
                  <a:lnTo>
                    <a:pt x="5720062" y="13007907"/>
                  </a:lnTo>
                  <a:lnTo>
                    <a:pt x="5745927" y="13000850"/>
                  </a:lnTo>
                  <a:lnTo>
                    <a:pt x="5769051" y="12994525"/>
                  </a:lnTo>
                  <a:lnTo>
                    <a:pt x="5807880" y="13009054"/>
                  </a:lnTo>
                  <a:lnTo>
                    <a:pt x="5833556" y="12992224"/>
                  </a:lnTo>
                  <a:lnTo>
                    <a:pt x="5853173" y="12952223"/>
                  </a:lnTo>
                  <a:lnTo>
                    <a:pt x="5875150" y="12930125"/>
                  </a:lnTo>
                  <a:lnTo>
                    <a:pt x="5905071" y="12949172"/>
                  </a:lnTo>
                  <a:lnTo>
                    <a:pt x="5898442" y="13049737"/>
                  </a:lnTo>
                  <a:lnTo>
                    <a:pt x="5939416" y="13008632"/>
                  </a:lnTo>
                  <a:lnTo>
                    <a:pt x="5982601" y="13057987"/>
                  </a:lnTo>
                  <a:lnTo>
                    <a:pt x="6003365" y="13081704"/>
                  </a:lnTo>
                  <a:lnTo>
                    <a:pt x="5998711" y="13112772"/>
                  </a:lnTo>
                  <a:lnTo>
                    <a:pt x="6013886" y="13138234"/>
                  </a:lnTo>
                  <a:lnTo>
                    <a:pt x="6044045" y="13126377"/>
                  </a:lnTo>
                  <a:lnTo>
                    <a:pt x="6038055" y="13102701"/>
                  </a:lnTo>
                  <a:lnTo>
                    <a:pt x="6035649" y="13081109"/>
                  </a:lnTo>
                  <a:lnTo>
                    <a:pt x="6039342" y="13045700"/>
                  </a:lnTo>
                  <a:lnTo>
                    <a:pt x="6037773" y="13018030"/>
                  </a:lnTo>
                  <a:lnTo>
                    <a:pt x="6014115" y="12978578"/>
                  </a:lnTo>
                  <a:lnTo>
                    <a:pt x="5996727" y="12938500"/>
                  </a:lnTo>
                  <a:lnTo>
                    <a:pt x="5976217" y="12897098"/>
                  </a:lnTo>
                  <a:lnTo>
                    <a:pt x="5971712" y="12868917"/>
                  </a:lnTo>
                  <a:lnTo>
                    <a:pt x="5963297" y="12816250"/>
                  </a:lnTo>
                  <a:lnTo>
                    <a:pt x="5988653" y="12696679"/>
                  </a:lnTo>
                  <a:lnTo>
                    <a:pt x="6016596" y="12649929"/>
                  </a:lnTo>
                  <a:lnTo>
                    <a:pt x="6057681" y="12707863"/>
                  </a:lnTo>
                  <a:lnTo>
                    <a:pt x="6018937" y="12780039"/>
                  </a:lnTo>
                  <a:lnTo>
                    <a:pt x="6034284" y="12809069"/>
                  </a:lnTo>
                  <a:lnTo>
                    <a:pt x="6079063" y="12842652"/>
                  </a:lnTo>
                  <a:lnTo>
                    <a:pt x="6084610" y="12890680"/>
                  </a:lnTo>
                  <a:lnTo>
                    <a:pt x="6103189" y="12864071"/>
                  </a:lnTo>
                  <a:lnTo>
                    <a:pt x="6156640" y="12740376"/>
                  </a:lnTo>
                  <a:lnTo>
                    <a:pt x="6153790" y="12703181"/>
                  </a:lnTo>
                  <a:lnTo>
                    <a:pt x="6129513" y="12688184"/>
                  </a:lnTo>
                  <a:lnTo>
                    <a:pt x="6125411" y="12663525"/>
                  </a:lnTo>
                  <a:lnTo>
                    <a:pt x="6120862" y="12636236"/>
                  </a:lnTo>
                  <a:lnTo>
                    <a:pt x="6125380" y="12611326"/>
                  </a:lnTo>
                  <a:lnTo>
                    <a:pt x="6130858" y="12584630"/>
                  </a:lnTo>
                  <a:lnTo>
                    <a:pt x="6149812" y="12492270"/>
                  </a:lnTo>
                  <a:lnTo>
                    <a:pt x="6200225" y="12502511"/>
                  </a:lnTo>
                  <a:lnTo>
                    <a:pt x="6275039" y="12526147"/>
                  </a:lnTo>
                  <a:lnTo>
                    <a:pt x="6296591" y="12532947"/>
                  </a:lnTo>
                  <a:lnTo>
                    <a:pt x="6323709" y="12538050"/>
                  </a:lnTo>
                  <a:lnTo>
                    <a:pt x="6343050" y="12549268"/>
                  </a:lnTo>
                  <a:lnTo>
                    <a:pt x="6385593" y="12574008"/>
                  </a:lnTo>
                  <a:lnTo>
                    <a:pt x="6411954" y="12650053"/>
                  </a:lnTo>
                  <a:lnTo>
                    <a:pt x="6435544" y="12692087"/>
                  </a:lnTo>
                  <a:lnTo>
                    <a:pt x="6461830" y="12727459"/>
                  </a:lnTo>
                  <a:lnTo>
                    <a:pt x="6473622" y="12745138"/>
                  </a:lnTo>
                  <a:lnTo>
                    <a:pt x="6498129" y="12716873"/>
                  </a:lnTo>
                  <a:lnTo>
                    <a:pt x="6499620" y="12661404"/>
                  </a:lnTo>
                  <a:lnTo>
                    <a:pt x="6525315" y="12647203"/>
                  </a:lnTo>
                  <a:lnTo>
                    <a:pt x="6545506" y="12655454"/>
                  </a:lnTo>
                  <a:lnTo>
                    <a:pt x="6555025" y="12681127"/>
                  </a:lnTo>
                  <a:lnTo>
                    <a:pt x="6576999" y="12692087"/>
                  </a:lnTo>
                  <a:lnTo>
                    <a:pt x="6607375" y="12669177"/>
                  </a:lnTo>
                  <a:lnTo>
                    <a:pt x="6599084" y="12645588"/>
                  </a:lnTo>
                  <a:lnTo>
                    <a:pt x="6606370" y="12606527"/>
                  </a:lnTo>
                  <a:lnTo>
                    <a:pt x="6624205" y="12592797"/>
                  </a:lnTo>
                  <a:lnTo>
                    <a:pt x="6609986" y="12546890"/>
                  </a:lnTo>
                  <a:lnTo>
                    <a:pt x="6595940" y="12519521"/>
                  </a:lnTo>
                  <a:lnTo>
                    <a:pt x="6589246" y="12492146"/>
                  </a:lnTo>
                  <a:lnTo>
                    <a:pt x="6594895" y="12460982"/>
                  </a:lnTo>
                  <a:lnTo>
                    <a:pt x="6628564" y="12428550"/>
                  </a:lnTo>
                  <a:lnTo>
                    <a:pt x="6639572" y="12395569"/>
                  </a:lnTo>
                  <a:lnTo>
                    <a:pt x="6649075" y="12367047"/>
                  </a:lnTo>
                  <a:lnTo>
                    <a:pt x="6653003" y="12270392"/>
                  </a:lnTo>
                  <a:lnTo>
                    <a:pt x="6672215" y="12247308"/>
                  </a:lnTo>
                  <a:lnTo>
                    <a:pt x="6700483" y="12268473"/>
                  </a:lnTo>
                  <a:lnTo>
                    <a:pt x="6720332" y="12311233"/>
                  </a:lnTo>
                  <a:lnTo>
                    <a:pt x="6734102" y="12341194"/>
                  </a:lnTo>
                  <a:lnTo>
                    <a:pt x="6745661" y="12375164"/>
                  </a:lnTo>
                  <a:lnTo>
                    <a:pt x="6742247" y="12408443"/>
                  </a:lnTo>
                  <a:lnTo>
                    <a:pt x="6704820" y="12423366"/>
                  </a:lnTo>
                  <a:lnTo>
                    <a:pt x="6710302" y="12462216"/>
                  </a:lnTo>
                  <a:lnTo>
                    <a:pt x="6719548" y="12481812"/>
                  </a:lnTo>
                  <a:lnTo>
                    <a:pt x="6740586" y="12489033"/>
                  </a:lnTo>
                  <a:lnTo>
                    <a:pt x="6749745" y="12511184"/>
                  </a:lnTo>
                  <a:lnTo>
                    <a:pt x="6774463" y="12571071"/>
                  </a:lnTo>
                  <a:lnTo>
                    <a:pt x="6740248" y="12599126"/>
                  </a:lnTo>
                  <a:lnTo>
                    <a:pt x="6744303" y="12652645"/>
                  </a:lnTo>
                  <a:lnTo>
                    <a:pt x="6773613" y="12629688"/>
                  </a:lnTo>
                  <a:lnTo>
                    <a:pt x="6804517" y="12610009"/>
                  </a:lnTo>
                  <a:lnTo>
                    <a:pt x="6834081" y="12588714"/>
                  </a:lnTo>
                  <a:lnTo>
                    <a:pt x="6864708" y="12566693"/>
                  </a:lnTo>
                  <a:lnTo>
                    <a:pt x="6892629" y="12535281"/>
                  </a:lnTo>
                  <a:lnTo>
                    <a:pt x="6919768" y="12509819"/>
                  </a:lnTo>
                  <a:lnTo>
                    <a:pt x="6957239" y="12484019"/>
                  </a:lnTo>
                  <a:lnTo>
                    <a:pt x="6994437" y="12451460"/>
                  </a:lnTo>
                  <a:lnTo>
                    <a:pt x="7015452" y="12430206"/>
                  </a:lnTo>
                  <a:lnTo>
                    <a:pt x="7038108" y="12411884"/>
                  </a:lnTo>
                  <a:lnTo>
                    <a:pt x="7066566" y="12388934"/>
                  </a:lnTo>
                  <a:lnTo>
                    <a:pt x="7105568" y="12377880"/>
                  </a:lnTo>
                  <a:lnTo>
                    <a:pt x="7131960" y="12352037"/>
                  </a:lnTo>
                  <a:lnTo>
                    <a:pt x="7148282" y="12330274"/>
                  </a:lnTo>
                  <a:lnTo>
                    <a:pt x="7164222" y="12303708"/>
                  </a:lnTo>
                  <a:lnTo>
                    <a:pt x="7180292" y="12272039"/>
                  </a:lnTo>
                  <a:lnTo>
                    <a:pt x="7198613" y="12247302"/>
                  </a:lnTo>
                  <a:lnTo>
                    <a:pt x="7219077" y="12219670"/>
                  </a:lnTo>
                  <a:lnTo>
                    <a:pt x="7244245" y="12194682"/>
                  </a:lnTo>
                  <a:lnTo>
                    <a:pt x="7262544" y="12165692"/>
                  </a:lnTo>
                  <a:lnTo>
                    <a:pt x="7279607" y="12138658"/>
                  </a:lnTo>
                  <a:lnTo>
                    <a:pt x="7299820" y="12095125"/>
                  </a:lnTo>
                  <a:lnTo>
                    <a:pt x="7311512" y="12065031"/>
                  </a:lnTo>
                  <a:lnTo>
                    <a:pt x="7342667" y="11965958"/>
                  </a:lnTo>
                  <a:lnTo>
                    <a:pt x="7440918" y="11823092"/>
                  </a:lnTo>
                  <a:lnTo>
                    <a:pt x="7511456" y="11749472"/>
                  </a:lnTo>
                  <a:lnTo>
                    <a:pt x="7548099" y="11711254"/>
                  </a:lnTo>
                  <a:lnTo>
                    <a:pt x="7656598" y="11621101"/>
                  </a:lnTo>
                  <a:lnTo>
                    <a:pt x="7674680" y="11576726"/>
                  </a:lnTo>
                  <a:lnTo>
                    <a:pt x="7727961" y="11544253"/>
                  </a:lnTo>
                  <a:lnTo>
                    <a:pt x="7756675" y="11517347"/>
                  </a:lnTo>
                  <a:lnTo>
                    <a:pt x="7775338" y="11488307"/>
                  </a:lnTo>
                  <a:lnTo>
                    <a:pt x="7822392" y="11424766"/>
                  </a:lnTo>
                  <a:lnTo>
                    <a:pt x="7903854" y="11342641"/>
                  </a:lnTo>
                  <a:lnTo>
                    <a:pt x="7968483" y="11297881"/>
                  </a:lnTo>
                  <a:lnTo>
                    <a:pt x="8003910" y="11270636"/>
                  </a:lnTo>
                  <a:lnTo>
                    <a:pt x="8058406" y="11184561"/>
                  </a:lnTo>
                  <a:lnTo>
                    <a:pt x="8070625" y="11042678"/>
                  </a:lnTo>
                  <a:lnTo>
                    <a:pt x="8096345" y="11004076"/>
                  </a:lnTo>
                  <a:lnTo>
                    <a:pt x="8119698" y="10969011"/>
                  </a:lnTo>
                  <a:lnTo>
                    <a:pt x="8160766" y="10969479"/>
                  </a:lnTo>
                  <a:lnTo>
                    <a:pt x="8186116" y="10933348"/>
                  </a:lnTo>
                  <a:lnTo>
                    <a:pt x="8243564" y="10851524"/>
                  </a:lnTo>
                  <a:lnTo>
                    <a:pt x="8258229" y="10744792"/>
                  </a:lnTo>
                  <a:lnTo>
                    <a:pt x="8318058" y="10664031"/>
                  </a:lnTo>
                  <a:lnTo>
                    <a:pt x="8342692" y="10640653"/>
                  </a:lnTo>
                  <a:lnTo>
                    <a:pt x="8379543" y="10588157"/>
                  </a:lnTo>
                  <a:lnTo>
                    <a:pt x="8401135" y="10543273"/>
                  </a:lnTo>
                  <a:lnTo>
                    <a:pt x="8429593" y="10504891"/>
                  </a:lnTo>
                  <a:lnTo>
                    <a:pt x="8462363" y="10460599"/>
                  </a:lnTo>
                  <a:lnTo>
                    <a:pt x="8512313" y="10428291"/>
                  </a:lnTo>
                  <a:lnTo>
                    <a:pt x="8545207" y="10383834"/>
                  </a:lnTo>
                  <a:lnTo>
                    <a:pt x="8587335" y="10326957"/>
                  </a:lnTo>
                  <a:lnTo>
                    <a:pt x="8688408" y="10068564"/>
                  </a:lnTo>
                  <a:lnTo>
                    <a:pt x="8674427" y="10005693"/>
                  </a:lnTo>
                  <a:lnTo>
                    <a:pt x="8662437" y="9981338"/>
                  </a:lnTo>
                  <a:lnTo>
                    <a:pt x="8618403" y="9965103"/>
                  </a:lnTo>
                  <a:lnTo>
                    <a:pt x="8514666" y="9908183"/>
                  </a:lnTo>
                  <a:lnTo>
                    <a:pt x="8552007" y="9854710"/>
                  </a:lnTo>
                  <a:lnTo>
                    <a:pt x="8621637" y="9829552"/>
                  </a:lnTo>
                  <a:lnTo>
                    <a:pt x="8695576" y="9930203"/>
                  </a:lnTo>
                  <a:lnTo>
                    <a:pt x="8751957" y="9924083"/>
                  </a:lnTo>
                  <a:lnTo>
                    <a:pt x="8763309" y="9906146"/>
                  </a:lnTo>
                  <a:lnTo>
                    <a:pt x="8770028" y="9869205"/>
                  </a:lnTo>
                  <a:lnTo>
                    <a:pt x="8775085" y="9847911"/>
                  </a:lnTo>
                  <a:lnTo>
                    <a:pt x="8794659" y="9823385"/>
                  </a:lnTo>
                  <a:lnTo>
                    <a:pt x="8814701" y="9804769"/>
                  </a:lnTo>
                  <a:lnTo>
                    <a:pt x="8836293" y="9796221"/>
                  </a:lnTo>
                  <a:lnTo>
                    <a:pt x="8871166" y="9773825"/>
                  </a:lnTo>
                  <a:lnTo>
                    <a:pt x="8906022" y="9744794"/>
                  </a:lnTo>
                  <a:lnTo>
                    <a:pt x="8935586" y="9715974"/>
                  </a:lnTo>
                  <a:lnTo>
                    <a:pt x="8946811" y="9678950"/>
                  </a:lnTo>
                  <a:lnTo>
                    <a:pt x="8963768" y="9640311"/>
                  </a:lnTo>
                  <a:lnTo>
                    <a:pt x="8972313" y="9598992"/>
                  </a:lnTo>
                  <a:lnTo>
                    <a:pt x="8981367" y="9555172"/>
                  </a:lnTo>
                  <a:lnTo>
                    <a:pt x="8984514" y="9506415"/>
                  </a:lnTo>
                  <a:lnTo>
                    <a:pt x="9000875" y="9464331"/>
                  </a:lnTo>
                  <a:lnTo>
                    <a:pt x="9011737" y="9436450"/>
                  </a:lnTo>
                  <a:lnTo>
                    <a:pt x="9032439" y="9407971"/>
                  </a:lnTo>
                  <a:lnTo>
                    <a:pt x="9040321" y="9380004"/>
                  </a:lnTo>
                  <a:lnTo>
                    <a:pt x="9045034" y="9348974"/>
                  </a:lnTo>
                  <a:lnTo>
                    <a:pt x="9032241" y="9319304"/>
                  </a:lnTo>
                  <a:lnTo>
                    <a:pt x="9008314" y="9300180"/>
                  </a:lnTo>
                  <a:lnTo>
                    <a:pt x="8983912" y="9245256"/>
                  </a:lnTo>
                  <a:lnTo>
                    <a:pt x="9011157" y="9201817"/>
                  </a:lnTo>
                  <a:lnTo>
                    <a:pt x="8994070" y="9162371"/>
                  </a:lnTo>
                  <a:lnTo>
                    <a:pt x="8976027" y="9120718"/>
                  </a:lnTo>
                  <a:lnTo>
                    <a:pt x="8903384" y="9125049"/>
                  </a:lnTo>
                  <a:lnTo>
                    <a:pt x="8883897" y="9053556"/>
                  </a:lnTo>
                  <a:lnTo>
                    <a:pt x="8881580" y="9028773"/>
                  </a:lnTo>
                  <a:lnTo>
                    <a:pt x="8901635" y="8986651"/>
                  </a:lnTo>
                  <a:lnTo>
                    <a:pt x="8932731" y="8964464"/>
                  </a:lnTo>
                  <a:lnTo>
                    <a:pt x="8953260" y="8936574"/>
                  </a:lnTo>
                  <a:lnTo>
                    <a:pt x="8985159" y="8893265"/>
                  </a:lnTo>
                  <a:lnTo>
                    <a:pt x="9012363" y="8800554"/>
                  </a:lnTo>
                  <a:lnTo>
                    <a:pt x="9066158" y="8782875"/>
                  </a:lnTo>
                  <a:lnTo>
                    <a:pt x="9125138" y="8763536"/>
                  </a:lnTo>
                  <a:lnTo>
                    <a:pt x="9145543" y="8836775"/>
                  </a:lnTo>
                  <a:lnTo>
                    <a:pt x="9234824" y="8803280"/>
                  </a:lnTo>
                  <a:lnTo>
                    <a:pt x="9295199" y="8780624"/>
                  </a:lnTo>
                  <a:lnTo>
                    <a:pt x="9377392" y="8744319"/>
                  </a:lnTo>
                  <a:lnTo>
                    <a:pt x="9429333" y="8705345"/>
                  </a:lnTo>
                  <a:lnTo>
                    <a:pt x="9458832" y="8683200"/>
                  </a:lnTo>
                  <a:lnTo>
                    <a:pt x="9486592" y="8649196"/>
                  </a:lnTo>
                  <a:lnTo>
                    <a:pt x="9521827" y="8635972"/>
                  </a:lnTo>
                  <a:lnTo>
                    <a:pt x="9566922" y="8619055"/>
                  </a:lnTo>
                  <a:lnTo>
                    <a:pt x="9588133" y="8650256"/>
                  </a:lnTo>
                  <a:lnTo>
                    <a:pt x="9618397" y="8641414"/>
                  </a:lnTo>
                  <a:lnTo>
                    <a:pt x="9669281" y="8601797"/>
                  </a:lnTo>
                  <a:lnTo>
                    <a:pt x="9758268" y="8539358"/>
                  </a:lnTo>
                  <a:lnTo>
                    <a:pt x="9818348" y="8518999"/>
                  </a:lnTo>
                  <a:lnTo>
                    <a:pt x="9856222" y="8506160"/>
                  </a:lnTo>
                  <a:lnTo>
                    <a:pt x="9898151" y="8498039"/>
                  </a:lnTo>
                  <a:lnTo>
                    <a:pt x="9935327" y="8483631"/>
                  </a:lnTo>
                  <a:lnTo>
                    <a:pt x="9956709" y="8475340"/>
                  </a:lnTo>
                  <a:lnTo>
                    <a:pt x="9978769" y="8466122"/>
                  </a:lnTo>
                  <a:lnTo>
                    <a:pt x="10001974" y="8463232"/>
                  </a:lnTo>
                  <a:lnTo>
                    <a:pt x="10061825" y="8455747"/>
                  </a:lnTo>
                  <a:lnTo>
                    <a:pt x="10122609" y="8475169"/>
                  </a:lnTo>
                  <a:lnTo>
                    <a:pt x="10182887" y="8461874"/>
                  </a:lnTo>
                  <a:lnTo>
                    <a:pt x="10276850" y="8441193"/>
                  </a:lnTo>
                  <a:lnTo>
                    <a:pt x="10321586" y="8395590"/>
                  </a:lnTo>
                  <a:lnTo>
                    <a:pt x="10424999" y="8406101"/>
                  </a:lnTo>
                  <a:lnTo>
                    <a:pt x="10422531" y="8375619"/>
                  </a:lnTo>
                  <a:lnTo>
                    <a:pt x="10420172" y="8340672"/>
                  </a:lnTo>
                  <a:lnTo>
                    <a:pt x="10408697" y="8291137"/>
                  </a:lnTo>
                  <a:lnTo>
                    <a:pt x="10399212" y="8262984"/>
                  </a:lnTo>
                  <a:lnTo>
                    <a:pt x="10393711" y="8241519"/>
                  </a:lnTo>
                  <a:lnTo>
                    <a:pt x="10388022" y="8219287"/>
                  </a:lnTo>
                  <a:lnTo>
                    <a:pt x="10386273" y="8191106"/>
                  </a:lnTo>
                  <a:lnTo>
                    <a:pt x="10381473" y="8168066"/>
                  </a:lnTo>
                  <a:lnTo>
                    <a:pt x="10355627" y="8042926"/>
                  </a:lnTo>
                  <a:lnTo>
                    <a:pt x="10362076" y="8008060"/>
                  </a:lnTo>
                  <a:lnTo>
                    <a:pt x="10373310" y="7987159"/>
                  </a:lnTo>
                  <a:lnTo>
                    <a:pt x="10384546" y="7966261"/>
                  </a:lnTo>
                  <a:lnTo>
                    <a:pt x="10397373" y="7944523"/>
                  </a:lnTo>
                  <a:lnTo>
                    <a:pt x="10395020" y="7894541"/>
                  </a:lnTo>
                  <a:lnTo>
                    <a:pt x="10383588" y="7869011"/>
                  </a:lnTo>
                  <a:lnTo>
                    <a:pt x="10373310" y="7841624"/>
                  </a:lnTo>
                  <a:lnTo>
                    <a:pt x="10363034" y="7814227"/>
                  </a:lnTo>
                  <a:lnTo>
                    <a:pt x="10352988" y="7784787"/>
                  </a:lnTo>
                  <a:lnTo>
                    <a:pt x="10355627" y="7747766"/>
                  </a:lnTo>
                  <a:lnTo>
                    <a:pt x="10361912" y="7709126"/>
                  </a:lnTo>
                  <a:lnTo>
                    <a:pt x="10371105" y="7672155"/>
                  </a:lnTo>
                  <a:lnTo>
                    <a:pt x="10378748" y="7634867"/>
                  </a:lnTo>
                  <a:lnTo>
                    <a:pt x="10378748" y="7607663"/>
                  </a:lnTo>
                  <a:lnTo>
                    <a:pt x="10370438" y="7560912"/>
                  </a:lnTo>
                  <a:lnTo>
                    <a:pt x="10359710" y="7506035"/>
                  </a:lnTo>
                  <a:lnTo>
                    <a:pt x="10359710" y="7458044"/>
                  </a:lnTo>
                  <a:lnTo>
                    <a:pt x="10363785" y="7436281"/>
                  </a:lnTo>
                  <a:lnTo>
                    <a:pt x="10356591" y="7395775"/>
                  </a:lnTo>
                  <a:lnTo>
                    <a:pt x="10345187" y="7364350"/>
                  </a:lnTo>
                  <a:lnTo>
                    <a:pt x="10320258" y="7338346"/>
                  </a:lnTo>
                  <a:lnTo>
                    <a:pt x="10290198" y="7315448"/>
                  </a:lnTo>
                  <a:lnTo>
                    <a:pt x="10241634" y="7286200"/>
                  </a:lnTo>
                  <a:lnTo>
                    <a:pt x="10209413" y="7269978"/>
                  </a:lnTo>
                  <a:lnTo>
                    <a:pt x="10197838" y="7247210"/>
                  </a:lnTo>
                  <a:lnTo>
                    <a:pt x="10180230" y="7212567"/>
                  </a:lnTo>
                  <a:lnTo>
                    <a:pt x="10171499" y="7179534"/>
                  </a:lnTo>
                  <a:lnTo>
                    <a:pt x="10158392" y="7149278"/>
                  </a:lnTo>
                  <a:lnTo>
                    <a:pt x="10145296" y="7119026"/>
                  </a:lnTo>
                  <a:lnTo>
                    <a:pt x="10127139" y="7090702"/>
                  </a:lnTo>
                  <a:lnTo>
                    <a:pt x="10091745" y="7066307"/>
                  </a:lnTo>
                  <a:lnTo>
                    <a:pt x="10055149" y="7037152"/>
                  </a:lnTo>
                  <a:lnTo>
                    <a:pt x="10034614" y="7032303"/>
                  </a:lnTo>
                  <a:lnTo>
                    <a:pt x="10001804" y="7003272"/>
                  </a:lnTo>
                  <a:lnTo>
                    <a:pt x="9970754" y="6988091"/>
                  </a:lnTo>
                  <a:lnTo>
                    <a:pt x="9951642" y="6971091"/>
                  </a:lnTo>
                  <a:lnTo>
                    <a:pt x="9924893" y="6947300"/>
                  </a:lnTo>
                  <a:lnTo>
                    <a:pt x="9908051" y="6908332"/>
                  </a:lnTo>
                  <a:lnTo>
                    <a:pt x="9895875" y="6867714"/>
                  </a:lnTo>
                  <a:lnTo>
                    <a:pt x="9883696" y="6827103"/>
                  </a:lnTo>
                  <a:lnTo>
                    <a:pt x="9876258" y="6784894"/>
                  </a:lnTo>
                  <a:lnTo>
                    <a:pt x="9868674" y="6750741"/>
                  </a:lnTo>
                  <a:lnTo>
                    <a:pt x="9868212" y="6717119"/>
                  </a:lnTo>
                  <a:lnTo>
                    <a:pt x="9865948" y="6688175"/>
                  </a:lnTo>
                  <a:lnTo>
                    <a:pt x="9979039" y="6676185"/>
                  </a:lnTo>
                  <a:lnTo>
                    <a:pt x="10046821" y="6666920"/>
                  </a:lnTo>
                  <a:lnTo>
                    <a:pt x="10074156" y="6673348"/>
                  </a:lnTo>
                  <a:lnTo>
                    <a:pt x="10112051" y="6656750"/>
                  </a:lnTo>
                  <a:lnTo>
                    <a:pt x="10121489" y="6634612"/>
                  </a:lnTo>
                  <a:lnTo>
                    <a:pt x="10143435" y="6569835"/>
                  </a:lnTo>
                  <a:lnTo>
                    <a:pt x="10204340" y="6560992"/>
                  </a:lnTo>
                  <a:lnTo>
                    <a:pt x="10235923" y="6599755"/>
                  </a:lnTo>
                  <a:lnTo>
                    <a:pt x="10269834" y="6590978"/>
                  </a:lnTo>
                  <a:lnTo>
                    <a:pt x="10292409" y="6584330"/>
                  </a:lnTo>
                  <a:lnTo>
                    <a:pt x="10314817" y="6580718"/>
                  </a:lnTo>
                  <a:lnTo>
                    <a:pt x="10337228" y="6577102"/>
                  </a:lnTo>
                  <a:lnTo>
                    <a:pt x="10359841" y="6576913"/>
                  </a:lnTo>
                  <a:lnTo>
                    <a:pt x="10385396" y="6576575"/>
                  </a:lnTo>
                  <a:lnTo>
                    <a:pt x="10417784" y="6578975"/>
                  </a:lnTo>
                  <a:lnTo>
                    <a:pt x="10543693" y="6572092"/>
                  </a:lnTo>
                  <a:lnTo>
                    <a:pt x="10566538" y="6542376"/>
                  </a:lnTo>
                  <a:lnTo>
                    <a:pt x="10561416" y="6516191"/>
                  </a:lnTo>
                  <a:lnTo>
                    <a:pt x="10575976" y="6489582"/>
                  </a:lnTo>
                  <a:lnTo>
                    <a:pt x="10656250" y="6453922"/>
                  </a:lnTo>
                  <a:lnTo>
                    <a:pt x="10690010" y="6421444"/>
                  </a:lnTo>
                  <a:lnTo>
                    <a:pt x="10703739" y="6387328"/>
                  </a:lnTo>
                  <a:lnTo>
                    <a:pt x="10711996" y="6350846"/>
                  </a:lnTo>
                  <a:lnTo>
                    <a:pt x="10720253" y="6314356"/>
                  </a:lnTo>
                  <a:lnTo>
                    <a:pt x="10723682" y="6275880"/>
                  </a:lnTo>
                  <a:lnTo>
                    <a:pt x="10725595" y="6243386"/>
                  </a:lnTo>
                  <a:lnTo>
                    <a:pt x="10747358" y="6231148"/>
                  </a:lnTo>
                  <a:lnTo>
                    <a:pt x="10770485" y="6221623"/>
                  </a:lnTo>
                  <a:lnTo>
                    <a:pt x="10795718" y="6205634"/>
                  </a:lnTo>
                  <a:lnTo>
                    <a:pt x="10807813" y="6185926"/>
                  </a:lnTo>
                  <a:lnTo>
                    <a:pt x="10809931" y="6163134"/>
                  </a:lnTo>
                  <a:lnTo>
                    <a:pt x="10810452" y="6139861"/>
                  </a:lnTo>
                  <a:lnTo>
                    <a:pt x="10802272" y="6113125"/>
                  </a:lnTo>
                  <a:lnTo>
                    <a:pt x="10797684" y="6085604"/>
                  </a:lnTo>
                  <a:lnTo>
                    <a:pt x="10788444" y="6040844"/>
                  </a:lnTo>
                  <a:lnTo>
                    <a:pt x="10807404" y="6018535"/>
                  </a:lnTo>
                  <a:lnTo>
                    <a:pt x="10842450" y="5999147"/>
                  </a:lnTo>
                  <a:lnTo>
                    <a:pt x="10856096" y="5968116"/>
                  </a:lnTo>
                  <a:lnTo>
                    <a:pt x="10851228" y="5945932"/>
                  </a:lnTo>
                  <a:lnTo>
                    <a:pt x="10841830" y="5908644"/>
                  </a:lnTo>
                  <a:lnTo>
                    <a:pt x="10826259" y="5889737"/>
                  </a:lnTo>
                  <a:lnTo>
                    <a:pt x="10806486" y="5880906"/>
                  </a:lnTo>
                  <a:lnTo>
                    <a:pt x="10771936" y="5878823"/>
                  </a:lnTo>
                  <a:lnTo>
                    <a:pt x="10744701" y="5884763"/>
                  </a:lnTo>
                  <a:lnTo>
                    <a:pt x="10716086" y="5876137"/>
                  </a:lnTo>
                  <a:lnTo>
                    <a:pt x="10698437" y="5850139"/>
                  </a:lnTo>
                  <a:lnTo>
                    <a:pt x="10692924" y="5809642"/>
                  </a:lnTo>
                  <a:lnTo>
                    <a:pt x="10692509" y="5788385"/>
                  </a:lnTo>
                  <a:lnTo>
                    <a:pt x="10675158" y="5753122"/>
                  </a:lnTo>
                  <a:lnTo>
                    <a:pt x="10661506" y="5735061"/>
                  </a:lnTo>
                  <a:lnTo>
                    <a:pt x="10645355" y="5719719"/>
                  </a:lnTo>
                  <a:lnTo>
                    <a:pt x="10629198" y="5704374"/>
                  </a:lnTo>
                  <a:lnTo>
                    <a:pt x="10611100" y="5691705"/>
                  </a:lnTo>
                  <a:lnTo>
                    <a:pt x="10592304" y="5676193"/>
                  </a:lnTo>
                  <a:lnTo>
                    <a:pt x="10570563" y="5638102"/>
                  </a:lnTo>
                  <a:lnTo>
                    <a:pt x="10571576" y="5615152"/>
                  </a:lnTo>
                  <a:lnTo>
                    <a:pt x="10576556" y="5584037"/>
                  </a:lnTo>
                  <a:lnTo>
                    <a:pt x="10550136" y="5560572"/>
                  </a:lnTo>
                  <a:lnTo>
                    <a:pt x="10521567" y="5556554"/>
                  </a:lnTo>
                  <a:lnTo>
                    <a:pt x="10497628" y="5566789"/>
                  </a:lnTo>
                  <a:lnTo>
                    <a:pt x="10473973" y="5579616"/>
                  </a:lnTo>
                  <a:lnTo>
                    <a:pt x="10450309" y="5592437"/>
                  </a:lnTo>
                  <a:lnTo>
                    <a:pt x="10427570" y="5607118"/>
                  </a:lnTo>
                  <a:lnTo>
                    <a:pt x="10401878" y="5610904"/>
                  </a:lnTo>
                  <a:lnTo>
                    <a:pt x="10357546" y="5574243"/>
                  </a:lnTo>
                  <a:lnTo>
                    <a:pt x="10336648" y="5557794"/>
                  </a:lnTo>
                  <a:lnTo>
                    <a:pt x="10312107" y="5546973"/>
                  </a:lnTo>
                  <a:lnTo>
                    <a:pt x="10287560" y="5536158"/>
                  </a:lnTo>
                  <a:lnTo>
                    <a:pt x="10258907" y="5531296"/>
                  </a:lnTo>
                  <a:lnTo>
                    <a:pt x="10218255" y="5522494"/>
                  </a:lnTo>
                  <a:lnTo>
                    <a:pt x="10195820" y="5517632"/>
                  </a:lnTo>
                  <a:lnTo>
                    <a:pt x="10174723" y="5495289"/>
                  </a:lnTo>
                  <a:lnTo>
                    <a:pt x="10164705" y="5466231"/>
                  </a:lnTo>
                  <a:lnTo>
                    <a:pt x="10166197" y="5414665"/>
                  </a:lnTo>
                  <a:lnTo>
                    <a:pt x="10177616" y="5375170"/>
                  </a:lnTo>
                  <a:lnTo>
                    <a:pt x="10174723" y="5345664"/>
                  </a:lnTo>
                  <a:lnTo>
                    <a:pt x="10200408" y="5321771"/>
                  </a:lnTo>
                  <a:lnTo>
                    <a:pt x="10223691" y="5315744"/>
                  </a:lnTo>
                  <a:lnTo>
                    <a:pt x="10246976" y="5309713"/>
                  </a:lnTo>
                  <a:lnTo>
                    <a:pt x="10273257" y="5306178"/>
                  </a:lnTo>
                  <a:lnTo>
                    <a:pt x="10304411" y="5283479"/>
                  </a:lnTo>
                  <a:lnTo>
                    <a:pt x="10318287" y="5265319"/>
                  </a:lnTo>
                  <a:lnTo>
                    <a:pt x="10332512" y="5247735"/>
                  </a:lnTo>
                  <a:lnTo>
                    <a:pt x="10346738" y="5230146"/>
                  </a:lnTo>
                  <a:lnTo>
                    <a:pt x="10361689" y="5212959"/>
                  </a:lnTo>
                  <a:lnTo>
                    <a:pt x="10380115" y="5200126"/>
                  </a:lnTo>
                  <a:lnTo>
                    <a:pt x="10370069" y="5138576"/>
                  </a:lnTo>
                  <a:lnTo>
                    <a:pt x="10333383" y="5037621"/>
                  </a:lnTo>
                  <a:lnTo>
                    <a:pt x="10308024" y="5005617"/>
                  </a:lnTo>
                  <a:lnTo>
                    <a:pt x="10283585" y="5007623"/>
                  </a:lnTo>
                  <a:lnTo>
                    <a:pt x="10108761" y="5042991"/>
                  </a:lnTo>
                  <a:lnTo>
                    <a:pt x="10055493" y="5052554"/>
                  </a:lnTo>
                  <a:lnTo>
                    <a:pt x="10019071" y="5066060"/>
                  </a:lnTo>
                  <a:lnTo>
                    <a:pt x="9982943" y="5081795"/>
                  </a:lnTo>
                  <a:lnTo>
                    <a:pt x="9946815" y="5097524"/>
                  </a:lnTo>
                  <a:lnTo>
                    <a:pt x="9911394" y="5114953"/>
                  </a:lnTo>
                  <a:lnTo>
                    <a:pt x="9872770" y="5132121"/>
                  </a:lnTo>
                  <a:lnTo>
                    <a:pt x="9844198" y="5123963"/>
                  </a:lnTo>
                  <a:lnTo>
                    <a:pt x="9832406" y="5035550"/>
                  </a:lnTo>
                  <a:lnTo>
                    <a:pt x="9795639" y="5019353"/>
                  </a:lnTo>
                  <a:lnTo>
                    <a:pt x="9737593" y="5018767"/>
                  </a:lnTo>
                  <a:lnTo>
                    <a:pt x="9686415" y="5022459"/>
                  </a:lnTo>
                  <a:lnTo>
                    <a:pt x="9640173" y="5017870"/>
                  </a:lnTo>
                  <a:lnTo>
                    <a:pt x="9598092" y="5002780"/>
                  </a:lnTo>
                  <a:lnTo>
                    <a:pt x="9513120" y="4985224"/>
                  </a:lnTo>
                  <a:lnTo>
                    <a:pt x="9442966" y="4980465"/>
                  </a:lnTo>
                  <a:lnTo>
                    <a:pt x="9376291" y="4967545"/>
                  </a:lnTo>
                  <a:lnTo>
                    <a:pt x="9270199" y="4590759"/>
                  </a:lnTo>
                  <a:lnTo>
                    <a:pt x="9164106" y="4212620"/>
                  </a:lnTo>
                  <a:lnTo>
                    <a:pt x="9193208" y="4154559"/>
                  </a:lnTo>
                  <a:lnTo>
                    <a:pt x="9211715" y="4102444"/>
                  </a:lnTo>
                  <a:lnTo>
                    <a:pt x="9230207" y="4050333"/>
                  </a:lnTo>
                  <a:lnTo>
                    <a:pt x="9247564" y="3997006"/>
                  </a:lnTo>
                  <a:lnTo>
                    <a:pt x="9252748" y="3963832"/>
                  </a:lnTo>
                  <a:lnTo>
                    <a:pt x="9257068" y="3942993"/>
                  </a:lnTo>
                  <a:lnTo>
                    <a:pt x="9264283" y="3902804"/>
                  </a:lnTo>
                  <a:lnTo>
                    <a:pt x="9267482" y="3864409"/>
                  </a:lnTo>
                  <a:lnTo>
                    <a:pt x="9260677" y="3837205"/>
                  </a:lnTo>
                  <a:lnTo>
                    <a:pt x="9262035" y="3810000"/>
                  </a:lnTo>
                  <a:lnTo>
                    <a:pt x="9285162" y="3797760"/>
                  </a:lnTo>
                  <a:lnTo>
                    <a:pt x="9308283" y="3785521"/>
                  </a:lnTo>
                  <a:lnTo>
                    <a:pt x="9316000" y="3751174"/>
                  </a:lnTo>
                  <a:lnTo>
                    <a:pt x="9322608" y="3585530"/>
                  </a:lnTo>
                  <a:lnTo>
                    <a:pt x="9308283" y="3544760"/>
                  </a:lnTo>
                  <a:lnTo>
                    <a:pt x="9229395" y="3517556"/>
                  </a:lnTo>
                  <a:lnTo>
                    <a:pt x="9213793" y="3469816"/>
                  </a:lnTo>
                  <a:lnTo>
                    <a:pt x="9204910" y="3438668"/>
                  </a:lnTo>
                  <a:lnTo>
                    <a:pt x="9196026" y="3407521"/>
                  </a:lnTo>
                  <a:lnTo>
                    <a:pt x="9185863" y="3378140"/>
                  </a:lnTo>
                  <a:lnTo>
                    <a:pt x="9121727" y="3367212"/>
                  </a:lnTo>
                  <a:lnTo>
                    <a:pt x="9060407" y="3361686"/>
                  </a:lnTo>
                  <a:lnTo>
                    <a:pt x="9009039" y="3372013"/>
                  </a:lnTo>
                  <a:lnTo>
                    <a:pt x="9004556" y="3336117"/>
                  </a:lnTo>
                  <a:lnTo>
                    <a:pt x="9018859" y="3320052"/>
                  </a:lnTo>
                  <a:lnTo>
                    <a:pt x="9034886" y="3305366"/>
                  </a:lnTo>
                  <a:lnTo>
                    <a:pt x="9050910" y="3290678"/>
                  </a:lnTo>
                  <a:lnTo>
                    <a:pt x="9068909" y="3277205"/>
                  </a:lnTo>
                  <a:lnTo>
                    <a:pt x="9074654" y="3254657"/>
                  </a:lnTo>
                  <a:lnTo>
                    <a:pt x="9051440" y="3221030"/>
                  </a:lnTo>
                  <a:lnTo>
                    <a:pt x="9047133" y="3199267"/>
                  </a:lnTo>
                  <a:lnTo>
                    <a:pt x="9042225" y="3171937"/>
                  </a:lnTo>
                  <a:lnTo>
                    <a:pt x="9022626" y="3137934"/>
                  </a:lnTo>
                  <a:lnTo>
                    <a:pt x="9022645" y="3112213"/>
                  </a:lnTo>
                  <a:lnTo>
                    <a:pt x="8975293" y="3105882"/>
                  </a:lnTo>
                  <a:lnTo>
                    <a:pt x="8939782" y="3117529"/>
                  </a:lnTo>
                  <a:lnTo>
                    <a:pt x="8904314" y="3124460"/>
                  </a:lnTo>
                  <a:lnTo>
                    <a:pt x="8862397" y="3132618"/>
                  </a:lnTo>
                  <a:lnTo>
                    <a:pt x="8818400" y="3139253"/>
                  </a:lnTo>
                  <a:lnTo>
                    <a:pt x="8779168" y="3157105"/>
                  </a:lnTo>
                  <a:lnTo>
                    <a:pt x="8766394" y="3204147"/>
                  </a:lnTo>
                  <a:lnTo>
                    <a:pt x="8760127" y="3241435"/>
                  </a:lnTo>
                  <a:lnTo>
                    <a:pt x="8752391" y="3279138"/>
                  </a:lnTo>
                  <a:lnTo>
                    <a:pt x="8737943" y="3317994"/>
                  </a:lnTo>
                  <a:lnTo>
                    <a:pt x="8727410" y="3337455"/>
                  </a:lnTo>
                  <a:lnTo>
                    <a:pt x="8712521" y="3354332"/>
                  </a:lnTo>
                  <a:lnTo>
                    <a:pt x="8678756" y="3340027"/>
                  </a:lnTo>
                  <a:lnTo>
                    <a:pt x="8660837" y="3323047"/>
                  </a:lnTo>
                  <a:lnTo>
                    <a:pt x="8642919" y="3306065"/>
                  </a:lnTo>
                  <a:lnTo>
                    <a:pt x="8627794" y="3286193"/>
                  </a:lnTo>
                  <a:lnTo>
                    <a:pt x="8662664" y="3263540"/>
                  </a:lnTo>
                  <a:lnTo>
                    <a:pt x="8671711" y="3231911"/>
                  </a:lnTo>
                  <a:lnTo>
                    <a:pt x="8636349" y="3151665"/>
                  </a:lnTo>
                  <a:lnTo>
                    <a:pt x="8609098" y="3146013"/>
                  </a:lnTo>
                  <a:lnTo>
                    <a:pt x="8560000" y="3148037"/>
                  </a:lnTo>
                  <a:lnTo>
                    <a:pt x="8513928" y="3148947"/>
                  </a:lnTo>
                  <a:lnTo>
                    <a:pt x="8467857" y="3149857"/>
                  </a:lnTo>
                  <a:lnTo>
                    <a:pt x="8425035" y="3149409"/>
                  </a:lnTo>
                  <a:lnTo>
                    <a:pt x="8407836" y="3135342"/>
                  </a:lnTo>
                  <a:lnTo>
                    <a:pt x="8392978" y="3112853"/>
                  </a:lnTo>
                  <a:lnTo>
                    <a:pt x="8385539" y="3090114"/>
                  </a:lnTo>
                  <a:lnTo>
                    <a:pt x="8348428" y="3082213"/>
                  </a:lnTo>
                  <a:lnTo>
                    <a:pt x="8318058" y="3087740"/>
                  </a:lnTo>
                  <a:lnTo>
                    <a:pt x="8313956" y="3109246"/>
                  </a:lnTo>
                  <a:lnTo>
                    <a:pt x="8290537" y="3131781"/>
                  </a:lnTo>
                  <a:lnTo>
                    <a:pt x="8263652" y="3151665"/>
                  </a:lnTo>
                  <a:lnTo>
                    <a:pt x="8236764" y="3171555"/>
                  </a:lnTo>
                  <a:lnTo>
                    <a:pt x="8206670" y="3188201"/>
                  </a:lnTo>
                  <a:lnTo>
                    <a:pt x="8152118" y="3182950"/>
                  </a:lnTo>
                  <a:lnTo>
                    <a:pt x="8123549" y="3140782"/>
                  </a:lnTo>
                  <a:lnTo>
                    <a:pt x="8047061" y="3147496"/>
                  </a:lnTo>
                  <a:lnTo>
                    <a:pt x="7984429" y="3147034"/>
                  </a:lnTo>
                  <a:lnTo>
                    <a:pt x="7927679" y="3172068"/>
                  </a:lnTo>
                  <a:lnTo>
                    <a:pt x="7903311" y="3157322"/>
                  </a:lnTo>
                  <a:lnTo>
                    <a:pt x="7878600" y="3124243"/>
                  </a:lnTo>
                  <a:lnTo>
                    <a:pt x="7865782" y="3105533"/>
                  </a:lnTo>
                  <a:lnTo>
                    <a:pt x="7826014" y="3084238"/>
                  </a:lnTo>
                  <a:lnTo>
                    <a:pt x="7735849" y="3058023"/>
                  </a:lnTo>
                  <a:lnTo>
                    <a:pt x="7709007" y="3023888"/>
                  </a:lnTo>
                  <a:lnTo>
                    <a:pt x="7715924" y="2971274"/>
                  </a:lnTo>
                  <a:lnTo>
                    <a:pt x="7705965" y="2947637"/>
                  </a:lnTo>
                  <a:lnTo>
                    <a:pt x="7689873" y="2909506"/>
                  </a:lnTo>
                  <a:lnTo>
                    <a:pt x="7681486" y="2889148"/>
                  </a:lnTo>
                  <a:lnTo>
                    <a:pt x="7673096" y="2868789"/>
                  </a:lnTo>
                  <a:lnTo>
                    <a:pt x="7666079" y="2848595"/>
                  </a:lnTo>
                  <a:lnTo>
                    <a:pt x="7663487" y="2794042"/>
                  </a:lnTo>
                  <a:lnTo>
                    <a:pt x="7683703" y="2766284"/>
                  </a:lnTo>
                  <a:lnTo>
                    <a:pt x="7700533" y="2738163"/>
                  </a:lnTo>
                  <a:lnTo>
                    <a:pt x="7715971" y="2710610"/>
                  </a:lnTo>
                  <a:lnTo>
                    <a:pt x="7723167" y="2678664"/>
                  </a:lnTo>
                  <a:lnTo>
                    <a:pt x="7715497" y="2640230"/>
                  </a:lnTo>
                  <a:lnTo>
                    <a:pt x="7665211" y="2587648"/>
                  </a:lnTo>
                  <a:lnTo>
                    <a:pt x="7637966" y="2572223"/>
                  </a:lnTo>
                  <a:lnTo>
                    <a:pt x="7614138" y="2566189"/>
                  </a:lnTo>
                  <a:lnTo>
                    <a:pt x="7597032" y="2546931"/>
                  </a:lnTo>
                  <a:lnTo>
                    <a:pt x="7583557" y="2527337"/>
                  </a:lnTo>
                  <a:lnTo>
                    <a:pt x="7579666" y="2490617"/>
                  </a:lnTo>
                  <a:lnTo>
                    <a:pt x="7594440" y="2457966"/>
                  </a:lnTo>
                  <a:lnTo>
                    <a:pt x="7617561" y="2438088"/>
                  </a:lnTo>
                  <a:lnTo>
                    <a:pt x="7642041" y="2417995"/>
                  </a:lnTo>
                  <a:lnTo>
                    <a:pt x="7658365" y="2377712"/>
                  </a:lnTo>
                  <a:lnTo>
                    <a:pt x="7662815" y="2351050"/>
                  </a:lnTo>
                  <a:lnTo>
                    <a:pt x="7660052" y="2310372"/>
                  </a:lnTo>
                  <a:lnTo>
                    <a:pt x="7646124" y="2247134"/>
                  </a:lnTo>
                  <a:lnTo>
                    <a:pt x="7605764" y="2242035"/>
                  </a:lnTo>
                  <a:lnTo>
                    <a:pt x="7572823" y="2218142"/>
                  </a:lnTo>
                  <a:lnTo>
                    <a:pt x="7535951" y="2203607"/>
                  </a:lnTo>
                  <a:lnTo>
                    <a:pt x="7514188" y="2200884"/>
                  </a:lnTo>
                  <a:lnTo>
                    <a:pt x="7482525" y="2181527"/>
                  </a:lnTo>
                  <a:lnTo>
                    <a:pt x="7459925" y="2166400"/>
                  </a:lnTo>
                  <a:lnTo>
                    <a:pt x="7443457" y="2153275"/>
                  </a:lnTo>
                  <a:lnTo>
                    <a:pt x="7426990" y="2140158"/>
                  </a:lnTo>
                  <a:lnTo>
                    <a:pt x="7409453" y="2115189"/>
                  </a:lnTo>
                  <a:lnTo>
                    <a:pt x="7398136" y="2086456"/>
                  </a:lnTo>
                  <a:lnTo>
                    <a:pt x="7390850" y="2045990"/>
                  </a:lnTo>
                  <a:lnTo>
                    <a:pt x="7386912" y="2020889"/>
                  </a:lnTo>
                  <a:lnTo>
                    <a:pt x="7380891" y="1987334"/>
                  </a:lnTo>
                  <a:lnTo>
                    <a:pt x="7367093" y="1910483"/>
                  </a:lnTo>
                  <a:lnTo>
                    <a:pt x="7363633" y="1833541"/>
                  </a:lnTo>
                  <a:lnTo>
                    <a:pt x="7350964" y="1757456"/>
                  </a:lnTo>
                  <a:lnTo>
                    <a:pt x="7343842" y="1714781"/>
                  </a:lnTo>
                  <a:lnTo>
                    <a:pt x="7332689" y="1670021"/>
                  </a:lnTo>
                  <a:lnTo>
                    <a:pt x="7326475" y="1626884"/>
                  </a:lnTo>
                  <a:lnTo>
                    <a:pt x="7320277" y="1583607"/>
                  </a:lnTo>
                  <a:lnTo>
                    <a:pt x="7319037" y="1493152"/>
                  </a:lnTo>
                  <a:lnTo>
                    <a:pt x="7304719" y="1452770"/>
                  </a:lnTo>
                  <a:lnTo>
                    <a:pt x="7283452" y="1421629"/>
                  </a:lnTo>
                  <a:lnTo>
                    <a:pt x="7258839" y="1400341"/>
                  </a:lnTo>
                  <a:lnTo>
                    <a:pt x="7239429" y="1376600"/>
                  </a:lnTo>
                  <a:lnTo>
                    <a:pt x="7221855" y="1351434"/>
                  </a:lnTo>
                  <a:lnTo>
                    <a:pt x="7205308" y="1325601"/>
                  </a:lnTo>
                  <a:lnTo>
                    <a:pt x="7187740" y="1300429"/>
                  </a:lnTo>
                  <a:lnTo>
                    <a:pt x="7169127" y="1276773"/>
                  </a:lnTo>
                  <a:lnTo>
                    <a:pt x="7148229" y="1257661"/>
                  </a:lnTo>
                  <a:lnTo>
                    <a:pt x="7126531" y="1248744"/>
                  </a:lnTo>
                  <a:lnTo>
                    <a:pt x="7103218" y="1243640"/>
                  </a:lnTo>
                  <a:lnTo>
                    <a:pt x="7079107" y="1240250"/>
                  </a:lnTo>
                  <a:lnTo>
                    <a:pt x="7054436" y="1235139"/>
                  </a:lnTo>
                  <a:lnTo>
                    <a:pt x="7032140" y="1227970"/>
                  </a:lnTo>
                  <a:lnTo>
                    <a:pt x="7018758" y="1210507"/>
                  </a:lnTo>
                  <a:lnTo>
                    <a:pt x="7015691" y="1179967"/>
                  </a:lnTo>
                  <a:lnTo>
                    <a:pt x="7016358" y="1158968"/>
                  </a:lnTo>
                  <a:lnTo>
                    <a:pt x="7017294" y="1137989"/>
                  </a:lnTo>
                  <a:lnTo>
                    <a:pt x="7018593" y="1106103"/>
                  </a:lnTo>
                  <a:lnTo>
                    <a:pt x="7025002" y="1085013"/>
                  </a:lnTo>
                  <a:lnTo>
                    <a:pt x="7040369" y="1064561"/>
                  </a:lnTo>
                  <a:lnTo>
                    <a:pt x="7055143" y="1037272"/>
                  </a:lnTo>
                  <a:lnTo>
                    <a:pt x="7050362" y="999826"/>
                  </a:lnTo>
                  <a:lnTo>
                    <a:pt x="7048216" y="968415"/>
                  </a:lnTo>
                  <a:lnTo>
                    <a:pt x="7055186" y="939555"/>
                  </a:lnTo>
                  <a:lnTo>
                    <a:pt x="7058526" y="908692"/>
                  </a:lnTo>
                  <a:lnTo>
                    <a:pt x="7047643" y="876047"/>
                  </a:lnTo>
                  <a:lnTo>
                    <a:pt x="6998077" y="878514"/>
                  </a:lnTo>
                  <a:lnTo>
                    <a:pt x="6978270" y="854290"/>
                  </a:lnTo>
                  <a:lnTo>
                    <a:pt x="6994613" y="823768"/>
                  </a:lnTo>
                  <a:lnTo>
                    <a:pt x="7021778" y="800475"/>
                  </a:lnTo>
                  <a:lnTo>
                    <a:pt x="7055800" y="782194"/>
                  </a:lnTo>
                  <a:lnTo>
                    <a:pt x="7091525" y="766789"/>
                  </a:lnTo>
                  <a:lnTo>
                    <a:pt x="7126174" y="751357"/>
                  </a:lnTo>
                  <a:lnTo>
                    <a:pt x="7155094" y="733228"/>
                  </a:lnTo>
                  <a:lnTo>
                    <a:pt x="7198561" y="743258"/>
                  </a:lnTo>
                  <a:lnTo>
                    <a:pt x="7227188" y="744110"/>
                  </a:lnTo>
                  <a:lnTo>
                    <a:pt x="7246170" y="704751"/>
                  </a:lnTo>
                  <a:lnTo>
                    <a:pt x="7285296" y="688639"/>
                  </a:lnTo>
                  <a:lnTo>
                    <a:pt x="7314244" y="699309"/>
                  </a:lnTo>
                  <a:lnTo>
                    <a:pt x="7337365" y="715547"/>
                  </a:lnTo>
                  <a:lnTo>
                    <a:pt x="7368650" y="697866"/>
                  </a:lnTo>
                  <a:lnTo>
                    <a:pt x="7379533" y="629859"/>
                  </a:lnTo>
                  <a:lnTo>
                    <a:pt x="7296561" y="604014"/>
                  </a:lnTo>
                  <a:lnTo>
                    <a:pt x="7289755" y="580892"/>
                  </a:lnTo>
                  <a:lnTo>
                    <a:pt x="7292471" y="550971"/>
                  </a:lnTo>
                  <a:lnTo>
                    <a:pt x="7297913" y="522402"/>
                  </a:lnTo>
                  <a:lnTo>
                    <a:pt x="7304719" y="499280"/>
                  </a:lnTo>
                  <a:lnTo>
                    <a:pt x="7273679" y="474667"/>
                  </a:lnTo>
                  <a:lnTo>
                    <a:pt x="7242146" y="467993"/>
                  </a:lnTo>
                  <a:lnTo>
                    <a:pt x="7218206" y="468587"/>
                  </a:lnTo>
                  <a:lnTo>
                    <a:pt x="7192099" y="479020"/>
                  </a:lnTo>
                  <a:lnTo>
                    <a:pt x="7152377" y="487034"/>
                  </a:lnTo>
                  <a:lnTo>
                    <a:pt x="7080540" y="476323"/>
                  </a:lnTo>
                  <a:lnTo>
                    <a:pt x="7011465" y="439339"/>
                  </a:lnTo>
                  <a:lnTo>
                    <a:pt x="6940186" y="431267"/>
                  </a:lnTo>
                  <a:lnTo>
                    <a:pt x="6859273" y="478789"/>
                  </a:lnTo>
                  <a:lnTo>
                    <a:pt x="6810901" y="466372"/>
                  </a:lnTo>
                  <a:lnTo>
                    <a:pt x="6774707" y="454045"/>
                  </a:lnTo>
                  <a:lnTo>
                    <a:pt x="6741593" y="448948"/>
                  </a:lnTo>
                  <a:lnTo>
                    <a:pt x="6697763" y="456236"/>
                  </a:lnTo>
                  <a:lnTo>
                    <a:pt x="6674946" y="465269"/>
                  </a:lnTo>
                  <a:lnTo>
                    <a:pt x="6652120" y="474304"/>
                  </a:lnTo>
                  <a:lnTo>
                    <a:pt x="6629857" y="481612"/>
                  </a:lnTo>
                  <a:lnTo>
                    <a:pt x="6584207" y="463779"/>
                  </a:lnTo>
                  <a:lnTo>
                    <a:pt x="6545515" y="452726"/>
                  </a:lnTo>
                  <a:lnTo>
                    <a:pt x="6507639" y="439424"/>
                  </a:lnTo>
                  <a:lnTo>
                    <a:pt x="6469771" y="426123"/>
                  </a:lnTo>
                  <a:lnTo>
                    <a:pt x="6433466" y="410756"/>
                  </a:lnTo>
                  <a:lnTo>
                    <a:pt x="6409706" y="393181"/>
                  </a:lnTo>
                  <a:lnTo>
                    <a:pt x="6393661" y="355023"/>
                  </a:lnTo>
                  <a:lnTo>
                    <a:pt x="6387943" y="334691"/>
                  </a:lnTo>
                  <a:lnTo>
                    <a:pt x="6382223" y="314359"/>
                  </a:lnTo>
                  <a:lnTo>
                    <a:pt x="6364819" y="278924"/>
                  </a:lnTo>
                  <a:lnTo>
                    <a:pt x="6340517" y="255558"/>
                  </a:lnTo>
                  <a:lnTo>
                    <a:pt x="6315669" y="234277"/>
                  </a:lnTo>
                  <a:lnTo>
                    <a:pt x="6295450" y="204112"/>
                  </a:lnTo>
                  <a:lnTo>
                    <a:pt x="6295779" y="174296"/>
                  </a:lnTo>
                  <a:lnTo>
                    <a:pt x="6299226" y="149664"/>
                  </a:lnTo>
                  <a:lnTo>
                    <a:pt x="6296808" y="127941"/>
                  </a:lnTo>
                  <a:lnTo>
                    <a:pt x="6294393" y="106217"/>
                  </a:lnTo>
                  <a:lnTo>
                    <a:pt x="6261446" y="68092"/>
                  </a:lnTo>
                  <a:lnTo>
                    <a:pt x="6243382" y="40249"/>
                  </a:lnTo>
                  <a:lnTo>
                    <a:pt x="6227296" y="24730"/>
                  </a:lnTo>
                  <a:lnTo>
                    <a:pt x="6201589" y="39529"/>
                  </a:lnTo>
                  <a:lnTo>
                    <a:pt x="6176794" y="58088"/>
                  </a:lnTo>
                  <a:lnTo>
                    <a:pt x="6152938" y="75380"/>
                  </a:lnTo>
                  <a:lnTo>
                    <a:pt x="6129500" y="85773"/>
                  </a:lnTo>
                  <a:lnTo>
                    <a:pt x="6105291" y="88029"/>
                  </a:lnTo>
                  <a:lnTo>
                    <a:pt x="6087273" y="73882"/>
                  </a:lnTo>
                  <a:lnTo>
                    <a:pt x="6076452" y="55852"/>
                  </a:lnTo>
                  <a:lnTo>
                    <a:pt x="6066459" y="35058"/>
                  </a:lnTo>
                  <a:lnTo>
                    <a:pt x="6053812" y="16790"/>
                  </a:lnTo>
                  <a:close/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611" name="Zaporizhia¬1" descr="Zaporizhia¬1">
              <a:extLst>
                <a:ext uri="{FF2B5EF4-FFF2-40B4-BE49-F238E27FC236}">
                  <a16:creationId xmlns:a16="http://schemas.microsoft.com/office/drawing/2014/main" id="{AA4E9563-130B-4D73-A0D2-35B6F1FA68AE}"/>
                </a:ext>
              </a:extLst>
            </p:cNvPr>
            <p:cNvSpPr/>
            <p:nvPr/>
          </p:nvSpPr>
          <p:spPr>
            <a:xfrm>
              <a:off x="5015230" y="3107227"/>
              <a:ext cx="1037168" cy="934006"/>
            </a:xfrm>
            <a:custGeom>
              <a:avLst/>
              <a:gdLst/>
              <a:ahLst/>
              <a:cxnLst/>
              <a:rect l="0" t="0" r="0" b="0"/>
              <a:pathLst>
                <a:path w="10583731" h="10819271">
                  <a:moveTo>
                    <a:pt x="16914" y="3464348"/>
                  </a:moveTo>
                  <a:lnTo>
                    <a:pt x="34327" y="3499208"/>
                  </a:lnTo>
                  <a:lnTo>
                    <a:pt x="44872" y="3527256"/>
                  </a:lnTo>
                  <a:lnTo>
                    <a:pt x="61259" y="3570844"/>
                  </a:lnTo>
                  <a:lnTo>
                    <a:pt x="79282" y="3622844"/>
                  </a:lnTo>
                  <a:lnTo>
                    <a:pt x="95204" y="3675517"/>
                  </a:lnTo>
                  <a:lnTo>
                    <a:pt x="111116" y="3728199"/>
                  </a:lnTo>
                  <a:lnTo>
                    <a:pt x="125059" y="3780726"/>
                  </a:lnTo>
                  <a:lnTo>
                    <a:pt x="137372" y="3826500"/>
                  </a:lnTo>
                  <a:lnTo>
                    <a:pt x="149672" y="3872271"/>
                  </a:lnTo>
                  <a:lnTo>
                    <a:pt x="160369" y="3911075"/>
                  </a:lnTo>
                  <a:lnTo>
                    <a:pt x="165934" y="3933951"/>
                  </a:lnTo>
                  <a:lnTo>
                    <a:pt x="174012" y="3967189"/>
                  </a:lnTo>
                  <a:lnTo>
                    <a:pt x="184578" y="4001016"/>
                  </a:lnTo>
                  <a:lnTo>
                    <a:pt x="195855" y="4034611"/>
                  </a:lnTo>
                  <a:lnTo>
                    <a:pt x="207132" y="4068206"/>
                  </a:lnTo>
                  <a:lnTo>
                    <a:pt x="218852" y="4101497"/>
                  </a:lnTo>
                  <a:lnTo>
                    <a:pt x="229859" y="4133905"/>
                  </a:lnTo>
                  <a:lnTo>
                    <a:pt x="244776" y="4177812"/>
                  </a:lnTo>
                  <a:lnTo>
                    <a:pt x="252605" y="4225973"/>
                  </a:lnTo>
                  <a:lnTo>
                    <a:pt x="267944" y="4269924"/>
                  </a:lnTo>
                  <a:lnTo>
                    <a:pt x="282650" y="4311918"/>
                  </a:lnTo>
                  <a:lnTo>
                    <a:pt x="312943" y="4353705"/>
                  </a:lnTo>
                  <a:lnTo>
                    <a:pt x="315553" y="4399144"/>
                  </a:lnTo>
                  <a:lnTo>
                    <a:pt x="317466" y="4432296"/>
                  </a:lnTo>
                  <a:lnTo>
                    <a:pt x="316468" y="4466557"/>
                  </a:lnTo>
                  <a:lnTo>
                    <a:pt x="316905" y="4499802"/>
                  </a:lnTo>
                  <a:lnTo>
                    <a:pt x="326508" y="4524157"/>
                  </a:lnTo>
                  <a:lnTo>
                    <a:pt x="357411" y="4538243"/>
                  </a:lnTo>
                  <a:lnTo>
                    <a:pt x="385161" y="4531378"/>
                  </a:lnTo>
                  <a:lnTo>
                    <a:pt x="410757" y="4518842"/>
                  </a:lnTo>
                  <a:lnTo>
                    <a:pt x="436352" y="4506310"/>
                  </a:lnTo>
                  <a:lnTo>
                    <a:pt x="460515" y="4487898"/>
                  </a:lnTo>
                  <a:lnTo>
                    <a:pt x="476046" y="4471233"/>
                  </a:lnTo>
                  <a:lnTo>
                    <a:pt x="519277" y="4466424"/>
                  </a:lnTo>
                  <a:lnTo>
                    <a:pt x="552581" y="4478928"/>
                  </a:lnTo>
                  <a:lnTo>
                    <a:pt x="570840" y="4493793"/>
                  </a:lnTo>
                  <a:lnTo>
                    <a:pt x="590302" y="4502518"/>
                  </a:lnTo>
                  <a:lnTo>
                    <a:pt x="609765" y="4511243"/>
                  </a:lnTo>
                  <a:lnTo>
                    <a:pt x="655591" y="4506595"/>
                  </a:lnTo>
                  <a:lnTo>
                    <a:pt x="678716" y="4491632"/>
                  </a:lnTo>
                  <a:lnTo>
                    <a:pt x="681714" y="4460706"/>
                  </a:lnTo>
                  <a:lnTo>
                    <a:pt x="693679" y="4439945"/>
                  </a:lnTo>
                  <a:lnTo>
                    <a:pt x="709427" y="4425880"/>
                  </a:lnTo>
                  <a:lnTo>
                    <a:pt x="723600" y="4405938"/>
                  </a:lnTo>
                  <a:lnTo>
                    <a:pt x="734402" y="4338782"/>
                  </a:lnTo>
                  <a:lnTo>
                    <a:pt x="764106" y="4306393"/>
                  </a:lnTo>
                  <a:lnTo>
                    <a:pt x="795992" y="4293935"/>
                  </a:lnTo>
                  <a:lnTo>
                    <a:pt x="822899" y="4291687"/>
                  </a:lnTo>
                  <a:lnTo>
                    <a:pt x="1028285" y="4273998"/>
                  </a:lnTo>
                  <a:lnTo>
                    <a:pt x="1069265" y="4295253"/>
                  </a:lnTo>
                  <a:lnTo>
                    <a:pt x="1075891" y="4322966"/>
                  </a:lnTo>
                  <a:lnTo>
                    <a:pt x="1043986" y="4351358"/>
                  </a:lnTo>
                  <a:lnTo>
                    <a:pt x="1018766" y="4361050"/>
                  </a:lnTo>
                  <a:lnTo>
                    <a:pt x="993549" y="4370752"/>
                  </a:lnTo>
                  <a:lnTo>
                    <a:pt x="969014" y="4379840"/>
                  </a:lnTo>
                  <a:lnTo>
                    <a:pt x="947034" y="4458148"/>
                  </a:lnTo>
                  <a:lnTo>
                    <a:pt x="944464" y="4498047"/>
                  </a:lnTo>
                  <a:lnTo>
                    <a:pt x="950755" y="4525642"/>
                  </a:lnTo>
                  <a:lnTo>
                    <a:pt x="957058" y="4553228"/>
                  </a:lnTo>
                  <a:lnTo>
                    <a:pt x="973011" y="4569162"/>
                  </a:lnTo>
                  <a:lnTo>
                    <a:pt x="1007384" y="4590931"/>
                  </a:lnTo>
                  <a:lnTo>
                    <a:pt x="1041890" y="4608610"/>
                  </a:lnTo>
                  <a:lnTo>
                    <a:pt x="1068376" y="4637325"/>
                  </a:lnTo>
                  <a:lnTo>
                    <a:pt x="1069092" y="4667100"/>
                  </a:lnTo>
                  <a:lnTo>
                    <a:pt x="1064959" y="4695504"/>
                  </a:lnTo>
                  <a:lnTo>
                    <a:pt x="1051471" y="4714861"/>
                  </a:lnTo>
                  <a:lnTo>
                    <a:pt x="1033723" y="4729667"/>
                  </a:lnTo>
                  <a:lnTo>
                    <a:pt x="1017197" y="4745278"/>
                  </a:lnTo>
                  <a:lnTo>
                    <a:pt x="1006733" y="4765748"/>
                  </a:lnTo>
                  <a:lnTo>
                    <a:pt x="1007880" y="4796314"/>
                  </a:lnTo>
                  <a:lnTo>
                    <a:pt x="1031001" y="4922818"/>
                  </a:lnTo>
                  <a:lnTo>
                    <a:pt x="1039428" y="4942497"/>
                  </a:lnTo>
                  <a:lnTo>
                    <a:pt x="1046461" y="5025509"/>
                  </a:lnTo>
                  <a:lnTo>
                    <a:pt x="1024242" y="5094162"/>
                  </a:lnTo>
                  <a:lnTo>
                    <a:pt x="1029637" y="5164930"/>
                  </a:lnTo>
                  <a:lnTo>
                    <a:pt x="1032424" y="5201784"/>
                  </a:lnTo>
                  <a:lnTo>
                    <a:pt x="1042985" y="5235192"/>
                  </a:lnTo>
                  <a:lnTo>
                    <a:pt x="1050042" y="5271029"/>
                  </a:lnTo>
                  <a:lnTo>
                    <a:pt x="1055117" y="5296658"/>
                  </a:lnTo>
                  <a:lnTo>
                    <a:pt x="1051043" y="5323906"/>
                  </a:lnTo>
                  <a:lnTo>
                    <a:pt x="1055480" y="5348559"/>
                  </a:lnTo>
                  <a:lnTo>
                    <a:pt x="1172456" y="5389363"/>
                  </a:lnTo>
                  <a:lnTo>
                    <a:pt x="1186437" y="5434123"/>
                  </a:lnTo>
                  <a:lnTo>
                    <a:pt x="1189503" y="5464642"/>
                  </a:lnTo>
                  <a:lnTo>
                    <a:pt x="1195577" y="5494094"/>
                  </a:lnTo>
                  <a:lnTo>
                    <a:pt x="1202547" y="5527888"/>
                  </a:lnTo>
                  <a:lnTo>
                    <a:pt x="1217768" y="5562537"/>
                  </a:lnTo>
                  <a:lnTo>
                    <a:pt x="1224146" y="5596113"/>
                  </a:lnTo>
                  <a:lnTo>
                    <a:pt x="1228499" y="5618859"/>
                  </a:lnTo>
                  <a:lnTo>
                    <a:pt x="1235878" y="5645298"/>
                  </a:lnTo>
                  <a:lnTo>
                    <a:pt x="1237745" y="5668208"/>
                  </a:lnTo>
                  <a:lnTo>
                    <a:pt x="1240269" y="5701254"/>
                  </a:lnTo>
                  <a:lnTo>
                    <a:pt x="1236787" y="5753368"/>
                  </a:lnTo>
                  <a:lnTo>
                    <a:pt x="1237745" y="5804227"/>
                  </a:lnTo>
                  <a:lnTo>
                    <a:pt x="1238700" y="5855080"/>
                  </a:lnTo>
                  <a:lnTo>
                    <a:pt x="1244293" y="5904351"/>
                  </a:lnTo>
                  <a:lnTo>
                    <a:pt x="1264950" y="5932083"/>
                  </a:lnTo>
                  <a:lnTo>
                    <a:pt x="1290768" y="5936805"/>
                  </a:lnTo>
                  <a:lnTo>
                    <a:pt x="1318025" y="5935500"/>
                  </a:lnTo>
                  <a:lnTo>
                    <a:pt x="1345208" y="5940235"/>
                  </a:lnTo>
                  <a:lnTo>
                    <a:pt x="1366274" y="5952910"/>
                  </a:lnTo>
                  <a:lnTo>
                    <a:pt x="1378744" y="5970506"/>
                  </a:lnTo>
                  <a:lnTo>
                    <a:pt x="1386006" y="5991924"/>
                  </a:lnTo>
                  <a:lnTo>
                    <a:pt x="1393274" y="6013346"/>
                  </a:lnTo>
                  <a:lnTo>
                    <a:pt x="1394399" y="6037550"/>
                  </a:lnTo>
                  <a:lnTo>
                    <a:pt x="1395528" y="6061291"/>
                  </a:lnTo>
                  <a:lnTo>
                    <a:pt x="1396662" y="6085038"/>
                  </a:lnTo>
                  <a:lnTo>
                    <a:pt x="1396920" y="6108286"/>
                  </a:lnTo>
                  <a:lnTo>
                    <a:pt x="1402275" y="6147599"/>
                  </a:lnTo>
                  <a:lnTo>
                    <a:pt x="1420022" y="6172828"/>
                  </a:lnTo>
                  <a:lnTo>
                    <a:pt x="1465505" y="6175126"/>
                  </a:lnTo>
                  <a:lnTo>
                    <a:pt x="1497097" y="6180670"/>
                  </a:lnTo>
                  <a:lnTo>
                    <a:pt x="1519312" y="6187795"/>
                  </a:lnTo>
                  <a:lnTo>
                    <a:pt x="1541531" y="6194910"/>
                  </a:lnTo>
                  <a:lnTo>
                    <a:pt x="1564200" y="6213632"/>
                  </a:lnTo>
                  <a:lnTo>
                    <a:pt x="1584384" y="6232251"/>
                  </a:lnTo>
                  <a:lnTo>
                    <a:pt x="1590995" y="6252429"/>
                  </a:lnTo>
                  <a:lnTo>
                    <a:pt x="1629489" y="6263964"/>
                  </a:lnTo>
                  <a:lnTo>
                    <a:pt x="1661434" y="6273526"/>
                  </a:lnTo>
                  <a:lnTo>
                    <a:pt x="1703509" y="6281420"/>
                  </a:lnTo>
                  <a:lnTo>
                    <a:pt x="1742387" y="6293884"/>
                  </a:lnTo>
                  <a:lnTo>
                    <a:pt x="1781262" y="6306349"/>
                  </a:lnTo>
                  <a:lnTo>
                    <a:pt x="1817152" y="6322751"/>
                  </a:lnTo>
                  <a:lnTo>
                    <a:pt x="1838961" y="6352377"/>
                  </a:lnTo>
                  <a:lnTo>
                    <a:pt x="1842226" y="6374177"/>
                  </a:lnTo>
                  <a:lnTo>
                    <a:pt x="1851177" y="6430149"/>
                  </a:lnTo>
                  <a:lnTo>
                    <a:pt x="1863443" y="6484313"/>
                  </a:lnTo>
                  <a:lnTo>
                    <a:pt x="1875709" y="6538477"/>
                  </a:lnTo>
                  <a:lnTo>
                    <a:pt x="1891305" y="6591131"/>
                  </a:lnTo>
                  <a:lnTo>
                    <a:pt x="1911050" y="6606733"/>
                  </a:lnTo>
                  <a:lnTo>
                    <a:pt x="1931008" y="6621222"/>
                  </a:lnTo>
                  <a:lnTo>
                    <a:pt x="1962879" y="6610389"/>
                  </a:lnTo>
                  <a:lnTo>
                    <a:pt x="1994021" y="6616258"/>
                  </a:lnTo>
                  <a:lnTo>
                    <a:pt x="2024990" y="6626196"/>
                  </a:lnTo>
                  <a:lnTo>
                    <a:pt x="2038905" y="6643454"/>
                  </a:lnTo>
                  <a:lnTo>
                    <a:pt x="2052827" y="6660715"/>
                  </a:lnTo>
                  <a:lnTo>
                    <a:pt x="2064975" y="6687944"/>
                  </a:lnTo>
                  <a:lnTo>
                    <a:pt x="2074274" y="6730509"/>
                  </a:lnTo>
                  <a:lnTo>
                    <a:pt x="2083297" y="6766786"/>
                  </a:lnTo>
                  <a:lnTo>
                    <a:pt x="2086515" y="6787640"/>
                  </a:lnTo>
                  <a:lnTo>
                    <a:pt x="2089733" y="6808492"/>
                  </a:lnTo>
                  <a:lnTo>
                    <a:pt x="2085163" y="6846123"/>
                  </a:lnTo>
                  <a:lnTo>
                    <a:pt x="2053305" y="6863819"/>
                  </a:lnTo>
                  <a:lnTo>
                    <a:pt x="2025316" y="6877408"/>
                  </a:lnTo>
                  <a:lnTo>
                    <a:pt x="1997327" y="6891008"/>
                  </a:lnTo>
                  <a:lnTo>
                    <a:pt x="1968863" y="6904120"/>
                  </a:lnTo>
                  <a:lnTo>
                    <a:pt x="1940747" y="6910693"/>
                  </a:lnTo>
                  <a:lnTo>
                    <a:pt x="1919452" y="6914870"/>
                  </a:lnTo>
                  <a:lnTo>
                    <a:pt x="1901534" y="6931824"/>
                  </a:lnTo>
                  <a:lnTo>
                    <a:pt x="1885383" y="6982658"/>
                  </a:lnTo>
                  <a:lnTo>
                    <a:pt x="1900836" y="7040335"/>
                  </a:lnTo>
                  <a:lnTo>
                    <a:pt x="1896092" y="7092325"/>
                  </a:lnTo>
                  <a:lnTo>
                    <a:pt x="1893395" y="7121183"/>
                  </a:lnTo>
                  <a:lnTo>
                    <a:pt x="1863738" y="7148855"/>
                  </a:lnTo>
                  <a:lnTo>
                    <a:pt x="1848486" y="7171214"/>
                  </a:lnTo>
                  <a:lnTo>
                    <a:pt x="1824683" y="7206027"/>
                  </a:lnTo>
                  <a:lnTo>
                    <a:pt x="1832506" y="7252403"/>
                  </a:lnTo>
                  <a:lnTo>
                    <a:pt x="1803599" y="7288193"/>
                  </a:lnTo>
                  <a:lnTo>
                    <a:pt x="1751791" y="7305367"/>
                  </a:lnTo>
                  <a:lnTo>
                    <a:pt x="1730146" y="7328996"/>
                  </a:lnTo>
                  <a:lnTo>
                    <a:pt x="1712426" y="7348378"/>
                  </a:lnTo>
                  <a:lnTo>
                    <a:pt x="1698272" y="7400623"/>
                  </a:lnTo>
                  <a:lnTo>
                    <a:pt x="1644867" y="7423428"/>
                  </a:lnTo>
                  <a:lnTo>
                    <a:pt x="1607983" y="7415224"/>
                  </a:lnTo>
                  <a:lnTo>
                    <a:pt x="1573728" y="7414690"/>
                  </a:lnTo>
                  <a:lnTo>
                    <a:pt x="1540086" y="7415785"/>
                  </a:lnTo>
                  <a:lnTo>
                    <a:pt x="1509434" y="7429917"/>
                  </a:lnTo>
                  <a:lnTo>
                    <a:pt x="1482592" y="7463658"/>
                  </a:lnTo>
                  <a:lnTo>
                    <a:pt x="1483054" y="7508185"/>
                  </a:lnTo>
                  <a:lnTo>
                    <a:pt x="1486682" y="7539827"/>
                  </a:lnTo>
                  <a:lnTo>
                    <a:pt x="1490297" y="7571471"/>
                  </a:lnTo>
                  <a:lnTo>
                    <a:pt x="1495525" y="7603079"/>
                  </a:lnTo>
                  <a:lnTo>
                    <a:pt x="1521700" y="7624910"/>
                  </a:lnTo>
                  <a:lnTo>
                    <a:pt x="1554690" y="7621440"/>
                  </a:lnTo>
                  <a:lnTo>
                    <a:pt x="1586279" y="7606120"/>
                  </a:lnTo>
                  <a:lnTo>
                    <a:pt x="1621337" y="7594236"/>
                  </a:lnTo>
                  <a:lnTo>
                    <a:pt x="1649562" y="7640441"/>
                  </a:lnTo>
                  <a:lnTo>
                    <a:pt x="1665245" y="7664498"/>
                  </a:lnTo>
                  <a:lnTo>
                    <a:pt x="1698120" y="7671561"/>
                  </a:lnTo>
                  <a:lnTo>
                    <a:pt x="1731516" y="7675846"/>
                  </a:lnTo>
                  <a:lnTo>
                    <a:pt x="1764907" y="7680135"/>
                  </a:lnTo>
                  <a:lnTo>
                    <a:pt x="1799717" y="7680907"/>
                  </a:lnTo>
                  <a:lnTo>
                    <a:pt x="1829089" y="7684367"/>
                  </a:lnTo>
                  <a:lnTo>
                    <a:pt x="1854935" y="7701501"/>
                  </a:lnTo>
                  <a:lnTo>
                    <a:pt x="1864814" y="7724808"/>
                  </a:lnTo>
                  <a:lnTo>
                    <a:pt x="1872016" y="7744621"/>
                  </a:lnTo>
                  <a:lnTo>
                    <a:pt x="1882450" y="7780516"/>
                  </a:lnTo>
                  <a:lnTo>
                    <a:pt x="1889302" y="7817308"/>
                  </a:lnTo>
                  <a:lnTo>
                    <a:pt x="1896291" y="7854096"/>
                  </a:lnTo>
                  <a:lnTo>
                    <a:pt x="1899959" y="7891777"/>
                  </a:lnTo>
                  <a:lnTo>
                    <a:pt x="1890654" y="7911159"/>
                  </a:lnTo>
                  <a:lnTo>
                    <a:pt x="1880714" y="7931880"/>
                  </a:lnTo>
                  <a:lnTo>
                    <a:pt x="1856631" y="7951929"/>
                  </a:lnTo>
                  <a:lnTo>
                    <a:pt x="1837603" y="7975090"/>
                  </a:lnTo>
                  <a:lnTo>
                    <a:pt x="1819099" y="7998847"/>
                  </a:lnTo>
                  <a:lnTo>
                    <a:pt x="1809865" y="8024783"/>
                  </a:lnTo>
                  <a:lnTo>
                    <a:pt x="1814482" y="8053978"/>
                  </a:lnTo>
                  <a:lnTo>
                    <a:pt x="1829616" y="8098633"/>
                  </a:lnTo>
                  <a:lnTo>
                    <a:pt x="1845023" y="8122895"/>
                  </a:lnTo>
                  <a:lnTo>
                    <a:pt x="1859366" y="8139672"/>
                  </a:lnTo>
                  <a:lnTo>
                    <a:pt x="1873709" y="8156443"/>
                  </a:lnTo>
                  <a:lnTo>
                    <a:pt x="1893376" y="8181840"/>
                  </a:lnTo>
                  <a:lnTo>
                    <a:pt x="1902973" y="8203777"/>
                  </a:lnTo>
                  <a:lnTo>
                    <a:pt x="1924655" y="8241691"/>
                  </a:lnTo>
                  <a:lnTo>
                    <a:pt x="1940511" y="8273103"/>
                  </a:lnTo>
                  <a:lnTo>
                    <a:pt x="1942087" y="8307191"/>
                  </a:lnTo>
                  <a:lnTo>
                    <a:pt x="1960023" y="8339626"/>
                  </a:lnTo>
                  <a:lnTo>
                    <a:pt x="1993349" y="8351073"/>
                  </a:lnTo>
                  <a:lnTo>
                    <a:pt x="2032794" y="8344491"/>
                  </a:lnTo>
                  <a:lnTo>
                    <a:pt x="2067484" y="8336901"/>
                  </a:lnTo>
                  <a:lnTo>
                    <a:pt x="2145435" y="8336308"/>
                  </a:lnTo>
                  <a:lnTo>
                    <a:pt x="2203503" y="8340978"/>
                  </a:lnTo>
                  <a:lnTo>
                    <a:pt x="2261565" y="8345620"/>
                  </a:lnTo>
                  <a:lnTo>
                    <a:pt x="2318265" y="8354555"/>
                  </a:lnTo>
                  <a:lnTo>
                    <a:pt x="2338155" y="8379062"/>
                  </a:lnTo>
                  <a:lnTo>
                    <a:pt x="2329908" y="8416772"/>
                  </a:lnTo>
                  <a:lnTo>
                    <a:pt x="2308328" y="8447452"/>
                  </a:lnTo>
                  <a:lnTo>
                    <a:pt x="2276950" y="8468831"/>
                  </a:lnTo>
                  <a:lnTo>
                    <a:pt x="2272221" y="8500091"/>
                  </a:lnTo>
                  <a:lnTo>
                    <a:pt x="2272860" y="8524604"/>
                  </a:lnTo>
                  <a:lnTo>
                    <a:pt x="2273521" y="8549111"/>
                  </a:lnTo>
                  <a:lnTo>
                    <a:pt x="2275992" y="8574145"/>
                  </a:lnTo>
                  <a:lnTo>
                    <a:pt x="2312541" y="8594655"/>
                  </a:lnTo>
                  <a:lnTo>
                    <a:pt x="2361748" y="8584901"/>
                  </a:lnTo>
                  <a:lnTo>
                    <a:pt x="2408880" y="8576291"/>
                  </a:lnTo>
                  <a:lnTo>
                    <a:pt x="2456021" y="8567683"/>
                  </a:lnTo>
                  <a:lnTo>
                    <a:pt x="2500812" y="8559703"/>
                  </a:lnTo>
                  <a:lnTo>
                    <a:pt x="2523136" y="8570855"/>
                  </a:lnTo>
                  <a:lnTo>
                    <a:pt x="2545501" y="8582021"/>
                  </a:lnTo>
                  <a:lnTo>
                    <a:pt x="2562033" y="8630018"/>
                  </a:lnTo>
                  <a:lnTo>
                    <a:pt x="2587067" y="8649744"/>
                  </a:lnTo>
                  <a:lnTo>
                    <a:pt x="2604961" y="8663857"/>
                  </a:lnTo>
                  <a:lnTo>
                    <a:pt x="2634677" y="8670149"/>
                  </a:lnTo>
                  <a:lnTo>
                    <a:pt x="2665410" y="8671969"/>
                  </a:lnTo>
                  <a:lnTo>
                    <a:pt x="2697185" y="8683000"/>
                  </a:lnTo>
                  <a:lnTo>
                    <a:pt x="2716297" y="8709591"/>
                  </a:lnTo>
                  <a:lnTo>
                    <a:pt x="2738202" y="8732542"/>
                  </a:lnTo>
                  <a:lnTo>
                    <a:pt x="2776684" y="8733044"/>
                  </a:lnTo>
                  <a:lnTo>
                    <a:pt x="2894007" y="8728843"/>
                  </a:lnTo>
                  <a:lnTo>
                    <a:pt x="2920842" y="8770186"/>
                  </a:lnTo>
                  <a:lnTo>
                    <a:pt x="2931012" y="8812968"/>
                  </a:lnTo>
                  <a:lnTo>
                    <a:pt x="2938004" y="8855136"/>
                  </a:lnTo>
                  <a:lnTo>
                    <a:pt x="2944987" y="8897297"/>
                  </a:lnTo>
                  <a:lnTo>
                    <a:pt x="2950078" y="8939444"/>
                  </a:lnTo>
                  <a:lnTo>
                    <a:pt x="2955690" y="8970750"/>
                  </a:lnTo>
                  <a:lnTo>
                    <a:pt x="2957386" y="9007647"/>
                  </a:lnTo>
                  <a:lnTo>
                    <a:pt x="2974724" y="9072003"/>
                  </a:lnTo>
                  <a:lnTo>
                    <a:pt x="3011463" y="9164661"/>
                  </a:lnTo>
                  <a:lnTo>
                    <a:pt x="3007367" y="9207421"/>
                  </a:lnTo>
                  <a:lnTo>
                    <a:pt x="3003188" y="9251034"/>
                  </a:lnTo>
                  <a:lnTo>
                    <a:pt x="2972442" y="9289336"/>
                  </a:lnTo>
                  <a:lnTo>
                    <a:pt x="2972011" y="9333925"/>
                  </a:lnTo>
                  <a:lnTo>
                    <a:pt x="2971543" y="9373262"/>
                  </a:lnTo>
                  <a:lnTo>
                    <a:pt x="2980467" y="9410156"/>
                  </a:lnTo>
                  <a:lnTo>
                    <a:pt x="2988336" y="9448182"/>
                  </a:lnTo>
                  <a:lnTo>
                    <a:pt x="2996190" y="9486201"/>
                  </a:lnTo>
                  <a:lnTo>
                    <a:pt x="3002989" y="9526028"/>
                  </a:lnTo>
                  <a:lnTo>
                    <a:pt x="2999210" y="9569238"/>
                  </a:lnTo>
                  <a:lnTo>
                    <a:pt x="2998748" y="9593308"/>
                  </a:lnTo>
                  <a:lnTo>
                    <a:pt x="3002394" y="9621331"/>
                  </a:lnTo>
                  <a:lnTo>
                    <a:pt x="3015531" y="9639968"/>
                  </a:lnTo>
                  <a:lnTo>
                    <a:pt x="3054964" y="9646861"/>
                  </a:lnTo>
                  <a:lnTo>
                    <a:pt x="3084897" y="9648126"/>
                  </a:lnTo>
                  <a:lnTo>
                    <a:pt x="3138674" y="9651220"/>
                  </a:lnTo>
                  <a:lnTo>
                    <a:pt x="3177391" y="9653568"/>
                  </a:lnTo>
                  <a:lnTo>
                    <a:pt x="3200844" y="9633860"/>
                  </a:lnTo>
                  <a:lnTo>
                    <a:pt x="3223100" y="9611914"/>
                  </a:lnTo>
                  <a:lnTo>
                    <a:pt x="3241316" y="9581479"/>
                  </a:lnTo>
                  <a:lnTo>
                    <a:pt x="3283016" y="9511979"/>
                  </a:lnTo>
                  <a:lnTo>
                    <a:pt x="3297985" y="9436021"/>
                  </a:lnTo>
                  <a:lnTo>
                    <a:pt x="3344689" y="9369287"/>
                  </a:lnTo>
                  <a:lnTo>
                    <a:pt x="3364800" y="9340554"/>
                  </a:lnTo>
                  <a:lnTo>
                    <a:pt x="3393031" y="9321895"/>
                  </a:lnTo>
                  <a:lnTo>
                    <a:pt x="3415420" y="9295841"/>
                  </a:lnTo>
                  <a:lnTo>
                    <a:pt x="3465966" y="9237264"/>
                  </a:lnTo>
                  <a:lnTo>
                    <a:pt x="3514384" y="9171637"/>
                  </a:lnTo>
                  <a:lnTo>
                    <a:pt x="3540560" y="9098612"/>
                  </a:lnTo>
                  <a:lnTo>
                    <a:pt x="3567426" y="9023755"/>
                  </a:lnTo>
                  <a:lnTo>
                    <a:pt x="3518117" y="8987627"/>
                  </a:lnTo>
                  <a:lnTo>
                    <a:pt x="3499756" y="8923141"/>
                  </a:lnTo>
                  <a:lnTo>
                    <a:pt x="3491176" y="8893220"/>
                  </a:lnTo>
                  <a:lnTo>
                    <a:pt x="3487040" y="8868437"/>
                  </a:lnTo>
                  <a:lnTo>
                    <a:pt x="3467113" y="8842895"/>
                  </a:lnTo>
                  <a:lnTo>
                    <a:pt x="3451256" y="8822700"/>
                  </a:lnTo>
                  <a:lnTo>
                    <a:pt x="3415420" y="8796646"/>
                  </a:lnTo>
                  <a:lnTo>
                    <a:pt x="3367444" y="8755071"/>
                  </a:lnTo>
                  <a:lnTo>
                    <a:pt x="3371730" y="8663811"/>
                  </a:lnTo>
                  <a:lnTo>
                    <a:pt x="3390941" y="8610298"/>
                  </a:lnTo>
                  <a:lnTo>
                    <a:pt x="3401309" y="8581261"/>
                  </a:lnTo>
                  <a:lnTo>
                    <a:pt x="3418666" y="8534206"/>
                  </a:lnTo>
                  <a:lnTo>
                    <a:pt x="3458946" y="8543645"/>
                  </a:lnTo>
                  <a:lnTo>
                    <a:pt x="3457991" y="8581605"/>
                  </a:lnTo>
                  <a:lnTo>
                    <a:pt x="3457510" y="8679922"/>
                  </a:lnTo>
                  <a:lnTo>
                    <a:pt x="3483434" y="8708233"/>
                  </a:lnTo>
                  <a:lnTo>
                    <a:pt x="3498351" y="8724511"/>
                  </a:lnTo>
                  <a:lnTo>
                    <a:pt x="3523134" y="8735351"/>
                  </a:lnTo>
                  <a:lnTo>
                    <a:pt x="3539201" y="8750401"/>
                  </a:lnTo>
                  <a:lnTo>
                    <a:pt x="3552556" y="8767739"/>
                  </a:lnTo>
                  <a:lnTo>
                    <a:pt x="3564670" y="8790439"/>
                  </a:lnTo>
                  <a:lnTo>
                    <a:pt x="3582734" y="8815684"/>
                  </a:lnTo>
                  <a:lnTo>
                    <a:pt x="3593186" y="8835239"/>
                  </a:lnTo>
                  <a:lnTo>
                    <a:pt x="3605387" y="8864143"/>
                  </a:lnTo>
                  <a:lnTo>
                    <a:pt x="3626253" y="8875534"/>
                  </a:lnTo>
                  <a:lnTo>
                    <a:pt x="3657244" y="8892448"/>
                  </a:lnTo>
                  <a:lnTo>
                    <a:pt x="3736904" y="8904227"/>
                  </a:lnTo>
                  <a:lnTo>
                    <a:pt x="3773156" y="8905461"/>
                  </a:lnTo>
                  <a:lnTo>
                    <a:pt x="3788138" y="8936740"/>
                  </a:lnTo>
                  <a:lnTo>
                    <a:pt x="3767656" y="8969095"/>
                  </a:lnTo>
                  <a:lnTo>
                    <a:pt x="3725692" y="9003012"/>
                  </a:lnTo>
                  <a:lnTo>
                    <a:pt x="3714685" y="9037397"/>
                  </a:lnTo>
                  <a:lnTo>
                    <a:pt x="3710109" y="9065709"/>
                  </a:lnTo>
                  <a:lnTo>
                    <a:pt x="3722288" y="9139032"/>
                  </a:lnTo>
                  <a:lnTo>
                    <a:pt x="3726957" y="9196079"/>
                  </a:lnTo>
                  <a:lnTo>
                    <a:pt x="3724213" y="9250953"/>
                  </a:lnTo>
                  <a:lnTo>
                    <a:pt x="3722821" y="9277730"/>
                  </a:lnTo>
                  <a:lnTo>
                    <a:pt x="3716676" y="9307353"/>
                  </a:lnTo>
                  <a:lnTo>
                    <a:pt x="3717414" y="9333925"/>
                  </a:lnTo>
                  <a:lnTo>
                    <a:pt x="3725342" y="9379318"/>
                  </a:lnTo>
                  <a:lnTo>
                    <a:pt x="3746866" y="9406482"/>
                  </a:lnTo>
                  <a:lnTo>
                    <a:pt x="3781841" y="9421104"/>
                  </a:lnTo>
                  <a:lnTo>
                    <a:pt x="3811734" y="9419994"/>
                  </a:lnTo>
                  <a:lnTo>
                    <a:pt x="3837112" y="9435934"/>
                  </a:lnTo>
                  <a:lnTo>
                    <a:pt x="3855393" y="9453530"/>
                  </a:lnTo>
                  <a:lnTo>
                    <a:pt x="3882973" y="9456339"/>
                  </a:lnTo>
                  <a:lnTo>
                    <a:pt x="3912003" y="9445800"/>
                  </a:lnTo>
                  <a:lnTo>
                    <a:pt x="3956178" y="9362230"/>
                  </a:lnTo>
                  <a:lnTo>
                    <a:pt x="3989456" y="9337999"/>
                  </a:lnTo>
                  <a:lnTo>
                    <a:pt x="4020775" y="9357474"/>
                  </a:lnTo>
                  <a:lnTo>
                    <a:pt x="4008779" y="9390501"/>
                  </a:lnTo>
                  <a:lnTo>
                    <a:pt x="4000336" y="9414178"/>
                  </a:lnTo>
                  <a:lnTo>
                    <a:pt x="3962041" y="9520745"/>
                  </a:lnTo>
                  <a:lnTo>
                    <a:pt x="3926539" y="9577144"/>
                  </a:lnTo>
                  <a:lnTo>
                    <a:pt x="3820790" y="9626369"/>
                  </a:lnTo>
                  <a:lnTo>
                    <a:pt x="3785171" y="9682183"/>
                  </a:lnTo>
                  <a:lnTo>
                    <a:pt x="3814360" y="9713000"/>
                  </a:lnTo>
                  <a:lnTo>
                    <a:pt x="3793586" y="9765105"/>
                  </a:lnTo>
                  <a:lnTo>
                    <a:pt x="3721789" y="9824704"/>
                  </a:lnTo>
                  <a:lnTo>
                    <a:pt x="3711076" y="9854461"/>
                  </a:lnTo>
                  <a:lnTo>
                    <a:pt x="3701765" y="9879876"/>
                  </a:lnTo>
                  <a:lnTo>
                    <a:pt x="3668152" y="9973691"/>
                  </a:lnTo>
                  <a:lnTo>
                    <a:pt x="3614580" y="10021080"/>
                  </a:lnTo>
                  <a:lnTo>
                    <a:pt x="3575953" y="10088837"/>
                  </a:lnTo>
                  <a:lnTo>
                    <a:pt x="3536721" y="10157444"/>
                  </a:lnTo>
                  <a:lnTo>
                    <a:pt x="3527112" y="10228509"/>
                  </a:lnTo>
                  <a:lnTo>
                    <a:pt x="3460338" y="10280624"/>
                  </a:lnTo>
                  <a:lnTo>
                    <a:pt x="3397765" y="10329427"/>
                  </a:lnTo>
                  <a:lnTo>
                    <a:pt x="3354782" y="10325220"/>
                  </a:lnTo>
                  <a:lnTo>
                    <a:pt x="3287592" y="10347277"/>
                  </a:lnTo>
                  <a:lnTo>
                    <a:pt x="3208019" y="10373375"/>
                  </a:lnTo>
                  <a:lnTo>
                    <a:pt x="2994298" y="10428460"/>
                  </a:lnTo>
                  <a:lnTo>
                    <a:pt x="2943458" y="10481933"/>
                  </a:lnTo>
                  <a:lnTo>
                    <a:pt x="2953414" y="10513900"/>
                  </a:lnTo>
                  <a:lnTo>
                    <a:pt x="2974749" y="10541780"/>
                  </a:lnTo>
                  <a:lnTo>
                    <a:pt x="2923369" y="10588500"/>
                  </a:lnTo>
                  <a:lnTo>
                    <a:pt x="2890084" y="10572389"/>
                  </a:lnTo>
                  <a:lnTo>
                    <a:pt x="2840094" y="10607078"/>
                  </a:lnTo>
                  <a:lnTo>
                    <a:pt x="2827729" y="10654040"/>
                  </a:lnTo>
                  <a:lnTo>
                    <a:pt x="2814151" y="10670659"/>
                  </a:lnTo>
                  <a:lnTo>
                    <a:pt x="2793852" y="10677803"/>
                  </a:lnTo>
                  <a:lnTo>
                    <a:pt x="2763844" y="10689790"/>
                  </a:lnTo>
                  <a:lnTo>
                    <a:pt x="2747430" y="10712272"/>
                  </a:lnTo>
                  <a:lnTo>
                    <a:pt x="2723121" y="10730851"/>
                  </a:lnTo>
                  <a:lnTo>
                    <a:pt x="2717779" y="10760309"/>
                  </a:lnTo>
                  <a:lnTo>
                    <a:pt x="2737095" y="10811190"/>
                  </a:lnTo>
                  <a:lnTo>
                    <a:pt x="2758350" y="10814759"/>
                  </a:lnTo>
                  <a:lnTo>
                    <a:pt x="2796562" y="10819270"/>
                  </a:lnTo>
                  <a:lnTo>
                    <a:pt x="2838426" y="10801925"/>
                  </a:lnTo>
                  <a:lnTo>
                    <a:pt x="2870867" y="10771958"/>
                  </a:lnTo>
                  <a:lnTo>
                    <a:pt x="2910818" y="10753972"/>
                  </a:lnTo>
                  <a:lnTo>
                    <a:pt x="2930631" y="10745048"/>
                  </a:lnTo>
                  <a:lnTo>
                    <a:pt x="2953243" y="10740928"/>
                  </a:lnTo>
                  <a:lnTo>
                    <a:pt x="2973391" y="10729493"/>
                  </a:lnTo>
                  <a:lnTo>
                    <a:pt x="3000425" y="10710743"/>
                  </a:lnTo>
                  <a:lnTo>
                    <a:pt x="3082504" y="10668284"/>
                  </a:lnTo>
                  <a:lnTo>
                    <a:pt x="3159144" y="10645795"/>
                  </a:lnTo>
                  <a:lnTo>
                    <a:pt x="3226383" y="10609795"/>
                  </a:lnTo>
                  <a:lnTo>
                    <a:pt x="3349867" y="10543656"/>
                  </a:lnTo>
                  <a:lnTo>
                    <a:pt x="3450150" y="10448273"/>
                  </a:lnTo>
                  <a:lnTo>
                    <a:pt x="3518831" y="10325514"/>
                  </a:lnTo>
                  <a:lnTo>
                    <a:pt x="3782712" y="9853524"/>
                  </a:lnTo>
                  <a:lnTo>
                    <a:pt x="3794218" y="9832868"/>
                  </a:lnTo>
                  <a:lnTo>
                    <a:pt x="3812844" y="9815477"/>
                  </a:lnTo>
                  <a:lnTo>
                    <a:pt x="3826238" y="9796393"/>
                  </a:lnTo>
                  <a:lnTo>
                    <a:pt x="3853895" y="9756910"/>
                  </a:lnTo>
                  <a:lnTo>
                    <a:pt x="3877460" y="9709939"/>
                  </a:lnTo>
                  <a:lnTo>
                    <a:pt x="3902407" y="9668537"/>
                  </a:lnTo>
                  <a:lnTo>
                    <a:pt x="3967011" y="9561378"/>
                  </a:lnTo>
                  <a:lnTo>
                    <a:pt x="4077739" y="9342300"/>
                  </a:lnTo>
                  <a:lnTo>
                    <a:pt x="4154045" y="9257753"/>
                  </a:lnTo>
                  <a:lnTo>
                    <a:pt x="4214652" y="9190597"/>
                  </a:lnTo>
                  <a:lnTo>
                    <a:pt x="4293084" y="9142988"/>
                  </a:lnTo>
                  <a:lnTo>
                    <a:pt x="4353995" y="9075491"/>
                  </a:lnTo>
                  <a:lnTo>
                    <a:pt x="4417148" y="9005399"/>
                  </a:lnTo>
                  <a:lnTo>
                    <a:pt x="4448268" y="8899558"/>
                  </a:lnTo>
                  <a:lnTo>
                    <a:pt x="4522658" y="8841537"/>
                  </a:lnTo>
                  <a:lnTo>
                    <a:pt x="4568342" y="8805830"/>
                  </a:lnTo>
                  <a:lnTo>
                    <a:pt x="4627988" y="8804512"/>
                  </a:lnTo>
                  <a:lnTo>
                    <a:pt x="4681801" y="8789847"/>
                  </a:lnTo>
                  <a:lnTo>
                    <a:pt x="4722097" y="8778877"/>
                  </a:lnTo>
                  <a:lnTo>
                    <a:pt x="4769492" y="8757334"/>
                  </a:lnTo>
                  <a:lnTo>
                    <a:pt x="4805580" y="8736796"/>
                  </a:lnTo>
                  <a:lnTo>
                    <a:pt x="4831625" y="8721966"/>
                  </a:lnTo>
                  <a:lnTo>
                    <a:pt x="4977259" y="8631171"/>
                  </a:lnTo>
                  <a:lnTo>
                    <a:pt x="4996635" y="8615957"/>
                  </a:lnTo>
                  <a:lnTo>
                    <a:pt x="5017772" y="8599418"/>
                  </a:lnTo>
                  <a:lnTo>
                    <a:pt x="5069105" y="8566391"/>
                  </a:lnTo>
                  <a:lnTo>
                    <a:pt x="5098151" y="8529202"/>
                  </a:lnTo>
                  <a:lnTo>
                    <a:pt x="5132028" y="8478362"/>
                  </a:lnTo>
                  <a:lnTo>
                    <a:pt x="5152632" y="8447418"/>
                  </a:lnTo>
                  <a:lnTo>
                    <a:pt x="5169855" y="8414561"/>
                  </a:lnTo>
                  <a:lnTo>
                    <a:pt x="5194589" y="8385868"/>
                  </a:lnTo>
                  <a:lnTo>
                    <a:pt x="5210067" y="8367891"/>
                  </a:lnTo>
                  <a:lnTo>
                    <a:pt x="5229672" y="8351653"/>
                  </a:lnTo>
                  <a:lnTo>
                    <a:pt x="5243563" y="8332817"/>
                  </a:lnTo>
                  <a:lnTo>
                    <a:pt x="5306805" y="8247467"/>
                  </a:lnTo>
                  <a:lnTo>
                    <a:pt x="5335548" y="8192255"/>
                  </a:lnTo>
                  <a:lnTo>
                    <a:pt x="5416309" y="8116545"/>
                  </a:lnTo>
                  <a:lnTo>
                    <a:pt x="5434419" y="8099545"/>
                  </a:lnTo>
                  <a:lnTo>
                    <a:pt x="5460976" y="8075400"/>
                  </a:lnTo>
                  <a:lnTo>
                    <a:pt x="5481598" y="8062145"/>
                  </a:lnTo>
                  <a:lnTo>
                    <a:pt x="5499996" y="8050279"/>
                  </a:lnTo>
                  <a:lnTo>
                    <a:pt x="5523812" y="8050577"/>
                  </a:lnTo>
                  <a:lnTo>
                    <a:pt x="5542806" y="8036299"/>
                  </a:lnTo>
                  <a:lnTo>
                    <a:pt x="5569198" y="8016486"/>
                  </a:lnTo>
                  <a:lnTo>
                    <a:pt x="5586794" y="7982569"/>
                  </a:lnTo>
                  <a:lnTo>
                    <a:pt x="5614895" y="7961485"/>
                  </a:lnTo>
                  <a:lnTo>
                    <a:pt x="5657742" y="7929350"/>
                  </a:lnTo>
                  <a:lnTo>
                    <a:pt x="5703727" y="7919574"/>
                  </a:lnTo>
                  <a:lnTo>
                    <a:pt x="5750915" y="7897554"/>
                  </a:lnTo>
                  <a:lnTo>
                    <a:pt x="5775527" y="7886165"/>
                  </a:lnTo>
                  <a:lnTo>
                    <a:pt x="5799842" y="7871289"/>
                  </a:lnTo>
                  <a:lnTo>
                    <a:pt x="5824367" y="7859469"/>
                  </a:lnTo>
                  <a:lnTo>
                    <a:pt x="5873422" y="7835840"/>
                  </a:lnTo>
                  <a:lnTo>
                    <a:pt x="5917456" y="7797544"/>
                  </a:lnTo>
                  <a:lnTo>
                    <a:pt x="5969912" y="7779223"/>
                  </a:lnTo>
                  <a:lnTo>
                    <a:pt x="6002502" y="7767788"/>
                  </a:lnTo>
                  <a:lnTo>
                    <a:pt x="6050335" y="7776507"/>
                  </a:lnTo>
                  <a:lnTo>
                    <a:pt x="6084169" y="7776507"/>
                  </a:lnTo>
                  <a:lnTo>
                    <a:pt x="6130615" y="7776507"/>
                  </a:lnTo>
                  <a:lnTo>
                    <a:pt x="6184820" y="7763407"/>
                  </a:lnTo>
                  <a:lnTo>
                    <a:pt x="6231068" y="7757460"/>
                  </a:lnTo>
                  <a:lnTo>
                    <a:pt x="6268889" y="7752574"/>
                  </a:lnTo>
                  <a:lnTo>
                    <a:pt x="6306133" y="7756570"/>
                  </a:lnTo>
                  <a:lnTo>
                    <a:pt x="6343960" y="7753383"/>
                  </a:lnTo>
                  <a:lnTo>
                    <a:pt x="6411544" y="7747771"/>
                  </a:lnTo>
                  <a:lnTo>
                    <a:pt x="6467866" y="7682652"/>
                  </a:lnTo>
                  <a:lnTo>
                    <a:pt x="6531664" y="7677214"/>
                  </a:lnTo>
                  <a:lnTo>
                    <a:pt x="6568821" y="7673980"/>
                  </a:lnTo>
                  <a:lnTo>
                    <a:pt x="6642953" y="7750660"/>
                  </a:lnTo>
                  <a:lnTo>
                    <a:pt x="6746578" y="7750660"/>
                  </a:lnTo>
                  <a:lnTo>
                    <a:pt x="6845366" y="7750660"/>
                  </a:lnTo>
                  <a:lnTo>
                    <a:pt x="6943729" y="7634199"/>
                  </a:lnTo>
                  <a:lnTo>
                    <a:pt x="7041747" y="7726181"/>
                  </a:lnTo>
                  <a:lnTo>
                    <a:pt x="7055347" y="7745225"/>
                  </a:lnTo>
                  <a:lnTo>
                    <a:pt x="7070645" y="7768176"/>
                  </a:lnTo>
                  <a:lnTo>
                    <a:pt x="7075026" y="7793170"/>
                  </a:lnTo>
                  <a:lnTo>
                    <a:pt x="7089351" y="7815956"/>
                  </a:lnTo>
                  <a:lnTo>
                    <a:pt x="7101973" y="7835933"/>
                  </a:lnTo>
                  <a:lnTo>
                    <a:pt x="7121274" y="7848087"/>
                  </a:lnTo>
                  <a:lnTo>
                    <a:pt x="7132877" y="7867639"/>
                  </a:lnTo>
                  <a:lnTo>
                    <a:pt x="7142364" y="7887874"/>
                  </a:lnTo>
                  <a:lnTo>
                    <a:pt x="7148643" y="7944366"/>
                  </a:lnTo>
                  <a:lnTo>
                    <a:pt x="7123668" y="7978882"/>
                  </a:lnTo>
                  <a:lnTo>
                    <a:pt x="7139667" y="8022700"/>
                  </a:lnTo>
                  <a:lnTo>
                    <a:pt x="7180347" y="8013395"/>
                  </a:lnTo>
                  <a:lnTo>
                    <a:pt x="7171969" y="7951296"/>
                  </a:lnTo>
                  <a:lnTo>
                    <a:pt x="7209039" y="7919332"/>
                  </a:lnTo>
                  <a:lnTo>
                    <a:pt x="7244402" y="7924771"/>
                  </a:lnTo>
                  <a:lnTo>
                    <a:pt x="7259024" y="7967150"/>
                  </a:lnTo>
                  <a:lnTo>
                    <a:pt x="7238197" y="7988110"/>
                  </a:lnTo>
                  <a:lnTo>
                    <a:pt x="7233522" y="8026789"/>
                  </a:lnTo>
                  <a:lnTo>
                    <a:pt x="7281168" y="7974160"/>
                  </a:lnTo>
                  <a:lnTo>
                    <a:pt x="7266720" y="7911761"/>
                  </a:lnTo>
                  <a:lnTo>
                    <a:pt x="7301527" y="7854034"/>
                  </a:lnTo>
                  <a:lnTo>
                    <a:pt x="7325460" y="7814381"/>
                  </a:lnTo>
                  <a:lnTo>
                    <a:pt x="7352835" y="7769456"/>
                  </a:lnTo>
                  <a:lnTo>
                    <a:pt x="7383147" y="7734339"/>
                  </a:lnTo>
                  <a:lnTo>
                    <a:pt x="7408398" y="7705057"/>
                  </a:lnTo>
                  <a:lnTo>
                    <a:pt x="7456938" y="7660765"/>
                  </a:lnTo>
                  <a:lnTo>
                    <a:pt x="7475634" y="7629604"/>
                  </a:lnTo>
                  <a:lnTo>
                    <a:pt x="7494963" y="7601891"/>
                  </a:lnTo>
                  <a:lnTo>
                    <a:pt x="7511554" y="7577021"/>
                  </a:lnTo>
                  <a:lnTo>
                    <a:pt x="7532936" y="7545402"/>
                  </a:lnTo>
                  <a:lnTo>
                    <a:pt x="7551809" y="7528953"/>
                  </a:lnTo>
                  <a:lnTo>
                    <a:pt x="7619690" y="7469487"/>
                  </a:lnTo>
                  <a:lnTo>
                    <a:pt x="7686083" y="7421409"/>
                  </a:lnTo>
                  <a:lnTo>
                    <a:pt x="7770801" y="7387492"/>
                  </a:lnTo>
                  <a:lnTo>
                    <a:pt x="7820060" y="7367766"/>
                  </a:lnTo>
                  <a:lnTo>
                    <a:pt x="7896111" y="7354802"/>
                  </a:lnTo>
                  <a:lnTo>
                    <a:pt x="7934025" y="7337166"/>
                  </a:lnTo>
                  <a:lnTo>
                    <a:pt x="7986294" y="7312805"/>
                  </a:lnTo>
                  <a:lnTo>
                    <a:pt x="8078124" y="7240589"/>
                  </a:lnTo>
                  <a:lnTo>
                    <a:pt x="8124453" y="7232425"/>
                  </a:lnTo>
                  <a:lnTo>
                    <a:pt x="8184161" y="7221887"/>
                  </a:lnTo>
                  <a:lnTo>
                    <a:pt x="8285175" y="7260911"/>
                  </a:lnTo>
                  <a:lnTo>
                    <a:pt x="8339361" y="7239231"/>
                  </a:lnTo>
                  <a:lnTo>
                    <a:pt x="8376720" y="7224268"/>
                  </a:lnTo>
                  <a:lnTo>
                    <a:pt x="8379489" y="7179976"/>
                  </a:lnTo>
                  <a:lnTo>
                    <a:pt x="8403292" y="7153537"/>
                  </a:lnTo>
                  <a:lnTo>
                    <a:pt x="8431253" y="7134196"/>
                  </a:lnTo>
                  <a:lnTo>
                    <a:pt x="8465608" y="7129480"/>
                  </a:lnTo>
                  <a:lnTo>
                    <a:pt x="8487079" y="7126454"/>
                  </a:lnTo>
                  <a:lnTo>
                    <a:pt x="8508024" y="7134490"/>
                  </a:lnTo>
                  <a:lnTo>
                    <a:pt x="8546328" y="7154638"/>
                  </a:lnTo>
                  <a:lnTo>
                    <a:pt x="8609528" y="7169267"/>
                  </a:lnTo>
                  <a:lnTo>
                    <a:pt x="8710402" y="7119279"/>
                  </a:lnTo>
                  <a:lnTo>
                    <a:pt x="8812709" y="7152179"/>
                  </a:lnTo>
                  <a:lnTo>
                    <a:pt x="8929136" y="7189585"/>
                  </a:lnTo>
                  <a:lnTo>
                    <a:pt x="8942865" y="7209983"/>
                  </a:lnTo>
                  <a:lnTo>
                    <a:pt x="9011302" y="7307239"/>
                  </a:lnTo>
                  <a:lnTo>
                    <a:pt x="9027781" y="7330742"/>
                  </a:lnTo>
                  <a:lnTo>
                    <a:pt x="9057472" y="7342391"/>
                  </a:lnTo>
                  <a:lnTo>
                    <a:pt x="9073868" y="7367087"/>
                  </a:lnTo>
                  <a:lnTo>
                    <a:pt x="9140475" y="7466935"/>
                  </a:lnTo>
                  <a:lnTo>
                    <a:pt x="9120185" y="7563931"/>
                  </a:lnTo>
                  <a:lnTo>
                    <a:pt x="9072516" y="7669056"/>
                  </a:lnTo>
                  <a:lnTo>
                    <a:pt x="9062610" y="7690984"/>
                  </a:lnTo>
                  <a:lnTo>
                    <a:pt x="9044416" y="7712027"/>
                  </a:lnTo>
                  <a:lnTo>
                    <a:pt x="9033071" y="7732978"/>
                  </a:lnTo>
                  <a:lnTo>
                    <a:pt x="9012120" y="7771363"/>
                  </a:lnTo>
                  <a:lnTo>
                    <a:pt x="9023167" y="7814551"/>
                  </a:lnTo>
                  <a:lnTo>
                    <a:pt x="8997702" y="7849960"/>
                  </a:lnTo>
                  <a:lnTo>
                    <a:pt x="8961754" y="7876439"/>
                  </a:lnTo>
                  <a:lnTo>
                    <a:pt x="8922553" y="7817658"/>
                  </a:lnTo>
                  <a:lnTo>
                    <a:pt x="8910399" y="7840438"/>
                  </a:lnTo>
                  <a:lnTo>
                    <a:pt x="8934624" y="7877586"/>
                  </a:lnTo>
                  <a:lnTo>
                    <a:pt x="8958260" y="7888044"/>
                  </a:lnTo>
                  <a:lnTo>
                    <a:pt x="9006502" y="7896593"/>
                  </a:lnTo>
                  <a:lnTo>
                    <a:pt x="9050964" y="7853107"/>
                  </a:lnTo>
                  <a:lnTo>
                    <a:pt x="9155283" y="7543315"/>
                  </a:lnTo>
                  <a:lnTo>
                    <a:pt x="9184048" y="7475902"/>
                  </a:lnTo>
                  <a:lnTo>
                    <a:pt x="9201650" y="7434674"/>
                  </a:lnTo>
                  <a:lnTo>
                    <a:pt x="9202291" y="7386345"/>
                  </a:lnTo>
                  <a:lnTo>
                    <a:pt x="9218058" y="7345324"/>
                  </a:lnTo>
                  <a:lnTo>
                    <a:pt x="9246444" y="7271449"/>
                  </a:lnTo>
                  <a:lnTo>
                    <a:pt x="9315618" y="7178829"/>
                  </a:lnTo>
                  <a:lnTo>
                    <a:pt x="9324151" y="7105928"/>
                  </a:lnTo>
                  <a:lnTo>
                    <a:pt x="9313829" y="7075244"/>
                  </a:lnTo>
                  <a:lnTo>
                    <a:pt x="9289390" y="7060616"/>
                  </a:lnTo>
                  <a:lnTo>
                    <a:pt x="9294230" y="7025675"/>
                  </a:lnTo>
                  <a:lnTo>
                    <a:pt x="9332910" y="6996561"/>
                  </a:lnTo>
                  <a:lnTo>
                    <a:pt x="9365342" y="7019307"/>
                  </a:lnTo>
                  <a:lnTo>
                    <a:pt x="9397604" y="7005277"/>
                  </a:lnTo>
                  <a:lnTo>
                    <a:pt x="9440109" y="6986738"/>
                  </a:lnTo>
                  <a:lnTo>
                    <a:pt x="9468381" y="6887619"/>
                  </a:lnTo>
                  <a:lnTo>
                    <a:pt x="9520018" y="6848852"/>
                  </a:lnTo>
                  <a:lnTo>
                    <a:pt x="9572982" y="6809152"/>
                  </a:lnTo>
                  <a:lnTo>
                    <a:pt x="9623912" y="6813025"/>
                  </a:lnTo>
                  <a:lnTo>
                    <a:pt x="9658763" y="6791721"/>
                  </a:lnTo>
                  <a:lnTo>
                    <a:pt x="9702965" y="6764690"/>
                  </a:lnTo>
                  <a:lnTo>
                    <a:pt x="9724427" y="6718782"/>
                  </a:lnTo>
                  <a:lnTo>
                    <a:pt x="9774377" y="6693789"/>
                  </a:lnTo>
                  <a:lnTo>
                    <a:pt x="9804509" y="6678745"/>
                  </a:lnTo>
                  <a:lnTo>
                    <a:pt x="9836185" y="6668885"/>
                  </a:lnTo>
                  <a:lnTo>
                    <a:pt x="9865516" y="6651627"/>
                  </a:lnTo>
                  <a:lnTo>
                    <a:pt x="9891115" y="6636490"/>
                  </a:lnTo>
                  <a:lnTo>
                    <a:pt x="9914543" y="6618429"/>
                  </a:lnTo>
                  <a:lnTo>
                    <a:pt x="9940327" y="6604017"/>
                  </a:lnTo>
                  <a:lnTo>
                    <a:pt x="9885918" y="6504724"/>
                  </a:lnTo>
                  <a:lnTo>
                    <a:pt x="9836953" y="6408150"/>
                  </a:lnTo>
                  <a:lnTo>
                    <a:pt x="9816620" y="6355778"/>
                  </a:lnTo>
                  <a:lnTo>
                    <a:pt x="9826027" y="6319269"/>
                  </a:lnTo>
                  <a:lnTo>
                    <a:pt x="9912571" y="6233147"/>
                  </a:lnTo>
                  <a:lnTo>
                    <a:pt x="9931695" y="6214174"/>
                  </a:lnTo>
                  <a:lnTo>
                    <a:pt x="9952568" y="6200039"/>
                  </a:lnTo>
                  <a:lnTo>
                    <a:pt x="9970124" y="6184437"/>
                  </a:lnTo>
                  <a:lnTo>
                    <a:pt x="9984014" y="6165607"/>
                  </a:lnTo>
                  <a:lnTo>
                    <a:pt x="10004974" y="6154001"/>
                  </a:lnTo>
                  <a:lnTo>
                    <a:pt x="10032352" y="6139419"/>
                  </a:lnTo>
                  <a:lnTo>
                    <a:pt x="10086675" y="6174664"/>
                  </a:lnTo>
                  <a:lnTo>
                    <a:pt x="10119863" y="6185075"/>
                  </a:lnTo>
                  <a:lnTo>
                    <a:pt x="10144191" y="6168965"/>
                  </a:lnTo>
                  <a:lnTo>
                    <a:pt x="10208112" y="6126884"/>
                  </a:lnTo>
                  <a:lnTo>
                    <a:pt x="10223243" y="6099381"/>
                  </a:lnTo>
                  <a:lnTo>
                    <a:pt x="10216726" y="6066097"/>
                  </a:lnTo>
                  <a:lnTo>
                    <a:pt x="10196274" y="6040594"/>
                  </a:lnTo>
                  <a:lnTo>
                    <a:pt x="10175637" y="6016413"/>
                  </a:lnTo>
                  <a:lnTo>
                    <a:pt x="10154981" y="5992222"/>
                  </a:lnTo>
                  <a:lnTo>
                    <a:pt x="10134455" y="5969225"/>
                  </a:lnTo>
                  <a:lnTo>
                    <a:pt x="10125314" y="5941599"/>
                  </a:lnTo>
                  <a:lnTo>
                    <a:pt x="10133090" y="5914844"/>
                  </a:lnTo>
                  <a:lnTo>
                    <a:pt x="10161002" y="5892507"/>
                  </a:lnTo>
                  <a:lnTo>
                    <a:pt x="10186520" y="5870868"/>
                  </a:lnTo>
                  <a:lnTo>
                    <a:pt x="10211151" y="5849146"/>
                  </a:lnTo>
                  <a:lnTo>
                    <a:pt x="10227156" y="5827302"/>
                  </a:lnTo>
                  <a:lnTo>
                    <a:pt x="10228688" y="5804221"/>
                  </a:lnTo>
                  <a:lnTo>
                    <a:pt x="10215634" y="5781522"/>
                  </a:lnTo>
                  <a:lnTo>
                    <a:pt x="10197378" y="5766552"/>
                  </a:lnTo>
                  <a:lnTo>
                    <a:pt x="10176995" y="5753889"/>
                  </a:lnTo>
                  <a:lnTo>
                    <a:pt x="10156618" y="5741239"/>
                  </a:lnTo>
                  <a:lnTo>
                    <a:pt x="10134089" y="5730306"/>
                  </a:lnTo>
                  <a:lnTo>
                    <a:pt x="10115789" y="5714444"/>
                  </a:lnTo>
                  <a:lnTo>
                    <a:pt x="10092070" y="5693961"/>
                  </a:lnTo>
                  <a:lnTo>
                    <a:pt x="10068815" y="5660800"/>
                  </a:lnTo>
                  <a:lnTo>
                    <a:pt x="10047775" y="5636914"/>
                  </a:lnTo>
                  <a:lnTo>
                    <a:pt x="10012546" y="5651964"/>
                  </a:lnTo>
                  <a:lnTo>
                    <a:pt x="9989887" y="5685841"/>
                  </a:lnTo>
                  <a:lnTo>
                    <a:pt x="9983847" y="5714444"/>
                  </a:lnTo>
                  <a:lnTo>
                    <a:pt x="9932966" y="5665774"/>
                  </a:lnTo>
                  <a:lnTo>
                    <a:pt x="9872145" y="5624502"/>
                  </a:lnTo>
                  <a:lnTo>
                    <a:pt x="9820626" y="5590665"/>
                  </a:lnTo>
                  <a:lnTo>
                    <a:pt x="9789899" y="5458602"/>
                  </a:lnTo>
                  <a:lnTo>
                    <a:pt x="9782544" y="5435605"/>
                  </a:lnTo>
                  <a:lnTo>
                    <a:pt x="9770657" y="5398627"/>
                  </a:lnTo>
                  <a:lnTo>
                    <a:pt x="9758292" y="5360720"/>
                  </a:lnTo>
                  <a:lnTo>
                    <a:pt x="9741734" y="5324064"/>
                  </a:lnTo>
                  <a:lnTo>
                    <a:pt x="9725171" y="5287419"/>
                  </a:lnTo>
                  <a:lnTo>
                    <a:pt x="9704565" y="5253077"/>
                  </a:lnTo>
                  <a:lnTo>
                    <a:pt x="9680529" y="5222055"/>
                  </a:lnTo>
                  <a:lnTo>
                    <a:pt x="9659947" y="5195486"/>
                  </a:lnTo>
                  <a:lnTo>
                    <a:pt x="9553517" y="5136699"/>
                  </a:lnTo>
                  <a:lnTo>
                    <a:pt x="9518660" y="5122756"/>
                  </a:lnTo>
                  <a:lnTo>
                    <a:pt x="9485936" y="5109625"/>
                  </a:lnTo>
                  <a:lnTo>
                    <a:pt x="9451374" y="5104645"/>
                  </a:lnTo>
                  <a:lnTo>
                    <a:pt x="9422086" y="5083313"/>
                  </a:lnTo>
                  <a:lnTo>
                    <a:pt x="9401957" y="5068567"/>
                  </a:lnTo>
                  <a:lnTo>
                    <a:pt x="9389393" y="5049098"/>
                  </a:lnTo>
                  <a:lnTo>
                    <a:pt x="9373118" y="5032988"/>
                  </a:lnTo>
                  <a:lnTo>
                    <a:pt x="9338916" y="4999148"/>
                  </a:lnTo>
                  <a:lnTo>
                    <a:pt x="9307228" y="4975137"/>
                  </a:lnTo>
                  <a:lnTo>
                    <a:pt x="9286066" y="4929611"/>
                  </a:lnTo>
                  <a:lnTo>
                    <a:pt x="9292872" y="4909206"/>
                  </a:lnTo>
                  <a:lnTo>
                    <a:pt x="9326268" y="4892423"/>
                  </a:lnTo>
                  <a:lnTo>
                    <a:pt x="9351355" y="4890168"/>
                  </a:lnTo>
                  <a:lnTo>
                    <a:pt x="9376461" y="4887905"/>
                  </a:lnTo>
                  <a:lnTo>
                    <a:pt x="9406059" y="4889186"/>
                  </a:lnTo>
                  <a:lnTo>
                    <a:pt x="9435691" y="4888807"/>
                  </a:lnTo>
                  <a:lnTo>
                    <a:pt x="9465302" y="4888407"/>
                  </a:lnTo>
                  <a:lnTo>
                    <a:pt x="9494940" y="4887409"/>
                  </a:lnTo>
                  <a:lnTo>
                    <a:pt x="9521376" y="4882001"/>
                  </a:lnTo>
                  <a:lnTo>
                    <a:pt x="9547824" y="4876594"/>
                  </a:lnTo>
                  <a:lnTo>
                    <a:pt x="9571115" y="4866716"/>
                  </a:lnTo>
                  <a:lnTo>
                    <a:pt x="9586674" y="4849359"/>
                  </a:lnTo>
                  <a:lnTo>
                    <a:pt x="9596850" y="4821521"/>
                  </a:lnTo>
                  <a:lnTo>
                    <a:pt x="9593216" y="4758006"/>
                  </a:lnTo>
                  <a:lnTo>
                    <a:pt x="9583970" y="4694298"/>
                  </a:lnTo>
                  <a:lnTo>
                    <a:pt x="9574706" y="4630590"/>
                  </a:lnTo>
                  <a:lnTo>
                    <a:pt x="9558918" y="4566139"/>
                  </a:lnTo>
                  <a:lnTo>
                    <a:pt x="9545889" y="4539232"/>
                  </a:lnTo>
                  <a:lnTo>
                    <a:pt x="9530095" y="4506567"/>
                  </a:lnTo>
                  <a:lnTo>
                    <a:pt x="9504242" y="4488512"/>
                  </a:lnTo>
                  <a:lnTo>
                    <a:pt x="9488758" y="4467143"/>
                  </a:lnTo>
                  <a:lnTo>
                    <a:pt x="9476554" y="4444273"/>
                  </a:lnTo>
                  <a:lnTo>
                    <a:pt x="9476492" y="4416566"/>
                  </a:lnTo>
                  <a:lnTo>
                    <a:pt x="9494202" y="4380091"/>
                  </a:lnTo>
                  <a:lnTo>
                    <a:pt x="9506784" y="4359388"/>
                  </a:lnTo>
                  <a:lnTo>
                    <a:pt x="9551923" y="4337883"/>
                  </a:lnTo>
                  <a:lnTo>
                    <a:pt x="9577174" y="4335207"/>
                  </a:lnTo>
                  <a:lnTo>
                    <a:pt x="9608459" y="4374650"/>
                  </a:lnTo>
                  <a:lnTo>
                    <a:pt x="9632941" y="4382854"/>
                  </a:lnTo>
                  <a:lnTo>
                    <a:pt x="9662707" y="4364238"/>
                  </a:lnTo>
                  <a:lnTo>
                    <a:pt x="9683264" y="4376008"/>
                  </a:lnTo>
                  <a:lnTo>
                    <a:pt x="9699430" y="4396202"/>
                  </a:lnTo>
                  <a:lnTo>
                    <a:pt x="9710921" y="4420690"/>
                  </a:lnTo>
                  <a:lnTo>
                    <a:pt x="9753901" y="4428637"/>
                  </a:lnTo>
                  <a:lnTo>
                    <a:pt x="9797520" y="4433139"/>
                  </a:lnTo>
                  <a:lnTo>
                    <a:pt x="9841164" y="4437632"/>
                  </a:lnTo>
                  <a:lnTo>
                    <a:pt x="9885906" y="4438047"/>
                  </a:lnTo>
                  <a:lnTo>
                    <a:pt x="9926567" y="4428380"/>
                  </a:lnTo>
                  <a:lnTo>
                    <a:pt x="10038026" y="4391138"/>
                  </a:lnTo>
                  <a:lnTo>
                    <a:pt x="10055960" y="4369202"/>
                  </a:lnTo>
                  <a:lnTo>
                    <a:pt x="10068022" y="4346847"/>
                  </a:lnTo>
                  <a:lnTo>
                    <a:pt x="10056748" y="4295116"/>
                  </a:lnTo>
                  <a:lnTo>
                    <a:pt x="10055960" y="4269909"/>
                  </a:lnTo>
                  <a:lnTo>
                    <a:pt x="10055229" y="4246195"/>
                  </a:lnTo>
                  <a:lnTo>
                    <a:pt x="10065082" y="4223744"/>
                  </a:lnTo>
                  <a:lnTo>
                    <a:pt x="10077733" y="4203262"/>
                  </a:lnTo>
                  <a:lnTo>
                    <a:pt x="10090358" y="4182779"/>
                  </a:lnTo>
                  <a:lnTo>
                    <a:pt x="10105917" y="4163289"/>
                  </a:lnTo>
                  <a:lnTo>
                    <a:pt x="10114450" y="4143414"/>
                  </a:lnTo>
                  <a:lnTo>
                    <a:pt x="10129475" y="4108433"/>
                  </a:lnTo>
                  <a:lnTo>
                    <a:pt x="10133314" y="4075862"/>
                  </a:lnTo>
                  <a:lnTo>
                    <a:pt x="10144370" y="4048195"/>
                  </a:lnTo>
                  <a:lnTo>
                    <a:pt x="10157784" y="4022206"/>
                  </a:lnTo>
                  <a:lnTo>
                    <a:pt x="10179934" y="4000747"/>
                  </a:lnTo>
                  <a:lnTo>
                    <a:pt x="10215101" y="3984270"/>
                  </a:lnTo>
                  <a:lnTo>
                    <a:pt x="10236328" y="3983743"/>
                  </a:lnTo>
                  <a:lnTo>
                    <a:pt x="10272232" y="3997869"/>
                  </a:lnTo>
                  <a:lnTo>
                    <a:pt x="10302041" y="4017462"/>
                  </a:lnTo>
                  <a:lnTo>
                    <a:pt x="10339124" y="4060712"/>
                  </a:lnTo>
                  <a:lnTo>
                    <a:pt x="10356413" y="4099141"/>
                  </a:lnTo>
                  <a:lnTo>
                    <a:pt x="10368809" y="4135256"/>
                  </a:lnTo>
                  <a:lnTo>
                    <a:pt x="10393713" y="4123056"/>
                  </a:lnTo>
                  <a:lnTo>
                    <a:pt x="10433798" y="4100229"/>
                  </a:lnTo>
                  <a:lnTo>
                    <a:pt x="10451781" y="4078125"/>
                  </a:lnTo>
                  <a:lnTo>
                    <a:pt x="10456370" y="4054573"/>
                  </a:lnTo>
                  <a:lnTo>
                    <a:pt x="10441617" y="4031325"/>
                  </a:lnTo>
                  <a:lnTo>
                    <a:pt x="10438176" y="4008752"/>
                  </a:lnTo>
                  <a:lnTo>
                    <a:pt x="10433376" y="3977254"/>
                  </a:lnTo>
                  <a:lnTo>
                    <a:pt x="10436005" y="3935033"/>
                  </a:lnTo>
                  <a:lnTo>
                    <a:pt x="10446343" y="3895860"/>
                  </a:lnTo>
                  <a:lnTo>
                    <a:pt x="10456686" y="3856681"/>
                  </a:lnTo>
                  <a:lnTo>
                    <a:pt x="10474248" y="3819939"/>
                  </a:lnTo>
                  <a:lnTo>
                    <a:pt x="10498029" y="3797919"/>
                  </a:lnTo>
                  <a:lnTo>
                    <a:pt x="10506779" y="3773229"/>
                  </a:lnTo>
                  <a:lnTo>
                    <a:pt x="10491096" y="3737820"/>
                  </a:lnTo>
                  <a:lnTo>
                    <a:pt x="10496678" y="3709509"/>
                  </a:lnTo>
                  <a:lnTo>
                    <a:pt x="10502730" y="3678630"/>
                  </a:lnTo>
                  <a:lnTo>
                    <a:pt x="10523138" y="3649773"/>
                  </a:lnTo>
                  <a:lnTo>
                    <a:pt x="10542913" y="3621096"/>
                  </a:lnTo>
                  <a:lnTo>
                    <a:pt x="10562714" y="3592421"/>
                  </a:lnTo>
                  <a:lnTo>
                    <a:pt x="10582359" y="3563927"/>
                  </a:lnTo>
                  <a:lnTo>
                    <a:pt x="10583730" y="3531327"/>
                  </a:lnTo>
                  <a:lnTo>
                    <a:pt x="10539050" y="3514147"/>
                  </a:lnTo>
                  <a:lnTo>
                    <a:pt x="10508218" y="3535612"/>
                  </a:lnTo>
                  <a:lnTo>
                    <a:pt x="10480356" y="3534043"/>
                  </a:lnTo>
                  <a:lnTo>
                    <a:pt x="10431472" y="3531281"/>
                  </a:lnTo>
                  <a:lnTo>
                    <a:pt x="10379568" y="3502080"/>
                  </a:lnTo>
                  <a:lnTo>
                    <a:pt x="10310326" y="3504117"/>
                  </a:lnTo>
                  <a:lnTo>
                    <a:pt x="10295381" y="3557165"/>
                  </a:lnTo>
                  <a:lnTo>
                    <a:pt x="10267377" y="3584456"/>
                  </a:lnTo>
                  <a:lnTo>
                    <a:pt x="10234176" y="3578928"/>
                  </a:lnTo>
                  <a:lnTo>
                    <a:pt x="10226226" y="3557211"/>
                  </a:lnTo>
                  <a:lnTo>
                    <a:pt x="10207548" y="3525582"/>
                  </a:lnTo>
                  <a:lnTo>
                    <a:pt x="10193657" y="3498576"/>
                  </a:lnTo>
                  <a:lnTo>
                    <a:pt x="10178402" y="3472838"/>
                  </a:lnTo>
                  <a:lnTo>
                    <a:pt x="10163160" y="3447091"/>
                  </a:lnTo>
                  <a:lnTo>
                    <a:pt x="10145710" y="3422742"/>
                  </a:lnTo>
                  <a:lnTo>
                    <a:pt x="10125358" y="3406188"/>
                  </a:lnTo>
                  <a:lnTo>
                    <a:pt x="10092076" y="3379196"/>
                  </a:lnTo>
                  <a:lnTo>
                    <a:pt x="10052891" y="3359346"/>
                  </a:lnTo>
                  <a:lnTo>
                    <a:pt x="10019262" y="3332735"/>
                  </a:lnTo>
                  <a:lnTo>
                    <a:pt x="9991970" y="3311057"/>
                  </a:lnTo>
                  <a:lnTo>
                    <a:pt x="9975227" y="3278240"/>
                  </a:lnTo>
                  <a:lnTo>
                    <a:pt x="9951253" y="3256563"/>
                  </a:lnTo>
                  <a:lnTo>
                    <a:pt x="9928470" y="3235908"/>
                  </a:lnTo>
                  <a:lnTo>
                    <a:pt x="9900460" y="3220179"/>
                  </a:lnTo>
                  <a:lnTo>
                    <a:pt x="9877801" y="3199439"/>
                  </a:lnTo>
                  <a:lnTo>
                    <a:pt x="9834492" y="3159691"/>
                  </a:lnTo>
                  <a:lnTo>
                    <a:pt x="9812434" y="3081521"/>
                  </a:lnTo>
                  <a:lnTo>
                    <a:pt x="9771705" y="3045731"/>
                  </a:lnTo>
                  <a:lnTo>
                    <a:pt x="9737406" y="3015599"/>
                  </a:lnTo>
                  <a:lnTo>
                    <a:pt x="9715411" y="3014933"/>
                  </a:lnTo>
                  <a:lnTo>
                    <a:pt x="9694171" y="3006287"/>
                  </a:lnTo>
                  <a:lnTo>
                    <a:pt x="9673825" y="2995920"/>
                  </a:lnTo>
                  <a:lnTo>
                    <a:pt x="9649244" y="2970403"/>
                  </a:lnTo>
                  <a:lnTo>
                    <a:pt x="9635273" y="2950995"/>
                  </a:lnTo>
                  <a:lnTo>
                    <a:pt x="9618002" y="2920593"/>
                  </a:lnTo>
                  <a:lnTo>
                    <a:pt x="9571593" y="2929950"/>
                  </a:lnTo>
                  <a:lnTo>
                    <a:pt x="9493973" y="2983000"/>
                  </a:lnTo>
                  <a:lnTo>
                    <a:pt x="9475180" y="3002211"/>
                  </a:lnTo>
                  <a:lnTo>
                    <a:pt x="9452236" y="3028005"/>
                  </a:lnTo>
                  <a:lnTo>
                    <a:pt x="9424690" y="3052589"/>
                  </a:lnTo>
                  <a:lnTo>
                    <a:pt x="9392212" y="3056618"/>
                  </a:lnTo>
                  <a:lnTo>
                    <a:pt x="9373295" y="3014920"/>
                  </a:lnTo>
                  <a:lnTo>
                    <a:pt x="9342776" y="2976220"/>
                  </a:lnTo>
                  <a:lnTo>
                    <a:pt x="9310598" y="2938280"/>
                  </a:lnTo>
                  <a:lnTo>
                    <a:pt x="9278408" y="2900346"/>
                  </a:lnTo>
                  <a:lnTo>
                    <a:pt x="9245473" y="2862709"/>
                  </a:lnTo>
                  <a:lnTo>
                    <a:pt x="9220821" y="2824023"/>
                  </a:lnTo>
                  <a:lnTo>
                    <a:pt x="9205963" y="2800691"/>
                  </a:lnTo>
                  <a:lnTo>
                    <a:pt x="9192766" y="2774806"/>
                  </a:lnTo>
                  <a:lnTo>
                    <a:pt x="9177295" y="2751935"/>
                  </a:lnTo>
                  <a:lnTo>
                    <a:pt x="9151240" y="2721546"/>
                  </a:lnTo>
                  <a:lnTo>
                    <a:pt x="9120197" y="2716104"/>
                  </a:lnTo>
                  <a:lnTo>
                    <a:pt x="9079691" y="2739028"/>
                  </a:lnTo>
                  <a:lnTo>
                    <a:pt x="9037201" y="2760092"/>
                  </a:lnTo>
                  <a:lnTo>
                    <a:pt x="9015952" y="2770631"/>
                  </a:lnTo>
                  <a:lnTo>
                    <a:pt x="8993879" y="2779679"/>
                  </a:lnTo>
                  <a:lnTo>
                    <a:pt x="8955376" y="2792196"/>
                  </a:lnTo>
                  <a:lnTo>
                    <a:pt x="8927018" y="2790013"/>
                  </a:lnTo>
                  <a:lnTo>
                    <a:pt x="8906899" y="2746381"/>
                  </a:lnTo>
                  <a:lnTo>
                    <a:pt x="8917075" y="2708052"/>
                  </a:lnTo>
                  <a:lnTo>
                    <a:pt x="8925660" y="2674398"/>
                  </a:lnTo>
                  <a:lnTo>
                    <a:pt x="8934255" y="2640744"/>
                  </a:lnTo>
                  <a:lnTo>
                    <a:pt x="8941858" y="2610830"/>
                  </a:lnTo>
                  <a:lnTo>
                    <a:pt x="8931102" y="2592786"/>
                  </a:lnTo>
                  <a:lnTo>
                    <a:pt x="8874854" y="2588532"/>
                  </a:lnTo>
                  <a:lnTo>
                    <a:pt x="8841430" y="2585163"/>
                  </a:lnTo>
                  <a:lnTo>
                    <a:pt x="8826717" y="2563196"/>
                  </a:lnTo>
                  <a:lnTo>
                    <a:pt x="8815487" y="2538379"/>
                  </a:lnTo>
                  <a:lnTo>
                    <a:pt x="8804241" y="2513568"/>
                  </a:lnTo>
                  <a:lnTo>
                    <a:pt x="8795997" y="2485862"/>
                  </a:lnTo>
                  <a:lnTo>
                    <a:pt x="8801379" y="2460678"/>
                  </a:lnTo>
                  <a:lnTo>
                    <a:pt x="8888636" y="2448992"/>
                  </a:lnTo>
                  <a:lnTo>
                    <a:pt x="8920219" y="2425486"/>
                  </a:lnTo>
                  <a:lnTo>
                    <a:pt x="8926925" y="2402193"/>
                  </a:lnTo>
                  <a:lnTo>
                    <a:pt x="8883294" y="2380846"/>
                  </a:lnTo>
                  <a:lnTo>
                    <a:pt x="8848130" y="2375154"/>
                  </a:lnTo>
                  <a:lnTo>
                    <a:pt x="8812954" y="2369470"/>
                  </a:lnTo>
                  <a:lnTo>
                    <a:pt x="8776274" y="2361918"/>
                  </a:lnTo>
                  <a:lnTo>
                    <a:pt x="8741879" y="2319711"/>
                  </a:lnTo>
                  <a:lnTo>
                    <a:pt x="8733638" y="2277622"/>
                  </a:lnTo>
                  <a:lnTo>
                    <a:pt x="8724352" y="2235059"/>
                  </a:lnTo>
                  <a:lnTo>
                    <a:pt x="8715072" y="2192496"/>
                  </a:lnTo>
                  <a:lnTo>
                    <a:pt x="8705503" y="2149959"/>
                  </a:lnTo>
                  <a:lnTo>
                    <a:pt x="8680826" y="2120803"/>
                  </a:lnTo>
                  <a:lnTo>
                    <a:pt x="8662464" y="2099078"/>
                  </a:lnTo>
                  <a:lnTo>
                    <a:pt x="8639371" y="2078760"/>
                  </a:lnTo>
                  <a:lnTo>
                    <a:pt x="8619617" y="2058230"/>
                  </a:lnTo>
                  <a:lnTo>
                    <a:pt x="8606244" y="1984307"/>
                  </a:lnTo>
                  <a:lnTo>
                    <a:pt x="8601937" y="1922210"/>
                  </a:lnTo>
                  <a:lnTo>
                    <a:pt x="8597631" y="1860113"/>
                  </a:lnTo>
                  <a:lnTo>
                    <a:pt x="8591907" y="1798410"/>
                  </a:lnTo>
                  <a:lnTo>
                    <a:pt x="8558166" y="1781640"/>
                  </a:lnTo>
                  <a:lnTo>
                    <a:pt x="8500598" y="1805955"/>
                  </a:lnTo>
                  <a:lnTo>
                    <a:pt x="8475433" y="1809312"/>
                  </a:lnTo>
                  <a:lnTo>
                    <a:pt x="8443891" y="1813553"/>
                  </a:lnTo>
                  <a:lnTo>
                    <a:pt x="8406920" y="1812451"/>
                  </a:lnTo>
                  <a:lnTo>
                    <a:pt x="8374782" y="1802512"/>
                  </a:lnTo>
                  <a:lnTo>
                    <a:pt x="8344148" y="1790682"/>
                  </a:lnTo>
                  <a:lnTo>
                    <a:pt x="8318348" y="1770818"/>
                  </a:lnTo>
                  <a:lnTo>
                    <a:pt x="8299968" y="1742664"/>
                  </a:lnTo>
                  <a:lnTo>
                    <a:pt x="8291786" y="1721666"/>
                  </a:lnTo>
                  <a:lnTo>
                    <a:pt x="8303946" y="1683073"/>
                  </a:lnTo>
                  <a:lnTo>
                    <a:pt x="8318705" y="1647269"/>
                  </a:lnTo>
                  <a:lnTo>
                    <a:pt x="8325815" y="1610727"/>
                  </a:lnTo>
                  <a:lnTo>
                    <a:pt x="8331380" y="1573841"/>
                  </a:lnTo>
                  <a:lnTo>
                    <a:pt x="8328425" y="1538796"/>
                  </a:lnTo>
                  <a:lnTo>
                    <a:pt x="8313580" y="1507352"/>
                  </a:lnTo>
                  <a:lnTo>
                    <a:pt x="8288446" y="1514585"/>
                  </a:lnTo>
                  <a:lnTo>
                    <a:pt x="8258092" y="1522743"/>
                  </a:lnTo>
                  <a:lnTo>
                    <a:pt x="8213840" y="1531105"/>
                  </a:lnTo>
                  <a:lnTo>
                    <a:pt x="8188905" y="1534542"/>
                  </a:lnTo>
                  <a:lnTo>
                    <a:pt x="8163961" y="1537272"/>
                  </a:lnTo>
                  <a:lnTo>
                    <a:pt x="8114085" y="1542746"/>
                  </a:lnTo>
                  <a:lnTo>
                    <a:pt x="8064221" y="1545397"/>
                  </a:lnTo>
                  <a:lnTo>
                    <a:pt x="8012978" y="1553594"/>
                  </a:lnTo>
                  <a:lnTo>
                    <a:pt x="7981671" y="1558600"/>
                  </a:lnTo>
                  <a:lnTo>
                    <a:pt x="7950200" y="1567260"/>
                  </a:lnTo>
                  <a:lnTo>
                    <a:pt x="7919126" y="1575365"/>
                  </a:lnTo>
                  <a:lnTo>
                    <a:pt x="7888046" y="1583463"/>
                  </a:lnTo>
                  <a:lnTo>
                    <a:pt x="7856553" y="1590881"/>
                  </a:lnTo>
                  <a:lnTo>
                    <a:pt x="7825275" y="1595762"/>
                  </a:lnTo>
                  <a:lnTo>
                    <a:pt x="7797624" y="1600068"/>
                  </a:lnTo>
                  <a:lnTo>
                    <a:pt x="7771052" y="1600610"/>
                  </a:lnTo>
                  <a:lnTo>
                    <a:pt x="7743664" y="1601203"/>
                  </a:lnTo>
                  <a:lnTo>
                    <a:pt x="7716261" y="1601797"/>
                  </a:lnTo>
                  <a:lnTo>
                    <a:pt x="7688911" y="1602839"/>
                  </a:lnTo>
                  <a:lnTo>
                    <a:pt x="7660686" y="1610727"/>
                  </a:lnTo>
                  <a:lnTo>
                    <a:pt x="7632716" y="1590024"/>
                  </a:lnTo>
                  <a:lnTo>
                    <a:pt x="7630304" y="1569080"/>
                  </a:lnTo>
                  <a:lnTo>
                    <a:pt x="7616717" y="1545859"/>
                  </a:lnTo>
                  <a:lnTo>
                    <a:pt x="7598120" y="1535914"/>
                  </a:lnTo>
                  <a:lnTo>
                    <a:pt x="7568404" y="1529081"/>
                  </a:lnTo>
                  <a:lnTo>
                    <a:pt x="7540988" y="1530473"/>
                  </a:lnTo>
                  <a:lnTo>
                    <a:pt x="7512215" y="1534548"/>
                  </a:lnTo>
                  <a:lnTo>
                    <a:pt x="7485426" y="1545450"/>
                  </a:lnTo>
                  <a:lnTo>
                    <a:pt x="7462100" y="1564483"/>
                  </a:lnTo>
                  <a:lnTo>
                    <a:pt x="7454978" y="1597497"/>
                  </a:lnTo>
                  <a:lnTo>
                    <a:pt x="7442017" y="1634837"/>
                  </a:lnTo>
                  <a:lnTo>
                    <a:pt x="7425374" y="1663776"/>
                  </a:lnTo>
                  <a:lnTo>
                    <a:pt x="7391298" y="1672039"/>
                  </a:lnTo>
                  <a:lnTo>
                    <a:pt x="7356072" y="1679992"/>
                  </a:lnTo>
                  <a:lnTo>
                    <a:pt x="7323355" y="1685539"/>
                  </a:lnTo>
                  <a:lnTo>
                    <a:pt x="7296336" y="1685736"/>
                  </a:lnTo>
                  <a:lnTo>
                    <a:pt x="7259433" y="1673292"/>
                  </a:lnTo>
                  <a:lnTo>
                    <a:pt x="7229286" y="1655236"/>
                  </a:lnTo>
                  <a:lnTo>
                    <a:pt x="7197301" y="1623718"/>
                  </a:lnTo>
                  <a:lnTo>
                    <a:pt x="7184743" y="1600841"/>
                  </a:lnTo>
                  <a:lnTo>
                    <a:pt x="7161498" y="1598486"/>
                  </a:lnTo>
                  <a:lnTo>
                    <a:pt x="7122390" y="1594529"/>
                  </a:lnTo>
                  <a:lnTo>
                    <a:pt x="7078433" y="1603076"/>
                  </a:lnTo>
                  <a:lnTo>
                    <a:pt x="7041800" y="1584880"/>
                  </a:lnTo>
                  <a:lnTo>
                    <a:pt x="7039670" y="1546583"/>
                  </a:lnTo>
                  <a:lnTo>
                    <a:pt x="7033878" y="1491325"/>
                  </a:lnTo>
                  <a:lnTo>
                    <a:pt x="7027931" y="1453879"/>
                  </a:lnTo>
                  <a:lnTo>
                    <a:pt x="7022747" y="1417574"/>
                  </a:lnTo>
                  <a:lnTo>
                    <a:pt x="6981556" y="1404161"/>
                  </a:lnTo>
                  <a:lnTo>
                    <a:pt x="6927181" y="1404153"/>
                  </a:lnTo>
                  <a:lnTo>
                    <a:pt x="6900280" y="1417588"/>
                  </a:lnTo>
                  <a:lnTo>
                    <a:pt x="6891812" y="1454975"/>
                  </a:lnTo>
                  <a:lnTo>
                    <a:pt x="6883959" y="1478795"/>
                  </a:lnTo>
                  <a:lnTo>
                    <a:pt x="6876089" y="1502616"/>
                  </a:lnTo>
                  <a:lnTo>
                    <a:pt x="6865888" y="1525315"/>
                  </a:lnTo>
                  <a:lnTo>
                    <a:pt x="6836098" y="1545081"/>
                  </a:lnTo>
                  <a:lnTo>
                    <a:pt x="6791806" y="1552599"/>
                  </a:lnTo>
                  <a:lnTo>
                    <a:pt x="6746578" y="1556325"/>
                  </a:lnTo>
                  <a:lnTo>
                    <a:pt x="6701343" y="1560051"/>
                  </a:lnTo>
                  <a:lnTo>
                    <a:pt x="6655920" y="1559814"/>
                  </a:lnTo>
                  <a:lnTo>
                    <a:pt x="6633682" y="1557683"/>
                  </a:lnTo>
                  <a:lnTo>
                    <a:pt x="6624157" y="1523679"/>
                  </a:lnTo>
                  <a:lnTo>
                    <a:pt x="6578290" y="1507780"/>
                  </a:lnTo>
                  <a:lnTo>
                    <a:pt x="6555510" y="1496562"/>
                  </a:lnTo>
                  <a:lnTo>
                    <a:pt x="6559687" y="1462215"/>
                  </a:lnTo>
                  <a:lnTo>
                    <a:pt x="6552081" y="1436627"/>
                  </a:lnTo>
                  <a:lnTo>
                    <a:pt x="6508555" y="1424388"/>
                  </a:lnTo>
                  <a:lnTo>
                    <a:pt x="6504469" y="1348216"/>
                  </a:lnTo>
                  <a:lnTo>
                    <a:pt x="6519925" y="1325899"/>
                  </a:lnTo>
                  <a:lnTo>
                    <a:pt x="6542553" y="1337334"/>
                  </a:lnTo>
                  <a:lnTo>
                    <a:pt x="6562211" y="1355866"/>
                  </a:lnTo>
                  <a:lnTo>
                    <a:pt x="6580024" y="1378639"/>
                  </a:lnTo>
                  <a:lnTo>
                    <a:pt x="6598320" y="1395825"/>
                  </a:lnTo>
                  <a:lnTo>
                    <a:pt x="6619562" y="1400791"/>
                  </a:lnTo>
                  <a:lnTo>
                    <a:pt x="6642550" y="1375716"/>
                  </a:lnTo>
                  <a:lnTo>
                    <a:pt x="6659783" y="1294362"/>
                  </a:lnTo>
                  <a:lnTo>
                    <a:pt x="6677934" y="1237660"/>
                  </a:lnTo>
                  <a:lnTo>
                    <a:pt x="6709858" y="1164588"/>
                  </a:lnTo>
                  <a:lnTo>
                    <a:pt x="6704156" y="1136863"/>
                  </a:lnTo>
                  <a:lnTo>
                    <a:pt x="6696252" y="1116979"/>
                  </a:lnTo>
                  <a:lnTo>
                    <a:pt x="6689546" y="1094378"/>
                  </a:lnTo>
                  <a:lnTo>
                    <a:pt x="6692066" y="1063414"/>
                  </a:lnTo>
                  <a:lnTo>
                    <a:pt x="6709858" y="1020403"/>
                  </a:lnTo>
                  <a:lnTo>
                    <a:pt x="6657470" y="1001127"/>
                  </a:lnTo>
                  <a:lnTo>
                    <a:pt x="6632303" y="1019045"/>
                  </a:lnTo>
                  <a:lnTo>
                    <a:pt x="6619488" y="1042529"/>
                  </a:lnTo>
                  <a:lnTo>
                    <a:pt x="6596940" y="1050331"/>
                  </a:lnTo>
                  <a:lnTo>
                    <a:pt x="6580743" y="1015517"/>
                  </a:lnTo>
                  <a:lnTo>
                    <a:pt x="6572455" y="991840"/>
                  </a:lnTo>
                  <a:lnTo>
                    <a:pt x="6561401" y="969543"/>
                  </a:lnTo>
                  <a:lnTo>
                    <a:pt x="6537270" y="954295"/>
                  </a:lnTo>
                  <a:lnTo>
                    <a:pt x="6493567" y="952396"/>
                  </a:lnTo>
                  <a:lnTo>
                    <a:pt x="6498677" y="925832"/>
                  </a:lnTo>
                  <a:lnTo>
                    <a:pt x="6503024" y="889468"/>
                  </a:lnTo>
                  <a:lnTo>
                    <a:pt x="6502106" y="847491"/>
                  </a:lnTo>
                  <a:lnTo>
                    <a:pt x="6497669" y="806853"/>
                  </a:lnTo>
                  <a:lnTo>
                    <a:pt x="6493204" y="766222"/>
                  </a:lnTo>
                  <a:lnTo>
                    <a:pt x="6486008" y="727148"/>
                  </a:lnTo>
                  <a:lnTo>
                    <a:pt x="6468570" y="695704"/>
                  </a:lnTo>
                  <a:lnTo>
                    <a:pt x="6444348" y="692524"/>
                  </a:lnTo>
                  <a:lnTo>
                    <a:pt x="6420133" y="689879"/>
                  </a:lnTo>
                  <a:lnTo>
                    <a:pt x="6395914" y="687236"/>
                  </a:lnTo>
                  <a:lnTo>
                    <a:pt x="6371394" y="685013"/>
                  </a:lnTo>
                  <a:lnTo>
                    <a:pt x="6360732" y="652157"/>
                  </a:lnTo>
                  <a:lnTo>
                    <a:pt x="6375245" y="621866"/>
                  </a:lnTo>
                  <a:lnTo>
                    <a:pt x="6396444" y="594181"/>
                  </a:lnTo>
                  <a:lnTo>
                    <a:pt x="6422058" y="567947"/>
                  </a:lnTo>
                  <a:lnTo>
                    <a:pt x="6445976" y="540254"/>
                  </a:lnTo>
                  <a:lnTo>
                    <a:pt x="6464614" y="509958"/>
                  </a:lnTo>
                  <a:lnTo>
                    <a:pt x="6463290" y="479515"/>
                  </a:lnTo>
                  <a:lnTo>
                    <a:pt x="6452611" y="452523"/>
                  </a:lnTo>
                  <a:lnTo>
                    <a:pt x="6413212" y="445440"/>
                  </a:lnTo>
                  <a:lnTo>
                    <a:pt x="6388482" y="468879"/>
                  </a:lnTo>
                  <a:lnTo>
                    <a:pt x="6353194" y="503982"/>
                  </a:lnTo>
                  <a:lnTo>
                    <a:pt x="6314040" y="530738"/>
                  </a:lnTo>
                  <a:lnTo>
                    <a:pt x="6294460" y="544113"/>
                  </a:lnTo>
                  <a:lnTo>
                    <a:pt x="6273534" y="555021"/>
                  </a:lnTo>
                  <a:lnTo>
                    <a:pt x="6234848" y="566297"/>
                  </a:lnTo>
                  <a:lnTo>
                    <a:pt x="6201135" y="557941"/>
                  </a:lnTo>
                  <a:lnTo>
                    <a:pt x="6195272" y="526630"/>
                  </a:lnTo>
                  <a:lnTo>
                    <a:pt x="6196156" y="491321"/>
                  </a:lnTo>
                  <a:lnTo>
                    <a:pt x="6199783" y="460008"/>
                  </a:lnTo>
                  <a:lnTo>
                    <a:pt x="6176365" y="424705"/>
                  </a:lnTo>
                  <a:lnTo>
                    <a:pt x="6171425" y="395206"/>
                  </a:lnTo>
                  <a:lnTo>
                    <a:pt x="6173937" y="364797"/>
                  </a:lnTo>
                  <a:lnTo>
                    <a:pt x="6176470" y="334381"/>
                  </a:lnTo>
                  <a:lnTo>
                    <a:pt x="6187220" y="302931"/>
                  </a:lnTo>
                  <a:lnTo>
                    <a:pt x="6195700" y="262781"/>
                  </a:lnTo>
                  <a:lnTo>
                    <a:pt x="6188696" y="234350"/>
                  </a:lnTo>
                  <a:lnTo>
                    <a:pt x="6161900" y="215034"/>
                  </a:lnTo>
                  <a:lnTo>
                    <a:pt x="6133142" y="208372"/>
                  </a:lnTo>
                  <a:lnTo>
                    <a:pt x="6098044" y="205906"/>
                  </a:lnTo>
                  <a:lnTo>
                    <a:pt x="6062043" y="207549"/>
                  </a:lnTo>
                  <a:lnTo>
                    <a:pt x="6027043" y="213814"/>
                  </a:lnTo>
                  <a:lnTo>
                    <a:pt x="5992044" y="220058"/>
                  </a:lnTo>
                  <a:lnTo>
                    <a:pt x="5957764" y="229971"/>
                  </a:lnTo>
                  <a:lnTo>
                    <a:pt x="5923661" y="242376"/>
                  </a:lnTo>
                  <a:lnTo>
                    <a:pt x="5889579" y="254782"/>
                  </a:lnTo>
                  <a:lnTo>
                    <a:pt x="5855376" y="269889"/>
                  </a:lnTo>
                  <a:lnTo>
                    <a:pt x="5823016" y="285902"/>
                  </a:lnTo>
                  <a:lnTo>
                    <a:pt x="5790642" y="301915"/>
                  </a:lnTo>
                  <a:lnTo>
                    <a:pt x="5760337" y="319167"/>
                  </a:lnTo>
                  <a:lnTo>
                    <a:pt x="5730522" y="336228"/>
                  </a:lnTo>
                  <a:lnTo>
                    <a:pt x="5709484" y="348264"/>
                  </a:lnTo>
                  <a:lnTo>
                    <a:pt x="5670674" y="368872"/>
                  </a:lnTo>
                  <a:lnTo>
                    <a:pt x="5638835" y="356817"/>
                  </a:lnTo>
                  <a:lnTo>
                    <a:pt x="5615447" y="329250"/>
                  </a:lnTo>
                  <a:lnTo>
                    <a:pt x="5597212" y="294068"/>
                  </a:lnTo>
                  <a:lnTo>
                    <a:pt x="5579164" y="257913"/>
                  </a:lnTo>
                  <a:lnTo>
                    <a:pt x="5558145" y="229561"/>
                  </a:lnTo>
                  <a:lnTo>
                    <a:pt x="5529207" y="216531"/>
                  </a:lnTo>
                  <a:lnTo>
                    <a:pt x="5473849" y="208708"/>
                  </a:lnTo>
                  <a:lnTo>
                    <a:pt x="5431278" y="201566"/>
                  </a:lnTo>
                  <a:lnTo>
                    <a:pt x="5388695" y="194432"/>
                  </a:lnTo>
                  <a:lnTo>
                    <a:pt x="5347538" y="186096"/>
                  </a:lnTo>
                  <a:lnTo>
                    <a:pt x="5307590" y="150535"/>
                  </a:lnTo>
                  <a:lnTo>
                    <a:pt x="5287436" y="124658"/>
                  </a:lnTo>
                  <a:lnTo>
                    <a:pt x="5272131" y="102275"/>
                  </a:lnTo>
                  <a:lnTo>
                    <a:pt x="5256818" y="79891"/>
                  </a:lnTo>
                  <a:lnTo>
                    <a:pt x="5245454" y="61023"/>
                  </a:lnTo>
                  <a:lnTo>
                    <a:pt x="5217189" y="31992"/>
                  </a:lnTo>
                  <a:lnTo>
                    <a:pt x="5174196" y="19303"/>
                  </a:lnTo>
                  <a:lnTo>
                    <a:pt x="5147888" y="16368"/>
                  </a:lnTo>
                  <a:lnTo>
                    <a:pt x="5111775" y="20557"/>
                  </a:lnTo>
                  <a:lnTo>
                    <a:pt x="5059940" y="32908"/>
                  </a:lnTo>
                  <a:lnTo>
                    <a:pt x="5005189" y="45946"/>
                  </a:lnTo>
                  <a:lnTo>
                    <a:pt x="4960522" y="57032"/>
                  </a:lnTo>
                  <a:lnTo>
                    <a:pt x="4918478" y="73712"/>
                  </a:lnTo>
                  <a:lnTo>
                    <a:pt x="4876438" y="90390"/>
                  </a:lnTo>
                  <a:lnTo>
                    <a:pt x="4838087" y="112852"/>
                  </a:lnTo>
                  <a:lnTo>
                    <a:pt x="4793339" y="148525"/>
                  </a:lnTo>
                  <a:lnTo>
                    <a:pt x="4766975" y="182646"/>
                  </a:lnTo>
                  <a:lnTo>
                    <a:pt x="4756619" y="202932"/>
                  </a:lnTo>
                  <a:lnTo>
                    <a:pt x="4746253" y="223218"/>
                  </a:lnTo>
                  <a:lnTo>
                    <a:pt x="4734849" y="242548"/>
                  </a:lnTo>
                  <a:lnTo>
                    <a:pt x="4680369" y="261515"/>
                  </a:lnTo>
                  <a:lnTo>
                    <a:pt x="4656522" y="272106"/>
                  </a:lnTo>
                  <a:lnTo>
                    <a:pt x="4632834" y="275021"/>
                  </a:lnTo>
                  <a:lnTo>
                    <a:pt x="4609152" y="277935"/>
                  </a:lnTo>
                  <a:lnTo>
                    <a:pt x="4585879" y="272812"/>
                  </a:lnTo>
                  <a:lnTo>
                    <a:pt x="4552588" y="253258"/>
                  </a:lnTo>
                  <a:lnTo>
                    <a:pt x="4532902" y="237060"/>
                  </a:lnTo>
                  <a:lnTo>
                    <a:pt x="4448023" y="221720"/>
                  </a:lnTo>
                  <a:lnTo>
                    <a:pt x="4379364" y="204588"/>
                  </a:lnTo>
                  <a:lnTo>
                    <a:pt x="4310475" y="192051"/>
                  </a:lnTo>
                  <a:lnTo>
                    <a:pt x="4250284" y="181123"/>
                  </a:lnTo>
                  <a:lnTo>
                    <a:pt x="4021045" y="163059"/>
                  </a:lnTo>
                  <a:lnTo>
                    <a:pt x="3979944" y="144441"/>
                  </a:lnTo>
                  <a:lnTo>
                    <a:pt x="3903768" y="109930"/>
                  </a:lnTo>
                  <a:lnTo>
                    <a:pt x="3828406" y="64914"/>
                  </a:lnTo>
                  <a:lnTo>
                    <a:pt x="3754150" y="26103"/>
                  </a:lnTo>
                  <a:lnTo>
                    <a:pt x="3734039" y="15610"/>
                  </a:lnTo>
                  <a:lnTo>
                    <a:pt x="3702677" y="7321"/>
                  </a:lnTo>
                  <a:lnTo>
                    <a:pt x="3680694" y="5698"/>
                  </a:lnTo>
                  <a:lnTo>
                    <a:pt x="3654757" y="0"/>
                  </a:lnTo>
                  <a:lnTo>
                    <a:pt x="3456270" y="36984"/>
                  </a:lnTo>
                  <a:lnTo>
                    <a:pt x="3437434" y="47233"/>
                  </a:lnTo>
                  <a:lnTo>
                    <a:pt x="3372356" y="57561"/>
                  </a:lnTo>
                  <a:lnTo>
                    <a:pt x="3321773" y="56795"/>
                  </a:lnTo>
                  <a:lnTo>
                    <a:pt x="3268551" y="56031"/>
                  </a:lnTo>
                  <a:lnTo>
                    <a:pt x="3236851" y="51988"/>
                  </a:lnTo>
                  <a:lnTo>
                    <a:pt x="3184956" y="45828"/>
                  </a:lnTo>
                  <a:lnTo>
                    <a:pt x="3140314" y="36305"/>
                  </a:lnTo>
                  <a:lnTo>
                    <a:pt x="3099889" y="42426"/>
                  </a:lnTo>
                  <a:lnTo>
                    <a:pt x="3049126" y="50141"/>
                  </a:lnTo>
                  <a:lnTo>
                    <a:pt x="3010849" y="61096"/>
                  </a:lnTo>
                  <a:lnTo>
                    <a:pt x="2973397" y="65547"/>
                  </a:lnTo>
                  <a:lnTo>
                    <a:pt x="2935939" y="70011"/>
                  </a:lnTo>
                  <a:lnTo>
                    <a:pt x="2898202" y="67498"/>
                  </a:lnTo>
                  <a:lnTo>
                    <a:pt x="2849619" y="47873"/>
                  </a:lnTo>
                  <a:lnTo>
                    <a:pt x="2791219" y="104391"/>
                  </a:lnTo>
                  <a:lnTo>
                    <a:pt x="2759497" y="146342"/>
                  </a:lnTo>
                  <a:lnTo>
                    <a:pt x="2738084" y="177087"/>
                  </a:lnTo>
                  <a:lnTo>
                    <a:pt x="2716659" y="207833"/>
                  </a:lnTo>
                  <a:lnTo>
                    <a:pt x="2705817" y="228144"/>
                  </a:lnTo>
                  <a:lnTo>
                    <a:pt x="2689111" y="241018"/>
                  </a:lnTo>
                  <a:lnTo>
                    <a:pt x="2672405" y="253890"/>
                  </a:lnTo>
                  <a:lnTo>
                    <a:pt x="2650394" y="259873"/>
                  </a:lnTo>
                  <a:lnTo>
                    <a:pt x="2606142" y="262781"/>
                  </a:lnTo>
                  <a:lnTo>
                    <a:pt x="2561887" y="265682"/>
                  </a:lnTo>
                  <a:lnTo>
                    <a:pt x="2495293" y="264660"/>
                  </a:lnTo>
                  <a:lnTo>
                    <a:pt x="2391225" y="265497"/>
                  </a:lnTo>
                  <a:lnTo>
                    <a:pt x="2360495" y="257676"/>
                  </a:lnTo>
                  <a:lnTo>
                    <a:pt x="2345715" y="220587"/>
                  </a:lnTo>
                  <a:lnTo>
                    <a:pt x="2338512" y="186953"/>
                  </a:lnTo>
                  <a:lnTo>
                    <a:pt x="2335467" y="153964"/>
                  </a:lnTo>
                  <a:lnTo>
                    <a:pt x="2332419" y="120971"/>
                  </a:lnTo>
                  <a:lnTo>
                    <a:pt x="2333508" y="88207"/>
                  </a:lnTo>
                  <a:lnTo>
                    <a:pt x="2339554" y="57389"/>
                  </a:lnTo>
                  <a:lnTo>
                    <a:pt x="2315155" y="41700"/>
                  </a:lnTo>
                  <a:lnTo>
                    <a:pt x="2288062" y="40810"/>
                  </a:lnTo>
                  <a:lnTo>
                    <a:pt x="2262017" y="42426"/>
                  </a:lnTo>
                  <a:lnTo>
                    <a:pt x="2235988" y="44041"/>
                  </a:lnTo>
                  <a:lnTo>
                    <a:pt x="2210433" y="48545"/>
                  </a:lnTo>
                  <a:lnTo>
                    <a:pt x="2191953" y="97149"/>
                  </a:lnTo>
                  <a:lnTo>
                    <a:pt x="2201568" y="134022"/>
                  </a:lnTo>
                  <a:lnTo>
                    <a:pt x="2214411" y="170288"/>
                  </a:lnTo>
                  <a:lnTo>
                    <a:pt x="2227263" y="206546"/>
                  </a:lnTo>
                  <a:lnTo>
                    <a:pt x="2244620" y="242204"/>
                  </a:lnTo>
                  <a:lnTo>
                    <a:pt x="2253866" y="277738"/>
                  </a:lnTo>
                  <a:lnTo>
                    <a:pt x="2240775" y="310046"/>
                  </a:lnTo>
                  <a:lnTo>
                    <a:pt x="2239120" y="338293"/>
                  </a:lnTo>
                  <a:lnTo>
                    <a:pt x="2238949" y="382386"/>
                  </a:lnTo>
                  <a:lnTo>
                    <a:pt x="2236168" y="424646"/>
                  </a:lnTo>
                  <a:lnTo>
                    <a:pt x="2233424" y="466899"/>
                  </a:lnTo>
                  <a:lnTo>
                    <a:pt x="2226742" y="507062"/>
                  </a:lnTo>
                  <a:lnTo>
                    <a:pt x="2142307" y="537538"/>
                  </a:lnTo>
                  <a:lnTo>
                    <a:pt x="2129123" y="573500"/>
                  </a:lnTo>
                  <a:lnTo>
                    <a:pt x="2132131" y="622381"/>
                  </a:lnTo>
                  <a:lnTo>
                    <a:pt x="2147748" y="639553"/>
                  </a:lnTo>
                  <a:lnTo>
                    <a:pt x="2228010" y="639553"/>
                  </a:lnTo>
                  <a:lnTo>
                    <a:pt x="2247386" y="686523"/>
                  </a:lnTo>
                  <a:lnTo>
                    <a:pt x="2244667" y="749550"/>
                  </a:lnTo>
                  <a:lnTo>
                    <a:pt x="2263369" y="778291"/>
                  </a:lnTo>
                  <a:lnTo>
                    <a:pt x="2279988" y="803854"/>
                  </a:lnTo>
                  <a:lnTo>
                    <a:pt x="2303981" y="817557"/>
                  </a:lnTo>
                  <a:lnTo>
                    <a:pt x="2331384" y="825900"/>
                  </a:lnTo>
                  <a:lnTo>
                    <a:pt x="2358780" y="834242"/>
                  </a:lnTo>
                  <a:lnTo>
                    <a:pt x="2388661" y="837797"/>
                  </a:lnTo>
                  <a:lnTo>
                    <a:pt x="2415713" y="843581"/>
                  </a:lnTo>
                  <a:lnTo>
                    <a:pt x="2442766" y="849372"/>
                  </a:lnTo>
                  <a:lnTo>
                    <a:pt x="2466796" y="856956"/>
                  </a:lnTo>
                  <a:lnTo>
                    <a:pt x="2482367" y="874866"/>
                  </a:lnTo>
                  <a:lnTo>
                    <a:pt x="2495860" y="895496"/>
                  </a:lnTo>
                  <a:lnTo>
                    <a:pt x="2501513" y="924969"/>
                  </a:lnTo>
                  <a:lnTo>
                    <a:pt x="2498691" y="966002"/>
                  </a:lnTo>
                  <a:lnTo>
                    <a:pt x="2493706" y="992844"/>
                  </a:lnTo>
                  <a:lnTo>
                    <a:pt x="2484624" y="1028930"/>
                  </a:lnTo>
                  <a:lnTo>
                    <a:pt x="2472845" y="1051696"/>
                  </a:lnTo>
                  <a:lnTo>
                    <a:pt x="2435582" y="1053648"/>
                  </a:lnTo>
                  <a:lnTo>
                    <a:pt x="2398335" y="1057486"/>
                  </a:lnTo>
                  <a:lnTo>
                    <a:pt x="2362669" y="1063937"/>
                  </a:lnTo>
                  <a:lnTo>
                    <a:pt x="2326999" y="1070386"/>
                  </a:lnTo>
                  <a:lnTo>
                    <a:pt x="2291749" y="1079500"/>
                  </a:lnTo>
                  <a:lnTo>
                    <a:pt x="2256570" y="1091140"/>
                  </a:lnTo>
                  <a:lnTo>
                    <a:pt x="2236310" y="1109632"/>
                  </a:lnTo>
                  <a:lnTo>
                    <a:pt x="2219691" y="1140661"/>
                  </a:lnTo>
                  <a:lnTo>
                    <a:pt x="2204886" y="1165952"/>
                  </a:lnTo>
                  <a:lnTo>
                    <a:pt x="2166801" y="1170028"/>
                  </a:lnTo>
                  <a:lnTo>
                    <a:pt x="2143792" y="1184564"/>
                  </a:lnTo>
                  <a:lnTo>
                    <a:pt x="2127350" y="1212190"/>
                  </a:lnTo>
                  <a:lnTo>
                    <a:pt x="2120913" y="1246028"/>
                  </a:lnTo>
                  <a:lnTo>
                    <a:pt x="2117834" y="1272039"/>
                  </a:lnTo>
                  <a:lnTo>
                    <a:pt x="2114743" y="1298180"/>
                  </a:lnTo>
                  <a:lnTo>
                    <a:pt x="2117834" y="1334610"/>
                  </a:lnTo>
                  <a:lnTo>
                    <a:pt x="2126571" y="1363278"/>
                  </a:lnTo>
                  <a:lnTo>
                    <a:pt x="2153255" y="1395607"/>
                  </a:lnTo>
                  <a:lnTo>
                    <a:pt x="2182630" y="1410920"/>
                  </a:lnTo>
                  <a:lnTo>
                    <a:pt x="2223927" y="1439345"/>
                  </a:lnTo>
                  <a:lnTo>
                    <a:pt x="2278407" y="1476843"/>
                  </a:lnTo>
                  <a:lnTo>
                    <a:pt x="2338013" y="1503955"/>
                  </a:lnTo>
                  <a:lnTo>
                    <a:pt x="2396673" y="1534555"/>
                  </a:lnTo>
                  <a:lnTo>
                    <a:pt x="2418476" y="1545904"/>
                  </a:lnTo>
                  <a:lnTo>
                    <a:pt x="2441175" y="1570438"/>
                  </a:lnTo>
                  <a:lnTo>
                    <a:pt x="2455162" y="1590328"/>
                  </a:lnTo>
                  <a:lnTo>
                    <a:pt x="2457813" y="1614511"/>
                  </a:lnTo>
                  <a:lnTo>
                    <a:pt x="2449308" y="1640647"/>
                  </a:lnTo>
                  <a:lnTo>
                    <a:pt x="2436112" y="1665140"/>
                  </a:lnTo>
                  <a:lnTo>
                    <a:pt x="2422935" y="1689634"/>
                  </a:lnTo>
                  <a:lnTo>
                    <a:pt x="2405761" y="1712361"/>
                  </a:lnTo>
                  <a:lnTo>
                    <a:pt x="2392592" y="1730430"/>
                  </a:lnTo>
                  <a:lnTo>
                    <a:pt x="2385408" y="1776205"/>
                  </a:lnTo>
                  <a:lnTo>
                    <a:pt x="2402155" y="1799630"/>
                  </a:lnTo>
                  <a:lnTo>
                    <a:pt x="2410272" y="1840604"/>
                  </a:lnTo>
                  <a:lnTo>
                    <a:pt x="2400031" y="1899563"/>
                  </a:lnTo>
                  <a:lnTo>
                    <a:pt x="2394940" y="1922427"/>
                  </a:lnTo>
                  <a:lnTo>
                    <a:pt x="2384435" y="1952137"/>
                  </a:lnTo>
                  <a:lnTo>
                    <a:pt x="2422129" y="1975180"/>
                  </a:lnTo>
                  <a:lnTo>
                    <a:pt x="2452393" y="1985679"/>
                  </a:lnTo>
                  <a:lnTo>
                    <a:pt x="2481002" y="1991589"/>
                  </a:lnTo>
                  <a:lnTo>
                    <a:pt x="2522141" y="1995170"/>
                  </a:lnTo>
                  <a:lnTo>
                    <a:pt x="2543569" y="1997029"/>
                  </a:lnTo>
                  <a:lnTo>
                    <a:pt x="2565000" y="1998889"/>
                  </a:lnTo>
                  <a:lnTo>
                    <a:pt x="2586125" y="2003875"/>
                  </a:lnTo>
                  <a:lnTo>
                    <a:pt x="2602065" y="2018786"/>
                  </a:lnTo>
                  <a:lnTo>
                    <a:pt x="2602657" y="2104566"/>
                  </a:lnTo>
                  <a:lnTo>
                    <a:pt x="2583526" y="2224903"/>
                  </a:lnTo>
                  <a:lnTo>
                    <a:pt x="2559891" y="2307148"/>
                  </a:lnTo>
                  <a:lnTo>
                    <a:pt x="2552499" y="2332743"/>
                  </a:lnTo>
                  <a:lnTo>
                    <a:pt x="2535455" y="2361134"/>
                  </a:lnTo>
                  <a:lnTo>
                    <a:pt x="2529970" y="2386042"/>
                  </a:lnTo>
                  <a:lnTo>
                    <a:pt x="2512077" y="2466381"/>
                  </a:lnTo>
                  <a:lnTo>
                    <a:pt x="2512632" y="2553816"/>
                  </a:lnTo>
                  <a:lnTo>
                    <a:pt x="2483725" y="2632236"/>
                  </a:lnTo>
                  <a:lnTo>
                    <a:pt x="2462728" y="2689197"/>
                  </a:lnTo>
                  <a:lnTo>
                    <a:pt x="2428975" y="2747602"/>
                  </a:lnTo>
                  <a:lnTo>
                    <a:pt x="2418436" y="2807708"/>
                  </a:lnTo>
                  <a:lnTo>
                    <a:pt x="2438900" y="2834337"/>
                  </a:lnTo>
                  <a:lnTo>
                    <a:pt x="2464712" y="2851722"/>
                  </a:lnTo>
                  <a:lnTo>
                    <a:pt x="2487808" y="2870273"/>
                  </a:lnTo>
                  <a:lnTo>
                    <a:pt x="2510889" y="2888825"/>
                  </a:lnTo>
                  <a:lnTo>
                    <a:pt x="2532423" y="2908379"/>
                  </a:lnTo>
                  <a:lnTo>
                    <a:pt x="2548363" y="2941788"/>
                  </a:lnTo>
                  <a:lnTo>
                    <a:pt x="2544115" y="2989714"/>
                  </a:lnTo>
                  <a:lnTo>
                    <a:pt x="2535412" y="3037579"/>
                  </a:lnTo>
                  <a:lnTo>
                    <a:pt x="2526724" y="3085446"/>
                  </a:lnTo>
                  <a:lnTo>
                    <a:pt x="2512498" y="3132837"/>
                  </a:lnTo>
                  <a:lnTo>
                    <a:pt x="2501811" y="3152212"/>
                  </a:lnTo>
                  <a:lnTo>
                    <a:pt x="2471065" y="3187923"/>
                  </a:lnTo>
                  <a:lnTo>
                    <a:pt x="2421279" y="3200844"/>
                  </a:lnTo>
                  <a:lnTo>
                    <a:pt x="2335036" y="3199952"/>
                  </a:lnTo>
                  <a:lnTo>
                    <a:pt x="2230329" y="3188965"/>
                  </a:lnTo>
                  <a:lnTo>
                    <a:pt x="2125985" y="3172241"/>
                  </a:lnTo>
                  <a:lnTo>
                    <a:pt x="2021654" y="3155510"/>
                  </a:lnTo>
                  <a:lnTo>
                    <a:pt x="1918773" y="3133686"/>
                  </a:lnTo>
                  <a:lnTo>
                    <a:pt x="1843063" y="3112392"/>
                  </a:lnTo>
                  <a:lnTo>
                    <a:pt x="1773542" y="3092793"/>
                  </a:lnTo>
                  <a:lnTo>
                    <a:pt x="1709806" y="3047565"/>
                  </a:lnTo>
                  <a:lnTo>
                    <a:pt x="1644486" y="3018534"/>
                  </a:lnTo>
                  <a:lnTo>
                    <a:pt x="1596731" y="2997318"/>
                  </a:lnTo>
                  <a:lnTo>
                    <a:pt x="1544843" y="2980336"/>
                  </a:lnTo>
                  <a:lnTo>
                    <a:pt x="1490778" y="2969566"/>
                  </a:lnTo>
                  <a:lnTo>
                    <a:pt x="1436719" y="2958804"/>
                  </a:lnTo>
                  <a:lnTo>
                    <a:pt x="1381277" y="2954609"/>
                  </a:lnTo>
                  <a:lnTo>
                    <a:pt x="1328912" y="2954609"/>
                  </a:lnTo>
                  <a:lnTo>
                    <a:pt x="1302442" y="2954609"/>
                  </a:lnTo>
                  <a:lnTo>
                    <a:pt x="1263616" y="2973510"/>
                  </a:lnTo>
                  <a:lnTo>
                    <a:pt x="1226902" y="2995411"/>
                  </a:lnTo>
                  <a:lnTo>
                    <a:pt x="1190188" y="3017314"/>
                  </a:lnTo>
                  <a:lnTo>
                    <a:pt x="1155322" y="3042184"/>
                  </a:lnTo>
                  <a:lnTo>
                    <a:pt x="1133051" y="3053902"/>
                  </a:lnTo>
                  <a:lnTo>
                    <a:pt x="1068196" y="3088004"/>
                  </a:lnTo>
                  <a:lnTo>
                    <a:pt x="995533" y="3107420"/>
                  </a:lnTo>
                  <a:lnTo>
                    <a:pt x="931742" y="3145038"/>
                  </a:lnTo>
                  <a:lnTo>
                    <a:pt x="880269" y="3175427"/>
                  </a:lnTo>
                  <a:lnTo>
                    <a:pt x="813402" y="3211685"/>
                  </a:lnTo>
                  <a:lnTo>
                    <a:pt x="767132" y="3228430"/>
                  </a:lnTo>
                  <a:lnTo>
                    <a:pt x="719656" y="3236119"/>
                  </a:lnTo>
                  <a:lnTo>
                    <a:pt x="671935" y="3242965"/>
                  </a:lnTo>
                  <a:lnTo>
                    <a:pt x="624220" y="3249817"/>
                  </a:lnTo>
                  <a:lnTo>
                    <a:pt x="577147" y="3255020"/>
                  </a:lnTo>
                  <a:lnTo>
                    <a:pt x="529115" y="3263370"/>
                  </a:lnTo>
                  <a:lnTo>
                    <a:pt x="494603" y="3269363"/>
                  </a:lnTo>
                  <a:lnTo>
                    <a:pt x="458518" y="3279692"/>
                  </a:lnTo>
                  <a:lnTo>
                    <a:pt x="424381" y="3287857"/>
                  </a:lnTo>
                  <a:lnTo>
                    <a:pt x="401861" y="3293212"/>
                  </a:lnTo>
                  <a:lnTo>
                    <a:pt x="374734" y="3292657"/>
                  </a:lnTo>
                  <a:lnTo>
                    <a:pt x="350928" y="3298738"/>
                  </a:lnTo>
                  <a:lnTo>
                    <a:pt x="250019" y="3324411"/>
                  </a:lnTo>
                  <a:lnTo>
                    <a:pt x="128882" y="3380138"/>
                  </a:lnTo>
                  <a:lnTo>
                    <a:pt x="27205" y="3415713"/>
                  </a:lnTo>
                  <a:lnTo>
                    <a:pt x="0" y="3429318"/>
                  </a:lnTo>
                  <a:close/>
                </a:path>
              </a:pathLst>
            </a:custGeom>
            <a:noFill/>
            <a:ln w="127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28" tIns="45714" rIns="91428" bIns="45714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rtl="0"/>
              <a:endParaRPr lang="en" sz="800"/>
            </a:p>
          </p:txBody>
        </p:sp>
        <p:sp>
          <p:nvSpPr>
            <p:cNvPr id="612" name="pole tekstowe 171">
              <a:extLst>
                <a:ext uri="{FF2B5EF4-FFF2-40B4-BE49-F238E27FC236}">
                  <a16:creationId xmlns:a16="http://schemas.microsoft.com/office/drawing/2014/main" id="{9D49C4CC-C4BE-4339-9E52-E618849A9008}"/>
                </a:ext>
              </a:extLst>
            </p:cNvPr>
            <p:cNvSpPr txBox="1"/>
            <p:nvPr/>
          </p:nvSpPr>
          <p:spPr>
            <a:xfrm>
              <a:off x="1403648" y="1491630"/>
              <a:ext cx="720080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 err="1"/>
                <a:t>Volyn</a:t>
              </a:r>
              <a:endParaRPr lang="en" sz="800" dirty="0"/>
            </a:p>
          </p:txBody>
        </p:sp>
        <p:sp>
          <p:nvSpPr>
            <p:cNvPr id="613" name="pole tekstowe 171">
              <a:extLst>
                <a:ext uri="{FF2B5EF4-FFF2-40B4-BE49-F238E27FC236}">
                  <a16:creationId xmlns:a16="http://schemas.microsoft.com/office/drawing/2014/main" id="{94880F2E-BE2D-4CDC-A8A9-1FAE7BA43B92}"/>
                </a:ext>
              </a:extLst>
            </p:cNvPr>
            <p:cNvSpPr txBox="1"/>
            <p:nvPr/>
          </p:nvSpPr>
          <p:spPr>
            <a:xfrm>
              <a:off x="1979712" y="1635646"/>
              <a:ext cx="792088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/>
                <a:t>Rovno</a:t>
              </a:r>
              <a:endParaRPr lang="en" sz="800" dirty="0"/>
            </a:p>
          </p:txBody>
        </p:sp>
        <p:sp>
          <p:nvSpPr>
            <p:cNvPr id="614" name="pole tekstowe 171">
              <a:extLst>
                <a:ext uri="{FF2B5EF4-FFF2-40B4-BE49-F238E27FC236}">
                  <a16:creationId xmlns:a16="http://schemas.microsoft.com/office/drawing/2014/main" id="{456C8399-F3FF-418E-A1D3-D2A70025B113}"/>
                </a:ext>
              </a:extLst>
            </p:cNvPr>
            <p:cNvSpPr txBox="1"/>
            <p:nvPr/>
          </p:nvSpPr>
          <p:spPr>
            <a:xfrm>
              <a:off x="2627784" y="1851670"/>
              <a:ext cx="864096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/>
                <a:t>Zhitomir</a:t>
              </a:r>
              <a:endParaRPr lang="en" sz="800" dirty="0"/>
            </a:p>
          </p:txBody>
        </p:sp>
        <p:sp>
          <p:nvSpPr>
            <p:cNvPr id="615" name="pole tekstowe 171">
              <a:extLst>
                <a:ext uri="{FF2B5EF4-FFF2-40B4-BE49-F238E27FC236}">
                  <a16:creationId xmlns:a16="http://schemas.microsoft.com/office/drawing/2014/main" id="{C9D6B07A-B231-4484-8A38-A9A0EBE32754}"/>
                </a:ext>
              </a:extLst>
            </p:cNvPr>
            <p:cNvSpPr txBox="1"/>
            <p:nvPr/>
          </p:nvSpPr>
          <p:spPr>
            <a:xfrm>
              <a:off x="3419872" y="2139702"/>
              <a:ext cx="648072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/>
                <a:t>Kiev</a:t>
              </a:r>
              <a:endParaRPr lang="en" sz="800" dirty="0"/>
            </a:p>
          </p:txBody>
        </p:sp>
        <p:sp>
          <p:nvSpPr>
            <p:cNvPr id="616" name="pole tekstowe 171">
              <a:extLst>
                <a:ext uri="{FF2B5EF4-FFF2-40B4-BE49-F238E27FC236}">
                  <a16:creationId xmlns:a16="http://schemas.microsoft.com/office/drawing/2014/main" id="{8D91A460-0CD3-4F0C-8382-0216E30E43AB}"/>
                </a:ext>
              </a:extLst>
            </p:cNvPr>
            <p:cNvSpPr txBox="1"/>
            <p:nvPr/>
          </p:nvSpPr>
          <p:spPr>
            <a:xfrm>
              <a:off x="3635896" y="2499742"/>
              <a:ext cx="864096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/>
                <a:t>Cherkasy</a:t>
              </a:r>
              <a:endParaRPr lang="en" sz="800" dirty="0"/>
            </a:p>
          </p:txBody>
        </p:sp>
        <p:sp>
          <p:nvSpPr>
            <p:cNvPr id="617" name="pole tekstowe 171">
              <a:extLst>
                <a:ext uri="{FF2B5EF4-FFF2-40B4-BE49-F238E27FC236}">
                  <a16:creationId xmlns:a16="http://schemas.microsoft.com/office/drawing/2014/main" id="{D77AD42C-78CF-4EE4-BF7D-F9DC4EA3E2AC}"/>
                </a:ext>
              </a:extLst>
            </p:cNvPr>
            <p:cNvSpPr txBox="1"/>
            <p:nvPr/>
          </p:nvSpPr>
          <p:spPr>
            <a:xfrm>
              <a:off x="4355976" y="2139702"/>
              <a:ext cx="792088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/>
                <a:t>Poltava</a:t>
              </a:r>
              <a:endParaRPr lang="en" sz="800" dirty="0"/>
            </a:p>
          </p:txBody>
        </p:sp>
        <p:sp>
          <p:nvSpPr>
            <p:cNvPr id="618" name="pole tekstowe 171">
              <a:extLst>
                <a:ext uri="{FF2B5EF4-FFF2-40B4-BE49-F238E27FC236}">
                  <a16:creationId xmlns:a16="http://schemas.microsoft.com/office/drawing/2014/main" id="{866CD5C2-1826-4835-A1F7-732B5C8BF4D7}"/>
                </a:ext>
              </a:extLst>
            </p:cNvPr>
            <p:cNvSpPr txBox="1"/>
            <p:nvPr/>
          </p:nvSpPr>
          <p:spPr>
            <a:xfrm>
              <a:off x="4572000" y="1635646"/>
              <a:ext cx="720080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/>
                <a:t>Sumy</a:t>
              </a:r>
              <a:endParaRPr lang="en" sz="800" dirty="0"/>
            </a:p>
          </p:txBody>
        </p:sp>
        <p:sp>
          <p:nvSpPr>
            <p:cNvPr id="619" name="pole tekstowe 171">
              <a:extLst>
                <a:ext uri="{FF2B5EF4-FFF2-40B4-BE49-F238E27FC236}">
                  <a16:creationId xmlns:a16="http://schemas.microsoft.com/office/drawing/2014/main" id="{31577E04-43EC-4F65-A7AE-3D636DCCF7BF}"/>
                </a:ext>
              </a:extLst>
            </p:cNvPr>
            <p:cNvSpPr txBox="1"/>
            <p:nvPr/>
          </p:nvSpPr>
          <p:spPr>
            <a:xfrm>
              <a:off x="3707904" y="1419622"/>
              <a:ext cx="936104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 err="1"/>
                <a:t>Chernogov</a:t>
              </a:r>
              <a:endParaRPr lang="en" sz="800" dirty="0"/>
            </a:p>
          </p:txBody>
        </p:sp>
        <p:sp>
          <p:nvSpPr>
            <p:cNvPr id="620" name="pole tekstowe 171">
              <a:extLst>
                <a:ext uri="{FF2B5EF4-FFF2-40B4-BE49-F238E27FC236}">
                  <a16:creationId xmlns:a16="http://schemas.microsoft.com/office/drawing/2014/main" id="{1776267C-1431-4B3A-B7AD-546C38975CA7}"/>
                </a:ext>
              </a:extLst>
            </p:cNvPr>
            <p:cNvSpPr txBox="1"/>
            <p:nvPr/>
          </p:nvSpPr>
          <p:spPr>
            <a:xfrm>
              <a:off x="2771800" y="2715766"/>
              <a:ext cx="792088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 err="1"/>
                <a:t>Vinnica</a:t>
              </a:r>
              <a:endParaRPr lang="en" sz="800" dirty="0"/>
            </a:p>
          </p:txBody>
        </p:sp>
        <p:sp>
          <p:nvSpPr>
            <p:cNvPr id="621" name="pole tekstowe 171">
              <a:extLst>
                <a:ext uri="{FF2B5EF4-FFF2-40B4-BE49-F238E27FC236}">
                  <a16:creationId xmlns:a16="http://schemas.microsoft.com/office/drawing/2014/main" id="{D4ED4845-9DDD-46FC-BA82-EB8E8FEB986F}"/>
                </a:ext>
              </a:extLst>
            </p:cNvPr>
            <p:cNvSpPr txBox="1"/>
            <p:nvPr/>
          </p:nvSpPr>
          <p:spPr>
            <a:xfrm>
              <a:off x="2195736" y="2211710"/>
              <a:ext cx="864096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 err="1"/>
                <a:t>Khmelnick</a:t>
              </a:r>
              <a:endParaRPr lang="en" sz="800" dirty="0"/>
            </a:p>
          </p:txBody>
        </p:sp>
        <p:sp>
          <p:nvSpPr>
            <p:cNvPr id="622" name="pole tekstowe 171">
              <a:extLst>
                <a:ext uri="{FF2B5EF4-FFF2-40B4-BE49-F238E27FC236}">
                  <a16:creationId xmlns:a16="http://schemas.microsoft.com/office/drawing/2014/main" id="{0FDF10BB-EC0E-4E7A-BBF2-F3AB30063A59}"/>
                </a:ext>
              </a:extLst>
            </p:cNvPr>
            <p:cNvSpPr txBox="1"/>
            <p:nvPr/>
          </p:nvSpPr>
          <p:spPr>
            <a:xfrm>
              <a:off x="1708974" y="3007783"/>
              <a:ext cx="864096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 err="1"/>
                <a:t>Chernovcy</a:t>
              </a:r>
              <a:endParaRPr lang="en" sz="800" dirty="0"/>
            </a:p>
          </p:txBody>
        </p:sp>
        <p:sp>
          <p:nvSpPr>
            <p:cNvPr id="623" name="pole tekstowe 171">
              <a:extLst>
                <a:ext uri="{FF2B5EF4-FFF2-40B4-BE49-F238E27FC236}">
                  <a16:creationId xmlns:a16="http://schemas.microsoft.com/office/drawing/2014/main" id="{4824498D-07A1-409D-B7CC-E5CEE154EB0D}"/>
                </a:ext>
              </a:extLst>
            </p:cNvPr>
            <p:cNvSpPr txBox="1"/>
            <p:nvPr/>
          </p:nvSpPr>
          <p:spPr>
            <a:xfrm>
              <a:off x="1691680" y="2427734"/>
              <a:ext cx="792088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/>
                <a:t>Ternopol</a:t>
              </a:r>
              <a:endParaRPr lang="en" sz="800" dirty="0"/>
            </a:p>
          </p:txBody>
        </p:sp>
        <p:sp>
          <p:nvSpPr>
            <p:cNvPr id="624" name="pole tekstowe 171">
              <a:extLst>
                <a:ext uri="{FF2B5EF4-FFF2-40B4-BE49-F238E27FC236}">
                  <a16:creationId xmlns:a16="http://schemas.microsoft.com/office/drawing/2014/main" id="{50970970-80CD-45E9-994D-72B5B0CADBB0}"/>
                </a:ext>
              </a:extLst>
            </p:cNvPr>
            <p:cNvSpPr txBox="1"/>
            <p:nvPr/>
          </p:nvSpPr>
          <p:spPr>
            <a:xfrm>
              <a:off x="1187624" y="2715766"/>
              <a:ext cx="1152128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/>
                <a:t>Ivano-Frankovsk</a:t>
              </a:r>
              <a:endParaRPr lang="en" sz="800" dirty="0"/>
            </a:p>
          </p:txBody>
        </p:sp>
        <p:sp>
          <p:nvSpPr>
            <p:cNvPr id="625" name="pole tekstowe 171">
              <a:extLst>
                <a:ext uri="{FF2B5EF4-FFF2-40B4-BE49-F238E27FC236}">
                  <a16:creationId xmlns:a16="http://schemas.microsoft.com/office/drawing/2014/main" id="{1EA4B186-8CF1-4A54-91CE-EB0C6FDFB8E0}"/>
                </a:ext>
              </a:extLst>
            </p:cNvPr>
            <p:cNvSpPr txBox="1"/>
            <p:nvPr/>
          </p:nvSpPr>
          <p:spPr>
            <a:xfrm>
              <a:off x="755576" y="2931790"/>
              <a:ext cx="864096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 err="1"/>
                <a:t>Zakarpate</a:t>
              </a:r>
              <a:endParaRPr lang="en" sz="800" dirty="0"/>
            </a:p>
          </p:txBody>
        </p:sp>
        <p:sp>
          <p:nvSpPr>
            <p:cNvPr id="626" name="pole tekstowe 171">
              <a:extLst>
                <a:ext uri="{FF2B5EF4-FFF2-40B4-BE49-F238E27FC236}">
                  <a16:creationId xmlns:a16="http://schemas.microsoft.com/office/drawing/2014/main" id="{6520C492-FBFD-48F3-AEB7-45FB8002A2B1}"/>
                </a:ext>
              </a:extLst>
            </p:cNvPr>
            <p:cNvSpPr txBox="1"/>
            <p:nvPr/>
          </p:nvSpPr>
          <p:spPr>
            <a:xfrm>
              <a:off x="1115616" y="2211710"/>
              <a:ext cx="720080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/>
                <a:t>Lvov</a:t>
              </a:r>
              <a:endParaRPr lang="en" sz="800" dirty="0"/>
            </a:p>
          </p:txBody>
        </p:sp>
        <p:sp>
          <p:nvSpPr>
            <p:cNvPr id="627" name="pole tekstowe 171">
              <a:extLst>
                <a:ext uri="{FF2B5EF4-FFF2-40B4-BE49-F238E27FC236}">
                  <a16:creationId xmlns:a16="http://schemas.microsoft.com/office/drawing/2014/main" id="{C950E9B4-CEE1-450C-8434-5C61EC136726}"/>
                </a:ext>
              </a:extLst>
            </p:cNvPr>
            <p:cNvSpPr txBox="1"/>
            <p:nvPr/>
          </p:nvSpPr>
          <p:spPr>
            <a:xfrm>
              <a:off x="5364088" y="2283718"/>
              <a:ext cx="1008112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 err="1"/>
                <a:t>Kharkiv</a:t>
              </a:r>
              <a:endParaRPr lang="en" sz="800" dirty="0"/>
            </a:p>
          </p:txBody>
        </p:sp>
        <p:sp>
          <p:nvSpPr>
            <p:cNvPr id="628" name="pole tekstowe 171">
              <a:extLst>
                <a:ext uri="{FF2B5EF4-FFF2-40B4-BE49-F238E27FC236}">
                  <a16:creationId xmlns:a16="http://schemas.microsoft.com/office/drawing/2014/main" id="{894E70C2-6503-43B5-AA26-E2EFADDBB95C}"/>
                </a:ext>
              </a:extLst>
            </p:cNvPr>
            <p:cNvSpPr txBox="1"/>
            <p:nvPr/>
          </p:nvSpPr>
          <p:spPr>
            <a:xfrm>
              <a:off x="3792305" y="2911817"/>
              <a:ext cx="1008112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/>
                <a:t>Kirovograd</a:t>
              </a:r>
              <a:endParaRPr lang="en" sz="800" dirty="0"/>
            </a:p>
          </p:txBody>
        </p:sp>
        <p:sp>
          <p:nvSpPr>
            <p:cNvPr id="629" name="pole tekstowe 171">
              <a:extLst>
                <a:ext uri="{FF2B5EF4-FFF2-40B4-BE49-F238E27FC236}">
                  <a16:creationId xmlns:a16="http://schemas.microsoft.com/office/drawing/2014/main" id="{38971A87-8F2A-41C2-8443-C74F94D975B6}"/>
                </a:ext>
              </a:extLst>
            </p:cNvPr>
            <p:cNvSpPr txBox="1"/>
            <p:nvPr/>
          </p:nvSpPr>
          <p:spPr>
            <a:xfrm>
              <a:off x="3203848" y="3867894"/>
              <a:ext cx="720080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/>
                <a:t>Odessa</a:t>
              </a:r>
              <a:endParaRPr lang="en" sz="800" dirty="0"/>
            </a:p>
          </p:txBody>
        </p:sp>
        <p:sp>
          <p:nvSpPr>
            <p:cNvPr id="630" name="pole tekstowe 171">
              <a:extLst>
                <a:ext uri="{FF2B5EF4-FFF2-40B4-BE49-F238E27FC236}">
                  <a16:creationId xmlns:a16="http://schemas.microsoft.com/office/drawing/2014/main" id="{FA1579ED-1A4E-4E4C-A286-23D144CD174B}"/>
                </a:ext>
              </a:extLst>
            </p:cNvPr>
            <p:cNvSpPr txBox="1"/>
            <p:nvPr/>
          </p:nvSpPr>
          <p:spPr>
            <a:xfrm>
              <a:off x="3779912" y="3291830"/>
              <a:ext cx="864096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/>
                <a:t>Nikolaev</a:t>
              </a:r>
              <a:endParaRPr lang="en" sz="800" dirty="0"/>
            </a:p>
          </p:txBody>
        </p:sp>
        <p:sp>
          <p:nvSpPr>
            <p:cNvPr id="631" name="pole tekstowe 171">
              <a:extLst>
                <a:ext uri="{FF2B5EF4-FFF2-40B4-BE49-F238E27FC236}">
                  <a16:creationId xmlns:a16="http://schemas.microsoft.com/office/drawing/2014/main" id="{3B6C2CAD-3A16-42A5-8E98-B9E341B89217}"/>
                </a:ext>
              </a:extLst>
            </p:cNvPr>
            <p:cNvSpPr txBox="1"/>
            <p:nvPr/>
          </p:nvSpPr>
          <p:spPr>
            <a:xfrm>
              <a:off x="4716016" y="2859782"/>
              <a:ext cx="1080120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/>
                <a:t>Dnepropetrovsk</a:t>
              </a:r>
              <a:endParaRPr lang="en" sz="800" dirty="0"/>
            </a:p>
          </p:txBody>
        </p:sp>
        <p:sp>
          <p:nvSpPr>
            <p:cNvPr id="632" name="pole tekstowe 171">
              <a:extLst>
                <a:ext uri="{FF2B5EF4-FFF2-40B4-BE49-F238E27FC236}">
                  <a16:creationId xmlns:a16="http://schemas.microsoft.com/office/drawing/2014/main" id="{E8E780EF-69B4-4932-A4BA-DFD810F06F40}"/>
                </a:ext>
              </a:extLst>
            </p:cNvPr>
            <p:cNvSpPr txBox="1"/>
            <p:nvPr/>
          </p:nvSpPr>
          <p:spPr>
            <a:xfrm>
              <a:off x="6228184" y="2499742"/>
              <a:ext cx="1008112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/>
                <a:t>Lugansk</a:t>
              </a:r>
              <a:endParaRPr lang="en" sz="800" dirty="0"/>
            </a:p>
          </p:txBody>
        </p:sp>
        <p:sp>
          <p:nvSpPr>
            <p:cNvPr id="633" name="pole tekstowe 171">
              <a:extLst>
                <a:ext uri="{FF2B5EF4-FFF2-40B4-BE49-F238E27FC236}">
                  <a16:creationId xmlns:a16="http://schemas.microsoft.com/office/drawing/2014/main" id="{9611A950-9373-470C-98C9-DFA75BA0CF77}"/>
                </a:ext>
              </a:extLst>
            </p:cNvPr>
            <p:cNvSpPr txBox="1"/>
            <p:nvPr/>
          </p:nvSpPr>
          <p:spPr>
            <a:xfrm>
              <a:off x="5868144" y="3075806"/>
              <a:ext cx="792088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 err="1"/>
                <a:t>Doneck</a:t>
              </a:r>
              <a:endParaRPr lang="en" sz="800" dirty="0"/>
            </a:p>
          </p:txBody>
        </p:sp>
        <p:sp>
          <p:nvSpPr>
            <p:cNvPr id="634" name="pole tekstowe 171">
              <a:extLst>
                <a:ext uri="{FF2B5EF4-FFF2-40B4-BE49-F238E27FC236}">
                  <a16:creationId xmlns:a16="http://schemas.microsoft.com/office/drawing/2014/main" id="{B9B866B8-3B75-4BDE-A8CF-1A47D48EBEB9}"/>
                </a:ext>
              </a:extLst>
            </p:cNvPr>
            <p:cNvSpPr txBox="1"/>
            <p:nvPr/>
          </p:nvSpPr>
          <p:spPr>
            <a:xfrm>
              <a:off x="5148064" y="3435846"/>
              <a:ext cx="792088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 err="1"/>
                <a:t>Zaporozhie</a:t>
              </a:r>
              <a:endParaRPr lang="en" sz="800" dirty="0"/>
            </a:p>
          </p:txBody>
        </p:sp>
        <p:sp>
          <p:nvSpPr>
            <p:cNvPr id="635" name="pole tekstowe 171">
              <a:extLst>
                <a:ext uri="{FF2B5EF4-FFF2-40B4-BE49-F238E27FC236}">
                  <a16:creationId xmlns:a16="http://schemas.microsoft.com/office/drawing/2014/main" id="{7214DB5E-7F7B-4DB4-BFB3-64FFFB2290DF}"/>
                </a:ext>
              </a:extLst>
            </p:cNvPr>
            <p:cNvSpPr txBox="1"/>
            <p:nvPr/>
          </p:nvSpPr>
          <p:spPr>
            <a:xfrm>
              <a:off x="4355976" y="3651870"/>
              <a:ext cx="936104" cy="2160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rm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/>
                <a:t>Kherson</a:t>
              </a:r>
              <a:endParaRPr lang="en" sz="800" dirty="0"/>
            </a:p>
          </p:txBody>
        </p:sp>
        <p:sp>
          <p:nvSpPr>
            <p:cNvPr id="636" name="pole tekstowe 171">
              <a:extLst>
                <a:ext uri="{FF2B5EF4-FFF2-40B4-BE49-F238E27FC236}">
                  <a16:creationId xmlns:a16="http://schemas.microsoft.com/office/drawing/2014/main" id="{A446BC19-E260-4DAC-93D2-D5A30182F923}"/>
                </a:ext>
              </a:extLst>
            </p:cNvPr>
            <p:cNvSpPr txBox="1"/>
            <p:nvPr/>
          </p:nvSpPr>
          <p:spPr>
            <a:xfrm>
              <a:off x="4213790" y="4329947"/>
              <a:ext cx="1650616" cy="2260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 anchorCtr="1">
              <a:noAutofit/>
            </a:bodyPr>
            <a:lstStyle/>
            <a:p>
              <a:pPr>
                <a:spcAft>
                  <a:spcPts val="300"/>
                </a:spcAft>
              </a:pPr>
              <a:r>
                <a:rPr lang="en-US" sz="800" dirty="0" err="1"/>
                <a:t>Krym</a:t>
              </a:r>
              <a:r>
                <a:rPr lang="uk-UA" sz="800" dirty="0"/>
                <a:t> </a:t>
              </a:r>
              <a:endParaRPr lang="en" sz="800" dirty="0"/>
            </a:p>
          </p:txBody>
        </p:sp>
      </p:grpSp>
      <p:pic>
        <p:nvPicPr>
          <p:cNvPr id="713" name="Picture 10" descr="BASF_Man_Leadership_or_3c.emf">
            <a:extLst>
              <a:ext uri="{FF2B5EF4-FFF2-40B4-BE49-F238E27FC236}">
                <a16:creationId xmlns:a16="http://schemas.microsoft.com/office/drawing/2014/main" id="{0108F3EB-A203-48AA-9DA2-396E4E9D569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2650" y="2926721"/>
            <a:ext cx="206192" cy="551673"/>
          </a:xfrm>
          <a:prstGeom prst="rect">
            <a:avLst/>
          </a:prstGeom>
        </p:spPr>
      </p:pic>
      <p:pic>
        <p:nvPicPr>
          <p:cNvPr id="714" name="Picture 10" descr="BASF_Man_Leadership_or_3c.emf">
            <a:extLst>
              <a:ext uri="{FF2B5EF4-FFF2-40B4-BE49-F238E27FC236}">
                <a16:creationId xmlns:a16="http://schemas.microsoft.com/office/drawing/2014/main" id="{738704BF-9D68-4278-B9EC-B626CACB7E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5313" y="3067192"/>
            <a:ext cx="206192" cy="551673"/>
          </a:xfrm>
          <a:prstGeom prst="rect">
            <a:avLst/>
          </a:prstGeom>
        </p:spPr>
      </p:pic>
      <p:pic>
        <p:nvPicPr>
          <p:cNvPr id="715" name="Picture 10" descr="BASF_Man_Leadership_or_3c.emf">
            <a:extLst>
              <a:ext uri="{FF2B5EF4-FFF2-40B4-BE49-F238E27FC236}">
                <a16:creationId xmlns:a16="http://schemas.microsoft.com/office/drawing/2014/main" id="{46608D77-BB77-4F75-A656-9C81DEFBB8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6295" y="3525565"/>
            <a:ext cx="206192" cy="551673"/>
          </a:xfrm>
          <a:prstGeom prst="rect">
            <a:avLst/>
          </a:prstGeom>
        </p:spPr>
      </p:pic>
      <p:pic>
        <p:nvPicPr>
          <p:cNvPr id="716" name="Picture 10" descr="BASF_Man_Leadership_or_3c.emf">
            <a:extLst>
              <a:ext uri="{FF2B5EF4-FFF2-40B4-BE49-F238E27FC236}">
                <a16:creationId xmlns:a16="http://schemas.microsoft.com/office/drawing/2014/main" id="{C46762A5-D259-4C5B-A9D6-B543C1FFB20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855" y="2275678"/>
            <a:ext cx="206192" cy="551673"/>
          </a:xfrm>
          <a:prstGeom prst="rect">
            <a:avLst/>
          </a:prstGeom>
        </p:spPr>
      </p:pic>
      <p:pic>
        <p:nvPicPr>
          <p:cNvPr id="717" name="Picture 10" descr="BASF_Man_Leadership_or_3c.emf">
            <a:extLst>
              <a:ext uri="{FF2B5EF4-FFF2-40B4-BE49-F238E27FC236}">
                <a16:creationId xmlns:a16="http://schemas.microsoft.com/office/drawing/2014/main" id="{6A5C7855-03C4-4DE2-A14E-9BB35454E2D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1815" y="3178395"/>
            <a:ext cx="206192" cy="551673"/>
          </a:xfrm>
          <a:prstGeom prst="rect">
            <a:avLst/>
          </a:prstGeom>
        </p:spPr>
      </p:pic>
      <p:pic>
        <p:nvPicPr>
          <p:cNvPr id="718" name="Picture 10" descr="BASF_Man_Leadership_or_3c.emf">
            <a:extLst>
              <a:ext uri="{FF2B5EF4-FFF2-40B4-BE49-F238E27FC236}">
                <a16:creationId xmlns:a16="http://schemas.microsoft.com/office/drawing/2014/main" id="{8A2EDDE3-61B5-40F9-97D9-232DF212D54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8341" y="2796294"/>
            <a:ext cx="206192" cy="551673"/>
          </a:xfrm>
          <a:prstGeom prst="rect">
            <a:avLst/>
          </a:prstGeom>
        </p:spPr>
      </p:pic>
      <p:pic>
        <p:nvPicPr>
          <p:cNvPr id="719" name="Picture 10" descr="BASF_Man_Leadership_or_3c.emf">
            <a:extLst>
              <a:ext uri="{FF2B5EF4-FFF2-40B4-BE49-F238E27FC236}">
                <a16:creationId xmlns:a16="http://schemas.microsoft.com/office/drawing/2014/main" id="{98FBDD6D-2576-455C-900E-2E903968E72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9138" y="3039116"/>
            <a:ext cx="206192" cy="551673"/>
          </a:xfrm>
          <a:prstGeom prst="rect">
            <a:avLst/>
          </a:prstGeom>
        </p:spPr>
      </p:pic>
      <p:pic>
        <p:nvPicPr>
          <p:cNvPr id="720" name="Picture 10" descr="BASF_Man_Leadership_or_3c.emf">
            <a:extLst>
              <a:ext uri="{FF2B5EF4-FFF2-40B4-BE49-F238E27FC236}">
                <a16:creationId xmlns:a16="http://schemas.microsoft.com/office/drawing/2014/main" id="{7B1C0B64-1AD0-49D6-B968-3F2018197D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1637" y="2274602"/>
            <a:ext cx="206192" cy="551673"/>
          </a:xfrm>
          <a:prstGeom prst="rect">
            <a:avLst/>
          </a:prstGeom>
        </p:spPr>
      </p:pic>
      <p:pic>
        <p:nvPicPr>
          <p:cNvPr id="721" name="Picture 10" descr="BASF_Man_Leadership_or_3c.emf">
            <a:extLst>
              <a:ext uri="{FF2B5EF4-FFF2-40B4-BE49-F238E27FC236}">
                <a16:creationId xmlns:a16="http://schemas.microsoft.com/office/drawing/2014/main" id="{D7E0E60F-CE59-410D-B82D-B83DB58496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4534" y="4109754"/>
            <a:ext cx="206192" cy="551673"/>
          </a:xfrm>
          <a:prstGeom prst="rect">
            <a:avLst/>
          </a:prstGeom>
        </p:spPr>
      </p:pic>
      <p:pic>
        <p:nvPicPr>
          <p:cNvPr id="722" name="Picture 10" descr="BASF_Man_Leadership_or_3c.emf">
            <a:extLst>
              <a:ext uri="{FF2B5EF4-FFF2-40B4-BE49-F238E27FC236}">
                <a16:creationId xmlns:a16="http://schemas.microsoft.com/office/drawing/2014/main" id="{B09CED01-BB17-4E30-BF4E-E2C0ED6D132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5849" y="4320630"/>
            <a:ext cx="206192" cy="551673"/>
          </a:xfrm>
          <a:prstGeom prst="rect">
            <a:avLst/>
          </a:prstGeom>
        </p:spPr>
      </p:pic>
      <p:pic>
        <p:nvPicPr>
          <p:cNvPr id="723" name="Picture 10" descr="BASF_Man_Leadership_or_3c.emf">
            <a:extLst>
              <a:ext uri="{FF2B5EF4-FFF2-40B4-BE49-F238E27FC236}">
                <a16:creationId xmlns:a16="http://schemas.microsoft.com/office/drawing/2014/main" id="{4534345C-16E4-4ACF-B512-1C7CD703996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5532" y="3562287"/>
            <a:ext cx="206192" cy="551673"/>
          </a:xfrm>
          <a:prstGeom prst="rect">
            <a:avLst/>
          </a:prstGeom>
        </p:spPr>
      </p:pic>
      <p:pic>
        <p:nvPicPr>
          <p:cNvPr id="724" name="Picture 10" descr="BASF_Man_Leadership_or_3c.emf">
            <a:extLst>
              <a:ext uri="{FF2B5EF4-FFF2-40B4-BE49-F238E27FC236}">
                <a16:creationId xmlns:a16="http://schemas.microsoft.com/office/drawing/2014/main" id="{0E1F5E0A-F776-42AD-BB92-CC998E4D808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7620" y="3098986"/>
            <a:ext cx="225904" cy="551673"/>
          </a:xfrm>
          <a:prstGeom prst="rect">
            <a:avLst/>
          </a:prstGeom>
        </p:spPr>
      </p:pic>
      <p:pic>
        <p:nvPicPr>
          <p:cNvPr id="725" name="Picture 10" descr="BASF_Man_Leadership_or_3c.emf">
            <a:extLst>
              <a:ext uri="{FF2B5EF4-FFF2-40B4-BE49-F238E27FC236}">
                <a16:creationId xmlns:a16="http://schemas.microsoft.com/office/drawing/2014/main" id="{9AB81A33-BB52-4ECD-923C-1437899F52F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736" y="3907744"/>
            <a:ext cx="206192" cy="551673"/>
          </a:xfrm>
          <a:prstGeom prst="rect">
            <a:avLst/>
          </a:prstGeom>
        </p:spPr>
      </p:pic>
      <p:pic>
        <p:nvPicPr>
          <p:cNvPr id="726" name="Picture 10" descr="BASF_Man_Leadership_or_3c.emf">
            <a:extLst>
              <a:ext uri="{FF2B5EF4-FFF2-40B4-BE49-F238E27FC236}">
                <a16:creationId xmlns:a16="http://schemas.microsoft.com/office/drawing/2014/main" id="{0635C148-A97A-48D7-BE99-4A6034E470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5894" y="4437704"/>
            <a:ext cx="206192" cy="551673"/>
          </a:xfrm>
          <a:prstGeom prst="rect">
            <a:avLst/>
          </a:prstGeom>
        </p:spPr>
      </p:pic>
      <p:pic>
        <p:nvPicPr>
          <p:cNvPr id="727" name="Picture 10" descr="BASF_Man_Leadership_or_3c.emf">
            <a:extLst>
              <a:ext uri="{FF2B5EF4-FFF2-40B4-BE49-F238E27FC236}">
                <a16:creationId xmlns:a16="http://schemas.microsoft.com/office/drawing/2014/main" id="{C99CF803-B3D6-4CDE-A045-78AF4BA84F5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8923" y="3110146"/>
            <a:ext cx="206192" cy="551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9925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>
              <a:ext uri="{FF2B5EF4-FFF2-40B4-BE49-F238E27FC236}">
                <a16:creationId xmlns:a16="http://schemas.microsoft.com/office/drawing/2014/main" id="{BF76BBD7-43CF-432D-B7CE-5957C19EB310}"/>
              </a:ext>
            </a:extLst>
          </p:cNvPr>
          <p:cNvSpPr txBox="1">
            <a:spLocks/>
          </p:cNvSpPr>
          <p:nvPr/>
        </p:nvSpPr>
        <p:spPr>
          <a:xfrm>
            <a:off x="-194260" y="292060"/>
            <a:ext cx="5314699" cy="7078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аша возможность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B8D37FD-1120-4BDE-833C-C4E9F0C80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8169" y="6237312"/>
            <a:ext cx="439241" cy="390437"/>
          </a:xfrm>
        </p:spPr>
        <p:txBody>
          <a:bodyPr/>
          <a:lstStyle/>
          <a:p>
            <a:fld id="{F68327C5-B821-4FE9-A59A-A60D9EB59A9A}" type="slidenum">
              <a:rPr lang="en-US" smtClean="0"/>
              <a:pPr/>
              <a:t>17</a:t>
            </a:fld>
            <a:endParaRPr lang="en-US" dirty="0"/>
          </a:p>
        </p:txBody>
      </p:sp>
      <p:grpSp>
        <p:nvGrpSpPr>
          <p:cNvPr id="6" name="Group 2">
            <a:extLst>
              <a:ext uri="{FF2B5EF4-FFF2-40B4-BE49-F238E27FC236}">
                <a16:creationId xmlns:a16="http://schemas.microsoft.com/office/drawing/2014/main" id="{9D3B568B-3A2A-4EF3-9002-873DBF9A8BBB}"/>
              </a:ext>
            </a:extLst>
          </p:cNvPr>
          <p:cNvGrpSpPr/>
          <p:nvPr/>
        </p:nvGrpSpPr>
        <p:grpSpPr>
          <a:xfrm>
            <a:off x="1455453" y="1821461"/>
            <a:ext cx="8966265" cy="4282998"/>
            <a:chOff x="1784568" y="1988840"/>
            <a:chExt cx="8910894" cy="4464496"/>
          </a:xfrm>
          <a:scene3d>
            <a:camera prst="isometricOffAxis1Right"/>
            <a:lightRig rig="threePt" dir="t"/>
          </a:scene3d>
        </p:grpSpPr>
        <p:sp>
          <p:nvSpPr>
            <p:cNvPr id="7" name="Rectangle 7">
              <a:extLst>
                <a:ext uri="{FF2B5EF4-FFF2-40B4-BE49-F238E27FC236}">
                  <a16:creationId xmlns:a16="http://schemas.microsoft.com/office/drawing/2014/main" id="{CEFF1398-3C46-477A-8388-B9CC5756C125}"/>
                </a:ext>
              </a:extLst>
            </p:cNvPr>
            <p:cNvSpPr/>
            <p:nvPr/>
          </p:nvSpPr>
          <p:spPr>
            <a:xfrm>
              <a:off x="1784568" y="1988840"/>
              <a:ext cx="4455447" cy="2232248"/>
            </a:xfrm>
            <a:prstGeom prst="rect">
              <a:avLst/>
            </a:prstGeom>
            <a:ln>
              <a:noFill/>
            </a:ln>
            <a:sp3d extrusionH="10160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r>
                <a:rPr lang="uk-UA" sz="2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лучить </a:t>
              </a:r>
              <a:r>
                <a:rPr lang="ru-RU" sz="2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актический опыт работы в </a:t>
              </a:r>
              <a:r>
                <a:rPr lang="ru-RU" sz="24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гро</a:t>
              </a:r>
              <a:r>
                <a:rPr lang="ru-RU" sz="2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бизнесе</a:t>
              </a:r>
              <a:endPara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ectangle 8">
              <a:extLst>
                <a:ext uri="{FF2B5EF4-FFF2-40B4-BE49-F238E27FC236}">
                  <a16:creationId xmlns:a16="http://schemas.microsoft.com/office/drawing/2014/main" id="{F37EC2AB-C0EC-49E8-91D8-A0431350AB1D}"/>
                </a:ext>
              </a:extLst>
            </p:cNvPr>
            <p:cNvSpPr/>
            <p:nvPr/>
          </p:nvSpPr>
          <p:spPr>
            <a:xfrm>
              <a:off x="1784568" y="4221088"/>
              <a:ext cx="4455447" cy="22322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sp3d extrusionH="10160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r>
                <a:rPr lang="ru-RU" sz="2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йти тренинги </a:t>
              </a:r>
              <a:endParaRPr lang="ru-RU" sz="24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9">
              <a:extLst>
                <a:ext uri="{FF2B5EF4-FFF2-40B4-BE49-F238E27FC236}">
                  <a16:creationId xmlns:a16="http://schemas.microsoft.com/office/drawing/2014/main" id="{952B1926-37AF-4E9F-915A-749ECFBA97FB}"/>
                </a:ext>
              </a:extLst>
            </p:cNvPr>
            <p:cNvSpPr/>
            <p:nvPr/>
          </p:nvSpPr>
          <p:spPr>
            <a:xfrm>
              <a:off x="6240015" y="1988840"/>
              <a:ext cx="4455447" cy="223224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sp3d extrusionH="10160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r>
                <a:rPr lang="ru-RU" sz="2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стойные условия стажировки</a:t>
              </a:r>
            </a:p>
          </p:txBody>
        </p:sp>
        <p:sp>
          <p:nvSpPr>
            <p:cNvPr id="10" name="Rectangle 10">
              <a:extLst>
                <a:ext uri="{FF2B5EF4-FFF2-40B4-BE49-F238E27FC236}">
                  <a16:creationId xmlns:a16="http://schemas.microsoft.com/office/drawing/2014/main" id="{2B5404B0-663A-4D09-AAC6-D63E887B74A5}"/>
                </a:ext>
              </a:extLst>
            </p:cNvPr>
            <p:cNvSpPr/>
            <p:nvPr/>
          </p:nvSpPr>
          <p:spPr>
            <a:xfrm>
              <a:off x="6240015" y="4221088"/>
              <a:ext cx="4455447" cy="223224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sp3d extrusionH="10160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r>
                <a:rPr lang="ru-RU" sz="2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чать карьеру с компанией - лидером</a:t>
              </a:r>
              <a:endParaRPr lang="ru-RU" sz="2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1891237"/>
      </p:ext>
    </p:extLst>
  </p:cSld>
  <p:clrMapOvr>
    <a:masterClrMapping/>
  </p:clrMapOvr>
  <p:transition spd="slow">
    <p:cover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18C07D-1A94-4706-949D-4EB5F646E206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AFD5DDB-C3C9-4DC9-BC4E-F1D7B823A3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963" y="212515"/>
            <a:ext cx="4695596" cy="6584285"/>
          </a:xfrm>
          <a:prstGeom prst="rect">
            <a:avLst/>
          </a:prstGeom>
        </p:spPr>
      </p:pic>
      <p:graphicFrame>
        <p:nvGraphicFramePr>
          <p:cNvPr id="7" name="Схема 6">
            <a:extLst>
              <a:ext uri="{FF2B5EF4-FFF2-40B4-BE49-F238E27FC236}">
                <a16:creationId xmlns:a16="http://schemas.microsoft.com/office/drawing/2014/main" id="{7C0DFB36-66D2-4881-8CF3-0B09A98933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1525318"/>
              </p:ext>
            </p:extLst>
          </p:nvPr>
        </p:nvGraphicFramePr>
        <p:xfrm>
          <a:off x="5402339" y="592838"/>
          <a:ext cx="6160168" cy="55173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294839699"/>
      </p:ext>
    </p:extLst>
  </p:cSld>
  <p:clrMapOvr>
    <a:masterClrMapping/>
  </p:clrMapOvr>
  <p:transition spd="slow">
    <p:cover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/>
          <p:cNvPicPr>
            <a:picLocks noChangeAspect="1"/>
          </p:cNvPicPr>
          <p:nvPr/>
        </p:nvPicPr>
        <p:blipFill>
          <a:blip r:embed="rId3"/>
          <a:srcRect t="24547" b="24547"/>
          <a:stretch>
            <a:fillRect/>
          </a:stretch>
        </p:blipFill>
        <p:spPr bwMode="auto">
          <a:xfrm>
            <a:off x="6095206" y="3939721"/>
            <a:ext cx="5603923" cy="1978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4"/>
          <a:srcRect t="25699" b="21393"/>
          <a:stretch>
            <a:fillRect/>
          </a:stretch>
        </p:blipFill>
        <p:spPr bwMode="auto">
          <a:xfrm>
            <a:off x="287318" y="4011653"/>
            <a:ext cx="5407137" cy="19086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915" name="Titel 5"/>
          <p:cNvSpPr>
            <a:spLocks noGrp="1"/>
          </p:cNvSpPr>
          <p:nvPr>
            <p:ph type="title"/>
          </p:nvPr>
        </p:nvSpPr>
        <p:spPr>
          <a:xfrm>
            <a:off x="619017" y="537450"/>
            <a:ext cx="9100733" cy="853200"/>
          </a:xfrm>
        </p:spPr>
        <p:txBody>
          <a:bodyPr>
            <a:noAutofit/>
          </a:bodyPr>
          <a:lstStyle/>
          <a:p>
            <a:pPr eaLnBrk="1" hangingPunct="1"/>
            <a:r>
              <a:rPr lang="ru-RU" sz="2400" dirty="0">
                <a:latin typeface="Arial" charset="0"/>
              </a:rPr>
              <a:t>Глобальные</a:t>
            </a:r>
            <a:r>
              <a:rPr lang="uk-UA" sz="2400" dirty="0">
                <a:latin typeface="Arial" charset="0"/>
              </a:rPr>
              <a:t> </a:t>
            </a:r>
            <a:r>
              <a:rPr lang="ru-RU" sz="2400" dirty="0">
                <a:latin typeface="Arial" charset="0"/>
              </a:rPr>
              <a:t>тенденции</a:t>
            </a:r>
            <a:r>
              <a:rPr lang="uk-UA" sz="2400" dirty="0">
                <a:latin typeface="Arial" charset="0"/>
              </a:rPr>
              <a:t> </a:t>
            </a:r>
            <a:r>
              <a:rPr lang="ru-RU" sz="2400" dirty="0">
                <a:latin typeface="Arial" charset="0"/>
              </a:rPr>
              <a:t>непосредственного</a:t>
            </a:r>
            <a:r>
              <a:rPr lang="uk-UA" sz="2400" dirty="0">
                <a:latin typeface="Arial" charset="0"/>
              </a:rPr>
              <a:t>  </a:t>
            </a:r>
            <a:r>
              <a:rPr lang="ru-RU" sz="2400" dirty="0">
                <a:latin typeface="Arial" charset="0"/>
              </a:rPr>
              <a:t>влияния</a:t>
            </a:r>
            <a:r>
              <a:rPr lang="uk-UA" sz="2400" dirty="0">
                <a:latin typeface="Arial" charset="0"/>
              </a:rPr>
              <a:t> на </a:t>
            </a:r>
            <a:r>
              <a:rPr lang="ru-RU" sz="2400" dirty="0">
                <a:latin typeface="Arial" charset="0"/>
              </a:rPr>
              <a:t>сельское</a:t>
            </a:r>
            <a:r>
              <a:rPr lang="uk-UA" sz="2400" dirty="0">
                <a:latin typeface="Arial" charset="0"/>
              </a:rPr>
              <a:t> </a:t>
            </a:r>
            <a:r>
              <a:rPr lang="ru-RU" sz="2400" dirty="0">
                <a:latin typeface="Arial" charset="0"/>
              </a:rPr>
              <a:t>хозяйство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580375" y="6169350"/>
            <a:ext cx="959875" cy="151200"/>
          </a:xfrm>
        </p:spPr>
        <p:txBody>
          <a:bodyPr/>
          <a:lstStyle/>
          <a:p>
            <a:pPr>
              <a:defRPr/>
            </a:pPr>
            <a:fld id="{AD7F3941-A1AD-4989-8D80-7A26FC0A427F}" type="slidenum">
              <a:rPr lang="de-DE"/>
              <a:pPr>
                <a:defRPr/>
              </a:pPr>
              <a:t>19</a:t>
            </a:fld>
            <a:endParaRPr lang="de-DE" dirty="0"/>
          </a:p>
        </p:txBody>
      </p:sp>
      <p:sp>
        <p:nvSpPr>
          <p:cNvPr id="10" name="Rechteck 9"/>
          <p:cNvSpPr>
            <a:spLocks noChangeArrowheads="1"/>
          </p:cNvSpPr>
          <p:nvPr/>
        </p:nvSpPr>
        <p:spPr bwMode="auto">
          <a:xfrm>
            <a:off x="843537" y="1660431"/>
            <a:ext cx="280968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2000" b="1" dirty="0">
                <a:solidFill>
                  <a:schemeClr val="accent1"/>
                </a:solidFill>
                <a:cs typeface="Arial" charset="0"/>
              </a:rPr>
              <a:t>Новые потребности</a:t>
            </a:r>
            <a:r>
              <a:rPr lang="en-US" sz="2000" b="1" dirty="0">
                <a:solidFill>
                  <a:schemeClr val="accent1"/>
                </a:solidFill>
                <a:cs typeface="Arial" charset="0"/>
              </a:rPr>
              <a:t>…</a:t>
            </a:r>
          </a:p>
        </p:txBody>
      </p:sp>
      <p:sp>
        <p:nvSpPr>
          <p:cNvPr id="44" name="Rechteck 43"/>
          <p:cNvSpPr>
            <a:spLocks noChangeArrowheads="1"/>
          </p:cNvSpPr>
          <p:nvPr/>
        </p:nvSpPr>
        <p:spPr bwMode="auto">
          <a:xfrm>
            <a:off x="499444" y="6215711"/>
            <a:ext cx="7592414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>
              <a:lnSpc>
                <a:spcPct val="95000"/>
              </a:lnSpc>
            </a:pPr>
            <a:r>
              <a:rPr lang="uk-UA" sz="2000" b="1" noProof="1">
                <a:solidFill>
                  <a:srgbClr val="65AC1E"/>
                </a:solidFill>
                <a:cs typeface="Arial" charset="0"/>
              </a:rPr>
              <a:t>К 2050 году население вырастет до 9 милиардов</a:t>
            </a:r>
          </a:p>
        </p:txBody>
      </p:sp>
      <p:sp>
        <p:nvSpPr>
          <p:cNvPr id="45" name="Rectangle 7"/>
          <p:cNvSpPr>
            <a:spLocks noChangeArrowheads="1"/>
          </p:cNvSpPr>
          <p:nvPr/>
        </p:nvSpPr>
        <p:spPr bwMode="auto">
          <a:xfrm>
            <a:off x="499444" y="2262098"/>
            <a:ext cx="9339881" cy="164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15532" lvl="1" indent="-214341">
              <a:lnSpc>
                <a:spcPct val="85000"/>
              </a:lnSpc>
              <a:spcBef>
                <a:spcPts val="450"/>
              </a:spcBef>
              <a:spcAft>
                <a:spcPts val="450"/>
              </a:spcAft>
              <a:buClr>
                <a:srgbClr val="65AC1E"/>
              </a:buClr>
              <a:buFont typeface="Wingdings" pitchFamily="2" charset="2"/>
              <a:buChar char="n"/>
            </a:pPr>
            <a:r>
              <a:rPr lang="ru-RU" sz="2400" dirty="0">
                <a:solidFill>
                  <a:srgbClr val="000000"/>
                </a:solidFill>
                <a:cs typeface="Arial" charset="0"/>
              </a:rPr>
              <a:t>Калории, микроэлементы, вода</a:t>
            </a:r>
          </a:p>
          <a:p>
            <a:pPr marL="215532" lvl="1" indent="-214341">
              <a:lnSpc>
                <a:spcPct val="85000"/>
              </a:lnSpc>
              <a:spcBef>
                <a:spcPts val="450"/>
              </a:spcBef>
              <a:spcAft>
                <a:spcPts val="450"/>
              </a:spcAft>
              <a:buClr>
                <a:srgbClr val="65AC1E"/>
              </a:buClr>
              <a:buFont typeface="Wingdings" pitchFamily="2" charset="2"/>
              <a:buChar char="n"/>
            </a:pPr>
            <a:r>
              <a:rPr lang="ru-RU" sz="2400" dirty="0">
                <a:solidFill>
                  <a:srgbClr val="000000"/>
                </a:solidFill>
                <a:cs typeface="Arial" charset="0"/>
              </a:rPr>
              <a:t>Старение населения</a:t>
            </a:r>
            <a:endParaRPr lang="en-US" sz="2400" dirty="0">
              <a:solidFill>
                <a:srgbClr val="000000"/>
              </a:solidFill>
              <a:cs typeface="Arial" charset="0"/>
            </a:endParaRPr>
          </a:p>
          <a:p>
            <a:pPr marL="215532" lvl="1" indent="-214341">
              <a:lnSpc>
                <a:spcPct val="85000"/>
              </a:lnSpc>
              <a:spcBef>
                <a:spcPts val="450"/>
              </a:spcBef>
              <a:spcAft>
                <a:spcPts val="450"/>
              </a:spcAft>
              <a:buClr>
                <a:srgbClr val="65AC1E"/>
              </a:buClr>
              <a:buFont typeface="Wingdings" pitchFamily="2" charset="2"/>
              <a:buChar char="n"/>
            </a:pPr>
            <a:r>
              <a:rPr lang="ru-RU" sz="2400" dirty="0">
                <a:solidFill>
                  <a:srgbClr val="000000"/>
                </a:solidFill>
                <a:cs typeface="Arial" charset="0"/>
              </a:rPr>
              <a:t>Увеличение потребления энергии и воды</a:t>
            </a:r>
            <a:endParaRPr lang="en-US" sz="2400" dirty="0">
              <a:solidFill>
                <a:srgbClr val="000000"/>
              </a:solidFill>
              <a:cs typeface="Arial" charset="0"/>
            </a:endParaRPr>
          </a:p>
          <a:p>
            <a:pPr marL="215532" lvl="1" indent="-214341">
              <a:lnSpc>
                <a:spcPct val="85000"/>
              </a:lnSpc>
              <a:spcBef>
                <a:spcPts val="450"/>
              </a:spcBef>
              <a:spcAft>
                <a:spcPts val="450"/>
              </a:spcAft>
              <a:buClr>
                <a:srgbClr val="65AC1E"/>
              </a:buClr>
              <a:buFont typeface="Wingdings" pitchFamily="2" charset="2"/>
              <a:buChar char="n"/>
            </a:pPr>
            <a:r>
              <a:rPr lang="ru-RU" sz="2400" dirty="0">
                <a:solidFill>
                  <a:srgbClr val="000000"/>
                </a:solidFill>
                <a:cs typeface="Arial" charset="0"/>
              </a:rPr>
              <a:t>Урбанизация</a:t>
            </a:r>
          </a:p>
        </p:txBody>
      </p:sp>
    </p:spTree>
    <p:extLst>
      <p:ext uri="{BB962C8B-B14F-4D97-AF65-F5344CB8AC3E}">
        <p14:creationId xmlns:p14="http://schemas.microsoft.com/office/powerpoint/2010/main" val="3176500279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44" grpId="0"/>
      <p:bldP spid="4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41863" y="456791"/>
            <a:ext cx="5990274" cy="853200"/>
          </a:xfrm>
        </p:spPr>
        <p:txBody>
          <a:bodyPr>
            <a:normAutofit/>
          </a:bodyPr>
          <a:lstStyle/>
          <a:p>
            <a:r>
              <a:rPr lang="ru-RU" b="1" dirty="0"/>
              <a:t>Сегментация</a:t>
            </a:r>
            <a:r>
              <a:rPr lang="uk-UA" b="1" dirty="0"/>
              <a:t> </a:t>
            </a:r>
            <a:r>
              <a:rPr lang="ru-RU" b="1" dirty="0"/>
              <a:t>подразделений</a:t>
            </a:r>
          </a:p>
        </p:txBody>
      </p:sp>
      <p:grpSp>
        <p:nvGrpSpPr>
          <p:cNvPr id="4" name="Gruppieren 109"/>
          <p:cNvGrpSpPr/>
          <p:nvPr/>
        </p:nvGrpSpPr>
        <p:grpSpPr>
          <a:xfrm>
            <a:off x="1918743" y="1760772"/>
            <a:ext cx="1366839" cy="4770000"/>
            <a:chOff x="215900" y="1798637"/>
            <a:chExt cx="1366839" cy="4770000"/>
          </a:xfrm>
        </p:grpSpPr>
        <p:pic>
          <p:nvPicPr>
            <p:cNvPr id="5" name="Picture 4" descr="Produkt_Chemiekalien_ucr_klein"/>
            <p:cNvPicPr preferRelativeResize="0">
              <a:picLocks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15900" y="1798637"/>
              <a:ext cx="1366838" cy="1800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 rot="16200000">
              <a:off x="-305968" y="2322000"/>
              <a:ext cx="1620000" cy="576263"/>
            </a:xfrm>
            <a:prstGeom prst="rect">
              <a:avLst/>
            </a:prstGeom>
            <a:solidFill>
              <a:srgbClr val="F39500">
                <a:alpha val="7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50000"/>
                </a:spcBef>
              </a:pPr>
              <a:r>
                <a:rPr lang="uk-UA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Хімікати – 23%</a:t>
              </a:r>
              <a:endPara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Line 25"/>
            <p:cNvSpPr>
              <a:spLocks noChangeShapeType="1"/>
            </p:cNvSpPr>
            <p:nvPr/>
          </p:nvSpPr>
          <p:spPr bwMode="auto">
            <a:xfrm>
              <a:off x="215900" y="1798637"/>
              <a:ext cx="0" cy="4770000"/>
            </a:xfrm>
            <a:prstGeom prst="line">
              <a:avLst/>
            </a:prstGeom>
            <a:noFill/>
            <a:ln w="25400">
              <a:solidFill>
                <a:srgbClr val="F3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15900" y="4186945"/>
              <a:ext cx="996950" cy="2752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108000" rIns="0" bIns="0">
              <a:spAutoFit/>
            </a:bodyPr>
            <a:lstStyle/>
            <a:p>
              <a:pPr defTabSz="739775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uk-UA" sz="1200" b="1" dirty="0">
                  <a:solidFill>
                    <a:srgbClr val="F39500"/>
                  </a:solidFill>
                  <a:latin typeface="Arial" pitchFamily="34" charset="0"/>
                  <a:cs typeface="Arial" pitchFamily="34" charset="0"/>
                </a:rPr>
                <a:t>Мономери</a:t>
              </a:r>
              <a:endParaRPr lang="en-US" sz="1200" b="1" dirty="0">
                <a:solidFill>
                  <a:srgbClr val="F395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15900" y="4618993"/>
              <a:ext cx="1366839" cy="2752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4000" tIns="108000" rIns="0" bIns="0" anchor="ctr">
              <a:spAutoFit/>
            </a:bodyPr>
            <a:lstStyle/>
            <a:p>
              <a:pPr defTabSz="739775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uk-UA" sz="1200" b="1" dirty="0">
                  <a:solidFill>
                    <a:srgbClr val="F39500"/>
                  </a:solidFill>
                  <a:latin typeface="Arial" pitchFamily="34" charset="0"/>
                  <a:cs typeface="Arial" pitchFamily="34" charset="0"/>
                </a:rPr>
                <a:t>Нафтопродукти </a:t>
              </a:r>
              <a:endParaRPr lang="en-US" sz="1200" b="1" dirty="0">
                <a:solidFill>
                  <a:srgbClr val="F395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15900" y="3682889"/>
              <a:ext cx="1289050" cy="44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108000" rIns="0" bIns="0" anchor="ctr">
              <a:spAutoFit/>
            </a:bodyPr>
            <a:lstStyle/>
            <a:p>
              <a:pPr defTabSz="739775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uk-UA" sz="1200" b="1" dirty="0">
                  <a:solidFill>
                    <a:srgbClr val="F39500"/>
                  </a:solidFill>
                  <a:latin typeface="Arial" pitchFamily="34" charset="0"/>
                  <a:cs typeface="Arial" pitchFamily="34" charset="0"/>
                </a:rPr>
                <a:t>Проміжні продукти</a:t>
              </a:r>
              <a:endParaRPr lang="en-US" sz="1200" b="1" dirty="0">
                <a:solidFill>
                  <a:srgbClr val="F395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Line 26"/>
            <p:cNvSpPr>
              <a:spLocks noChangeShapeType="1"/>
            </p:cNvSpPr>
            <p:nvPr/>
          </p:nvSpPr>
          <p:spPr bwMode="auto">
            <a:xfrm>
              <a:off x="322738" y="3717032"/>
              <a:ext cx="1260000" cy="0"/>
            </a:xfrm>
            <a:prstGeom prst="line">
              <a:avLst/>
            </a:prstGeom>
            <a:noFill/>
            <a:ln w="6350">
              <a:solidFill>
                <a:srgbClr val="F3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Line 26"/>
            <p:cNvSpPr>
              <a:spLocks noChangeShapeType="1"/>
            </p:cNvSpPr>
            <p:nvPr/>
          </p:nvSpPr>
          <p:spPr bwMode="auto">
            <a:xfrm>
              <a:off x="322738" y="4221088"/>
              <a:ext cx="1260000" cy="0"/>
            </a:xfrm>
            <a:prstGeom prst="line">
              <a:avLst/>
            </a:prstGeom>
            <a:noFill/>
            <a:ln w="6350">
              <a:solidFill>
                <a:srgbClr val="F3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Line 26"/>
            <p:cNvSpPr>
              <a:spLocks noChangeShapeType="1"/>
            </p:cNvSpPr>
            <p:nvPr/>
          </p:nvSpPr>
          <p:spPr bwMode="auto">
            <a:xfrm>
              <a:off x="322738" y="4618993"/>
              <a:ext cx="1260000" cy="0"/>
            </a:xfrm>
            <a:prstGeom prst="line">
              <a:avLst/>
            </a:prstGeom>
            <a:noFill/>
            <a:ln w="6350">
              <a:solidFill>
                <a:srgbClr val="F3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5" name="Gruppieren 113"/>
          <p:cNvGrpSpPr/>
          <p:nvPr/>
        </p:nvGrpSpPr>
        <p:grpSpPr>
          <a:xfrm>
            <a:off x="6850115" y="1155037"/>
            <a:ext cx="1919062" cy="5375737"/>
            <a:chOff x="6089652" y="1794562"/>
            <a:chExt cx="1366837" cy="4774075"/>
          </a:xfrm>
        </p:grpSpPr>
        <p:pic>
          <p:nvPicPr>
            <p:cNvPr id="16" name="Picture 48" descr="Produkt_Pflanzenschutz_ucr_klein"/>
            <p:cNvPicPr preferRelativeResize="0">
              <a:picLocks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89652" y="1798637"/>
              <a:ext cx="1366837" cy="1800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Rectangle 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6089652" y="3717032"/>
              <a:ext cx="1357730" cy="1106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4000" tIns="108000" rIns="0" bIns="0">
              <a:spAutoFit/>
            </a:bodyPr>
            <a:lstStyle/>
            <a:p>
              <a:pPr defTabSz="739775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uk-UA" sz="1200" b="1" dirty="0">
                  <a:solidFill>
                    <a:srgbClr val="65AC1E"/>
                  </a:solidFill>
                  <a:latin typeface="Arial" pitchFamily="34" charset="0"/>
                  <a:cs typeface="Arial" pitchFamily="34" charset="0"/>
                </a:rPr>
                <a:t>Інноваційні рішення у сфері захисту </a:t>
              </a:r>
              <a:r>
                <a:rPr lang="uk-UA" sz="1200" b="1" dirty="0" err="1">
                  <a:solidFill>
                    <a:srgbClr val="65AC1E"/>
                  </a:solidFill>
                  <a:latin typeface="Arial" pitchFamily="34" charset="0"/>
                  <a:cs typeface="Arial" pitchFamily="34" charset="0"/>
                </a:rPr>
                <a:t>сільсько</a:t>
              </a:r>
              <a:r>
                <a:rPr lang="uk-UA" sz="1200" b="1" dirty="0">
                  <a:solidFill>
                    <a:srgbClr val="65AC1E"/>
                  </a:solidFill>
                  <a:latin typeface="Arial" pitchFamily="34" charset="0"/>
                  <a:cs typeface="Arial" pitchFamily="34" charset="0"/>
                </a:rPr>
                <a:t>-господарських культур</a:t>
              </a:r>
              <a:endParaRPr lang="en-US" sz="1200" b="1" dirty="0">
                <a:solidFill>
                  <a:srgbClr val="65AC1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Rectangle 49"/>
            <p:cNvSpPr>
              <a:spLocks noChangeArrowheads="1"/>
            </p:cNvSpPr>
            <p:nvPr/>
          </p:nvSpPr>
          <p:spPr bwMode="auto">
            <a:xfrm rot="16200000">
              <a:off x="5581625" y="2316431"/>
              <a:ext cx="1620000" cy="576262"/>
            </a:xfrm>
            <a:prstGeom prst="rect">
              <a:avLst/>
            </a:prstGeom>
            <a:solidFill>
              <a:srgbClr val="65AC1E">
                <a:alpha val="7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739775" eaLnBrk="0" hangingPunct="0">
                <a:lnSpc>
                  <a:spcPct val="90000"/>
                </a:lnSpc>
              </a:pPr>
              <a:r>
                <a:rPr lang="uk-UA" sz="1400" dirty="0" err="1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Сільсько</a:t>
              </a:r>
              <a:r>
                <a:rPr lang="uk-UA" sz="140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-</a:t>
              </a:r>
            </a:p>
            <a:p>
              <a:pPr algn="ctr" defTabSz="739775" eaLnBrk="0" hangingPunct="0">
                <a:lnSpc>
                  <a:spcPct val="90000"/>
                </a:lnSpc>
              </a:pPr>
              <a:r>
                <a:rPr lang="uk-UA" sz="140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господарські </a:t>
              </a:r>
            </a:p>
            <a:p>
              <a:pPr algn="ctr" defTabSz="739775" eaLnBrk="0" hangingPunct="0">
                <a:lnSpc>
                  <a:spcPct val="90000"/>
                </a:lnSpc>
              </a:pPr>
              <a:r>
                <a:rPr lang="uk-UA" sz="140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Рішення – 9%</a:t>
              </a:r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Line 55"/>
            <p:cNvSpPr>
              <a:spLocks noChangeShapeType="1"/>
            </p:cNvSpPr>
            <p:nvPr/>
          </p:nvSpPr>
          <p:spPr bwMode="auto">
            <a:xfrm>
              <a:off x="6089652" y="1798637"/>
              <a:ext cx="0" cy="4770000"/>
            </a:xfrm>
            <a:prstGeom prst="line">
              <a:avLst/>
            </a:prstGeom>
            <a:noFill/>
            <a:ln w="25400">
              <a:solidFill>
                <a:srgbClr val="65AC1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Line 70"/>
            <p:cNvSpPr>
              <a:spLocks noChangeShapeType="1"/>
            </p:cNvSpPr>
            <p:nvPr/>
          </p:nvSpPr>
          <p:spPr bwMode="auto">
            <a:xfrm>
              <a:off x="6196489" y="3717032"/>
              <a:ext cx="1260000" cy="0"/>
            </a:xfrm>
            <a:prstGeom prst="line">
              <a:avLst/>
            </a:prstGeom>
            <a:noFill/>
            <a:ln w="6350">
              <a:solidFill>
                <a:srgbClr val="65AC1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2" name="Gruppieren 114"/>
          <p:cNvGrpSpPr/>
          <p:nvPr/>
        </p:nvGrpSpPr>
        <p:grpSpPr>
          <a:xfrm>
            <a:off x="8876013" y="1760773"/>
            <a:ext cx="1366838" cy="4770001"/>
            <a:chOff x="7558086" y="1798637"/>
            <a:chExt cx="1366838" cy="4770001"/>
          </a:xfrm>
        </p:grpSpPr>
        <p:pic>
          <p:nvPicPr>
            <p:cNvPr id="23" name="Picture 51" descr="Produkt_Oel und Gas_ucr_klein"/>
            <p:cNvPicPr preferRelativeResize="0">
              <a:picLocks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27"/>
            <a:stretch>
              <a:fillRect/>
            </a:stretch>
          </p:blipFill>
          <p:spPr bwMode="auto">
            <a:xfrm>
              <a:off x="7558087" y="1798637"/>
              <a:ext cx="1366837" cy="1800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Rectangle 52"/>
            <p:cNvSpPr>
              <a:spLocks noChangeArrowheads="1"/>
            </p:cNvSpPr>
            <p:nvPr/>
          </p:nvSpPr>
          <p:spPr bwMode="auto">
            <a:xfrm rot="16200000">
              <a:off x="7036218" y="2322000"/>
              <a:ext cx="1620000" cy="576262"/>
            </a:xfrm>
            <a:prstGeom prst="rect">
              <a:avLst/>
            </a:prstGeom>
            <a:solidFill>
              <a:srgbClr val="00793A">
                <a:alpha val="7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t"/>
            <a:lstStyle/>
            <a:p>
              <a:pPr algn="ctr">
                <a:spcBef>
                  <a:spcPct val="50000"/>
                </a:spcBef>
              </a:pPr>
              <a:r>
                <a:rPr lang="uk-UA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Нафта і газ – 5%</a:t>
              </a:r>
              <a:endPara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Line 57"/>
            <p:cNvSpPr>
              <a:spLocks noChangeShapeType="1"/>
            </p:cNvSpPr>
            <p:nvPr/>
          </p:nvSpPr>
          <p:spPr bwMode="auto">
            <a:xfrm>
              <a:off x="7558087" y="1798638"/>
              <a:ext cx="0" cy="4770000"/>
            </a:xfrm>
            <a:prstGeom prst="line">
              <a:avLst/>
            </a:prstGeom>
            <a:noFill/>
            <a:ln w="25400">
              <a:solidFill>
                <a:srgbClr val="00793A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Line 73"/>
            <p:cNvSpPr>
              <a:spLocks noChangeShapeType="1"/>
            </p:cNvSpPr>
            <p:nvPr/>
          </p:nvSpPr>
          <p:spPr bwMode="auto">
            <a:xfrm>
              <a:off x="7664924" y="3717032"/>
              <a:ext cx="1260000" cy="0"/>
            </a:xfrm>
            <a:prstGeom prst="line">
              <a:avLst/>
            </a:prstGeom>
            <a:noFill/>
            <a:ln w="6350">
              <a:solidFill>
                <a:srgbClr val="58585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1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558086" y="3717032"/>
              <a:ext cx="1366837" cy="44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4000" tIns="108000" rIns="0" bIns="0">
              <a:spAutoFit/>
            </a:bodyPr>
            <a:lstStyle/>
            <a:p>
              <a:pPr defTabSz="739775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uk-UA" sz="1200" b="1" dirty="0">
                  <a:solidFill>
                    <a:srgbClr val="00793A"/>
                  </a:solidFill>
                  <a:latin typeface="Arial" pitchFamily="34" charset="0"/>
                  <a:cs typeface="Arial" pitchFamily="34" charset="0"/>
                </a:rPr>
                <a:t>Дослідження і виробництво</a:t>
              </a:r>
              <a:endParaRPr lang="en-US" sz="1200" b="1" dirty="0">
                <a:solidFill>
                  <a:srgbClr val="00793A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 1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7558086" y="4320015"/>
              <a:ext cx="1366838" cy="6076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4000" tIns="108000" rIns="0" bIns="0">
              <a:spAutoFit/>
            </a:bodyPr>
            <a:lstStyle/>
            <a:p>
              <a:pPr defTabSz="739775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uk-UA" sz="1200" b="1" dirty="0">
                  <a:solidFill>
                    <a:srgbClr val="00793A"/>
                  </a:solidFill>
                  <a:latin typeface="Arial" pitchFamily="34" charset="0"/>
                  <a:cs typeface="Arial" pitchFamily="34" charset="0"/>
                </a:rPr>
                <a:t>Торгівля природним газом</a:t>
              </a:r>
              <a:endParaRPr lang="en-US" sz="1200" b="1" dirty="0">
                <a:solidFill>
                  <a:srgbClr val="00793A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Line 73"/>
            <p:cNvSpPr>
              <a:spLocks noChangeShapeType="1"/>
            </p:cNvSpPr>
            <p:nvPr/>
          </p:nvSpPr>
          <p:spPr bwMode="auto">
            <a:xfrm>
              <a:off x="7664924" y="4320015"/>
              <a:ext cx="1260000" cy="0"/>
            </a:xfrm>
            <a:prstGeom prst="line">
              <a:avLst/>
            </a:prstGeom>
            <a:noFill/>
            <a:ln w="6350">
              <a:solidFill>
                <a:srgbClr val="00482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1" name="Gruppieren 111"/>
          <p:cNvGrpSpPr/>
          <p:nvPr/>
        </p:nvGrpSpPr>
        <p:grpSpPr>
          <a:xfrm>
            <a:off x="3667869" y="1756698"/>
            <a:ext cx="1480474" cy="5048726"/>
            <a:chOff x="3152776" y="1794563"/>
            <a:chExt cx="1480474" cy="5048726"/>
          </a:xfrm>
        </p:grpSpPr>
        <p:pic>
          <p:nvPicPr>
            <p:cNvPr id="32" name="Picture 18" descr="Performance Products"/>
            <p:cNvPicPr preferRelativeResize="0">
              <a:picLocks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28"/>
            <a:stretch>
              <a:fillRect/>
            </a:stretch>
          </p:blipFill>
          <p:spPr bwMode="auto">
            <a:xfrm>
              <a:off x="3152776" y="1798637"/>
              <a:ext cx="1366838" cy="1800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" name="Rectangle 2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rot="16200000">
              <a:off x="2677428" y="2288865"/>
              <a:ext cx="1688008" cy="699404"/>
            </a:xfrm>
            <a:prstGeom prst="rect">
              <a:avLst/>
            </a:prstGeom>
            <a:solidFill>
              <a:srgbClr val="21A0D2">
                <a:alpha val="7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44000" rIns="144000" bIns="0" anchor="t">
              <a:spAutoFit/>
            </a:bodyPr>
            <a:lstStyle/>
            <a:p>
              <a:pPr algn="ctr" defTabSz="739775" eaLnBrk="0" hangingPunct="0"/>
              <a:r>
                <a:rPr lang="uk-UA" sz="1200" b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Продукти</a:t>
              </a:r>
              <a:r>
                <a:rPr lang="en-US" sz="1200" b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uk-UA" sz="1200" b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тонкого </a:t>
              </a:r>
            </a:p>
            <a:p>
              <a:pPr algn="ctr" defTabSz="739775" eaLnBrk="0" hangingPunct="0"/>
              <a:r>
                <a:rPr lang="uk-UA" sz="1200" b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органічного синтезу</a:t>
              </a:r>
            </a:p>
            <a:p>
              <a:pPr algn="ctr" defTabSz="739775" eaLnBrk="0" hangingPunct="0"/>
              <a:r>
                <a:rPr lang="uk-UA" sz="1200" b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- 26%</a:t>
              </a:r>
              <a:endParaRPr lang="en-US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 2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152776" y="5517232"/>
              <a:ext cx="1338263" cy="6076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108000" rIns="0" bIns="0" anchor="ctr">
              <a:spAutoFit/>
            </a:bodyPr>
            <a:lstStyle/>
            <a:p>
              <a:pPr defTabSz="739775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uk-UA" sz="1200" b="1" dirty="0">
                  <a:solidFill>
                    <a:srgbClr val="21A0D2"/>
                  </a:solidFill>
                  <a:latin typeface="Arial" pitchFamily="34" charset="0"/>
                  <a:cs typeface="Arial" pitchFamily="34" charset="0"/>
                </a:rPr>
                <a:t>Хімікати для паперової промисловості</a:t>
              </a:r>
              <a:endParaRPr lang="en-US" sz="1200" b="1" dirty="0">
                <a:solidFill>
                  <a:srgbClr val="21A0D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Rectangle 2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152776" y="3645024"/>
              <a:ext cx="1143000" cy="44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108000" rIns="0" bIns="0">
              <a:spAutoFit/>
            </a:bodyPr>
            <a:lstStyle/>
            <a:p>
              <a:pPr defTabSz="739775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uk-UA" sz="1200" b="1" dirty="0">
                  <a:solidFill>
                    <a:srgbClr val="21A0D2"/>
                  </a:solidFill>
                  <a:latin typeface="Arial" pitchFamily="34" charset="0"/>
                  <a:cs typeface="Arial" pitchFamily="34" charset="0"/>
                </a:rPr>
                <a:t>Дисперсії та пігменти</a:t>
              </a:r>
              <a:endParaRPr lang="en-US" sz="1200" b="1" dirty="0">
                <a:solidFill>
                  <a:srgbClr val="21A0D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2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152776" y="4005064"/>
              <a:ext cx="1366838" cy="9400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4000" tIns="108000" rIns="0" bIns="0" anchor="ctr">
              <a:spAutoFit/>
            </a:bodyPr>
            <a:lstStyle/>
            <a:p>
              <a:pPr defTabSz="739775" eaLnBrk="0" hangingPunct="0">
                <a:lnSpc>
                  <a:spcPct val="90000"/>
                </a:lnSpc>
              </a:pPr>
              <a:r>
                <a:rPr lang="uk-UA" sz="1200" b="1" dirty="0">
                  <a:solidFill>
                    <a:srgbClr val="21A0D2"/>
                  </a:solidFill>
                  <a:latin typeface="Arial" pitchFamily="34" charset="0"/>
                  <a:cs typeface="Arial" pitchFamily="34" charset="0"/>
                </a:rPr>
                <a:t>Підрозділ </a:t>
              </a:r>
            </a:p>
            <a:p>
              <a:pPr defTabSz="739775" eaLnBrk="0" hangingPunct="0">
                <a:lnSpc>
                  <a:spcPct val="90000"/>
                </a:lnSpc>
              </a:pPr>
              <a:r>
                <a:rPr lang="uk-UA" sz="1200" b="1" dirty="0">
                  <a:solidFill>
                    <a:srgbClr val="21A0D2"/>
                  </a:solidFill>
                  <a:latin typeface="Arial" pitchFamily="34" charset="0"/>
                  <a:cs typeface="Arial" pitchFamily="34" charset="0"/>
                </a:rPr>
                <a:t>хімікатів для </a:t>
              </a:r>
            </a:p>
            <a:p>
              <a:pPr defTabSz="739775" eaLnBrk="0" hangingPunct="0">
                <a:lnSpc>
                  <a:spcPct val="90000"/>
                </a:lnSpc>
              </a:pPr>
              <a:r>
                <a:rPr lang="uk-UA" sz="1200" b="1" dirty="0">
                  <a:solidFill>
                    <a:srgbClr val="21A0D2"/>
                  </a:solidFill>
                  <a:latin typeface="Arial" pitchFamily="34" charset="0"/>
                  <a:cs typeface="Arial" pitchFamily="34" charset="0"/>
                </a:rPr>
                <a:t>споживчої </a:t>
              </a:r>
            </a:p>
            <a:p>
              <a:pPr defTabSz="739775" eaLnBrk="0" hangingPunct="0">
                <a:lnSpc>
                  <a:spcPct val="90000"/>
                </a:lnSpc>
              </a:pPr>
              <a:r>
                <a:rPr lang="uk-UA" sz="1200" b="1" dirty="0">
                  <a:solidFill>
                    <a:srgbClr val="21A0D2"/>
                  </a:solidFill>
                  <a:latin typeface="Arial" pitchFamily="34" charset="0"/>
                  <a:cs typeface="Arial" pitchFamily="34" charset="0"/>
                </a:rPr>
                <a:t>сфери та </a:t>
              </a:r>
            </a:p>
            <a:p>
              <a:pPr defTabSz="739775" eaLnBrk="0" hangingPunct="0">
                <a:lnSpc>
                  <a:spcPct val="90000"/>
                </a:lnSpc>
              </a:pPr>
              <a:r>
                <a:rPr lang="uk-UA" sz="1200" b="1" dirty="0">
                  <a:solidFill>
                    <a:srgbClr val="21A0D2"/>
                  </a:solidFill>
                  <a:latin typeface="Arial" pitchFamily="34" charset="0"/>
                  <a:cs typeface="Arial" pitchFamily="34" charset="0"/>
                </a:rPr>
                <a:t>фармацевтики</a:t>
              </a:r>
              <a:endParaRPr lang="en-US" sz="1200" b="1" dirty="0">
                <a:solidFill>
                  <a:srgbClr val="21A0D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" name="Rectangle 24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152776" y="6069437"/>
              <a:ext cx="1480474" cy="7738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4000" tIns="108000" rIns="0" bIns="0" anchor="ctr">
              <a:spAutoFit/>
            </a:bodyPr>
            <a:lstStyle/>
            <a:p>
              <a:pPr defTabSz="739775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uk-UA" sz="1200" b="1" dirty="0">
                  <a:solidFill>
                    <a:srgbClr val="21A0D2"/>
                  </a:solidFill>
                  <a:latin typeface="Arial" pitchFamily="34" charset="0"/>
                  <a:cs typeface="Arial" pitchFamily="34" charset="0"/>
                </a:rPr>
                <a:t>Продукти тонкого</a:t>
              </a:r>
              <a:r>
                <a:rPr lang="en-US" sz="1200" b="1" dirty="0">
                  <a:solidFill>
                    <a:srgbClr val="21A0D2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uk-UA" sz="1200" b="1" dirty="0">
                  <a:solidFill>
                    <a:srgbClr val="21A0D2"/>
                  </a:solidFill>
                  <a:latin typeface="Arial" pitchFamily="34" charset="0"/>
                  <a:cs typeface="Arial" pitchFamily="34" charset="0"/>
                </a:rPr>
                <a:t>органічного синтезу</a:t>
              </a:r>
              <a:endParaRPr lang="en-US" sz="1200" b="1" dirty="0">
                <a:solidFill>
                  <a:srgbClr val="21A0D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Line 37"/>
            <p:cNvSpPr>
              <a:spLocks noChangeShapeType="1"/>
            </p:cNvSpPr>
            <p:nvPr/>
          </p:nvSpPr>
          <p:spPr bwMode="auto">
            <a:xfrm>
              <a:off x="3152776" y="1798637"/>
              <a:ext cx="0" cy="4770000"/>
            </a:xfrm>
            <a:prstGeom prst="line">
              <a:avLst/>
            </a:prstGeom>
            <a:noFill/>
            <a:ln w="25400">
              <a:solidFill>
                <a:srgbClr val="21A0D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Line 64"/>
            <p:cNvSpPr>
              <a:spLocks noChangeShapeType="1"/>
            </p:cNvSpPr>
            <p:nvPr/>
          </p:nvSpPr>
          <p:spPr bwMode="auto">
            <a:xfrm>
              <a:off x="3259614" y="3717032"/>
              <a:ext cx="1260000" cy="0"/>
            </a:xfrm>
            <a:prstGeom prst="line">
              <a:avLst/>
            </a:prstGeom>
            <a:noFill/>
            <a:ln w="6350">
              <a:solidFill>
                <a:srgbClr val="21A0D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Rectangle 2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152776" y="4941168"/>
              <a:ext cx="1338263" cy="6076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108000" rIns="0" bIns="0" anchor="ctr">
              <a:spAutoFit/>
            </a:bodyPr>
            <a:lstStyle/>
            <a:p>
              <a:pPr defTabSz="739775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uk-UA" sz="1200" b="1" dirty="0">
                  <a:solidFill>
                    <a:srgbClr val="21A0D2"/>
                  </a:solidFill>
                  <a:latin typeface="Arial" pitchFamily="34" charset="0"/>
                  <a:cs typeface="Arial" pitchFamily="34" charset="0"/>
                </a:rPr>
                <a:t>Харчування та охорона здоров’я</a:t>
              </a:r>
              <a:endParaRPr lang="en-US" sz="1200" b="1" dirty="0">
                <a:solidFill>
                  <a:srgbClr val="21A0D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Line 64"/>
            <p:cNvSpPr>
              <a:spLocks noChangeShapeType="1"/>
            </p:cNvSpPr>
            <p:nvPr/>
          </p:nvSpPr>
          <p:spPr bwMode="auto">
            <a:xfrm>
              <a:off x="3206195" y="4086477"/>
              <a:ext cx="1260000" cy="0"/>
            </a:xfrm>
            <a:prstGeom prst="line">
              <a:avLst/>
            </a:prstGeom>
            <a:noFill/>
            <a:ln w="6350">
              <a:solidFill>
                <a:srgbClr val="21A0D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Line 64"/>
            <p:cNvSpPr>
              <a:spLocks noChangeShapeType="1"/>
            </p:cNvSpPr>
            <p:nvPr/>
          </p:nvSpPr>
          <p:spPr bwMode="auto">
            <a:xfrm>
              <a:off x="3259614" y="5013176"/>
              <a:ext cx="1260000" cy="0"/>
            </a:xfrm>
            <a:prstGeom prst="line">
              <a:avLst/>
            </a:prstGeom>
            <a:noFill/>
            <a:ln w="6350">
              <a:solidFill>
                <a:srgbClr val="21A0D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4" name="Line 64"/>
            <p:cNvSpPr>
              <a:spLocks noChangeShapeType="1"/>
            </p:cNvSpPr>
            <p:nvPr/>
          </p:nvSpPr>
          <p:spPr bwMode="auto">
            <a:xfrm>
              <a:off x="3259614" y="5589240"/>
              <a:ext cx="1260000" cy="0"/>
            </a:xfrm>
            <a:prstGeom prst="line">
              <a:avLst/>
            </a:prstGeom>
            <a:noFill/>
            <a:ln w="6350">
              <a:solidFill>
                <a:srgbClr val="21A0D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Line 64"/>
            <p:cNvSpPr>
              <a:spLocks noChangeShapeType="1"/>
            </p:cNvSpPr>
            <p:nvPr/>
          </p:nvSpPr>
          <p:spPr bwMode="auto">
            <a:xfrm>
              <a:off x="3259614" y="6165304"/>
              <a:ext cx="1260000" cy="0"/>
            </a:xfrm>
            <a:prstGeom prst="line">
              <a:avLst/>
            </a:prstGeom>
            <a:noFill/>
            <a:ln w="6350">
              <a:solidFill>
                <a:srgbClr val="21A0D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6" name="Группа 45"/>
          <p:cNvGrpSpPr/>
          <p:nvPr/>
        </p:nvGrpSpPr>
        <p:grpSpPr>
          <a:xfrm>
            <a:off x="5424340" y="1760772"/>
            <a:ext cx="1366839" cy="4770000"/>
            <a:chOff x="3901133" y="1760772"/>
            <a:chExt cx="1366839" cy="4770000"/>
          </a:xfrm>
        </p:grpSpPr>
        <p:pic>
          <p:nvPicPr>
            <p:cNvPr id="47" name="Picture 38" descr="Functional Solutions"/>
            <p:cNvPicPr>
              <a:picLocks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3"/>
            <a:stretch>
              <a:fillRect/>
            </a:stretch>
          </p:blipFill>
          <p:spPr bwMode="auto">
            <a:xfrm>
              <a:off x="3901134" y="1760772"/>
              <a:ext cx="1366838" cy="1800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8" name="Rectangle 39"/>
            <p:cNvSpPr>
              <a:spLocks noChangeArrowheads="1"/>
            </p:cNvSpPr>
            <p:nvPr/>
          </p:nvSpPr>
          <p:spPr bwMode="auto">
            <a:xfrm rot="16200000">
              <a:off x="3397204" y="2278543"/>
              <a:ext cx="1620000" cy="584457"/>
            </a:xfrm>
            <a:prstGeom prst="rect">
              <a:avLst/>
            </a:prstGeom>
            <a:solidFill>
              <a:srgbClr val="004A96">
                <a:alpha val="7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/>
              <a:r>
                <a:rPr lang="uk-UA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Функціональні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</a:t>
              </a:r>
              <a:endParaRPr lang="uk-UA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uk-UA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матеріали</a:t>
              </a:r>
            </a:p>
            <a:p>
              <a:pPr algn="ctr"/>
              <a:r>
                <a:rPr lang="uk-UA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та рішення – 33%</a:t>
              </a:r>
            </a:p>
          </p:txBody>
        </p:sp>
        <p:sp>
          <p:nvSpPr>
            <p:cNvPr id="50" name="Rectangle 4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901134" y="4129391"/>
              <a:ext cx="1152092" cy="44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4000" tIns="108000" rIns="0" bIns="0" anchor="ctr">
              <a:spAutoFit/>
            </a:bodyPr>
            <a:lstStyle/>
            <a:p>
              <a:pPr defTabSz="739775" eaLnBrk="0" hangingPunct="0">
                <a:lnSpc>
                  <a:spcPct val="90000"/>
                </a:lnSpc>
              </a:pPr>
              <a:r>
                <a:rPr lang="uk-UA" sz="1200" b="1" dirty="0">
                  <a:solidFill>
                    <a:srgbClr val="004A96"/>
                  </a:solidFill>
                  <a:latin typeface="Arial" pitchFamily="34" charset="0"/>
                  <a:cs typeface="Arial" pitchFamily="34" charset="0"/>
                </a:rPr>
                <a:t>Хімікати для </a:t>
              </a:r>
            </a:p>
            <a:p>
              <a:pPr defTabSz="739775" eaLnBrk="0" hangingPunct="0">
                <a:lnSpc>
                  <a:spcPct val="90000"/>
                </a:lnSpc>
              </a:pPr>
              <a:r>
                <a:rPr lang="uk-UA" sz="1200" b="1" dirty="0">
                  <a:solidFill>
                    <a:srgbClr val="004A96"/>
                  </a:solidFill>
                  <a:latin typeface="Arial" pitchFamily="34" charset="0"/>
                  <a:cs typeface="Arial" pitchFamily="34" charset="0"/>
                </a:rPr>
                <a:t>будівництва</a:t>
              </a:r>
              <a:endParaRPr lang="en-US" sz="1200" b="1" dirty="0">
                <a:solidFill>
                  <a:srgbClr val="004A96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1" name="Rectangle 4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901134" y="4672683"/>
              <a:ext cx="857140" cy="2752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4000" tIns="108000" rIns="0" bIns="0" anchor="ctr">
              <a:spAutoFit/>
            </a:bodyPr>
            <a:lstStyle/>
            <a:p>
              <a:pPr defTabSz="739775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uk-UA" sz="1200" b="1" dirty="0">
                  <a:solidFill>
                    <a:srgbClr val="004A96"/>
                  </a:solidFill>
                  <a:latin typeface="Arial" pitchFamily="34" charset="0"/>
                  <a:cs typeface="Arial" pitchFamily="34" charset="0"/>
                </a:rPr>
                <a:t>Покриття</a:t>
              </a:r>
              <a:endParaRPr lang="en-US" sz="1200" b="1" dirty="0">
                <a:solidFill>
                  <a:srgbClr val="004A96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Rectangle 4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901134" y="3679167"/>
              <a:ext cx="1212852" cy="2752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108000" rIns="0" bIns="0">
              <a:spAutoFit/>
            </a:bodyPr>
            <a:lstStyle/>
            <a:p>
              <a:pPr defTabSz="739775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uk-UA" sz="1200" b="1" dirty="0">
                  <a:solidFill>
                    <a:srgbClr val="004A96"/>
                  </a:solidFill>
                  <a:latin typeface="Arial" pitchFamily="34" charset="0"/>
                  <a:cs typeface="Arial" pitchFamily="34" charset="0"/>
                </a:rPr>
                <a:t>Каталізатори</a:t>
              </a:r>
              <a:endParaRPr lang="en-US" sz="1200" b="1" dirty="0">
                <a:solidFill>
                  <a:srgbClr val="004A96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Line 47"/>
            <p:cNvSpPr>
              <a:spLocks noChangeShapeType="1"/>
            </p:cNvSpPr>
            <p:nvPr/>
          </p:nvSpPr>
          <p:spPr bwMode="auto">
            <a:xfrm>
              <a:off x="3901134" y="1760772"/>
              <a:ext cx="0" cy="4770000"/>
            </a:xfrm>
            <a:prstGeom prst="line">
              <a:avLst/>
            </a:prstGeom>
            <a:noFill/>
            <a:ln w="25400">
              <a:solidFill>
                <a:srgbClr val="004A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Line 67"/>
            <p:cNvSpPr>
              <a:spLocks noChangeShapeType="1"/>
            </p:cNvSpPr>
            <p:nvPr/>
          </p:nvSpPr>
          <p:spPr bwMode="auto">
            <a:xfrm>
              <a:off x="4007972" y="3679167"/>
              <a:ext cx="1260000" cy="0"/>
            </a:xfrm>
            <a:prstGeom prst="line">
              <a:avLst/>
            </a:prstGeom>
            <a:noFill/>
            <a:ln w="6350">
              <a:solidFill>
                <a:srgbClr val="0020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Line 67"/>
            <p:cNvSpPr>
              <a:spLocks noChangeShapeType="1"/>
            </p:cNvSpPr>
            <p:nvPr/>
          </p:nvSpPr>
          <p:spPr bwMode="auto">
            <a:xfrm>
              <a:off x="4007972" y="4111215"/>
              <a:ext cx="1260000" cy="0"/>
            </a:xfrm>
            <a:prstGeom prst="line">
              <a:avLst/>
            </a:prstGeom>
            <a:noFill/>
            <a:ln w="6350">
              <a:solidFill>
                <a:srgbClr val="0020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" name="Line 67"/>
            <p:cNvSpPr>
              <a:spLocks noChangeShapeType="1"/>
            </p:cNvSpPr>
            <p:nvPr/>
          </p:nvSpPr>
          <p:spPr bwMode="auto">
            <a:xfrm>
              <a:off x="4007972" y="4654507"/>
              <a:ext cx="1260000" cy="0"/>
            </a:xfrm>
            <a:prstGeom prst="line">
              <a:avLst/>
            </a:prstGeom>
            <a:noFill/>
            <a:ln w="6350">
              <a:solidFill>
                <a:srgbClr val="0020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Line 67"/>
            <p:cNvSpPr>
              <a:spLocks noChangeShapeType="1"/>
            </p:cNvSpPr>
            <p:nvPr/>
          </p:nvSpPr>
          <p:spPr bwMode="auto">
            <a:xfrm>
              <a:off x="4007972" y="5085184"/>
              <a:ext cx="1260000" cy="0"/>
            </a:xfrm>
            <a:prstGeom prst="line">
              <a:avLst/>
            </a:prstGeom>
            <a:noFill/>
            <a:ln w="6350">
              <a:solidFill>
                <a:srgbClr val="0020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8" name="Rectangle 4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01133" y="5075779"/>
              <a:ext cx="1318939" cy="44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4000" tIns="108000" rIns="0" bIns="0">
              <a:spAutoFit/>
            </a:bodyPr>
            <a:lstStyle/>
            <a:p>
              <a:pPr defTabSz="739775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uk-UA" sz="1200" b="1" dirty="0">
                  <a:solidFill>
                    <a:srgbClr val="004A96"/>
                  </a:solidFill>
                  <a:latin typeface="Arial" pitchFamily="34" charset="0"/>
                  <a:cs typeface="Arial" pitchFamily="34" charset="0"/>
                </a:rPr>
                <a:t>Функціональні матеріали</a:t>
              </a:r>
              <a:endParaRPr lang="en-US" sz="1200" b="1" dirty="0">
                <a:solidFill>
                  <a:srgbClr val="004A96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901355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201058" y="336551"/>
            <a:ext cx="9551273" cy="766763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201059" y="1754188"/>
            <a:ext cx="11754436" cy="471646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grpSp>
        <p:nvGrpSpPr>
          <p:cNvPr id="4" name="Группа 3"/>
          <p:cNvGrpSpPr/>
          <p:nvPr/>
        </p:nvGrpSpPr>
        <p:grpSpPr>
          <a:xfrm>
            <a:off x="2119" y="0"/>
            <a:ext cx="12186180" cy="6858000"/>
            <a:chOff x="2119" y="0"/>
            <a:chExt cx="12186180" cy="6858000"/>
          </a:xfrm>
        </p:grpSpPr>
        <p:pic>
          <p:nvPicPr>
            <p:cNvPr id="262149" name="Picture 5" descr="C:\Documents and Settings\ROESSO\My Documents\Ablage\Corporate Design\PowerPoint\Logos Wizard\BASFc_Q_PPT_38_gruen-hell.tif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9" y="0"/>
              <a:ext cx="1218618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Grafik 10">
              <a:extLst>
                <a:ext uri="{FF2B5EF4-FFF2-40B4-BE49-F238E27FC236}">
                  <a16:creationId xmlns:a16="http://schemas.microsoft.com/office/drawing/2014/main" id="{E34E41C1-D162-4523-81CC-C7A39574D45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37439" y="2317598"/>
              <a:ext cx="6183516" cy="22342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38336017"/>
      </p:ext>
    </p:extLst>
  </p:cSld>
  <p:clrMapOvr>
    <a:masterClrMapping/>
  </p:clrMapOvr>
  <p:transition spd="slow">
    <p:cover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33B68B5-4BB4-4864-B917-58FFEB48986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6842C19-A344-4C64-9980-5C2F104DC576}" type="datetime1">
              <a:rPr lang="de-DE" smtClean="0"/>
              <a:t>06.11.20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365913" y="6498065"/>
            <a:ext cx="3364269" cy="167933"/>
          </a:xfrm>
        </p:spPr>
        <p:txBody>
          <a:bodyPr/>
          <a:lstStyle/>
          <a:p>
            <a:r>
              <a:rPr lang="de-DE" dirty="0"/>
              <a:t>|  Optionale Zusatzinformation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A4DED938-1343-4EBE-874A-54FF84973AE4}"/>
              </a:ext>
            </a:extLst>
          </p:cNvPr>
          <p:cNvSpPr txBox="1">
            <a:spLocks/>
          </p:cNvSpPr>
          <p:nvPr/>
        </p:nvSpPr>
        <p:spPr>
          <a:xfrm>
            <a:off x="6292437" y="122182"/>
            <a:ext cx="5540980" cy="35073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ru-RU" sz="2600" dirty="0"/>
              <a:t>Сегмент решений для сельского хозяйства предлагает инновационные решения в области химической и биологической защиты растений, обработки семян и управления водными ресурсами, для обеспечения растений питательными веществами и стрессоустойчивостью.</a:t>
            </a:r>
            <a:endParaRPr lang="en-US" sz="26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374D37D-7C14-41CC-B9F3-14C0E4A5BE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726859" cy="4049551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E64F014-15BF-4017-BFD5-409C24031C00}"/>
              </a:ext>
            </a:extLst>
          </p:cNvPr>
          <p:cNvSpPr/>
          <p:nvPr/>
        </p:nvSpPr>
        <p:spPr>
          <a:xfrm rot="10800000" flipV="1">
            <a:off x="-1" y="4049551"/>
            <a:ext cx="5726859" cy="27700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500" dirty="0"/>
              <a:t>9%</a:t>
            </a:r>
          </a:p>
          <a:p>
            <a:pPr algn="ctr"/>
            <a:r>
              <a:rPr lang="ru-RU" sz="2500" dirty="0"/>
              <a:t>Глобальных продаж</a:t>
            </a:r>
            <a:endParaRPr lang="en-US" sz="2500" dirty="0"/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3A65FFAC-244C-4F43-AAB6-F22AFF825C71}"/>
              </a:ext>
            </a:extLst>
          </p:cNvPr>
          <p:cNvCxnSpPr>
            <a:cxnSpLocks/>
          </p:cNvCxnSpPr>
          <p:nvPr/>
        </p:nvCxnSpPr>
        <p:spPr>
          <a:xfrm>
            <a:off x="6133321" y="198555"/>
            <a:ext cx="0" cy="3781778"/>
          </a:xfrm>
          <a:prstGeom prst="line">
            <a:avLst/>
          </a:prstGeom>
          <a:ln w="57150">
            <a:solidFill>
              <a:srgbClr val="65AC1E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869714"/>
      </p:ext>
    </p:extLst>
  </p:cSld>
  <p:clrMapOvr>
    <a:masterClrMapping/>
  </p:clrMapOvr>
  <p:transition spd="slow">
    <p:cover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/>
          <p:cNvSpPr>
            <a:spLocks noChangeArrowheads="1"/>
          </p:cNvSpPr>
          <p:nvPr/>
        </p:nvSpPr>
        <p:spPr bwMode="auto">
          <a:xfrm>
            <a:off x="6102772" y="1877546"/>
            <a:ext cx="4581896" cy="2127716"/>
          </a:xfrm>
          <a:prstGeom prst="rect">
            <a:avLst/>
          </a:prstGeom>
          <a:solidFill>
            <a:srgbClr val="EBFFEB">
              <a:alpha val="70000"/>
            </a:srgbClr>
          </a:solidFill>
          <a:ln>
            <a:noFill/>
          </a:ln>
          <a:ex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  <p:graphicFrame>
        <p:nvGraphicFramePr>
          <p:cNvPr id="6" name="Chart 5"/>
          <p:cNvGraphicFramePr/>
          <p:nvPr>
            <p:extLst/>
          </p:nvPr>
        </p:nvGraphicFramePr>
        <p:xfrm>
          <a:off x="6116013" y="1894090"/>
          <a:ext cx="4532485" cy="211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00577" y="640800"/>
            <a:ext cx="6908801" cy="853200"/>
          </a:xfrm>
        </p:spPr>
        <p:txBody>
          <a:bodyPr>
            <a:noAutofit/>
          </a:bodyPr>
          <a:lstStyle/>
          <a:p>
            <a:r>
              <a:rPr lang="uk-UA" sz="2400" dirty="0"/>
              <a:t>Група BASF</a:t>
            </a:r>
            <a:br>
              <a:rPr lang="uk-UA" sz="2400" dirty="0"/>
            </a:br>
            <a:r>
              <a:rPr lang="uk-UA" sz="2400" dirty="0"/>
              <a:t>Продажи и </a:t>
            </a:r>
            <a:r>
              <a:rPr lang="ru-RU" sz="2400" dirty="0"/>
              <a:t>инвестиции</a:t>
            </a:r>
            <a:r>
              <a:rPr lang="uk-UA" sz="2400" dirty="0"/>
              <a:t> в </a:t>
            </a:r>
            <a:r>
              <a:rPr lang="en-US" sz="2400" dirty="0"/>
              <a:t>R&amp;D</a:t>
            </a:r>
            <a:endParaRPr lang="ru-RU" sz="2400" dirty="0"/>
          </a:p>
        </p:txBody>
      </p:sp>
      <p:sp>
        <p:nvSpPr>
          <p:cNvPr id="46" name="Rectangle 41"/>
          <p:cNvSpPr>
            <a:spLocks noChangeArrowheads="1"/>
          </p:cNvSpPr>
          <p:nvPr/>
        </p:nvSpPr>
        <p:spPr bwMode="auto">
          <a:xfrm>
            <a:off x="1504498" y="4514156"/>
            <a:ext cx="4590708" cy="2129532"/>
          </a:xfrm>
          <a:prstGeom prst="rect">
            <a:avLst/>
          </a:prstGeom>
          <a:solidFill>
            <a:srgbClr val="EBFFEB">
              <a:alpha val="70000"/>
            </a:srgbClr>
          </a:solidFill>
          <a:ln>
            <a:noFill/>
          </a:ln>
          <a:ex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  <p:sp>
        <p:nvSpPr>
          <p:cNvPr id="48" name="Rectangle 27"/>
          <p:cNvSpPr>
            <a:spLocks noChangeArrowheads="1"/>
          </p:cNvSpPr>
          <p:nvPr/>
        </p:nvSpPr>
        <p:spPr bwMode="auto">
          <a:xfrm>
            <a:off x="8920697" y="2396635"/>
            <a:ext cx="1441818" cy="997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 eaLnBrk="0" fontAlgn="base" hangingPunct="0">
              <a:lnSpc>
                <a:spcPct val="90000"/>
              </a:lnSpc>
            </a:pPr>
            <a:r>
              <a:rPr lang="uk-UA" b="1" dirty="0">
                <a:solidFill>
                  <a:srgbClr val="008000"/>
                </a:solidFill>
                <a:latin typeface="Arial" charset="0"/>
                <a:cs typeface="Times New Roman" pitchFamily="18" charset="0"/>
              </a:rPr>
              <a:t>Захист рослин</a:t>
            </a:r>
          </a:p>
          <a:p>
            <a:pPr algn="ctr" eaLnBrk="0" fontAlgn="base" hangingPunct="0">
              <a:lnSpc>
                <a:spcPct val="90000"/>
              </a:lnSpc>
            </a:pPr>
            <a:r>
              <a:rPr lang="uk-UA" dirty="0">
                <a:solidFill>
                  <a:srgbClr val="008000"/>
                </a:solidFill>
                <a:latin typeface="Arial" charset="0"/>
                <a:cs typeface="Times New Roman" pitchFamily="18" charset="0"/>
              </a:rPr>
              <a:t>5.2 мільярди Євро</a:t>
            </a:r>
            <a:endParaRPr lang="uk-UA" b="1" dirty="0">
              <a:latin typeface="Arial" charset="0"/>
              <a:cs typeface="Times New Roman" pitchFamily="18" charset="0"/>
            </a:endParaRPr>
          </a:p>
        </p:txBody>
      </p:sp>
      <p:sp>
        <p:nvSpPr>
          <p:cNvPr id="51" name="Line 26"/>
          <p:cNvSpPr>
            <a:spLocks noChangeShapeType="1"/>
          </p:cNvSpPr>
          <p:nvPr/>
        </p:nvSpPr>
        <p:spPr bwMode="auto">
          <a:xfrm>
            <a:off x="1523207" y="6628042"/>
            <a:ext cx="9143999" cy="15647"/>
          </a:xfrm>
          <a:prstGeom prst="line">
            <a:avLst/>
          </a:prstGeom>
          <a:noFill/>
          <a:ln w="9525">
            <a:solidFill>
              <a:srgbClr val="65AC1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2000" dirty="0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  <p:sp>
        <p:nvSpPr>
          <p:cNvPr id="52" name="Line 26"/>
          <p:cNvSpPr>
            <a:spLocks noChangeShapeType="1"/>
          </p:cNvSpPr>
          <p:nvPr/>
        </p:nvSpPr>
        <p:spPr bwMode="auto">
          <a:xfrm flipV="1">
            <a:off x="1523207" y="1839913"/>
            <a:ext cx="9143999" cy="36869"/>
          </a:xfrm>
          <a:prstGeom prst="line">
            <a:avLst/>
          </a:prstGeom>
          <a:noFill/>
          <a:ln w="9525">
            <a:solidFill>
              <a:srgbClr val="65AC1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2000" dirty="0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  <p:sp>
        <p:nvSpPr>
          <p:cNvPr id="53" name="Rectangle 27"/>
          <p:cNvSpPr>
            <a:spLocks noChangeArrowheads="1"/>
          </p:cNvSpPr>
          <p:nvPr/>
        </p:nvSpPr>
        <p:spPr bwMode="auto">
          <a:xfrm>
            <a:off x="4373286" y="4948975"/>
            <a:ext cx="1794974" cy="49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b="1" dirty="0">
                <a:solidFill>
                  <a:srgbClr val="008000"/>
                </a:solidFill>
                <a:latin typeface="Arial" charset="0"/>
                <a:cs typeface="Times New Roman" pitchFamily="18" charset="0"/>
              </a:rPr>
              <a:t>Захист рослин</a:t>
            </a:r>
            <a:endParaRPr lang="uk-UA" dirty="0">
              <a:solidFill>
                <a:srgbClr val="008000"/>
              </a:solidFill>
              <a:latin typeface="Arial" charset="0"/>
              <a:cs typeface="Times New Roman" pitchFamily="18" charset="0"/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dirty="0">
                <a:solidFill>
                  <a:srgbClr val="008000"/>
                </a:solidFill>
                <a:latin typeface="Arial" charset="0"/>
                <a:cs typeface="Times New Roman" pitchFamily="18" charset="0"/>
              </a:rPr>
              <a:t>485 млн Євро</a:t>
            </a:r>
            <a:endParaRPr lang="en-US" dirty="0">
              <a:solidFill>
                <a:srgbClr val="008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56" name="Line 26"/>
          <p:cNvSpPr>
            <a:spLocks noChangeShapeType="1"/>
          </p:cNvSpPr>
          <p:nvPr/>
        </p:nvSpPr>
        <p:spPr bwMode="auto">
          <a:xfrm>
            <a:off x="1523207" y="4505568"/>
            <a:ext cx="9143999" cy="4521"/>
          </a:xfrm>
          <a:prstGeom prst="line">
            <a:avLst/>
          </a:prstGeom>
          <a:noFill/>
          <a:ln w="9525">
            <a:solidFill>
              <a:srgbClr val="65AC1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2000" dirty="0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  <p:sp>
        <p:nvSpPr>
          <p:cNvPr id="57" name="Line 26"/>
          <p:cNvSpPr>
            <a:spLocks noChangeShapeType="1"/>
          </p:cNvSpPr>
          <p:nvPr/>
        </p:nvSpPr>
        <p:spPr bwMode="auto">
          <a:xfrm>
            <a:off x="6095206" y="1595127"/>
            <a:ext cx="0" cy="5262873"/>
          </a:xfrm>
          <a:prstGeom prst="line">
            <a:avLst/>
          </a:prstGeom>
          <a:noFill/>
          <a:ln w="9525">
            <a:solidFill>
              <a:srgbClr val="65AC1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2000" dirty="0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  <p:sp>
        <p:nvSpPr>
          <p:cNvPr id="58" name="Line 26"/>
          <p:cNvSpPr>
            <a:spLocks noChangeShapeType="1"/>
          </p:cNvSpPr>
          <p:nvPr/>
        </p:nvSpPr>
        <p:spPr bwMode="auto">
          <a:xfrm flipV="1">
            <a:off x="1511723" y="3989136"/>
            <a:ext cx="9143999" cy="33375"/>
          </a:xfrm>
          <a:prstGeom prst="line">
            <a:avLst/>
          </a:prstGeom>
          <a:noFill/>
          <a:ln w="9525">
            <a:solidFill>
              <a:srgbClr val="65AC1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 dirty="0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  <p:grpSp>
        <p:nvGrpSpPr>
          <p:cNvPr id="61" name="Group 51"/>
          <p:cNvGrpSpPr>
            <a:grpSpLocks/>
          </p:cNvGrpSpPr>
          <p:nvPr/>
        </p:nvGrpSpPr>
        <p:grpSpPr bwMode="auto">
          <a:xfrm>
            <a:off x="2244348" y="4813744"/>
            <a:ext cx="1362594" cy="1398146"/>
            <a:chOff x="3846" y="3567"/>
            <a:chExt cx="936" cy="936"/>
          </a:xfrm>
        </p:grpSpPr>
        <p:pic>
          <p:nvPicPr>
            <p:cNvPr id="62" name="Picture 41" descr="Kreis_Schatte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46" y="3567"/>
              <a:ext cx="936" cy="9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4" name="Text Box 23"/>
            <p:cNvSpPr txBox="1">
              <a:spLocks noChangeArrowheads="1"/>
            </p:cNvSpPr>
            <p:nvPr/>
          </p:nvSpPr>
          <p:spPr bwMode="auto">
            <a:xfrm>
              <a:off x="3953" y="3847"/>
              <a:ext cx="729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uk-UA" sz="1400" b="1" dirty="0">
                  <a:solidFill>
                    <a:srgbClr val="000000"/>
                  </a:solidFill>
                </a:rPr>
                <a:t>Всього </a:t>
              </a:r>
              <a:endParaRPr lang="en-US" sz="1400" b="1" dirty="0">
                <a:solidFill>
                  <a:srgbClr val="000000"/>
                </a:solidFill>
              </a:endParaRPr>
            </a:p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de-DE" sz="1400" b="1" dirty="0">
                  <a:solidFill>
                    <a:srgbClr val="004A96"/>
                  </a:solidFill>
                </a:rPr>
                <a:t>€1</a:t>
              </a:r>
              <a:r>
                <a:rPr lang="uk-UA" sz="1400" b="1" dirty="0">
                  <a:solidFill>
                    <a:srgbClr val="004A96"/>
                  </a:solidFill>
                </a:rPr>
                <a:t>,863 млрд</a:t>
              </a:r>
              <a:endParaRPr lang="en-US" sz="1400" b="1" dirty="0">
                <a:solidFill>
                  <a:srgbClr val="004A96"/>
                </a:solidFill>
              </a:endParaRPr>
            </a:p>
          </p:txBody>
        </p:sp>
      </p:grpSp>
      <p:sp>
        <p:nvSpPr>
          <p:cNvPr id="66" name="Прямоугольник 65"/>
          <p:cNvSpPr/>
          <p:nvPr/>
        </p:nvSpPr>
        <p:spPr>
          <a:xfrm>
            <a:off x="6102773" y="4506332"/>
            <a:ext cx="4545725" cy="2129532"/>
          </a:xfrm>
          <a:prstGeom prst="rect">
            <a:avLst/>
          </a:prstGeom>
          <a:solidFill>
            <a:srgbClr val="65AC1E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9" name="Группа 68"/>
          <p:cNvGrpSpPr/>
          <p:nvPr/>
        </p:nvGrpSpPr>
        <p:grpSpPr>
          <a:xfrm>
            <a:off x="6219101" y="4653746"/>
            <a:ext cx="4409438" cy="1835608"/>
            <a:chOff x="4844158" y="4654744"/>
            <a:chExt cx="4459134" cy="1840483"/>
          </a:xfrm>
        </p:grpSpPr>
        <p:sp>
          <p:nvSpPr>
            <p:cNvPr id="70" name="Abgerundetes Rechteck 1"/>
            <p:cNvSpPr/>
            <p:nvPr/>
          </p:nvSpPr>
          <p:spPr>
            <a:xfrm>
              <a:off x="4844158" y="4727243"/>
              <a:ext cx="402294" cy="215666"/>
            </a:xfrm>
            <a:prstGeom prst="roundRect">
              <a:avLst/>
            </a:prstGeom>
            <a:solidFill>
              <a:srgbClr val="E9F3D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Abgerundetes Rechteck 44"/>
            <p:cNvSpPr/>
            <p:nvPr/>
          </p:nvSpPr>
          <p:spPr>
            <a:xfrm>
              <a:off x="4844158" y="5032584"/>
              <a:ext cx="402294" cy="215666"/>
            </a:xfrm>
            <a:prstGeom prst="roundRect">
              <a:avLst/>
            </a:prstGeom>
            <a:solidFill>
              <a:srgbClr val="65AC1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Abgerundetes Rechteck 46"/>
            <p:cNvSpPr/>
            <p:nvPr/>
          </p:nvSpPr>
          <p:spPr>
            <a:xfrm>
              <a:off x="4844158" y="5337925"/>
              <a:ext cx="402294" cy="215666"/>
            </a:xfrm>
            <a:prstGeom prst="roundRect">
              <a:avLst/>
            </a:prstGeom>
            <a:solidFill>
              <a:srgbClr val="7EB74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3" name="Abgerundetes Rechteck 48"/>
            <p:cNvSpPr/>
            <p:nvPr/>
          </p:nvSpPr>
          <p:spPr>
            <a:xfrm>
              <a:off x="4844158" y="5643266"/>
              <a:ext cx="402294" cy="215666"/>
            </a:xfrm>
            <a:prstGeom prst="roundRect">
              <a:avLst/>
            </a:prstGeom>
            <a:solidFill>
              <a:srgbClr val="95C66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4" name="Abgerundetes Rechteck 49"/>
            <p:cNvSpPr/>
            <p:nvPr/>
          </p:nvSpPr>
          <p:spPr>
            <a:xfrm>
              <a:off x="4844158" y="5948607"/>
              <a:ext cx="402294" cy="215666"/>
            </a:xfrm>
            <a:prstGeom prst="roundRect">
              <a:avLst/>
            </a:prstGeom>
            <a:solidFill>
              <a:srgbClr val="BADA9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Textfeld 2"/>
            <p:cNvSpPr txBox="1"/>
            <p:nvPr/>
          </p:nvSpPr>
          <p:spPr>
            <a:xfrm>
              <a:off x="5595841" y="4654744"/>
              <a:ext cx="1401707" cy="370313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Нафта і газ</a:t>
              </a:r>
              <a:endParaRPr lang="en-GB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6" name="Textfeld 52"/>
            <p:cNvSpPr txBox="1"/>
            <p:nvPr/>
          </p:nvSpPr>
          <p:spPr>
            <a:xfrm>
              <a:off x="5595841" y="4948778"/>
              <a:ext cx="1139936" cy="370313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Хімікати </a:t>
              </a:r>
              <a:endParaRPr lang="en-GB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7" name="Textfeld 54"/>
            <p:cNvSpPr txBox="1"/>
            <p:nvPr/>
          </p:nvSpPr>
          <p:spPr>
            <a:xfrm>
              <a:off x="5595841" y="5242812"/>
              <a:ext cx="3402560" cy="370313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Продукти органічного синтезу</a:t>
              </a:r>
              <a:endParaRPr lang="en-GB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8" name="Textfeld 56"/>
            <p:cNvSpPr txBox="1"/>
            <p:nvPr/>
          </p:nvSpPr>
          <p:spPr>
            <a:xfrm>
              <a:off x="5595841" y="5536846"/>
              <a:ext cx="2739932" cy="370313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Функціональні рішення </a:t>
              </a:r>
              <a:endParaRPr lang="en-GB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9" name="Textfeld 57"/>
            <p:cNvSpPr txBox="1"/>
            <p:nvPr/>
          </p:nvSpPr>
          <p:spPr>
            <a:xfrm>
              <a:off x="5595841" y="5830880"/>
              <a:ext cx="1921292" cy="370313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Рішення для СГ</a:t>
              </a:r>
              <a:endParaRPr lang="en-GB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0" name="Abgerundetes Rechteck 49"/>
            <p:cNvSpPr/>
            <p:nvPr/>
          </p:nvSpPr>
          <p:spPr>
            <a:xfrm>
              <a:off x="4844158" y="6256472"/>
              <a:ext cx="402294" cy="215666"/>
            </a:xfrm>
            <a:prstGeom prst="roundRect">
              <a:avLst/>
            </a:prstGeom>
            <a:solidFill>
              <a:srgbClr val="80808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1" name="Textfeld 57"/>
            <p:cNvSpPr txBox="1"/>
            <p:nvPr/>
          </p:nvSpPr>
          <p:spPr>
            <a:xfrm>
              <a:off x="5595841" y="6124914"/>
              <a:ext cx="3707451" cy="370313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uk-UA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Корпоративні дослідження,інше </a:t>
              </a:r>
              <a:endParaRPr lang="en-GB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1523206" y="4014501"/>
            <a:ext cx="4572000" cy="49106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  <a:sym typeface="Monotype Sorts"/>
              </a:rPr>
              <a:t>Сільське господарство є сектором довгострокових інвестицій для </a:t>
            </a:r>
            <a:r>
              <a:rPr lang="en-US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  <a:sym typeface="Monotype Sorts"/>
              </a:rPr>
              <a:t>BASF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089634" y="1583437"/>
            <a:ext cx="4572000" cy="2838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uk-UA" sz="1600" b="1" dirty="0">
                <a:solidFill>
                  <a:schemeClr val="bg1"/>
                </a:solidFill>
                <a:latin typeface="Arial" charset="0"/>
                <a:cs typeface="Arial" charset="0"/>
              </a:rPr>
              <a:t>Продажі по сегментах у </a:t>
            </a:r>
            <a:r>
              <a:rPr lang="en-US" sz="1600" b="1" dirty="0">
                <a:solidFill>
                  <a:schemeClr val="bg1"/>
                </a:solidFill>
                <a:latin typeface="Arial" charset="0"/>
                <a:cs typeface="Arial" charset="0"/>
              </a:rPr>
              <a:t>201</a:t>
            </a:r>
            <a:r>
              <a:rPr lang="uk-UA" sz="1600" b="1" dirty="0">
                <a:solidFill>
                  <a:schemeClr val="bg1"/>
                </a:solidFill>
                <a:latin typeface="Arial" charset="0"/>
                <a:cs typeface="Arial" charset="0"/>
              </a:rPr>
              <a:t>6 році</a:t>
            </a:r>
            <a:endParaRPr lang="en-US" sz="16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9" name="Chart 8"/>
          <p:cNvGraphicFramePr/>
          <p:nvPr>
            <p:extLst/>
          </p:nvPr>
        </p:nvGraphicFramePr>
        <p:xfrm>
          <a:off x="1534692" y="4380772"/>
          <a:ext cx="2781868" cy="22629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5" name="Oval 44"/>
          <p:cNvSpPr>
            <a:spLocks noChangeArrowheads="1"/>
          </p:cNvSpPr>
          <p:nvPr/>
        </p:nvSpPr>
        <p:spPr bwMode="auto">
          <a:xfrm>
            <a:off x="6616911" y="2347159"/>
            <a:ext cx="1256943" cy="1300222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uk-UA" sz="1400" b="1" dirty="0">
                <a:solidFill>
                  <a:srgbClr val="000000"/>
                </a:solidFill>
                <a:latin typeface="Arial" charset="0"/>
                <a:cs typeface="Arial" pitchFamily="34" charset="0"/>
              </a:rPr>
              <a:t>Всього</a:t>
            </a:r>
            <a:endParaRPr lang="en-US" sz="1400" b="1" dirty="0">
              <a:solidFill>
                <a:srgbClr val="000000"/>
              </a:solidFill>
              <a:latin typeface="Arial" charset="0"/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>
                <a:solidFill>
                  <a:srgbClr val="004A96"/>
                </a:solidFill>
              </a:rPr>
              <a:t>€</a:t>
            </a:r>
            <a:r>
              <a:rPr lang="uk-UA" sz="1600" b="1" dirty="0">
                <a:solidFill>
                  <a:srgbClr val="004A96"/>
                </a:solidFill>
              </a:rPr>
              <a:t> 57 млрд</a:t>
            </a:r>
            <a:endParaRPr lang="de-DE" sz="1600" b="1" dirty="0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30771" y="1583436"/>
            <a:ext cx="9144000" cy="5266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30872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6" grpId="0" animBg="1"/>
      <p:bldP spid="48" grpId="0"/>
      <p:bldP spid="51" grpId="0" animBg="1"/>
      <p:bldP spid="52" grpId="0" animBg="1"/>
      <p:bldP spid="53" grpId="0"/>
      <p:bldP spid="56" grpId="0" animBg="1"/>
      <p:bldP spid="57" grpId="0" animBg="1"/>
      <p:bldP spid="5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2829" y="231292"/>
            <a:ext cx="7273334" cy="853200"/>
          </a:xfrm>
        </p:spPr>
        <p:txBody>
          <a:bodyPr>
            <a:normAutofit/>
          </a:bodyPr>
          <a:lstStyle/>
          <a:p>
            <a:r>
              <a:rPr lang="ru-RU" b="1" dirty="0"/>
              <a:t>Испытательные</a:t>
            </a:r>
            <a:r>
              <a:rPr lang="uk-UA" b="1" dirty="0"/>
              <a:t> </a:t>
            </a:r>
            <a:r>
              <a:rPr lang="ru-RU" b="1" dirty="0"/>
              <a:t>центры</a:t>
            </a:r>
            <a:r>
              <a:rPr lang="uk-UA" b="1" dirty="0"/>
              <a:t> </a:t>
            </a:r>
            <a:endParaRPr lang="ru-RU" b="1" dirty="0"/>
          </a:p>
        </p:txBody>
      </p:sp>
      <p:sp>
        <p:nvSpPr>
          <p:cNvPr id="3" name="Rectangle 21"/>
          <p:cNvSpPr>
            <a:spLocks noChangeArrowheads="1"/>
          </p:cNvSpPr>
          <p:nvPr/>
        </p:nvSpPr>
        <p:spPr bwMode="auto">
          <a:xfrm>
            <a:off x="607220" y="1316757"/>
            <a:ext cx="8707437" cy="4715743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grpSp>
        <p:nvGrpSpPr>
          <p:cNvPr id="4" name="Group 21"/>
          <p:cNvGrpSpPr>
            <a:grpSpLocks/>
          </p:cNvGrpSpPr>
          <p:nvPr/>
        </p:nvGrpSpPr>
        <p:grpSpPr bwMode="auto">
          <a:xfrm>
            <a:off x="1002506" y="1431925"/>
            <a:ext cx="8129588" cy="4229100"/>
            <a:chOff x="226" y="0"/>
            <a:chExt cx="5989" cy="3883"/>
          </a:xfrm>
          <a:solidFill>
            <a:srgbClr val="76B49A"/>
          </a:solidFill>
        </p:grpSpPr>
        <p:sp>
          <p:nvSpPr>
            <p:cNvPr id="5" name="Freeform 22"/>
            <p:cNvSpPr>
              <a:spLocks/>
            </p:cNvSpPr>
            <p:nvPr/>
          </p:nvSpPr>
          <p:spPr bwMode="auto">
            <a:xfrm>
              <a:off x="1042" y="910"/>
              <a:ext cx="309" cy="266"/>
            </a:xfrm>
            <a:custGeom>
              <a:avLst/>
              <a:gdLst>
                <a:gd name="T0" fmla="*/ 0 w 237"/>
                <a:gd name="T1" fmla="*/ 770 h 203"/>
                <a:gd name="T2" fmla="*/ 133 w 237"/>
                <a:gd name="T3" fmla="*/ 843 h 203"/>
                <a:gd name="T4" fmla="*/ 78 w 237"/>
                <a:gd name="T5" fmla="*/ 987 h 203"/>
                <a:gd name="T6" fmla="*/ 211 w 237"/>
                <a:gd name="T7" fmla="*/ 1056 h 203"/>
                <a:gd name="T8" fmla="*/ 546 w 237"/>
                <a:gd name="T9" fmla="*/ 1056 h 203"/>
                <a:gd name="T10" fmla="*/ 678 w 237"/>
                <a:gd name="T11" fmla="*/ 1206 h 203"/>
                <a:gd name="T12" fmla="*/ 546 w 237"/>
                <a:gd name="T13" fmla="*/ 1267 h 203"/>
                <a:gd name="T14" fmla="*/ 211 w 237"/>
                <a:gd name="T15" fmla="*/ 1267 h 203"/>
                <a:gd name="T16" fmla="*/ 278 w 237"/>
                <a:gd name="T17" fmla="*/ 1481 h 203"/>
                <a:gd name="T18" fmla="*/ 408 w 237"/>
                <a:gd name="T19" fmla="*/ 1538 h 203"/>
                <a:gd name="T20" fmla="*/ 546 w 237"/>
                <a:gd name="T21" fmla="*/ 1538 h 203"/>
                <a:gd name="T22" fmla="*/ 615 w 237"/>
                <a:gd name="T23" fmla="*/ 1756 h 203"/>
                <a:gd name="T24" fmla="*/ 953 w 237"/>
                <a:gd name="T25" fmla="*/ 1694 h 203"/>
                <a:gd name="T26" fmla="*/ 1292 w 237"/>
                <a:gd name="T27" fmla="*/ 1538 h 203"/>
                <a:gd name="T28" fmla="*/ 1352 w 237"/>
                <a:gd name="T29" fmla="*/ 1481 h 203"/>
                <a:gd name="T30" fmla="*/ 1639 w 237"/>
                <a:gd name="T31" fmla="*/ 1694 h 203"/>
                <a:gd name="T32" fmla="*/ 1763 w 237"/>
                <a:gd name="T33" fmla="*/ 1617 h 203"/>
                <a:gd name="T34" fmla="*/ 1837 w 237"/>
                <a:gd name="T35" fmla="*/ 1538 h 203"/>
                <a:gd name="T36" fmla="*/ 1837 w 237"/>
                <a:gd name="T37" fmla="*/ 1406 h 203"/>
                <a:gd name="T38" fmla="*/ 1896 w 237"/>
                <a:gd name="T39" fmla="*/ 1406 h 203"/>
                <a:gd name="T40" fmla="*/ 1971 w 237"/>
                <a:gd name="T41" fmla="*/ 1267 h 203"/>
                <a:gd name="T42" fmla="*/ 1639 w 237"/>
                <a:gd name="T43" fmla="*/ 1056 h 203"/>
                <a:gd name="T44" fmla="*/ 1503 w 237"/>
                <a:gd name="T45" fmla="*/ 987 h 203"/>
                <a:gd name="T46" fmla="*/ 1503 w 237"/>
                <a:gd name="T47" fmla="*/ 770 h 203"/>
                <a:gd name="T48" fmla="*/ 1428 w 237"/>
                <a:gd name="T49" fmla="*/ 426 h 203"/>
                <a:gd name="T50" fmla="*/ 1554 w 237"/>
                <a:gd name="T51" fmla="*/ 66 h 203"/>
                <a:gd name="T52" fmla="*/ 1503 w 237"/>
                <a:gd name="T53" fmla="*/ 0 h 203"/>
                <a:gd name="T54" fmla="*/ 1292 w 237"/>
                <a:gd name="T55" fmla="*/ 0 h 203"/>
                <a:gd name="T56" fmla="*/ 1160 w 237"/>
                <a:gd name="T57" fmla="*/ 343 h 203"/>
                <a:gd name="T58" fmla="*/ 1014 w 237"/>
                <a:gd name="T59" fmla="*/ 283 h 203"/>
                <a:gd name="T60" fmla="*/ 884 w 237"/>
                <a:gd name="T61" fmla="*/ 283 h 203"/>
                <a:gd name="T62" fmla="*/ 743 w 237"/>
                <a:gd name="T63" fmla="*/ 216 h 203"/>
                <a:gd name="T64" fmla="*/ 615 w 237"/>
                <a:gd name="T65" fmla="*/ 343 h 203"/>
                <a:gd name="T66" fmla="*/ 546 w 237"/>
                <a:gd name="T67" fmla="*/ 132 h 203"/>
                <a:gd name="T68" fmla="*/ 408 w 237"/>
                <a:gd name="T69" fmla="*/ 132 h 203"/>
                <a:gd name="T70" fmla="*/ 78 w 237"/>
                <a:gd name="T71" fmla="*/ 426 h 203"/>
                <a:gd name="T72" fmla="*/ 78 w 237"/>
                <a:gd name="T73" fmla="*/ 486 h 203"/>
                <a:gd name="T74" fmla="*/ 0 w 237"/>
                <a:gd name="T75" fmla="*/ 643 h 203"/>
                <a:gd name="T76" fmla="*/ 0 w 237"/>
                <a:gd name="T77" fmla="*/ 770 h 20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37"/>
                <a:gd name="T118" fmla="*/ 0 h 203"/>
                <a:gd name="T119" fmla="*/ 237 w 237"/>
                <a:gd name="T120" fmla="*/ 203 h 20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37" h="203">
                  <a:moveTo>
                    <a:pt x="0" y="89"/>
                  </a:moveTo>
                  <a:lnTo>
                    <a:pt x="16" y="97"/>
                  </a:lnTo>
                  <a:lnTo>
                    <a:pt x="9" y="114"/>
                  </a:lnTo>
                  <a:lnTo>
                    <a:pt x="25" y="121"/>
                  </a:lnTo>
                  <a:lnTo>
                    <a:pt x="65" y="121"/>
                  </a:lnTo>
                  <a:lnTo>
                    <a:pt x="81" y="139"/>
                  </a:lnTo>
                  <a:lnTo>
                    <a:pt x="65" y="146"/>
                  </a:lnTo>
                  <a:lnTo>
                    <a:pt x="25" y="146"/>
                  </a:lnTo>
                  <a:lnTo>
                    <a:pt x="34" y="170"/>
                  </a:lnTo>
                  <a:lnTo>
                    <a:pt x="49" y="177"/>
                  </a:lnTo>
                  <a:lnTo>
                    <a:pt x="65" y="177"/>
                  </a:lnTo>
                  <a:lnTo>
                    <a:pt x="74" y="202"/>
                  </a:lnTo>
                  <a:lnTo>
                    <a:pt x="114" y="195"/>
                  </a:lnTo>
                  <a:lnTo>
                    <a:pt x="155" y="177"/>
                  </a:lnTo>
                  <a:lnTo>
                    <a:pt x="162" y="170"/>
                  </a:lnTo>
                  <a:lnTo>
                    <a:pt x="196" y="195"/>
                  </a:lnTo>
                  <a:lnTo>
                    <a:pt x="211" y="186"/>
                  </a:lnTo>
                  <a:lnTo>
                    <a:pt x="220" y="177"/>
                  </a:lnTo>
                  <a:lnTo>
                    <a:pt x="220" y="162"/>
                  </a:lnTo>
                  <a:lnTo>
                    <a:pt x="227" y="162"/>
                  </a:lnTo>
                  <a:lnTo>
                    <a:pt x="236" y="146"/>
                  </a:lnTo>
                  <a:lnTo>
                    <a:pt x="196" y="121"/>
                  </a:lnTo>
                  <a:lnTo>
                    <a:pt x="180" y="114"/>
                  </a:lnTo>
                  <a:lnTo>
                    <a:pt x="180" y="89"/>
                  </a:lnTo>
                  <a:lnTo>
                    <a:pt x="171" y="49"/>
                  </a:lnTo>
                  <a:lnTo>
                    <a:pt x="186" y="8"/>
                  </a:lnTo>
                  <a:lnTo>
                    <a:pt x="180" y="0"/>
                  </a:lnTo>
                  <a:lnTo>
                    <a:pt x="155" y="0"/>
                  </a:lnTo>
                  <a:lnTo>
                    <a:pt x="139" y="40"/>
                  </a:lnTo>
                  <a:lnTo>
                    <a:pt x="121" y="33"/>
                  </a:lnTo>
                  <a:lnTo>
                    <a:pt x="106" y="33"/>
                  </a:lnTo>
                  <a:lnTo>
                    <a:pt x="89" y="25"/>
                  </a:lnTo>
                  <a:lnTo>
                    <a:pt x="74" y="40"/>
                  </a:lnTo>
                  <a:lnTo>
                    <a:pt x="65" y="15"/>
                  </a:lnTo>
                  <a:lnTo>
                    <a:pt x="49" y="15"/>
                  </a:lnTo>
                  <a:lnTo>
                    <a:pt x="9" y="49"/>
                  </a:lnTo>
                  <a:lnTo>
                    <a:pt x="9" y="56"/>
                  </a:lnTo>
                  <a:lnTo>
                    <a:pt x="0" y="74"/>
                  </a:lnTo>
                  <a:lnTo>
                    <a:pt x="0" y="8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6" name="Freeform 23"/>
            <p:cNvSpPr>
              <a:spLocks/>
            </p:cNvSpPr>
            <p:nvPr/>
          </p:nvSpPr>
          <p:spPr bwMode="auto">
            <a:xfrm>
              <a:off x="1529" y="898"/>
              <a:ext cx="480" cy="541"/>
            </a:xfrm>
            <a:custGeom>
              <a:avLst/>
              <a:gdLst>
                <a:gd name="T0" fmla="*/ 289 w 367"/>
                <a:gd name="T1" fmla="*/ 1253 h 414"/>
                <a:gd name="T2" fmla="*/ 845 w 367"/>
                <a:gd name="T3" fmla="*/ 1381 h 414"/>
                <a:gd name="T4" fmla="*/ 1121 w 367"/>
                <a:gd name="T5" fmla="*/ 1448 h 414"/>
                <a:gd name="T6" fmla="*/ 1252 w 367"/>
                <a:gd name="T7" fmla="*/ 1253 h 414"/>
                <a:gd name="T8" fmla="*/ 1532 w 367"/>
                <a:gd name="T9" fmla="*/ 1586 h 414"/>
                <a:gd name="T10" fmla="*/ 1605 w 367"/>
                <a:gd name="T11" fmla="*/ 1657 h 414"/>
                <a:gd name="T12" fmla="*/ 1805 w 367"/>
                <a:gd name="T13" fmla="*/ 1917 h 414"/>
                <a:gd name="T14" fmla="*/ 1677 w 367"/>
                <a:gd name="T15" fmla="*/ 2483 h 414"/>
                <a:gd name="T16" fmla="*/ 1677 w 367"/>
                <a:gd name="T17" fmla="*/ 2693 h 414"/>
                <a:gd name="T18" fmla="*/ 1331 w 367"/>
                <a:gd name="T19" fmla="*/ 2762 h 414"/>
                <a:gd name="T20" fmla="*/ 1252 w 367"/>
                <a:gd name="T21" fmla="*/ 2973 h 414"/>
                <a:gd name="T22" fmla="*/ 1532 w 367"/>
                <a:gd name="T23" fmla="*/ 2905 h 414"/>
                <a:gd name="T24" fmla="*/ 1940 w 367"/>
                <a:gd name="T25" fmla="*/ 3101 h 414"/>
                <a:gd name="T26" fmla="*/ 2233 w 367"/>
                <a:gd name="T27" fmla="*/ 3375 h 414"/>
                <a:gd name="T28" fmla="*/ 2582 w 367"/>
                <a:gd name="T29" fmla="*/ 3517 h 414"/>
                <a:gd name="T30" fmla="*/ 2298 w 367"/>
                <a:gd name="T31" fmla="*/ 3166 h 414"/>
                <a:gd name="T32" fmla="*/ 2651 w 367"/>
                <a:gd name="T33" fmla="*/ 3317 h 414"/>
                <a:gd name="T34" fmla="*/ 2788 w 367"/>
                <a:gd name="T35" fmla="*/ 3101 h 414"/>
                <a:gd name="T36" fmla="*/ 2718 w 367"/>
                <a:gd name="T37" fmla="*/ 2905 h 414"/>
                <a:gd name="T38" fmla="*/ 2441 w 367"/>
                <a:gd name="T39" fmla="*/ 2548 h 414"/>
                <a:gd name="T40" fmla="*/ 2651 w 367"/>
                <a:gd name="T41" fmla="*/ 2548 h 414"/>
                <a:gd name="T42" fmla="*/ 2856 w 367"/>
                <a:gd name="T43" fmla="*/ 2762 h 414"/>
                <a:gd name="T44" fmla="*/ 2995 w 367"/>
                <a:gd name="T45" fmla="*/ 2612 h 414"/>
                <a:gd name="T46" fmla="*/ 2718 w 367"/>
                <a:gd name="T47" fmla="*/ 1917 h 414"/>
                <a:gd name="T48" fmla="*/ 2361 w 367"/>
                <a:gd name="T49" fmla="*/ 1798 h 414"/>
                <a:gd name="T50" fmla="*/ 2507 w 367"/>
                <a:gd name="T51" fmla="*/ 1586 h 414"/>
                <a:gd name="T52" fmla="*/ 2441 w 367"/>
                <a:gd name="T53" fmla="*/ 1381 h 414"/>
                <a:gd name="T54" fmla="*/ 2149 w 367"/>
                <a:gd name="T55" fmla="*/ 1104 h 414"/>
                <a:gd name="T56" fmla="*/ 1889 w 367"/>
                <a:gd name="T57" fmla="*/ 830 h 414"/>
                <a:gd name="T58" fmla="*/ 1677 w 367"/>
                <a:gd name="T59" fmla="*/ 494 h 414"/>
                <a:gd name="T60" fmla="*/ 1331 w 367"/>
                <a:gd name="T61" fmla="*/ 419 h 414"/>
                <a:gd name="T62" fmla="*/ 1045 w 367"/>
                <a:gd name="T63" fmla="*/ 494 h 414"/>
                <a:gd name="T64" fmla="*/ 978 w 367"/>
                <a:gd name="T65" fmla="*/ 419 h 414"/>
                <a:gd name="T66" fmla="*/ 910 w 367"/>
                <a:gd name="T67" fmla="*/ 78 h 414"/>
                <a:gd name="T68" fmla="*/ 770 w 367"/>
                <a:gd name="T69" fmla="*/ 0 h 414"/>
                <a:gd name="T70" fmla="*/ 421 w 367"/>
                <a:gd name="T71" fmla="*/ 634 h 414"/>
                <a:gd name="T72" fmla="*/ 340 w 367"/>
                <a:gd name="T73" fmla="*/ 700 h 414"/>
                <a:gd name="T74" fmla="*/ 506 w 367"/>
                <a:gd name="T75" fmla="*/ 145 h 414"/>
                <a:gd name="T76" fmla="*/ 289 w 367"/>
                <a:gd name="T77" fmla="*/ 0 h 414"/>
                <a:gd name="T78" fmla="*/ 0 w 367"/>
                <a:gd name="T79" fmla="*/ 551 h 41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67"/>
                <a:gd name="T121" fmla="*/ 0 h 414"/>
                <a:gd name="T122" fmla="*/ 367 w 367"/>
                <a:gd name="T123" fmla="*/ 414 h 41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67" h="414">
                  <a:moveTo>
                    <a:pt x="0" y="89"/>
                  </a:moveTo>
                  <a:lnTo>
                    <a:pt x="34" y="148"/>
                  </a:lnTo>
                  <a:lnTo>
                    <a:pt x="49" y="155"/>
                  </a:lnTo>
                  <a:lnTo>
                    <a:pt x="99" y="163"/>
                  </a:lnTo>
                  <a:lnTo>
                    <a:pt x="106" y="163"/>
                  </a:lnTo>
                  <a:lnTo>
                    <a:pt x="131" y="171"/>
                  </a:lnTo>
                  <a:lnTo>
                    <a:pt x="139" y="171"/>
                  </a:lnTo>
                  <a:lnTo>
                    <a:pt x="146" y="148"/>
                  </a:lnTo>
                  <a:lnTo>
                    <a:pt x="155" y="163"/>
                  </a:lnTo>
                  <a:lnTo>
                    <a:pt x="179" y="186"/>
                  </a:lnTo>
                  <a:lnTo>
                    <a:pt x="171" y="204"/>
                  </a:lnTo>
                  <a:lnTo>
                    <a:pt x="187" y="195"/>
                  </a:lnTo>
                  <a:lnTo>
                    <a:pt x="196" y="211"/>
                  </a:lnTo>
                  <a:lnTo>
                    <a:pt x="211" y="226"/>
                  </a:lnTo>
                  <a:lnTo>
                    <a:pt x="220" y="251"/>
                  </a:lnTo>
                  <a:lnTo>
                    <a:pt x="196" y="292"/>
                  </a:lnTo>
                  <a:lnTo>
                    <a:pt x="202" y="308"/>
                  </a:lnTo>
                  <a:lnTo>
                    <a:pt x="196" y="317"/>
                  </a:lnTo>
                  <a:lnTo>
                    <a:pt x="155" y="308"/>
                  </a:lnTo>
                  <a:lnTo>
                    <a:pt x="155" y="325"/>
                  </a:lnTo>
                  <a:lnTo>
                    <a:pt x="146" y="325"/>
                  </a:lnTo>
                  <a:lnTo>
                    <a:pt x="146" y="350"/>
                  </a:lnTo>
                  <a:lnTo>
                    <a:pt x="171" y="350"/>
                  </a:lnTo>
                  <a:lnTo>
                    <a:pt x="179" y="341"/>
                  </a:lnTo>
                  <a:lnTo>
                    <a:pt x="196" y="341"/>
                  </a:lnTo>
                  <a:lnTo>
                    <a:pt x="227" y="365"/>
                  </a:lnTo>
                  <a:lnTo>
                    <a:pt x="227" y="373"/>
                  </a:lnTo>
                  <a:lnTo>
                    <a:pt x="261" y="397"/>
                  </a:lnTo>
                  <a:lnTo>
                    <a:pt x="276" y="407"/>
                  </a:lnTo>
                  <a:lnTo>
                    <a:pt x="301" y="413"/>
                  </a:lnTo>
                  <a:lnTo>
                    <a:pt x="301" y="407"/>
                  </a:lnTo>
                  <a:lnTo>
                    <a:pt x="268" y="373"/>
                  </a:lnTo>
                  <a:lnTo>
                    <a:pt x="268" y="357"/>
                  </a:lnTo>
                  <a:lnTo>
                    <a:pt x="310" y="390"/>
                  </a:lnTo>
                  <a:lnTo>
                    <a:pt x="326" y="390"/>
                  </a:lnTo>
                  <a:lnTo>
                    <a:pt x="326" y="365"/>
                  </a:lnTo>
                  <a:lnTo>
                    <a:pt x="317" y="357"/>
                  </a:lnTo>
                  <a:lnTo>
                    <a:pt x="317" y="341"/>
                  </a:lnTo>
                  <a:lnTo>
                    <a:pt x="293" y="317"/>
                  </a:lnTo>
                  <a:lnTo>
                    <a:pt x="285" y="300"/>
                  </a:lnTo>
                  <a:lnTo>
                    <a:pt x="293" y="285"/>
                  </a:lnTo>
                  <a:lnTo>
                    <a:pt x="310" y="300"/>
                  </a:lnTo>
                  <a:lnTo>
                    <a:pt x="317" y="317"/>
                  </a:lnTo>
                  <a:lnTo>
                    <a:pt x="333" y="325"/>
                  </a:lnTo>
                  <a:lnTo>
                    <a:pt x="333" y="308"/>
                  </a:lnTo>
                  <a:lnTo>
                    <a:pt x="350" y="308"/>
                  </a:lnTo>
                  <a:lnTo>
                    <a:pt x="366" y="276"/>
                  </a:lnTo>
                  <a:lnTo>
                    <a:pt x="317" y="226"/>
                  </a:lnTo>
                  <a:lnTo>
                    <a:pt x="293" y="226"/>
                  </a:lnTo>
                  <a:lnTo>
                    <a:pt x="276" y="211"/>
                  </a:lnTo>
                  <a:lnTo>
                    <a:pt x="276" y="195"/>
                  </a:lnTo>
                  <a:lnTo>
                    <a:pt x="293" y="186"/>
                  </a:lnTo>
                  <a:lnTo>
                    <a:pt x="276" y="171"/>
                  </a:lnTo>
                  <a:lnTo>
                    <a:pt x="285" y="163"/>
                  </a:lnTo>
                  <a:lnTo>
                    <a:pt x="276" y="139"/>
                  </a:lnTo>
                  <a:lnTo>
                    <a:pt x="251" y="130"/>
                  </a:lnTo>
                  <a:lnTo>
                    <a:pt x="236" y="106"/>
                  </a:lnTo>
                  <a:lnTo>
                    <a:pt x="220" y="98"/>
                  </a:lnTo>
                  <a:lnTo>
                    <a:pt x="202" y="89"/>
                  </a:lnTo>
                  <a:lnTo>
                    <a:pt x="196" y="58"/>
                  </a:lnTo>
                  <a:lnTo>
                    <a:pt x="179" y="58"/>
                  </a:lnTo>
                  <a:lnTo>
                    <a:pt x="155" y="49"/>
                  </a:lnTo>
                  <a:lnTo>
                    <a:pt x="139" y="58"/>
                  </a:lnTo>
                  <a:lnTo>
                    <a:pt x="122" y="58"/>
                  </a:lnTo>
                  <a:lnTo>
                    <a:pt x="106" y="74"/>
                  </a:lnTo>
                  <a:lnTo>
                    <a:pt x="114" y="49"/>
                  </a:lnTo>
                  <a:lnTo>
                    <a:pt x="106" y="34"/>
                  </a:lnTo>
                  <a:lnTo>
                    <a:pt x="106" y="9"/>
                  </a:lnTo>
                  <a:lnTo>
                    <a:pt x="106" y="0"/>
                  </a:lnTo>
                  <a:lnTo>
                    <a:pt x="90" y="0"/>
                  </a:lnTo>
                  <a:lnTo>
                    <a:pt x="59" y="42"/>
                  </a:lnTo>
                  <a:lnTo>
                    <a:pt x="49" y="74"/>
                  </a:lnTo>
                  <a:lnTo>
                    <a:pt x="59" y="98"/>
                  </a:lnTo>
                  <a:lnTo>
                    <a:pt x="40" y="83"/>
                  </a:lnTo>
                  <a:lnTo>
                    <a:pt x="40" y="42"/>
                  </a:lnTo>
                  <a:lnTo>
                    <a:pt x="59" y="17"/>
                  </a:lnTo>
                  <a:lnTo>
                    <a:pt x="74" y="0"/>
                  </a:lnTo>
                  <a:lnTo>
                    <a:pt x="34" y="0"/>
                  </a:lnTo>
                  <a:lnTo>
                    <a:pt x="9" y="34"/>
                  </a:lnTo>
                  <a:lnTo>
                    <a:pt x="0" y="65"/>
                  </a:lnTo>
                  <a:lnTo>
                    <a:pt x="0" y="8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7" name="Freeform 24"/>
            <p:cNvSpPr>
              <a:spLocks/>
            </p:cNvSpPr>
            <p:nvPr/>
          </p:nvSpPr>
          <p:spPr bwMode="auto">
            <a:xfrm>
              <a:off x="948" y="1810"/>
              <a:ext cx="964" cy="517"/>
            </a:xfrm>
            <a:custGeom>
              <a:avLst/>
              <a:gdLst>
                <a:gd name="T0" fmla="*/ 3216 w 738"/>
                <a:gd name="T1" fmla="*/ 0 h 396"/>
                <a:gd name="T2" fmla="*/ 3565 w 738"/>
                <a:gd name="T3" fmla="*/ 274 h 396"/>
                <a:gd name="T4" fmla="*/ 3631 w 738"/>
                <a:gd name="T5" fmla="*/ 407 h 396"/>
                <a:gd name="T6" fmla="*/ 3907 w 738"/>
                <a:gd name="T7" fmla="*/ 473 h 396"/>
                <a:gd name="T8" fmla="*/ 4271 w 738"/>
                <a:gd name="T9" fmla="*/ 473 h 396"/>
                <a:gd name="T10" fmla="*/ 4401 w 738"/>
                <a:gd name="T11" fmla="*/ 610 h 396"/>
                <a:gd name="T12" fmla="*/ 4061 w 738"/>
                <a:gd name="T13" fmla="*/ 743 h 396"/>
                <a:gd name="T14" fmla="*/ 3985 w 738"/>
                <a:gd name="T15" fmla="*/ 1218 h 396"/>
                <a:gd name="T16" fmla="*/ 4113 w 738"/>
                <a:gd name="T17" fmla="*/ 866 h 396"/>
                <a:gd name="T18" fmla="*/ 4271 w 738"/>
                <a:gd name="T19" fmla="*/ 610 h 396"/>
                <a:gd name="T20" fmla="*/ 4401 w 738"/>
                <a:gd name="T21" fmla="*/ 956 h 396"/>
                <a:gd name="T22" fmla="*/ 4612 w 738"/>
                <a:gd name="T23" fmla="*/ 1030 h 396"/>
                <a:gd name="T24" fmla="*/ 4670 w 738"/>
                <a:gd name="T25" fmla="*/ 1218 h 396"/>
                <a:gd name="T26" fmla="*/ 5226 w 738"/>
                <a:gd name="T27" fmla="*/ 956 h 396"/>
                <a:gd name="T28" fmla="*/ 5698 w 738"/>
                <a:gd name="T29" fmla="*/ 743 h 396"/>
                <a:gd name="T30" fmla="*/ 6039 w 738"/>
                <a:gd name="T31" fmla="*/ 407 h 396"/>
                <a:gd name="T32" fmla="*/ 6192 w 738"/>
                <a:gd name="T33" fmla="*/ 610 h 396"/>
                <a:gd name="T34" fmla="*/ 6192 w 738"/>
                <a:gd name="T35" fmla="*/ 821 h 396"/>
                <a:gd name="T36" fmla="*/ 5845 w 738"/>
                <a:gd name="T37" fmla="*/ 1218 h 396"/>
                <a:gd name="T38" fmla="*/ 5698 w 738"/>
                <a:gd name="T39" fmla="*/ 1218 h 396"/>
                <a:gd name="T40" fmla="*/ 5429 w 738"/>
                <a:gd name="T41" fmla="*/ 1636 h 396"/>
                <a:gd name="T42" fmla="*/ 5289 w 738"/>
                <a:gd name="T43" fmla="*/ 1845 h 396"/>
                <a:gd name="T44" fmla="*/ 5226 w 738"/>
                <a:gd name="T45" fmla="*/ 1501 h 396"/>
                <a:gd name="T46" fmla="*/ 5289 w 738"/>
                <a:gd name="T47" fmla="*/ 2046 h 396"/>
                <a:gd name="T48" fmla="*/ 4740 w 738"/>
                <a:gd name="T49" fmla="*/ 2521 h 396"/>
                <a:gd name="T50" fmla="*/ 4808 w 738"/>
                <a:gd name="T51" fmla="*/ 3341 h 396"/>
                <a:gd name="T52" fmla="*/ 4535 w 738"/>
                <a:gd name="T53" fmla="*/ 3129 h 396"/>
                <a:gd name="T54" fmla="*/ 4271 w 738"/>
                <a:gd name="T55" fmla="*/ 2793 h 396"/>
                <a:gd name="T56" fmla="*/ 3767 w 738"/>
                <a:gd name="T57" fmla="*/ 2793 h 396"/>
                <a:gd name="T58" fmla="*/ 3565 w 738"/>
                <a:gd name="T59" fmla="*/ 2793 h 396"/>
                <a:gd name="T60" fmla="*/ 2953 w 738"/>
                <a:gd name="T61" fmla="*/ 3068 h 396"/>
                <a:gd name="T62" fmla="*/ 2474 w 738"/>
                <a:gd name="T63" fmla="*/ 2793 h 396"/>
                <a:gd name="T64" fmla="*/ 2272 w 738"/>
                <a:gd name="T65" fmla="*/ 2863 h 396"/>
                <a:gd name="T66" fmla="*/ 1985 w 738"/>
                <a:gd name="T67" fmla="*/ 2521 h 396"/>
                <a:gd name="T68" fmla="*/ 824 w 738"/>
                <a:gd name="T69" fmla="*/ 2449 h 396"/>
                <a:gd name="T70" fmla="*/ 684 w 738"/>
                <a:gd name="T71" fmla="*/ 2257 h 396"/>
                <a:gd name="T72" fmla="*/ 274 w 738"/>
                <a:gd name="T73" fmla="*/ 1973 h 396"/>
                <a:gd name="T74" fmla="*/ 199 w 738"/>
                <a:gd name="T75" fmla="*/ 1770 h 396"/>
                <a:gd name="T76" fmla="*/ 199 w 738"/>
                <a:gd name="T77" fmla="*/ 1709 h 396"/>
                <a:gd name="T78" fmla="*/ 0 w 738"/>
                <a:gd name="T79" fmla="*/ 1428 h 396"/>
                <a:gd name="T80" fmla="*/ 60 w 738"/>
                <a:gd name="T81" fmla="*/ 531 h 396"/>
                <a:gd name="T82" fmla="*/ 133 w 738"/>
                <a:gd name="T83" fmla="*/ 336 h 39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38"/>
                <a:gd name="T127" fmla="*/ 0 h 396"/>
                <a:gd name="T128" fmla="*/ 738 w 738"/>
                <a:gd name="T129" fmla="*/ 396 h 39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38" h="396">
                  <a:moveTo>
                    <a:pt x="24" y="8"/>
                  </a:moveTo>
                  <a:lnTo>
                    <a:pt x="373" y="8"/>
                  </a:lnTo>
                  <a:lnTo>
                    <a:pt x="380" y="0"/>
                  </a:lnTo>
                  <a:lnTo>
                    <a:pt x="389" y="16"/>
                  </a:lnTo>
                  <a:lnTo>
                    <a:pt x="405" y="16"/>
                  </a:lnTo>
                  <a:lnTo>
                    <a:pt x="420" y="32"/>
                  </a:lnTo>
                  <a:lnTo>
                    <a:pt x="445" y="32"/>
                  </a:lnTo>
                  <a:lnTo>
                    <a:pt x="414" y="56"/>
                  </a:lnTo>
                  <a:lnTo>
                    <a:pt x="429" y="48"/>
                  </a:lnTo>
                  <a:lnTo>
                    <a:pt x="438" y="56"/>
                  </a:lnTo>
                  <a:lnTo>
                    <a:pt x="461" y="48"/>
                  </a:lnTo>
                  <a:lnTo>
                    <a:pt x="461" y="56"/>
                  </a:lnTo>
                  <a:lnTo>
                    <a:pt x="470" y="48"/>
                  </a:lnTo>
                  <a:lnTo>
                    <a:pt x="479" y="56"/>
                  </a:lnTo>
                  <a:lnTo>
                    <a:pt x="504" y="56"/>
                  </a:lnTo>
                  <a:lnTo>
                    <a:pt x="510" y="56"/>
                  </a:lnTo>
                  <a:lnTo>
                    <a:pt x="519" y="63"/>
                  </a:lnTo>
                  <a:lnTo>
                    <a:pt x="519" y="72"/>
                  </a:lnTo>
                  <a:lnTo>
                    <a:pt x="479" y="72"/>
                  </a:lnTo>
                  <a:lnTo>
                    <a:pt x="470" y="97"/>
                  </a:lnTo>
                  <a:lnTo>
                    <a:pt x="479" y="88"/>
                  </a:lnTo>
                  <a:lnTo>
                    <a:pt x="470" y="122"/>
                  </a:lnTo>
                  <a:lnTo>
                    <a:pt x="470" y="137"/>
                  </a:lnTo>
                  <a:lnTo>
                    <a:pt x="470" y="145"/>
                  </a:lnTo>
                  <a:lnTo>
                    <a:pt x="479" y="145"/>
                  </a:lnTo>
                  <a:lnTo>
                    <a:pt x="485" y="137"/>
                  </a:lnTo>
                  <a:lnTo>
                    <a:pt x="485" y="103"/>
                  </a:lnTo>
                  <a:lnTo>
                    <a:pt x="494" y="88"/>
                  </a:lnTo>
                  <a:lnTo>
                    <a:pt x="504" y="81"/>
                  </a:lnTo>
                  <a:lnTo>
                    <a:pt x="504" y="72"/>
                  </a:lnTo>
                  <a:lnTo>
                    <a:pt x="526" y="81"/>
                  </a:lnTo>
                  <a:lnTo>
                    <a:pt x="526" y="97"/>
                  </a:lnTo>
                  <a:lnTo>
                    <a:pt x="519" y="113"/>
                  </a:lnTo>
                  <a:lnTo>
                    <a:pt x="535" y="103"/>
                  </a:lnTo>
                  <a:lnTo>
                    <a:pt x="535" y="122"/>
                  </a:lnTo>
                  <a:lnTo>
                    <a:pt x="544" y="122"/>
                  </a:lnTo>
                  <a:lnTo>
                    <a:pt x="526" y="145"/>
                  </a:lnTo>
                  <a:lnTo>
                    <a:pt x="535" y="145"/>
                  </a:lnTo>
                  <a:lnTo>
                    <a:pt x="551" y="145"/>
                  </a:lnTo>
                  <a:lnTo>
                    <a:pt x="584" y="122"/>
                  </a:lnTo>
                  <a:lnTo>
                    <a:pt x="584" y="113"/>
                  </a:lnTo>
                  <a:lnTo>
                    <a:pt x="616" y="113"/>
                  </a:lnTo>
                  <a:lnTo>
                    <a:pt x="616" y="97"/>
                  </a:lnTo>
                  <a:lnTo>
                    <a:pt x="632" y="88"/>
                  </a:lnTo>
                  <a:lnTo>
                    <a:pt x="672" y="88"/>
                  </a:lnTo>
                  <a:lnTo>
                    <a:pt x="690" y="81"/>
                  </a:lnTo>
                  <a:lnTo>
                    <a:pt x="706" y="40"/>
                  </a:lnTo>
                  <a:lnTo>
                    <a:pt x="713" y="48"/>
                  </a:lnTo>
                  <a:lnTo>
                    <a:pt x="721" y="40"/>
                  </a:lnTo>
                  <a:lnTo>
                    <a:pt x="721" y="48"/>
                  </a:lnTo>
                  <a:lnTo>
                    <a:pt x="730" y="72"/>
                  </a:lnTo>
                  <a:lnTo>
                    <a:pt x="738" y="81"/>
                  </a:lnTo>
                  <a:lnTo>
                    <a:pt x="738" y="88"/>
                  </a:lnTo>
                  <a:lnTo>
                    <a:pt x="730" y="97"/>
                  </a:lnTo>
                  <a:lnTo>
                    <a:pt x="713" y="97"/>
                  </a:lnTo>
                  <a:lnTo>
                    <a:pt x="681" y="128"/>
                  </a:lnTo>
                  <a:lnTo>
                    <a:pt x="690" y="145"/>
                  </a:lnTo>
                  <a:lnTo>
                    <a:pt x="696" y="137"/>
                  </a:lnTo>
                  <a:lnTo>
                    <a:pt x="696" y="153"/>
                  </a:lnTo>
                  <a:lnTo>
                    <a:pt x="672" y="145"/>
                  </a:lnTo>
                  <a:lnTo>
                    <a:pt x="656" y="153"/>
                  </a:lnTo>
                  <a:lnTo>
                    <a:pt x="647" y="162"/>
                  </a:lnTo>
                  <a:lnTo>
                    <a:pt x="641" y="194"/>
                  </a:lnTo>
                  <a:lnTo>
                    <a:pt x="632" y="185"/>
                  </a:lnTo>
                  <a:lnTo>
                    <a:pt x="632" y="194"/>
                  </a:lnTo>
                  <a:lnTo>
                    <a:pt x="624" y="218"/>
                  </a:lnTo>
                  <a:lnTo>
                    <a:pt x="624" y="202"/>
                  </a:lnTo>
                  <a:lnTo>
                    <a:pt x="616" y="194"/>
                  </a:lnTo>
                  <a:lnTo>
                    <a:pt x="616" y="178"/>
                  </a:lnTo>
                  <a:lnTo>
                    <a:pt x="607" y="194"/>
                  </a:lnTo>
                  <a:lnTo>
                    <a:pt x="616" y="218"/>
                  </a:lnTo>
                  <a:lnTo>
                    <a:pt x="624" y="242"/>
                  </a:lnTo>
                  <a:lnTo>
                    <a:pt x="616" y="259"/>
                  </a:lnTo>
                  <a:lnTo>
                    <a:pt x="584" y="274"/>
                  </a:lnTo>
                  <a:lnTo>
                    <a:pt x="559" y="299"/>
                  </a:lnTo>
                  <a:lnTo>
                    <a:pt x="551" y="315"/>
                  </a:lnTo>
                  <a:lnTo>
                    <a:pt x="567" y="371"/>
                  </a:lnTo>
                  <a:lnTo>
                    <a:pt x="567" y="396"/>
                  </a:lnTo>
                  <a:lnTo>
                    <a:pt x="559" y="396"/>
                  </a:lnTo>
                  <a:lnTo>
                    <a:pt x="551" y="387"/>
                  </a:lnTo>
                  <a:lnTo>
                    <a:pt x="535" y="371"/>
                  </a:lnTo>
                  <a:lnTo>
                    <a:pt x="535" y="339"/>
                  </a:lnTo>
                  <a:lnTo>
                    <a:pt x="519" y="324"/>
                  </a:lnTo>
                  <a:lnTo>
                    <a:pt x="504" y="331"/>
                  </a:lnTo>
                  <a:lnTo>
                    <a:pt x="504" y="324"/>
                  </a:lnTo>
                  <a:lnTo>
                    <a:pt x="454" y="324"/>
                  </a:lnTo>
                  <a:lnTo>
                    <a:pt x="445" y="331"/>
                  </a:lnTo>
                  <a:lnTo>
                    <a:pt x="454" y="339"/>
                  </a:lnTo>
                  <a:lnTo>
                    <a:pt x="429" y="339"/>
                  </a:lnTo>
                  <a:lnTo>
                    <a:pt x="420" y="331"/>
                  </a:lnTo>
                  <a:lnTo>
                    <a:pt x="397" y="331"/>
                  </a:lnTo>
                  <a:lnTo>
                    <a:pt x="380" y="339"/>
                  </a:lnTo>
                  <a:lnTo>
                    <a:pt x="348" y="364"/>
                  </a:lnTo>
                  <a:lnTo>
                    <a:pt x="348" y="387"/>
                  </a:lnTo>
                  <a:lnTo>
                    <a:pt x="323" y="380"/>
                  </a:lnTo>
                  <a:lnTo>
                    <a:pt x="292" y="331"/>
                  </a:lnTo>
                  <a:lnTo>
                    <a:pt x="283" y="331"/>
                  </a:lnTo>
                  <a:lnTo>
                    <a:pt x="276" y="339"/>
                  </a:lnTo>
                  <a:lnTo>
                    <a:pt x="268" y="339"/>
                  </a:lnTo>
                  <a:lnTo>
                    <a:pt x="252" y="331"/>
                  </a:lnTo>
                  <a:lnTo>
                    <a:pt x="252" y="315"/>
                  </a:lnTo>
                  <a:lnTo>
                    <a:pt x="234" y="299"/>
                  </a:lnTo>
                  <a:lnTo>
                    <a:pt x="169" y="308"/>
                  </a:lnTo>
                  <a:lnTo>
                    <a:pt x="121" y="290"/>
                  </a:lnTo>
                  <a:lnTo>
                    <a:pt x="97" y="290"/>
                  </a:lnTo>
                  <a:lnTo>
                    <a:pt x="88" y="274"/>
                  </a:lnTo>
                  <a:lnTo>
                    <a:pt x="81" y="274"/>
                  </a:lnTo>
                  <a:lnTo>
                    <a:pt x="81" y="267"/>
                  </a:lnTo>
                  <a:lnTo>
                    <a:pt x="47" y="259"/>
                  </a:lnTo>
                  <a:lnTo>
                    <a:pt x="47" y="250"/>
                  </a:lnTo>
                  <a:lnTo>
                    <a:pt x="32" y="234"/>
                  </a:lnTo>
                  <a:lnTo>
                    <a:pt x="32" y="218"/>
                  </a:lnTo>
                  <a:lnTo>
                    <a:pt x="24" y="218"/>
                  </a:lnTo>
                  <a:lnTo>
                    <a:pt x="24" y="210"/>
                  </a:lnTo>
                  <a:lnTo>
                    <a:pt x="32" y="210"/>
                  </a:lnTo>
                  <a:lnTo>
                    <a:pt x="32" y="202"/>
                  </a:lnTo>
                  <a:lnTo>
                    <a:pt x="24" y="202"/>
                  </a:lnTo>
                  <a:lnTo>
                    <a:pt x="7" y="185"/>
                  </a:lnTo>
                  <a:lnTo>
                    <a:pt x="7" y="178"/>
                  </a:lnTo>
                  <a:lnTo>
                    <a:pt x="0" y="169"/>
                  </a:lnTo>
                  <a:lnTo>
                    <a:pt x="7" y="145"/>
                  </a:lnTo>
                  <a:lnTo>
                    <a:pt x="0" y="122"/>
                  </a:lnTo>
                  <a:lnTo>
                    <a:pt x="7" y="63"/>
                  </a:lnTo>
                  <a:lnTo>
                    <a:pt x="0" y="23"/>
                  </a:lnTo>
                  <a:lnTo>
                    <a:pt x="16" y="23"/>
                  </a:lnTo>
                  <a:lnTo>
                    <a:pt x="16" y="40"/>
                  </a:lnTo>
                  <a:lnTo>
                    <a:pt x="24" y="40"/>
                  </a:lnTo>
                  <a:lnTo>
                    <a:pt x="24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8" name="Freeform 25"/>
            <p:cNvSpPr>
              <a:spLocks/>
            </p:cNvSpPr>
            <p:nvPr/>
          </p:nvSpPr>
          <p:spPr bwMode="auto">
            <a:xfrm>
              <a:off x="226" y="1037"/>
              <a:ext cx="627" cy="646"/>
            </a:xfrm>
            <a:custGeom>
              <a:avLst/>
              <a:gdLst>
                <a:gd name="T0" fmla="*/ 4066 w 480"/>
                <a:gd name="T1" fmla="*/ 3868 h 494"/>
                <a:gd name="T2" fmla="*/ 3661 w 480"/>
                <a:gd name="T3" fmla="*/ 3316 h 494"/>
                <a:gd name="T4" fmla="*/ 3515 w 480"/>
                <a:gd name="T5" fmla="*/ 3119 h 494"/>
                <a:gd name="T6" fmla="*/ 3298 w 480"/>
                <a:gd name="T7" fmla="*/ 3255 h 494"/>
                <a:gd name="T8" fmla="*/ 3100 w 480"/>
                <a:gd name="T9" fmla="*/ 2974 h 494"/>
                <a:gd name="T10" fmla="*/ 2884 w 480"/>
                <a:gd name="T11" fmla="*/ 2974 h 494"/>
                <a:gd name="T12" fmla="*/ 2691 w 480"/>
                <a:gd name="T13" fmla="*/ 421 h 494"/>
                <a:gd name="T14" fmla="*/ 2346 w 480"/>
                <a:gd name="T15" fmla="*/ 421 h 494"/>
                <a:gd name="T16" fmla="*/ 1996 w 480"/>
                <a:gd name="T17" fmla="*/ 277 h 494"/>
                <a:gd name="T18" fmla="*/ 1660 w 480"/>
                <a:gd name="T19" fmla="*/ 145 h 494"/>
                <a:gd name="T20" fmla="*/ 1377 w 480"/>
                <a:gd name="T21" fmla="*/ 65 h 494"/>
                <a:gd name="T22" fmla="*/ 1105 w 480"/>
                <a:gd name="T23" fmla="*/ 145 h 494"/>
                <a:gd name="T24" fmla="*/ 767 w 480"/>
                <a:gd name="T25" fmla="*/ 361 h 494"/>
                <a:gd name="T26" fmla="*/ 551 w 480"/>
                <a:gd name="T27" fmla="*/ 488 h 494"/>
                <a:gd name="T28" fmla="*/ 212 w 480"/>
                <a:gd name="T29" fmla="*/ 834 h 494"/>
                <a:gd name="T30" fmla="*/ 422 w 480"/>
                <a:gd name="T31" fmla="*/ 1190 h 494"/>
                <a:gd name="T32" fmla="*/ 631 w 480"/>
                <a:gd name="T33" fmla="*/ 1529 h 494"/>
                <a:gd name="T34" fmla="*/ 422 w 480"/>
                <a:gd name="T35" fmla="*/ 1590 h 494"/>
                <a:gd name="T36" fmla="*/ 340 w 480"/>
                <a:gd name="T37" fmla="*/ 1452 h 494"/>
                <a:gd name="T38" fmla="*/ 0 w 480"/>
                <a:gd name="T39" fmla="*/ 1727 h 494"/>
                <a:gd name="T40" fmla="*/ 152 w 480"/>
                <a:gd name="T41" fmla="*/ 1869 h 494"/>
                <a:gd name="T42" fmla="*/ 283 w 480"/>
                <a:gd name="T43" fmla="*/ 2005 h 494"/>
                <a:gd name="T44" fmla="*/ 551 w 480"/>
                <a:gd name="T45" fmla="*/ 2005 h 494"/>
                <a:gd name="T46" fmla="*/ 696 w 480"/>
                <a:gd name="T47" fmla="*/ 2005 h 494"/>
                <a:gd name="T48" fmla="*/ 696 w 480"/>
                <a:gd name="T49" fmla="*/ 2279 h 494"/>
                <a:gd name="T50" fmla="*/ 502 w 480"/>
                <a:gd name="T51" fmla="*/ 2360 h 494"/>
                <a:gd name="T52" fmla="*/ 340 w 480"/>
                <a:gd name="T53" fmla="*/ 2360 h 494"/>
                <a:gd name="T54" fmla="*/ 422 w 480"/>
                <a:gd name="T55" fmla="*/ 3119 h 494"/>
                <a:gd name="T56" fmla="*/ 631 w 480"/>
                <a:gd name="T57" fmla="*/ 3044 h 494"/>
                <a:gd name="T58" fmla="*/ 631 w 480"/>
                <a:gd name="T59" fmla="*/ 3255 h 494"/>
                <a:gd name="T60" fmla="*/ 893 w 480"/>
                <a:gd name="T61" fmla="*/ 3316 h 494"/>
                <a:gd name="T62" fmla="*/ 969 w 480"/>
                <a:gd name="T63" fmla="*/ 3316 h 494"/>
                <a:gd name="T64" fmla="*/ 1105 w 480"/>
                <a:gd name="T65" fmla="*/ 3472 h 494"/>
                <a:gd name="T66" fmla="*/ 767 w 480"/>
                <a:gd name="T67" fmla="*/ 3868 h 494"/>
                <a:gd name="T68" fmla="*/ 502 w 480"/>
                <a:gd name="T69" fmla="*/ 4029 h 494"/>
                <a:gd name="T70" fmla="*/ 340 w 480"/>
                <a:gd name="T71" fmla="*/ 4213 h 494"/>
                <a:gd name="T72" fmla="*/ 969 w 480"/>
                <a:gd name="T73" fmla="*/ 3868 h 494"/>
                <a:gd name="T74" fmla="*/ 1181 w 480"/>
                <a:gd name="T75" fmla="*/ 3669 h 494"/>
                <a:gd name="T76" fmla="*/ 1587 w 480"/>
                <a:gd name="T77" fmla="*/ 3316 h 494"/>
                <a:gd name="T78" fmla="*/ 1522 w 480"/>
                <a:gd name="T79" fmla="*/ 3183 h 494"/>
                <a:gd name="T80" fmla="*/ 1660 w 480"/>
                <a:gd name="T81" fmla="*/ 2912 h 494"/>
                <a:gd name="T82" fmla="*/ 1928 w 480"/>
                <a:gd name="T83" fmla="*/ 2783 h 494"/>
                <a:gd name="T84" fmla="*/ 1796 w 480"/>
                <a:gd name="T85" fmla="*/ 2912 h 494"/>
                <a:gd name="T86" fmla="*/ 1796 w 480"/>
                <a:gd name="T87" fmla="*/ 3183 h 494"/>
                <a:gd name="T88" fmla="*/ 1796 w 480"/>
                <a:gd name="T89" fmla="*/ 3255 h 494"/>
                <a:gd name="T90" fmla="*/ 2060 w 480"/>
                <a:gd name="T91" fmla="*/ 3119 h 494"/>
                <a:gd name="T92" fmla="*/ 2060 w 480"/>
                <a:gd name="T93" fmla="*/ 2842 h 494"/>
                <a:gd name="T94" fmla="*/ 2547 w 480"/>
                <a:gd name="T95" fmla="*/ 3044 h 494"/>
                <a:gd name="T96" fmla="*/ 2964 w 480"/>
                <a:gd name="T97" fmla="*/ 3119 h 494"/>
                <a:gd name="T98" fmla="*/ 3034 w 480"/>
                <a:gd name="T99" fmla="*/ 3183 h 494"/>
                <a:gd name="T100" fmla="*/ 3587 w 480"/>
                <a:gd name="T101" fmla="*/ 3868 h 494"/>
                <a:gd name="T102" fmla="*/ 3452 w 480"/>
                <a:gd name="T103" fmla="*/ 3472 h 494"/>
                <a:gd name="T104" fmla="*/ 3515 w 480"/>
                <a:gd name="T105" fmla="*/ 3316 h 494"/>
                <a:gd name="T106" fmla="*/ 3661 w 480"/>
                <a:gd name="T107" fmla="*/ 3605 h 494"/>
                <a:gd name="T108" fmla="*/ 3661 w 480"/>
                <a:gd name="T109" fmla="*/ 3669 h 494"/>
                <a:gd name="T110" fmla="*/ 3661 w 480"/>
                <a:gd name="T111" fmla="*/ 3868 h 494"/>
                <a:gd name="T112" fmla="*/ 3711 w 480"/>
                <a:gd name="T113" fmla="*/ 3952 h 494"/>
                <a:gd name="T114" fmla="*/ 3857 w 480"/>
                <a:gd name="T115" fmla="*/ 4029 h 494"/>
                <a:gd name="T116" fmla="*/ 3857 w 480"/>
                <a:gd name="T117" fmla="*/ 3868 h 494"/>
                <a:gd name="T118" fmla="*/ 3924 w 480"/>
                <a:gd name="T119" fmla="*/ 4085 h 494"/>
                <a:gd name="T120" fmla="*/ 4066 w 480"/>
                <a:gd name="T121" fmla="*/ 4085 h 49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80"/>
                <a:gd name="T184" fmla="*/ 0 h 494"/>
                <a:gd name="T185" fmla="*/ 480 w 480"/>
                <a:gd name="T186" fmla="*/ 494 h 49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80" h="494">
                  <a:moveTo>
                    <a:pt x="479" y="478"/>
                  </a:moveTo>
                  <a:lnTo>
                    <a:pt x="479" y="453"/>
                  </a:lnTo>
                  <a:lnTo>
                    <a:pt x="455" y="438"/>
                  </a:lnTo>
                  <a:lnTo>
                    <a:pt x="432" y="388"/>
                  </a:lnTo>
                  <a:lnTo>
                    <a:pt x="423" y="388"/>
                  </a:lnTo>
                  <a:lnTo>
                    <a:pt x="414" y="365"/>
                  </a:lnTo>
                  <a:lnTo>
                    <a:pt x="398" y="372"/>
                  </a:lnTo>
                  <a:lnTo>
                    <a:pt x="389" y="381"/>
                  </a:lnTo>
                  <a:lnTo>
                    <a:pt x="366" y="356"/>
                  </a:lnTo>
                  <a:lnTo>
                    <a:pt x="366" y="348"/>
                  </a:lnTo>
                  <a:lnTo>
                    <a:pt x="341" y="356"/>
                  </a:lnTo>
                  <a:lnTo>
                    <a:pt x="341" y="348"/>
                  </a:lnTo>
                  <a:lnTo>
                    <a:pt x="341" y="65"/>
                  </a:lnTo>
                  <a:lnTo>
                    <a:pt x="317" y="49"/>
                  </a:lnTo>
                  <a:lnTo>
                    <a:pt x="293" y="57"/>
                  </a:lnTo>
                  <a:lnTo>
                    <a:pt x="276" y="49"/>
                  </a:lnTo>
                  <a:lnTo>
                    <a:pt x="261" y="49"/>
                  </a:lnTo>
                  <a:lnTo>
                    <a:pt x="236" y="33"/>
                  </a:lnTo>
                  <a:lnTo>
                    <a:pt x="202" y="33"/>
                  </a:lnTo>
                  <a:lnTo>
                    <a:pt x="196" y="17"/>
                  </a:lnTo>
                  <a:lnTo>
                    <a:pt x="171" y="17"/>
                  </a:lnTo>
                  <a:lnTo>
                    <a:pt x="162" y="8"/>
                  </a:lnTo>
                  <a:lnTo>
                    <a:pt x="147" y="0"/>
                  </a:lnTo>
                  <a:lnTo>
                    <a:pt x="131" y="17"/>
                  </a:lnTo>
                  <a:lnTo>
                    <a:pt x="114" y="24"/>
                  </a:lnTo>
                  <a:lnTo>
                    <a:pt x="90" y="42"/>
                  </a:lnTo>
                  <a:lnTo>
                    <a:pt x="82" y="42"/>
                  </a:lnTo>
                  <a:lnTo>
                    <a:pt x="65" y="57"/>
                  </a:lnTo>
                  <a:lnTo>
                    <a:pt x="59" y="89"/>
                  </a:lnTo>
                  <a:lnTo>
                    <a:pt x="25" y="98"/>
                  </a:lnTo>
                  <a:lnTo>
                    <a:pt x="18" y="114"/>
                  </a:lnTo>
                  <a:lnTo>
                    <a:pt x="50" y="139"/>
                  </a:lnTo>
                  <a:lnTo>
                    <a:pt x="59" y="154"/>
                  </a:lnTo>
                  <a:lnTo>
                    <a:pt x="74" y="179"/>
                  </a:lnTo>
                  <a:lnTo>
                    <a:pt x="74" y="186"/>
                  </a:lnTo>
                  <a:lnTo>
                    <a:pt x="50" y="186"/>
                  </a:lnTo>
                  <a:lnTo>
                    <a:pt x="50" y="170"/>
                  </a:lnTo>
                  <a:lnTo>
                    <a:pt x="40" y="170"/>
                  </a:lnTo>
                  <a:lnTo>
                    <a:pt x="9" y="186"/>
                  </a:lnTo>
                  <a:lnTo>
                    <a:pt x="0" y="202"/>
                  </a:lnTo>
                  <a:lnTo>
                    <a:pt x="18" y="211"/>
                  </a:lnTo>
                  <a:lnTo>
                    <a:pt x="18" y="219"/>
                  </a:lnTo>
                  <a:lnTo>
                    <a:pt x="18" y="226"/>
                  </a:lnTo>
                  <a:lnTo>
                    <a:pt x="34" y="235"/>
                  </a:lnTo>
                  <a:lnTo>
                    <a:pt x="50" y="235"/>
                  </a:lnTo>
                  <a:lnTo>
                    <a:pt x="65" y="235"/>
                  </a:lnTo>
                  <a:lnTo>
                    <a:pt x="82" y="226"/>
                  </a:lnTo>
                  <a:lnTo>
                    <a:pt x="82" y="235"/>
                  </a:lnTo>
                  <a:lnTo>
                    <a:pt x="90" y="251"/>
                  </a:lnTo>
                  <a:lnTo>
                    <a:pt x="82" y="267"/>
                  </a:lnTo>
                  <a:lnTo>
                    <a:pt x="65" y="267"/>
                  </a:lnTo>
                  <a:lnTo>
                    <a:pt x="59" y="276"/>
                  </a:lnTo>
                  <a:lnTo>
                    <a:pt x="50" y="276"/>
                  </a:lnTo>
                  <a:lnTo>
                    <a:pt x="40" y="276"/>
                  </a:lnTo>
                  <a:lnTo>
                    <a:pt x="25" y="316"/>
                  </a:lnTo>
                  <a:lnTo>
                    <a:pt x="50" y="365"/>
                  </a:lnTo>
                  <a:lnTo>
                    <a:pt x="59" y="365"/>
                  </a:lnTo>
                  <a:lnTo>
                    <a:pt x="74" y="356"/>
                  </a:lnTo>
                  <a:lnTo>
                    <a:pt x="74" y="372"/>
                  </a:lnTo>
                  <a:lnTo>
                    <a:pt x="74" y="381"/>
                  </a:lnTo>
                  <a:lnTo>
                    <a:pt x="82" y="388"/>
                  </a:lnTo>
                  <a:lnTo>
                    <a:pt x="106" y="388"/>
                  </a:lnTo>
                  <a:lnTo>
                    <a:pt x="114" y="396"/>
                  </a:lnTo>
                  <a:lnTo>
                    <a:pt x="114" y="388"/>
                  </a:lnTo>
                  <a:lnTo>
                    <a:pt x="131" y="388"/>
                  </a:lnTo>
                  <a:lnTo>
                    <a:pt x="131" y="406"/>
                  </a:lnTo>
                  <a:lnTo>
                    <a:pt x="131" y="421"/>
                  </a:lnTo>
                  <a:lnTo>
                    <a:pt x="90" y="453"/>
                  </a:lnTo>
                  <a:lnTo>
                    <a:pt x="65" y="462"/>
                  </a:lnTo>
                  <a:lnTo>
                    <a:pt x="59" y="471"/>
                  </a:lnTo>
                  <a:lnTo>
                    <a:pt x="34" y="487"/>
                  </a:lnTo>
                  <a:lnTo>
                    <a:pt x="40" y="493"/>
                  </a:lnTo>
                  <a:lnTo>
                    <a:pt x="82" y="471"/>
                  </a:lnTo>
                  <a:lnTo>
                    <a:pt x="114" y="453"/>
                  </a:lnTo>
                  <a:lnTo>
                    <a:pt x="122" y="446"/>
                  </a:lnTo>
                  <a:lnTo>
                    <a:pt x="139" y="429"/>
                  </a:lnTo>
                  <a:lnTo>
                    <a:pt x="179" y="396"/>
                  </a:lnTo>
                  <a:lnTo>
                    <a:pt x="187" y="388"/>
                  </a:lnTo>
                  <a:lnTo>
                    <a:pt x="171" y="381"/>
                  </a:lnTo>
                  <a:lnTo>
                    <a:pt x="179" y="372"/>
                  </a:lnTo>
                  <a:lnTo>
                    <a:pt x="196" y="356"/>
                  </a:lnTo>
                  <a:lnTo>
                    <a:pt x="196" y="341"/>
                  </a:lnTo>
                  <a:lnTo>
                    <a:pt x="221" y="325"/>
                  </a:lnTo>
                  <a:lnTo>
                    <a:pt x="227" y="325"/>
                  </a:lnTo>
                  <a:lnTo>
                    <a:pt x="221" y="332"/>
                  </a:lnTo>
                  <a:lnTo>
                    <a:pt x="211" y="341"/>
                  </a:lnTo>
                  <a:lnTo>
                    <a:pt x="202" y="365"/>
                  </a:lnTo>
                  <a:lnTo>
                    <a:pt x="211" y="372"/>
                  </a:lnTo>
                  <a:lnTo>
                    <a:pt x="202" y="381"/>
                  </a:lnTo>
                  <a:lnTo>
                    <a:pt x="211" y="381"/>
                  </a:lnTo>
                  <a:lnTo>
                    <a:pt x="236" y="365"/>
                  </a:lnTo>
                  <a:lnTo>
                    <a:pt x="243" y="365"/>
                  </a:lnTo>
                  <a:lnTo>
                    <a:pt x="252" y="348"/>
                  </a:lnTo>
                  <a:lnTo>
                    <a:pt x="243" y="332"/>
                  </a:lnTo>
                  <a:lnTo>
                    <a:pt x="268" y="341"/>
                  </a:lnTo>
                  <a:lnTo>
                    <a:pt x="301" y="356"/>
                  </a:lnTo>
                  <a:lnTo>
                    <a:pt x="324" y="356"/>
                  </a:lnTo>
                  <a:lnTo>
                    <a:pt x="349" y="365"/>
                  </a:lnTo>
                  <a:lnTo>
                    <a:pt x="358" y="365"/>
                  </a:lnTo>
                  <a:lnTo>
                    <a:pt x="358" y="372"/>
                  </a:lnTo>
                  <a:lnTo>
                    <a:pt x="398" y="406"/>
                  </a:lnTo>
                  <a:lnTo>
                    <a:pt x="423" y="453"/>
                  </a:lnTo>
                  <a:lnTo>
                    <a:pt x="414" y="413"/>
                  </a:lnTo>
                  <a:lnTo>
                    <a:pt x="407" y="406"/>
                  </a:lnTo>
                  <a:lnTo>
                    <a:pt x="414" y="406"/>
                  </a:lnTo>
                  <a:lnTo>
                    <a:pt x="414" y="388"/>
                  </a:lnTo>
                  <a:lnTo>
                    <a:pt x="423" y="429"/>
                  </a:lnTo>
                  <a:lnTo>
                    <a:pt x="432" y="421"/>
                  </a:lnTo>
                  <a:lnTo>
                    <a:pt x="447" y="438"/>
                  </a:lnTo>
                  <a:lnTo>
                    <a:pt x="432" y="429"/>
                  </a:lnTo>
                  <a:lnTo>
                    <a:pt x="432" y="438"/>
                  </a:lnTo>
                  <a:lnTo>
                    <a:pt x="432" y="453"/>
                  </a:lnTo>
                  <a:lnTo>
                    <a:pt x="438" y="446"/>
                  </a:lnTo>
                  <a:lnTo>
                    <a:pt x="438" y="462"/>
                  </a:lnTo>
                  <a:lnTo>
                    <a:pt x="455" y="487"/>
                  </a:lnTo>
                  <a:lnTo>
                    <a:pt x="455" y="471"/>
                  </a:lnTo>
                  <a:lnTo>
                    <a:pt x="447" y="453"/>
                  </a:lnTo>
                  <a:lnTo>
                    <a:pt x="455" y="453"/>
                  </a:lnTo>
                  <a:lnTo>
                    <a:pt x="455" y="462"/>
                  </a:lnTo>
                  <a:lnTo>
                    <a:pt x="463" y="478"/>
                  </a:lnTo>
                  <a:lnTo>
                    <a:pt x="472" y="487"/>
                  </a:lnTo>
                  <a:lnTo>
                    <a:pt x="479" y="47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9" name="Freeform 26"/>
            <p:cNvSpPr>
              <a:spLocks/>
            </p:cNvSpPr>
            <p:nvPr/>
          </p:nvSpPr>
          <p:spPr bwMode="auto">
            <a:xfrm>
              <a:off x="672" y="877"/>
              <a:ext cx="1431" cy="1123"/>
            </a:xfrm>
            <a:custGeom>
              <a:avLst/>
              <a:gdLst>
                <a:gd name="T0" fmla="*/ 6386 w 1096"/>
                <a:gd name="T1" fmla="*/ 7196 h 860"/>
                <a:gd name="T2" fmla="*/ 6438 w 1096"/>
                <a:gd name="T3" fmla="*/ 6990 h 860"/>
                <a:gd name="T4" fmla="*/ 6515 w 1096"/>
                <a:gd name="T5" fmla="*/ 6645 h 860"/>
                <a:gd name="T6" fmla="*/ 5963 w 1096"/>
                <a:gd name="T7" fmla="*/ 6306 h 860"/>
                <a:gd name="T8" fmla="*/ 5336 w 1096"/>
                <a:gd name="T9" fmla="*/ 6306 h 860"/>
                <a:gd name="T10" fmla="*/ 4943 w 1096"/>
                <a:gd name="T11" fmla="*/ 6101 h 860"/>
                <a:gd name="T12" fmla="*/ 1443 w 1096"/>
                <a:gd name="T13" fmla="*/ 5752 h 860"/>
                <a:gd name="T14" fmla="*/ 1166 w 1096"/>
                <a:gd name="T15" fmla="*/ 5201 h 860"/>
                <a:gd name="T16" fmla="*/ 768 w 1096"/>
                <a:gd name="T17" fmla="*/ 4312 h 860"/>
                <a:gd name="T18" fmla="*/ 407 w 1096"/>
                <a:gd name="T19" fmla="*/ 4253 h 860"/>
                <a:gd name="T20" fmla="*/ 0 w 1096"/>
                <a:gd name="T21" fmla="*/ 3975 h 860"/>
                <a:gd name="T22" fmla="*/ 554 w 1096"/>
                <a:gd name="T23" fmla="*/ 1712 h 860"/>
                <a:gd name="T24" fmla="*/ 1244 w 1096"/>
                <a:gd name="T25" fmla="*/ 1382 h 860"/>
                <a:gd name="T26" fmla="*/ 1580 w 1096"/>
                <a:gd name="T27" fmla="*/ 1443 h 860"/>
                <a:gd name="T28" fmla="*/ 1797 w 1096"/>
                <a:gd name="T29" fmla="*/ 1652 h 860"/>
                <a:gd name="T30" fmla="*/ 2264 w 1096"/>
                <a:gd name="T31" fmla="*/ 1652 h 860"/>
                <a:gd name="T32" fmla="*/ 2882 w 1096"/>
                <a:gd name="T33" fmla="*/ 1862 h 860"/>
                <a:gd name="T34" fmla="*/ 3021 w 1096"/>
                <a:gd name="T35" fmla="*/ 2207 h 860"/>
                <a:gd name="T36" fmla="*/ 3504 w 1096"/>
                <a:gd name="T37" fmla="*/ 1995 h 860"/>
                <a:gd name="T38" fmla="*/ 4259 w 1096"/>
                <a:gd name="T39" fmla="*/ 2134 h 860"/>
                <a:gd name="T40" fmla="*/ 4666 w 1096"/>
                <a:gd name="T41" fmla="*/ 1917 h 860"/>
                <a:gd name="T42" fmla="*/ 4804 w 1096"/>
                <a:gd name="T43" fmla="*/ 1712 h 860"/>
                <a:gd name="T44" fmla="*/ 4867 w 1096"/>
                <a:gd name="T45" fmla="*/ 2207 h 860"/>
                <a:gd name="T46" fmla="*/ 5076 w 1096"/>
                <a:gd name="T47" fmla="*/ 1652 h 860"/>
                <a:gd name="T48" fmla="*/ 4999 w 1096"/>
                <a:gd name="T49" fmla="*/ 891 h 860"/>
                <a:gd name="T50" fmla="*/ 5213 w 1096"/>
                <a:gd name="T51" fmla="*/ 0 h 860"/>
                <a:gd name="T52" fmla="*/ 5213 w 1096"/>
                <a:gd name="T53" fmla="*/ 551 h 860"/>
                <a:gd name="T54" fmla="*/ 5336 w 1096"/>
                <a:gd name="T55" fmla="*/ 1443 h 860"/>
                <a:gd name="T56" fmla="*/ 5627 w 1096"/>
                <a:gd name="T57" fmla="*/ 1712 h 860"/>
                <a:gd name="T58" fmla="*/ 5885 w 1096"/>
                <a:gd name="T59" fmla="*/ 2259 h 860"/>
                <a:gd name="T60" fmla="*/ 6173 w 1096"/>
                <a:gd name="T61" fmla="*/ 1519 h 860"/>
                <a:gd name="T62" fmla="*/ 6438 w 1096"/>
                <a:gd name="T63" fmla="*/ 1917 h 860"/>
                <a:gd name="T64" fmla="*/ 6438 w 1096"/>
                <a:gd name="T65" fmla="*/ 2331 h 860"/>
                <a:gd name="T66" fmla="*/ 5885 w 1096"/>
                <a:gd name="T67" fmla="*/ 2469 h 860"/>
                <a:gd name="T68" fmla="*/ 5687 w 1096"/>
                <a:gd name="T69" fmla="*/ 3152 h 860"/>
                <a:gd name="T70" fmla="*/ 5287 w 1096"/>
                <a:gd name="T71" fmla="*/ 3489 h 860"/>
                <a:gd name="T72" fmla="*/ 4999 w 1096"/>
                <a:gd name="T73" fmla="*/ 4039 h 860"/>
                <a:gd name="T74" fmla="*/ 5287 w 1096"/>
                <a:gd name="T75" fmla="*/ 4734 h 860"/>
                <a:gd name="T76" fmla="*/ 6046 w 1096"/>
                <a:gd name="T77" fmla="*/ 5012 h 860"/>
                <a:gd name="T78" fmla="*/ 6658 w 1096"/>
                <a:gd name="T79" fmla="*/ 5752 h 860"/>
                <a:gd name="T80" fmla="*/ 6916 w 1096"/>
                <a:gd name="T81" fmla="*/ 4864 h 860"/>
                <a:gd name="T82" fmla="*/ 6855 w 1096"/>
                <a:gd name="T83" fmla="*/ 4253 h 860"/>
                <a:gd name="T84" fmla="*/ 6778 w 1096"/>
                <a:gd name="T85" fmla="*/ 3625 h 860"/>
                <a:gd name="T86" fmla="*/ 7261 w 1096"/>
                <a:gd name="T87" fmla="*/ 3489 h 860"/>
                <a:gd name="T88" fmla="*/ 7750 w 1096"/>
                <a:gd name="T89" fmla="*/ 3838 h 860"/>
                <a:gd name="T90" fmla="*/ 8169 w 1096"/>
                <a:gd name="T91" fmla="*/ 4116 h 860"/>
                <a:gd name="T92" fmla="*/ 8570 w 1096"/>
                <a:gd name="T93" fmla="*/ 4864 h 860"/>
                <a:gd name="T94" fmla="*/ 8911 w 1096"/>
                <a:gd name="T95" fmla="*/ 5068 h 860"/>
                <a:gd name="T96" fmla="*/ 9039 w 1096"/>
                <a:gd name="T97" fmla="*/ 5353 h 860"/>
                <a:gd name="T98" fmla="*/ 9249 w 1096"/>
                <a:gd name="T99" fmla="*/ 5615 h 860"/>
                <a:gd name="T100" fmla="*/ 8570 w 1096"/>
                <a:gd name="T101" fmla="*/ 5962 h 860"/>
                <a:gd name="T102" fmla="*/ 7880 w 1096"/>
                <a:gd name="T103" fmla="*/ 6101 h 860"/>
                <a:gd name="T104" fmla="*/ 7813 w 1096"/>
                <a:gd name="T105" fmla="*/ 6227 h 860"/>
                <a:gd name="T106" fmla="*/ 8297 w 1096"/>
                <a:gd name="T107" fmla="*/ 6227 h 860"/>
                <a:gd name="T108" fmla="*/ 8231 w 1096"/>
                <a:gd name="T109" fmla="*/ 6306 h 860"/>
                <a:gd name="T110" fmla="*/ 8570 w 1096"/>
                <a:gd name="T111" fmla="*/ 6645 h 860"/>
                <a:gd name="T112" fmla="*/ 8779 w 1096"/>
                <a:gd name="T113" fmla="*/ 6568 h 860"/>
                <a:gd name="T114" fmla="*/ 8169 w 1096"/>
                <a:gd name="T115" fmla="*/ 6990 h 860"/>
                <a:gd name="T116" fmla="*/ 8231 w 1096"/>
                <a:gd name="T117" fmla="*/ 6645 h 860"/>
                <a:gd name="T118" fmla="*/ 7880 w 1096"/>
                <a:gd name="T119" fmla="*/ 6439 h 860"/>
                <a:gd name="T120" fmla="*/ 7619 w 1096"/>
                <a:gd name="T121" fmla="*/ 6714 h 860"/>
                <a:gd name="T122" fmla="*/ 6916 w 1096"/>
                <a:gd name="T123" fmla="*/ 6904 h 86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96"/>
                <a:gd name="T187" fmla="*/ 0 h 860"/>
                <a:gd name="T188" fmla="*/ 1096 w 1096"/>
                <a:gd name="T189" fmla="*/ 860 h 86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96" h="860">
                  <a:moveTo>
                    <a:pt x="796" y="817"/>
                  </a:moveTo>
                  <a:lnTo>
                    <a:pt x="796" y="836"/>
                  </a:lnTo>
                  <a:lnTo>
                    <a:pt x="763" y="842"/>
                  </a:lnTo>
                  <a:lnTo>
                    <a:pt x="756" y="851"/>
                  </a:lnTo>
                  <a:lnTo>
                    <a:pt x="738" y="859"/>
                  </a:lnTo>
                  <a:lnTo>
                    <a:pt x="756" y="836"/>
                  </a:lnTo>
                  <a:lnTo>
                    <a:pt x="747" y="836"/>
                  </a:lnTo>
                  <a:lnTo>
                    <a:pt x="763" y="827"/>
                  </a:lnTo>
                  <a:lnTo>
                    <a:pt x="763" y="795"/>
                  </a:lnTo>
                  <a:lnTo>
                    <a:pt x="779" y="811"/>
                  </a:lnTo>
                  <a:lnTo>
                    <a:pt x="788" y="802"/>
                  </a:lnTo>
                  <a:lnTo>
                    <a:pt x="771" y="786"/>
                  </a:lnTo>
                  <a:lnTo>
                    <a:pt x="731" y="777"/>
                  </a:lnTo>
                  <a:lnTo>
                    <a:pt x="722" y="770"/>
                  </a:lnTo>
                  <a:lnTo>
                    <a:pt x="716" y="746"/>
                  </a:lnTo>
                  <a:lnTo>
                    <a:pt x="706" y="746"/>
                  </a:lnTo>
                  <a:lnTo>
                    <a:pt x="697" y="730"/>
                  </a:lnTo>
                  <a:lnTo>
                    <a:pt x="682" y="722"/>
                  </a:lnTo>
                  <a:lnTo>
                    <a:pt x="657" y="746"/>
                  </a:lnTo>
                  <a:lnTo>
                    <a:pt x="632" y="746"/>
                  </a:lnTo>
                  <a:lnTo>
                    <a:pt x="617" y="730"/>
                  </a:lnTo>
                  <a:lnTo>
                    <a:pt x="601" y="730"/>
                  </a:lnTo>
                  <a:lnTo>
                    <a:pt x="592" y="714"/>
                  </a:lnTo>
                  <a:lnTo>
                    <a:pt x="585" y="722"/>
                  </a:lnTo>
                  <a:lnTo>
                    <a:pt x="236" y="722"/>
                  </a:lnTo>
                  <a:lnTo>
                    <a:pt x="228" y="722"/>
                  </a:lnTo>
                  <a:lnTo>
                    <a:pt x="219" y="714"/>
                  </a:lnTo>
                  <a:lnTo>
                    <a:pt x="171" y="680"/>
                  </a:lnTo>
                  <a:lnTo>
                    <a:pt x="162" y="656"/>
                  </a:lnTo>
                  <a:lnTo>
                    <a:pt x="154" y="649"/>
                  </a:lnTo>
                  <a:lnTo>
                    <a:pt x="131" y="625"/>
                  </a:lnTo>
                  <a:lnTo>
                    <a:pt x="138" y="615"/>
                  </a:lnTo>
                  <a:lnTo>
                    <a:pt x="138" y="600"/>
                  </a:lnTo>
                  <a:lnTo>
                    <a:pt x="138" y="575"/>
                  </a:lnTo>
                  <a:lnTo>
                    <a:pt x="114" y="560"/>
                  </a:lnTo>
                  <a:lnTo>
                    <a:pt x="91" y="510"/>
                  </a:lnTo>
                  <a:lnTo>
                    <a:pt x="82" y="510"/>
                  </a:lnTo>
                  <a:lnTo>
                    <a:pt x="73" y="487"/>
                  </a:lnTo>
                  <a:lnTo>
                    <a:pt x="57" y="494"/>
                  </a:lnTo>
                  <a:lnTo>
                    <a:pt x="48" y="503"/>
                  </a:lnTo>
                  <a:lnTo>
                    <a:pt x="25" y="478"/>
                  </a:lnTo>
                  <a:lnTo>
                    <a:pt x="25" y="470"/>
                  </a:lnTo>
                  <a:lnTo>
                    <a:pt x="0" y="478"/>
                  </a:lnTo>
                  <a:lnTo>
                    <a:pt x="0" y="470"/>
                  </a:lnTo>
                  <a:lnTo>
                    <a:pt x="0" y="187"/>
                  </a:lnTo>
                  <a:lnTo>
                    <a:pt x="17" y="187"/>
                  </a:lnTo>
                  <a:lnTo>
                    <a:pt x="66" y="220"/>
                  </a:lnTo>
                  <a:lnTo>
                    <a:pt x="66" y="202"/>
                  </a:lnTo>
                  <a:lnTo>
                    <a:pt x="73" y="195"/>
                  </a:lnTo>
                  <a:lnTo>
                    <a:pt x="91" y="187"/>
                  </a:lnTo>
                  <a:lnTo>
                    <a:pt x="97" y="195"/>
                  </a:lnTo>
                  <a:lnTo>
                    <a:pt x="147" y="164"/>
                  </a:lnTo>
                  <a:lnTo>
                    <a:pt x="147" y="179"/>
                  </a:lnTo>
                  <a:lnTo>
                    <a:pt x="162" y="179"/>
                  </a:lnTo>
                  <a:lnTo>
                    <a:pt x="171" y="155"/>
                  </a:lnTo>
                  <a:lnTo>
                    <a:pt x="187" y="171"/>
                  </a:lnTo>
                  <a:lnTo>
                    <a:pt x="187" y="187"/>
                  </a:lnTo>
                  <a:lnTo>
                    <a:pt x="203" y="195"/>
                  </a:lnTo>
                  <a:lnTo>
                    <a:pt x="212" y="179"/>
                  </a:lnTo>
                  <a:lnTo>
                    <a:pt x="212" y="195"/>
                  </a:lnTo>
                  <a:lnTo>
                    <a:pt x="228" y="195"/>
                  </a:lnTo>
                  <a:lnTo>
                    <a:pt x="228" y="179"/>
                  </a:lnTo>
                  <a:lnTo>
                    <a:pt x="253" y="179"/>
                  </a:lnTo>
                  <a:lnTo>
                    <a:pt x="268" y="195"/>
                  </a:lnTo>
                  <a:lnTo>
                    <a:pt x="284" y="202"/>
                  </a:lnTo>
                  <a:lnTo>
                    <a:pt x="300" y="211"/>
                  </a:lnTo>
                  <a:lnTo>
                    <a:pt x="318" y="211"/>
                  </a:lnTo>
                  <a:lnTo>
                    <a:pt x="341" y="220"/>
                  </a:lnTo>
                  <a:lnTo>
                    <a:pt x="341" y="236"/>
                  </a:lnTo>
                  <a:lnTo>
                    <a:pt x="333" y="242"/>
                  </a:lnTo>
                  <a:lnTo>
                    <a:pt x="333" y="252"/>
                  </a:lnTo>
                  <a:lnTo>
                    <a:pt x="358" y="261"/>
                  </a:lnTo>
                  <a:lnTo>
                    <a:pt x="398" y="242"/>
                  </a:lnTo>
                  <a:lnTo>
                    <a:pt x="423" y="261"/>
                  </a:lnTo>
                  <a:lnTo>
                    <a:pt x="423" y="242"/>
                  </a:lnTo>
                  <a:lnTo>
                    <a:pt x="415" y="236"/>
                  </a:lnTo>
                  <a:lnTo>
                    <a:pt x="423" y="227"/>
                  </a:lnTo>
                  <a:lnTo>
                    <a:pt x="455" y="211"/>
                  </a:lnTo>
                  <a:lnTo>
                    <a:pt x="464" y="236"/>
                  </a:lnTo>
                  <a:lnTo>
                    <a:pt x="504" y="252"/>
                  </a:lnTo>
                  <a:lnTo>
                    <a:pt x="529" y="261"/>
                  </a:lnTo>
                  <a:lnTo>
                    <a:pt x="544" y="261"/>
                  </a:lnTo>
                  <a:lnTo>
                    <a:pt x="544" y="236"/>
                  </a:lnTo>
                  <a:lnTo>
                    <a:pt x="552" y="227"/>
                  </a:lnTo>
                  <a:lnTo>
                    <a:pt x="529" y="211"/>
                  </a:lnTo>
                  <a:lnTo>
                    <a:pt x="544" y="202"/>
                  </a:lnTo>
                  <a:lnTo>
                    <a:pt x="552" y="179"/>
                  </a:lnTo>
                  <a:lnTo>
                    <a:pt x="569" y="202"/>
                  </a:lnTo>
                  <a:lnTo>
                    <a:pt x="585" y="220"/>
                  </a:lnTo>
                  <a:lnTo>
                    <a:pt x="569" y="236"/>
                  </a:lnTo>
                  <a:lnTo>
                    <a:pt x="569" y="252"/>
                  </a:lnTo>
                  <a:lnTo>
                    <a:pt x="577" y="261"/>
                  </a:lnTo>
                  <a:lnTo>
                    <a:pt x="585" y="242"/>
                  </a:lnTo>
                  <a:lnTo>
                    <a:pt x="601" y="227"/>
                  </a:lnTo>
                  <a:lnTo>
                    <a:pt x="592" y="211"/>
                  </a:lnTo>
                  <a:lnTo>
                    <a:pt x="601" y="195"/>
                  </a:lnTo>
                  <a:lnTo>
                    <a:pt x="585" y="179"/>
                  </a:lnTo>
                  <a:lnTo>
                    <a:pt x="569" y="164"/>
                  </a:lnTo>
                  <a:lnTo>
                    <a:pt x="577" y="114"/>
                  </a:lnTo>
                  <a:lnTo>
                    <a:pt x="592" y="105"/>
                  </a:lnTo>
                  <a:lnTo>
                    <a:pt x="592" y="65"/>
                  </a:lnTo>
                  <a:lnTo>
                    <a:pt x="585" y="25"/>
                  </a:lnTo>
                  <a:lnTo>
                    <a:pt x="585" y="9"/>
                  </a:lnTo>
                  <a:lnTo>
                    <a:pt x="617" y="0"/>
                  </a:lnTo>
                  <a:lnTo>
                    <a:pt x="641" y="9"/>
                  </a:lnTo>
                  <a:lnTo>
                    <a:pt x="650" y="16"/>
                  </a:lnTo>
                  <a:lnTo>
                    <a:pt x="626" y="65"/>
                  </a:lnTo>
                  <a:lnTo>
                    <a:pt x="617" y="65"/>
                  </a:lnTo>
                  <a:lnTo>
                    <a:pt x="601" y="74"/>
                  </a:lnTo>
                  <a:lnTo>
                    <a:pt x="609" y="90"/>
                  </a:lnTo>
                  <a:lnTo>
                    <a:pt x="601" y="99"/>
                  </a:lnTo>
                  <a:lnTo>
                    <a:pt x="632" y="171"/>
                  </a:lnTo>
                  <a:lnTo>
                    <a:pt x="626" y="187"/>
                  </a:lnTo>
                  <a:lnTo>
                    <a:pt x="632" y="195"/>
                  </a:lnTo>
                  <a:lnTo>
                    <a:pt x="657" y="227"/>
                  </a:lnTo>
                  <a:lnTo>
                    <a:pt x="666" y="202"/>
                  </a:lnTo>
                  <a:lnTo>
                    <a:pt x="682" y="220"/>
                  </a:lnTo>
                  <a:lnTo>
                    <a:pt x="673" y="252"/>
                  </a:lnTo>
                  <a:lnTo>
                    <a:pt x="691" y="267"/>
                  </a:lnTo>
                  <a:lnTo>
                    <a:pt x="697" y="267"/>
                  </a:lnTo>
                  <a:lnTo>
                    <a:pt x="697" y="252"/>
                  </a:lnTo>
                  <a:lnTo>
                    <a:pt x="716" y="242"/>
                  </a:lnTo>
                  <a:lnTo>
                    <a:pt x="716" y="179"/>
                  </a:lnTo>
                  <a:lnTo>
                    <a:pt x="731" y="179"/>
                  </a:lnTo>
                  <a:lnTo>
                    <a:pt x="747" y="187"/>
                  </a:lnTo>
                  <a:lnTo>
                    <a:pt x="747" y="202"/>
                  </a:lnTo>
                  <a:lnTo>
                    <a:pt x="763" y="202"/>
                  </a:lnTo>
                  <a:lnTo>
                    <a:pt x="763" y="227"/>
                  </a:lnTo>
                  <a:lnTo>
                    <a:pt x="747" y="236"/>
                  </a:lnTo>
                  <a:lnTo>
                    <a:pt x="747" y="252"/>
                  </a:lnTo>
                  <a:lnTo>
                    <a:pt x="763" y="261"/>
                  </a:lnTo>
                  <a:lnTo>
                    <a:pt x="763" y="276"/>
                  </a:lnTo>
                  <a:lnTo>
                    <a:pt x="731" y="308"/>
                  </a:lnTo>
                  <a:lnTo>
                    <a:pt x="716" y="301"/>
                  </a:lnTo>
                  <a:lnTo>
                    <a:pt x="716" y="292"/>
                  </a:lnTo>
                  <a:lnTo>
                    <a:pt x="697" y="292"/>
                  </a:lnTo>
                  <a:lnTo>
                    <a:pt x="706" y="308"/>
                  </a:lnTo>
                  <a:lnTo>
                    <a:pt x="691" y="324"/>
                  </a:lnTo>
                  <a:lnTo>
                    <a:pt x="691" y="341"/>
                  </a:lnTo>
                  <a:lnTo>
                    <a:pt x="673" y="373"/>
                  </a:lnTo>
                  <a:lnTo>
                    <a:pt x="657" y="373"/>
                  </a:lnTo>
                  <a:lnTo>
                    <a:pt x="641" y="389"/>
                  </a:lnTo>
                  <a:lnTo>
                    <a:pt x="650" y="406"/>
                  </a:lnTo>
                  <a:lnTo>
                    <a:pt x="626" y="413"/>
                  </a:lnTo>
                  <a:lnTo>
                    <a:pt x="626" y="429"/>
                  </a:lnTo>
                  <a:lnTo>
                    <a:pt x="617" y="429"/>
                  </a:lnTo>
                  <a:lnTo>
                    <a:pt x="609" y="438"/>
                  </a:lnTo>
                  <a:lnTo>
                    <a:pt x="592" y="478"/>
                  </a:lnTo>
                  <a:lnTo>
                    <a:pt x="592" y="503"/>
                  </a:lnTo>
                  <a:lnTo>
                    <a:pt x="601" y="510"/>
                  </a:lnTo>
                  <a:lnTo>
                    <a:pt x="617" y="510"/>
                  </a:lnTo>
                  <a:lnTo>
                    <a:pt x="626" y="560"/>
                  </a:lnTo>
                  <a:lnTo>
                    <a:pt x="641" y="551"/>
                  </a:lnTo>
                  <a:lnTo>
                    <a:pt x="666" y="560"/>
                  </a:lnTo>
                  <a:lnTo>
                    <a:pt x="682" y="575"/>
                  </a:lnTo>
                  <a:lnTo>
                    <a:pt x="716" y="593"/>
                  </a:lnTo>
                  <a:lnTo>
                    <a:pt x="747" y="593"/>
                  </a:lnTo>
                  <a:lnTo>
                    <a:pt x="756" y="600"/>
                  </a:lnTo>
                  <a:lnTo>
                    <a:pt x="756" y="649"/>
                  </a:lnTo>
                  <a:lnTo>
                    <a:pt x="788" y="680"/>
                  </a:lnTo>
                  <a:lnTo>
                    <a:pt x="803" y="665"/>
                  </a:lnTo>
                  <a:lnTo>
                    <a:pt x="788" y="609"/>
                  </a:lnTo>
                  <a:lnTo>
                    <a:pt x="803" y="600"/>
                  </a:lnTo>
                  <a:lnTo>
                    <a:pt x="819" y="575"/>
                  </a:lnTo>
                  <a:lnTo>
                    <a:pt x="812" y="528"/>
                  </a:lnTo>
                  <a:lnTo>
                    <a:pt x="796" y="510"/>
                  </a:lnTo>
                  <a:lnTo>
                    <a:pt x="803" y="503"/>
                  </a:lnTo>
                  <a:lnTo>
                    <a:pt x="812" y="503"/>
                  </a:lnTo>
                  <a:lnTo>
                    <a:pt x="812" y="470"/>
                  </a:lnTo>
                  <a:lnTo>
                    <a:pt x="803" y="463"/>
                  </a:lnTo>
                  <a:lnTo>
                    <a:pt x="812" y="438"/>
                  </a:lnTo>
                  <a:lnTo>
                    <a:pt x="803" y="429"/>
                  </a:lnTo>
                  <a:lnTo>
                    <a:pt x="803" y="423"/>
                  </a:lnTo>
                  <a:lnTo>
                    <a:pt x="812" y="413"/>
                  </a:lnTo>
                  <a:lnTo>
                    <a:pt x="836" y="423"/>
                  </a:lnTo>
                  <a:lnTo>
                    <a:pt x="859" y="413"/>
                  </a:lnTo>
                  <a:lnTo>
                    <a:pt x="893" y="438"/>
                  </a:lnTo>
                  <a:lnTo>
                    <a:pt x="884" y="447"/>
                  </a:lnTo>
                  <a:lnTo>
                    <a:pt x="893" y="454"/>
                  </a:lnTo>
                  <a:lnTo>
                    <a:pt x="918" y="454"/>
                  </a:lnTo>
                  <a:lnTo>
                    <a:pt x="918" y="503"/>
                  </a:lnTo>
                  <a:lnTo>
                    <a:pt x="942" y="528"/>
                  </a:lnTo>
                  <a:lnTo>
                    <a:pt x="974" y="494"/>
                  </a:lnTo>
                  <a:lnTo>
                    <a:pt x="967" y="487"/>
                  </a:lnTo>
                  <a:lnTo>
                    <a:pt x="974" y="470"/>
                  </a:lnTo>
                  <a:lnTo>
                    <a:pt x="1023" y="551"/>
                  </a:lnTo>
                  <a:lnTo>
                    <a:pt x="1015" y="560"/>
                  </a:lnTo>
                  <a:lnTo>
                    <a:pt x="1015" y="575"/>
                  </a:lnTo>
                  <a:lnTo>
                    <a:pt x="1030" y="584"/>
                  </a:lnTo>
                  <a:lnTo>
                    <a:pt x="1030" y="593"/>
                  </a:lnTo>
                  <a:lnTo>
                    <a:pt x="1047" y="600"/>
                  </a:lnTo>
                  <a:lnTo>
                    <a:pt x="1055" y="600"/>
                  </a:lnTo>
                  <a:lnTo>
                    <a:pt x="1070" y="609"/>
                  </a:lnTo>
                  <a:lnTo>
                    <a:pt x="1055" y="615"/>
                  </a:lnTo>
                  <a:lnTo>
                    <a:pt x="1070" y="615"/>
                  </a:lnTo>
                  <a:lnTo>
                    <a:pt x="1070" y="633"/>
                  </a:lnTo>
                  <a:lnTo>
                    <a:pt x="1079" y="633"/>
                  </a:lnTo>
                  <a:lnTo>
                    <a:pt x="1089" y="640"/>
                  </a:lnTo>
                  <a:lnTo>
                    <a:pt x="1089" y="649"/>
                  </a:lnTo>
                  <a:lnTo>
                    <a:pt x="1095" y="665"/>
                  </a:lnTo>
                  <a:lnTo>
                    <a:pt x="1079" y="674"/>
                  </a:lnTo>
                  <a:lnTo>
                    <a:pt x="1055" y="680"/>
                  </a:lnTo>
                  <a:lnTo>
                    <a:pt x="1039" y="705"/>
                  </a:lnTo>
                  <a:lnTo>
                    <a:pt x="1015" y="705"/>
                  </a:lnTo>
                  <a:lnTo>
                    <a:pt x="990" y="697"/>
                  </a:lnTo>
                  <a:lnTo>
                    <a:pt x="950" y="705"/>
                  </a:lnTo>
                  <a:lnTo>
                    <a:pt x="942" y="722"/>
                  </a:lnTo>
                  <a:lnTo>
                    <a:pt x="933" y="722"/>
                  </a:lnTo>
                  <a:lnTo>
                    <a:pt x="918" y="730"/>
                  </a:lnTo>
                  <a:lnTo>
                    <a:pt x="893" y="762"/>
                  </a:lnTo>
                  <a:lnTo>
                    <a:pt x="902" y="762"/>
                  </a:lnTo>
                  <a:lnTo>
                    <a:pt x="925" y="737"/>
                  </a:lnTo>
                  <a:lnTo>
                    <a:pt x="950" y="722"/>
                  </a:lnTo>
                  <a:lnTo>
                    <a:pt x="974" y="722"/>
                  </a:lnTo>
                  <a:lnTo>
                    <a:pt x="983" y="722"/>
                  </a:lnTo>
                  <a:lnTo>
                    <a:pt x="983" y="737"/>
                  </a:lnTo>
                  <a:lnTo>
                    <a:pt x="967" y="746"/>
                  </a:lnTo>
                  <a:lnTo>
                    <a:pt x="958" y="746"/>
                  </a:lnTo>
                  <a:lnTo>
                    <a:pt x="967" y="754"/>
                  </a:lnTo>
                  <a:lnTo>
                    <a:pt x="974" y="746"/>
                  </a:lnTo>
                  <a:lnTo>
                    <a:pt x="974" y="770"/>
                  </a:lnTo>
                  <a:lnTo>
                    <a:pt x="983" y="777"/>
                  </a:lnTo>
                  <a:lnTo>
                    <a:pt x="999" y="786"/>
                  </a:lnTo>
                  <a:lnTo>
                    <a:pt x="1015" y="786"/>
                  </a:lnTo>
                  <a:lnTo>
                    <a:pt x="1015" y="777"/>
                  </a:lnTo>
                  <a:lnTo>
                    <a:pt x="1030" y="762"/>
                  </a:lnTo>
                  <a:lnTo>
                    <a:pt x="1030" y="777"/>
                  </a:lnTo>
                  <a:lnTo>
                    <a:pt x="1039" y="777"/>
                  </a:lnTo>
                  <a:lnTo>
                    <a:pt x="1030" y="786"/>
                  </a:lnTo>
                  <a:lnTo>
                    <a:pt x="1023" y="795"/>
                  </a:lnTo>
                  <a:lnTo>
                    <a:pt x="983" y="811"/>
                  </a:lnTo>
                  <a:lnTo>
                    <a:pt x="967" y="827"/>
                  </a:lnTo>
                  <a:lnTo>
                    <a:pt x="958" y="811"/>
                  </a:lnTo>
                  <a:lnTo>
                    <a:pt x="983" y="795"/>
                  </a:lnTo>
                  <a:lnTo>
                    <a:pt x="974" y="795"/>
                  </a:lnTo>
                  <a:lnTo>
                    <a:pt x="974" y="786"/>
                  </a:lnTo>
                  <a:lnTo>
                    <a:pt x="958" y="795"/>
                  </a:lnTo>
                  <a:lnTo>
                    <a:pt x="950" y="795"/>
                  </a:lnTo>
                  <a:lnTo>
                    <a:pt x="942" y="786"/>
                  </a:lnTo>
                  <a:lnTo>
                    <a:pt x="933" y="762"/>
                  </a:lnTo>
                  <a:lnTo>
                    <a:pt x="933" y="754"/>
                  </a:lnTo>
                  <a:lnTo>
                    <a:pt x="925" y="762"/>
                  </a:lnTo>
                  <a:lnTo>
                    <a:pt x="918" y="754"/>
                  </a:lnTo>
                  <a:lnTo>
                    <a:pt x="902" y="795"/>
                  </a:lnTo>
                  <a:lnTo>
                    <a:pt x="884" y="802"/>
                  </a:lnTo>
                  <a:lnTo>
                    <a:pt x="844" y="802"/>
                  </a:lnTo>
                  <a:lnTo>
                    <a:pt x="828" y="811"/>
                  </a:lnTo>
                  <a:lnTo>
                    <a:pt x="819" y="817"/>
                  </a:lnTo>
                  <a:lnTo>
                    <a:pt x="796" y="81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" name="Freeform 27"/>
            <p:cNvSpPr>
              <a:spLocks/>
            </p:cNvSpPr>
            <p:nvPr/>
          </p:nvSpPr>
          <p:spPr bwMode="auto">
            <a:xfrm>
              <a:off x="4264" y="1704"/>
              <a:ext cx="1019" cy="709"/>
            </a:xfrm>
            <a:custGeom>
              <a:avLst/>
              <a:gdLst>
                <a:gd name="T0" fmla="*/ 1643 w 780"/>
                <a:gd name="T1" fmla="*/ 957 h 543"/>
                <a:gd name="T2" fmla="*/ 1862 w 780"/>
                <a:gd name="T3" fmla="*/ 1376 h 543"/>
                <a:gd name="T4" fmla="*/ 2883 w 780"/>
                <a:gd name="T5" fmla="*/ 1713 h 543"/>
                <a:gd name="T6" fmla="*/ 3650 w 780"/>
                <a:gd name="T7" fmla="*/ 1764 h 543"/>
                <a:gd name="T8" fmla="*/ 4072 w 780"/>
                <a:gd name="T9" fmla="*/ 1502 h 543"/>
                <a:gd name="T10" fmla="*/ 4541 w 780"/>
                <a:gd name="T11" fmla="*/ 1294 h 543"/>
                <a:gd name="T12" fmla="*/ 4878 w 780"/>
                <a:gd name="T13" fmla="*/ 1020 h 543"/>
                <a:gd name="T14" fmla="*/ 4541 w 780"/>
                <a:gd name="T15" fmla="*/ 1020 h 543"/>
                <a:gd name="T16" fmla="*/ 4753 w 780"/>
                <a:gd name="T17" fmla="*/ 684 h 543"/>
                <a:gd name="T18" fmla="*/ 5092 w 780"/>
                <a:gd name="T19" fmla="*/ 274 h 543"/>
                <a:gd name="T20" fmla="*/ 5092 w 780"/>
                <a:gd name="T21" fmla="*/ 60 h 543"/>
                <a:gd name="T22" fmla="*/ 5700 w 780"/>
                <a:gd name="T23" fmla="*/ 195 h 543"/>
                <a:gd name="T24" fmla="*/ 6200 w 780"/>
                <a:gd name="T25" fmla="*/ 824 h 543"/>
                <a:gd name="T26" fmla="*/ 6616 w 780"/>
                <a:gd name="T27" fmla="*/ 881 h 543"/>
                <a:gd name="T28" fmla="*/ 6339 w 780"/>
                <a:gd name="T29" fmla="*/ 1376 h 543"/>
                <a:gd name="T30" fmla="*/ 6200 w 780"/>
                <a:gd name="T31" fmla="*/ 1764 h 543"/>
                <a:gd name="T32" fmla="*/ 5915 w 780"/>
                <a:gd name="T33" fmla="*/ 1845 h 543"/>
                <a:gd name="T34" fmla="*/ 5514 w 780"/>
                <a:gd name="T35" fmla="*/ 2110 h 543"/>
                <a:gd name="T36" fmla="*/ 5171 w 780"/>
                <a:gd name="T37" fmla="*/ 2322 h 543"/>
                <a:gd name="T38" fmla="*/ 5237 w 780"/>
                <a:gd name="T39" fmla="*/ 2053 h 543"/>
                <a:gd name="T40" fmla="*/ 4878 w 780"/>
                <a:gd name="T41" fmla="*/ 2243 h 543"/>
                <a:gd name="T42" fmla="*/ 4963 w 780"/>
                <a:gd name="T43" fmla="*/ 2521 h 543"/>
                <a:gd name="T44" fmla="*/ 5304 w 780"/>
                <a:gd name="T45" fmla="*/ 2598 h 543"/>
                <a:gd name="T46" fmla="*/ 4963 w 780"/>
                <a:gd name="T47" fmla="*/ 2794 h 543"/>
                <a:gd name="T48" fmla="*/ 5237 w 780"/>
                <a:gd name="T49" fmla="*/ 3212 h 543"/>
                <a:gd name="T50" fmla="*/ 5019 w 780"/>
                <a:gd name="T51" fmla="*/ 3424 h 543"/>
                <a:gd name="T52" fmla="*/ 5019 w 780"/>
                <a:gd name="T53" fmla="*/ 3814 h 543"/>
                <a:gd name="T54" fmla="*/ 4878 w 780"/>
                <a:gd name="T55" fmla="*/ 4099 h 543"/>
                <a:gd name="T56" fmla="*/ 4619 w 780"/>
                <a:gd name="T57" fmla="*/ 4310 h 543"/>
                <a:gd name="T58" fmla="*/ 4337 w 780"/>
                <a:gd name="T59" fmla="*/ 4310 h 543"/>
                <a:gd name="T60" fmla="*/ 3987 w 780"/>
                <a:gd name="T61" fmla="*/ 4506 h 543"/>
                <a:gd name="T62" fmla="*/ 3786 w 780"/>
                <a:gd name="T63" fmla="*/ 4443 h 543"/>
                <a:gd name="T64" fmla="*/ 3587 w 780"/>
                <a:gd name="T65" fmla="*/ 4310 h 543"/>
                <a:gd name="T66" fmla="*/ 3092 w 780"/>
                <a:gd name="T67" fmla="*/ 4310 h 543"/>
                <a:gd name="T68" fmla="*/ 3040 w 780"/>
                <a:gd name="T69" fmla="*/ 4506 h 543"/>
                <a:gd name="T70" fmla="*/ 2883 w 780"/>
                <a:gd name="T71" fmla="*/ 4443 h 543"/>
                <a:gd name="T72" fmla="*/ 2746 w 780"/>
                <a:gd name="T73" fmla="*/ 4233 h 543"/>
                <a:gd name="T74" fmla="*/ 2691 w 780"/>
                <a:gd name="T75" fmla="*/ 3814 h 543"/>
                <a:gd name="T76" fmla="*/ 2413 w 780"/>
                <a:gd name="T77" fmla="*/ 3548 h 543"/>
                <a:gd name="T78" fmla="*/ 1715 w 780"/>
                <a:gd name="T79" fmla="*/ 3682 h 543"/>
                <a:gd name="T80" fmla="*/ 1512 w 780"/>
                <a:gd name="T81" fmla="*/ 3682 h 543"/>
                <a:gd name="T82" fmla="*/ 1101 w 780"/>
                <a:gd name="T83" fmla="*/ 3548 h 543"/>
                <a:gd name="T84" fmla="*/ 745 w 780"/>
                <a:gd name="T85" fmla="*/ 3424 h 543"/>
                <a:gd name="T86" fmla="*/ 618 w 780"/>
                <a:gd name="T87" fmla="*/ 3130 h 543"/>
                <a:gd name="T88" fmla="*/ 696 w 780"/>
                <a:gd name="T89" fmla="*/ 2729 h 543"/>
                <a:gd name="T90" fmla="*/ 274 w 780"/>
                <a:gd name="T91" fmla="*/ 2660 h 543"/>
                <a:gd name="T92" fmla="*/ 133 w 780"/>
                <a:gd name="T93" fmla="*/ 2521 h 543"/>
                <a:gd name="T94" fmla="*/ 0 w 780"/>
                <a:gd name="T95" fmla="*/ 2110 h 543"/>
                <a:gd name="T96" fmla="*/ 340 w 780"/>
                <a:gd name="T97" fmla="*/ 1981 h 543"/>
                <a:gd name="T98" fmla="*/ 745 w 780"/>
                <a:gd name="T99" fmla="*/ 1713 h 543"/>
                <a:gd name="T100" fmla="*/ 895 w 780"/>
                <a:gd name="T101" fmla="*/ 1376 h 543"/>
                <a:gd name="T102" fmla="*/ 1249 w 780"/>
                <a:gd name="T103" fmla="*/ 1084 h 54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80"/>
                <a:gd name="T157" fmla="*/ 0 h 543"/>
                <a:gd name="T158" fmla="*/ 780 w 780"/>
                <a:gd name="T159" fmla="*/ 543 h 54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80" h="543">
                  <a:moveTo>
                    <a:pt x="162" y="97"/>
                  </a:moveTo>
                  <a:lnTo>
                    <a:pt x="178" y="89"/>
                  </a:lnTo>
                  <a:lnTo>
                    <a:pt x="194" y="113"/>
                  </a:lnTo>
                  <a:lnTo>
                    <a:pt x="212" y="113"/>
                  </a:lnTo>
                  <a:lnTo>
                    <a:pt x="219" y="129"/>
                  </a:lnTo>
                  <a:lnTo>
                    <a:pt x="219" y="162"/>
                  </a:lnTo>
                  <a:lnTo>
                    <a:pt x="268" y="178"/>
                  </a:lnTo>
                  <a:lnTo>
                    <a:pt x="293" y="203"/>
                  </a:lnTo>
                  <a:lnTo>
                    <a:pt x="340" y="203"/>
                  </a:lnTo>
                  <a:lnTo>
                    <a:pt x="364" y="218"/>
                  </a:lnTo>
                  <a:lnTo>
                    <a:pt x="398" y="226"/>
                  </a:lnTo>
                  <a:lnTo>
                    <a:pt x="430" y="209"/>
                  </a:lnTo>
                  <a:lnTo>
                    <a:pt x="463" y="209"/>
                  </a:lnTo>
                  <a:lnTo>
                    <a:pt x="486" y="184"/>
                  </a:lnTo>
                  <a:lnTo>
                    <a:pt x="480" y="178"/>
                  </a:lnTo>
                  <a:lnTo>
                    <a:pt x="495" y="162"/>
                  </a:lnTo>
                  <a:lnTo>
                    <a:pt x="511" y="169"/>
                  </a:lnTo>
                  <a:lnTo>
                    <a:pt x="535" y="153"/>
                  </a:lnTo>
                  <a:lnTo>
                    <a:pt x="551" y="137"/>
                  </a:lnTo>
                  <a:lnTo>
                    <a:pt x="585" y="137"/>
                  </a:lnTo>
                  <a:lnTo>
                    <a:pt x="575" y="121"/>
                  </a:lnTo>
                  <a:lnTo>
                    <a:pt x="567" y="113"/>
                  </a:lnTo>
                  <a:lnTo>
                    <a:pt x="551" y="121"/>
                  </a:lnTo>
                  <a:lnTo>
                    <a:pt x="535" y="121"/>
                  </a:lnTo>
                  <a:lnTo>
                    <a:pt x="535" y="89"/>
                  </a:lnTo>
                  <a:lnTo>
                    <a:pt x="544" y="72"/>
                  </a:lnTo>
                  <a:lnTo>
                    <a:pt x="560" y="81"/>
                  </a:lnTo>
                  <a:lnTo>
                    <a:pt x="585" y="72"/>
                  </a:lnTo>
                  <a:lnTo>
                    <a:pt x="592" y="41"/>
                  </a:lnTo>
                  <a:lnTo>
                    <a:pt x="600" y="32"/>
                  </a:lnTo>
                  <a:lnTo>
                    <a:pt x="600" y="23"/>
                  </a:lnTo>
                  <a:lnTo>
                    <a:pt x="592" y="23"/>
                  </a:lnTo>
                  <a:lnTo>
                    <a:pt x="600" y="7"/>
                  </a:lnTo>
                  <a:lnTo>
                    <a:pt x="632" y="0"/>
                  </a:lnTo>
                  <a:lnTo>
                    <a:pt x="657" y="7"/>
                  </a:lnTo>
                  <a:lnTo>
                    <a:pt x="672" y="23"/>
                  </a:lnTo>
                  <a:lnTo>
                    <a:pt x="690" y="81"/>
                  </a:lnTo>
                  <a:lnTo>
                    <a:pt x="706" y="81"/>
                  </a:lnTo>
                  <a:lnTo>
                    <a:pt x="731" y="97"/>
                  </a:lnTo>
                  <a:lnTo>
                    <a:pt x="731" y="113"/>
                  </a:lnTo>
                  <a:lnTo>
                    <a:pt x="747" y="113"/>
                  </a:lnTo>
                  <a:lnTo>
                    <a:pt x="779" y="104"/>
                  </a:lnTo>
                  <a:lnTo>
                    <a:pt x="779" y="121"/>
                  </a:lnTo>
                  <a:lnTo>
                    <a:pt x="756" y="169"/>
                  </a:lnTo>
                  <a:lnTo>
                    <a:pt x="747" y="162"/>
                  </a:lnTo>
                  <a:lnTo>
                    <a:pt x="731" y="169"/>
                  </a:lnTo>
                  <a:lnTo>
                    <a:pt x="737" y="194"/>
                  </a:lnTo>
                  <a:lnTo>
                    <a:pt x="731" y="209"/>
                  </a:lnTo>
                  <a:lnTo>
                    <a:pt x="722" y="209"/>
                  </a:lnTo>
                  <a:lnTo>
                    <a:pt x="706" y="218"/>
                  </a:lnTo>
                  <a:lnTo>
                    <a:pt x="697" y="218"/>
                  </a:lnTo>
                  <a:lnTo>
                    <a:pt x="690" y="226"/>
                  </a:lnTo>
                  <a:lnTo>
                    <a:pt x="682" y="226"/>
                  </a:lnTo>
                  <a:lnTo>
                    <a:pt x="650" y="250"/>
                  </a:lnTo>
                  <a:lnTo>
                    <a:pt x="650" y="259"/>
                  </a:lnTo>
                  <a:lnTo>
                    <a:pt x="632" y="259"/>
                  </a:lnTo>
                  <a:lnTo>
                    <a:pt x="609" y="275"/>
                  </a:lnTo>
                  <a:lnTo>
                    <a:pt x="609" y="266"/>
                  </a:lnTo>
                  <a:lnTo>
                    <a:pt x="609" y="259"/>
                  </a:lnTo>
                  <a:lnTo>
                    <a:pt x="617" y="243"/>
                  </a:lnTo>
                  <a:lnTo>
                    <a:pt x="609" y="234"/>
                  </a:lnTo>
                  <a:lnTo>
                    <a:pt x="585" y="259"/>
                  </a:lnTo>
                  <a:lnTo>
                    <a:pt x="575" y="266"/>
                  </a:lnTo>
                  <a:lnTo>
                    <a:pt x="567" y="266"/>
                  </a:lnTo>
                  <a:lnTo>
                    <a:pt x="560" y="275"/>
                  </a:lnTo>
                  <a:lnTo>
                    <a:pt x="585" y="299"/>
                  </a:lnTo>
                  <a:lnTo>
                    <a:pt x="600" y="291"/>
                  </a:lnTo>
                  <a:lnTo>
                    <a:pt x="625" y="299"/>
                  </a:lnTo>
                  <a:lnTo>
                    <a:pt x="625" y="308"/>
                  </a:lnTo>
                  <a:lnTo>
                    <a:pt x="617" y="299"/>
                  </a:lnTo>
                  <a:lnTo>
                    <a:pt x="600" y="308"/>
                  </a:lnTo>
                  <a:lnTo>
                    <a:pt x="585" y="331"/>
                  </a:lnTo>
                  <a:lnTo>
                    <a:pt x="592" y="340"/>
                  </a:lnTo>
                  <a:lnTo>
                    <a:pt x="600" y="371"/>
                  </a:lnTo>
                  <a:lnTo>
                    <a:pt x="617" y="380"/>
                  </a:lnTo>
                  <a:lnTo>
                    <a:pt x="609" y="380"/>
                  </a:lnTo>
                  <a:lnTo>
                    <a:pt x="617" y="396"/>
                  </a:lnTo>
                  <a:lnTo>
                    <a:pt x="592" y="405"/>
                  </a:lnTo>
                  <a:lnTo>
                    <a:pt x="617" y="405"/>
                  </a:lnTo>
                  <a:lnTo>
                    <a:pt x="609" y="436"/>
                  </a:lnTo>
                  <a:lnTo>
                    <a:pt x="592" y="452"/>
                  </a:lnTo>
                  <a:lnTo>
                    <a:pt x="585" y="452"/>
                  </a:lnTo>
                  <a:lnTo>
                    <a:pt x="585" y="468"/>
                  </a:lnTo>
                  <a:lnTo>
                    <a:pt x="575" y="485"/>
                  </a:lnTo>
                  <a:lnTo>
                    <a:pt x="567" y="485"/>
                  </a:lnTo>
                  <a:lnTo>
                    <a:pt x="567" y="493"/>
                  </a:lnTo>
                  <a:lnTo>
                    <a:pt x="544" y="510"/>
                  </a:lnTo>
                  <a:lnTo>
                    <a:pt x="520" y="510"/>
                  </a:lnTo>
                  <a:lnTo>
                    <a:pt x="520" y="517"/>
                  </a:lnTo>
                  <a:lnTo>
                    <a:pt x="511" y="510"/>
                  </a:lnTo>
                  <a:lnTo>
                    <a:pt x="511" y="517"/>
                  </a:lnTo>
                  <a:lnTo>
                    <a:pt x="503" y="517"/>
                  </a:lnTo>
                  <a:lnTo>
                    <a:pt x="470" y="533"/>
                  </a:lnTo>
                  <a:lnTo>
                    <a:pt x="463" y="542"/>
                  </a:lnTo>
                  <a:lnTo>
                    <a:pt x="463" y="526"/>
                  </a:lnTo>
                  <a:lnTo>
                    <a:pt x="446" y="526"/>
                  </a:lnTo>
                  <a:lnTo>
                    <a:pt x="438" y="526"/>
                  </a:lnTo>
                  <a:lnTo>
                    <a:pt x="423" y="526"/>
                  </a:lnTo>
                  <a:lnTo>
                    <a:pt x="423" y="510"/>
                  </a:lnTo>
                  <a:lnTo>
                    <a:pt x="405" y="510"/>
                  </a:lnTo>
                  <a:lnTo>
                    <a:pt x="373" y="517"/>
                  </a:lnTo>
                  <a:lnTo>
                    <a:pt x="364" y="510"/>
                  </a:lnTo>
                  <a:lnTo>
                    <a:pt x="364" y="517"/>
                  </a:lnTo>
                  <a:lnTo>
                    <a:pt x="358" y="517"/>
                  </a:lnTo>
                  <a:lnTo>
                    <a:pt x="358" y="533"/>
                  </a:lnTo>
                  <a:lnTo>
                    <a:pt x="349" y="533"/>
                  </a:lnTo>
                  <a:lnTo>
                    <a:pt x="349" y="526"/>
                  </a:lnTo>
                  <a:lnTo>
                    <a:pt x="340" y="526"/>
                  </a:lnTo>
                  <a:lnTo>
                    <a:pt x="324" y="517"/>
                  </a:lnTo>
                  <a:lnTo>
                    <a:pt x="324" y="510"/>
                  </a:lnTo>
                  <a:lnTo>
                    <a:pt x="324" y="502"/>
                  </a:lnTo>
                  <a:lnTo>
                    <a:pt x="317" y="493"/>
                  </a:lnTo>
                  <a:lnTo>
                    <a:pt x="308" y="493"/>
                  </a:lnTo>
                  <a:lnTo>
                    <a:pt x="317" y="452"/>
                  </a:lnTo>
                  <a:lnTo>
                    <a:pt x="308" y="436"/>
                  </a:lnTo>
                  <a:lnTo>
                    <a:pt x="299" y="436"/>
                  </a:lnTo>
                  <a:lnTo>
                    <a:pt x="284" y="420"/>
                  </a:lnTo>
                  <a:lnTo>
                    <a:pt x="268" y="420"/>
                  </a:lnTo>
                  <a:lnTo>
                    <a:pt x="227" y="436"/>
                  </a:lnTo>
                  <a:lnTo>
                    <a:pt x="202" y="436"/>
                  </a:lnTo>
                  <a:lnTo>
                    <a:pt x="194" y="445"/>
                  </a:lnTo>
                  <a:lnTo>
                    <a:pt x="187" y="436"/>
                  </a:lnTo>
                  <a:lnTo>
                    <a:pt x="178" y="436"/>
                  </a:lnTo>
                  <a:lnTo>
                    <a:pt x="154" y="436"/>
                  </a:lnTo>
                  <a:lnTo>
                    <a:pt x="137" y="428"/>
                  </a:lnTo>
                  <a:lnTo>
                    <a:pt x="129" y="420"/>
                  </a:lnTo>
                  <a:lnTo>
                    <a:pt x="122" y="420"/>
                  </a:lnTo>
                  <a:lnTo>
                    <a:pt x="106" y="405"/>
                  </a:lnTo>
                  <a:lnTo>
                    <a:pt x="88" y="405"/>
                  </a:lnTo>
                  <a:lnTo>
                    <a:pt x="65" y="396"/>
                  </a:lnTo>
                  <a:lnTo>
                    <a:pt x="57" y="371"/>
                  </a:lnTo>
                  <a:lnTo>
                    <a:pt x="73" y="371"/>
                  </a:lnTo>
                  <a:lnTo>
                    <a:pt x="65" y="355"/>
                  </a:lnTo>
                  <a:lnTo>
                    <a:pt x="82" y="340"/>
                  </a:lnTo>
                  <a:lnTo>
                    <a:pt x="82" y="323"/>
                  </a:lnTo>
                  <a:lnTo>
                    <a:pt x="73" y="315"/>
                  </a:lnTo>
                  <a:lnTo>
                    <a:pt x="48" y="323"/>
                  </a:lnTo>
                  <a:lnTo>
                    <a:pt x="32" y="315"/>
                  </a:lnTo>
                  <a:lnTo>
                    <a:pt x="25" y="308"/>
                  </a:lnTo>
                  <a:lnTo>
                    <a:pt x="8" y="299"/>
                  </a:lnTo>
                  <a:lnTo>
                    <a:pt x="16" y="299"/>
                  </a:lnTo>
                  <a:lnTo>
                    <a:pt x="16" y="275"/>
                  </a:lnTo>
                  <a:lnTo>
                    <a:pt x="0" y="275"/>
                  </a:lnTo>
                  <a:lnTo>
                    <a:pt x="0" y="250"/>
                  </a:lnTo>
                  <a:lnTo>
                    <a:pt x="16" y="243"/>
                  </a:lnTo>
                  <a:lnTo>
                    <a:pt x="32" y="243"/>
                  </a:lnTo>
                  <a:lnTo>
                    <a:pt x="40" y="234"/>
                  </a:lnTo>
                  <a:lnTo>
                    <a:pt x="57" y="234"/>
                  </a:lnTo>
                  <a:lnTo>
                    <a:pt x="82" y="218"/>
                  </a:lnTo>
                  <a:lnTo>
                    <a:pt x="88" y="203"/>
                  </a:lnTo>
                  <a:lnTo>
                    <a:pt x="82" y="169"/>
                  </a:lnTo>
                  <a:lnTo>
                    <a:pt x="82" y="162"/>
                  </a:lnTo>
                  <a:lnTo>
                    <a:pt x="106" y="162"/>
                  </a:lnTo>
                  <a:lnTo>
                    <a:pt x="113" y="129"/>
                  </a:lnTo>
                  <a:lnTo>
                    <a:pt x="137" y="129"/>
                  </a:lnTo>
                  <a:lnTo>
                    <a:pt x="147" y="129"/>
                  </a:lnTo>
                  <a:lnTo>
                    <a:pt x="154" y="104"/>
                  </a:lnTo>
                  <a:lnTo>
                    <a:pt x="162" y="9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1" name="Freeform 28"/>
            <p:cNvSpPr>
              <a:spLocks/>
            </p:cNvSpPr>
            <p:nvPr/>
          </p:nvSpPr>
          <p:spPr bwMode="auto">
            <a:xfrm>
              <a:off x="4052" y="2094"/>
              <a:ext cx="276" cy="267"/>
            </a:xfrm>
            <a:custGeom>
              <a:avLst/>
              <a:gdLst>
                <a:gd name="T0" fmla="*/ 65 w 211"/>
                <a:gd name="T1" fmla="*/ 1531 h 204"/>
                <a:gd name="T2" fmla="*/ 65 w 211"/>
                <a:gd name="T3" fmla="*/ 1394 h 204"/>
                <a:gd name="T4" fmla="*/ 196 w 211"/>
                <a:gd name="T5" fmla="*/ 1319 h 204"/>
                <a:gd name="T6" fmla="*/ 133 w 211"/>
                <a:gd name="T7" fmla="*/ 1177 h 204"/>
                <a:gd name="T8" fmla="*/ 65 w 211"/>
                <a:gd name="T9" fmla="*/ 1110 h 204"/>
                <a:gd name="T10" fmla="*/ 0 w 211"/>
                <a:gd name="T11" fmla="*/ 975 h 204"/>
                <a:gd name="T12" fmla="*/ 133 w 211"/>
                <a:gd name="T13" fmla="*/ 1043 h 204"/>
                <a:gd name="T14" fmla="*/ 557 w 211"/>
                <a:gd name="T15" fmla="*/ 975 h 204"/>
                <a:gd name="T16" fmla="*/ 557 w 211"/>
                <a:gd name="T17" fmla="*/ 834 h 204"/>
                <a:gd name="T18" fmla="*/ 620 w 211"/>
                <a:gd name="T19" fmla="*/ 776 h 204"/>
                <a:gd name="T20" fmla="*/ 916 w 211"/>
                <a:gd name="T21" fmla="*/ 699 h 204"/>
                <a:gd name="T22" fmla="*/ 916 w 211"/>
                <a:gd name="T23" fmla="*/ 569 h 204"/>
                <a:gd name="T24" fmla="*/ 972 w 211"/>
                <a:gd name="T25" fmla="*/ 484 h 204"/>
                <a:gd name="T26" fmla="*/ 972 w 211"/>
                <a:gd name="T27" fmla="*/ 421 h 204"/>
                <a:gd name="T28" fmla="*/ 1045 w 211"/>
                <a:gd name="T29" fmla="*/ 421 h 204"/>
                <a:gd name="T30" fmla="*/ 1105 w 211"/>
                <a:gd name="T31" fmla="*/ 276 h 204"/>
                <a:gd name="T32" fmla="*/ 1105 w 211"/>
                <a:gd name="T33" fmla="*/ 135 h 204"/>
                <a:gd name="T34" fmla="*/ 1256 w 211"/>
                <a:gd name="T35" fmla="*/ 79 h 204"/>
                <a:gd name="T36" fmla="*/ 1388 w 211"/>
                <a:gd name="T37" fmla="*/ 0 h 204"/>
                <a:gd name="T38" fmla="*/ 1453 w 211"/>
                <a:gd name="T39" fmla="*/ 0 h 204"/>
                <a:gd name="T40" fmla="*/ 1605 w 211"/>
                <a:gd name="T41" fmla="*/ 79 h 204"/>
                <a:gd name="T42" fmla="*/ 1663 w 211"/>
                <a:gd name="T43" fmla="*/ 135 h 204"/>
                <a:gd name="T44" fmla="*/ 1804 w 211"/>
                <a:gd name="T45" fmla="*/ 209 h 204"/>
                <a:gd name="T46" fmla="*/ 1728 w 211"/>
                <a:gd name="T47" fmla="*/ 276 h 204"/>
                <a:gd name="T48" fmla="*/ 1605 w 211"/>
                <a:gd name="T49" fmla="*/ 359 h 204"/>
                <a:gd name="T50" fmla="*/ 1453 w 211"/>
                <a:gd name="T51" fmla="*/ 276 h 204"/>
                <a:gd name="T52" fmla="*/ 1388 w 211"/>
                <a:gd name="T53" fmla="*/ 359 h 204"/>
                <a:gd name="T54" fmla="*/ 1453 w 211"/>
                <a:gd name="T55" fmla="*/ 421 h 204"/>
                <a:gd name="T56" fmla="*/ 1388 w 211"/>
                <a:gd name="T57" fmla="*/ 569 h 204"/>
                <a:gd name="T58" fmla="*/ 1528 w 211"/>
                <a:gd name="T59" fmla="*/ 618 h 204"/>
                <a:gd name="T60" fmla="*/ 1528 w 211"/>
                <a:gd name="T61" fmla="*/ 699 h 204"/>
                <a:gd name="T62" fmla="*/ 1453 w 211"/>
                <a:gd name="T63" fmla="*/ 699 h 204"/>
                <a:gd name="T64" fmla="*/ 1528 w 211"/>
                <a:gd name="T65" fmla="*/ 776 h 204"/>
                <a:gd name="T66" fmla="*/ 1185 w 211"/>
                <a:gd name="T67" fmla="*/ 1177 h 204"/>
                <a:gd name="T68" fmla="*/ 1045 w 211"/>
                <a:gd name="T69" fmla="*/ 1255 h 204"/>
                <a:gd name="T70" fmla="*/ 972 w 211"/>
                <a:gd name="T71" fmla="*/ 1177 h 204"/>
                <a:gd name="T72" fmla="*/ 916 w 211"/>
                <a:gd name="T73" fmla="*/ 1255 h 204"/>
                <a:gd name="T74" fmla="*/ 916 w 211"/>
                <a:gd name="T75" fmla="*/ 1394 h 204"/>
                <a:gd name="T76" fmla="*/ 972 w 211"/>
                <a:gd name="T77" fmla="*/ 1394 h 204"/>
                <a:gd name="T78" fmla="*/ 972 w 211"/>
                <a:gd name="T79" fmla="*/ 1453 h 204"/>
                <a:gd name="T80" fmla="*/ 1045 w 211"/>
                <a:gd name="T81" fmla="*/ 1453 h 204"/>
                <a:gd name="T82" fmla="*/ 1045 w 211"/>
                <a:gd name="T83" fmla="*/ 1597 h 204"/>
                <a:gd name="T84" fmla="*/ 1045 w 211"/>
                <a:gd name="T85" fmla="*/ 1670 h 204"/>
                <a:gd name="T86" fmla="*/ 829 w 211"/>
                <a:gd name="T87" fmla="*/ 1670 h 204"/>
                <a:gd name="T88" fmla="*/ 750 w 211"/>
                <a:gd name="T89" fmla="*/ 1749 h 204"/>
                <a:gd name="T90" fmla="*/ 700 w 211"/>
                <a:gd name="T91" fmla="*/ 1670 h 204"/>
                <a:gd name="T92" fmla="*/ 620 w 211"/>
                <a:gd name="T93" fmla="*/ 1531 h 204"/>
                <a:gd name="T94" fmla="*/ 409 w 211"/>
                <a:gd name="T95" fmla="*/ 1531 h 204"/>
                <a:gd name="T96" fmla="*/ 276 w 211"/>
                <a:gd name="T97" fmla="*/ 1531 h 204"/>
                <a:gd name="T98" fmla="*/ 65 w 211"/>
                <a:gd name="T99" fmla="*/ 1531 h 20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11"/>
                <a:gd name="T151" fmla="*/ 0 h 204"/>
                <a:gd name="T152" fmla="*/ 211 w 211"/>
                <a:gd name="T153" fmla="*/ 204 h 20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11" h="204">
                  <a:moveTo>
                    <a:pt x="8" y="178"/>
                  </a:moveTo>
                  <a:lnTo>
                    <a:pt x="8" y="162"/>
                  </a:lnTo>
                  <a:lnTo>
                    <a:pt x="23" y="153"/>
                  </a:lnTo>
                  <a:lnTo>
                    <a:pt x="16" y="137"/>
                  </a:lnTo>
                  <a:lnTo>
                    <a:pt x="8" y="129"/>
                  </a:lnTo>
                  <a:lnTo>
                    <a:pt x="0" y="113"/>
                  </a:lnTo>
                  <a:lnTo>
                    <a:pt x="16" y="121"/>
                  </a:lnTo>
                  <a:lnTo>
                    <a:pt x="65" y="113"/>
                  </a:lnTo>
                  <a:lnTo>
                    <a:pt x="65" y="97"/>
                  </a:lnTo>
                  <a:lnTo>
                    <a:pt x="73" y="90"/>
                  </a:lnTo>
                  <a:lnTo>
                    <a:pt x="107" y="81"/>
                  </a:lnTo>
                  <a:lnTo>
                    <a:pt x="107" y="66"/>
                  </a:lnTo>
                  <a:lnTo>
                    <a:pt x="113" y="56"/>
                  </a:lnTo>
                  <a:lnTo>
                    <a:pt x="113" y="49"/>
                  </a:lnTo>
                  <a:lnTo>
                    <a:pt x="122" y="49"/>
                  </a:lnTo>
                  <a:lnTo>
                    <a:pt x="129" y="32"/>
                  </a:lnTo>
                  <a:lnTo>
                    <a:pt x="129" y="16"/>
                  </a:lnTo>
                  <a:lnTo>
                    <a:pt x="147" y="9"/>
                  </a:lnTo>
                  <a:lnTo>
                    <a:pt x="162" y="0"/>
                  </a:lnTo>
                  <a:lnTo>
                    <a:pt x="170" y="0"/>
                  </a:lnTo>
                  <a:lnTo>
                    <a:pt x="187" y="9"/>
                  </a:lnTo>
                  <a:lnTo>
                    <a:pt x="194" y="16"/>
                  </a:lnTo>
                  <a:lnTo>
                    <a:pt x="210" y="24"/>
                  </a:lnTo>
                  <a:lnTo>
                    <a:pt x="202" y="32"/>
                  </a:lnTo>
                  <a:lnTo>
                    <a:pt x="187" y="41"/>
                  </a:lnTo>
                  <a:lnTo>
                    <a:pt x="170" y="32"/>
                  </a:lnTo>
                  <a:lnTo>
                    <a:pt x="162" y="41"/>
                  </a:lnTo>
                  <a:lnTo>
                    <a:pt x="170" y="49"/>
                  </a:lnTo>
                  <a:lnTo>
                    <a:pt x="162" y="66"/>
                  </a:lnTo>
                  <a:lnTo>
                    <a:pt x="178" y="72"/>
                  </a:lnTo>
                  <a:lnTo>
                    <a:pt x="178" y="81"/>
                  </a:lnTo>
                  <a:lnTo>
                    <a:pt x="170" y="81"/>
                  </a:lnTo>
                  <a:lnTo>
                    <a:pt x="178" y="90"/>
                  </a:lnTo>
                  <a:lnTo>
                    <a:pt x="138" y="137"/>
                  </a:lnTo>
                  <a:lnTo>
                    <a:pt x="122" y="146"/>
                  </a:lnTo>
                  <a:lnTo>
                    <a:pt x="113" y="137"/>
                  </a:lnTo>
                  <a:lnTo>
                    <a:pt x="107" y="146"/>
                  </a:lnTo>
                  <a:lnTo>
                    <a:pt x="107" y="162"/>
                  </a:lnTo>
                  <a:lnTo>
                    <a:pt x="113" y="162"/>
                  </a:lnTo>
                  <a:lnTo>
                    <a:pt x="113" y="169"/>
                  </a:lnTo>
                  <a:lnTo>
                    <a:pt x="122" y="169"/>
                  </a:lnTo>
                  <a:lnTo>
                    <a:pt x="122" y="186"/>
                  </a:lnTo>
                  <a:lnTo>
                    <a:pt x="122" y="194"/>
                  </a:lnTo>
                  <a:lnTo>
                    <a:pt x="97" y="194"/>
                  </a:lnTo>
                  <a:lnTo>
                    <a:pt x="88" y="203"/>
                  </a:lnTo>
                  <a:lnTo>
                    <a:pt x="82" y="194"/>
                  </a:lnTo>
                  <a:lnTo>
                    <a:pt x="73" y="178"/>
                  </a:lnTo>
                  <a:lnTo>
                    <a:pt x="48" y="178"/>
                  </a:lnTo>
                  <a:lnTo>
                    <a:pt x="32" y="178"/>
                  </a:lnTo>
                  <a:lnTo>
                    <a:pt x="8" y="17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" name="Freeform 29"/>
            <p:cNvSpPr>
              <a:spLocks/>
            </p:cNvSpPr>
            <p:nvPr/>
          </p:nvSpPr>
          <p:spPr bwMode="auto">
            <a:xfrm>
              <a:off x="4041" y="2064"/>
              <a:ext cx="245" cy="190"/>
            </a:xfrm>
            <a:custGeom>
              <a:avLst/>
              <a:gdLst>
                <a:gd name="T0" fmla="*/ 1488 w 188"/>
                <a:gd name="T1" fmla="*/ 195 h 146"/>
                <a:gd name="T2" fmla="*/ 1424 w 188"/>
                <a:gd name="T3" fmla="*/ 195 h 146"/>
                <a:gd name="T4" fmla="*/ 1298 w 188"/>
                <a:gd name="T5" fmla="*/ 273 h 146"/>
                <a:gd name="T6" fmla="*/ 1152 w 188"/>
                <a:gd name="T7" fmla="*/ 331 h 146"/>
                <a:gd name="T8" fmla="*/ 1152 w 188"/>
                <a:gd name="T9" fmla="*/ 462 h 146"/>
                <a:gd name="T10" fmla="*/ 1093 w 188"/>
                <a:gd name="T11" fmla="*/ 601 h 146"/>
                <a:gd name="T12" fmla="*/ 1015 w 188"/>
                <a:gd name="T13" fmla="*/ 601 h 146"/>
                <a:gd name="T14" fmla="*/ 1015 w 188"/>
                <a:gd name="T15" fmla="*/ 657 h 146"/>
                <a:gd name="T16" fmla="*/ 967 w 188"/>
                <a:gd name="T17" fmla="*/ 740 h 146"/>
                <a:gd name="T18" fmla="*/ 967 w 188"/>
                <a:gd name="T19" fmla="*/ 865 h 146"/>
                <a:gd name="T20" fmla="*/ 682 w 188"/>
                <a:gd name="T21" fmla="*/ 938 h 146"/>
                <a:gd name="T22" fmla="*/ 611 w 188"/>
                <a:gd name="T23" fmla="*/ 989 h 146"/>
                <a:gd name="T24" fmla="*/ 611 w 188"/>
                <a:gd name="T25" fmla="*/ 1126 h 146"/>
                <a:gd name="T26" fmla="*/ 211 w 188"/>
                <a:gd name="T27" fmla="*/ 1192 h 146"/>
                <a:gd name="T28" fmla="*/ 78 w 188"/>
                <a:gd name="T29" fmla="*/ 1126 h 146"/>
                <a:gd name="T30" fmla="*/ 145 w 188"/>
                <a:gd name="T31" fmla="*/ 989 h 146"/>
                <a:gd name="T32" fmla="*/ 145 w 188"/>
                <a:gd name="T33" fmla="*/ 938 h 146"/>
                <a:gd name="T34" fmla="*/ 0 w 188"/>
                <a:gd name="T35" fmla="*/ 865 h 146"/>
                <a:gd name="T36" fmla="*/ 0 w 188"/>
                <a:gd name="T37" fmla="*/ 601 h 146"/>
                <a:gd name="T38" fmla="*/ 78 w 188"/>
                <a:gd name="T39" fmla="*/ 462 h 146"/>
                <a:gd name="T40" fmla="*/ 78 w 188"/>
                <a:gd name="T41" fmla="*/ 393 h 146"/>
                <a:gd name="T42" fmla="*/ 270 w 188"/>
                <a:gd name="T43" fmla="*/ 393 h 146"/>
                <a:gd name="T44" fmla="*/ 270 w 188"/>
                <a:gd name="T45" fmla="*/ 331 h 146"/>
                <a:gd name="T46" fmla="*/ 418 w 188"/>
                <a:gd name="T47" fmla="*/ 331 h 146"/>
                <a:gd name="T48" fmla="*/ 469 w 188"/>
                <a:gd name="T49" fmla="*/ 195 h 146"/>
                <a:gd name="T50" fmla="*/ 549 w 188"/>
                <a:gd name="T51" fmla="*/ 195 h 146"/>
                <a:gd name="T52" fmla="*/ 549 w 188"/>
                <a:gd name="T53" fmla="*/ 133 h 146"/>
                <a:gd name="T54" fmla="*/ 805 w 188"/>
                <a:gd name="T55" fmla="*/ 195 h 146"/>
                <a:gd name="T56" fmla="*/ 967 w 188"/>
                <a:gd name="T57" fmla="*/ 195 h 146"/>
                <a:gd name="T58" fmla="*/ 967 w 188"/>
                <a:gd name="T59" fmla="*/ 133 h 146"/>
                <a:gd name="T60" fmla="*/ 1015 w 188"/>
                <a:gd name="T61" fmla="*/ 133 h 146"/>
                <a:gd name="T62" fmla="*/ 1093 w 188"/>
                <a:gd name="T63" fmla="*/ 0 h 146"/>
                <a:gd name="T64" fmla="*/ 1152 w 188"/>
                <a:gd name="T65" fmla="*/ 64 h 146"/>
                <a:gd name="T66" fmla="*/ 1226 w 188"/>
                <a:gd name="T67" fmla="*/ 273 h 146"/>
                <a:gd name="T68" fmla="*/ 1349 w 188"/>
                <a:gd name="T69" fmla="*/ 133 h 146"/>
                <a:gd name="T70" fmla="*/ 1557 w 188"/>
                <a:gd name="T71" fmla="*/ 195 h 146"/>
                <a:gd name="T72" fmla="*/ 1488 w 188"/>
                <a:gd name="T73" fmla="*/ 195 h 14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8"/>
                <a:gd name="T112" fmla="*/ 0 h 146"/>
                <a:gd name="T113" fmla="*/ 188 w 188"/>
                <a:gd name="T114" fmla="*/ 146 h 14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8" h="146">
                  <a:moveTo>
                    <a:pt x="179" y="24"/>
                  </a:moveTo>
                  <a:lnTo>
                    <a:pt x="171" y="24"/>
                  </a:lnTo>
                  <a:lnTo>
                    <a:pt x="156" y="33"/>
                  </a:lnTo>
                  <a:lnTo>
                    <a:pt x="138" y="40"/>
                  </a:lnTo>
                  <a:lnTo>
                    <a:pt x="138" y="56"/>
                  </a:lnTo>
                  <a:lnTo>
                    <a:pt x="131" y="73"/>
                  </a:lnTo>
                  <a:lnTo>
                    <a:pt x="122" y="73"/>
                  </a:lnTo>
                  <a:lnTo>
                    <a:pt x="122" y="80"/>
                  </a:lnTo>
                  <a:lnTo>
                    <a:pt x="116" y="90"/>
                  </a:lnTo>
                  <a:lnTo>
                    <a:pt x="116" y="105"/>
                  </a:lnTo>
                  <a:lnTo>
                    <a:pt x="82" y="114"/>
                  </a:lnTo>
                  <a:lnTo>
                    <a:pt x="74" y="121"/>
                  </a:lnTo>
                  <a:lnTo>
                    <a:pt x="74" y="137"/>
                  </a:lnTo>
                  <a:lnTo>
                    <a:pt x="25" y="145"/>
                  </a:lnTo>
                  <a:lnTo>
                    <a:pt x="9" y="137"/>
                  </a:lnTo>
                  <a:lnTo>
                    <a:pt x="17" y="121"/>
                  </a:lnTo>
                  <a:lnTo>
                    <a:pt x="17" y="114"/>
                  </a:lnTo>
                  <a:lnTo>
                    <a:pt x="0" y="105"/>
                  </a:lnTo>
                  <a:lnTo>
                    <a:pt x="0" y="73"/>
                  </a:lnTo>
                  <a:lnTo>
                    <a:pt x="9" y="56"/>
                  </a:lnTo>
                  <a:lnTo>
                    <a:pt x="9" y="48"/>
                  </a:lnTo>
                  <a:lnTo>
                    <a:pt x="32" y="48"/>
                  </a:lnTo>
                  <a:lnTo>
                    <a:pt x="32" y="40"/>
                  </a:lnTo>
                  <a:lnTo>
                    <a:pt x="50" y="40"/>
                  </a:lnTo>
                  <a:lnTo>
                    <a:pt x="57" y="24"/>
                  </a:lnTo>
                  <a:lnTo>
                    <a:pt x="66" y="24"/>
                  </a:lnTo>
                  <a:lnTo>
                    <a:pt x="66" y="16"/>
                  </a:lnTo>
                  <a:lnTo>
                    <a:pt x="97" y="24"/>
                  </a:lnTo>
                  <a:lnTo>
                    <a:pt x="116" y="24"/>
                  </a:lnTo>
                  <a:lnTo>
                    <a:pt x="116" y="16"/>
                  </a:lnTo>
                  <a:lnTo>
                    <a:pt x="122" y="16"/>
                  </a:lnTo>
                  <a:lnTo>
                    <a:pt x="131" y="0"/>
                  </a:lnTo>
                  <a:lnTo>
                    <a:pt x="138" y="8"/>
                  </a:lnTo>
                  <a:lnTo>
                    <a:pt x="147" y="33"/>
                  </a:lnTo>
                  <a:lnTo>
                    <a:pt x="162" y="16"/>
                  </a:lnTo>
                  <a:lnTo>
                    <a:pt x="187" y="24"/>
                  </a:lnTo>
                  <a:lnTo>
                    <a:pt x="179" y="24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" name="Freeform 30"/>
            <p:cNvSpPr>
              <a:spLocks/>
            </p:cNvSpPr>
            <p:nvPr/>
          </p:nvSpPr>
          <p:spPr bwMode="auto">
            <a:xfrm>
              <a:off x="3767" y="2031"/>
              <a:ext cx="317" cy="297"/>
            </a:xfrm>
            <a:custGeom>
              <a:avLst/>
              <a:gdLst>
                <a:gd name="T0" fmla="*/ 1902 w 243"/>
                <a:gd name="T1" fmla="*/ 1885 h 228"/>
                <a:gd name="T2" fmla="*/ 1427 w 243"/>
                <a:gd name="T3" fmla="*/ 1809 h 228"/>
                <a:gd name="T4" fmla="*/ 1357 w 243"/>
                <a:gd name="T5" fmla="*/ 1675 h 228"/>
                <a:gd name="T6" fmla="*/ 1152 w 243"/>
                <a:gd name="T7" fmla="*/ 1748 h 228"/>
                <a:gd name="T8" fmla="*/ 1016 w 243"/>
                <a:gd name="T9" fmla="*/ 1748 h 228"/>
                <a:gd name="T10" fmla="*/ 806 w 243"/>
                <a:gd name="T11" fmla="*/ 1538 h 228"/>
                <a:gd name="T12" fmla="*/ 669 w 243"/>
                <a:gd name="T13" fmla="*/ 1342 h 228"/>
                <a:gd name="T14" fmla="*/ 548 w 243"/>
                <a:gd name="T15" fmla="*/ 1286 h 228"/>
                <a:gd name="T16" fmla="*/ 468 w 243"/>
                <a:gd name="T17" fmla="*/ 1286 h 228"/>
                <a:gd name="T18" fmla="*/ 407 w 243"/>
                <a:gd name="T19" fmla="*/ 1211 h 228"/>
                <a:gd name="T20" fmla="*/ 335 w 243"/>
                <a:gd name="T21" fmla="*/ 1006 h 228"/>
                <a:gd name="T22" fmla="*/ 197 w 243"/>
                <a:gd name="T23" fmla="*/ 952 h 228"/>
                <a:gd name="T24" fmla="*/ 127 w 243"/>
                <a:gd name="T25" fmla="*/ 818 h 228"/>
                <a:gd name="T26" fmla="*/ 197 w 243"/>
                <a:gd name="T27" fmla="*/ 673 h 228"/>
                <a:gd name="T28" fmla="*/ 197 w 243"/>
                <a:gd name="T29" fmla="*/ 543 h 228"/>
                <a:gd name="T30" fmla="*/ 127 w 243"/>
                <a:gd name="T31" fmla="*/ 543 h 228"/>
                <a:gd name="T32" fmla="*/ 65 w 243"/>
                <a:gd name="T33" fmla="*/ 408 h 228"/>
                <a:gd name="T34" fmla="*/ 0 w 243"/>
                <a:gd name="T35" fmla="*/ 78 h 228"/>
                <a:gd name="T36" fmla="*/ 65 w 243"/>
                <a:gd name="T37" fmla="*/ 0 h 228"/>
                <a:gd name="T38" fmla="*/ 127 w 243"/>
                <a:gd name="T39" fmla="*/ 133 h 228"/>
                <a:gd name="T40" fmla="*/ 197 w 243"/>
                <a:gd name="T41" fmla="*/ 133 h 228"/>
                <a:gd name="T42" fmla="*/ 257 w 243"/>
                <a:gd name="T43" fmla="*/ 133 h 228"/>
                <a:gd name="T44" fmla="*/ 407 w 243"/>
                <a:gd name="T45" fmla="*/ 78 h 228"/>
                <a:gd name="T46" fmla="*/ 468 w 243"/>
                <a:gd name="T47" fmla="*/ 78 h 228"/>
                <a:gd name="T48" fmla="*/ 407 w 243"/>
                <a:gd name="T49" fmla="*/ 133 h 228"/>
                <a:gd name="T50" fmla="*/ 548 w 243"/>
                <a:gd name="T51" fmla="*/ 211 h 228"/>
                <a:gd name="T52" fmla="*/ 548 w 243"/>
                <a:gd name="T53" fmla="*/ 336 h 228"/>
                <a:gd name="T54" fmla="*/ 806 w 243"/>
                <a:gd name="T55" fmla="*/ 483 h 228"/>
                <a:gd name="T56" fmla="*/ 1094 w 243"/>
                <a:gd name="T57" fmla="*/ 483 h 228"/>
                <a:gd name="T58" fmla="*/ 1094 w 243"/>
                <a:gd name="T59" fmla="*/ 336 h 228"/>
                <a:gd name="T60" fmla="*/ 1217 w 243"/>
                <a:gd name="T61" fmla="*/ 275 h 228"/>
                <a:gd name="T62" fmla="*/ 1427 w 243"/>
                <a:gd name="T63" fmla="*/ 275 h 228"/>
                <a:gd name="T64" fmla="*/ 1838 w 243"/>
                <a:gd name="T65" fmla="*/ 483 h 228"/>
                <a:gd name="T66" fmla="*/ 1838 w 243"/>
                <a:gd name="T67" fmla="*/ 543 h 228"/>
                <a:gd name="T68" fmla="*/ 1838 w 243"/>
                <a:gd name="T69" fmla="*/ 607 h 228"/>
                <a:gd name="T70" fmla="*/ 1838 w 243"/>
                <a:gd name="T71" fmla="*/ 673 h 228"/>
                <a:gd name="T72" fmla="*/ 1760 w 243"/>
                <a:gd name="T73" fmla="*/ 818 h 228"/>
                <a:gd name="T74" fmla="*/ 1760 w 243"/>
                <a:gd name="T75" fmla="*/ 1076 h 228"/>
                <a:gd name="T76" fmla="*/ 1902 w 243"/>
                <a:gd name="T77" fmla="*/ 1152 h 228"/>
                <a:gd name="T78" fmla="*/ 1902 w 243"/>
                <a:gd name="T79" fmla="*/ 1211 h 228"/>
                <a:gd name="T80" fmla="*/ 1838 w 243"/>
                <a:gd name="T81" fmla="*/ 1342 h 228"/>
                <a:gd name="T82" fmla="*/ 1902 w 243"/>
                <a:gd name="T83" fmla="*/ 1475 h 228"/>
                <a:gd name="T84" fmla="*/ 1971 w 243"/>
                <a:gd name="T85" fmla="*/ 1538 h 228"/>
                <a:gd name="T86" fmla="*/ 2029 w 243"/>
                <a:gd name="T87" fmla="*/ 1675 h 228"/>
                <a:gd name="T88" fmla="*/ 1902 w 243"/>
                <a:gd name="T89" fmla="*/ 1748 h 228"/>
                <a:gd name="T90" fmla="*/ 1902 w 243"/>
                <a:gd name="T91" fmla="*/ 1885 h 22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43"/>
                <a:gd name="T139" fmla="*/ 0 h 228"/>
                <a:gd name="T140" fmla="*/ 243 w 243"/>
                <a:gd name="T141" fmla="*/ 228 h 22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43" h="228">
                  <a:moveTo>
                    <a:pt x="227" y="227"/>
                  </a:moveTo>
                  <a:lnTo>
                    <a:pt x="170" y="218"/>
                  </a:lnTo>
                  <a:lnTo>
                    <a:pt x="162" y="202"/>
                  </a:lnTo>
                  <a:lnTo>
                    <a:pt x="137" y="211"/>
                  </a:lnTo>
                  <a:lnTo>
                    <a:pt x="121" y="211"/>
                  </a:lnTo>
                  <a:lnTo>
                    <a:pt x="96" y="186"/>
                  </a:lnTo>
                  <a:lnTo>
                    <a:pt x="80" y="162"/>
                  </a:lnTo>
                  <a:lnTo>
                    <a:pt x="65" y="155"/>
                  </a:lnTo>
                  <a:lnTo>
                    <a:pt x="56" y="155"/>
                  </a:lnTo>
                  <a:lnTo>
                    <a:pt x="48" y="146"/>
                  </a:lnTo>
                  <a:lnTo>
                    <a:pt x="40" y="121"/>
                  </a:lnTo>
                  <a:lnTo>
                    <a:pt x="24" y="115"/>
                  </a:lnTo>
                  <a:lnTo>
                    <a:pt x="15" y="98"/>
                  </a:lnTo>
                  <a:lnTo>
                    <a:pt x="24" y="81"/>
                  </a:lnTo>
                  <a:lnTo>
                    <a:pt x="24" y="65"/>
                  </a:lnTo>
                  <a:lnTo>
                    <a:pt x="15" y="65"/>
                  </a:lnTo>
                  <a:lnTo>
                    <a:pt x="8" y="49"/>
                  </a:lnTo>
                  <a:lnTo>
                    <a:pt x="0" y="9"/>
                  </a:lnTo>
                  <a:lnTo>
                    <a:pt x="8" y="0"/>
                  </a:lnTo>
                  <a:lnTo>
                    <a:pt x="15" y="16"/>
                  </a:lnTo>
                  <a:lnTo>
                    <a:pt x="24" y="16"/>
                  </a:lnTo>
                  <a:lnTo>
                    <a:pt x="31" y="16"/>
                  </a:lnTo>
                  <a:lnTo>
                    <a:pt x="48" y="9"/>
                  </a:lnTo>
                  <a:lnTo>
                    <a:pt x="56" y="9"/>
                  </a:lnTo>
                  <a:lnTo>
                    <a:pt x="48" y="16"/>
                  </a:lnTo>
                  <a:lnTo>
                    <a:pt x="65" y="25"/>
                  </a:lnTo>
                  <a:lnTo>
                    <a:pt x="65" y="41"/>
                  </a:lnTo>
                  <a:lnTo>
                    <a:pt x="96" y="58"/>
                  </a:lnTo>
                  <a:lnTo>
                    <a:pt x="130" y="58"/>
                  </a:lnTo>
                  <a:lnTo>
                    <a:pt x="130" y="41"/>
                  </a:lnTo>
                  <a:lnTo>
                    <a:pt x="145" y="33"/>
                  </a:lnTo>
                  <a:lnTo>
                    <a:pt x="170" y="33"/>
                  </a:lnTo>
                  <a:lnTo>
                    <a:pt x="219" y="58"/>
                  </a:lnTo>
                  <a:lnTo>
                    <a:pt x="219" y="65"/>
                  </a:lnTo>
                  <a:lnTo>
                    <a:pt x="219" y="73"/>
                  </a:lnTo>
                  <a:lnTo>
                    <a:pt x="219" y="81"/>
                  </a:lnTo>
                  <a:lnTo>
                    <a:pt x="210" y="98"/>
                  </a:lnTo>
                  <a:lnTo>
                    <a:pt x="210" y="130"/>
                  </a:lnTo>
                  <a:lnTo>
                    <a:pt x="227" y="139"/>
                  </a:lnTo>
                  <a:lnTo>
                    <a:pt x="227" y="146"/>
                  </a:lnTo>
                  <a:lnTo>
                    <a:pt x="219" y="162"/>
                  </a:lnTo>
                  <a:lnTo>
                    <a:pt x="227" y="178"/>
                  </a:lnTo>
                  <a:lnTo>
                    <a:pt x="235" y="186"/>
                  </a:lnTo>
                  <a:lnTo>
                    <a:pt x="242" y="202"/>
                  </a:lnTo>
                  <a:lnTo>
                    <a:pt x="227" y="211"/>
                  </a:lnTo>
                  <a:lnTo>
                    <a:pt x="227" y="22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4" name="Freeform 31"/>
            <p:cNvSpPr>
              <a:spLocks/>
            </p:cNvSpPr>
            <p:nvPr/>
          </p:nvSpPr>
          <p:spPr bwMode="auto">
            <a:xfrm>
              <a:off x="4192" y="1958"/>
              <a:ext cx="180" cy="86"/>
            </a:xfrm>
            <a:custGeom>
              <a:avLst/>
              <a:gdLst>
                <a:gd name="T0" fmla="*/ 1150 w 138"/>
                <a:gd name="T1" fmla="*/ 125 h 66"/>
                <a:gd name="T2" fmla="*/ 1150 w 138"/>
                <a:gd name="T3" fmla="*/ 197 h 66"/>
                <a:gd name="T4" fmla="*/ 934 w 138"/>
                <a:gd name="T5" fmla="*/ 335 h 66"/>
                <a:gd name="T6" fmla="*/ 796 w 138"/>
                <a:gd name="T7" fmla="*/ 335 h 66"/>
                <a:gd name="T8" fmla="*/ 723 w 138"/>
                <a:gd name="T9" fmla="*/ 408 h 66"/>
                <a:gd name="T10" fmla="*/ 597 w 138"/>
                <a:gd name="T11" fmla="*/ 408 h 66"/>
                <a:gd name="T12" fmla="*/ 464 w 138"/>
                <a:gd name="T13" fmla="*/ 466 h 66"/>
                <a:gd name="T14" fmla="*/ 464 w 138"/>
                <a:gd name="T15" fmla="*/ 545 h 66"/>
                <a:gd name="T16" fmla="*/ 257 w 138"/>
                <a:gd name="T17" fmla="*/ 545 h 66"/>
                <a:gd name="T18" fmla="*/ 189 w 138"/>
                <a:gd name="T19" fmla="*/ 545 h 66"/>
                <a:gd name="T20" fmla="*/ 0 w 138"/>
                <a:gd name="T21" fmla="*/ 545 h 66"/>
                <a:gd name="T22" fmla="*/ 0 w 138"/>
                <a:gd name="T23" fmla="*/ 466 h 66"/>
                <a:gd name="T24" fmla="*/ 127 w 138"/>
                <a:gd name="T25" fmla="*/ 466 h 66"/>
                <a:gd name="T26" fmla="*/ 127 w 138"/>
                <a:gd name="T27" fmla="*/ 408 h 66"/>
                <a:gd name="T28" fmla="*/ 257 w 138"/>
                <a:gd name="T29" fmla="*/ 408 h 66"/>
                <a:gd name="T30" fmla="*/ 385 w 138"/>
                <a:gd name="T31" fmla="*/ 335 h 66"/>
                <a:gd name="T32" fmla="*/ 257 w 138"/>
                <a:gd name="T33" fmla="*/ 270 h 66"/>
                <a:gd name="T34" fmla="*/ 189 w 138"/>
                <a:gd name="T35" fmla="*/ 270 h 66"/>
                <a:gd name="T36" fmla="*/ 50 w 138"/>
                <a:gd name="T37" fmla="*/ 270 h 66"/>
                <a:gd name="T38" fmla="*/ 189 w 138"/>
                <a:gd name="T39" fmla="*/ 125 h 66"/>
                <a:gd name="T40" fmla="*/ 127 w 138"/>
                <a:gd name="T41" fmla="*/ 125 h 66"/>
                <a:gd name="T42" fmla="*/ 189 w 138"/>
                <a:gd name="T43" fmla="*/ 78 h 66"/>
                <a:gd name="T44" fmla="*/ 385 w 138"/>
                <a:gd name="T45" fmla="*/ 125 h 66"/>
                <a:gd name="T46" fmla="*/ 385 w 138"/>
                <a:gd name="T47" fmla="*/ 78 h 66"/>
                <a:gd name="T48" fmla="*/ 464 w 138"/>
                <a:gd name="T49" fmla="*/ 0 h 66"/>
                <a:gd name="T50" fmla="*/ 597 w 138"/>
                <a:gd name="T51" fmla="*/ 78 h 66"/>
                <a:gd name="T52" fmla="*/ 1007 w 138"/>
                <a:gd name="T53" fmla="*/ 78 h 66"/>
                <a:gd name="T54" fmla="*/ 1150 w 138"/>
                <a:gd name="T55" fmla="*/ 125 h 6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38"/>
                <a:gd name="T85" fmla="*/ 0 h 66"/>
                <a:gd name="T86" fmla="*/ 138 w 138"/>
                <a:gd name="T87" fmla="*/ 66 h 6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38" h="66">
                  <a:moveTo>
                    <a:pt x="137" y="15"/>
                  </a:moveTo>
                  <a:lnTo>
                    <a:pt x="137" y="24"/>
                  </a:lnTo>
                  <a:lnTo>
                    <a:pt x="112" y="40"/>
                  </a:lnTo>
                  <a:lnTo>
                    <a:pt x="95" y="40"/>
                  </a:lnTo>
                  <a:lnTo>
                    <a:pt x="87" y="49"/>
                  </a:lnTo>
                  <a:lnTo>
                    <a:pt x="71" y="49"/>
                  </a:lnTo>
                  <a:lnTo>
                    <a:pt x="55" y="56"/>
                  </a:lnTo>
                  <a:lnTo>
                    <a:pt x="55" y="65"/>
                  </a:lnTo>
                  <a:lnTo>
                    <a:pt x="31" y="65"/>
                  </a:lnTo>
                  <a:lnTo>
                    <a:pt x="22" y="65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15" y="56"/>
                  </a:lnTo>
                  <a:lnTo>
                    <a:pt x="15" y="49"/>
                  </a:lnTo>
                  <a:lnTo>
                    <a:pt x="31" y="49"/>
                  </a:lnTo>
                  <a:lnTo>
                    <a:pt x="46" y="40"/>
                  </a:lnTo>
                  <a:lnTo>
                    <a:pt x="31" y="32"/>
                  </a:lnTo>
                  <a:lnTo>
                    <a:pt x="22" y="32"/>
                  </a:lnTo>
                  <a:lnTo>
                    <a:pt x="6" y="32"/>
                  </a:lnTo>
                  <a:lnTo>
                    <a:pt x="22" y="15"/>
                  </a:lnTo>
                  <a:lnTo>
                    <a:pt x="15" y="15"/>
                  </a:lnTo>
                  <a:lnTo>
                    <a:pt x="22" y="9"/>
                  </a:lnTo>
                  <a:lnTo>
                    <a:pt x="46" y="15"/>
                  </a:lnTo>
                  <a:lnTo>
                    <a:pt x="46" y="9"/>
                  </a:lnTo>
                  <a:lnTo>
                    <a:pt x="55" y="0"/>
                  </a:lnTo>
                  <a:lnTo>
                    <a:pt x="71" y="9"/>
                  </a:lnTo>
                  <a:lnTo>
                    <a:pt x="120" y="9"/>
                  </a:lnTo>
                  <a:lnTo>
                    <a:pt x="137" y="1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5" name="Freeform 32"/>
            <p:cNvSpPr>
              <a:spLocks/>
            </p:cNvSpPr>
            <p:nvPr/>
          </p:nvSpPr>
          <p:spPr bwMode="auto">
            <a:xfrm>
              <a:off x="3903" y="1970"/>
              <a:ext cx="246" cy="157"/>
            </a:xfrm>
            <a:custGeom>
              <a:avLst/>
              <a:gdLst>
                <a:gd name="T0" fmla="*/ 1532 w 188"/>
                <a:gd name="T1" fmla="*/ 771 h 121"/>
                <a:gd name="T2" fmla="*/ 1469 w 188"/>
                <a:gd name="T3" fmla="*/ 706 h 121"/>
                <a:gd name="T4" fmla="*/ 1469 w 188"/>
                <a:gd name="T5" fmla="*/ 771 h 121"/>
                <a:gd name="T6" fmla="*/ 1388 w 188"/>
                <a:gd name="T7" fmla="*/ 771 h 121"/>
                <a:gd name="T8" fmla="*/ 1333 w 188"/>
                <a:gd name="T9" fmla="*/ 898 h 121"/>
                <a:gd name="T10" fmla="*/ 1171 w 188"/>
                <a:gd name="T11" fmla="*/ 898 h 121"/>
                <a:gd name="T12" fmla="*/ 1171 w 188"/>
                <a:gd name="T13" fmla="*/ 963 h 121"/>
                <a:gd name="T14" fmla="*/ 979 w 188"/>
                <a:gd name="T15" fmla="*/ 963 h 121"/>
                <a:gd name="T16" fmla="*/ 979 w 188"/>
                <a:gd name="T17" fmla="*/ 898 h 121"/>
                <a:gd name="T18" fmla="*/ 979 w 188"/>
                <a:gd name="T19" fmla="*/ 838 h 121"/>
                <a:gd name="T20" fmla="*/ 559 w 188"/>
                <a:gd name="T21" fmla="*/ 645 h 121"/>
                <a:gd name="T22" fmla="*/ 340 w 188"/>
                <a:gd name="T23" fmla="*/ 645 h 121"/>
                <a:gd name="T24" fmla="*/ 216 w 188"/>
                <a:gd name="T25" fmla="*/ 706 h 121"/>
                <a:gd name="T26" fmla="*/ 216 w 188"/>
                <a:gd name="T27" fmla="*/ 507 h 121"/>
                <a:gd name="T28" fmla="*/ 135 w 188"/>
                <a:gd name="T29" fmla="*/ 507 h 121"/>
                <a:gd name="T30" fmla="*/ 135 w 188"/>
                <a:gd name="T31" fmla="*/ 380 h 121"/>
                <a:gd name="T32" fmla="*/ 79 w 188"/>
                <a:gd name="T33" fmla="*/ 380 h 121"/>
                <a:gd name="T34" fmla="*/ 79 w 188"/>
                <a:gd name="T35" fmla="*/ 322 h 121"/>
                <a:gd name="T36" fmla="*/ 216 w 188"/>
                <a:gd name="T37" fmla="*/ 322 h 121"/>
                <a:gd name="T38" fmla="*/ 276 w 188"/>
                <a:gd name="T39" fmla="*/ 248 h 121"/>
                <a:gd name="T40" fmla="*/ 135 w 188"/>
                <a:gd name="T41" fmla="*/ 118 h 121"/>
                <a:gd name="T42" fmla="*/ 79 w 188"/>
                <a:gd name="T43" fmla="*/ 118 h 121"/>
                <a:gd name="T44" fmla="*/ 79 w 188"/>
                <a:gd name="T45" fmla="*/ 248 h 121"/>
                <a:gd name="T46" fmla="*/ 0 w 188"/>
                <a:gd name="T47" fmla="*/ 118 h 121"/>
                <a:gd name="T48" fmla="*/ 216 w 188"/>
                <a:gd name="T49" fmla="*/ 49 h 121"/>
                <a:gd name="T50" fmla="*/ 340 w 188"/>
                <a:gd name="T51" fmla="*/ 188 h 121"/>
                <a:gd name="T52" fmla="*/ 421 w 188"/>
                <a:gd name="T53" fmla="*/ 188 h 121"/>
                <a:gd name="T54" fmla="*/ 492 w 188"/>
                <a:gd name="T55" fmla="*/ 188 h 121"/>
                <a:gd name="T56" fmla="*/ 492 w 188"/>
                <a:gd name="T57" fmla="*/ 118 h 121"/>
                <a:gd name="T58" fmla="*/ 637 w 188"/>
                <a:gd name="T59" fmla="*/ 49 h 121"/>
                <a:gd name="T60" fmla="*/ 697 w 188"/>
                <a:gd name="T61" fmla="*/ 49 h 121"/>
                <a:gd name="T62" fmla="*/ 637 w 188"/>
                <a:gd name="T63" fmla="*/ 0 h 121"/>
                <a:gd name="T64" fmla="*/ 697 w 188"/>
                <a:gd name="T65" fmla="*/ 0 h 121"/>
                <a:gd name="T66" fmla="*/ 834 w 188"/>
                <a:gd name="T67" fmla="*/ 49 h 121"/>
                <a:gd name="T68" fmla="*/ 834 w 188"/>
                <a:gd name="T69" fmla="*/ 188 h 121"/>
                <a:gd name="T70" fmla="*/ 1047 w 188"/>
                <a:gd name="T71" fmla="*/ 188 h 121"/>
                <a:gd name="T72" fmla="*/ 1111 w 188"/>
                <a:gd name="T73" fmla="*/ 380 h 121"/>
                <a:gd name="T74" fmla="*/ 1469 w 188"/>
                <a:gd name="T75" fmla="*/ 579 h 121"/>
                <a:gd name="T76" fmla="*/ 1613 w 188"/>
                <a:gd name="T77" fmla="*/ 645 h 121"/>
                <a:gd name="T78" fmla="*/ 1532 w 188"/>
                <a:gd name="T79" fmla="*/ 771 h 12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88"/>
                <a:gd name="T121" fmla="*/ 0 h 121"/>
                <a:gd name="T122" fmla="*/ 188 w 188"/>
                <a:gd name="T123" fmla="*/ 121 h 12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88" h="121">
                  <a:moveTo>
                    <a:pt x="179" y="96"/>
                  </a:moveTo>
                  <a:lnTo>
                    <a:pt x="171" y="88"/>
                  </a:lnTo>
                  <a:lnTo>
                    <a:pt x="171" y="96"/>
                  </a:lnTo>
                  <a:lnTo>
                    <a:pt x="162" y="96"/>
                  </a:lnTo>
                  <a:lnTo>
                    <a:pt x="155" y="112"/>
                  </a:lnTo>
                  <a:lnTo>
                    <a:pt x="137" y="112"/>
                  </a:lnTo>
                  <a:lnTo>
                    <a:pt x="137" y="120"/>
                  </a:lnTo>
                  <a:lnTo>
                    <a:pt x="114" y="120"/>
                  </a:lnTo>
                  <a:lnTo>
                    <a:pt x="114" y="112"/>
                  </a:lnTo>
                  <a:lnTo>
                    <a:pt x="114" y="105"/>
                  </a:lnTo>
                  <a:lnTo>
                    <a:pt x="65" y="80"/>
                  </a:lnTo>
                  <a:lnTo>
                    <a:pt x="40" y="80"/>
                  </a:lnTo>
                  <a:lnTo>
                    <a:pt x="25" y="88"/>
                  </a:lnTo>
                  <a:lnTo>
                    <a:pt x="25" y="63"/>
                  </a:lnTo>
                  <a:lnTo>
                    <a:pt x="16" y="63"/>
                  </a:lnTo>
                  <a:lnTo>
                    <a:pt x="16" y="47"/>
                  </a:lnTo>
                  <a:lnTo>
                    <a:pt x="9" y="47"/>
                  </a:lnTo>
                  <a:lnTo>
                    <a:pt x="9" y="40"/>
                  </a:lnTo>
                  <a:lnTo>
                    <a:pt x="25" y="40"/>
                  </a:lnTo>
                  <a:lnTo>
                    <a:pt x="32" y="31"/>
                  </a:lnTo>
                  <a:lnTo>
                    <a:pt x="16" y="15"/>
                  </a:lnTo>
                  <a:lnTo>
                    <a:pt x="9" y="15"/>
                  </a:lnTo>
                  <a:lnTo>
                    <a:pt x="9" y="31"/>
                  </a:lnTo>
                  <a:lnTo>
                    <a:pt x="0" y="15"/>
                  </a:lnTo>
                  <a:lnTo>
                    <a:pt x="25" y="6"/>
                  </a:lnTo>
                  <a:lnTo>
                    <a:pt x="40" y="23"/>
                  </a:lnTo>
                  <a:lnTo>
                    <a:pt x="49" y="23"/>
                  </a:lnTo>
                  <a:lnTo>
                    <a:pt x="57" y="23"/>
                  </a:lnTo>
                  <a:lnTo>
                    <a:pt x="57" y="15"/>
                  </a:lnTo>
                  <a:lnTo>
                    <a:pt x="74" y="6"/>
                  </a:lnTo>
                  <a:lnTo>
                    <a:pt x="81" y="6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97" y="6"/>
                  </a:lnTo>
                  <a:lnTo>
                    <a:pt x="97" y="23"/>
                  </a:lnTo>
                  <a:lnTo>
                    <a:pt x="122" y="23"/>
                  </a:lnTo>
                  <a:lnTo>
                    <a:pt x="130" y="47"/>
                  </a:lnTo>
                  <a:lnTo>
                    <a:pt x="171" y="72"/>
                  </a:lnTo>
                  <a:lnTo>
                    <a:pt x="187" y="80"/>
                  </a:lnTo>
                  <a:lnTo>
                    <a:pt x="179" y="9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6" name="Freeform 33"/>
            <p:cNvSpPr>
              <a:spLocks/>
            </p:cNvSpPr>
            <p:nvPr/>
          </p:nvSpPr>
          <p:spPr bwMode="auto">
            <a:xfrm>
              <a:off x="3968" y="1904"/>
              <a:ext cx="286" cy="193"/>
            </a:xfrm>
            <a:custGeom>
              <a:avLst/>
              <a:gdLst>
                <a:gd name="T0" fmla="*/ 1102 w 219"/>
                <a:gd name="T1" fmla="*/ 1293 h 147"/>
                <a:gd name="T2" fmla="*/ 1245 w 219"/>
                <a:gd name="T3" fmla="*/ 1293 h 147"/>
                <a:gd name="T4" fmla="*/ 1294 w 219"/>
                <a:gd name="T5" fmla="*/ 1150 h 147"/>
                <a:gd name="T6" fmla="*/ 1294 w 219"/>
                <a:gd name="T7" fmla="*/ 997 h 147"/>
                <a:gd name="T8" fmla="*/ 1245 w 219"/>
                <a:gd name="T9" fmla="*/ 932 h 147"/>
                <a:gd name="T10" fmla="*/ 1376 w 219"/>
                <a:gd name="T11" fmla="*/ 932 h 147"/>
                <a:gd name="T12" fmla="*/ 1456 w 219"/>
                <a:gd name="T13" fmla="*/ 797 h 147"/>
                <a:gd name="T14" fmla="*/ 1456 w 219"/>
                <a:gd name="T15" fmla="*/ 710 h 147"/>
                <a:gd name="T16" fmla="*/ 1587 w 219"/>
                <a:gd name="T17" fmla="*/ 710 h 147"/>
                <a:gd name="T18" fmla="*/ 1587 w 219"/>
                <a:gd name="T19" fmla="*/ 797 h 147"/>
                <a:gd name="T20" fmla="*/ 1717 w 219"/>
                <a:gd name="T21" fmla="*/ 797 h 147"/>
                <a:gd name="T22" fmla="*/ 1847 w 219"/>
                <a:gd name="T23" fmla="*/ 710 h 147"/>
                <a:gd name="T24" fmla="*/ 1717 w 219"/>
                <a:gd name="T25" fmla="*/ 645 h 147"/>
                <a:gd name="T26" fmla="*/ 1638 w 219"/>
                <a:gd name="T27" fmla="*/ 645 h 147"/>
                <a:gd name="T28" fmla="*/ 1504 w 219"/>
                <a:gd name="T29" fmla="*/ 645 h 147"/>
                <a:gd name="T30" fmla="*/ 1638 w 219"/>
                <a:gd name="T31" fmla="*/ 496 h 147"/>
                <a:gd name="T32" fmla="*/ 1587 w 219"/>
                <a:gd name="T33" fmla="*/ 496 h 147"/>
                <a:gd name="T34" fmla="*/ 1376 w 219"/>
                <a:gd name="T35" fmla="*/ 710 h 147"/>
                <a:gd name="T36" fmla="*/ 1294 w 219"/>
                <a:gd name="T37" fmla="*/ 645 h 147"/>
                <a:gd name="T38" fmla="*/ 1166 w 219"/>
                <a:gd name="T39" fmla="*/ 645 h 147"/>
                <a:gd name="T40" fmla="*/ 1166 w 219"/>
                <a:gd name="T41" fmla="*/ 572 h 147"/>
                <a:gd name="T42" fmla="*/ 1102 w 219"/>
                <a:gd name="T43" fmla="*/ 572 h 147"/>
                <a:gd name="T44" fmla="*/ 1102 w 219"/>
                <a:gd name="T45" fmla="*/ 446 h 147"/>
                <a:gd name="T46" fmla="*/ 959 w 219"/>
                <a:gd name="T47" fmla="*/ 276 h 147"/>
                <a:gd name="T48" fmla="*/ 618 w 219"/>
                <a:gd name="T49" fmla="*/ 276 h 147"/>
                <a:gd name="T50" fmla="*/ 407 w 219"/>
                <a:gd name="T51" fmla="*/ 84 h 147"/>
                <a:gd name="T52" fmla="*/ 274 w 219"/>
                <a:gd name="T53" fmla="*/ 0 h 147"/>
                <a:gd name="T54" fmla="*/ 0 w 219"/>
                <a:gd name="T55" fmla="*/ 84 h 147"/>
                <a:gd name="T56" fmla="*/ 0 w 219"/>
                <a:gd name="T57" fmla="*/ 645 h 147"/>
                <a:gd name="T58" fmla="*/ 65 w 219"/>
                <a:gd name="T59" fmla="*/ 645 h 147"/>
                <a:gd name="T60" fmla="*/ 65 w 219"/>
                <a:gd name="T61" fmla="*/ 572 h 147"/>
                <a:gd name="T62" fmla="*/ 212 w 219"/>
                <a:gd name="T63" fmla="*/ 496 h 147"/>
                <a:gd name="T64" fmla="*/ 274 w 219"/>
                <a:gd name="T65" fmla="*/ 496 h 147"/>
                <a:gd name="T66" fmla="*/ 212 w 219"/>
                <a:gd name="T67" fmla="*/ 446 h 147"/>
                <a:gd name="T68" fmla="*/ 274 w 219"/>
                <a:gd name="T69" fmla="*/ 446 h 147"/>
                <a:gd name="T70" fmla="*/ 407 w 219"/>
                <a:gd name="T71" fmla="*/ 496 h 147"/>
                <a:gd name="T72" fmla="*/ 407 w 219"/>
                <a:gd name="T73" fmla="*/ 645 h 147"/>
                <a:gd name="T74" fmla="*/ 618 w 219"/>
                <a:gd name="T75" fmla="*/ 645 h 147"/>
                <a:gd name="T76" fmla="*/ 684 w 219"/>
                <a:gd name="T77" fmla="*/ 855 h 147"/>
                <a:gd name="T78" fmla="*/ 1033 w 219"/>
                <a:gd name="T79" fmla="*/ 1075 h 147"/>
                <a:gd name="T80" fmla="*/ 1166 w 219"/>
                <a:gd name="T81" fmla="*/ 1150 h 147"/>
                <a:gd name="T82" fmla="*/ 1102 w 219"/>
                <a:gd name="T83" fmla="*/ 1293 h 14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19"/>
                <a:gd name="T127" fmla="*/ 0 h 147"/>
                <a:gd name="T128" fmla="*/ 219 w 219"/>
                <a:gd name="T129" fmla="*/ 147 h 14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19" h="147">
                  <a:moveTo>
                    <a:pt x="130" y="146"/>
                  </a:moveTo>
                  <a:lnTo>
                    <a:pt x="147" y="146"/>
                  </a:lnTo>
                  <a:lnTo>
                    <a:pt x="153" y="130"/>
                  </a:lnTo>
                  <a:lnTo>
                    <a:pt x="153" y="113"/>
                  </a:lnTo>
                  <a:lnTo>
                    <a:pt x="147" y="106"/>
                  </a:lnTo>
                  <a:lnTo>
                    <a:pt x="162" y="106"/>
                  </a:lnTo>
                  <a:lnTo>
                    <a:pt x="172" y="90"/>
                  </a:lnTo>
                  <a:lnTo>
                    <a:pt x="172" y="81"/>
                  </a:lnTo>
                  <a:lnTo>
                    <a:pt x="187" y="81"/>
                  </a:lnTo>
                  <a:lnTo>
                    <a:pt x="187" y="90"/>
                  </a:lnTo>
                  <a:lnTo>
                    <a:pt x="203" y="90"/>
                  </a:lnTo>
                  <a:lnTo>
                    <a:pt x="218" y="81"/>
                  </a:lnTo>
                  <a:lnTo>
                    <a:pt x="203" y="73"/>
                  </a:lnTo>
                  <a:lnTo>
                    <a:pt x="194" y="73"/>
                  </a:lnTo>
                  <a:lnTo>
                    <a:pt x="178" y="73"/>
                  </a:lnTo>
                  <a:lnTo>
                    <a:pt x="194" y="56"/>
                  </a:lnTo>
                  <a:lnTo>
                    <a:pt x="187" y="56"/>
                  </a:lnTo>
                  <a:lnTo>
                    <a:pt x="162" y="81"/>
                  </a:lnTo>
                  <a:lnTo>
                    <a:pt x="153" y="73"/>
                  </a:lnTo>
                  <a:lnTo>
                    <a:pt x="138" y="73"/>
                  </a:lnTo>
                  <a:lnTo>
                    <a:pt x="138" y="65"/>
                  </a:lnTo>
                  <a:lnTo>
                    <a:pt x="130" y="65"/>
                  </a:lnTo>
                  <a:lnTo>
                    <a:pt x="130" y="50"/>
                  </a:lnTo>
                  <a:lnTo>
                    <a:pt x="113" y="31"/>
                  </a:lnTo>
                  <a:lnTo>
                    <a:pt x="73" y="31"/>
                  </a:lnTo>
                  <a:lnTo>
                    <a:pt x="48" y="9"/>
                  </a:lnTo>
                  <a:lnTo>
                    <a:pt x="32" y="0"/>
                  </a:lnTo>
                  <a:lnTo>
                    <a:pt x="0" y="9"/>
                  </a:lnTo>
                  <a:lnTo>
                    <a:pt x="0" y="73"/>
                  </a:lnTo>
                  <a:lnTo>
                    <a:pt x="8" y="73"/>
                  </a:lnTo>
                  <a:lnTo>
                    <a:pt x="8" y="65"/>
                  </a:lnTo>
                  <a:lnTo>
                    <a:pt x="25" y="56"/>
                  </a:lnTo>
                  <a:lnTo>
                    <a:pt x="32" y="56"/>
                  </a:lnTo>
                  <a:lnTo>
                    <a:pt x="25" y="50"/>
                  </a:lnTo>
                  <a:lnTo>
                    <a:pt x="32" y="50"/>
                  </a:lnTo>
                  <a:lnTo>
                    <a:pt x="48" y="56"/>
                  </a:lnTo>
                  <a:lnTo>
                    <a:pt x="48" y="73"/>
                  </a:lnTo>
                  <a:lnTo>
                    <a:pt x="73" y="73"/>
                  </a:lnTo>
                  <a:lnTo>
                    <a:pt x="81" y="97"/>
                  </a:lnTo>
                  <a:lnTo>
                    <a:pt x="122" y="122"/>
                  </a:lnTo>
                  <a:lnTo>
                    <a:pt x="138" y="130"/>
                  </a:lnTo>
                  <a:lnTo>
                    <a:pt x="130" y="14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" name="Freeform 34"/>
            <p:cNvSpPr>
              <a:spLocks/>
            </p:cNvSpPr>
            <p:nvPr/>
          </p:nvSpPr>
          <p:spPr bwMode="auto">
            <a:xfrm>
              <a:off x="3807" y="1652"/>
              <a:ext cx="691" cy="359"/>
            </a:xfrm>
            <a:custGeom>
              <a:avLst/>
              <a:gdLst>
                <a:gd name="T0" fmla="*/ 4271 w 529"/>
                <a:gd name="T1" fmla="*/ 1215 h 275"/>
                <a:gd name="T2" fmla="*/ 4125 w 529"/>
                <a:gd name="T3" fmla="*/ 1428 h 275"/>
                <a:gd name="T4" fmla="*/ 3872 w 529"/>
                <a:gd name="T5" fmla="*/ 1704 h 275"/>
                <a:gd name="T6" fmla="*/ 3661 w 529"/>
                <a:gd name="T7" fmla="*/ 1762 h 275"/>
                <a:gd name="T8" fmla="*/ 3661 w 529"/>
                <a:gd name="T9" fmla="*/ 2099 h 275"/>
                <a:gd name="T10" fmla="*/ 3100 w 529"/>
                <a:gd name="T11" fmla="*/ 2047 h 275"/>
                <a:gd name="T12" fmla="*/ 2884 w 529"/>
                <a:gd name="T13" fmla="*/ 2047 h 275"/>
                <a:gd name="T14" fmla="*/ 2691 w 529"/>
                <a:gd name="T15" fmla="*/ 2047 h 275"/>
                <a:gd name="T16" fmla="*/ 2414 w 529"/>
                <a:gd name="T17" fmla="*/ 2311 h 275"/>
                <a:gd name="T18" fmla="*/ 2208 w 529"/>
                <a:gd name="T19" fmla="*/ 2243 h 275"/>
                <a:gd name="T20" fmla="*/ 2140 w 529"/>
                <a:gd name="T21" fmla="*/ 2176 h 275"/>
                <a:gd name="T22" fmla="*/ 1996 w 529"/>
                <a:gd name="T23" fmla="*/ 1885 h 275"/>
                <a:gd name="T24" fmla="*/ 1443 w 529"/>
                <a:gd name="T25" fmla="*/ 1704 h 275"/>
                <a:gd name="T26" fmla="*/ 1042 w 529"/>
                <a:gd name="T27" fmla="*/ 1704 h 275"/>
                <a:gd name="T28" fmla="*/ 969 w 529"/>
                <a:gd name="T29" fmla="*/ 2243 h 275"/>
                <a:gd name="T30" fmla="*/ 631 w 529"/>
                <a:gd name="T31" fmla="*/ 2176 h 275"/>
                <a:gd name="T32" fmla="*/ 551 w 529"/>
                <a:gd name="T33" fmla="*/ 2047 h 275"/>
                <a:gd name="T34" fmla="*/ 419 w 529"/>
                <a:gd name="T35" fmla="*/ 1842 h 275"/>
                <a:gd name="T36" fmla="*/ 502 w 529"/>
                <a:gd name="T37" fmla="*/ 1762 h 275"/>
                <a:gd name="T38" fmla="*/ 843 w 529"/>
                <a:gd name="T39" fmla="*/ 1704 h 275"/>
                <a:gd name="T40" fmla="*/ 631 w 529"/>
                <a:gd name="T41" fmla="*/ 1428 h 275"/>
                <a:gd name="T42" fmla="*/ 283 w 529"/>
                <a:gd name="T43" fmla="*/ 1493 h 275"/>
                <a:gd name="T44" fmla="*/ 283 w 529"/>
                <a:gd name="T45" fmla="*/ 1428 h 275"/>
                <a:gd name="T46" fmla="*/ 78 w 529"/>
                <a:gd name="T47" fmla="*/ 1292 h 275"/>
                <a:gd name="T48" fmla="*/ 78 w 529"/>
                <a:gd name="T49" fmla="*/ 808 h 275"/>
                <a:gd name="T50" fmla="*/ 283 w 529"/>
                <a:gd name="T51" fmla="*/ 944 h 275"/>
                <a:gd name="T52" fmla="*/ 419 w 529"/>
                <a:gd name="T53" fmla="*/ 610 h 275"/>
                <a:gd name="T54" fmla="*/ 631 w 529"/>
                <a:gd name="T55" fmla="*/ 610 h 275"/>
                <a:gd name="T56" fmla="*/ 969 w 529"/>
                <a:gd name="T57" fmla="*/ 808 h 275"/>
                <a:gd name="T58" fmla="*/ 1253 w 529"/>
                <a:gd name="T59" fmla="*/ 741 h 275"/>
                <a:gd name="T60" fmla="*/ 1594 w 529"/>
                <a:gd name="T61" fmla="*/ 808 h 275"/>
                <a:gd name="T62" fmla="*/ 1443 w 529"/>
                <a:gd name="T63" fmla="*/ 610 h 275"/>
                <a:gd name="T64" fmla="*/ 1520 w 529"/>
                <a:gd name="T65" fmla="*/ 469 h 275"/>
                <a:gd name="T66" fmla="*/ 1594 w 529"/>
                <a:gd name="T67" fmla="*/ 189 h 275"/>
                <a:gd name="T68" fmla="*/ 2346 w 529"/>
                <a:gd name="T69" fmla="*/ 60 h 275"/>
                <a:gd name="T70" fmla="*/ 2414 w 529"/>
                <a:gd name="T71" fmla="*/ 0 h 275"/>
                <a:gd name="T72" fmla="*/ 2691 w 529"/>
                <a:gd name="T73" fmla="*/ 133 h 275"/>
                <a:gd name="T74" fmla="*/ 2759 w 529"/>
                <a:gd name="T75" fmla="*/ 189 h 275"/>
                <a:gd name="T76" fmla="*/ 2884 w 529"/>
                <a:gd name="T77" fmla="*/ 336 h 275"/>
                <a:gd name="T78" fmla="*/ 3179 w 529"/>
                <a:gd name="T79" fmla="*/ 189 h 275"/>
                <a:gd name="T80" fmla="*/ 3375 w 529"/>
                <a:gd name="T81" fmla="*/ 336 h 275"/>
                <a:gd name="T82" fmla="*/ 3711 w 529"/>
                <a:gd name="T83" fmla="*/ 683 h 275"/>
                <a:gd name="T84" fmla="*/ 4002 w 529"/>
                <a:gd name="T85" fmla="*/ 741 h 275"/>
                <a:gd name="T86" fmla="*/ 4345 w 529"/>
                <a:gd name="T87" fmla="*/ 1020 h 275"/>
                <a:gd name="T88" fmla="*/ 4475 w 529"/>
                <a:gd name="T89" fmla="*/ 1084 h 27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29"/>
                <a:gd name="T136" fmla="*/ 0 h 275"/>
                <a:gd name="T137" fmla="*/ 529 w 529"/>
                <a:gd name="T138" fmla="*/ 275 h 27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29" h="275">
                  <a:moveTo>
                    <a:pt x="512" y="137"/>
                  </a:moveTo>
                  <a:lnTo>
                    <a:pt x="504" y="144"/>
                  </a:lnTo>
                  <a:lnTo>
                    <a:pt x="497" y="169"/>
                  </a:lnTo>
                  <a:lnTo>
                    <a:pt x="487" y="169"/>
                  </a:lnTo>
                  <a:lnTo>
                    <a:pt x="463" y="169"/>
                  </a:lnTo>
                  <a:lnTo>
                    <a:pt x="456" y="202"/>
                  </a:lnTo>
                  <a:lnTo>
                    <a:pt x="432" y="202"/>
                  </a:lnTo>
                  <a:lnTo>
                    <a:pt x="432" y="209"/>
                  </a:lnTo>
                  <a:lnTo>
                    <a:pt x="438" y="243"/>
                  </a:lnTo>
                  <a:lnTo>
                    <a:pt x="432" y="249"/>
                  </a:lnTo>
                  <a:lnTo>
                    <a:pt x="415" y="243"/>
                  </a:lnTo>
                  <a:lnTo>
                    <a:pt x="366" y="243"/>
                  </a:lnTo>
                  <a:lnTo>
                    <a:pt x="350" y="234"/>
                  </a:lnTo>
                  <a:lnTo>
                    <a:pt x="341" y="243"/>
                  </a:lnTo>
                  <a:lnTo>
                    <a:pt x="341" y="249"/>
                  </a:lnTo>
                  <a:lnTo>
                    <a:pt x="317" y="243"/>
                  </a:lnTo>
                  <a:lnTo>
                    <a:pt x="310" y="249"/>
                  </a:lnTo>
                  <a:lnTo>
                    <a:pt x="285" y="274"/>
                  </a:lnTo>
                  <a:lnTo>
                    <a:pt x="276" y="266"/>
                  </a:lnTo>
                  <a:lnTo>
                    <a:pt x="261" y="266"/>
                  </a:lnTo>
                  <a:lnTo>
                    <a:pt x="261" y="258"/>
                  </a:lnTo>
                  <a:lnTo>
                    <a:pt x="253" y="258"/>
                  </a:lnTo>
                  <a:lnTo>
                    <a:pt x="253" y="243"/>
                  </a:lnTo>
                  <a:lnTo>
                    <a:pt x="236" y="224"/>
                  </a:lnTo>
                  <a:lnTo>
                    <a:pt x="196" y="224"/>
                  </a:lnTo>
                  <a:lnTo>
                    <a:pt x="171" y="202"/>
                  </a:lnTo>
                  <a:lnTo>
                    <a:pt x="155" y="193"/>
                  </a:lnTo>
                  <a:lnTo>
                    <a:pt x="123" y="202"/>
                  </a:lnTo>
                  <a:lnTo>
                    <a:pt x="123" y="266"/>
                  </a:lnTo>
                  <a:lnTo>
                    <a:pt x="114" y="266"/>
                  </a:lnTo>
                  <a:lnTo>
                    <a:pt x="99" y="249"/>
                  </a:lnTo>
                  <a:lnTo>
                    <a:pt x="74" y="258"/>
                  </a:lnTo>
                  <a:lnTo>
                    <a:pt x="74" y="243"/>
                  </a:lnTo>
                  <a:lnTo>
                    <a:pt x="65" y="243"/>
                  </a:lnTo>
                  <a:lnTo>
                    <a:pt x="59" y="218"/>
                  </a:lnTo>
                  <a:lnTo>
                    <a:pt x="49" y="218"/>
                  </a:lnTo>
                  <a:lnTo>
                    <a:pt x="65" y="218"/>
                  </a:lnTo>
                  <a:lnTo>
                    <a:pt x="59" y="209"/>
                  </a:lnTo>
                  <a:lnTo>
                    <a:pt x="65" y="202"/>
                  </a:lnTo>
                  <a:lnTo>
                    <a:pt x="99" y="202"/>
                  </a:lnTo>
                  <a:lnTo>
                    <a:pt x="90" y="177"/>
                  </a:lnTo>
                  <a:lnTo>
                    <a:pt x="74" y="169"/>
                  </a:lnTo>
                  <a:lnTo>
                    <a:pt x="59" y="161"/>
                  </a:lnTo>
                  <a:lnTo>
                    <a:pt x="34" y="177"/>
                  </a:lnTo>
                  <a:lnTo>
                    <a:pt x="25" y="177"/>
                  </a:lnTo>
                  <a:lnTo>
                    <a:pt x="34" y="169"/>
                  </a:lnTo>
                  <a:lnTo>
                    <a:pt x="25" y="153"/>
                  </a:lnTo>
                  <a:lnTo>
                    <a:pt x="9" y="153"/>
                  </a:lnTo>
                  <a:lnTo>
                    <a:pt x="0" y="137"/>
                  </a:lnTo>
                  <a:lnTo>
                    <a:pt x="9" y="96"/>
                  </a:lnTo>
                  <a:lnTo>
                    <a:pt x="25" y="112"/>
                  </a:lnTo>
                  <a:lnTo>
                    <a:pt x="34" y="112"/>
                  </a:lnTo>
                  <a:lnTo>
                    <a:pt x="25" y="96"/>
                  </a:lnTo>
                  <a:lnTo>
                    <a:pt x="49" y="72"/>
                  </a:lnTo>
                  <a:lnTo>
                    <a:pt x="65" y="81"/>
                  </a:lnTo>
                  <a:lnTo>
                    <a:pt x="74" y="72"/>
                  </a:lnTo>
                  <a:lnTo>
                    <a:pt x="90" y="81"/>
                  </a:lnTo>
                  <a:lnTo>
                    <a:pt x="114" y="96"/>
                  </a:lnTo>
                  <a:lnTo>
                    <a:pt x="131" y="87"/>
                  </a:lnTo>
                  <a:lnTo>
                    <a:pt x="148" y="87"/>
                  </a:lnTo>
                  <a:lnTo>
                    <a:pt x="155" y="96"/>
                  </a:lnTo>
                  <a:lnTo>
                    <a:pt x="188" y="96"/>
                  </a:lnTo>
                  <a:lnTo>
                    <a:pt x="196" y="81"/>
                  </a:lnTo>
                  <a:lnTo>
                    <a:pt x="171" y="72"/>
                  </a:lnTo>
                  <a:lnTo>
                    <a:pt x="188" y="63"/>
                  </a:lnTo>
                  <a:lnTo>
                    <a:pt x="179" y="56"/>
                  </a:lnTo>
                  <a:lnTo>
                    <a:pt x="188" y="47"/>
                  </a:lnTo>
                  <a:lnTo>
                    <a:pt x="188" y="22"/>
                  </a:lnTo>
                  <a:lnTo>
                    <a:pt x="204" y="32"/>
                  </a:lnTo>
                  <a:lnTo>
                    <a:pt x="276" y="7"/>
                  </a:lnTo>
                  <a:lnTo>
                    <a:pt x="276" y="0"/>
                  </a:lnTo>
                  <a:lnTo>
                    <a:pt x="285" y="0"/>
                  </a:lnTo>
                  <a:lnTo>
                    <a:pt x="310" y="0"/>
                  </a:lnTo>
                  <a:lnTo>
                    <a:pt x="317" y="16"/>
                  </a:lnTo>
                  <a:lnTo>
                    <a:pt x="317" y="22"/>
                  </a:lnTo>
                  <a:lnTo>
                    <a:pt x="326" y="22"/>
                  </a:lnTo>
                  <a:lnTo>
                    <a:pt x="341" y="32"/>
                  </a:lnTo>
                  <a:lnTo>
                    <a:pt x="341" y="40"/>
                  </a:lnTo>
                  <a:lnTo>
                    <a:pt x="358" y="40"/>
                  </a:lnTo>
                  <a:lnTo>
                    <a:pt x="375" y="22"/>
                  </a:lnTo>
                  <a:lnTo>
                    <a:pt x="390" y="16"/>
                  </a:lnTo>
                  <a:lnTo>
                    <a:pt x="398" y="40"/>
                  </a:lnTo>
                  <a:lnTo>
                    <a:pt x="432" y="96"/>
                  </a:lnTo>
                  <a:lnTo>
                    <a:pt x="438" y="81"/>
                  </a:lnTo>
                  <a:lnTo>
                    <a:pt x="447" y="96"/>
                  </a:lnTo>
                  <a:lnTo>
                    <a:pt x="472" y="87"/>
                  </a:lnTo>
                  <a:lnTo>
                    <a:pt x="497" y="112"/>
                  </a:lnTo>
                  <a:lnTo>
                    <a:pt x="512" y="121"/>
                  </a:lnTo>
                  <a:lnTo>
                    <a:pt x="512" y="112"/>
                  </a:lnTo>
                  <a:lnTo>
                    <a:pt x="528" y="129"/>
                  </a:lnTo>
                  <a:lnTo>
                    <a:pt x="512" y="13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8" name="Freeform 35"/>
            <p:cNvSpPr>
              <a:spLocks/>
            </p:cNvSpPr>
            <p:nvPr/>
          </p:nvSpPr>
          <p:spPr bwMode="auto">
            <a:xfrm>
              <a:off x="3436" y="2200"/>
              <a:ext cx="193" cy="193"/>
            </a:xfrm>
            <a:custGeom>
              <a:avLst/>
              <a:gdLst>
                <a:gd name="T0" fmla="*/ 1228 w 148"/>
                <a:gd name="T1" fmla="*/ 1150 h 147"/>
                <a:gd name="T2" fmla="*/ 1018 w 148"/>
                <a:gd name="T3" fmla="*/ 1293 h 147"/>
                <a:gd name="T4" fmla="*/ 968 w 148"/>
                <a:gd name="T5" fmla="*/ 1208 h 147"/>
                <a:gd name="T6" fmla="*/ 85 w 148"/>
                <a:gd name="T7" fmla="*/ 1208 h 147"/>
                <a:gd name="T8" fmla="*/ 85 w 148"/>
                <a:gd name="T9" fmla="*/ 425 h 147"/>
                <a:gd name="T10" fmla="*/ 0 w 148"/>
                <a:gd name="T11" fmla="*/ 282 h 147"/>
                <a:gd name="T12" fmla="*/ 85 w 148"/>
                <a:gd name="T13" fmla="*/ 0 h 147"/>
                <a:gd name="T14" fmla="*/ 85 w 148"/>
                <a:gd name="T15" fmla="*/ 84 h 147"/>
                <a:gd name="T16" fmla="*/ 278 w 148"/>
                <a:gd name="T17" fmla="*/ 84 h 147"/>
                <a:gd name="T18" fmla="*/ 473 w 148"/>
                <a:gd name="T19" fmla="*/ 144 h 147"/>
                <a:gd name="T20" fmla="*/ 760 w 148"/>
                <a:gd name="T21" fmla="*/ 84 h 147"/>
                <a:gd name="T22" fmla="*/ 807 w 148"/>
                <a:gd name="T23" fmla="*/ 84 h 147"/>
                <a:gd name="T24" fmla="*/ 807 w 148"/>
                <a:gd name="T25" fmla="*/ 144 h 147"/>
                <a:gd name="T26" fmla="*/ 902 w 148"/>
                <a:gd name="T27" fmla="*/ 84 h 147"/>
                <a:gd name="T28" fmla="*/ 902 w 148"/>
                <a:gd name="T29" fmla="*/ 144 h 147"/>
                <a:gd name="T30" fmla="*/ 1018 w 148"/>
                <a:gd name="T31" fmla="*/ 84 h 147"/>
                <a:gd name="T32" fmla="*/ 1095 w 148"/>
                <a:gd name="T33" fmla="*/ 360 h 147"/>
                <a:gd name="T34" fmla="*/ 1018 w 148"/>
                <a:gd name="T35" fmla="*/ 572 h 147"/>
                <a:gd name="T36" fmla="*/ 968 w 148"/>
                <a:gd name="T37" fmla="*/ 425 h 147"/>
                <a:gd name="T38" fmla="*/ 902 w 148"/>
                <a:gd name="T39" fmla="*/ 219 h 147"/>
                <a:gd name="T40" fmla="*/ 902 w 148"/>
                <a:gd name="T41" fmla="*/ 282 h 147"/>
                <a:gd name="T42" fmla="*/ 902 w 148"/>
                <a:gd name="T43" fmla="*/ 360 h 147"/>
                <a:gd name="T44" fmla="*/ 1228 w 148"/>
                <a:gd name="T45" fmla="*/ 1150 h 1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48"/>
                <a:gd name="T70" fmla="*/ 0 h 147"/>
                <a:gd name="T71" fmla="*/ 148 w 148"/>
                <a:gd name="T72" fmla="*/ 147 h 14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48" h="147">
                  <a:moveTo>
                    <a:pt x="147" y="130"/>
                  </a:moveTo>
                  <a:lnTo>
                    <a:pt x="122" y="146"/>
                  </a:lnTo>
                  <a:lnTo>
                    <a:pt x="115" y="137"/>
                  </a:lnTo>
                  <a:lnTo>
                    <a:pt x="10" y="137"/>
                  </a:lnTo>
                  <a:lnTo>
                    <a:pt x="10" y="48"/>
                  </a:lnTo>
                  <a:lnTo>
                    <a:pt x="0" y="32"/>
                  </a:lnTo>
                  <a:lnTo>
                    <a:pt x="10" y="0"/>
                  </a:lnTo>
                  <a:lnTo>
                    <a:pt x="10" y="9"/>
                  </a:lnTo>
                  <a:lnTo>
                    <a:pt x="34" y="9"/>
                  </a:lnTo>
                  <a:lnTo>
                    <a:pt x="57" y="16"/>
                  </a:lnTo>
                  <a:lnTo>
                    <a:pt x="91" y="9"/>
                  </a:lnTo>
                  <a:lnTo>
                    <a:pt x="97" y="9"/>
                  </a:lnTo>
                  <a:lnTo>
                    <a:pt x="97" y="16"/>
                  </a:lnTo>
                  <a:lnTo>
                    <a:pt x="107" y="9"/>
                  </a:lnTo>
                  <a:lnTo>
                    <a:pt x="107" y="16"/>
                  </a:lnTo>
                  <a:lnTo>
                    <a:pt x="122" y="9"/>
                  </a:lnTo>
                  <a:lnTo>
                    <a:pt x="131" y="40"/>
                  </a:lnTo>
                  <a:lnTo>
                    <a:pt x="122" y="65"/>
                  </a:lnTo>
                  <a:lnTo>
                    <a:pt x="115" y="48"/>
                  </a:lnTo>
                  <a:lnTo>
                    <a:pt x="107" y="25"/>
                  </a:lnTo>
                  <a:lnTo>
                    <a:pt x="107" y="32"/>
                  </a:lnTo>
                  <a:lnTo>
                    <a:pt x="107" y="40"/>
                  </a:lnTo>
                  <a:lnTo>
                    <a:pt x="147" y="13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9" name="Freeform 36"/>
            <p:cNvSpPr>
              <a:spLocks/>
            </p:cNvSpPr>
            <p:nvPr/>
          </p:nvSpPr>
          <p:spPr bwMode="auto">
            <a:xfrm>
              <a:off x="3186" y="2181"/>
              <a:ext cx="264" cy="252"/>
            </a:xfrm>
            <a:custGeom>
              <a:avLst/>
              <a:gdLst>
                <a:gd name="T0" fmla="*/ 250 w 203"/>
                <a:gd name="T1" fmla="*/ 1162 h 193"/>
                <a:gd name="T2" fmla="*/ 182 w 203"/>
                <a:gd name="T3" fmla="*/ 1018 h 193"/>
                <a:gd name="T4" fmla="*/ 125 w 203"/>
                <a:gd name="T5" fmla="*/ 1018 h 193"/>
                <a:gd name="T6" fmla="*/ 0 w 203"/>
                <a:gd name="T7" fmla="*/ 808 h 193"/>
                <a:gd name="T8" fmla="*/ 49 w 203"/>
                <a:gd name="T9" fmla="*/ 742 h 193"/>
                <a:gd name="T10" fmla="*/ 49 w 203"/>
                <a:gd name="T11" fmla="*/ 598 h 193"/>
                <a:gd name="T12" fmla="*/ 49 w 203"/>
                <a:gd name="T13" fmla="*/ 467 h 193"/>
                <a:gd name="T14" fmla="*/ 0 w 203"/>
                <a:gd name="T15" fmla="*/ 396 h 193"/>
                <a:gd name="T16" fmla="*/ 0 w 203"/>
                <a:gd name="T17" fmla="*/ 336 h 193"/>
                <a:gd name="T18" fmla="*/ 49 w 203"/>
                <a:gd name="T19" fmla="*/ 257 h 193"/>
                <a:gd name="T20" fmla="*/ 49 w 203"/>
                <a:gd name="T21" fmla="*/ 197 h 193"/>
                <a:gd name="T22" fmla="*/ 182 w 203"/>
                <a:gd name="T23" fmla="*/ 50 h 193"/>
                <a:gd name="T24" fmla="*/ 182 w 203"/>
                <a:gd name="T25" fmla="*/ 0 h 193"/>
                <a:gd name="T26" fmla="*/ 325 w 203"/>
                <a:gd name="T27" fmla="*/ 0 h 193"/>
                <a:gd name="T28" fmla="*/ 518 w 203"/>
                <a:gd name="T29" fmla="*/ 50 h 193"/>
                <a:gd name="T30" fmla="*/ 657 w 203"/>
                <a:gd name="T31" fmla="*/ 50 h 193"/>
                <a:gd name="T32" fmla="*/ 657 w 203"/>
                <a:gd name="T33" fmla="*/ 197 h 193"/>
                <a:gd name="T34" fmla="*/ 1046 w 203"/>
                <a:gd name="T35" fmla="*/ 336 h 193"/>
                <a:gd name="T36" fmla="*/ 1115 w 203"/>
                <a:gd name="T37" fmla="*/ 257 h 193"/>
                <a:gd name="T38" fmla="*/ 1115 w 203"/>
                <a:gd name="T39" fmla="*/ 127 h 193"/>
                <a:gd name="T40" fmla="*/ 1316 w 203"/>
                <a:gd name="T41" fmla="*/ 0 h 193"/>
                <a:gd name="T42" fmla="*/ 1447 w 203"/>
                <a:gd name="T43" fmla="*/ 50 h 193"/>
                <a:gd name="T44" fmla="*/ 1447 w 203"/>
                <a:gd name="T45" fmla="*/ 127 h 193"/>
                <a:gd name="T46" fmla="*/ 1656 w 203"/>
                <a:gd name="T47" fmla="*/ 127 h 193"/>
                <a:gd name="T48" fmla="*/ 1572 w 203"/>
                <a:gd name="T49" fmla="*/ 396 h 193"/>
                <a:gd name="T50" fmla="*/ 1656 w 203"/>
                <a:gd name="T51" fmla="*/ 531 h 193"/>
                <a:gd name="T52" fmla="*/ 1656 w 203"/>
                <a:gd name="T53" fmla="*/ 1282 h 193"/>
                <a:gd name="T54" fmla="*/ 1656 w 203"/>
                <a:gd name="T55" fmla="*/ 1494 h 193"/>
                <a:gd name="T56" fmla="*/ 1572 w 203"/>
                <a:gd name="T57" fmla="*/ 1572 h 193"/>
                <a:gd name="T58" fmla="*/ 1502 w 203"/>
                <a:gd name="T59" fmla="*/ 1624 h 193"/>
                <a:gd name="T60" fmla="*/ 710 w 203"/>
                <a:gd name="T61" fmla="*/ 1162 h 193"/>
                <a:gd name="T62" fmla="*/ 592 w 203"/>
                <a:gd name="T63" fmla="*/ 1226 h 193"/>
                <a:gd name="T64" fmla="*/ 518 w 203"/>
                <a:gd name="T65" fmla="*/ 1162 h 193"/>
                <a:gd name="T66" fmla="*/ 250 w 203"/>
                <a:gd name="T67" fmla="*/ 1162 h 19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3"/>
                <a:gd name="T103" fmla="*/ 0 h 193"/>
                <a:gd name="T104" fmla="*/ 203 w 203"/>
                <a:gd name="T105" fmla="*/ 193 h 19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3" h="193">
                  <a:moveTo>
                    <a:pt x="31" y="137"/>
                  </a:moveTo>
                  <a:lnTo>
                    <a:pt x="22" y="120"/>
                  </a:lnTo>
                  <a:lnTo>
                    <a:pt x="15" y="120"/>
                  </a:lnTo>
                  <a:lnTo>
                    <a:pt x="0" y="96"/>
                  </a:lnTo>
                  <a:lnTo>
                    <a:pt x="6" y="87"/>
                  </a:lnTo>
                  <a:lnTo>
                    <a:pt x="6" y="71"/>
                  </a:lnTo>
                  <a:lnTo>
                    <a:pt x="6" y="55"/>
                  </a:lnTo>
                  <a:lnTo>
                    <a:pt x="0" y="47"/>
                  </a:lnTo>
                  <a:lnTo>
                    <a:pt x="0" y="40"/>
                  </a:lnTo>
                  <a:lnTo>
                    <a:pt x="6" y="31"/>
                  </a:lnTo>
                  <a:lnTo>
                    <a:pt x="6" y="24"/>
                  </a:lnTo>
                  <a:lnTo>
                    <a:pt x="22" y="6"/>
                  </a:lnTo>
                  <a:lnTo>
                    <a:pt x="22" y="0"/>
                  </a:lnTo>
                  <a:lnTo>
                    <a:pt x="40" y="0"/>
                  </a:lnTo>
                  <a:lnTo>
                    <a:pt x="63" y="6"/>
                  </a:lnTo>
                  <a:lnTo>
                    <a:pt x="80" y="6"/>
                  </a:lnTo>
                  <a:lnTo>
                    <a:pt x="80" y="24"/>
                  </a:lnTo>
                  <a:lnTo>
                    <a:pt x="128" y="40"/>
                  </a:lnTo>
                  <a:lnTo>
                    <a:pt x="137" y="31"/>
                  </a:lnTo>
                  <a:lnTo>
                    <a:pt x="137" y="15"/>
                  </a:lnTo>
                  <a:lnTo>
                    <a:pt x="161" y="0"/>
                  </a:lnTo>
                  <a:lnTo>
                    <a:pt x="177" y="6"/>
                  </a:lnTo>
                  <a:lnTo>
                    <a:pt x="177" y="15"/>
                  </a:lnTo>
                  <a:lnTo>
                    <a:pt x="202" y="15"/>
                  </a:lnTo>
                  <a:lnTo>
                    <a:pt x="192" y="47"/>
                  </a:lnTo>
                  <a:lnTo>
                    <a:pt x="202" y="63"/>
                  </a:lnTo>
                  <a:lnTo>
                    <a:pt x="202" y="152"/>
                  </a:lnTo>
                  <a:lnTo>
                    <a:pt x="202" y="177"/>
                  </a:lnTo>
                  <a:lnTo>
                    <a:pt x="192" y="186"/>
                  </a:lnTo>
                  <a:lnTo>
                    <a:pt x="184" y="192"/>
                  </a:lnTo>
                  <a:lnTo>
                    <a:pt x="87" y="137"/>
                  </a:lnTo>
                  <a:lnTo>
                    <a:pt x="72" y="145"/>
                  </a:lnTo>
                  <a:lnTo>
                    <a:pt x="63" y="137"/>
                  </a:lnTo>
                  <a:lnTo>
                    <a:pt x="31" y="13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0" name="Freeform 37"/>
            <p:cNvSpPr>
              <a:spLocks/>
            </p:cNvSpPr>
            <p:nvPr/>
          </p:nvSpPr>
          <p:spPr bwMode="auto">
            <a:xfrm>
              <a:off x="2886" y="2094"/>
              <a:ext cx="341" cy="339"/>
            </a:xfrm>
            <a:custGeom>
              <a:avLst/>
              <a:gdLst>
                <a:gd name="T0" fmla="*/ 696 w 261"/>
                <a:gd name="T1" fmla="*/ 276 h 259"/>
                <a:gd name="T2" fmla="*/ 767 w 261"/>
                <a:gd name="T3" fmla="*/ 276 h 259"/>
                <a:gd name="T4" fmla="*/ 830 w 261"/>
                <a:gd name="T5" fmla="*/ 619 h 259"/>
                <a:gd name="T6" fmla="*/ 551 w 261"/>
                <a:gd name="T7" fmla="*/ 699 h 259"/>
                <a:gd name="T8" fmla="*/ 551 w 261"/>
                <a:gd name="T9" fmla="*/ 776 h 259"/>
                <a:gd name="T10" fmla="*/ 358 w 261"/>
                <a:gd name="T11" fmla="*/ 915 h 259"/>
                <a:gd name="T12" fmla="*/ 65 w 261"/>
                <a:gd name="T13" fmla="*/ 1043 h 259"/>
                <a:gd name="T14" fmla="*/ 0 w 261"/>
                <a:gd name="T15" fmla="*/ 1110 h 259"/>
                <a:gd name="T16" fmla="*/ 0 w 261"/>
                <a:gd name="T17" fmla="*/ 1255 h 259"/>
                <a:gd name="T18" fmla="*/ 408 w 261"/>
                <a:gd name="T19" fmla="*/ 1531 h 259"/>
                <a:gd name="T20" fmla="*/ 1035 w 261"/>
                <a:gd name="T21" fmla="*/ 2017 h 259"/>
                <a:gd name="T22" fmla="*/ 1104 w 261"/>
                <a:gd name="T23" fmla="*/ 2090 h 259"/>
                <a:gd name="T24" fmla="*/ 1229 w 261"/>
                <a:gd name="T25" fmla="*/ 2173 h 259"/>
                <a:gd name="T26" fmla="*/ 1309 w 261"/>
                <a:gd name="T27" fmla="*/ 2224 h 259"/>
                <a:gd name="T28" fmla="*/ 1381 w 261"/>
                <a:gd name="T29" fmla="*/ 2224 h 259"/>
                <a:gd name="T30" fmla="*/ 1522 w 261"/>
                <a:gd name="T31" fmla="*/ 2224 h 259"/>
                <a:gd name="T32" fmla="*/ 2207 w 261"/>
                <a:gd name="T33" fmla="*/ 1749 h 259"/>
                <a:gd name="T34" fmla="*/ 2132 w 261"/>
                <a:gd name="T35" fmla="*/ 1597 h 259"/>
                <a:gd name="T36" fmla="*/ 2073 w 261"/>
                <a:gd name="T37" fmla="*/ 1597 h 259"/>
                <a:gd name="T38" fmla="*/ 1948 w 261"/>
                <a:gd name="T39" fmla="*/ 1394 h 259"/>
                <a:gd name="T40" fmla="*/ 1995 w 261"/>
                <a:gd name="T41" fmla="*/ 1319 h 259"/>
                <a:gd name="T42" fmla="*/ 1995 w 261"/>
                <a:gd name="T43" fmla="*/ 1177 h 259"/>
                <a:gd name="T44" fmla="*/ 1995 w 261"/>
                <a:gd name="T45" fmla="*/ 1043 h 259"/>
                <a:gd name="T46" fmla="*/ 1948 w 261"/>
                <a:gd name="T47" fmla="*/ 975 h 259"/>
                <a:gd name="T48" fmla="*/ 1948 w 261"/>
                <a:gd name="T49" fmla="*/ 915 h 259"/>
                <a:gd name="T50" fmla="*/ 1948 w 261"/>
                <a:gd name="T51" fmla="*/ 699 h 259"/>
                <a:gd name="T52" fmla="*/ 1781 w 261"/>
                <a:gd name="T53" fmla="*/ 619 h 259"/>
                <a:gd name="T54" fmla="*/ 1738 w 261"/>
                <a:gd name="T55" fmla="*/ 484 h 259"/>
                <a:gd name="T56" fmla="*/ 1862 w 261"/>
                <a:gd name="T57" fmla="*/ 359 h 259"/>
                <a:gd name="T58" fmla="*/ 1781 w 261"/>
                <a:gd name="T59" fmla="*/ 79 h 259"/>
                <a:gd name="T60" fmla="*/ 1862 w 261"/>
                <a:gd name="T61" fmla="*/ 0 h 259"/>
                <a:gd name="T62" fmla="*/ 1781 w 261"/>
                <a:gd name="T63" fmla="*/ 79 h 259"/>
                <a:gd name="T64" fmla="*/ 1587 w 261"/>
                <a:gd name="T65" fmla="*/ 0 h 259"/>
                <a:gd name="T66" fmla="*/ 1522 w 261"/>
                <a:gd name="T67" fmla="*/ 79 h 259"/>
                <a:gd name="T68" fmla="*/ 1381 w 261"/>
                <a:gd name="T69" fmla="*/ 0 h 259"/>
                <a:gd name="T70" fmla="*/ 1229 w 261"/>
                <a:gd name="T71" fmla="*/ 79 h 259"/>
                <a:gd name="T72" fmla="*/ 1035 w 261"/>
                <a:gd name="T73" fmla="*/ 79 h 259"/>
                <a:gd name="T74" fmla="*/ 696 w 261"/>
                <a:gd name="T75" fmla="*/ 276 h 25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1"/>
                <a:gd name="T115" fmla="*/ 0 h 259"/>
                <a:gd name="T116" fmla="*/ 261 w 261"/>
                <a:gd name="T117" fmla="*/ 259 h 25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1" h="259">
                  <a:moveTo>
                    <a:pt x="82" y="32"/>
                  </a:moveTo>
                  <a:lnTo>
                    <a:pt x="90" y="32"/>
                  </a:lnTo>
                  <a:lnTo>
                    <a:pt x="98" y="72"/>
                  </a:lnTo>
                  <a:lnTo>
                    <a:pt x="65" y="81"/>
                  </a:lnTo>
                  <a:lnTo>
                    <a:pt x="65" y="90"/>
                  </a:lnTo>
                  <a:lnTo>
                    <a:pt x="42" y="106"/>
                  </a:lnTo>
                  <a:lnTo>
                    <a:pt x="8" y="121"/>
                  </a:lnTo>
                  <a:lnTo>
                    <a:pt x="0" y="129"/>
                  </a:lnTo>
                  <a:lnTo>
                    <a:pt x="0" y="146"/>
                  </a:lnTo>
                  <a:lnTo>
                    <a:pt x="48" y="178"/>
                  </a:lnTo>
                  <a:lnTo>
                    <a:pt x="122" y="234"/>
                  </a:lnTo>
                  <a:lnTo>
                    <a:pt x="130" y="243"/>
                  </a:lnTo>
                  <a:lnTo>
                    <a:pt x="145" y="252"/>
                  </a:lnTo>
                  <a:lnTo>
                    <a:pt x="154" y="258"/>
                  </a:lnTo>
                  <a:lnTo>
                    <a:pt x="163" y="258"/>
                  </a:lnTo>
                  <a:lnTo>
                    <a:pt x="179" y="258"/>
                  </a:lnTo>
                  <a:lnTo>
                    <a:pt x="260" y="203"/>
                  </a:lnTo>
                  <a:lnTo>
                    <a:pt x="251" y="186"/>
                  </a:lnTo>
                  <a:lnTo>
                    <a:pt x="244" y="186"/>
                  </a:lnTo>
                  <a:lnTo>
                    <a:pt x="229" y="162"/>
                  </a:lnTo>
                  <a:lnTo>
                    <a:pt x="235" y="153"/>
                  </a:lnTo>
                  <a:lnTo>
                    <a:pt x="235" y="137"/>
                  </a:lnTo>
                  <a:lnTo>
                    <a:pt x="235" y="121"/>
                  </a:lnTo>
                  <a:lnTo>
                    <a:pt x="229" y="113"/>
                  </a:lnTo>
                  <a:lnTo>
                    <a:pt x="229" y="106"/>
                  </a:lnTo>
                  <a:lnTo>
                    <a:pt x="229" y="81"/>
                  </a:lnTo>
                  <a:lnTo>
                    <a:pt x="210" y="72"/>
                  </a:lnTo>
                  <a:lnTo>
                    <a:pt x="204" y="56"/>
                  </a:lnTo>
                  <a:lnTo>
                    <a:pt x="219" y="41"/>
                  </a:lnTo>
                  <a:lnTo>
                    <a:pt x="210" y="9"/>
                  </a:lnTo>
                  <a:lnTo>
                    <a:pt x="219" y="0"/>
                  </a:lnTo>
                  <a:lnTo>
                    <a:pt x="210" y="9"/>
                  </a:lnTo>
                  <a:lnTo>
                    <a:pt x="187" y="0"/>
                  </a:lnTo>
                  <a:lnTo>
                    <a:pt x="179" y="9"/>
                  </a:lnTo>
                  <a:lnTo>
                    <a:pt x="163" y="0"/>
                  </a:lnTo>
                  <a:lnTo>
                    <a:pt x="145" y="9"/>
                  </a:lnTo>
                  <a:lnTo>
                    <a:pt x="122" y="9"/>
                  </a:lnTo>
                  <a:lnTo>
                    <a:pt x="82" y="3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1" name="Freeform 38"/>
            <p:cNvSpPr>
              <a:spLocks/>
            </p:cNvSpPr>
            <p:nvPr/>
          </p:nvSpPr>
          <p:spPr bwMode="auto">
            <a:xfrm>
              <a:off x="2824" y="2327"/>
              <a:ext cx="276" cy="266"/>
            </a:xfrm>
            <a:custGeom>
              <a:avLst/>
              <a:gdLst>
                <a:gd name="T0" fmla="*/ 792 w 212"/>
                <a:gd name="T1" fmla="*/ 0 h 203"/>
                <a:gd name="T2" fmla="*/ 1402 w 212"/>
                <a:gd name="T3" fmla="*/ 486 h 203"/>
                <a:gd name="T4" fmla="*/ 1471 w 212"/>
                <a:gd name="T5" fmla="*/ 560 h 203"/>
                <a:gd name="T6" fmla="*/ 1595 w 212"/>
                <a:gd name="T7" fmla="*/ 643 h 203"/>
                <a:gd name="T8" fmla="*/ 1664 w 212"/>
                <a:gd name="T9" fmla="*/ 701 h 203"/>
                <a:gd name="T10" fmla="*/ 1742 w 212"/>
                <a:gd name="T11" fmla="*/ 701 h 203"/>
                <a:gd name="T12" fmla="*/ 1742 w 212"/>
                <a:gd name="T13" fmla="*/ 1056 h 203"/>
                <a:gd name="T14" fmla="*/ 1664 w 212"/>
                <a:gd name="T15" fmla="*/ 1130 h 203"/>
                <a:gd name="T16" fmla="*/ 1338 w 212"/>
                <a:gd name="T17" fmla="*/ 1195 h 203"/>
                <a:gd name="T18" fmla="*/ 1203 w 212"/>
                <a:gd name="T19" fmla="*/ 1195 h 203"/>
                <a:gd name="T20" fmla="*/ 1068 w 212"/>
                <a:gd name="T21" fmla="*/ 1348 h 203"/>
                <a:gd name="T22" fmla="*/ 931 w 212"/>
                <a:gd name="T23" fmla="*/ 1406 h 203"/>
                <a:gd name="T24" fmla="*/ 792 w 212"/>
                <a:gd name="T25" fmla="*/ 1626 h 203"/>
                <a:gd name="T26" fmla="*/ 741 w 212"/>
                <a:gd name="T27" fmla="*/ 1694 h 203"/>
                <a:gd name="T28" fmla="*/ 667 w 212"/>
                <a:gd name="T29" fmla="*/ 1756 h 203"/>
                <a:gd name="T30" fmla="*/ 594 w 212"/>
                <a:gd name="T31" fmla="*/ 1694 h 203"/>
                <a:gd name="T32" fmla="*/ 543 w 212"/>
                <a:gd name="T33" fmla="*/ 1756 h 203"/>
                <a:gd name="T34" fmla="*/ 462 w 212"/>
                <a:gd name="T35" fmla="*/ 1756 h 203"/>
                <a:gd name="T36" fmla="*/ 336 w 212"/>
                <a:gd name="T37" fmla="*/ 1481 h 203"/>
                <a:gd name="T38" fmla="*/ 190 w 212"/>
                <a:gd name="T39" fmla="*/ 1538 h 203"/>
                <a:gd name="T40" fmla="*/ 60 w 212"/>
                <a:gd name="T41" fmla="*/ 1538 h 203"/>
                <a:gd name="T42" fmla="*/ 133 w 212"/>
                <a:gd name="T43" fmla="*/ 1481 h 203"/>
                <a:gd name="T44" fmla="*/ 0 w 212"/>
                <a:gd name="T45" fmla="*/ 1195 h 203"/>
                <a:gd name="T46" fmla="*/ 133 w 212"/>
                <a:gd name="T47" fmla="*/ 1130 h 203"/>
                <a:gd name="T48" fmla="*/ 190 w 212"/>
                <a:gd name="T49" fmla="*/ 1195 h 203"/>
                <a:gd name="T50" fmla="*/ 256 w 212"/>
                <a:gd name="T51" fmla="*/ 1130 h 203"/>
                <a:gd name="T52" fmla="*/ 741 w 212"/>
                <a:gd name="T53" fmla="*/ 1130 h 203"/>
                <a:gd name="T54" fmla="*/ 594 w 212"/>
                <a:gd name="T55" fmla="*/ 0 h 203"/>
                <a:gd name="T56" fmla="*/ 792 w 212"/>
                <a:gd name="T57" fmla="*/ 0 h 20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12"/>
                <a:gd name="T88" fmla="*/ 0 h 203"/>
                <a:gd name="T89" fmla="*/ 212 w 212"/>
                <a:gd name="T90" fmla="*/ 203 h 20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12" h="203">
                  <a:moveTo>
                    <a:pt x="96" y="0"/>
                  </a:moveTo>
                  <a:lnTo>
                    <a:pt x="170" y="56"/>
                  </a:lnTo>
                  <a:lnTo>
                    <a:pt x="178" y="65"/>
                  </a:lnTo>
                  <a:lnTo>
                    <a:pt x="193" y="74"/>
                  </a:lnTo>
                  <a:lnTo>
                    <a:pt x="202" y="80"/>
                  </a:lnTo>
                  <a:lnTo>
                    <a:pt x="211" y="80"/>
                  </a:lnTo>
                  <a:lnTo>
                    <a:pt x="211" y="121"/>
                  </a:lnTo>
                  <a:lnTo>
                    <a:pt x="202" y="130"/>
                  </a:lnTo>
                  <a:lnTo>
                    <a:pt x="162" y="137"/>
                  </a:lnTo>
                  <a:lnTo>
                    <a:pt x="146" y="137"/>
                  </a:lnTo>
                  <a:lnTo>
                    <a:pt x="130" y="155"/>
                  </a:lnTo>
                  <a:lnTo>
                    <a:pt x="113" y="162"/>
                  </a:lnTo>
                  <a:lnTo>
                    <a:pt x="96" y="187"/>
                  </a:lnTo>
                  <a:lnTo>
                    <a:pt x="90" y="195"/>
                  </a:lnTo>
                  <a:lnTo>
                    <a:pt x="81" y="202"/>
                  </a:lnTo>
                  <a:lnTo>
                    <a:pt x="72" y="195"/>
                  </a:lnTo>
                  <a:lnTo>
                    <a:pt x="65" y="202"/>
                  </a:lnTo>
                  <a:lnTo>
                    <a:pt x="56" y="202"/>
                  </a:lnTo>
                  <a:lnTo>
                    <a:pt x="41" y="170"/>
                  </a:lnTo>
                  <a:lnTo>
                    <a:pt x="23" y="177"/>
                  </a:lnTo>
                  <a:lnTo>
                    <a:pt x="7" y="177"/>
                  </a:lnTo>
                  <a:lnTo>
                    <a:pt x="16" y="170"/>
                  </a:lnTo>
                  <a:lnTo>
                    <a:pt x="0" y="137"/>
                  </a:lnTo>
                  <a:lnTo>
                    <a:pt x="16" y="130"/>
                  </a:lnTo>
                  <a:lnTo>
                    <a:pt x="23" y="137"/>
                  </a:lnTo>
                  <a:lnTo>
                    <a:pt x="31" y="130"/>
                  </a:lnTo>
                  <a:lnTo>
                    <a:pt x="90" y="130"/>
                  </a:lnTo>
                  <a:lnTo>
                    <a:pt x="72" y="0"/>
                  </a:lnTo>
                  <a:lnTo>
                    <a:pt x="96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2" name="Freeform 39"/>
            <p:cNvSpPr>
              <a:spLocks/>
            </p:cNvSpPr>
            <p:nvPr/>
          </p:nvSpPr>
          <p:spPr bwMode="auto">
            <a:xfrm>
              <a:off x="2886" y="2582"/>
              <a:ext cx="108" cy="107"/>
            </a:xfrm>
            <a:custGeom>
              <a:avLst/>
              <a:gdLst>
                <a:gd name="T0" fmla="*/ 600 w 83"/>
                <a:gd name="T1" fmla="*/ 609 h 82"/>
                <a:gd name="T2" fmla="*/ 600 w 83"/>
                <a:gd name="T3" fmla="*/ 393 h 82"/>
                <a:gd name="T4" fmla="*/ 675 w 83"/>
                <a:gd name="T5" fmla="*/ 274 h 82"/>
                <a:gd name="T6" fmla="*/ 600 w 83"/>
                <a:gd name="T7" fmla="*/ 133 h 82"/>
                <a:gd name="T8" fmla="*/ 535 w 83"/>
                <a:gd name="T9" fmla="*/ 60 h 82"/>
                <a:gd name="T10" fmla="*/ 393 w 83"/>
                <a:gd name="T11" fmla="*/ 60 h 82"/>
                <a:gd name="T12" fmla="*/ 350 w 83"/>
                <a:gd name="T13" fmla="*/ 0 h 82"/>
                <a:gd name="T14" fmla="*/ 272 w 83"/>
                <a:gd name="T15" fmla="*/ 60 h 82"/>
                <a:gd name="T16" fmla="*/ 195 w 83"/>
                <a:gd name="T17" fmla="*/ 0 h 82"/>
                <a:gd name="T18" fmla="*/ 141 w 83"/>
                <a:gd name="T19" fmla="*/ 60 h 82"/>
                <a:gd name="T20" fmla="*/ 64 w 83"/>
                <a:gd name="T21" fmla="*/ 60 h 82"/>
                <a:gd name="T22" fmla="*/ 64 w 83"/>
                <a:gd name="T23" fmla="*/ 133 h 82"/>
                <a:gd name="T24" fmla="*/ 64 w 83"/>
                <a:gd name="T25" fmla="*/ 194 h 82"/>
                <a:gd name="T26" fmla="*/ 64 w 83"/>
                <a:gd name="T27" fmla="*/ 274 h 82"/>
                <a:gd name="T28" fmla="*/ 64 w 83"/>
                <a:gd name="T29" fmla="*/ 344 h 82"/>
                <a:gd name="T30" fmla="*/ 0 w 83"/>
                <a:gd name="T31" fmla="*/ 344 h 82"/>
                <a:gd name="T32" fmla="*/ 0 w 83"/>
                <a:gd name="T33" fmla="*/ 468 h 82"/>
                <a:gd name="T34" fmla="*/ 141 w 83"/>
                <a:gd name="T35" fmla="*/ 548 h 82"/>
                <a:gd name="T36" fmla="*/ 141 w 83"/>
                <a:gd name="T37" fmla="*/ 682 h 82"/>
                <a:gd name="T38" fmla="*/ 272 w 83"/>
                <a:gd name="T39" fmla="*/ 609 h 82"/>
                <a:gd name="T40" fmla="*/ 467 w 83"/>
                <a:gd name="T41" fmla="*/ 609 h 82"/>
                <a:gd name="T42" fmla="*/ 600 w 83"/>
                <a:gd name="T43" fmla="*/ 609 h 8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3"/>
                <a:gd name="T67" fmla="*/ 0 h 82"/>
                <a:gd name="T68" fmla="*/ 83 w 83"/>
                <a:gd name="T69" fmla="*/ 82 h 8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3" h="82">
                  <a:moveTo>
                    <a:pt x="73" y="72"/>
                  </a:moveTo>
                  <a:lnTo>
                    <a:pt x="73" y="47"/>
                  </a:lnTo>
                  <a:lnTo>
                    <a:pt x="82" y="32"/>
                  </a:lnTo>
                  <a:lnTo>
                    <a:pt x="73" y="16"/>
                  </a:lnTo>
                  <a:lnTo>
                    <a:pt x="65" y="7"/>
                  </a:lnTo>
                  <a:lnTo>
                    <a:pt x="48" y="7"/>
                  </a:lnTo>
                  <a:lnTo>
                    <a:pt x="42" y="0"/>
                  </a:lnTo>
                  <a:lnTo>
                    <a:pt x="33" y="7"/>
                  </a:lnTo>
                  <a:lnTo>
                    <a:pt x="24" y="0"/>
                  </a:lnTo>
                  <a:lnTo>
                    <a:pt x="17" y="7"/>
                  </a:lnTo>
                  <a:lnTo>
                    <a:pt x="8" y="7"/>
                  </a:lnTo>
                  <a:lnTo>
                    <a:pt x="8" y="16"/>
                  </a:lnTo>
                  <a:lnTo>
                    <a:pt x="8" y="23"/>
                  </a:lnTo>
                  <a:lnTo>
                    <a:pt x="8" y="32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56"/>
                  </a:lnTo>
                  <a:lnTo>
                    <a:pt x="17" y="65"/>
                  </a:lnTo>
                  <a:lnTo>
                    <a:pt x="17" y="81"/>
                  </a:lnTo>
                  <a:lnTo>
                    <a:pt x="33" y="72"/>
                  </a:lnTo>
                  <a:lnTo>
                    <a:pt x="57" y="72"/>
                  </a:lnTo>
                  <a:lnTo>
                    <a:pt x="73" y="7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3" name="Freeform 40"/>
            <p:cNvSpPr>
              <a:spLocks/>
            </p:cNvSpPr>
            <p:nvPr/>
          </p:nvSpPr>
          <p:spPr bwMode="auto">
            <a:xfrm>
              <a:off x="2981" y="2572"/>
              <a:ext cx="66" cy="106"/>
            </a:xfrm>
            <a:custGeom>
              <a:avLst/>
              <a:gdLst>
                <a:gd name="T0" fmla="*/ 0 w 50"/>
                <a:gd name="T1" fmla="*/ 209 h 81"/>
                <a:gd name="T2" fmla="*/ 0 w 50"/>
                <a:gd name="T3" fmla="*/ 65 h 81"/>
                <a:gd name="T4" fmla="*/ 0 w 50"/>
                <a:gd name="T5" fmla="*/ 0 h 81"/>
                <a:gd name="T6" fmla="*/ 293 w 50"/>
                <a:gd name="T7" fmla="*/ 0 h 81"/>
                <a:gd name="T8" fmla="*/ 376 w 50"/>
                <a:gd name="T9" fmla="*/ 274 h 81"/>
                <a:gd name="T10" fmla="*/ 455 w 50"/>
                <a:gd name="T11" fmla="*/ 472 h 81"/>
                <a:gd name="T12" fmla="*/ 455 w 50"/>
                <a:gd name="T13" fmla="*/ 551 h 81"/>
                <a:gd name="T14" fmla="*/ 86 w 50"/>
                <a:gd name="T15" fmla="*/ 684 h 81"/>
                <a:gd name="T16" fmla="*/ 0 w 50"/>
                <a:gd name="T17" fmla="*/ 684 h 81"/>
                <a:gd name="T18" fmla="*/ 0 w 50"/>
                <a:gd name="T19" fmla="*/ 472 h 81"/>
                <a:gd name="T20" fmla="*/ 86 w 50"/>
                <a:gd name="T21" fmla="*/ 340 h 81"/>
                <a:gd name="T22" fmla="*/ 0 w 50"/>
                <a:gd name="T23" fmla="*/ 209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0"/>
                <a:gd name="T37" fmla="*/ 0 h 81"/>
                <a:gd name="T38" fmla="*/ 50 w 50"/>
                <a:gd name="T39" fmla="*/ 81 h 8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0" h="81">
                  <a:moveTo>
                    <a:pt x="0" y="24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32" y="0"/>
                  </a:lnTo>
                  <a:lnTo>
                    <a:pt x="41" y="31"/>
                  </a:lnTo>
                  <a:lnTo>
                    <a:pt x="49" y="55"/>
                  </a:lnTo>
                  <a:lnTo>
                    <a:pt x="49" y="64"/>
                  </a:lnTo>
                  <a:lnTo>
                    <a:pt x="9" y="80"/>
                  </a:lnTo>
                  <a:lnTo>
                    <a:pt x="0" y="80"/>
                  </a:lnTo>
                  <a:lnTo>
                    <a:pt x="0" y="55"/>
                  </a:lnTo>
                  <a:lnTo>
                    <a:pt x="9" y="40"/>
                  </a:lnTo>
                  <a:lnTo>
                    <a:pt x="0" y="24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4" name="Freeform 41"/>
            <p:cNvSpPr>
              <a:spLocks/>
            </p:cNvSpPr>
            <p:nvPr/>
          </p:nvSpPr>
          <p:spPr bwMode="auto">
            <a:xfrm>
              <a:off x="3172" y="2721"/>
              <a:ext cx="97" cy="105"/>
            </a:xfrm>
            <a:custGeom>
              <a:avLst/>
              <a:gdLst>
                <a:gd name="T0" fmla="*/ 144 w 74"/>
                <a:gd name="T1" fmla="*/ 115 h 81"/>
                <a:gd name="T2" fmla="*/ 277 w 74"/>
                <a:gd name="T3" fmla="*/ 115 h 81"/>
                <a:gd name="T4" fmla="*/ 277 w 74"/>
                <a:gd name="T5" fmla="*/ 0 h 81"/>
                <a:gd name="T6" fmla="*/ 495 w 74"/>
                <a:gd name="T7" fmla="*/ 0 h 81"/>
                <a:gd name="T8" fmla="*/ 495 w 74"/>
                <a:gd name="T9" fmla="*/ 115 h 81"/>
                <a:gd name="T10" fmla="*/ 564 w 74"/>
                <a:gd name="T11" fmla="*/ 49 h 81"/>
                <a:gd name="T12" fmla="*/ 637 w 74"/>
                <a:gd name="T13" fmla="*/ 115 h 81"/>
                <a:gd name="T14" fmla="*/ 637 w 74"/>
                <a:gd name="T15" fmla="*/ 187 h 81"/>
                <a:gd name="T16" fmla="*/ 637 w 74"/>
                <a:gd name="T17" fmla="*/ 449 h 81"/>
                <a:gd name="T18" fmla="*/ 440 w 74"/>
                <a:gd name="T19" fmla="*/ 449 h 81"/>
                <a:gd name="T20" fmla="*/ 360 w 74"/>
                <a:gd name="T21" fmla="*/ 503 h 81"/>
                <a:gd name="T22" fmla="*/ 360 w 74"/>
                <a:gd name="T23" fmla="*/ 574 h 81"/>
                <a:gd name="T24" fmla="*/ 277 w 74"/>
                <a:gd name="T25" fmla="*/ 574 h 81"/>
                <a:gd name="T26" fmla="*/ 277 w 74"/>
                <a:gd name="T27" fmla="*/ 640 h 81"/>
                <a:gd name="T28" fmla="*/ 144 w 74"/>
                <a:gd name="T29" fmla="*/ 503 h 81"/>
                <a:gd name="T30" fmla="*/ 0 w 74"/>
                <a:gd name="T31" fmla="*/ 318 h 81"/>
                <a:gd name="T32" fmla="*/ 87 w 74"/>
                <a:gd name="T33" fmla="*/ 245 h 81"/>
                <a:gd name="T34" fmla="*/ 87 w 74"/>
                <a:gd name="T35" fmla="*/ 187 h 81"/>
                <a:gd name="T36" fmla="*/ 144 w 74"/>
                <a:gd name="T37" fmla="*/ 115 h 8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4"/>
                <a:gd name="T58" fmla="*/ 0 h 81"/>
                <a:gd name="T59" fmla="*/ 74 w 74"/>
                <a:gd name="T60" fmla="*/ 81 h 8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4" h="81">
                  <a:moveTo>
                    <a:pt x="16" y="15"/>
                  </a:moveTo>
                  <a:lnTo>
                    <a:pt x="32" y="15"/>
                  </a:lnTo>
                  <a:lnTo>
                    <a:pt x="32" y="0"/>
                  </a:lnTo>
                  <a:lnTo>
                    <a:pt x="57" y="0"/>
                  </a:lnTo>
                  <a:lnTo>
                    <a:pt x="57" y="15"/>
                  </a:lnTo>
                  <a:lnTo>
                    <a:pt x="65" y="6"/>
                  </a:lnTo>
                  <a:lnTo>
                    <a:pt x="73" y="15"/>
                  </a:lnTo>
                  <a:lnTo>
                    <a:pt x="73" y="23"/>
                  </a:lnTo>
                  <a:lnTo>
                    <a:pt x="73" y="56"/>
                  </a:lnTo>
                  <a:lnTo>
                    <a:pt x="50" y="56"/>
                  </a:lnTo>
                  <a:lnTo>
                    <a:pt x="41" y="63"/>
                  </a:lnTo>
                  <a:lnTo>
                    <a:pt x="41" y="72"/>
                  </a:lnTo>
                  <a:lnTo>
                    <a:pt x="32" y="72"/>
                  </a:lnTo>
                  <a:lnTo>
                    <a:pt x="32" y="80"/>
                  </a:lnTo>
                  <a:lnTo>
                    <a:pt x="16" y="63"/>
                  </a:lnTo>
                  <a:lnTo>
                    <a:pt x="0" y="40"/>
                  </a:lnTo>
                  <a:lnTo>
                    <a:pt x="10" y="31"/>
                  </a:lnTo>
                  <a:lnTo>
                    <a:pt x="10" y="23"/>
                  </a:lnTo>
                  <a:lnTo>
                    <a:pt x="16" y="1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5" name="Freeform 42"/>
            <p:cNvSpPr>
              <a:spLocks/>
            </p:cNvSpPr>
            <p:nvPr/>
          </p:nvSpPr>
          <p:spPr bwMode="auto">
            <a:xfrm>
              <a:off x="3172" y="2539"/>
              <a:ext cx="128" cy="190"/>
            </a:xfrm>
            <a:custGeom>
              <a:avLst/>
              <a:gdLst>
                <a:gd name="T0" fmla="*/ 0 w 98"/>
                <a:gd name="T1" fmla="*/ 865 h 146"/>
                <a:gd name="T2" fmla="*/ 133 w 98"/>
                <a:gd name="T3" fmla="*/ 657 h 146"/>
                <a:gd name="T4" fmla="*/ 212 w 98"/>
                <a:gd name="T5" fmla="*/ 657 h 146"/>
                <a:gd name="T6" fmla="*/ 274 w 98"/>
                <a:gd name="T7" fmla="*/ 733 h 146"/>
                <a:gd name="T8" fmla="*/ 351 w 98"/>
                <a:gd name="T9" fmla="*/ 657 h 146"/>
                <a:gd name="T10" fmla="*/ 483 w 98"/>
                <a:gd name="T11" fmla="*/ 462 h 146"/>
                <a:gd name="T12" fmla="*/ 551 w 98"/>
                <a:gd name="T13" fmla="*/ 273 h 146"/>
                <a:gd name="T14" fmla="*/ 618 w 98"/>
                <a:gd name="T15" fmla="*/ 125 h 146"/>
                <a:gd name="T16" fmla="*/ 618 w 98"/>
                <a:gd name="T17" fmla="*/ 64 h 146"/>
                <a:gd name="T18" fmla="*/ 618 w 98"/>
                <a:gd name="T19" fmla="*/ 0 h 146"/>
                <a:gd name="T20" fmla="*/ 618 w 98"/>
                <a:gd name="T21" fmla="*/ 64 h 146"/>
                <a:gd name="T22" fmla="*/ 765 w 98"/>
                <a:gd name="T23" fmla="*/ 331 h 146"/>
                <a:gd name="T24" fmla="*/ 618 w 98"/>
                <a:gd name="T25" fmla="*/ 331 h 146"/>
                <a:gd name="T26" fmla="*/ 618 w 98"/>
                <a:gd name="T27" fmla="*/ 403 h 146"/>
                <a:gd name="T28" fmla="*/ 696 w 98"/>
                <a:gd name="T29" fmla="*/ 462 h 146"/>
                <a:gd name="T30" fmla="*/ 765 w 98"/>
                <a:gd name="T31" fmla="*/ 608 h 146"/>
                <a:gd name="T32" fmla="*/ 618 w 98"/>
                <a:gd name="T33" fmla="*/ 809 h 146"/>
                <a:gd name="T34" fmla="*/ 696 w 98"/>
                <a:gd name="T35" fmla="*/ 865 h 146"/>
                <a:gd name="T36" fmla="*/ 824 w 98"/>
                <a:gd name="T37" fmla="*/ 1067 h 146"/>
                <a:gd name="T38" fmla="*/ 824 w 98"/>
                <a:gd name="T39" fmla="*/ 1192 h 146"/>
                <a:gd name="T40" fmla="*/ 483 w 98"/>
                <a:gd name="T41" fmla="*/ 1148 h 146"/>
                <a:gd name="T42" fmla="*/ 274 w 98"/>
                <a:gd name="T43" fmla="*/ 1148 h 146"/>
                <a:gd name="T44" fmla="*/ 133 w 98"/>
                <a:gd name="T45" fmla="*/ 1148 h 146"/>
                <a:gd name="T46" fmla="*/ 133 w 98"/>
                <a:gd name="T47" fmla="*/ 1067 h 146"/>
                <a:gd name="T48" fmla="*/ 85 w 98"/>
                <a:gd name="T49" fmla="*/ 989 h 146"/>
                <a:gd name="T50" fmla="*/ 0 w 98"/>
                <a:gd name="T51" fmla="*/ 938 h 146"/>
                <a:gd name="T52" fmla="*/ 0 w 98"/>
                <a:gd name="T53" fmla="*/ 865 h 14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98"/>
                <a:gd name="T82" fmla="*/ 0 h 146"/>
                <a:gd name="T83" fmla="*/ 98 w 98"/>
                <a:gd name="T84" fmla="*/ 146 h 14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98" h="146">
                  <a:moveTo>
                    <a:pt x="0" y="105"/>
                  </a:moveTo>
                  <a:lnTo>
                    <a:pt x="16" y="80"/>
                  </a:lnTo>
                  <a:lnTo>
                    <a:pt x="25" y="80"/>
                  </a:lnTo>
                  <a:lnTo>
                    <a:pt x="32" y="89"/>
                  </a:lnTo>
                  <a:lnTo>
                    <a:pt x="41" y="80"/>
                  </a:lnTo>
                  <a:lnTo>
                    <a:pt x="57" y="56"/>
                  </a:lnTo>
                  <a:lnTo>
                    <a:pt x="65" y="33"/>
                  </a:lnTo>
                  <a:lnTo>
                    <a:pt x="73" y="15"/>
                  </a:lnTo>
                  <a:lnTo>
                    <a:pt x="73" y="8"/>
                  </a:lnTo>
                  <a:lnTo>
                    <a:pt x="73" y="0"/>
                  </a:lnTo>
                  <a:lnTo>
                    <a:pt x="73" y="8"/>
                  </a:lnTo>
                  <a:lnTo>
                    <a:pt x="90" y="40"/>
                  </a:lnTo>
                  <a:lnTo>
                    <a:pt x="73" y="40"/>
                  </a:lnTo>
                  <a:lnTo>
                    <a:pt x="73" y="49"/>
                  </a:lnTo>
                  <a:lnTo>
                    <a:pt x="82" y="56"/>
                  </a:lnTo>
                  <a:lnTo>
                    <a:pt x="90" y="74"/>
                  </a:lnTo>
                  <a:lnTo>
                    <a:pt x="73" y="98"/>
                  </a:lnTo>
                  <a:lnTo>
                    <a:pt x="82" y="105"/>
                  </a:lnTo>
                  <a:lnTo>
                    <a:pt x="97" y="130"/>
                  </a:lnTo>
                  <a:lnTo>
                    <a:pt x="97" y="145"/>
                  </a:lnTo>
                  <a:lnTo>
                    <a:pt x="57" y="139"/>
                  </a:lnTo>
                  <a:lnTo>
                    <a:pt x="32" y="139"/>
                  </a:lnTo>
                  <a:lnTo>
                    <a:pt x="16" y="139"/>
                  </a:lnTo>
                  <a:lnTo>
                    <a:pt x="16" y="130"/>
                  </a:lnTo>
                  <a:lnTo>
                    <a:pt x="10" y="121"/>
                  </a:lnTo>
                  <a:lnTo>
                    <a:pt x="0" y="114"/>
                  </a:lnTo>
                  <a:lnTo>
                    <a:pt x="0" y="10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6" name="Freeform 43"/>
            <p:cNvSpPr>
              <a:spLocks/>
            </p:cNvSpPr>
            <p:nvPr/>
          </p:nvSpPr>
          <p:spPr bwMode="auto">
            <a:xfrm>
              <a:off x="3075" y="2530"/>
              <a:ext cx="194" cy="159"/>
            </a:xfrm>
            <a:custGeom>
              <a:avLst/>
              <a:gdLst>
                <a:gd name="T0" fmla="*/ 645 w 148"/>
                <a:gd name="T1" fmla="*/ 933 h 122"/>
                <a:gd name="T2" fmla="*/ 785 w 148"/>
                <a:gd name="T3" fmla="*/ 722 h 122"/>
                <a:gd name="T4" fmla="*/ 863 w 148"/>
                <a:gd name="T5" fmla="*/ 722 h 122"/>
                <a:gd name="T6" fmla="*/ 923 w 148"/>
                <a:gd name="T7" fmla="*/ 796 h 122"/>
                <a:gd name="T8" fmla="*/ 1007 w 148"/>
                <a:gd name="T9" fmla="*/ 722 h 122"/>
                <a:gd name="T10" fmla="*/ 1143 w 148"/>
                <a:gd name="T11" fmla="*/ 523 h 122"/>
                <a:gd name="T12" fmla="*/ 1210 w 148"/>
                <a:gd name="T13" fmla="*/ 335 h 122"/>
                <a:gd name="T14" fmla="*/ 1283 w 148"/>
                <a:gd name="T15" fmla="*/ 189 h 122"/>
                <a:gd name="T16" fmla="*/ 1283 w 148"/>
                <a:gd name="T17" fmla="*/ 125 h 122"/>
                <a:gd name="T18" fmla="*/ 1283 w 148"/>
                <a:gd name="T19" fmla="*/ 60 h 122"/>
                <a:gd name="T20" fmla="*/ 1210 w 148"/>
                <a:gd name="T21" fmla="*/ 0 h 122"/>
                <a:gd name="T22" fmla="*/ 1143 w 148"/>
                <a:gd name="T23" fmla="*/ 0 h 122"/>
                <a:gd name="T24" fmla="*/ 1085 w 148"/>
                <a:gd name="T25" fmla="*/ 60 h 122"/>
                <a:gd name="T26" fmla="*/ 863 w 148"/>
                <a:gd name="T27" fmla="*/ 60 h 122"/>
                <a:gd name="T28" fmla="*/ 731 w 148"/>
                <a:gd name="T29" fmla="*/ 125 h 122"/>
                <a:gd name="T30" fmla="*/ 564 w 148"/>
                <a:gd name="T31" fmla="*/ 60 h 122"/>
                <a:gd name="T32" fmla="*/ 513 w 148"/>
                <a:gd name="T33" fmla="*/ 60 h 122"/>
                <a:gd name="T34" fmla="*/ 298 w 148"/>
                <a:gd name="T35" fmla="*/ 0 h 122"/>
                <a:gd name="T36" fmla="*/ 216 w 148"/>
                <a:gd name="T37" fmla="*/ 0 h 122"/>
                <a:gd name="T38" fmla="*/ 84 w 148"/>
                <a:gd name="T39" fmla="*/ 125 h 122"/>
                <a:gd name="T40" fmla="*/ 84 w 148"/>
                <a:gd name="T41" fmla="*/ 189 h 122"/>
                <a:gd name="T42" fmla="*/ 84 w 148"/>
                <a:gd name="T43" fmla="*/ 335 h 122"/>
                <a:gd name="T44" fmla="*/ 0 w 148"/>
                <a:gd name="T45" fmla="*/ 601 h 122"/>
                <a:gd name="T46" fmla="*/ 0 w 148"/>
                <a:gd name="T47" fmla="*/ 796 h 122"/>
                <a:gd name="T48" fmla="*/ 216 w 148"/>
                <a:gd name="T49" fmla="*/ 796 h 122"/>
                <a:gd name="T50" fmla="*/ 216 w 148"/>
                <a:gd name="T51" fmla="*/ 876 h 122"/>
                <a:gd name="T52" fmla="*/ 298 w 148"/>
                <a:gd name="T53" fmla="*/ 1007 h 122"/>
                <a:gd name="T54" fmla="*/ 363 w 148"/>
                <a:gd name="T55" fmla="*/ 1007 h 122"/>
                <a:gd name="T56" fmla="*/ 645 w 148"/>
                <a:gd name="T57" fmla="*/ 1007 h 122"/>
                <a:gd name="T58" fmla="*/ 645 w 148"/>
                <a:gd name="T59" fmla="*/ 933 h 12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48"/>
                <a:gd name="T91" fmla="*/ 0 h 122"/>
                <a:gd name="T92" fmla="*/ 148 w 148"/>
                <a:gd name="T93" fmla="*/ 122 h 12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48" h="122">
                  <a:moveTo>
                    <a:pt x="74" y="112"/>
                  </a:moveTo>
                  <a:lnTo>
                    <a:pt x="90" y="87"/>
                  </a:lnTo>
                  <a:lnTo>
                    <a:pt x="99" y="87"/>
                  </a:lnTo>
                  <a:lnTo>
                    <a:pt x="106" y="96"/>
                  </a:lnTo>
                  <a:lnTo>
                    <a:pt x="115" y="87"/>
                  </a:lnTo>
                  <a:lnTo>
                    <a:pt x="131" y="63"/>
                  </a:lnTo>
                  <a:lnTo>
                    <a:pt x="139" y="40"/>
                  </a:lnTo>
                  <a:lnTo>
                    <a:pt x="147" y="22"/>
                  </a:lnTo>
                  <a:lnTo>
                    <a:pt x="147" y="15"/>
                  </a:lnTo>
                  <a:lnTo>
                    <a:pt x="147" y="7"/>
                  </a:lnTo>
                  <a:lnTo>
                    <a:pt x="139" y="0"/>
                  </a:lnTo>
                  <a:lnTo>
                    <a:pt x="131" y="0"/>
                  </a:lnTo>
                  <a:lnTo>
                    <a:pt x="124" y="7"/>
                  </a:lnTo>
                  <a:lnTo>
                    <a:pt x="99" y="7"/>
                  </a:lnTo>
                  <a:lnTo>
                    <a:pt x="84" y="15"/>
                  </a:lnTo>
                  <a:lnTo>
                    <a:pt x="65" y="7"/>
                  </a:lnTo>
                  <a:lnTo>
                    <a:pt x="59" y="7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9" y="15"/>
                  </a:lnTo>
                  <a:lnTo>
                    <a:pt x="9" y="22"/>
                  </a:lnTo>
                  <a:lnTo>
                    <a:pt x="9" y="40"/>
                  </a:lnTo>
                  <a:lnTo>
                    <a:pt x="0" y="72"/>
                  </a:lnTo>
                  <a:lnTo>
                    <a:pt x="0" y="96"/>
                  </a:lnTo>
                  <a:lnTo>
                    <a:pt x="25" y="96"/>
                  </a:lnTo>
                  <a:lnTo>
                    <a:pt x="25" y="105"/>
                  </a:lnTo>
                  <a:lnTo>
                    <a:pt x="34" y="121"/>
                  </a:lnTo>
                  <a:lnTo>
                    <a:pt x="42" y="121"/>
                  </a:lnTo>
                  <a:lnTo>
                    <a:pt x="74" y="121"/>
                  </a:lnTo>
                  <a:lnTo>
                    <a:pt x="74" y="11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7" name="Freeform 44"/>
            <p:cNvSpPr>
              <a:spLocks/>
            </p:cNvSpPr>
            <p:nvPr/>
          </p:nvSpPr>
          <p:spPr bwMode="auto">
            <a:xfrm>
              <a:off x="3035" y="2360"/>
              <a:ext cx="265" cy="200"/>
            </a:xfrm>
            <a:custGeom>
              <a:avLst/>
              <a:gdLst>
                <a:gd name="T0" fmla="*/ 1436 w 203"/>
                <a:gd name="T1" fmla="*/ 1106 h 153"/>
                <a:gd name="T2" fmla="*/ 1436 w 203"/>
                <a:gd name="T3" fmla="*/ 1024 h 153"/>
                <a:gd name="T4" fmla="*/ 1647 w 203"/>
                <a:gd name="T5" fmla="*/ 758 h 153"/>
                <a:gd name="T6" fmla="*/ 1704 w 203"/>
                <a:gd name="T7" fmla="*/ 340 h 153"/>
                <a:gd name="T8" fmla="*/ 1578 w 203"/>
                <a:gd name="T9" fmla="*/ 208 h 153"/>
                <a:gd name="T10" fmla="*/ 1578 w 203"/>
                <a:gd name="T11" fmla="*/ 65 h 153"/>
                <a:gd name="T12" fmla="*/ 1501 w 203"/>
                <a:gd name="T13" fmla="*/ 0 h 153"/>
                <a:gd name="T14" fmla="*/ 1231 w 203"/>
                <a:gd name="T15" fmla="*/ 0 h 153"/>
                <a:gd name="T16" fmla="*/ 548 w 203"/>
                <a:gd name="T17" fmla="*/ 469 h 153"/>
                <a:gd name="T18" fmla="*/ 418 w 203"/>
                <a:gd name="T19" fmla="*/ 469 h 153"/>
                <a:gd name="T20" fmla="*/ 418 w 203"/>
                <a:gd name="T21" fmla="*/ 812 h 153"/>
                <a:gd name="T22" fmla="*/ 335 w 203"/>
                <a:gd name="T23" fmla="*/ 894 h 153"/>
                <a:gd name="T24" fmla="*/ 0 w 203"/>
                <a:gd name="T25" fmla="*/ 953 h 153"/>
                <a:gd name="T26" fmla="*/ 0 w 203"/>
                <a:gd name="T27" fmla="*/ 1106 h 153"/>
                <a:gd name="T28" fmla="*/ 133 w 203"/>
                <a:gd name="T29" fmla="*/ 1237 h 153"/>
                <a:gd name="T30" fmla="*/ 211 w 203"/>
                <a:gd name="T31" fmla="*/ 1237 h 153"/>
                <a:gd name="T32" fmla="*/ 211 w 203"/>
                <a:gd name="T33" fmla="*/ 1295 h 153"/>
                <a:gd name="T34" fmla="*/ 211 w 203"/>
                <a:gd name="T35" fmla="*/ 1237 h 153"/>
                <a:gd name="T36" fmla="*/ 257 w 203"/>
                <a:gd name="T37" fmla="*/ 1237 h 153"/>
                <a:gd name="T38" fmla="*/ 335 w 203"/>
                <a:gd name="T39" fmla="*/ 1295 h 153"/>
                <a:gd name="T40" fmla="*/ 335 w 203"/>
                <a:gd name="T41" fmla="*/ 1237 h 153"/>
                <a:gd name="T42" fmla="*/ 469 w 203"/>
                <a:gd name="T43" fmla="*/ 1106 h 153"/>
                <a:gd name="T44" fmla="*/ 548 w 203"/>
                <a:gd name="T45" fmla="*/ 1106 h 153"/>
                <a:gd name="T46" fmla="*/ 758 w 203"/>
                <a:gd name="T47" fmla="*/ 1169 h 153"/>
                <a:gd name="T48" fmla="*/ 808 w 203"/>
                <a:gd name="T49" fmla="*/ 1169 h 153"/>
                <a:gd name="T50" fmla="*/ 970 w 203"/>
                <a:gd name="T51" fmla="*/ 1237 h 153"/>
                <a:gd name="T52" fmla="*/ 1100 w 203"/>
                <a:gd name="T53" fmla="*/ 1169 h 153"/>
                <a:gd name="T54" fmla="*/ 1305 w 203"/>
                <a:gd name="T55" fmla="*/ 1169 h 153"/>
                <a:gd name="T56" fmla="*/ 1362 w 203"/>
                <a:gd name="T57" fmla="*/ 1106 h 153"/>
                <a:gd name="T58" fmla="*/ 1436 w 203"/>
                <a:gd name="T59" fmla="*/ 1106 h 15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03"/>
                <a:gd name="T91" fmla="*/ 0 h 153"/>
                <a:gd name="T92" fmla="*/ 203 w 203"/>
                <a:gd name="T93" fmla="*/ 153 h 15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03" h="153">
                  <a:moveTo>
                    <a:pt x="170" y="130"/>
                  </a:moveTo>
                  <a:lnTo>
                    <a:pt x="170" y="120"/>
                  </a:lnTo>
                  <a:lnTo>
                    <a:pt x="195" y="89"/>
                  </a:lnTo>
                  <a:lnTo>
                    <a:pt x="202" y="40"/>
                  </a:lnTo>
                  <a:lnTo>
                    <a:pt x="187" y="24"/>
                  </a:lnTo>
                  <a:lnTo>
                    <a:pt x="187" y="8"/>
                  </a:lnTo>
                  <a:lnTo>
                    <a:pt x="178" y="0"/>
                  </a:lnTo>
                  <a:lnTo>
                    <a:pt x="146" y="0"/>
                  </a:lnTo>
                  <a:lnTo>
                    <a:pt x="65" y="55"/>
                  </a:lnTo>
                  <a:lnTo>
                    <a:pt x="49" y="55"/>
                  </a:lnTo>
                  <a:lnTo>
                    <a:pt x="49" y="96"/>
                  </a:lnTo>
                  <a:lnTo>
                    <a:pt x="40" y="105"/>
                  </a:lnTo>
                  <a:lnTo>
                    <a:pt x="0" y="112"/>
                  </a:lnTo>
                  <a:lnTo>
                    <a:pt x="0" y="130"/>
                  </a:lnTo>
                  <a:lnTo>
                    <a:pt x="16" y="145"/>
                  </a:lnTo>
                  <a:lnTo>
                    <a:pt x="25" y="145"/>
                  </a:lnTo>
                  <a:lnTo>
                    <a:pt x="25" y="152"/>
                  </a:lnTo>
                  <a:lnTo>
                    <a:pt x="25" y="145"/>
                  </a:lnTo>
                  <a:lnTo>
                    <a:pt x="31" y="145"/>
                  </a:lnTo>
                  <a:lnTo>
                    <a:pt x="40" y="152"/>
                  </a:lnTo>
                  <a:lnTo>
                    <a:pt x="40" y="145"/>
                  </a:lnTo>
                  <a:lnTo>
                    <a:pt x="56" y="130"/>
                  </a:lnTo>
                  <a:lnTo>
                    <a:pt x="65" y="130"/>
                  </a:lnTo>
                  <a:lnTo>
                    <a:pt x="90" y="137"/>
                  </a:lnTo>
                  <a:lnTo>
                    <a:pt x="96" y="137"/>
                  </a:lnTo>
                  <a:lnTo>
                    <a:pt x="115" y="145"/>
                  </a:lnTo>
                  <a:lnTo>
                    <a:pt x="130" y="137"/>
                  </a:lnTo>
                  <a:lnTo>
                    <a:pt x="155" y="137"/>
                  </a:lnTo>
                  <a:lnTo>
                    <a:pt x="162" y="130"/>
                  </a:lnTo>
                  <a:lnTo>
                    <a:pt x="170" y="13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8" name="Freeform 45"/>
            <p:cNvSpPr>
              <a:spLocks/>
            </p:cNvSpPr>
            <p:nvPr/>
          </p:nvSpPr>
          <p:spPr bwMode="auto">
            <a:xfrm>
              <a:off x="3395" y="2371"/>
              <a:ext cx="279" cy="328"/>
            </a:xfrm>
            <a:custGeom>
              <a:avLst/>
              <a:gdLst>
                <a:gd name="T0" fmla="*/ 63 w 213"/>
                <a:gd name="T1" fmla="*/ 1312 h 251"/>
                <a:gd name="T2" fmla="*/ 198 w 213"/>
                <a:gd name="T3" fmla="*/ 1441 h 251"/>
                <a:gd name="T4" fmla="*/ 198 w 213"/>
                <a:gd name="T5" fmla="*/ 1576 h 251"/>
                <a:gd name="T6" fmla="*/ 360 w 213"/>
                <a:gd name="T7" fmla="*/ 1653 h 251"/>
                <a:gd name="T8" fmla="*/ 637 w 213"/>
                <a:gd name="T9" fmla="*/ 1993 h 251"/>
                <a:gd name="T10" fmla="*/ 702 w 213"/>
                <a:gd name="T11" fmla="*/ 2073 h 251"/>
                <a:gd name="T12" fmla="*/ 920 w 213"/>
                <a:gd name="T13" fmla="*/ 2073 h 251"/>
                <a:gd name="T14" fmla="*/ 980 w 213"/>
                <a:gd name="T15" fmla="*/ 2126 h 251"/>
                <a:gd name="T16" fmla="*/ 1109 w 213"/>
                <a:gd name="T17" fmla="*/ 2126 h 251"/>
                <a:gd name="T18" fmla="*/ 1322 w 213"/>
                <a:gd name="T19" fmla="*/ 2073 h 251"/>
                <a:gd name="T20" fmla="*/ 1405 w 213"/>
                <a:gd name="T21" fmla="*/ 2073 h 251"/>
                <a:gd name="T22" fmla="*/ 1543 w 213"/>
                <a:gd name="T23" fmla="*/ 2073 h 251"/>
                <a:gd name="T24" fmla="*/ 1543 w 213"/>
                <a:gd name="T25" fmla="*/ 1933 h 251"/>
                <a:gd name="T26" fmla="*/ 1472 w 213"/>
                <a:gd name="T27" fmla="*/ 1933 h 251"/>
                <a:gd name="T28" fmla="*/ 1322 w 213"/>
                <a:gd name="T29" fmla="*/ 1724 h 251"/>
                <a:gd name="T30" fmla="*/ 1261 w 213"/>
                <a:gd name="T31" fmla="*/ 1653 h 251"/>
                <a:gd name="T32" fmla="*/ 1322 w 213"/>
                <a:gd name="T33" fmla="*/ 1576 h 251"/>
                <a:gd name="T34" fmla="*/ 1405 w 213"/>
                <a:gd name="T35" fmla="*/ 1380 h 251"/>
                <a:gd name="T36" fmla="*/ 1618 w 213"/>
                <a:gd name="T37" fmla="*/ 1103 h 251"/>
                <a:gd name="T38" fmla="*/ 1673 w 213"/>
                <a:gd name="T39" fmla="*/ 694 h 251"/>
                <a:gd name="T40" fmla="*/ 1840 w 213"/>
                <a:gd name="T41" fmla="*/ 612 h 251"/>
                <a:gd name="T42" fmla="*/ 1840 w 213"/>
                <a:gd name="T43" fmla="*/ 548 h 251"/>
                <a:gd name="T44" fmla="*/ 1757 w 213"/>
                <a:gd name="T45" fmla="*/ 485 h 251"/>
                <a:gd name="T46" fmla="*/ 1673 w 213"/>
                <a:gd name="T47" fmla="*/ 60 h 251"/>
                <a:gd name="T48" fmla="*/ 1543 w 213"/>
                <a:gd name="T49" fmla="*/ 0 h 251"/>
                <a:gd name="T50" fmla="*/ 1322 w 213"/>
                <a:gd name="T51" fmla="*/ 133 h 251"/>
                <a:gd name="T52" fmla="*/ 1261 w 213"/>
                <a:gd name="T53" fmla="*/ 60 h 251"/>
                <a:gd name="T54" fmla="*/ 360 w 213"/>
                <a:gd name="T55" fmla="*/ 60 h 251"/>
                <a:gd name="T56" fmla="*/ 360 w 213"/>
                <a:gd name="T57" fmla="*/ 274 h 251"/>
                <a:gd name="T58" fmla="*/ 275 w 213"/>
                <a:gd name="T59" fmla="*/ 355 h 251"/>
                <a:gd name="T60" fmla="*/ 198 w 213"/>
                <a:gd name="T61" fmla="*/ 400 h 251"/>
                <a:gd name="T62" fmla="*/ 198 w 213"/>
                <a:gd name="T63" fmla="*/ 747 h 251"/>
                <a:gd name="T64" fmla="*/ 198 w 213"/>
                <a:gd name="T65" fmla="*/ 828 h 251"/>
                <a:gd name="T66" fmla="*/ 143 w 213"/>
                <a:gd name="T67" fmla="*/ 828 h 251"/>
                <a:gd name="T68" fmla="*/ 0 w 213"/>
                <a:gd name="T69" fmla="*/ 1103 h 251"/>
                <a:gd name="T70" fmla="*/ 143 w 213"/>
                <a:gd name="T71" fmla="*/ 1312 h 251"/>
                <a:gd name="T72" fmla="*/ 63 w 213"/>
                <a:gd name="T73" fmla="*/ 1312 h 25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13"/>
                <a:gd name="T112" fmla="*/ 0 h 251"/>
                <a:gd name="T113" fmla="*/ 213 w 213"/>
                <a:gd name="T114" fmla="*/ 251 h 25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13" h="251">
                  <a:moveTo>
                    <a:pt x="7" y="154"/>
                  </a:moveTo>
                  <a:lnTo>
                    <a:pt x="23" y="169"/>
                  </a:lnTo>
                  <a:lnTo>
                    <a:pt x="23" y="185"/>
                  </a:lnTo>
                  <a:lnTo>
                    <a:pt x="41" y="194"/>
                  </a:lnTo>
                  <a:lnTo>
                    <a:pt x="73" y="234"/>
                  </a:lnTo>
                  <a:lnTo>
                    <a:pt x="81" y="243"/>
                  </a:lnTo>
                  <a:lnTo>
                    <a:pt x="106" y="243"/>
                  </a:lnTo>
                  <a:lnTo>
                    <a:pt x="113" y="250"/>
                  </a:lnTo>
                  <a:lnTo>
                    <a:pt x="128" y="250"/>
                  </a:lnTo>
                  <a:lnTo>
                    <a:pt x="153" y="243"/>
                  </a:lnTo>
                  <a:lnTo>
                    <a:pt x="162" y="243"/>
                  </a:lnTo>
                  <a:lnTo>
                    <a:pt x="178" y="243"/>
                  </a:lnTo>
                  <a:lnTo>
                    <a:pt x="178" y="227"/>
                  </a:lnTo>
                  <a:lnTo>
                    <a:pt x="170" y="227"/>
                  </a:lnTo>
                  <a:lnTo>
                    <a:pt x="153" y="203"/>
                  </a:lnTo>
                  <a:lnTo>
                    <a:pt x="146" y="194"/>
                  </a:lnTo>
                  <a:lnTo>
                    <a:pt x="153" y="185"/>
                  </a:lnTo>
                  <a:lnTo>
                    <a:pt x="162" y="162"/>
                  </a:lnTo>
                  <a:lnTo>
                    <a:pt x="187" y="129"/>
                  </a:lnTo>
                  <a:lnTo>
                    <a:pt x="193" y="81"/>
                  </a:lnTo>
                  <a:lnTo>
                    <a:pt x="212" y="72"/>
                  </a:lnTo>
                  <a:lnTo>
                    <a:pt x="212" y="64"/>
                  </a:lnTo>
                  <a:lnTo>
                    <a:pt x="203" y="57"/>
                  </a:lnTo>
                  <a:lnTo>
                    <a:pt x="193" y="7"/>
                  </a:lnTo>
                  <a:lnTo>
                    <a:pt x="178" y="0"/>
                  </a:lnTo>
                  <a:lnTo>
                    <a:pt x="153" y="16"/>
                  </a:lnTo>
                  <a:lnTo>
                    <a:pt x="146" y="7"/>
                  </a:lnTo>
                  <a:lnTo>
                    <a:pt x="41" y="7"/>
                  </a:lnTo>
                  <a:lnTo>
                    <a:pt x="41" y="32"/>
                  </a:lnTo>
                  <a:lnTo>
                    <a:pt x="31" y="41"/>
                  </a:lnTo>
                  <a:lnTo>
                    <a:pt x="23" y="47"/>
                  </a:lnTo>
                  <a:lnTo>
                    <a:pt x="23" y="88"/>
                  </a:lnTo>
                  <a:lnTo>
                    <a:pt x="23" y="97"/>
                  </a:lnTo>
                  <a:lnTo>
                    <a:pt x="16" y="97"/>
                  </a:lnTo>
                  <a:lnTo>
                    <a:pt x="0" y="129"/>
                  </a:lnTo>
                  <a:lnTo>
                    <a:pt x="16" y="154"/>
                  </a:lnTo>
                  <a:lnTo>
                    <a:pt x="7" y="154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9" name="Freeform 46"/>
            <p:cNvSpPr>
              <a:spLocks/>
            </p:cNvSpPr>
            <p:nvPr/>
          </p:nvSpPr>
          <p:spPr bwMode="auto">
            <a:xfrm>
              <a:off x="3267" y="2572"/>
              <a:ext cx="226" cy="139"/>
            </a:xfrm>
            <a:custGeom>
              <a:avLst/>
              <a:gdLst>
                <a:gd name="T0" fmla="*/ 933 w 172"/>
                <a:gd name="T1" fmla="*/ 0 h 106"/>
                <a:gd name="T2" fmla="*/ 1076 w 172"/>
                <a:gd name="T3" fmla="*/ 132 h 106"/>
                <a:gd name="T4" fmla="*/ 1076 w 172"/>
                <a:gd name="T5" fmla="*/ 275 h 106"/>
                <a:gd name="T6" fmla="*/ 1234 w 172"/>
                <a:gd name="T7" fmla="*/ 346 h 106"/>
                <a:gd name="T8" fmla="*/ 1523 w 172"/>
                <a:gd name="T9" fmla="*/ 702 h 106"/>
                <a:gd name="T10" fmla="*/ 1013 w 172"/>
                <a:gd name="T11" fmla="*/ 702 h 106"/>
                <a:gd name="T12" fmla="*/ 933 w 172"/>
                <a:gd name="T13" fmla="*/ 780 h 106"/>
                <a:gd name="T14" fmla="*/ 710 w 172"/>
                <a:gd name="T15" fmla="*/ 780 h 106"/>
                <a:gd name="T16" fmla="*/ 653 w 172"/>
                <a:gd name="T17" fmla="*/ 702 h 106"/>
                <a:gd name="T18" fmla="*/ 577 w 172"/>
                <a:gd name="T19" fmla="*/ 702 h 106"/>
                <a:gd name="T20" fmla="*/ 511 w 172"/>
                <a:gd name="T21" fmla="*/ 838 h 106"/>
                <a:gd name="T22" fmla="*/ 304 w 172"/>
                <a:gd name="T23" fmla="*/ 921 h 106"/>
                <a:gd name="T24" fmla="*/ 215 w 172"/>
                <a:gd name="T25" fmla="*/ 921 h 106"/>
                <a:gd name="T26" fmla="*/ 84 w 172"/>
                <a:gd name="T27" fmla="*/ 702 h 106"/>
                <a:gd name="T28" fmla="*/ 0 w 172"/>
                <a:gd name="T29" fmla="*/ 639 h 106"/>
                <a:gd name="T30" fmla="*/ 150 w 172"/>
                <a:gd name="T31" fmla="*/ 426 h 106"/>
                <a:gd name="T32" fmla="*/ 511 w 172"/>
                <a:gd name="T33" fmla="*/ 346 h 106"/>
                <a:gd name="T34" fmla="*/ 577 w 172"/>
                <a:gd name="T35" fmla="*/ 275 h 106"/>
                <a:gd name="T36" fmla="*/ 511 w 172"/>
                <a:gd name="T37" fmla="*/ 275 h 106"/>
                <a:gd name="T38" fmla="*/ 710 w 172"/>
                <a:gd name="T39" fmla="*/ 210 h 106"/>
                <a:gd name="T40" fmla="*/ 874 w 172"/>
                <a:gd name="T41" fmla="*/ 66 h 106"/>
                <a:gd name="T42" fmla="*/ 933 w 172"/>
                <a:gd name="T43" fmla="*/ 0 h 10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72"/>
                <a:gd name="T67" fmla="*/ 0 h 106"/>
                <a:gd name="T68" fmla="*/ 172 w 172"/>
                <a:gd name="T69" fmla="*/ 106 h 10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72" h="106">
                  <a:moveTo>
                    <a:pt x="105" y="0"/>
                  </a:moveTo>
                  <a:lnTo>
                    <a:pt x="121" y="15"/>
                  </a:lnTo>
                  <a:lnTo>
                    <a:pt x="121" y="31"/>
                  </a:lnTo>
                  <a:lnTo>
                    <a:pt x="139" y="40"/>
                  </a:lnTo>
                  <a:lnTo>
                    <a:pt x="171" y="80"/>
                  </a:lnTo>
                  <a:lnTo>
                    <a:pt x="114" y="80"/>
                  </a:lnTo>
                  <a:lnTo>
                    <a:pt x="105" y="89"/>
                  </a:lnTo>
                  <a:lnTo>
                    <a:pt x="80" y="89"/>
                  </a:lnTo>
                  <a:lnTo>
                    <a:pt x="74" y="80"/>
                  </a:lnTo>
                  <a:lnTo>
                    <a:pt x="65" y="80"/>
                  </a:lnTo>
                  <a:lnTo>
                    <a:pt x="57" y="96"/>
                  </a:lnTo>
                  <a:lnTo>
                    <a:pt x="34" y="105"/>
                  </a:lnTo>
                  <a:lnTo>
                    <a:pt x="24" y="105"/>
                  </a:lnTo>
                  <a:lnTo>
                    <a:pt x="9" y="80"/>
                  </a:lnTo>
                  <a:lnTo>
                    <a:pt x="0" y="73"/>
                  </a:lnTo>
                  <a:lnTo>
                    <a:pt x="17" y="49"/>
                  </a:lnTo>
                  <a:lnTo>
                    <a:pt x="57" y="40"/>
                  </a:lnTo>
                  <a:lnTo>
                    <a:pt x="65" y="31"/>
                  </a:lnTo>
                  <a:lnTo>
                    <a:pt x="57" y="31"/>
                  </a:lnTo>
                  <a:lnTo>
                    <a:pt x="80" y="24"/>
                  </a:lnTo>
                  <a:lnTo>
                    <a:pt x="98" y="8"/>
                  </a:lnTo>
                  <a:lnTo>
                    <a:pt x="105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0" name="Freeform 47"/>
            <p:cNvSpPr>
              <a:spLocks/>
            </p:cNvSpPr>
            <p:nvPr/>
          </p:nvSpPr>
          <p:spPr bwMode="auto">
            <a:xfrm>
              <a:off x="3595" y="2688"/>
              <a:ext cx="140" cy="148"/>
            </a:xfrm>
            <a:custGeom>
              <a:avLst/>
              <a:gdLst>
                <a:gd name="T0" fmla="*/ 912 w 107"/>
                <a:gd name="T1" fmla="*/ 58 h 114"/>
                <a:gd name="T2" fmla="*/ 771 w 107"/>
                <a:gd name="T3" fmla="*/ 0 h 114"/>
                <a:gd name="T4" fmla="*/ 559 w 107"/>
                <a:gd name="T5" fmla="*/ 58 h 114"/>
                <a:gd name="T6" fmla="*/ 216 w 107"/>
                <a:gd name="T7" fmla="*/ 0 h 114"/>
                <a:gd name="T8" fmla="*/ 79 w 107"/>
                <a:gd name="T9" fmla="*/ 0 h 114"/>
                <a:gd name="T10" fmla="*/ 0 w 107"/>
                <a:gd name="T11" fmla="*/ 0 h 114"/>
                <a:gd name="T12" fmla="*/ 79 w 107"/>
                <a:gd name="T13" fmla="*/ 58 h 114"/>
                <a:gd name="T14" fmla="*/ 145 w 107"/>
                <a:gd name="T15" fmla="*/ 249 h 114"/>
                <a:gd name="T16" fmla="*/ 0 w 107"/>
                <a:gd name="T17" fmla="*/ 456 h 114"/>
                <a:gd name="T18" fmla="*/ 0 w 107"/>
                <a:gd name="T19" fmla="*/ 522 h 114"/>
                <a:gd name="T20" fmla="*/ 79 w 107"/>
                <a:gd name="T21" fmla="*/ 522 h 114"/>
                <a:gd name="T22" fmla="*/ 427 w 107"/>
                <a:gd name="T23" fmla="*/ 706 h 114"/>
                <a:gd name="T24" fmla="*/ 427 w 107"/>
                <a:gd name="T25" fmla="*/ 849 h 114"/>
                <a:gd name="T26" fmla="*/ 637 w 107"/>
                <a:gd name="T27" fmla="*/ 915 h 114"/>
                <a:gd name="T28" fmla="*/ 701 w 107"/>
                <a:gd name="T29" fmla="*/ 706 h 114"/>
                <a:gd name="T30" fmla="*/ 771 w 107"/>
                <a:gd name="T31" fmla="*/ 706 h 114"/>
                <a:gd name="T32" fmla="*/ 849 w 107"/>
                <a:gd name="T33" fmla="*/ 580 h 114"/>
                <a:gd name="T34" fmla="*/ 771 w 107"/>
                <a:gd name="T35" fmla="*/ 522 h 114"/>
                <a:gd name="T36" fmla="*/ 771 w 107"/>
                <a:gd name="T37" fmla="*/ 200 h 114"/>
                <a:gd name="T38" fmla="*/ 912 w 107"/>
                <a:gd name="T39" fmla="*/ 58 h 11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07"/>
                <a:gd name="T61" fmla="*/ 0 h 114"/>
                <a:gd name="T62" fmla="*/ 107 w 107"/>
                <a:gd name="T63" fmla="*/ 114 h 11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07" h="114">
                  <a:moveTo>
                    <a:pt x="106" y="7"/>
                  </a:moveTo>
                  <a:lnTo>
                    <a:pt x="90" y="0"/>
                  </a:lnTo>
                  <a:lnTo>
                    <a:pt x="65" y="7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9" y="7"/>
                  </a:lnTo>
                  <a:lnTo>
                    <a:pt x="17" y="31"/>
                  </a:lnTo>
                  <a:lnTo>
                    <a:pt x="0" y="56"/>
                  </a:lnTo>
                  <a:lnTo>
                    <a:pt x="0" y="65"/>
                  </a:lnTo>
                  <a:lnTo>
                    <a:pt x="9" y="65"/>
                  </a:lnTo>
                  <a:lnTo>
                    <a:pt x="50" y="88"/>
                  </a:lnTo>
                  <a:lnTo>
                    <a:pt x="50" y="105"/>
                  </a:lnTo>
                  <a:lnTo>
                    <a:pt x="74" y="113"/>
                  </a:lnTo>
                  <a:lnTo>
                    <a:pt x="82" y="88"/>
                  </a:lnTo>
                  <a:lnTo>
                    <a:pt x="90" y="88"/>
                  </a:lnTo>
                  <a:lnTo>
                    <a:pt x="99" y="72"/>
                  </a:lnTo>
                  <a:lnTo>
                    <a:pt x="90" y="65"/>
                  </a:lnTo>
                  <a:lnTo>
                    <a:pt x="90" y="25"/>
                  </a:lnTo>
                  <a:lnTo>
                    <a:pt x="106" y="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1" name="Freeform 48"/>
            <p:cNvSpPr>
              <a:spLocks/>
            </p:cNvSpPr>
            <p:nvPr/>
          </p:nvSpPr>
          <p:spPr bwMode="auto">
            <a:xfrm>
              <a:off x="3522" y="2688"/>
              <a:ext cx="97" cy="95"/>
            </a:xfrm>
            <a:custGeom>
              <a:avLst/>
              <a:gdLst>
                <a:gd name="T0" fmla="*/ 486 w 74"/>
                <a:gd name="T1" fmla="*/ 0 h 73"/>
                <a:gd name="T2" fmla="*/ 564 w 74"/>
                <a:gd name="T3" fmla="*/ 60 h 73"/>
                <a:gd name="T4" fmla="*/ 637 w 74"/>
                <a:gd name="T5" fmla="*/ 254 h 73"/>
                <a:gd name="T6" fmla="*/ 486 w 74"/>
                <a:gd name="T7" fmla="*/ 462 h 73"/>
                <a:gd name="T8" fmla="*/ 486 w 74"/>
                <a:gd name="T9" fmla="*/ 535 h 73"/>
                <a:gd name="T10" fmla="*/ 275 w 74"/>
                <a:gd name="T11" fmla="*/ 535 h 73"/>
                <a:gd name="T12" fmla="*/ 144 w 74"/>
                <a:gd name="T13" fmla="*/ 535 h 73"/>
                <a:gd name="T14" fmla="*/ 0 w 74"/>
                <a:gd name="T15" fmla="*/ 592 h 73"/>
                <a:gd name="T16" fmla="*/ 84 w 74"/>
                <a:gd name="T17" fmla="*/ 393 h 73"/>
                <a:gd name="T18" fmla="*/ 144 w 74"/>
                <a:gd name="T19" fmla="*/ 331 h 73"/>
                <a:gd name="T20" fmla="*/ 216 w 74"/>
                <a:gd name="T21" fmla="*/ 210 h 73"/>
                <a:gd name="T22" fmla="*/ 144 w 74"/>
                <a:gd name="T23" fmla="*/ 210 h 73"/>
                <a:gd name="T24" fmla="*/ 144 w 74"/>
                <a:gd name="T25" fmla="*/ 60 h 73"/>
                <a:gd name="T26" fmla="*/ 275 w 74"/>
                <a:gd name="T27" fmla="*/ 60 h 73"/>
                <a:gd name="T28" fmla="*/ 486 w 74"/>
                <a:gd name="T29" fmla="*/ 0 h 7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4"/>
                <a:gd name="T46" fmla="*/ 0 h 73"/>
                <a:gd name="T47" fmla="*/ 74 w 74"/>
                <a:gd name="T48" fmla="*/ 73 h 7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4" h="73">
                  <a:moveTo>
                    <a:pt x="56" y="0"/>
                  </a:moveTo>
                  <a:lnTo>
                    <a:pt x="65" y="7"/>
                  </a:lnTo>
                  <a:lnTo>
                    <a:pt x="73" y="31"/>
                  </a:lnTo>
                  <a:lnTo>
                    <a:pt x="56" y="56"/>
                  </a:lnTo>
                  <a:lnTo>
                    <a:pt x="56" y="65"/>
                  </a:lnTo>
                  <a:lnTo>
                    <a:pt x="31" y="65"/>
                  </a:lnTo>
                  <a:lnTo>
                    <a:pt x="16" y="65"/>
                  </a:lnTo>
                  <a:lnTo>
                    <a:pt x="0" y="72"/>
                  </a:lnTo>
                  <a:lnTo>
                    <a:pt x="9" y="48"/>
                  </a:lnTo>
                  <a:lnTo>
                    <a:pt x="16" y="40"/>
                  </a:lnTo>
                  <a:lnTo>
                    <a:pt x="25" y="25"/>
                  </a:lnTo>
                  <a:lnTo>
                    <a:pt x="16" y="25"/>
                  </a:lnTo>
                  <a:lnTo>
                    <a:pt x="16" y="7"/>
                  </a:lnTo>
                  <a:lnTo>
                    <a:pt x="31" y="7"/>
                  </a:lnTo>
                  <a:lnTo>
                    <a:pt x="56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2" name="Freeform 49"/>
            <p:cNvSpPr>
              <a:spLocks/>
            </p:cNvSpPr>
            <p:nvPr/>
          </p:nvSpPr>
          <p:spPr bwMode="auto">
            <a:xfrm>
              <a:off x="3522" y="2773"/>
              <a:ext cx="181" cy="180"/>
            </a:xfrm>
            <a:custGeom>
              <a:avLst/>
              <a:gdLst>
                <a:gd name="T0" fmla="*/ 408 w 139"/>
                <a:gd name="T1" fmla="*/ 943 h 138"/>
                <a:gd name="T2" fmla="*/ 210 w 139"/>
                <a:gd name="T3" fmla="*/ 818 h 138"/>
                <a:gd name="T4" fmla="*/ 133 w 139"/>
                <a:gd name="T5" fmla="*/ 818 h 138"/>
                <a:gd name="T6" fmla="*/ 0 w 139"/>
                <a:gd name="T7" fmla="*/ 605 h 138"/>
                <a:gd name="T8" fmla="*/ 0 w 139"/>
                <a:gd name="T9" fmla="*/ 407 h 138"/>
                <a:gd name="T10" fmla="*/ 133 w 139"/>
                <a:gd name="T11" fmla="*/ 273 h 138"/>
                <a:gd name="T12" fmla="*/ 133 w 139"/>
                <a:gd name="T13" fmla="*/ 192 h 138"/>
                <a:gd name="T14" fmla="*/ 133 w 139"/>
                <a:gd name="T15" fmla="*/ 133 h 138"/>
                <a:gd name="T16" fmla="*/ 133 w 139"/>
                <a:gd name="T17" fmla="*/ 0 h 138"/>
                <a:gd name="T18" fmla="*/ 257 w 139"/>
                <a:gd name="T19" fmla="*/ 0 h 138"/>
                <a:gd name="T20" fmla="*/ 462 w 139"/>
                <a:gd name="T21" fmla="*/ 0 h 138"/>
                <a:gd name="T22" fmla="*/ 543 w 139"/>
                <a:gd name="T23" fmla="*/ 0 h 138"/>
                <a:gd name="T24" fmla="*/ 876 w 139"/>
                <a:gd name="T25" fmla="*/ 192 h 138"/>
                <a:gd name="T26" fmla="*/ 876 w 139"/>
                <a:gd name="T27" fmla="*/ 335 h 138"/>
                <a:gd name="T28" fmla="*/ 1068 w 139"/>
                <a:gd name="T29" fmla="*/ 407 h 138"/>
                <a:gd name="T30" fmla="*/ 1003 w 139"/>
                <a:gd name="T31" fmla="*/ 531 h 138"/>
                <a:gd name="T32" fmla="*/ 1068 w 139"/>
                <a:gd name="T33" fmla="*/ 669 h 138"/>
                <a:gd name="T34" fmla="*/ 1068 w 139"/>
                <a:gd name="T35" fmla="*/ 860 h 138"/>
                <a:gd name="T36" fmla="*/ 1068 w 139"/>
                <a:gd name="T37" fmla="*/ 943 h 138"/>
                <a:gd name="T38" fmla="*/ 1141 w 139"/>
                <a:gd name="T39" fmla="*/ 1019 h 138"/>
                <a:gd name="T40" fmla="*/ 1003 w 139"/>
                <a:gd name="T41" fmla="*/ 1150 h 138"/>
                <a:gd name="T42" fmla="*/ 742 w 139"/>
                <a:gd name="T43" fmla="*/ 1150 h 138"/>
                <a:gd name="T44" fmla="*/ 602 w 139"/>
                <a:gd name="T45" fmla="*/ 1150 h 138"/>
                <a:gd name="T46" fmla="*/ 543 w 139"/>
                <a:gd name="T47" fmla="*/ 943 h 138"/>
                <a:gd name="T48" fmla="*/ 462 w 139"/>
                <a:gd name="T49" fmla="*/ 943 h 138"/>
                <a:gd name="T50" fmla="*/ 408 w 139"/>
                <a:gd name="T51" fmla="*/ 943 h 13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9"/>
                <a:gd name="T79" fmla="*/ 0 h 138"/>
                <a:gd name="T80" fmla="*/ 139 w 139"/>
                <a:gd name="T81" fmla="*/ 138 h 13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9" h="138">
                  <a:moveTo>
                    <a:pt x="49" y="113"/>
                  </a:moveTo>
                  <a:lnTo>
                    <a:pt x="25" y="97"/>
                  </a:lnTo>
                  <a:lnTo>
                    <a:pt x="16" y="97"/>
                  </a:lnTo>
                  <a:lnTo>
                    <a:pt x="0" y="72"/>
                  </a:lnTo>
                  <a:lnTo>
                    <a:pt x="0" y="48"/>
                  </a:lnTo>
                  <a:lnTo>
                    <a:pt x="16" y="32"/>
                  </a:lnTo>
                  <a:lnTo>
                    <a:pt x="16" y="23"/>
                  </a:lnTo>
                  <a:lnTo>
                    <a:pt x="16" y="16"/>
                  </a:lnTo>
                  <a:lnTo>
                    <a:pt x="16" y="0"/>
                  </a:lnTo>
                  <a:lnTo>
                    <a:pt x="31" y="0"/>
                  </a:lnTo>
                  <a:lnTo>
                    <a:pt x="56" y="0"/>
                  </a:lnTo>
                  <a:lnTo>
                    <a:pt x="65" y="0"/>
                  </a:lnTo>
                  <a:lnTo>
                    <a:pt x="106" y="23"/>
                  </a:lnTo>
                  <a:lnTo>
                    <a:pt x="106" y="40"/>
                  </a:lnTo>
                  <a:lnTo>
                    <a:pt x="130" y="48"/>
                  </a:lnTo>
                  <a:lnTo>
                    <a:pt x="121" y="63"/>
                  </a:lnTo>
                  <a:lnTo>
                    <a:pt x="130" y="80"/>
                  </a:lnTo>
                  <a:lnTo>
                    <a:pt x="130" y="103"/>
                  </a:lnTo>
                  <a:lnTo>
                    <a:pt x="130" y="113"/>
                  </a:lnTo>
                  <a:lnTo>
                    <a:pt x="138" y="122"/>
                  </a:lnTo>
                  <a:lnTo>
                    <a:pt x="121" y="137"/>
                  </a:lnTo>
                  <a:lnTo>
                    <a:pt x="90" y="137"/>
                  </a:lnTo>
                  <a:lnTo>
                    <a:pt x="73" y="137"/>
                  </a:lnTo>
                  <a:lnTo>
                    <a:pt x="65" y="113"/>
                  </a:lnTo>
                  <a:lnTo>
                    <a:pt x="56" y="113"/>
                  </a:lnTo>
                  <a:lnTo>
                    <a:pt x="49" y="113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3" name="Freeform 50"/>
            <p:cNvSpPr>
              <a:spLocks/>
            </p:cNvSpPr>
            <p:nvPr/>
          </p:nvSpPr>
          <p:spPr bwMode="auto">
            <a:xfrm>
              <a:off x="3238" y="2676"/>
              <a:ext cx="318" cy="310"/>
            </a:xfrm>
            <a:custGeom>
              <a:avLst/>
              <a:gdLst>
                <a:gd name="T0" fmla="*/ 1615 w 244"/>
                <a:gd name="T1" fmla="*/ 0 h 237"/>
                <a:gd name="T2" fmla="*/ 1142 w 244"/>
                <a:gd name="T3" fmla="*/ 0 h 237"/>
                <a:gd name="T4" fmla="*/ 1066 w 244"/>
                <a:gd name="T5" fmla="*/ 78 h 237"/>
                <a:gd name="T6" fmla="*/ 856 w 244"/>
                <a:gd name="T7" fmla="*/ 78 h 237"/>
                <a:gd name="T8" fmla="*/ 805 w 244"/>
                <a:gd name="T9" fmla="*/ 0 h 237"/>
                <a:gd name="T10" fmla="*/ 732 w 244"/>
                <a:gd name="T11" fmla="*/ 0 h 237"/>
                <a:gd name="T12" fmla="*/ 666 w 244"/>
                <a:gd name="T13" fmla="*/ 133 h 237"/>
                <a:gd name="T14" fmla="*/ 523 w 244"/>
                <a:gd name="T15" fmla="*/ 634 h 237"/>
                <a:gd name="T16" fmla="*/ 392 w 244"/>
                <a:gd name="T17" fmla="*/ 770 h 237"/>
                <a:gd name="T18" fmla="*/ 335 w 244"/>
                <a:gd name="T19" fmla="*/ 978 h 237"/>
                <a:gd name="T20" fmla="*/ 190 w 244"/>
                <a:gd name="T21" fmla="*/ 1045 h 237"/>
                <a:gd name="T22" fmla="*/ 60 w 244"/>
                <a:gd name="T23" fmla="*/ 1045 h 237"/>
                <a:gd name="T24" fmla="*/ 0 w 244"/>
                <a:gd name="T25" fmla="*/ 1171 h 237"/>
                <a:gd name="T26" fmla="*/ 0 w 244"/>
                <a:gd name="T27" fmla="*/ 1252 h 237"/>
                <a:gd name="T28" fmla="*/ 125 w 244"/>
                <a:gd name="T29" fmla="*/ 1171 h 237"/>
                <a:gd name="T30" fmla="*/ 392 w 244"/>
                <a:gd name="T31" fmla="*/ 1171 h 237"/>
                <a:gd name="T32" fmla="*/ 469 w 244"/>
                <a:gd name="T33" fmla="*/ 1171 h 237"/>
                <a:gd name="T34" fmla="*/ 469 w 244"/>
                <a:gd name="T35" fmla="*/ 1317 h 237"/>
                <a:gd name="T36" fmla="*/ 601 w 244"/>
                <a:gd name="T37" fmla="*/ 1466 h 237"/>
                <a:gd name="T38" fmla="*/ 732 w 244"/>
                <a:gd name="T39" fmla="*/ 1388 h 237"/>
                <a:gd name="T40" fmla="*/ 732 w 244"/>
                <a:gd name="T41" fmla="*/ 1317 h 237"/>
                <a:gd name="T42" fmla="*/ 856 w 244"/>
                <a:gd name="T43" fmla="*/ 1317 h 237"/>
                <a:gd name="T44" fmla="*/ 1007 w 244"/>
                <a:gd name="T45" fmla="*/ 1388 h 237"/>
                <a:gd name="T46" fmla="*/ 1007 w 244"/>
                <a:gd name="T47" fmla="*/ 1605 h 237"/>
                <a:gd name="T48" fmla="*/ 1066 w 244"/>
                <a:gd name="T49" fmla="*/ 1677 h 237"/>
                <a:gd name="T50" fmla="*/ 1007 w 244"/>
                <a:gd name="T51" fmla="*/ 1728 h 237"/>
                <a:gd name="T52" fmla="*/ 1007 w 244"/>
                <a:gd name="T53" fmla="*/ 1806 h 237"/>
                <a:gd name="T54" fmla="*/ 1199 w 244"/>
                <a:gd name="T55" fmla="*/ 1728 h 237"/>
                <a:gd name="T56" fmla="*/ 1474 w 244"/>
                <a:gd name="T57" fmla="*/ 1873 h 237"/>
                <a:gd name="T58" fmla="*/ 1547 w 244"/>
                <a:gd name="T59" fmla="*/ 1806 h 237"/>
                <a:gd name="T60" fmla="*/ 1732 w 244"/>
                <a:gd name="T61" fmla="*/ 1945 h 237"/>
                <a:gd name="T62" fmla="*/ 1810 w 244"/>
                <a:gd name="T63" fmla="*/ 2022 h 237"/>
                <a:gd name="T64" fmla="*/ 1810 w 244"/>
                <a:gd name="T65" fmla="*/ 1873 h 237"/>
                <a:gd name="T66" fmla="*/ 1732 w 244"/>
                <a:gd name="T67" fmla="*/ 1873 h 237"/>
                <a:gd name="T68" fmla="*/ 1732 w 244"/>
                <a:gd name="T69" fmla="*/ 1806 h 237"/>
                <a:gd name="T70" fmla="*/ 1732 w 244"/>
                <a:gd name="T71" fmla="*/ 1517 h 237"/>
                <a:gd name="T72" fmla="*/ 1732 w 244"/>
                <a:gd name="T73" fmla="*/ 1466 h 237"/>
                <a:gd name="T74" fmla="*/ 1950 w 244"/>
                <a:gd name="T75" fmla="*/ 1466 h 237"/>
                <a:gd name="T76" fmla="*/ 1810 w 244"/>
                <a:gd name="T77" fmla="*/ 1252 h 237"/>
                <a:gd name="T78" fmla="*/ 1810 w 244"/>
                <a:gd name="T79" fmla="*/ 1045 h 237"/>
                <a:gd name="T80" fmla="*/ 1810 w 244"/>
                <a:gd name="T81" fmla="*/ 910 h 237"/>
                <a:gd name="T82" fmla="*/ 1810 w 244"/>
                <a:gd name="T83" fmla="*/ 829 h 237"/>
                <a:gd name="T84" fmla="*/ 1732 w 244"/>
                <a:gd name="T85" fmla="*/ 829 h 237"/>
                <a:gd name="T86" fmla="*/ 1810 w 244"/>
                <a:gd name="T87" fmla="*/ 696 h 237"/>
                <a:gd name="T88" fmla="*/ 1892 w 244"/>
                <a:gd name="T89" fmla="*/ 488 h 237"/>
                <a:gd name="T90" fmla="*/ 1950 w 244"/>
                <a:gd name="T91" fmla="*/ 421 h 237"/>
                <a:gd name="T92" fmla="*/ 2023 w 244"/>
                <a:gd name="T93" fmla="*/ 289 h 237"/>
                <a:gd name="T94" fmla="*/ 1950 w 244"/>
                <a:gd name="T95" fmla="*/ 289 h 237"/>
                <a:gd name="T96" fmla="*/ 1950 w 244"/>
                <a:gd name="T97" fmla="*/ 133 h 237"/>
                <a:gd name="T98" fmla="*/ 1892 w 244"/>
                <a:gd name="T99" fmla="*/ 78 h 237"/>
                <a:gd name="T100" fmla="*/ 1681 w 244"/>
                <a:gd name="T101" fmla="*/ 78 h 237"/>
                <a:gd name="T102" fmla="*/ 1615 w 244"/>
                <a:gd name="T103" fmla="*/ 0 h 23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44"/>
                <a:gd name="T157" fmla="*/ 0 h 237"/>
                <a:gd name="T158" fmla="*/ 244 w 244"/>
                <a:gd name="T159" fmla="*/ 237 h 23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44" h="237">
                  <a:moveTo>
                    <a:pt x="194" y="0"/>
                  </a:moveTo>
                  <a:lnTo>
                    <a:pt x="137" y="0"/>
                  </a:lnTo>
                  <a:lnTo>
                    <a:pt x="128" y="9"/>
                  </a:lnTo>
                  <a:lnTo>
                    <a:pt x="103" y="9"/>
                  </a:lnTo>
                  <a:lnTo>
                    <a:pt x="97" y="0"/>
                  </a:lnTo>
                  <a:lnTo>
                    <a:pt x="88" y="0"/>
                  </a:lnTo>
                  <a:lnTo>
                    <a:pt x="80" y="16"/>
                  </a:lnTo>
                  <a:lnTo>
                    <a:pt x="63" y="74"/>
                  </a:lnTo>
                  <a:lnTo>
                    <a:pt x="47" y="90"/>
                  </a:lnTo>
                  <a:lnTo>
                    <a:pt x="40" y="114"/>
                  </a:lnTo>
                  <a:lnTo>
                    <a:pt x="23" y="122"/>
                  </a:lnTo>
                  <a:lnTo>
                    <a:pt x="7" y="122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15" y="137"/>
                  </a:lnTo>
                  <a:lnTo>
                    <a:pt x="47" y="137"/>
                  </a:lnTo>
                  <a:lnTo>
                    <a:pt x="57" y="137"/>
                  </a:lnTo>
                  <a:lnTo>
                    <a:pt x="57" y="154"/>
                  </a:lnTo>
                  <a:lnTo>
                    <a:pt x="72" y="171"/>
                  </a:lnTo>
                  <a:lnTo>
                    <a:pt x="88" y="162"/>
                  </a:lnTo>
                  <a:lnTo>
                    <a:pt x="88" y="154"/>
                  </a:lnTo>
                  <a:lnTo>
                    <a:pt x="103" y="154"/>
                  </a:lnTo>
                  <a:lnTo>
                    <a:pt x="121" y="162"/>
                  </a:lnTo>
                  <a:lnTo>
                    <a:pt x="121" y="187"/>
                  </a:lnTo>
                  <a:lnTo>
                    <a:pt x="128" y="196"/>
                  </a:lnTo>
                  <a:lnTo>
                    <a:pt x="121" y="202"/>
                  </a:lnTo>
                  <a:lnTo>
                    <a:pt x="121" y="211"/>
                  </a:lnTo>
                  <a:lnTo>
                    <a:pt x="144" y="202"/>
                  </a:lnTo>
                  <a:lnTo>
                    <a:pt x="177" y="219"/>
                  </a:lnTo>
                  <a:lnTo>
                    <a:pt x="186" y="211"/>
                  </a:lnTo>
                  <a:lnTo>
                    <a:pt x="209" y="227"/>
                  </a:lnTo>
                  <a:lnTo>
                    <a:pt x="218" y="236"/>
                  </a:lnTo>
                  <a:lnTo>
                    <a:pt x="218" y="219"/>
                  </a:lnTo>
                  <a:lnTo>
                    <a:pt x="209" y="219"/>
                  </a:lnTo>
                  <a:lnTo>
                    <a:pt x="209" y="211"/>
                  </a:lnTo>
                  <a:lnTo>
                    <a:pt x="209" y="177"/>
                  </a:lnTo>
                  <a:lnTo>
                    <a:pt x="209" y="171"/>
                  </a:lnTo>
                  <a:lnTo>
                    <a:pt x="234" y="171"/>
                  </a:lnTo>
                  <a:lnTo>
                    <a:pt x="218" y="146"/>
                  </a:lnTo>
                  <a:lnTo>
                    <a:pt x="218" y="122"/>
                  </a:lnTo>
                  <a:lnTo>
                    <a:pt x="218" y="106"/>
                  </a:lnTo>
                  <a:lnTo>
                    <a:pt x="218" y="97"/>
                  </a:lnTo>
                  <a:lnTo>
                    <a:pt x="209" y="97"/>
                  </a:lnTo>
                  <a:lnTo>
                    <a:pt x="218" y="81"/>
                  </a:lnTo>
                  <a:lnTo>
                    <a:pt x="227" y="57"/>
                  </a:lnTo>
                  <a:lnTo>
                    <a:pt x="234" y="49"/>
                  </a:lnTo>
                  <a:lnTo>
                    <a:pt x="243" y="34"/>
                  </a:lnTo>
                  <a:lnTo>
                    <a:pt x="234" y="34"/>
                  </a:lnTo>
                  <a:lnTo>
                    <a:pt x="234" y="16"/>
                  </a:lnTo>
                  <a:lnTo>
                    <a:pt x="227" y="9"/>
                  </a:lnTo>
                  <a:lnTo>
                    <a:pt x="202" y="9"/>
                  </a:lnTo>
                  <a:lnTo>
                    <a:pt x="194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4" name="Freeform 51"/>
            <p:cNvSpPr>
              <a:spLocks/>
            </p:cNvSpPr>
            <p:nvPr/>
          </p:nvSpPr>
          <p:spPr bwMode="auto">
            <a:xfrm>
              <a:off x="3395" y="2900"/>
              <a:ext cx="201" cy="159"/>
            </a:xfrm>
            <a:custGeom>
              <a:avLst/>
              <a:gdLst>
                <a:gd name="T0" fmla="*/ 194 w 154"/>
                <a:gd name="T1" fmla="*/ 257 h 122"/>
                <a:gd name="T2" fmla="*/ 469 w 154"/>
                <a:gd name="T3" fmla="*/ 401 h 122"/>
                <a:gd name="T4" fmla="*/ 548 w 154"/>
                <a:gd name="T5" fmla="*/ 335 h 122"/>
                <a:gd name="T6" fmla="*/ 743 w 154"/>
                <a:gd name="T7" fmla="*/ 467 h 122"/>
                <a:gd name="T8" fmla="*/ 821 w 154"/>
                <a:gd name="T9" fmla="*/ 545 h 122"/>
                <a:gd name="T10" fmla="*/ 821 w 154"/>
                <a:gd name="T11" fmla="*/ 401 h 122"/>
                <a:gd name="T12" fmla="*/ 743 w 154"/>
                <a:gd name="T13" fmla="*/ 401 h 122"/>
                <a:gd name="T14" fmla="*/ 743 w 154"/>
                <a:gd name="T15" fmla="*/ 335 h 122"/>
                <a:gd name="T16" fmla="*/ 743 w 154"/>
                <a:gd name="T17" fmla="*/ 50 h 122"/>
                <a:gd name="T18" fmla="*/ 743 w 154"/>
                <a:gd name="T19" fmla="*/ 0 h 122"/>
                <a:gd name="T20" fmla="*/ 953 w 154"/>
                <a:gd name="T21" fmla="*/ 0 h 122"/>
                <a:gd name="T22" fmla="*/ 1027 w 154"/>
                <a:gd name="T23" fmla="*/ 0 h 122"/>
                <a:gd name="T24" fmla="*/ 1229 w 154"/>
                <a:gd name="T25" fmla="*/ 133 h 122"/>
                <a:gd name="T26" fmla="*/ 1291 w 154"/>
                <a:gd name="T27" fmla="*/ 257 h 122"/>
                <a:gd name="T28" fmla="*/ 1229 w 154"/>
                <a:gd name="T29" fmla="*/ 335 h 122"/>
                <a:gd name="T30" fmla="*/ 1229 w 154"/>
                <a:gd name="T31" fmla="*/ 401 h 122"/>
                <a:gd name="T32" fmla="*/ 1163 w 154"/>
                <a:gd name="T33" fmla="*/ 545 h 122"/>
                <a:gd name="T34" fmla="*/ 1229 w 154"/>
                <a:gd name="T35" fmla="*/ 601 h 122"/>
                <a:gd name="T36" fmla="*/ 891 w 154"/>
                <a:gd name="T37" fmla="*/ 732 h 122"/>
                <a:gd name="T38" fmla="*/ 891 w 154"/>
                <a:gd name="T39" fmla="*/ 805 h 122"/>
                <a:gd name="T40" fmla="*/ 743 w 154"/>
                <a:gd name="T41" fmla="*/ 805 h 122"/>
                <a:gd name="T42" fmla="*/ 743 w 154"/>
                <a:gd name="T43" fmla="*/ 876 h 122"/>
                <a:gd name="T44" fmla="*/ 548 w 154"/>
                <a:gd name="T45" fmla="*/ 1007 h 122"/>
                <a:gd name="T46" fmla="*/ 345 w 154"/>
                <a:gd name="T47" fmla="*/ 1007 h 122"/>
                <a:gd name="T48" fmla="*/ 194 w 154"/>
                <a:gd name="T49" fmla="*/ 933 h 122"/>
                <a:gd name="T50" fmla="*/ 133 w 154"/>
                <a:gd name="T51" fmla="*/ 1007 h 122"/>
                <a:gd name="T52" fmla="*/ 0 w 154"/>
                <a:gd name="T53" fmla="*/ 876 h 122"/>
                <a:gd name="T54" fmla="*/ 0 w 154"/>
                <a:gd name="T55" fmla="*/ 545 h 122"/>
                <a:gd name="T56" fmla="*/ 257 w 154"/>
                <a:gd name="T57" fmla="*/ 467 h 122"/>
                <a:gd name="T58" fmla="*/ 194 w 154"/>
                <a:gd name="T59" fmla="*/ 257 h 12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4"/>
                <a:gd name="T91" fmla="*/ 0 h 122"/>
                <a:gd name="T92" fmla="*/ 154 w 154"/>
                <a:gd name="T93" fmla="*/ 122 h 12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4" h="122">
                  <a:moveTo>
                    <a:pt x="23" y="31"/>
                  </a:moveTo>
                  <a:lnTo>
                    <a:pt x="56" y="48"/>
                  </a:lnTo>
                  <a:lnTo>
                    <a:pt x="65" y="40"/>
                  </a:lnTo>
                  <a:lnTo>
                    <a:pt x="88" y="56"/>
                  </a:lnTo>
                  <a:lnTo>
                    <a:pt x="97" y="65"/>
                  </a:lnTo>
                  <a:lnTo>
                    <a:pt x="97" y="48"/>
                  </a:lnTo>
                  <a:lnTo>
                    <a:pt x="88" y="48"/>
                  </a:lnTo>
                  <a:lnTo>
                    <a:pt x="88" y="40"/>
                  </a:lnTo>
                  <a:lnTo>
                    <a:pt x="88" y="6"/>
                  </a:lnTo>
                  <a:lnTo>
                    <a:pt x="88" y="0"/>
                  </a:lnTo>
                  <a:lnTo>
                    <a:pt x="113" y="0"/>
                  </a:lnTo>
                  <a:lnTo>
                    <a:pt x="122" y="0"/>
                  </a:lnTo>
                  <a:lnTo>
                    <a:pt x="146" y="16"/>
                  </a:lnTo>
                  <a:lnTo>
                    <a:pt x="153" y="31"/>
                  </a:lnTo>
                  <a:lnTo>
                    <a:pt x="146" y="40"/>
                  </a:lnTo>
                  <a:lnTo>
                    <a:pt x="146" y="48"/>
                  </a:lnTo>
                  <a:lnTo>
                    <a:pt x="138" y="65"/>
                  </a:lnTo>
                  <a:lnTo>
                    <a:pt x="146" y="72"/>
                  </a:lnTo>
                  <a:lnTo>
                    <a:pt x="106" y="88"/>
                  </a:lnTo>
                  <a:lnTo>
                    <a:pt x="106" y="97"/>
                  </a:lnTo>
                  <a:lnTo>
                    <a:pt x="88" y="97"/>
                  </a:lnTo>
                  <a:lnTo>
                    <a:pt x="88" y="105"/>
                  </a:lnTo>
                  <a:lnTo>
                    <a:pt x="65" y="121"/>
                  </a:lnTo>
                  <a:lnTo>
                    <a:pt x="41" y="121"/>
                  </a:lnTo>
                  <a:lnTo>
                    <a:pt x="23" y="112"/>
                  </a:lnTo>
                  <a:lnTo>
                    <a:pt x="16" y="121"/>
                  </a:lnTo>
                  <a:lnTo>
                    <a:pt x="0" y="105"/>
                  </a:lnTo>
                  <a:lnTo>
                    <a:pt x="0" y="65"/>
                  </a:lnTo>
                  <a:lnTo>
                    <a:pt x="31" y="56"/>
                  </a:lnTo>
                  <a:lnTo>
                    <a:pt x="23" y="31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5" name="Freeform 52"/>
            <p:cNvSpPr>
              <a:spLocks/>
            </p:cNvSpPr>
            <p:nvPr/>
          </p:nvSpPr>
          <p:spPr bwMode="auto">
            <a:xfrm>
              <a:off x="3576" y="2920"/>
              <a:ext cx="53" cy="127"/>
            </a:xfrm>
            <a:custGeom>
              <a:avLst/>
              <a:gdLst>
                <a:gd name="T0" fmla="*/ 61 w 41"/>
                <a:gd name="T1" fmla="*/ 486 h 97"/>
                <a:gd name="T2" fmla="*/ 0 w 41"/>
                <a:gd name="T3" fmla="*/ 423 h 97"/>
                <a:gd name="T4" fmla="*/ 61 w 41"/>
                <a:gd name="T5" fmla="*/ 276 h 97"/>
                <a:gd name="T6" fmla="*/ 61 w 41"/>
                <a:gd name="T7" fmla="*/ 209 h 97"/>
                <a:gd name="T8" fmla="*/ 115 w 41"/>
                <a:gd name="T9" fmla="*/ 132 h 97"/>
                <a:gd name="T10" fmla="*/ 61 w 41"/>
                <a:gd name="T11" fmla="*/ 0 h 97"/>
                <a:gd name="T12" fmla="*/ 115 w 41"/>
                <a:gd name="T13" fmla="*/ 0 h 97"/>
                <a:gd name="T14" fmla="*/ 187 w 41"/>
                <a:gd name="T15" fmla="*/ 0 h 97"/>
                <a:gd name="T16" fmla="*/ 249 w 41"/>
                <a:gd name="T17" fmla="*/ 209 h 97"/>
                <a:gd name="T18" fmla="*/ 187 w 41"/>
                <a:gd name="T19" fmla="*/ 276 h 97"/>
                <a:gd name="T20" fmla="*/ 249 w 41"/>
                <a:gd name="T21" fmla="*/ 423 h 97"/>
                <a:gd name="T22" fmla="*/ 313 w 41"/>
                <a:gd name="T23" fmla="*/ 554 h 97"/>
                <a:gd name="T24" fmla="*/ 313 w 41"/>
                <a:gd name="T25" fmla="*/ 699 h 97"/>
                <a:gd name="T26" fmla="*/ 249 w 41"/>
                <a:gd name="T27" fmla="*/ 833 h 97"/>
                <a:gd name="T28" fmla="*/ 187 w 41"/>
                <a:gd name="T29" fmla="*/ 699 h 97"/>
                <a:gd name="T30" fmla="*/ 187 w 41"/>
                <a:gd name="T31" fmla="*/ 554 h 97"/>
                <a:gd name="T32" fmla="*/ 115 w 41"/>
                <a:gd name="T33" fmla="*/ 554 h 97"/>
                <a:gd name="T34" fmla="*/ 61 w 41"/>
                <a:gd name="T35" fmla="*/ 486 h 9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1"/>
                <a:gd name="T55" fmla="*/ 0 h 97"/>
                <a:gd name="T56" fmla="*/ 41 w 41"/>
                <a:gd name="T57" fmla="*/ 97 h 9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1" h="97">
                  <a:moveTo>
                    <a:pt x="8" y="56"/>
                  </a:moveTo>
                  <a:lnTo>
                    <a:pt x="0" y="49"/>
                  </a:lnTo>
                  <a:lnTo>
                    <a:pt x="8" y="32"/>
                  </a:lnTo>
                  <a:lnTo>
                    <a:pt x="8" y="24"/>
                  </a:lnTo>
                  <a:lnTo>
                    <a:pt x="15" y="15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0"/>
                  </a:lnTo>
                  <a:lnTo>
                    <a:pt x="32" y="24"/>
                  </a:lnTo>
                  <a:lnTo>
                    <a:pt x="24" y="32"/>
                  </a:lnTo>
                  <a:lnTo>
                    <a:pt x="32" y="49"/>
                  </a:lnTo>
                  <a:lnTo>
                    <a:pt x="40" y="64"/>
                  </a:lnTo>
                  <a:lnTo>
                    <a:pt x="40" y="81"/>
                  </a:lnTo>
                  <a:lnTo>
                    <a:pt x="32" y="96"/>
                  </a:lnTo>
                  <a:lnTo>
                    <a:pt x="24" y="81"/>
                  </a:lnTo>
                  <a:lnTo>
                    <a:pt x="24" y="64"/>
                  </a:lnTo>
                  <a:lnTo>
                    <a:pt x="15" y="64"/>
                  </a:lnTo>
                  <a:lnTo>
                    <a:pt x="8" y="5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6" name="Freeform 53"/>
            <p:cNvSpPr>
              <a:spLocks/>
            </p:cNvSpPr>
            <p:nvPr/>
          </p:nvSpPr>
          <p:spPr bwMode="auto">
            <a:xfrm>
              <a:off x="3247" y="2517"/>
              <a:ext cx="45" cy="34"/>
            </a:xfrm>
            <a:custGeom>
              <a:avLst/>
              <a:gdLst>
                <a:gd name="T0" fmla="*/ 0 w 34"/>
                <a:gd name="T1" fmla="*/ 85 h 26"/>
                <a:gd name="T2" fmla="*/ 151 w 34"/>
                <a:gd name="T3" fmla="*/ 212 h 26"/>
                <a:gd name="T4" fmla="*/ 237 w 34"/>
                <a:gd name="T5" fmla="*/ 145 h 26"/>
                <a:gd name="T6" fmla="*/ 314 w 34"/>
                <a:gd name="T7" fmla="*/ 145 h 26"/>
                <a:gd name="T8" fmla="*/ 151 w 34"/>
                <a:gd name="T9" fmla="*/ 85 h 26"/>
                <a:gd name="T10" fmla="*/ 79 w 34"/>
                <a:gd name="T11" fmla="*/ 0 h 26"/>
                <a:gd name="T12" fmla="*/ 0 w 34"/>
                <a:gd name="T13" fmla="*/ 85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26"/>
                <a:gd name="T23" fmla="*/ 34 w 34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26">
                  <a:moveTo>
                    <a:pt x="0" y="10"/>
                  </a:moveTo>
                  <a:lnTo>
                    <a:pt x="16" y="25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16" y="10"/>
                  </a:lnTo>
                  <a:lnTo>
                    <a:pt x="8" y="0"/>
                  </a:lnTo>
                  <a:lnTo>
                    <a:pt x="0" y="1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7" name="Freeform 54"/>
            <p:cNvSpPr>
              <a:spLocks/>
            </p:cNvSpPr>
            <p:nvPr/>
          </p:nvSpPr>
          <p:spPr bwMode="auto">
            <a:xfrm>
              <a:off x="3247" y="2517"/>
              <a:ext cx="45" cy="34"/>
            </a:xfrm>
            <a:custGeom>
              <a:avLst/>
              <a:gdLst>
                <a:gd name="T0" fmla="*/ 0 w 34"/>
                <a:gd name="T1" fmla="*/ 85 h 26"/>
                <a:gd name="T2" fmla="*/ 151 w 34"/>
                <a:gd name="T3" fmla="*/ 212 h 26"/>
                <a:gd name="T4" fmla="*/ 237 w 34"/>
                <a:gd name="T5" fmla="*/ 145 h 26"/>
                <a:gd name="T6" fmla="*/ 314 w 34"/>
                <a:gd name="T7" fmla="*/ 145 h 26"/>
                <a:gd name="T8" fmla="*/ 151 w 34"/>
                <a:gd name="T9" fmla="*/ 85 h 26"/>
                <a:gd name="T10" fmla="*/ 79 w 34"/>
                <a:gd name="T11" fmla="*/ 0 h 26"/>
                <a:gd name="T12" fmla="*/ 0 w 34"/>
                <a:gd name="T13" fmla="*/ 85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26"/>
                <a:gd name="T23" fmla="*/ 34 w 34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26">
                  <a:moveTo>
                    <a:pt x="0" y="10"/>
                  </a:moveTo>
                  <a:lnTo>
                    <a:pt x="16" y="25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16" y="10"/>
                  </a:lnTo>
                  <a:lnTo>
                    <a:pt x="8" y="0"/>
                  </a:lnTo>
                  <a:lnTo>
                    <a:pt x="0" y="1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8" name="Line 55"/>
            <p:cNvSpPr>
              <a:spLocks noChangeShapeType="1"/>
            </p:cNvSpPr>
            <p:nvPr/>
          </p:nvSpPr>
          <p:spPr bwMode="auto">
            <a:xfrm>
              <a:off x="398" y="2400"/>
              <a:ext cx="9" cy="0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9" name="Line 56"/>
            <p:cNvSpPr>
              <a:spLocks noChangeShapeType="1"/>
            </p:cNvSpPr>
            <p:nvPr/>
          </p:nvSpPr>
          <p:spPr bwMode="auto">
            <a:xfrm>
              <a:off x="3468" y="2064"/>
              <a:ext cx="0" cy="10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40" name="Line 57"/>
            <p:cNvSpPr>
              <a:spLocks noChangeShapeType="1"/>
            </p:cNvSpPr>
            <p:nvPr/>
          </p:nvSpPr>
          <p:spPr bwMode="auto">
            <a:xfrm flipV="1">
              <a:off x="1763" y="2126"/>
              <a:ext cx="11" cy="11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41" name="Freeform 58"/>
            <p:cNvSpPr>
              <a:spLocks/>
            </p:cNvSpPr>
            <p:nvPr/>
          </p:nvSpPr>
          <p:spPr bwMode="auto">
            <a:xfrm>
              <a:off x="4764" y="1640"/>
              <a:ext cx="106" cy="127"/>
            </a:xfrm>
            <a:custGeom>
              <a:avLst/>
              <a:gdLst>
                <a:gd name="T0" fmla="*/ 0 w 81"/>
                <a:gd name="T1" fmla="*/ 776 h 97"/>
                <a:gd name="T2" fmla="*/ 50 w 81"/>
                <a:gd name="T3" fmla="*/ 833 h 97"/>
                <a:gd name="T4" fmla="*/ 274 w 81"/>
                <a:gd name="T5" fmla="*/ 776 h 97"/>
                <a:gd name="T6" fmla="*/ 274 w 81"/>
                <a:gd name="T7" fmla="*/ 699 h 97"/>
                <a:gd name="T8" fmla="*/ 472 w 81"/>
                <a:gd name="T9" fmla="*/ 559 h 97"/>
                <a:gd name="T10" fmla="*/ 618 w 81"/>
                <a:gd name="T11" fmla="*/ 359 h 97"/>
                <a:gd name="T12" fmla="*/ 684 w 81"/>
                <a:gd name="T13" fmla="*/ 0 h 97"/>
                <a:gd name="T14" fmla="*/ 618 w 81"/>
                <a:gd name="T15" fmla="*/ 0 h 97"/>
                <a:gd name="T16" fmla="*/ 472 w 81"/>
                <a:gd name="T17" fmla="*/ 359 h 97"/>
                <a:gd name="T18" fmla="*/ 190 w 81"/>
                <a:gd name="T19" fmla="*/ 699 h 97"/>
                <a:gd name="T20" fmla="*/ 0 w 81"/>
                <a:gd name="T21" fmla="*/ 776 h 9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1"/>
                <a:gd name="T34" fmla="*/ 0 h 97"/>
                <a:gd name="T35" fmla="*/ 81 w 81"/>
                <a:gd name="T36" fmla="*/ 97 h 9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1" h="97">
                  <a:moveTo>
                    <a:pt x="0" y="90"/>
                  </a:moveTo>
                  <a:lnTo>
                    <a:pt x="6" y="96"/>
                  </a:lnTo>
                  <a:lnTo>
                    <a:pt x="31" y="90"/>
                  </a:lnTo>
                  <a:lnTo>
                    <a:pt x="31" y="81"/>
                  </a:lnTo>
                  <a:lnTo>
                    <a:pt x="55" y="65"/>
                  </a:lnTo>
                  <a:lnTo>
                    <a:pt x="72" y="41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55" y="41"/>
                  </a:lnTo>
                  <a:lnTo>
                    <a:pt x="22" y="81"/>
                  </a:lnTo>
                  <a:lnTo>
                    <a:pt x="0" y="9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42" name="Freeform 59"/>
            <p:cNvSpPr>
              <a:spLocks/>
            </p:cNvSpPr>
            <p:nvPr/>
          </p:nvSpPr>
          <p:spPr bwMode="auto">
            <a:xfrm>
              <a:off x="4764" y="1640"/>
              <a:ext cx="106" cy="127"/>
            </a:xfrm>
            <a:custGeom>
              <a:avLst/>
              <a:gdLst>
                <a:gd name="T0" fmla="*/ 0 w 81"/>
                <a:gd name="T1" fmla="*/ 776 h 97"/>
                <a:gd name="T2" fmla="*/ 50 w 81"/>
                <a:gd name="T3" fmla="*/ 833 h 97"/>
                <a:gd name="T4" fmla="*/ 274 w 81"/>
                <a:gd name="T5" fmla="*/ 776 h 97"/>
                <a:gd name="T6" fmla="*/ 274 w 81"/>
                <a:gd name="T7" fmla="*/ 699 h 97"/>
                <a:gd name="T8" fmla="*/ 472 w 81"/>
                <a:gd name="T9" fmla="*/ 559 h 97"/>
                <a:gd name="T10" fmla="*/ 618 w 81"/>
                <a:gd name="T11" fmla="*/ 359 h 97"/>
                <a:gd name="T12" fmla="*/ 684 w 81"/>
                <a:gd name="T13" fmla="*/ 0 h 97"/>
                <a:gd name="T14" fmla="*/ 618 w 81"/>
                <a:gd name="T15" fmla="*/ 0 h 97"/>
                <a:gd name="T16" fmla="*/ 472 w 81"/>
                <a:gd name="T17" fmla="*/ 359 h 97"/>
                <a:gd name="T18" fmla="*/ 190 w 81"/>
                <a:gd name="T19" fmla="*/ 699 h 97"/>
                <a:gd name="T20" fmla="*/ 0 w 81"/>
                <a:gd name="T21" fmla="*/ 776 h 9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1"/>
                <a:gd name="T34" fmla="*/ 0 h 97"/>
                <a:gd name="T35" fmla="*/ 81 w 81"/>
                <a:gd name="T36" fmla="*/ 97 h 9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1" h="97">
                  <a:moveTo>
                    <a:pt x="0" y="90"/>
                  </a:moveTo>
                  <a:lnTo>
                    <a:pt x="6" y="96"/>
                  </a:lnTo>
                  <a:lnTo>
                    <a:pt x="31" y="90"/>
                  </a:lnTo>
                  <a:lnTo>
                    <a:pt x="31" y="81"/>
                  </a:lnTo>
                  <a:lnTo>
                    <a:pt x="55" y="65"/>
                  </a:lnTo>
                  <a:lnTo>
                    <a:pt x="72" y="41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55" y="41"/>
                  </a:lnTo>
                  <a:lnTo>
                    <a:pt x="22" y="81"/>
                  </a:lnTo>
                  <a:lnTo>
                    <a:pt x="0" y="9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43" name="Freeform 60"/>
            <p:cNvSpPr>
              <a:spLocks/>
            </p:cNvSpPr>
            <p:nvPr/>
          </p:nvSpPr>
          <p:spPr bwMode="auto">
            <a:xfrm>
              <a:off x="3534" y="1450"/>
              <a:ext cx="43" cy="65"/>
            </a:xfrm>
            <a:custGeom>
              <a:avLst/>
              <a:gdLst>
                <a:gd name="T0" fmla="*/ 0 w 33"/>
                <a:gd name="T1" fmla="*/ 131 h 50"/>
                <a:gd name="T2" fmla="*/ 60 w 33"/>
                <a:gd name="T3" fmla="*/ 209 h 50"/>
                <a:gd name="T4" fmla="*/ 133 w 33"/>
                <a:gd name="T5" fmla="*/ 400 h 50"/>
                <a:gd name="T6" fmla="*/ 189 w 33"/>
                <a:gd name="T7" fmla="*/ 325 h 50"/>
                <a:gd name="T8" fmla="*/ 270 w 33"/>
                <a:gd name="T9" fmla="*/ 325 h 50"/>
                <a:gd name="T10" fmla="*/ 270 w 33"/>
                <a:gd name="T11" fmla="*/ 209 h 50"/>
                <a:gd name="T12" fmla="*/ 133 w 33"/>
                <a:gd name="T13" fmla="*/ 0 h 50"/>
                <a:gd name="T14" fmla="*/ 60 w 33"/>
                <a:gd name="T15" fmla="*/ 0 h 50"/>
                <a:gd name="T16" fmla="*/ 0 w 33"/>
                <a:gd name="T17" fmla="*/ 131 h 5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50"/>
                <a:gd name="T29" fmla="*/ 33 w 33"/>
                <a:gd name="T30" fmla="*/ 50 h 5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50">
                  <a:moveTo>
                    <a:pt x="0" y="16"/>
                  </a:moveTo>
                  <a:lnTo>
                    <a:pt x="7" y="25"/>
                  </a:lnTo>
                  <a:lnTo>
                    <a:pt x="16" y="49"/>
                  </a:lnTo>
                  <a:lnTo>
                    <a:pt x="22" y="40"/>
                  </a:lnTo>
                  <a:lnTo>
                    <a:pt x="32" y="40"/>
                  </a:lnTo>
                  <a:lnTo>
                    <a:pt x="32" y="25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44" name="Freeform 61"/>
            <p:cNvSpPr>
              <a:spLocks/>
            </p:cNvSpPr>
            <p:nvPr/>
          </p:nvSpPr>
          <p:spPr bwMode="auto">
            <a:xfrm>
              <a:off x="3534" y="1450"/>
              <a:ext cx="43" cy="65"/>
            </a:xfrm>
            <a:custGeom>
              <a:avLst/>
              <a:gdLst>
                <a:gd name="T0" fmla="*/ 0 w 33"/>
                <a:gd name="T1" fmla="*/ 131 h 50"/>
                <a:gd name="T2" fmla="*/ 60 w 33"/>
                <a:gd name="T3" fmla="*/ 209 h 50"/>
                <a:gd name="T4" fmla="*/ 133 w 33"/>
                <a:gd name="T5" fmla="*/ 400 h 50"/>
                <a:gd name="T6" fmla="*/ 189 w 33"/>
                <a:gd name="T7" fmla="*/ 325 h 50"/>
                <a:gd name="T8" fmla="*/ 270 w 33"/>
                <a:gd name="T9" fmla="*/ 325 h 50"/>
                <a:gd name="T10" fmla="*/ 270 w 33"/>
                <a:gd name="T11" fmla="*/ 209 h 50"/>
                <a:gd name="T12" fmla="*/ 133 w 33"/>
                <a:gd name="T13" fmla="*/ 0 h 50"/>
                <a:gd name="T14" fmla="*/ 60 w 33"/>
                <a:gd name="T15" fmla="*/ 0 h 50"/>
                <a:gd name="T16" fmla="*/ 0 w 33"/>
                <a:gd name="T17" fmla="*/ 131 h 5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50"/>
                <a:gd name="T29" fmla="*/ 33 w 33"/>
                <a:gd name="T30" fmla="*/ 50 h 5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50">
                  <a:moveTo>
                    <a:pt x="0" y="16"/>
                  </a:moveTo>
                  <a:lnTo>
                    <a:pt x="7" y="25"/>
                  </a:lnTo>
                  <a:lnTo>
                    <a:pt x="16" y="49"/>
                  </a:lnTo>
                  <a:lnTo>
                    <a:pt x="22" y="40"/>
                  </a:lnTo>
                  <a:lnTo>
                    <a:pt x="32" y="40"/>
                  </a:lnTo>
                  <a:lnTo>
                    <a:pt x="32" y="25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45" name="Freeform 62"/>
            <p:cNvSpPr>
              <a:spLocks/>
            </p:cNvSpPr>
            <p:nvPr/>
          </p:nvSpPr>
          <p:spPr bwMode="auto">
            <a:xfrm>
              <a:off x="3607" y="1408"/>
              <a:ext cx="34" cy="64"/>
            </a:xfrm>
            <a:custGeom>
              <a:avLst/>
              <a:gdLst>
                <a:gd name="T0" fmla="*/ 0 w 26"/>
                <a:gd name="T1" fmla="*/ 274 h 49"/>
                <a:gd name="T2" fmla="*/ 133 w 26"/>
                <a:gd name="T3" fmla="*/ 351 h 49"/>
                <a:gd name="T4" fmla="*/ 133 w 26"/>
                <a:gd name="T5" fmla="*/ 408 h 49"/>
                <a:gd name="T6" fmla="*/ 212 w 26"/>
                <a:gd name="T7" fmla="*/ 408 h 49"/>
                <a:gd name="T8" fmla="*/ 133 w 26"/>
                <a:gd name="T9" fmla="*/ 196 h 49"/>
                <a:gd name="T10" fmla="*/ 133 w 26"/>
                <a:gd name="T11" fmla="*/ 60 h 49"/>
                <a:gd name="T12" fmla="*/ 65 w 26"/>
                <a:gd name="T13" fmla="*/ 60 h 49"/>
                <a:gd name="T14" fmla="*/ 0 w 26"/>
                <a:gd name="T15" fmla="*/ 0 h 49"/>
                <a:gd name="T16" fmla="*/ 65 w 26"/>
                <a:gd name="T17" fmla="*/ 60 h 49"/>
                <a:gd name="T18" fmla="*/ 65 w 26"/>
                <a:gd name="T19" fmla="*/ 145 h 49"/>
                <a:gd name="T20" fmla="*/ 0 w 26"/>
                <a:gd name="T21" fmla="*/ 145 h 49"/>
                <a:gd name="T22" fmla="*/ 0 w 26"/>
                <a:gd name="T23" fmla="*/ 274 h 4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49"/>
                <a:gd name="T38" fmla="*/ 26 w 26"/>
                <a:gd name="T39" fmla="*/ 49 h 4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49">
                  <a:moveTo>
                    <a:pt x="0" y="32"/>
                  </a:moveTo>
                  <a:lnTo>
                    <a:pt x="16" y="41"/>
                  </a:lnTo>
                  <a:lnTo>
                    <a:pt x="16" y="48"/>
                  </a:lnTo>
                  <a:lnTo>
                    <a:pt x="25" y="48"/>
                  </a:lnTo>
                  <a:lnTo>
                    <a:pt x="16" y="23"/>
                  </a:lnTo>
                  <a:lnTo>
                    <a:pt x="16" y="7"/>
                  </a:ln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3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46" name="Freeform 63"/>
            <p:cNvSpPr>
              <a:spLocks/>
            </p:cNvSpPr>
            <p:nvPr/>
          </p:nvSpPr>
          <p:spPr bwMode="auto">
            <a:xfrm>
              <a:off x="3607" y="1408"/>
              <a:ext cx="34" cy="64"/>
            </a:xfrm>
            <a:custGeom>
              <a:avLst/>
              <a:gdLst>
                <a:gd name="T0" fmla="*/ 0 w 26"/>
                <a:gd name="T1" fmla="*/ 274 h 49"/>
                <a:gd name="T2" fmla="*/ 133 w 26"/>
                <a:gd name="T3" fmla="*/ 351 h 49"/>
                <a:gd name="T4" fmla="*/ 133 w 26"/>
                <a:gd name="T5" fmla="*/ 408 h 49"/>
                <a:gd name="T6" fmla="*/ 212 w 26"/>
                <a:gd name="T7" fmla="*/ 408 h 49"/>
                <a:gd name="T8" fmla="*/ 133 w 26"/>
                <a:gd name="T9" fmla="*/ 196 h 49"/>
                <a:gd name="T10" fmla="*/ 133 w 26"/>
                <a:gd name="T11" fmla="*/ 60 h 49"/>
                <a:gd name="T12" fmla="*/ 65 w 26"/>
                <a:gd name="T13" fmla="*/ 60 h 49"/>
                <a:gd name="T14" fmla="*/ 0 w 26"/>
                <a:gd name="T15" fmla="*/ 0 h 49"/>
                <a:gd name="T16" fmla="*/ 65 w 26"/>
                <a:gd name="T17" fmla="*/ 60 h 49"/>
                <a:gd name="T18" fmla="*/ 65 w 26"/>
                <a:gd name="T19" fmla="*/ 145 h 49"/>
                <a:gd name="T20" fmla="*/ 0 w 26"/>
                <a:gd name="T21" fmla="*/ 145 h 49"/>
                <a:gd name="T22" fmla="*/ 0 w 26"/>
                <a:gd name="T23" fmla="*/ 274 h 4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49"/>
                <a:gd name="T38" fmla="*/ 26 w 26"/>
                <a:gd name="T39" fmla="*/ 49 h 4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49">
                  <a:moveTo>
                    <a:pt x="0" y="32"/>
                  </a:moveTo>
                  <a:lnTo>
                    <a:pt x="16" y="41"/>
                  </a:lnTo>
                  <a:lnTo>
                    <a:pt x="16" y="48"/>
                  </a:lnTo>
                  <a:lnTo>
                    <a:pt x="25" y="48"/>
                  </a:lnTo>
                  <a:lnTo>
                    <a:pt x="16" y="23"/>
                  </a:lnTo>
                  <a:lnTo>
                    <a:pt x="16" y="7"/>
                  </a:ln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3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47" name="Freeform 64"/>
            <p:cNvSpPr>
              <a:spLocks/>
            </p:cNvSpPr>
            <p:nvPr/>
          </p:nvSpPr>
          <p:spPr bwMode="auto">
            <a:xfrm>
              <a:off x="1562" y="1892"/>
              <a:ext cx="140" cy="108"/>
            </a:xfrm>
            <a:custGeom>
              <a:avLst/>
              <a:gdLst>
                <a:gd name="T0" fmla="*/ 421 w 107"/>
                <a:gd name="T1" fmla="*/ 0 h 83"/>
                <a:gd name="T2" fmla="*/ 421 w 107"/>
                <a:gd name="T3" fmla="*/ 78 h 83"/>
                <a:gd name="T4" fmla="*/ 79 w 107"/>
                <a:gd name="T5" fmla="*/ 78 h 83"/>
                <a:gd name="T6" fmla="*/ 0 w 107"/>
                <a:gd name="T7" fmla="*/ 276 h 83"/>
                <a:gd name="T8" fmla="*/ 79 w 107"/>
                <a:gd name="T9" fmla="*/ 209 h 83"/>
                <a:gd name="T10" fmla="*/ 0 w 107"/>
                <a:gd name="T11" fmla="*/ 484 h 83"/>
                <a:gd name="T12" fmla="*/ 0 w 107"/>
                <a:gd name="T13" fmla="*/ 608 h 83"/>
                <a:gd name="T14" fmla="*/ 0 w 107"/>
                <a:gd name="T15" fmla="*/ 675 h 83"/>
                <a:gd name="T16" fmla="*/ 79 w 107"/>
                <a:gd name="T17" fmla="*/ 675 h 83"/>
                <a:gd name="T18" fmla="*/ 130 w 107"/>
                <a:gd name="T19" fmla="*/ 608 h 83"/>
                <a:gd name="T20" fmla="*/ 130 w 107"/>
                <a:gd name="T21" fmla="*/ 331 h 83"/>
                <a:gd name="T22" fmla="*/ 209 w 107"/>
                <a:gd name="T23" fmla="*/ 209 h 83"/>
                <a:gd name="T24" fmla="*/ 290 w 107"/>
                <a:gd name="T25" fmla="*/ 146 h 83"/>
                <a:gd name="T26" fmla="*/ 290 w 107"/>
                <a:gd name="T27" fmla="*/ 78 h 83"/>
                <a:gd name="T28" fmla="*/ 484 w 107"/>
                <a:gd name="T29" fmla="*/ 146 h 83"/>
                <a:gd name="T30" fmla="*/ 484 w 107"/>
                <a:gd name="T31" fmla="*/ 276 h 83"/>
                <a:gd name="T32" fmla="*/ 421 w 107"/>
                <a:gd name="T33" fmla="*/ 411 h 83"/>
                <a:gd name="T34" fmla="*/ 559 w 107"/>
                <a:gd name="T35" fmla="*/ 331 h 83"/>
                <a:gd name="T36" fmla="*/ 559 w 107"/>
                <a:gd name="T37" fmla="*/ 484 h 83"/>
                <a:gd name="T38" fmla="*/ 697 w 107"/>
                <a:gd name="T39" fmla="*/ 411 h 83"/>
                <a:gd name="T40" fmla="*/ 697 w 107"/>
                <a:gd name="T41" fmla="*/ 146 h 83"/>
                <a:gd name="T42" fmla="*/ 833 w 107"/>
                <a:gd name="T43" fmla="*/ 276 h 83"/>
                <a:gd name="T44" fmla="*/ 912 w 107"/>
                <a:gd name="T45" fmla="*/ 209 h 83"/>
                <a:gd name="T46" fmla="*/ 761 w 107"/>
                <a:gd name="T47" fmla="*/ 78 h 83"/>
                <a:gd name="T48" fmla="*/ 421 w 107"/>
                <a:gd name="T49" fmla="*/ 0 h 8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7"/>
                <a:gd name="T76" fmla="*/ 0 h 83"/>
                <a:gd name="T77" fmla="*/ 107 w 107"/>
                <a:gd name="T78" fmla="*/ 83 h 8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7" h="83">
                  <a:moveTo>
                    <a:pt x="49" y="0"/>
                  </a:moveTo>
                  <a:lnTo>
                    <a:pt x="49" y="9"/>
                  </a:lnTo>
                  <a:lnTo>
                    <a:pt x="9" y="9"/>
                  </a:lnTo>
                  <a:lnTo>
                    <a:pt x="0" y="34"/>
                  </a:lnTo>
                  <a:lnTo>
                    <a:pt x="9" y="25"/>
                  </a:lnTo>
                  <a:lnTo>
                    <a:pt x="0" y="59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9" y="82"/>
                  </a:lnTo>
                  <a:lnTo>
                    <a:pt x="15" y="74"/>
                  </a:lnTo>
                  <a:lnTo>
                    <a:pt x="15" y="40"/>
                  </a:lnTo>
                  <a:lnTo>
                    <a:pt x="24" y="25"/>
                  </a:lnTo>
                  <a:lnTo>
                    <a:pt x="34" y="18"/>
                  </a:lnTo>
                  <a:lnTo>
                    <a:pt x="34" y="9"/>
                  </a:lnTo>
                  <a:lnTo>
                    <a:pt x="56" y="18"/>
                  </a:lnTo>
                  <a:lnTo>
                    <a:pt x="56" y="34"/>
                  </a:lnTo>
                  <a:lnTo>
                    <a:pt x="49" y="50"/>
                  </a:lnTo>
                  <a:lnTo>
                    <a:pt x="65" y="40"/>
                  </a:lnTo>
                  <a:lnTo>
                    <a:pt x="65" y="59"/>
                  </a:lnTo>
                  <a:lnTo>
                    <a:pt x="81" y="50"/>
                  </a:lnTo>
                  <a:lnTo>
                    <a:pt x="81" y="18"/>
                  </a:lnTo>
                  <a:lnTo>
                    <a:pt x="97" y="34"/>
                  </a:lnTo>
                  <a:lnTo>
                    <a:pt x="106" y="25"/>
                  </a:lnTo>
                  <a:lnTo>
                    <a:pt x="89" y="9"/>
                  </a:lnTo>
                  <a:lnTo>
                    <a:pt x="49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48" name="Freeform 65"/>
            <p:cNvSpPr>
              <a:spLocks/>
            </p:cNvSpPr>
            <p:nvPr/>
          </p:nvSpPr>
          <p:spPr bwMode="auto">
            <a:xfrm>
              <a:off x="1562" y="1892"/>
              <a:ext cx="140" cy="108"/>
            </a:xfrm>
            <a:custGeom>
              <a:avLst/>
              <a:gdLst>
                <a:gd name="T0" fmla="*/ 421 w 107"/>
                <a:gd name="T1" fmla="*/ 0 h 83"/>
                <a:gd name="T2" fmla="*/ 421 w 107"/>
                <a:gd name="T3" fmla="*/ 78 h 83"/>
                <a:gd name="T4" fmla="*/ 79 w 107"/>
                <a:gd name="T5" fmla="*/ 78 h 83"/>
                <a:gd name="T6" fmla="*/ 0 w 107"/>
                <a:gd name="T7" fmla="*/ 276 h 83"/>
                <a:gd name="T8" fmla="*/ 79 w 107"/>
                <a:gd name="T9" fmla="*/ 209 h 83"/>
                <a:gd name="T10" fmla="*/ 0 w 107"/>
                <a:gd name="T11" fmla="*/ 484 h 83"/>
                <a:gd name="T12" fmla="*/ 0 w 107"/>
                <a:gd name="T13" fmla="*/ 608 h 83"/>
                <a:gd name="T14" fmla="*/ 0 w 107"/>
                <a:gd name="T15" fmla="*/ 675 h 83"/>
                <a:gd name="T16" fmla="*/ 79 w 107"/>
                <a:gd name="T17" fmla="*/ 675 h 83"/>
                <a:gd name="T18" fmla="*/ 130 w 107"/>
                <a:gd name="T19" fmla="*/ 608 h 83"/>
                <a:gd name="T20" fmla="*/ 130 w 107"/>
                <a:gd name="T21" fmla="*/ 331 h 83"/>
                <a:gd name="T22" fmla="*/ 209 w 107"/>
                <a:gd name="T23" fmla="*/ 209 h 83"/>
                <a:gd name="T24" fmla="*/ 290 w 107"/>
                <a:gd name="T25" fmla="*/ 146 h 83"/>
                <a:gd name="T26" fmla="*/ 290 w 107"/>
                <a:gd name="T27" fmla="*/ 78 h 83"/>
                <a:gd name="T28" fmla="*/ 484 w 107"/>
                <a:gd name="T29" fmla="*/ 146 h 83"/>
                <a:gd name="T30" fmla="*/ 484 w 107"/>
                <a:gd name="T31" fmla="*/ 276 h 83"/>
                <a:gd name="T32" fmla="*/ 421 w 107"/>
                <a:gd name="T33" fmla="*/ 411 h 83"/>
                <a:gd name="T34" fmla="*/ 559 w 107"/>
                <a:gd name="T35" fmla="*/ 331 h 83"/>
                <a:gd name="T36" fmla="*/ 559 w 107"/>
                <a:gd name="T37" fmla="*/ 484 h 83"/>
                <a:gd name="T38" fmla="*/ 697 w 107"/>
                <a:gd name="T39" fmla="*/ 411 h 83"/>
                <a:gd name="T40" fmla="*/ 697 w 107"/>
                <a:gd name="T41" fmla="*/ 146 h 83"/>
                <a:gd name="T42" fmla="*/ 833 w 107"/>
                <a:gd name="T43" fmla="*/ 276 h 83"/>
                <a:gd name="T44" fmla="*/ 912 w 107"/>
                <a:gd name="T45" fmla="*/ 209 h 83"/>
                <a:gd name="T46" fmla="*/ 761 w 107"/>
                <a:gd name="T47" fmla="*/ 78 h 83"/>
                <a:gd name="T48" fmla="*/ 421 w 107"/>
                <a:gd name="T49" fmla="*/ 0 h 8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7"/>
                <a:gd name="T76" fmla="*/ 0 h 83"/>
                <a:gd name="T77" fmla="*/ 107 w 107"/>
                <a:gd name="T78" fmla="*/ 83 h 8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7" h="83">
                  <a:moveTo>
                    <a:pt x="49" y="0"/>
                  </a:moveTo>
                  <a:lnTo>
                    <a:pt x="49" y="9"/>
                  </a:lnTo>
                  <a:lnTo>
                    <a:pt x="9" y="9"/>
                  </a:lnTo>
                  <a:lnTo>
                    <a:pt x="0" y="34"/>
                  </a:lnTo>
                  <a:lnTo>
                    <a:pt x="9" y="25"/>
                  </a:lnTo>
                  <a:lnTo>
                    <a:pt x="0" y="59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9" y="82"/>
                  </a:lnTo>
                  <a:lnTo>
                    <a:pt x="15" y="74"/>
                  </a:lnTo>
                  <a:lnTo>
                    <a:pt x="15" y="40"/>
                  </a:lnTo>
                  <a:lnTo>
                    <a:pt x="24" y="25"/>
                  </a:lnTo>
                  <a:lnTo>
                    <a:pt x="34" y="18"/>
                  </a:lnTo>
                  <a:lnTo>
                    <a:pt x="34" y="9"/>
                  </a:lnTo>
                  <a:lnTo>
                    <a:pt x="56" y="18"/>
                  </a:lnTo>
                  <a:lnTo>
                    <a:pt x="56" y="34"/>
                  </a:lnTo>
                  <a:lnTo>
                    <a:pt x="49" y="50"/>
                  </a:lnTo>
                  <a:lnTo>
                    <a:pt x="65" y="40"/>
                  </a:lnTo>
                  <a:lnTo>
                    <a:pt x="65" y="59"/>
                  </a:lnTo>
                  <a:lnTo>
                    <a:pt x="81" y="50"/>
                  </a:lnTo>
                  <a:lnTo>
                    <a:pt x="81" y="18"/>
                  </a:lnTo>
                  <a:lnTo>
                    <a:pt x="97" y="34"/>
                  </a:lnTo>
                  <a:lnTo>
                    <a:pt x="106" y="25"/>
                  </a:lnTo>
                  <a:lnTo>
                    <a:pt x="89" y="9"/>
                  </a:lnTo>
                  <a:lnTo>
                    <a:pt x="49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49" name="Freeform 66"/>
            <p:cNvSpPr>
              <a:spLocks/>
            </p:cNvSpPr>
            <p:nvPr/>
          </p:nvSpPr>
          <p:spPr bwMode="auto">
            <a:xfrm>
              <a:off x="1489" y="1820"/>
              <a:ext cx="127" cy="65"/>
            </a:xfrm>
            <a:custGeom>
              <a:avLst/>
              <a:gdLst>
                <a:gd name="T0" fmla="*/ 833 w 97"/>
                <a:gd name="T1" fmla="*/ 464 h 49"/>
                <a:gd name="T2" fmla="*/ 776 w 97"/>
                <a:gd name="T3" fmla="*/ 464 h 49"/>
                <a:gd name="T4" fmla="*/ 559 w 97"/>
                <a:gd name="T5" fmla="*/ 464 h 49"/>
                <a:gd name="T6" fmla="*/ 486 w 97"/>
                <a:gd name="T7" fmla="*/ 381 h 49"/>
                <a:gd name="T8" fmla="*/ 408 w 97"/>
                <a:gd name="T9" fmla="*/ 464 h 49"/>
                <a:gd name="T10" fmla="*/ 408 w 97"/>
                <a:gd name="T11" fmla="*/ 381 h 49"/>
                <a:gd name="T12" fmla="*/ 209 w 97"/>
                <a:gd name="T13" fmla="*/ 464 h 49"/>
                <a:gd name="T14" fmla="*/ 132 w 97"/>
                <a:gd name="T15" fmla="*/ 381 h 49"/>
                <a:gd name="T16" fmla="*/ 0 w 97"/>
                <a:gd name="T17" fmla="*/ 464 h 49"/>
                <a:gd name="T18" fmla="*/ 274 w 97"/>
                <a:gd name="T19" fmla="*/ 228 h 49"/>
                <a:gd name="T20" fmla="*/ 486 w 97"/>
                <a:gd name="T21" fmla="*/ 0 h 49"/>
                <a:gd name="T22" fmla="*/ 615 w 97"/>
                <a:gd name="T23" fmla="*/ 85 h 49"/>
                <a:gd name="T24" fmla="*/ 687 w 97"/>
                <a:gd name="T25" fmla="*/ 228 h 49"/>
                <a:gd name="T26" fmla="*/ 776 w 97"/>
                <a:gd name="T27" fmla="*/ 228 h 49"/>
                <a:gd name="T28" fmla="*/ 833 w 97"/>
                <a:gd name="T29" fmla="*/ 464 h 4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7"/>
                <a:gd name="T46" fmla="*/ 0 h 49"/>
                <a:gd name="T47" fmla="*/ 97 w 97"/>
                <a:gd name="T48" fmla="*/ 49 h 4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7" h="49">
                  <a:moveTo>
                    <a:pt x="96" y="48"/>
                  </a:moveTo>
                  <a:lnTo>
                    <a:pt x="90" y="48"/>
                  </a:lnTo>
                  <a:lnTo>
                    <a:pt x="65" y="48"/>
                  </a:lnTo>
                  <a:lnTo>
                    <a:pt x="56" y="40"/>
                  </a:lnTo>
                  <a:lnTo>
                    <a:pt x="47" y="48"/>
                  </a:lnTo>
                  <a:lnTo>
                    <a:pt x="47" y="40"/>
                  </a:lnTo>
                  <a:lnTo>
                    <a:pt x="24" y="48"/>
                  </a:lnTo>
                  <a:lnTo>
                    <a:pt x="15" y="40"/>
                  </a:lnTo>
                  <a:lnTo>
                    <a:pt x="0" y="48"/>
                  </a:lnTo>
                  <a:lnTo>
                    <a:pt x="31" y="24"/>
                  </a:lnTo>
                  <a:lnTo>
                    <a:pt x="56" y="0"/>
                  </a:lnTo>
                  <a:lnTo>
                    <a:pt x="71" y="8"/>
                  </a:lnTo>
                  <a:lnTo>
                    <a:pt x="80" y="24"/>
                  </a:lnTo>
                  <a:lnTo>
                    <a:pt x="90" y="24"/>
                  </a:lnTo>
                  <a:lnTo>
                    <a:pt x="96" y="4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0" name="Freeform 67"/>
            <p:cNvSpPr>
              <a:spLocks/>
            </p:cNvSpPr>
            <p:nvPr/>
          </p:nvSpPr>
          <p:spPr bwMode="auto">
            <a:xfrm>
              <a:off x="1489" y="1820"/>
              <a:ext cx="127" cy="65"/>
            </a:xfrm>
            <a:custGeom>
              <a:avLst/>
              <a:gdLst>
                <a:gd name="T0" fmla="*/ 833 w 97"/>
                <a:gd name="T1" fmla="*/ 464 h 49"/>
                <a:gd name="T2" fmla="*/ 776 w 97"/>
                <a:gd name="T3" fmla="*/ 464 h 49"/>
                <a:gd name="T4" fmla="*/ 559 w 97"/>
                <a:gd name="T5" fmla="*/ 464 h 49"/>
                <a:gd name="T6" fmla="*/ 486 w 97"/>
                <a:gd name="T7" fmla="*/ 381 h 49"/>
                <a:gd name="T8" fmla="*/ 408 w 97"/>
                <a:gd name="T9" fmla="*/ 464 h 49"/>
                <a:gd name="T10" fmla="*/ 408 w 97"/>
                <a:gd name="T11" fmla="*/ 381 h 49"/>
                <a:gd name="T12" fmla="*/ 209 w 97"/>
                <a:gd name="T13" fmla="*/ 464 h 49"/>
                <a:gd name="T14" fmla="*/ 132 w 97"/>
                <a:gd name="T15" fmla="*/ 381 h 49"/>
                <a:gd name="T16" fmla="*/ 0 w 97"/>
                <a:gd name="T17" fmla="*/ 464 h 49"/>
                <a:gd name="T18" fmla="*/ 274 w 97"/>
                <a:gd name="T19" fmla="*/ 228 h 49"/>
                <a:gd name="T20" fmla="*/ 486 w 97"/>
                <a:gd name="T21" fmla="*/ 0 h 49"/>
                <a:gd name="T22" fmla="*/ 615 w 97"/>
                <a:gd name="T23" fmla="*/ 85 h 49"/>
                <a:gd name="T24" fmla="*/ 687 w 97"/>
                <a:gd name="T25" fmla="*/ 228 h 49"/>
                <a:gd name="T26" fmla="*/ 776 w 97"/>
                <a:gd name="T27" fmla="*/ 228 h 49"/>
                <a:gd name="T28" fmla="*/ 833 w 97"/>
                <a:gd name="T29" fmla="*/ 464 h 4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7"/>
                <a:gd name="T46" fmla="*/ 0 h 49"/>
                <a:gd name="T47" fmla="*/ 97 w 97"/>
                <a:gd name="T48" fmla="*/ 49 h 4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7" h="49">
                  <a:moveTo>
                    <a:pt x="96" y="48"/>
                  </a:moveTo>
                  <a:lnTo>
                    <a:pt x="90" y="48"/>
                  </a:lnTo>
                  <a:lnTo>
                    <a:pt x="65" y="48"/>
                  </a:lnTo>
                  <a:lnTo>
                    <a:pt x="56" y="40"/>
                  </a:lnTo>
                  <a:lnTo>
                    <a:pt x="47" y="48"/>
                  </a:lnTo>
                  <a:lnTo>
                    <a:pt x="47" y="40"/>
                  </a:lnTo>
                  <a:lnTo>
                    <a:pt x="24" y="48"/>
                  </a:lnTo>
                  <a:lnTo>
                    <a:pt x="15" y="40"/>
                  </a:lnTo>
                  <a:lnTo>
                    <a:pt x="0" y="48"/>
                  </a:lnTo>
                  <a:lnTo>
                    <a:pt x="31" y="24"/>
                  </a:lnTo>
                  <a:lnTo>
                    <a:pt x="56" y="0"/>
                  </a:lnTo>
                  <a:lnTo>
                    <a:pt x="71" y="8"/>
                  </a:lnTo>
                  <a:lnTo>
                    <a:pt x="80" y="24"/>
                  </a:lnTo>
                  <a:lnTo>
                    <a:pt x="90" y="24"/>
                  </a:lnTo>
                  <a:lnTo>
                    <a:pt x="96" y="4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1" name="Freeform 68"/>
            <p:cNvSpPr>
              <a:spLocks/>
            </p:cNvSpPr>
            <p:nvPr/>
          </p:nvSpPr>
          <p:spPr bwMode="auto">
            <a:xfrm>
              <a:off x="1635" y="1970"/>
              <a:ext cx="77" cy="30"/>
            </a:xfrm>
            <a:custGeom>
              <a:avLst/>
              <a:gdLst>
                <a:gd name="T0" fmla="*/ 0 w 59"/>
                <a:gd name="T1" fmla="*/ 138 h 24"/>
                <a:gd name="T2" fmla="*/ 149 w 59"/>
                <a:gd name="T3" fmla="*/ 94 h 24"/>
                <a:gd name="T4" fmla="*/ 211 w 59"/>
                <a:gd name="T5" fmla="*/ 39 h 24"/>
                <a:gd name="T6" fmla="*/ 487 w 59"/>
                <a:gd name="T7" fmla="*/ 0 h 24"/>
                <a:gd name="T8" fmla="*/ 211 w 59"/>
                <a:gd name="T9" fmla="*/ 138 h 24"/>
                <a:gd name="T10" fmla="*/ 78 w 59"/>
                <a:gd name="T11" fmla="*/ 138 h 24"/>
                <a:gd name="T12" fmla="*/ 0 w 59"/>
                <a:gd name="T13" fmla="*/ 138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9"/>
                <a:gd name="T22" fmla="*/ 0 h 24"/>
                <a:gd name="T23" fmla="*/ 59 w 59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9" h="24">
                  <a:moveTo>
                    <a:pt x="0" y="23"/>
                  </a:moveTo>
                  <a:lnTo>
                    <a:pt x="18" y="15"/>
                  </a:lnTo>
                  <a:lnTo>
                    <a:pt x="25" y="6"/>
                  </a:lnTo>
                  <a:lnTo>
                    <a:pt x="58" y="0"/>
                  </a:lnTo>
                  <a:lnTo>
                    <a:pt x="25" y="23"/>
                  </a:lnTo>
                  <a:lnTo>
                    <a:pt x="9" y="23"/>
                  </a:lnTo>
                  <a:lnTo>
                    <a:pt x="0" y="23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2" name="Freeform 69"/>
            <p:cNvSpPr>
              <a:spLocks/>
            </p:cNvSpPr>
            <p:nvPr/>
          </p:nvSpPr>
          <p:spPr bwMode="auto">
            <a:xfrm>
              <a:off x="1635" y="1970"/>
              <a:ext cx="77" cy="30"/>
            </a:xfrm>
            <a:custGeom>
              <a:avLst/>
              <a:gdLst>
                <a:gd name="T0" fmla="*/ 0 w 59"/>
                <a:gd name="T1" fmla="*/ 138 h 24"/>
                <a:gd name="T2" fmla="*/ 149 w 59"/>
                <a:gd name="T3" fmla="*/ 94 h 24"/>
                <a:gd name="T4" fmla="*/ 211 w 59"/>
                <a:gd name="T5" fmla="*/ 39 h 24"/>
                <a:gd name="T6" fmla="*/ 487 w 59"/>
                <a:gd name="T7" fmla="*/ 0 h 24"/>
                <a:gd name="T8" fmla="*/ 211 w 59"/>
                <a:gd name="T9" fmla="*/ 138 h 24"/>
                <a:gd name="T10" fmla="*/ 78 w 59"/>
                <a:gd name="T11" fmla="*/ 138 h 24"/>
                <a:gd name="T12" fmla="*/ 0 w 59"/>
                <a:gd name="T13" fmla="*/ 138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9"/>
                <a:gd name="T22" fmla="*/ 0 h 24"/>
                <a:gd name="T23" fmla="*/ 59 w 59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9" h="24">
                  <a:moveTo>
                    <a:pt x="0" y="23"/>
                  </a:moveTo>
                  <a:lnTo>
                    <a:pt x="18" y="15"/>
                  </a:lnTo>
                  <a:lnTo>
                    <a:pt x="25" y="6"/>
                  </a:lnTo>
                  <a:lnTo>
                    <a:pt x="58" y="0"/>
                  </a:lnTo>
                  <a:lnTo>
                    <a:pt x="25" y="23"/>
                  </a:lnTo>
                  <a:lnTo>
                    <a:pt x="9" y="23"/>
                  </a:lnTo>
                  <a:lnTo>
                    <a:pt x="0" y="23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3" name="Freeform 70"/>
            <p:cNvSpPr>
              <a:spLocks/>
            </p:cNvSpPr>
            <p:nvPr/>
          </p:nvSpPr>
          <p:spPr bwMode="auto">
            <a:xfrm>
              <a:off x="1711" y="1937"/>
              <a:ext cx="43" cy="22"/>
            </a:xfrm>
            <a:custGeom>
              <a:avLst/>
              <a:gdLst>
                <a:gd name="T0" fmla="*/ 0 w 33"/>
                <a:gd name="T1" fmla="*/ 126 h 17"/>
                <a:gd name="T2" fmla="*/ 0 w 33"/>
                <a:gd name="T3" fmla="*/ 47 h 17"/>
                <a:gd name="T4" fmla="*/ 190 w 33"/>
                <a:gd name="T5" fmla="*/ 47 h 17"/>
                <a:gd name="T6" fmla="*/ 270 w 33"/>
                <a:gd name="T7" fmla="*/ 0 h 17"/>
                <a:gd name="T8" fmla="*/ 270 w 33"/>
                <a:gd name="T9" fmla="*/ 126 h 17"/>
                <a:gd name="T10" fmla="*/ 0 w 33"/>
                <a:gd name="T11" fmla="*/ 126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17"/>
                <a:gd name="T20" fmla="*/ 33 w 33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17">
                  <a:moveTo>
                    <a:pt x="0" y="16"/>
                  </a:moveTo>
                  <a:lnTo>
                    <a:pt x="0" y="6"/>
                  </a:lnTo>
                  <a:lnTo>
                    <a:pt x="23" y="6"/>
                  </a:lnTo>
                  <a:lnTo>
                    <a:pt x="32" y="0"/>
                  </a:lnTo>
                  <a:lnTo>
                    <a:pt x="32" y="16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4" name="Freeform 71"/>
            <p:cNvSpPr>
              <a:spLocks/>
            </p:cNvSpPr>
            <p:nvPr/>
          </p:nvSpPr>
          <p:spPr bwMode="auto">
            <a:xfrm>
              <a:off x="1711" y="1937"/>
              <a:ext cx="43" cy="22"/>
            </a:xfrm>
            <a:custGeom>
              <a:avLst/>
              <a:gdLst>
                <a:gd name="T0" fmla="*/ 0 w 33"/>
                <a:gd name="T1" fmla="*/ 126 h 17"/>
                <a:gd name="T2" fmla="*/ 0 w 33"/>
                <a:gd name="T3" fmla="*/ 47 h 17"/>
                <a:gd name="T4" fmla="*/ 190 w 33"/>
                <a:gd name="T5" fmla="*/ 47 h 17"/>
                <a:gd name="T6" fmla="*/ 270 w 33"/>
                <a:gd name="T7" fmla="*/ 0 h 17"/>
                <a:gd name="T8" fmla="*/ 270 w 33"/>
                <a:gd name="T9" fmla="*/ 126 h 17"/>
                <a:gd name="T10" fmla="*/ 0 w 33"/>
                <a:gd name="T11" fmla="*/ 126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17"/>
                <a:gd name="T20" fmla="*/ 33 w 33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17">
                  <a:moveTo>
                    <a:pt x="0" y="16"/>
                  </a:moveTo>
                  <a:lnTo>
                    <a:pt x="0" y="6"/>
                  </a:lnTo>
                  <a:lnTo>
                    <a:pt x="23" y="6"/>
                  </a:lnTo>
                  <a:lnTo>
                    <a:pt x="32" y="0"/>
                  </a:lnTo>
                  <a:lnTo>
                    <a:pt x="32" y="16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5" name="Freeform 72"/>
            <p:cNvSpPr>
              <a:spLocks/>
            </p:cNvSpPr>
            <p:nvPr/>
          </p:nvSpPr>
          <p:spPr bwMode="auto">
            <a:xfrm>
              <a:off x="3312" y="1810"/>
              <a:ext cx="94" cy="43"/>
            </a:xfrm>
            <a:custGeom>
              <a:avLst/>
              <a:gdLst>
                <a:gd name="T0" fmla="*/ 598 w 72"/>
                <a:gd name="T1" fmla="*/ 65 h 33"/>
                <a:gd name="T2" fmla="*/ 467 w 72"/>
                <a:gd name="T3" fmla="*/ 0 h 33"/>
                <a:gd name="T4" fmla="*/ 336 w 72"/>
                <a:gd name="T5" fmla="*/ 65 h 33"/>
                <a:gd name="T6" fmla="*/ 257 w 72"/>
                <a:gd name="T7" fmla="*/ 0 h 33"/>
                <a:gd name="T8" fmla="*/ 195 w 72"/>
                <a:gd name="T9" fmla="*/ 0 h 33"/>
                <a:gd name="T10" fmla="*/ 0 w 72"/>
                <a:gd name="T11" fmla="*/ 133 h 33"/>
                <a:gd name="T12" fmla="*/ 0 w 72"/>
                <a:gd name="T13" fmla="*/ 270 h 33"/>
                <a:gd name="T14" fmla="*/ 127 w 72"/>
                <a:gd name="T15" fmla="*/ 270 h 33"/>
                <a:gd name="T16" fmla="*/ 386 w 72"/>
                <a:gd name="T17" fmla="*/ 133 h 33"/>
                <a:gd name="T18" fmla="*/ 546 w 72"/>
                <a:gd name="T19" fmla="*/ 190 h 33"/>
                <a:gd name="T20" fmla="*/ 598 w 72"/>
                <a:gd name="T21" fmla="*/ 65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2"/>
                <a:gd name="T34" fmla="*/ 0 h 33"/>
                <a:gd name="T35" fmla="*/ 72 w 72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2" h="33">
                  <a:moveTo>
                    <a:pt x="71" y="8"/>
                  </a:moveTo>
                  <a:lnTo>
                    <a:pt x="55" y="0"/>
                  </a:lnTo>
                  <a:lnTo>
                    <a:pt x="40" y="8"/>
                  </a:lnTo>
                  <a:lnTo>
                    <a:pt x="31" y="0"/>
                  </a:lnTo>
                  <a:lnTo>
                    <a:pt x="23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46" y="16"/>
                  </a:lnTo>
                  <a:lnTo>
                    <a:pt x="64" y="23"/>
                  </a:lnTo>
                  <a:lnTo>
                    <a:pt x="71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6" name="Freeform 73"/>
            <p:cNvSpPr>
              <a:spLocks/>
            </p:cNvSpPr>
            <p:nvPr/>
          </p:nvSpPr>
          <p:spPr bwMode="auto">
            <a:xfrm>
              <a:off x="3312" y="1810"/>
              <a:ext cx="94" cy="43"/>
            </a:xfrm>
            <a:custGeom>
              <a:avLst/>
              <a:gdLst>
                <a:gd name="T0" fmla="*/ 598 w 72"/>
                <a:gd name="T1" fmla="*/ 65 h 33"/>
                <a:gd name="T2" fmla="*/ 467 w 72"/>
                <a:gd name="T3" fmla="*/ 0 h 33"/>
                <a:gd name="T4" fmla="*/ 336 w 72"/>
                <a:gd name="T5" fmla="*/ 65 h 33"/>
                <a:gd name="T6" fmla="*/ 257 w 72"/>
                <a:gd name="T7" fmla="*/ 0 h 33"/>
                <a:gd name="T8" fmla="*/ 195 w 72"/>
                <a:gd name="T9" fmla="*/ 0 h 33"/>
                <a:gd name="T10" fmla="*/ 0 w 72"/>
                <a:gd name="T11" fmla="*/ 133 h 33"/>
                <a:gd name="T12" fmla="*/ 0 w 72"/>
                <a:gd name="T13" fmla="*/ 270 h 33"/>
                <a:gd name="T14" fmla="*/ 127 w 72"/>
                <a:gd name="T15" fmla="*/ 270 h 33"/>
                <a:gd name="T16" fmla="*/ 386 w 72"/>
                <a:gd name="T17" fmla="*/ 133 h 33"/>
                <a:gd name="T18" fmla="*/ 546 w 72"/>
                <a:gd name="T19" fmla="*/ 190 h 33"/>
                <a:gd name="T20" fmla="*/ 598 w 72"/>
                <a:gd name="T21" fmla="*/ 65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2"/>
                <a:gd name="T34" fmla="*/ 0 h 33"/>
                <a:gd name="T35" fmla="*/ 72 w 72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2" h="33">
                  <a:moveTo>
                    <a:pt x="71" y="8"/>
                  </a:moveTo>
                  <a:lnTo>
                    <a:pt x="55" y="0"/>
                  </a:lnTo>
                  <a:lnTo>
                    <a:pt x="40" y="8"/>
                  </a:lnTo>
                  <a:lnTo>
                    <a:pt x="31" y="0"/>
                  </a:lnTo>
                  <a:lnTo>
                    <a:pt x="23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46" y="16"/>
                  </a:lnTo>
                  <a:lnTo>
                    <a:pt x="64" y="23"/>
                  </a:lnTo>
                  <a:lnTo>
                    <a:pt x="71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7" name="Freeform 74"/>
            <p:cNvSpPr>
              <a:spLocks/>
            </p:cNvSpPr>
            <p:nvPr/>
          </p:nvSpPr>
          <p:spPr bwMode="auto">
            <a:xfrm>
              <a:off x="3481" y="636"/>
              <a:ext cx="2733" cy="1363"/>
            </a:xfrm>
            <a:custGeom>
              <a:avLst/>
              <a:gdLst>
                <a:gd name="T0" fmla="*/ 8706 w 2093"/>
                <a:gd name="T1" fmla="*/ 1770 h 1044"/>
                <a:gd name="T2" fmla="*/ 8570 w 2093"/>
                <a:gd name="T3" fmla="*/ 618 h 1044"/>
                <a:gd name="T4" fmla="*/ 8023 w 2093"/>
                <a:gd name="T5" fmla="*/ 618 h 1044"/>
                <a:gd name="T6" fmla="*/ 5765 w 2093"/>
                <a:gd name="T7" fmla="*/ 1845 h 1044"/>
                <a:gd name="T8" fmla="*/ 5412 w 2093"/>
                <a:gd name="T9" fmla="*/ 2243 h 1044"/>
                <a:gd name="T10" fmla="*/ 5141 w 2093"/>
                <a:gd name="T11" fmla="*/ 2871 h 1044"/>
                <a:gd name="T12" fmla="*/ 4733 w 2093"/>
                <a:gd name="T13" fmla="*/ 4022 h 1044"/>
                <a:gd name="T14" fmla="*/ 4945 w 2093"/>
                <a:gd name="T15" fmla="*/ 2110 h 1044"/>
                <a:gd name="T16" fmla="*/ 4317 w 2093"/>
                <a:gd name="T17" fmla="*/ 3145 h 1044"/>
                <a:gd name="T18" fmla="*/ 3701 w 2093"/>
                <a:gd name="T19" fmla="*/ 3341 h 1044"/>
                <a:gd name="T20" fmla="*/ 2950 w 2093"/>
                <a:gd name="T21" fmla="*/ 3341 h 1044"/>
                <a:gd name="T22" fmla="*/ 2053 w 2093"/>
                <a:gd name="T23" fmla="*/ 3479 h 1044"/>
                <a:gd name="T24" fmla="*/ 1637 w 2093"/>
                <a:gd name="T25" fmla="*/ 4099 h 1044"/>
                <a:gd name="T26" fmla="*/ 1033 w 2093"/>
                <a:gd name="T27" fmla="*/ 4704 h 1044"/>
                <a:gd name="T28" fmla="*/ 1244 w 2093"/>
                <a:gd name="T29" fmla="*/ 4166 h 1044"/>
                <a:gd name="T30" fmla="*/ 531 w 2093"/>
                <a:gd name="T31" fmla="*/ 3068 h 1044"/>
                <a:gd name="T32" fmla="*/ 351 w 2093"/>
                <a:gd name="T33" fmla="*/ 4230 h 1044"/>
                <a:gd name="T34" fmla="*/ 274 w 2093"/>
                <a:gd name="T35" fmla="*/ 5333 h 1044"/>
                <a:gd name="T36" fmla="*/ 0 w 2093"/>
                <a:gd name="T37" fmla="*/ 5806 h 1044"/>
                <a:gd name="T38" fmla="*/ 407 w 2093"/>
                <a:gd name="T39" fmla="*/ 6494 h 1044"/>
                <a:gd name="T40" fmla="*/ 483 w 2093"/>
                <a:gd name="T41" fmla="*/ 6963 h 1044"/>
                <a:gd name="T42" fmla="*/ 891 w 2093"/>
                <a:gd name="T43" fmla="*/ 7247 h 1044"/>
                <a:gd name="T44" fmla="*/ 1294 w 2093"/>
                <a:gd name="T45" fmla="*/ 7784 h 1044"/>
                <a:gd name="T46" fmla="*/ 1244 w 2093"/>
                <a:gd name="T47" fmla="*/ 8121 h 1044"/>
                <a:gd name="T48" fmla="*/ 1983 w 2093"/>
                <a:gd name="T49" fmla="*/ 8617 h 1044"/>
                <a:gd name="T50" fmla="*/ 2186 w 2093"/>
                <a:gd name="T51" fmla="*/ 8456 h 1044"/>
                <a:gd name="T52" fmla="*/ 2322 w 2093"/>
                <a:gd name="T53" fmla="*/ 8061 h 1044"/>
                <a:gd name="T54" fmla="*/ 2322 w 2093"/>
                <a:gd name="T55" fmla="*/ 7513 h 1044"/>
                <a:gd name="T56" fmla="*/ 2871 w 2093"/>
                <a:gd name="T57" fmla="*/ 7247 h 1044"/>
                <a:gd name="T58" fmla="*/ 3765 w 2093"/>
                <a:gd name="T59" fmla="*/ 7247 h 1044"/>
                <a:gd name="T60" fmla="*/ 3838 w 2093"/>
                <a:gd name="T61" fmla="*/ 6837 h 1044"/>
                <a:gd name="T62" fmla="*/ 4790 w 2093"/>
                <a:gd name="T63" fmla="*/ 6750 h 1044"/>
                <a:gd name="T64" fmla="*/ 5412 w 2093"/>
                <a:gd name="T65" fmla="*/ 6705 h 1044"/>
                <a:gd name="T66" fmla="*/ 6311 w 2093"/>
                <a:gd name="T67" fmla="*/ 7513 h 1044"/>
                <a:gd name="T68" fmla="*/ 7261 w 2093"/>
                <a:gd name="T69" fmla="*/ 7443 h 1044"/>
                <a:gd name="T70" fmla="*/ 8230 w 2093"/>
                <a:gd name="T71" fmla="*/ 7443 h 1044"/>
                <a:gd name="T72" fmla="*/ 9463 w 2093"/>
                <a:gd name="T73" fmla="*/ 7443 h 1044"/>
                <a:gd name="T74" fmla="*/ 10143 w 2093"/>
                <a:gd name="T75" fmla="*/ 7101 h 1044"/>
                <a:gd name="T76" fmla="*/ 10899 w 2093"/>
                <a:gd name="T77" fmla="*/ 7588 h 1044"/>
                <a:gd name="T78" fmla="*/ 11658 w 2093"/>
                <a:gd name="T79" fmla="*/ 7929 h 1044"/>
                <a:gd name="T80" fmla="*/ 11382 w 2093"/>
                <a:gd name="T81" fmla="*/ 8541 h 1044"/>
                <a:gd name="T82" fmla="*/ 12350 w 2093"/>
                <a:gd name="T83" fmla="*/ 7175 h 1044"/>
                <a:gd name="T84" fmla="*/ 11996 w 2093"/>
                <a:gd name="T85" fmla="*/ 6750 h 1044"/>
                <a:gd name="T86" fmla="*/ 12827 w 2093"/>
                <a:gd name="T87" fmla="*/ 5733 h 1044"/>
                <a:gd name="T88" fmla="*/ 13507 w 2093"/>
                <a:gd name="T89" fmla="*/ 5733 h 1044"/>
                <a:gd name="T90" fmla="*/ 14401 w 2093"/>
                <a:gd name="T91" fmla="*/ 5186 h 1044"/>
                <a:gd name="T92" fmla="*/ 14822 w 2093"/>
                <a:gd name="T93" fmla="*/ 5136 h 1044"/>
                <a:gd name="T94" fmla="*/ 14055 w 2093"/>
                <a:gd name="T95" fmla="*/ 7376 h 1044"/>
                <a:gd name="T96" fmla="*/ 14613 w 2093"/>
                <a:gd name="T97" fmla="*/ 6494 h 1044"/>
                <a:gd name="T98" fmla="*/ 14737 w 2093"/>
                <a:gd name="T99" fmla="*/ 5806 h 1044"/>
                <a:gd name="T100" fmla="*/ 15363 w 2093"/>
                <a:gd name="T101" fmla="*/ 5526 h 1044"/>
                <a:gd name="T102" fmla="*/ 16384 w 2093"/>
                <a:gd name="T103" fmla="*/ 4652 h 1044"/>
                <a:gd name="T104" fmla="*/ 16589 w 2093"/>
                <a:gd name="T105" fmla="*/ 4166 h 1044"/>
                <a:gd name="T106" fmla="*/ 17419 w 2093"/>
                <a:gd name="T107" fmla="*/ 4442 h 1044"/>
                <a:gd name="T108" fmla="*/ 16534 w 2093"/>
                <a:gd name="T109" fmla="*/ 3341 h 1044"/>
                <a:gd name="T110" fmla="*/ 15285 w 2093"/>
                <a:gd name="T111" fmla="*/ 3145 h 1044"/>
                <a:gd name="T112" fmla="*/ 14460 w 2093"/>
                <a:gd name="T113" fmla="*/ 3145 h 1044"/>
                <a:gd name="T114" fmla="*/ 13507 w 2093"/>
                <a:gd name="T115" fmla="*/ 2594 h 1044"/>
                <a:gd name="T116" fmla="*/ 12139 w 2093"/>
                <a:gd name="T117" fmla="*/ 2321 h 1044"/>
                <a:gd name="T118" fmla="*/ 11171 w 2093"/>
                <a:gd name="T119" fmla="*/ 2735 h 1044"/>
                <a:gd name="T120" fmla="*/ 10355 w 2093"/>
                <a:gd name="T121" fmla="*/ 1901 h 1044"/>
                <a:gd name="T122" fmla="*/ 8982 w 2093"/>
                <a:gd name="T123" fmla="*/ 1636 h 104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093"/>
                <a:gd name="T187" fmla="*/ 0 h 1044"/>
                <a:gd name="T188" fmla="*/ 2093 w 2093"/>
                <a:gd name="T189" fmla="*/ 1044 h 104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093" h="1044">
                  <a:moveTo>
                    <a:pt x="1063" y="194"/>
                  </a:moveTo>
                  <a:lnTo>
                    <a:pt x="1055" y="201"/>
                  </a:lnTo>
                  <a:lnTo>
                    <a:pt x="1063" y="218"/>
                  </a:lnTo>
                  <a:lnTo>
                    <a:pt x="1030" y="235"/>
                  </a:lnTo>
                  <a:lnTo>
                    <a:pt x="1023" y="235"/>
                  </a:lnTo>
                  <a:lnTo>
                    <a:pt x="1030" y="210"/>
                  </a:lnTo>
                  <a:lnTo>
                    <a:pt x="1111" y="138"/>
                  </a:lnTo>
                  <a:lnTo>
                    <a:pt x="1111" y="88"/>
                  </a:lnTo>
                  <a:lnTo>
                    <a:pt x="1080" y="57"/>
                  </a:lnTo>
                  <a:lnTo>
                    <a:pt x="1038" y="57"/>
                  </a:lnTo>
                  <a:lnTo>
                    <a:pt x="1038" y="73"/>
                  </a:lnTo>
                  <a:lnTo>
                    <a:pt x="1014" y="73"/>
                  </a:lnTo>
                  <a:lnTo>
                    <a:pt x="1030" y="41"/>
                  </a:lnTo>
                  <a:lnTo>
                    <a:pt x="989" y="33"/>
                  </a:lnTo>
                  <a:lnTo>
                    <a:pt x="1014" y="16"/>
                  </a:lnTo>
                  <a:lnTo>
                    <a:pt x="989" y="0"/>
                  </a:lnTo>
                  <a:lnTo>
                    <a:pt x="949" y="41"/>
                  </a:lnTo>
                  <a:lnTo>
                    <a:pt x="949" y="73"/>
                  </a:lnTo>
                  <a:lnTo>
                    <a:pt x="924" y="73"/>
                  </a:lnTo>
                  <a:lnTo>
                    <a:pt x="852" y="88"/>
                  </a:lnTo>
                  <a:lnTo>
                    <a:pt x="787" y="128"/>
                  </a:lnTo>
                  <a:lnTo>
                    <a:pt x="762" y="162"/>
                  </a:lnTo>
                  <a:lnTo>
                    <a:pt x="769" y="201"/>
                  </a:lnTo>
                  <a:lnTo>
                    <a:pt x="682" y="218"/>
                  </a:lnTo>
                  <a:lnTo>
                    <a:pt x="688" y="266"/>
                  </a:lnTo>
                  <a:lnTo>
                    <a:pt x="713" y="290"/>
                  </a:lnTo>
                  <a:lnTo>
                    <a:pt x="697" y="299"/>
                  </a:lnTo>
                  <a:lnTo>
                    <a:pt x="673" y="266"/>
                  </a:lnTo>
                  <a:lnTo>
                    <a:pt x="648" y="259"/>
                  </a:lnTo>
                  <a:lnTo>
                    <a:pt x="640" y="266"/>
                  </a:lnTo>
                  <a:lnTo>
                    <a:pt x="625" y="250"/>
                  </a:lnTo>
                  <a:lnTo>
                    <a:pt x="608" y="235"/>
                  </a:lnTo>
                  <a:lnTo>
                    <a:pt x="608" y="243"/>
                  </a:lnTo>
                  <a:lnTo>
                    <a:pt x="616" y="266"/>
                  </a:lnTo>
                  <a:lnTo>
                    <a:pt x="591" y="307"/>
                  </a:lnTo>
                  <a:lnTo>
                    <a:pt x="608" y="340"/>
                  </a:lnTo>
                  <a:lnTo>
                    <a:pt x="600" y="372"/>
                  </a:lnTo>
                  <a:lnTo>
                    <a:pt x="600" y="396"/>
                  </a:lnTo>
                  <a:lnTo>
                    <a:pt x="608" y="405"/>
                  </a:lnTo>
                  <a:lnTo>
                    <a:pt x="616" y="446"/>
                  </a:lnTo>
                  <a:lnTo>
                    <a:pt x="567" y="486"/>
                  </a:lnTo>
                  <a:lnTo>
                    <a:pt x="560" y="477"/>
                  </a:lnTo>
                  <a:lnTo>
                    <a:pt x="591" y="437"/>
                  </a:lnTo>
                  <a:lnTo>
                    <a:pt x="600" y="412"/>
                  </a:lnTo>
                  <a:lnTo>
                    <a:pt x="585" y="396"/>
                  </a:lnTo>
                  <a:lnTo>
                    <a:pt x="585" y="315"/>
                  </a:lnTo>
                  <a:lnTo>
                    <a:pt x="576" y="299"/>
                  </a:lnTo>
                  <a:lnTo>
                    <a:pt x="585" y="250"/>
                  </a:lnTo>
                  <a:lnTo>
                    <a:pt x="567" y="243"/>
                  </a:lnTo>
                  <a:lnTo>
                    <a:pt x="576" y="235"/>
                  </a:lnTo>
                  <a:lnTo>
                    <a:pt x="567" y="218"/>
                  </a:lnTo>
                  <a:lnTo>
                    <a:pt x="551" y="225"/>
                  </a:lnTo>
                  <a:lnTo>
                    <a:pt x="511" y="331"/>
                  </a:lnTo>
                  <a:lnTo>
                    <a:pt x="511" y="372"/>
                  </a:lnTo>
                  <a:lnTo>
                    <a:pt x="535" y="405"/>
                  </a:lnTo>
                  <a:lnTo>
                    <a:pt x="535" y="421"/>
                  </a:lnTo>
                  <a:lnTo>
                    <a:pt x="511" y="405"/>
                  </a:lnTo>
                  <a:lnTo>
                    <a:pt x="414" y="340"/>
                  </a:lnTo>
                  <a:lnTo>
                    <a:pt x="405" y="356"/>
                  </a:lnTo>
                  <a:lnTo>
                    <a:pt x="438" y="396"/>
                  </a:lnTo>
                  <a:lnTo>
                    <a:pt x="421" y="405"/>
                  </a:lnTo>
                  <a:lnTo>
                    <a:pt x="414" y="396"/>
                  </a:lnTo>
                  <a:lnTo>
                    <a:pt x="364" y="412"/>
                  </a:lnTo>
                  <a:lnTo>
                    <a:pt x="356" y="427"/>
                  </a:lnTo>
                  <a:lnTo>
                    <a:pt x="349" y="412"/>
                  </a:lnTo>
                  <a:lnTo>
                    <a:pt x="349" y="396"/>
                  </a:lnTo>
                  <a:lnTo>
                    <a:pt x="267" y="446"/>
                  </a:lnTo>
                  <a:lnTo>
                    <a:pt x="267" y="461"/>
                  </a:lnTo>
                  <a:lnTo>
                    <a:pt x="250" y="469"/>
                  </a:lnTo>
                  <a:lnTo>
                    <a:pt x="227" y="452"/>
                  </a:lnTo>
                  <a:lnTo>
                    <a:pt x="250" y="437"/>
                  </a:lnTo>
                  <a:lnTo>
                    <a:pt x="243" y="412"/>
                  </a:lnTo>
                  <a:lnTo>
                    <a:pt x="210" y="405"/>
                  </a:lnTo>
                  <a:lnTo>
                    <a:pt x="219" y="421"/>
                  </a:lnTo>
                  <a:lnTo>
                    <a:pt x="219" y="461"/>
                  </a:lnTo>
                  <a:lnTo>
                    <a:pt x="227" y="477"/>
                  </a:lnTo>
                  <a:lnTo>
                    <a:pt x="219" y="493"/>
                  </a:lnTo>
                  <a:lnTo>
                    <a:pt x="194" y="486"/>
                  </a:lnTo>
                  <a:lnTo>
                    <a:pt x="162" y="509"/>
                  </a:lnTo>
                  <a:lnTo>
                    <a:pt x="178" y="542"/>
                  </a:lnTo>
                  <a:lnTo>
                    <a:pt x="128" y="526"/>
                  </a:lnTo>
                  <a:lnTo>
                    <a:pt x="122" y="533"/>
                  </a:lnTo>
                  <a:lnTo>
                    <a:pt x="138" y="558"/>
                  </a:lnTo>
                  <a:lnTo>
                    <a:pt x="122" y="558"/>
                  </a:lnTo>
                  <a:lnTo>
                    <a:pt x="97" y="542"/>
                  </a:lnTo>
                  <a:lnTo>
                    <a:pt x="97" y="493"/>
                  </a:lnTo>
                  <a:lnTo>
                    <a:pt x="73" y="477"/>
                  </a:lnTo>
                  <a:lnTo>
                    <a:pt x="63" y="461"/>
                  </a:lnTo>
                  <a:lnTo>
                    <a:pt x="81" y="469"/>
                  </a:lnTo>
                  <a:lnTo>
                    <a:pt x="147" y="493"/>
                  </a:lnTo>
                  <a:lnTo>
                    <a:pt x="187" y="469"/>
                  </a:lnTo>
                  <a:lnTo>
                    <a:pt x="178" y="446"/>
                  </a:lnTo>
                  <a:lnTo>
                    <a:pt x="128" y="396"/>
                  </a:lnTo>
                  <a:lnTo>
                    <a:pt x="81" y="380"/>
                  </a:lnTo>
                  <a:lnTo>
                    <a:pt x="81" y="372"/>
                  </a:lnTo>
                  <a:lnTo>
                    <a:pt x="63" y="364"/>
                  </a:lnTo>
                  <a:lnTo>
                    <a:pt x="48" y="372"/>
                  </a:lnTo>
                  <a:lnTo>
                    <a:pt x="23" y="396"/>
                  </a:lnTo>
                  <a:lnTo>
                    <a:pt x="23" y="421"/>
                  </a:lnTo>
                  <a:lnTo>
                    <a:pt x="41" y="437"/>
                  </a:lnTo>
                  <a:lnTo>
                    <a:pt x="32" y="461"/>
                  </a:lnTo>
                  <a:lnTo>
                    <a:pt x="41" y="501"/>
                  </a:lnTo>
                  <a:lnTo>
                    <a:pt x="32" y="526"/>
                  </a:lnTo>
                  <a:lnTo>
                    <a:pt x="48" y="551"/>
                  </a:lnTo>
                  <a:lnTo>
                    <a:pt x="41" y="566"/>
                  </a:lnTo>
                  <a:lnTo>
                    <a:pt x="57" y="583"/>
                  </a:lnTo>
                  <a:lnTo>
                    <a:pt x="57" y="591"/>
                  </a:lnTo>
                  <a:lnTo>
                    <a:pt x="32" y="632"/>
                  </a:lnTo>
                  <a:lnTo>
                    <a:pt x="8" y="648"/>
                  </a:lnTo>
                  <a:lnTo>
                    <a:pt x="16" y="648"/>
                  </a:lnTo>
                  <a:lnTo>
                    <a:pt x="32" y="663"/>
                  </a:lnTo>
                  <a:lnTo>
                    <a:pt x="16" y="679"/>
                  </a:lnTo>
                  <a:lnTo>
                    <a:pt x="8" y="688"/>
                  </a:lnTo>
                  <a:lnTo>
                    <a:pt x="0" y="688"/>
                  </a:lnTo>
                  <a:lnTo>
                    <a:pt x="8" y="713"/>
                  </a:lnTo>
                  <a:lnTo>
                    <a:pt x="8" y="720"/>
                  </a:lnTo>
                  <a:lnTo>
                    <a:pt x="8" y="736"/>
                  </a:lnTo>
                  <a:lnTo>
                    <a:pt x="16" y="753"/>
                  </a:lnTo>
                  <a:lnTo>
                    <a:pt x="41" y="760"/>
                  </a:lnTo>
                  <a:lnTo>
                    <a:pt x="48" y="769"/>
                  </a:lnTo>
                  <a:lnTo>
                    <a:pt x="48" y="785"/>
                  </a:lnTo>
                  <a:lnTo>
                    <a:pt x="63" y="810"/>
                  </a:lnTo>
                  <a:lnTo>
                    <a:pt x="73" y="810"/>
                  </a:lnTo>
                  <a:lnTo>
                    <a:pt x="63" y="825"/>
                  </a:lnTo>
                  <a:lnTo>
                    <a:pt x="57" y="818"/>
                  </a:lnTo>
                  <a:lnTo>
                    <a:pt x="57" y="825"/>
                  </a:lnTo>
                  <a:lnTo>
                    <a:pt x="63" y="841"/>
                  </a:lnTo>
                  <a:lnTo>
                    <a:pt x="88" y="841"/>
                  </a:lnTo>
                  <a:lnTo>
                    <a:pt x="97" y="850"/>
                  </a:lnTo>
                  <a:lnTo>
                    <a:pt x="88" y="850"/>
                  </a:lnTo>
                  <a:lnTo>
                    <a:pt x="97" y="859"/>
                  </a:lnTo>
                  <a:lnTo>
                    <a:pt x="105" y="859"/>
                  </a:lnTo>
                  <a:lnTo>
                    <a:pt x="113" y="874"/>
                  </a:lnTo>
                  <a:lnTo>
                    <a:pt x="122" y="882"/>
                  </a:lnTo>
                  <a:lnTo>
                    <a:pt x="128" y="874"/>
                  </a:lnTo>
                  <a:lnTo>
                    <a:pt x="170" y="899"/>
                  </a:lnTo>
                  <a:lnTo>
                    <a:pt x="162" y="931"/>
                  </a:lnTo>
                  <a:lnTo>
                    <a:pt x="153" y="922"/>
                  </a:lnTo>
                  <a:lnTo>
                    <a:pt x="147" y="931"/>
                  </a:lnTo>
                  <a:lnTo>
                    <a:pt x="147" y="947"/>
                  </a:lnTo>
                  <a:lnTo>
                    <a:pt x="153" y="939"/>
                  </a:lnTo>
                  <a:lnTo>
                    <a:pt x="162" y="947"/>
                  </a:lnTo>
                  <a:lnTo>
                    <a:pt x="138" y="955"/>
                  </a:lnTo>
                  <a:lnTo>
                    <a:pt x="147" y="962"/>
                  </a:lnTo>
                  <a:lnTo>
                    <a:pt x="128" y="980"/>
                  </a:lnTo>
                  <a:lnTo>
                    <a:pt x="162" y="1012"/>
                  </a:lnTo>
                  <a:lnTo>
                    <a:pt x="202" y="1012"/>
                  </a:lnTo>
                  <a:lnTo>
                    <a:pt x="219" y="1021"/>
                  </a:lnTo>
                  <a:lnTo>
                    <a:pt x="234" y="1021"/>
                  </a:lnTo>
                  <a:lnTo>
                    <a:pt x="250" y="1036"/>
                  </a:lnTo>
                  <a:lnTo>
                    <a:pt x="259" y="1044"/>
                  </a:lnTo>
                  <a:lnTo>
                    <a:pt x="267" y="1044"/>
                  </a:lnTo>
                  <a:lnTo>
                    <a:pt x="275" y="1036"/>
                  </a:lnTo>
                  <a:lnTo>
                    <a:pt x="259" y="1021"/>
                  </a:lnTo>
                  <a:lnTo>
                    <a:pt x="259" y="1002"/>
                  </a:lnTo>
                  <a:lnTo>
                    <a:pt x="250" y="987"/>
                  </a:lnTo>
                  <a:lnTo>
                    <a:pt x="267" y="962"/>
                  </a:lnTo>
                  <a:lnTo>
                    <a:pt x="275" y="971"/>
                  </a:lnTo>
                  <a:lnTo>
                    <a:pt x="284" y="962"/>
                  </a:lnTo>
                  <a:lnTo>
                    <a:pt x="284" y="955"/>
                  </a:lnTo>
                  <a:lnTo>
                    <a:pt x="275" y="955"/>
                  </a:lnTo>
                  <a:lnTo>
                    <a:pt x="284" y="947"/>
                  </a:lnTo>
                  <a:lnTo>
                    <a:pt x="275" y="931"/>
                  </a:lnTo>
                  <a:lnTo>
                    <a:pt x="259" y="931"/>
                  </a:lnTo>
                  <a:lnTo>
                    <a:pt x="250" y="915"/>
                  </a:lnTo>
                  <a:lnTo>
                    <a:pt x="259" y="874"/>
                  </a:lnTo>
                  <a:lnTo>
                    <a:pt x="275" y="890"/>
                  </a:lnTo>
                  <a:lnTo>
                    <a:pt x="284" y="890"/>
                  </a:lnTo>
                  <a:lnTo>
                    <a:pt x="275" y="874"/>
                  </a:lnTo>
                  <a:lnTo>
                    <a:pt x="299" y="850"/>
                  </a:lnTo>
                  <a:lnTo>
                    <a:pt x="315" y="859"/>
                  </a:lnTo>
                  <a:lnTo>
                    <a:pt x="324" y="850"/>
                  </a:lnTo>
                  <a:lnTo>
                    <a:pt x="340" y="859"/>
                  </a:lnTo>
                  <a:lnTo>
                    <a:pt x="364" y="874"/>
                  </a:lnTo>
                  <a:lnTo>
                    <a:pt x="381" y="865"/>
                  </a:lnTo>
                  <a:lnTo>
                    <a:pt x="398" y="865"/>
                  </a:lnTo>
                  <a:lnTo>
                    <a:pt x="405" y="874"/>
                  </a:lnTo>
                  <a:lnTo>
                    <a:pt x="438" y="874"/>
                  </a:lnTo>
                  <a:lnTo>
                    <a:pt x="446" y="859"/>
                  </a:lnTo>
                  <a:lnTo>
                    <a:pt x="421" y="850"/>
                  </a:lnTo>
                  <a:lnTo>
                    <a:pt x="438" y="841"/>
                  </a:lnTo>
                  <a:lnTo>
                    <a:pt x="429" y="834"/>
                  </a:lnTo>
                  <a:lnTo>
                    <a:pt x="438" y="825"/>
                  </a:lnTo>
                  <a:lnTo>
                    <a:pt x="438" y="800"/>
                  </a:lnTo>
                  <a:lnTo>
                    <a:pt x="454" y="810"/>
                  </a:lnTo>
                  <a:lnTo>
                    <a:pt x="526" y="785"/>
                  </a:lnTo>
                  <a:lnTo>
                    <a:pt x="526" y="778"/>
                  </a:lnTo>
                  <a:lnTo>
                    <a:pt x="535" y="778"/>
                  </a:lnTo>
                  <a:lnTo>
                    <a:pt x="560" y="778"/>
                  </a:lnTo>
                  <a:lnTo>
                    <a:pt x="567" y="794"/>
                  </a:lnTo>
                  <a:lnTo>
                    <a:pt x="567" y="800"/>
                  </a:lnTo>
                  <a:lnTo>
                    <a:pt x="576" y="800"/>
                  </a:lnTo>
                  <a:lnTo>
                    <a:pt x="591" y="810"/>
                  </a:lnTo>
                  <a:lnTo>
                    <a:pt x="591" y="818"/>
                  </a:lnTo>
                  <a:lnTo>
                    <a:pt x="608" y="818"/>
                  </a:lnTo>
                  <a:lnTo>
                    <a:pt x="625" y="800"/>
                  </a:lnTo>
                  <a:lnTo>
                    <a:pt x="640" y="794"/>
                  </a:lnTo>
                  <a:lnTo>
                    <a:pt x="648" y="818"/>
                  </a:lnTo>
                  <a:lnTo>
                    <a:pt x="682" y="874"/>
                  </a:lnTo>
                  <a:lnTo>
                    <a:pt x="688" y="859"/>
                  </a:lnTo>
                  <a:lnTo>
                    <a:pt x="697" y="874"/>
                  </a:lnTo>
                  <a:lnTo>
                    <a:pt x="722" y="865"/>
                  </a:lnTo>
                  <a:lnTo>
                    <a:pt x="747" y="890"/>
                  </a:lnTo>
                  <a:lnTo>
                    <a:pt x="762" y="899"/>
                  </a:lnTo>
                  <a:lnTo>
                    <a:pt x="762" y="890"/>
                  </a:lnTo>
                  <a:lnTo>
                    <a:pt x="778" y="907"/>
                  </a:lnTo>
                  <a:lnTo>
                    <a:pt x="787" y="899"/>
                  </a:lnTo>
                  <a:lnTo>
                    <a:pt x="827" y="874"/>
                  </a:lnTo>
                  <a:lnTo>
                    <a:pt x="859" y="882"/>
                  </a:lnTo>
                  <a:lnTo>
                    <a:pt x="875" y="890"/>
                  </a:lnTo>
                  <a:lnTo>
                    <a:pt x="908" y="890"/>
                  </a:lnTo>
                  <a:lnTo>
                    <a:pt x="908" y="859"/>
                  </a:lnTo>
                  <a:lnTo>
                    <a:pt x="924" y="850"/>
                  </a:lnTo>
                  <a:lnTo>
                    <a:pt x="958" y="859"/>
                  </a:lnTo>
                  <a:lnTo>
                    <a:pt x="973" y="882"/>
                  </a:lnTo>
                  <a:lnTo>
                    <a:pt x="983" y="882"/>
                  </a:lnTo>
                  <a:lnTo>
                    <a:pt x="998" y="874"/>
                  </a:lnTo>
                  <a:lnTo>
                    <a:pt x="1046" y="899"/>
                  </a:lnTo>
                  <a:lnTo>
                    <a:pt x="1070" y="907"/>
                  </a:lnTo>
                  <a:lnTo>
                    <a:pt x="1103" y="899"/>
                  </a:lnTo>
                  <a:lnTo>
                    <a:pt x="1120" y="882"/>
                  </a:lnTo>
                  <a:lnTo>
                    <a:pt x="1144" y="890"/>
                  </a:lnTo>
                  <a:lnTo>
                    <a:pt x="1160" y="899"/>
                  </a:lnTo>
                  <a:lnTo>
                    <a:pt x="1185" y="890"/>
                  </a:lnTo>
                  <a:lnTo>
                    <a:pt x="1192" y="859"/>
                  </a:lnTo>
                  <a:lnTo>
                    <a:pt x="1200" y="850"/>
                  </a:lnTo>
                  <a:lnTo>
                    <a:pt x="1200" y="841"/>
                  </a:lnTo>
                  <a:lnTo>
                    <a:pt x="1192" y="841"/>
                  </a:lnTo>
                  <a:lnTo>
                    <a:pt x="1200" y="825"/>
                  </a:lnTo>
                  <a:lnTo>
                    <a:pt x="1232" y="818"/>
                  </a:lnTo>
                  <a:lnTo>
                    <a:pt x="1257" y="825"/>
                  </a:lnTo>
                  <a:lnTo>
                    <a:pt x="1272" y="841"/>
                  </a:lnTo>
                  <a:lnTo>
                    <a:pt x="1290" y="899"/>
                  </a:lnTo>
                  <a:lnTo>
                    <a:pt x="1306" y="899"/>
                  </a:lnTo>
                  <a:lnTo>
                    <a:pt x="1331" y="915"/>
                  </a:lnTo>
                  <a:lnTo>
                    <a:pt x="1331" y="931"/>
                  </a:lnTo>
                  <a:lnTo>
                    <a:pt x="1347" y="931"/>
                  </a:lnTo>
                  <a:lnTo>
                    <a:pt x="1379" y="922"/>
                  </a:lnTo>
                  <a:lnTo>
                    <a:pt x="1379" y="939"/>
                  </a:lnTo>
                  <a:lnTo>
                    <a:pt x="1356" y="987"/>
                  </a:lnTo>
                  <a:lnTo>
                    <a:pt x="1347" y="980"/>
                  </a:lnTo>
                  <a:lnTo>
                    <a:pt x="1331" y="987"/>
                  </a:lnTo>
                  <a:lnTo>
                    <a:pt x="1331" y="1027"/>
                  </a:lnTo>
                  <a:lnTo>
                    <a:pt x="1337" y="1012"/>
                  </a:lnTo>
                  <a:lnTo>
                    <a:pt x="1347" y="1012"/>
                  </a:lnTo>
                  <a:lnTo>
                    <a:pt x="1347" y="1021"/>
                  </a:lnTo>
                  <a:lnTo>
                    <a:pt x="1356" y="1027"/>
                  </a:lnTo>
                  <a:lnTo>
                    <a:pt x="1379" y="1012"/>
                  </a:lnTo>
                  <a:lnTo>
                    <a:pt x="1452" y="922"/>
                  </a:lnTo>
                  <a:lnTo>
                    <a:pt x="1452" y="865"/>
                  </a:lnTo>
                  <a:lnTo>
                    <a:pt x="1461" y="850"/>
                  </a:lnTo>
                  <a:lnTo>
                    <a:pt x="1461" y="825"/>
                  </a:lnTo>
                  <a:lnTo>
                    <a:pt x="1443" y="800"/>
                  </a:lnTo>
                  <a:lnTo>
                    <a:pt x="1436" y="800"/>
                  </a:lnTo>
                  <a:lnTo>
                    <a:pt x="1428" y="818"/>
                  </a:lnTo>
                  <a:lnTo>
                    <a:pt x="1411" y="818"/>
                  </a:lnTo>
                  <a:lnTo>
                    <a:pt x="1419" y="800"/>
                  </a:lnTo>
                  <a:lnTo>
                    <a:pt x="1411" y="800"/>
                  </a:lnTo>
                  <a:lnTo>
                    <a:pt x="1403" y="794"/>
                  </a:lnTo>
                  <a:lnTo>
                    <a:pt x="1387" y="794"/>
                  </a:lnTo>
                  <a:lnTo>
                    <a:pt x="1387" y="785"/>
                  </a:lnTo>
                  <a:lnTo>
                    <a:pt x="1484" y="688"/>
                  </a:lnTo>
                  <a:lnTo>
                    <a:pt x="1518" y="679"/>
                  </a:lnTo>
                  <a:lnTo>
                    <a:pt x="1524" y="688"/>
                  </a:lnTo>
                  <a:lnTo>
                    <a:pt x="1533" y="679"/>
                  </a:lnTo>
                  <a:lnTo>
                    <a:pt x="1558" y="688"/>
                  </a:lnTo>
                  <a:lnTo>
                    <a:pt x="1565" y="672"/>
                  </a:lnTo>
                  <a:lnTo>
                    <a:pt x="1590" y="679"/>
                  </a:lnTo>
                  <a:lnTo>
                    <a:pt x="1598" y="679"/>
                  </a:lnTo>
                  <a:lnTo>
                    <a:pt x="1590" y="688"/>
                  </a:lnTo>
                  <a:lnTo>
                    <a:pt x="1590" y="695"/>
                  </a:lnTo>
                  <a:lnTo>
                    <a:pt x="1638" y="688"/>
                  </a:lnTo>
                  <a:lnTo>
                    <a:pt x="1630" y="679"/>
                  </a:lnTo>
                  <a:lnTo>
                    <a:pt x="1663" y="623"/>
                  </a:lnTo>
                  <a:lnTo>
                    <a:pt x="1704" y="614"/>
                  </a:lnTo>
                  <a:lnTo>
                    <a:pt x="1704" y="632"/>
                  </a:lnTo>
                  <a:lnTo>
                    <a:pt x="1704" y="648"/>
                  </a:lnTo>
                  <a:lnTo>
                    <a:pt x="1744" y="623"/>
                  </a:lnTo>
                  <a:lnTo>
                    <a:pt x="1744" y="598"/>
                  </a:lnTo>
                  <a:lnTo>
                    <a:pt x="1760" y="598"/>
                  </a:lnTo>
                  <a:lnTo>
                    <a:pt x="1754" y="608"/>
                  </a:lnTo>
                  <a:lnTo>
                    <a:pt x="1744" y="648"/>
                  </a:lnTo>
                  <a:lnTo>
                    <a:pt x="1729" y="655"/>
                  </a:lnTo>
                  <a:lnTo>
                    <a:pt x="1679" y="713"/>
                  </a:lnTo>
                  <a:lnTo>
                    <a:pt x="1663" y="720"/>
                  </a:lnTo>
                  <a:lnTo>
                    <a:pt x="1646" y="778"/>
                  </a:lnTo>
                  <a:lnTo>
                    <a:pt x="1663" y="874"/>
                  </a:lnTo>
                  <a:lnTo>
                    <a:pt x="1679" y="859"/>
                  </a:lnTo>
                  <a:lnTo>
                    <a:pt x="1704" y="825"/>
                  </a:lnTo>
                  <a:lnTo>
                    <a:pt x="1704" y="800"/>
                  </a:lnTo>
                  <a:lnTo>
                    <a:pt x="1711" y="800"/>
                  </a:lnTo>
                  <a:lnTo>
                    <a:pt x="1729" y="794"/>
                  </a:lnTo>
                  <a:lnTo>
                    <a:pt x="1729" y="769"/>
                  </a:lnTo>
                  <a:lnTo>
                    <a:pt x="1735" y="760"/>
                  </a:lnTo>
                  <a:lnTo>
                    <a:pt x="1744" y="760"/>
                  </a:lnTo>
                  <a:lnTo>
                    <a:pt x="1744" y="745"/>
                  </a:lnTo>
                  <a:lnTo>
                    <a:pt x="1744" y="728"/>
                  </a:lnTo>
                  <a:lnTo>
                    <a:pt x="1729" y="713"/>
                  </a:lnTo>
                  <a:lnTo>
                    <a:pt x="1744" y="688"/>
                  </a:lnTo>
                  <a:lnTo>
                    <a:pt x="1744" y="672"/>
                  </a:lnTo>
                  <a:lnTo>
                    <a:pt x="1760" y="672"/>
                  </a:lnTo>
                  <a:lnTo>
                    <a:pt x="1785" y="655"/>
                  </a:lnTo>
                  <a:lnTo>
                    <a:pt x="1785" y="672"/>
                  </a:lnTo>
                  <a:lnTo>
                    <a:pt x="1794" y="663"/>
                  </a:lnTo>
                  <a:lnTo>
                    <a:pt x="1817" y="655"/>
                  </a:lnTo>
                  <a:lnTo>
                    <a:pt x="1834" y="672"/>
                  </a:lnTo>
                  <a:lnTo>
                    <a:pt x="1841" y="655"/>
                  </a:lnTo>
                  <a:lnTo>
                    <a:pt x="1922" y="598"/>
                  </a:lnTo>
                  <a:lnTo>
                    <a:pt x="1946" y="608"/>
                  </a:lnTo>
                  <a:lnTo>
                    <a:pt x="1956" y="598"/>
                  </a:lnTo>
                  <a:lnTo>
                    <a:pt x="1938" y="551"/>
                  </a:lnTo>
                  <a:lnTo>
                    <a:pt x="1931" y="551"/>
                  </a:lnTo>
                  <a:lnTo>
                    <a:pt x="1931" y="533"/>
                  </a:lnTo>
                  <a:lnTo>
                    <a:pt x="1938" y="533"/>
                  </a:lnTo>
                  <a:lnTo>
                    <a:pt x="1956" y="526"/>
                  </a:lnTo>
                  <a:lnTo>
                    <a:pt x="1971" y="509"/>
                  </a:lnTo>
                  <a:lnTo>
                    <a:pt x="1963" y="493"/>
                  </a:lnTo>
                  <a:lnTo>
                    <a:pt x="1971" y="486"/>
                  </a:lnTo>
                  <a:lnTo>
                    <a:pt x="1980" y="509"/>
                  </a:lnTo>
                  <a:lnTo>
                    <a:pt x="1996" y="509"/>
                  </a:lnTo>
                  <a:lnTo>
                    <a:pt x="2011" y="526"/>
                  </a:lnTo>
                  <a:lnTo>
                    <a:pt x="2053" y="551"/>
                  </a:lnTo>
                  <a:lnTo>
                    <a:pt x="2061" y="526"/>
                  </a:lnTo>
                  <a:lnTo>
                    <a:pt x="2061" y="509"/>
                  </a:lnTo>
                  <a:lnTo>
                    <a:pt x="2077" y="509"/>
                  </a:lnTo>
                  <a:lnTo>
                    <a:pt x="2093" y="493"/>
                  </a:lnTo>
                  <a:lnTo>
                    <a:pt x="2068" y="469"/>
                  </a:lnTo>
                  <a:lnTo>
                    <a:pt x="2028" y="461"/>
                  </a:lnTo>
                  <a:lnTo>
                    <a:pt x="1956" y="396"/>
                  </a:lnTo>
                  <a:lnTo>
                    <a:pt x="1906" y="364"/>
                  </a:lnTo>
                  <a:lnTo>
                    <a:pt x="1841" y="356"/>
                  </a:lnTo>
                  <a:lnTo>
                    <a:pt x="1841" y="396"/>
                  </a:lnTo>
                  <a:lnTo>
                    <a:pt x="1825" y="405"/>
                  </a:lnTo>
                  <a:lnTo>
                    <a:pt x="1809" y="387"/>
                  </a:lnTo>
                  <a:lnTo>
                    <a:pt x="1809" y="372"/>
                  </a:lnTo>
                  <a:lnTo>
                    <a:pt x="1817" y="372"/>
                  </a:lnTo>
                  <a:lnTo>
                    <a:pt x="1825" y="364"/>
                  </a:lnTo>
                  <a:lnTo>
                    <a:pt x="1809" y="364"/>
                  </a:lnTo>
                  <a:lnTo>
                    <a:pt x="1794" y="380"/>
                  </a:lnTo>
                  <a:lnTo>
                    <a:pt x="1754" y="372"/>
                  </a:lnTo>
                  <a:lnTo>
                    <a:pt x="1711" y="372"/>
                  </a:lnTo>
                  <a:lnTo>
                    <a:pt x="1695" y="364"/>
                  </a:lnTo>
                  <a:lnTo>
                    <a:pt x="1704" y="349"/>
                  </a:lnTo>
                  <a:lnTo>
                    <a:pt x="1688" y="324"/>
                  </a:lnTo>
                  <a:lnTo>
                    <a:pt x="1655" y="315"/>
                  </a:lnTo>
                  <a:lnTo>
                    <a:pt x="1605" y="331"/>
                  </a:lnTo>
                  <a:lnTo>
                    <a:pt x="1598" y="307"/>
                  </a:lnTo>
                  <a:lnTo>
                    <a:pt x="1583" y="307"/>
                  </a:lnTo>
                  <a:lnTo>
                    <a:pt x="1573" y="299"/>
                  </a:lnTo>
                  <a:lnTo>
                    <a:pt x="1573" y="275"/>
                  </a:lnTo>
                  <a:lnTo>
                    <a:pt x="1518" y="259"/>
                  </a:lnTo>
                  <a:lnTo>
                    <a:pt x="1452" y="243"/>
                  </a:lnTo>
                  <a:lnTo>
                    <a:pt x="1436" y="275"/>
                  </a:lnTo>
                  <a:lnTo>
                    <a:pt x="1452" y="299"/>
                  </a:lnTo>
                  <a:lnTo>
                    <a:pt x="1396" y="299"/>
                  </a:lnTo>
                  <a:lnTo>
                    <a:pt x="1379" y="307"/>
                  </a:lnTo>
                  <a:lnTo>
                    <a:pt x="1356" y="284"/>
                  </a:lnTo>
                  <a:lnTo>
                    <a:pt x="1337" y="331"/>
                  </a:lnTo>
                  <a:lnTo>
                    <a:pt x="1322" y="324"/>
                  </a:lnTo>
                  <a:lnTo>
                    <a:pt x="1306" y="290"/>
                  </a:lnTo>
                  <a:lnTo>
                    <a:pt x="1315" y="250"/>
                  </a:lnTo>
                  <a:lnTo>
                    <a:pt x="1297" y="225"/>
                  </a:lnTo>
                  <a:lnTo>
                    <a:pt x="1250" y="210"/>
                  </a:lnTo>
                  <a:lnTo>
                    <a:pt x="1232" y="210"/>
                  </a:lnTo>
                  <a:lnTo>
                    <a:pt x="1225" y="225"/>
                  </a:lnTo>
                  <a:lnTo>
                    <a:pt x="1232" y="243"/>
                  </a:lnTo>
                  <a:lnTo>
                    <a:pt x="1167" y="235"/>
                  </a:lnTo>
                  <a:lnTo>
                    <a:pt x="1175" y="210"/>
                  </a:lnTo>
                  <a:lnTo>
                    <a:pt x="1135" y="201"/>
                  </a:lnTo>
                  <a:lnTo>
                    <a:pt x="1111" y="218"/>
                  </a:lnTo>
                  <a:lnTo>
                    <a:pt x="1063" y="194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8" name="Freeform 75"/>
            <p:cNvSpPr>
              <a:spLocks/>
            </p:cNvSpPr>
            <p:nvPr/>
          </p:nvSpPr>
          <p:spPr bwMode="auto">
            <a:xfrm>
              <a:off x="3108" y="1048"/>
              <a:ext cx="448" cy="521"/>
            </a:xfrm>
            <a:custGeom>
              <a:avLst/>
              <a:gdLst>
                <a:gd name="T0" fmla="*/ 684 w 343"/>
                <a:gd name="T1" fmla="*/ 3151 h 399"/>
                <a:gd name="T2" fmla="*/ 631 w 343"/>
                <a:gd name="T3" fmla="*/ 3151 h 399"/>
                <a:gd name="T4" fmla="*/ 340 w 343"/>
                <a:gd name="T5" fmla="*/ 3366 h 399"/>
                <a:gd name="T6" fmla="*/ 78 w 343"/>
                <a:gd name="T7" fmla="*/ 3279 h 399"/>
                <a:gd name="T8" fmla="*/ 0 w 343"/>
                <a:gd name="T9" fmla="*/ 2737 h 399"/>
                <a:gd name="T10" fmla="*/ 0 w 343"/>
                <a:gd name="T11" fmla="*/ 2521 h 399"/>
                <a:gd name="T12" fmla="*/ 340 w 343"/>
                <a:gd name="T13" fmla="*/ 2266 h 399"/>
                <a:gd name="T14" fmla="*/ 684 w 343"/>
                <a:gd name="T15" fmla="*/ 1845 h 399"/>
                <a:gd name="T16" fmla="*/ 969 w 343"/>
                <a:gd name="T17" fmla="*/ 1376 h 399"/>
                <a:gd name="T18" fmla="*/ 1236 w 343"/>
                <a:gd name="T19" fmla="*/ 893 h 399"/>
                <a:gd name="T20" fmla="*/ 893 w 343"/>
                <a:gd name="T21" fmla="*/ 1033 h 399"/>
                <a:gd name="T22" fmla="*/ 1034 w 343"/>
                <a:gd name="T23" fmla="*/ 763 h 399"/>
                <a:gd name="T24" fmla="*/ 1236 w 343"/>
                <a:gd name="T25" fmla="*/ 763 h 399"/>
                <a:gd name="T26" fmla="*/ 1319 w 343"/>
                <a:gd name="T27" fmla="*/ 551 h 399"/>
                <a:gd name="T28" fmla="*/ 1520 w 343"/>
                <a:gd name="T29" fmla="*/ 351 h 399"/>
                <a:gd name="T30" fmla="*/ 1788 w 343"/>
                <a:gd name="T31" fmla="*/ 283 h 399"/>
                <a:gd name="T32" fmla="*/ 2124 w 343"/>
                <a:gd name="T33" fmla="*/ 133 h 399"/>
                <a:gd name="T34" fmla="*/ 2482 w 343"/>
                <a:gd name="T35" fmla="*/ 0 h 399"/>
                <a:gd name="T36" fmla="*/ 2902 w 343"/>
                <a:gd name="T37" fmla="*/ 283 h 399"/>
                <a:gd name="T38" fmla="*/ 2607 w 343"/>
                <a:gd name="T39" fmla="*/ 351 h 399"/>
                <a:gd name="T40" fmla="*/ 2821 w 343"/>
                <a:gd name="T41" fmla="*/ 483 h 399"/>
                <a:gd name="T42" fmla="*/ 2687 w 343"/>
                <a:gd name="T43" fmla="*/ 483 h 399"/>
                <a:gd name="T44" fmla="*/ 2335 w 343"/>
                <a:gd name="T45" fmla="*/ 418 h 399"/>
                <a:gd name="T46" fmla="*/ 2207 w 343"/>
                <a:gd name="T47" fmla="*/ 763 h 399"/>
                <a:gd name="T48" fmla="*/ 1788 w 343"/>
                <a:gd name="T49" fmla="*/ 610 h 399"/>
                <a:gd name="T50" fmla="*/ 1655 w 343"/>
                <a:gd name="T51" fmla="*/ 684 h 399"/>
                <a:gd name="T52" fmla="*/ 1520 w 343"/>
                <a:gd name="T53" fmla="*/ 824 h 399"/>
                <a:gd name="T54" fmla="*/ 1443 w 343"/>
                <a:gd name="T55" fmla="*/ 944 h 399"/>
                <a:gd name="T56" fmla="*/ 1319 w 343"/>
                <a:gd name="T57" fmla="*/ 1033 h 399"/>
                <a:gd name="T58" fmla="*/ 1236 w 343"/>
                <a:gd name="T59" fmla="*/ 1301 h 399"/>
                <a:gd name="T60" fmla="*/ 1034 w 343"/>
                <a:gd name="T61" fmla="*/ 1713 h 399"/>
                <a:gd name="T62" fmla="*/ 1034 w 343"/>
                <a:gd name="T63" fmla="*/ 1995 h 399"/>
                <a:gd name="T64" fmla="*/ 832 w 343"/>
                <a:gd name="T65" fmla="*/ 2121 h 399"/>
                <a:gd name="T66" fmla="*/ 832 w 343"/>
                <a:gd name="T67" fmla="*/ 2681 h 399"/>
                <a:gd name="T68" fmla="*/ 765 w 343"/>
                <a:gd name="T69" fmla="*/ 3015 h 399"/>
                <a:gd name="T70" fmla="*/ 684 w 343"/>
                <a:gd name="T71" fmla="*/ 3212 h 39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3"/>
                <a:gd name="T109" fmla="*/ 0 h 399"/>
                <a:gd name="T110" fmla="*/ 343 w 343"/>
                <a:gd name="T111" fmla="*/ 399 h 39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3" h="399">
                  <a:moveTo>
                    <a:pt x="81" y="380"/>
                  </a:moveTo>
                  <a:lnTo>
                    <a:pt x="81" y="373"/>
                  </a:lnTo>
                  <a:lnTo>
                    <a:pt x="74" y="364"/>
                  </a:lnTo>
                  <a:lnTo>
                    <a:pt x="74" y="373"/>
                  </a:lnTo>
                  <a:lnTo>
                    <a:pt x="65" y="373"/>
                  </a:lnTo>
                  <a:lnTo>
                    <a:pt x="40" y="398"/>
                  </a:lnTo>
                  <a:lnTo>
                    <a:pt x="25" y="398"/>
                  </a:lnTo>
                  <a:lnTo>
                    <a:pt x="9" y="388"/>
                  </a:lnTo>
                  <a:lnTo>
                    <a:pt x="9" y="340"/>
                  </a:lnTo>
                  <a:lnTo>
                    <a:pt x="0" y="324"/>
                  </a:lnTo>
                  <a:lnTo>
                    <a:pt x="9" y="308"/>
                  </a:lnTo>
                  <a:lnTo>
                    <a:pt x="0" y="299"/>
                  </a:lnTo>
                  <a:lnTo>
                    <a:pt x="34" y="276"/>
                  </a:lnTo>
                  <a:lnTo>
                    <a:pt x="40" y="268"/>
                  </a:lnTo>
                  <a:lnTo>
                    <a:pt x="59" y="259"/>
                  </a:lnTo>
                  <a:lnTo>
                    <a:pt x="81" y="218"/>
                  </a:lnTo>
                  <a:lnTo>
                    <a:pt x="99" y="203"/>
                  </a:lnTo>
                  <a:lnTo>
                    <a:pt x="114" y="162"/>
                  </a:lnTo>
                  <a:lnTo>
                    <a:pt x="131" y="122"/>
                  </a:lnTo>
                  <a:lnTo>
                    <a:pt x="146" y="106"/>
                  </a:lnTo>
                  <a:lnTo>
                    <a:pt x="122" y="112"/>
                  </a:lnTo>
                  <a:lnTo>
                    <a:pt x="106" y="122"/>
                  </a:lnTo>
                  <a:lnTo>
                    <a:pt x="114" y="106"/>
                  </a:lnTo>
                  <a:lnTo>
                    <a:pt x="122" y="90"/>
                  </a:lnTo>
                  <a:lnTo>
                    <a:pt x="146" y="72"/>
                  </a:lnTo>
                  <a:lnTo>
                    <a:pt x="146" y="90"/>
                  </a:lnTo>
                  <a:lnTo>
                    <a:pt x="156" y="81"/>
                  </a:lnTo>
                  <a:lnTo>
                    <a:pt x="156" y="65"/>
                  </a:lnTo>
                  <a:lnTo>
                    <a:pt x="171" y="57"/>
                  </a:lnTo>
                  <a:lnTo>
                    <a:pt x="179" y="41"/>
                  </a:lnTo>
                  <a:lnTo>
                    <a:pt x="196" y="41"/>
                  </a:lnTo>
                  <a:lnTo>
                    <a:pt x="211" y="34"/>
                  </a:lnTo>
                  <a:lnTo>
                    <a:pt x="236" y="9"/>
                  </a:lnTo>
                  <a:lnTo>
                    <a:pt x="251" y="16"/>
                  </a:lnTo>
                  <a:lnTo>
                    <a:pt x="268" y="0"/>
                  </a:lnTo>
                  <a:lnTo>
                    <a:pt x="293" y="0"/>
                  </a:lnTo>
                  <a:lnTo>
                    <a:pt x="308" y="9"/>
                  </a:lnTo>
                  <a:lnTo>
                    <a:pt x="342" y="34"/>
                  </a:lnTo>
                  <a:lnTo>
                    <a:pt x="326" y="41"/>
                  </a:lnTo>
                  <a:lnTo>
                    <a:pt x="308" y="41"/>
                  </a:lnTo>
                  <a:lnTo>
                    <a:pt x="326" y="49"/>
                  </a:lnTo>
                  <a:lnTo>
                    <a:pt x="333" y="57"/>
                  </a:lnTo>
                  <a:lnTo>
                    <a:pt x="308" y="81"/>
                  </a:lnTo>
                  <a:lnTo>
                    <a:pt x="317" y="57"/>
                  </a:lnTo>
                  <a:lnTo>
                    <a:pt x="293" y="41"/>
                  </a:lnTo>
                  <a:lnTo>
                    <a:pt x="276" y="49"/>
                  </a:lnTo>
                  <a:lnTo>
                    <a:pt x="268" y="81"/>
                  </a:lnTo>
                  <a:lnTo>
                    <a:pt x="261" y="90"/>
                  </a:lnTo>
                  <a:lnTo>
                    <a:pt x="227" y="90"/>
                  </a:lnTo>
                  <a:lnTo>
                    <a:pt x="211" y="72"/>
                  </a:lnTo>
                  <a:lnTo>
                    <a:pt x="202" y="81"/>
                  </a:lnTo>
                  <a:lnTo>
                    <a:pt x="196" y="81"/>
                  </a:lnTo>
                  <a:lnTo>
                    <a:pt x="196" y="97"/>
                  </a:lnTo>
                  <a:lnTo>
                    <a:pt x="179" y="97"/>
                  </a:lnTo>
                  <a:lnTo>
                    <a:pt x="171" y="97"/>
                  </a:lnTo>
                  <a:lnTo>
                    <a:pt x="171" y="112"/>
                  </a:lnTo>
                  <a:lnTo>
                    <a:pt x="162" y="112"/>
                  </a:lnTo>
                  <a:lnTo>
                    <a:pt x="156" y="122"/>
                  </a:lnTo>
                  <a:lnTo>
                    <a:pt x="146" y="137"/>
                  </a:lnTo>
                  <a:lnTo>
                    <a:pt x="146" y="154"/>
                  </a:lnTo>
                  <a:lnTo>
                    <a:pt x="131" y="178"/>
                  </a:lnTo>
                  <a:lnTo>
                    <a:pt x="122" y="203"/>
                  </a:lnTo>
                  <a:lnTo>
                    <a:pt x="114" y="218"/>
                  </a:lnTo>
                  <a:lnTo>
                    <a:pt x="122" y="236"/>
                  </a:lnTo>
                  <a:lnTo>
                    <a:pt x="106" y="243"/>
                  </a:lnTo>
                  <a:lnTo>
                    <a:pt x="99" y="251"/>
                  </a:lnTo>
                  <a:lnTo>
                    <a:pt x="90" y="283"/>
                  </a:lnTo>
                  <a:lnTo>
                    <a:pt x="99" y="317"/>
                  </a:lnTo>
                  <a:lnTo>
                    <a:pt x="99" y="348"/>
                  </a:lnTo>
                  <a:lnTo>
                    <a:pt x="90" y="357"/>
                  </a:lnTo>
                  <a:lnTo>
                    <a:pt x="90" y="380"/>
                  </a:lnTo>
                  <a:lnTo>
                    <a:pt x="81" y="38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9" name="Freeform 76"/>
            <p:cNvSpPr>
              <a:spLocks/>
            </p:cNvSpPr>
            <p:nvPr/>
          </p:nvSpPr>
          <p:spPr bwMode="auto">
            <a:xfrm>
              <a:off x="3459" y="1990"/>
              <a:ext cx="319" cy="127"/>
            </a:xfrm>
            <a:custGeom>
              <a:avLst/>
              <a:gdLst>
                <a:gd name="T0" fmla="*/ 2017 w 245"/>
                <a:gd name="T1" fmla="*/ 250 h 98"/>
                <a:gd name="T2" fmla="*/ 1949 w 245"/>
                <a:gd name="T3" fmla="*/ 250 h 98"/>
                <a:gd name="T4" fmla="*/ 1874 w 245"/>
                <a:gd name="T5" fmla="*/ 64 h 98"/>
                <a:gd name="T6" fmla="*/ 1687 w 245"/>
                <a:gd name="T7" fmla="*/ 64 h 98"/>
                <a:gd name="T8" fmla="*/ 1477 w 245"/>
                <a:gd name="T9" fmla="*/ 126 h 98"/>
                <a:gd name="T10" fmla="*/ 1199 w 245"/>
                <a:gd name="T11" fmla="*/ 126 h 98"/>
                <a:gd name="T12" fmla="*/ 1010 w 245"/>
                <a:gd name="T13" fmla="*/ 0 h 98"/>
                <a:gd name="T14" fmla="*/ 812 w 245"/>
                <a:gd name="T15" fmla="*/ 0 h 98"/>
                <a:gd name="T16" fmla="*/ 608 w 245"/>
                <a:gd name="T17" fmla="*/ 126 h 98"/>
                <a:gd name="T18" fmla="*/ 483 w 245"/>
                <a:gd name="T19" fmla="*/ 126 h 98"/>
                <a:gd name="T20" fmla="*/ 335 w 245"/>
                <a:gd name="T21" fmla="*/ 126 h 98"/>
                <a:gd name="T22" fmla="*/ 273 w 245"/>
                <a:gd name="T23" fmla="*/ 0 h 98"/>
                <a:gd name="T24" fmla="*/ 141 w 245"/>
                <a:gd name="T25" fmla="*/ 0 h 98"/>
                <a:gd name="T26" fmla="*/ 64 w 245"/>
                <a:gd name="T27" fmla="*/ 64 h 98"/>
                <a:gd name="T28" fmla="*/ 0 w 245"/>
                <a:gd name="T29" fmla="*/ 193 h 98"/>
                <a:gd name="T30" fmla="*/ 64 w 245"/>
                <a:gd name="T31" fmla="*/ 193 h 98"/>
                <a:gd name="T32" fmla="*/ 64 w 245"/>
                <a:gd name="T33" fmla="*/ 250 h 98"/>
                <a:gd name="T34" fmla="*/ 210 w 245"/>
                <a:gd name="T35" fmla="*/ 126 h 98"/>
                <a:gd name="T36" fmla="*/ 335 w 245"/>
                <a:gd name="T37" fmla="*/ 126 h 98"/>
                <a:gd name="T38" fmla="*/ 406 w 245"/>
                <a:gd name="T39" fmla="*/ 193 h 98"/>
                <a:gd name="T40" fmla="*/ 335 w 245"/>
                <a:gd name="T41" fmla="*/ 193 h 98"/>
                <a:gd name="T42" fmla="*/ 335 w 245"/>
                <a:gd name="T43" fmla="*/ 250 h 98"/>
                <a:gd name="T44" fmla="*/ 141 w 245"/>
                <a:gd name="T45" fmla="*/ 250 h 98"/>
                <a:gd name="T46" fmla="*/ 64 w 245"/>
                <a:gd name="T47" fmla="*/ 324 h 98"/>
                <a:gd name="T48" fmla="*/ 64 w 245"/>
                <a:gd name="T49" fmla="*/ 381 h 98"/>
                <a:gd name="T50" fmla="*/ 141 w 245"/>
                <a:gd name="T51" fmla="*/ 324 h 98"/>
                <a:gd name="T52" fmla="*/ 141 w 245"/>
                <a:gd name="T53" fmla="*/ 381 h 98"/>
                <a:gd name="T54" fmla="*/ 64 w 245"/>
                <a:gd name="T55" fmla="*/ 455 h 98"/>
                <a:gd name="T56" fmla="*/ 64 w 245"/>
                <a:gd name="T57" fmla="*/ 516 h 98"/>
                <a:gd name="T58" fmla="*/ 141 w 245"/>
                <a:gd name="T59" fmla="*/ 581 h 98"/>
                <a:gd name="T60" fmla="*/ 210 w 245"/>
                <a:gd name="T61" fmla="*/ 641 h 98"/>
                <a:gd name="T62" fmla="*/ 273 w 245"/>
                <a:gd name="T63" fmla="*/ 641 h 98"/>
                <a:gd name="T64" fmla="*/ 273 w 245"/>
                <a:gd name="T65" fmla="*/ 719 h 98"/>
                <a:gd name="T66" fmla="*/ 406 w 245"/>
                <a:gd name="T67" fmla="*/ 771 h 98"/>
                <a:gd name="T68" fmla="*/ 543 w 245"/>
                <a:gd name="T69" fmla="*/ 719 h 98"/>
                <a:gd name="T70" fmla="*/ 608 w 245"/>
                <a:gd name="T71" fmla="*/ 719 h 98"/>
                <a:gd name="T72" fmla="*/ 741 w 245"/>
                <a:gd name="T73" fmla="*/ 771 h 98"/>
                <a:gd name="T74" fmla="*/ 812 w 245"/>
                <a:gd name="T75" fmla="*/ 771 h 98"/>
                <a:gd name="T76" fmla="*/ 941 w 245"/>
                <a:gd name="T77" fmla="*/ 719 h 98"/>
                <a:gd name="T78" fmla="*/ 1068 w 245"/>
                <a:gd name="T79" fmla="*/ 719 h 98"/>
                <a:gd name="T80" fmla="*/ 1068 w 245"/>
                <a:gd name="T81" fmla="*/ 771 h 98"/>
                <a:gd name="T82" fmla="*/ 1150 w 245"/>
                <a:gd name="T83" fmla="*/ 771 h 98"/>
                <a:gd name="T84" fmla="*/ 1150 w 245"/>
                <a:gd name="T85" fmla="*/ 719 h 98"/>
                <a:gd name="T86" fmla="*/ 1359 w 245"/>
                <a:gd name="T87" fmla="*/ 641 h 98"/>
                <a:gd name="T88" fmla="*/ 1402 w 245"/>
                <a:gd name="T89" fmla="*/ 719 h 98"/>
                <a:gd name="T90" fmla="*/ 1611 w 245"/>
                <a:gd name="T91" fmla="*/ 641 h 98"/>
                <a:gd name="T92" fmla="*/ 1807 w 245"/>
                <a:gd name="T93" fmla="*/ 641 h 98"/>
                <a:gd name="T94" fmla="*/ 1807 w 245"/>
                <a:gd name="T95" fmla="*/ 581 h 98"/>
                <a:gd name="T96" fmla="*/ 2017 w 245"/>
                <a:gd name="T97" fmla="*/ 641 h 98"/>
                <a:gd name="T98" fmla="*/ 1949 w 245"/>
                <a:gd name="T99" fmla="*/ 324 h 98"/>
                <a:gd name="T100" fmla="*/ 2017 w 245"/>
                <a:gd name="T101" fmla="*/ 250 h 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45"/>
                <a:gd name="T154" fmla="*/ 0 h 98"/>
                <a:gd name="T155" fmla="*/ 245 w 245"/>
                <a:gd name="T156" fmla="*/ 98 h 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45" h="98">
                  <a:moveTo>
                    <a:pt x="244" y="32"/>
                  </a:moveTo>
                  <a:lnTo>
                    <a:pt x="236" y="32"/>
                  </a:lnTo>
                  <a:lnTo>
                    <a:pt x="227" y="8"/>
                  </a:lnTo>
                  <a:lnTo>
                    <a:pt x="204" y="8"/>
                  </a:lnTo>
                  <a:lnTo>
                    <a:pt x="179" y="16"/>
                  </a:lnTo>
                  <a:lnTo>
                    <a:pt x="145" y="16"/>
                  </a:lnTo>
                  <a:lnTo>
                    <a:pt x="122" y="0"/>
                  </a:lnTo>
                  <a:lnTo>
                    <a:pt x="98" y="0"/>
                  </a:lnTo>
                  <a:lnTo>
                    <a:pt x="74" y="16"/>
                  </a:lnTo>
                  <a:lnTo>
                    <a:pt x="58" y="16"/>
                  </a:lnTo>
                  <a:lnTo>
                    <a:pt x="40" y="16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8" y="8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8" y="32"/>
                  </a:lnTo>
                  <a:lnTo>
                    <a:pt x="25" y="16"/>
                  </a:lnTo>
                  <a:lnTo>
                    <a:pt x="40" y="16"/>
                  </a:lnTo>
                  <a:lnTo>
                    <a:pt x="49" y="25"/>
                  </a:lnTo>
                  <a:lnTo>
                    <a:pt x="40" y="25"/>
                  </a:lnTo>
                  <a:lnTo>
                    <a:pt x="40" y="32"/>
                  </a:lnTo>
                  <a:lnTo>
                    <a:pt x="17" y="32"/>
                  </a:lnTo>
                  <a:lnTo>
                    <a:pt x="8" y="41"/>
                  </a:lnTo>
                  <a:lnTo>
                    <a:pt x="8" y="48"/>
                  </a:lnTo>
                  <a:lnTo>
                    <a:pt x="17" y="41"/>
                  </a:lnTo>
                  <a:lnTo>
                    <a:pt x="17" y="48"/>
                  </a:lnTo>
                  <a:lnTo>
                    <a:pt x="8" y="57"/>
                  </a:lnTo>
                  <a:lnTo>
                    <a:pt x="8" y="65"/>
                  </a:lnTo>
                  <a:lnTo>
                    <a:pt x="17" y="73"/>
                  </a:lnTo>
                  <a:lnTo>
                    <a:pt x="25" y="81"/>
                  </a:lnTo>
                  <a:lnTo>
                    <a:pt x="33" y="81"/>
                  </a:lnTo>
                  <a:lnTo>
                    <a:pt x="33" y="90"/>
                  </a:lnTo>
                  <a:lnTo>
                    <a:pt x="49" y="97"/>
                  </a:lnTo>
                  <a:lnTo>
                    <a:pt x="65" y="90"/>
                  </a:lnTo>
                  <a:lnTo>
                    <a:pt x="74" y="90"/>
                  </a:lnTo>
                  <a:lnTo>
                    <a:pt x="90" y="97"/>
                  </a:lnTo>
                  <a:lnTo>
                    <a:pt x="98" y="97"/>
                  </a:lnTo>
                  <a:lnTo>
                    <a:pt x="114" y="90"/>
                  </a:lnTo>
                  <a:lnTo>
                    <a:pt x="130" y="90"/>
                  </a:lnTo>
                  <a:lnTo>
                    <a:pt x="130" y="97"/>
                  </a:lnTo>
                  <a:lnTo>
                    <a:pt x="139" y="97"/>
                  </a:lnTo>
                  <a:lnTo>
                    <a:pt x="139" y="90"/>
                  </a:lnTo>
                  <a:lnTo>
                    <a:pt x="164" y="81"/>
                  </a:lnTo>
                  <a:lnTo>
                    <a:pt x="170" y="90"/>
                  </a:lnTo>
                  <a:lnTo>
                    <a:pt x="195" y="81"/>
                  </a:lnTo>
                  <a:lnTo>
                    <a:pt x="219" y="81"/>
                  </a:lnTo>
                  <a:lnTo>
                    <a:pt x="219" y="73"/>
                  </a:lnTo>
                  <a:lnTo>
                    <a:pt x="244" y="81"/>
                  </a:lnTo>
                  <a:lnTo>
                    <a:pt x="236" y="41"/>
                  </a:lnTo>
                  <a:lnTo>
                    <a:pt x="244" y="3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60" name="Freeform 77"/>
            <p:cNvSpPr>
              <a:spLocks/>
            </p:cNvSpPr>
            <p:nvPr/>
          </p:nvSpPr>
          <p:spPr bwMode="auto">
            <a:xfrm>
              <a:off x="1763" y="3057"/>
              <a:ext cx="140" cy="762"/>
            </a:xfrm>
            <a:custGeom>
              <a:avLst/>
              <a:gdLst>
                <a:gd name="T0" fmla="*/ 701 w 107"/>
                <a:gd name="T1" fmla="*/ 0 h 583"/>
                <a:gd name="T2" fmla="*/ 761 w 107"/>
                <a:gd name="T3" fmla="*/ 274 h 583"/>
                <a:gd name="T4" fmla="*/ 912 w 107"/>
                <a:gd name="T5" fmla="*/ 612 h 583"/>
                <a:gd name="T6" fmla="*/ 761 w 107"/>
                <a:gd name="T7" fmla="*/ 829 h 583"/>
                <a:gd name="T8" fmla="*/ 701 w 107"/>
                <a:gd name="T9" fmla="*/ 1246 h 583"/>
                <a:gd name="T10" fmla="*/ 618 w 107"/>
                <a:gd name="T11" fmla="*/ 1936 h 583"/>
                <a:gd name="T12" fmla="*/ 568 w 107"/>
                <a:gd name="T13" fmla="*/ 2276 h 583"/>
                <a:gd name="T14" fmla="*/ 492 w 107"/>
                <a:gd name="T15" fmla="*/ 2631 h 583"/>
                <a:gd name="T16" fmla="*/ 410 w 107"/>
                <a:gd name="T17" fmla="*/ 3041 h 583"/>
                <a:gd name="T18" fmla="*/ 410 w 107"/>
                <a:gd name="T19" fmla="*/ 3443 h 583"/>
                <a:gd name="T20" fmla="*/ 492 w 107"/>
                <a:gd name="T21" fmla="*/ 3526 h 583"/>
                <a:gd name="T22" fmla="*/ 357 w 107"/>
                <a:gd name="T23" fmla="*/ 3917 h 583"/>
                <a:gd name="T24" fmla="*/ 276 w 107"/>
                <a:gd name="T25" fmla="*/ 4271 h 583"/>
                <a:gd name="T26" fmla="*/ 276 w 107"/>
                <a:gd name="T27" fmla="*/ 4478 h 583"/>
                <a:gd name="T28" fmla="*/ 357 w 107"/>
                <a:gd name="T29" fmla="*/ 4611 h 583"/>
                <a:gd name="T30" fmla="*/ 618 w 107"/>
                <a:gd name="T31" fmla="*/ 4692 h 583"/>
                <a:gd name="T32" fmla="*/ 761 w 107"/>
                <a:gd name="T33" fmla="*/ 4762 h 583"/>
                <a:gd name="T34" fmla="*/ 568 w 107"/>
                <a:gd name="T35" fmla="*/ 4820 h 583"/>
                <a:gd name="T36" fmla="*/ 492 w 107"/>
                <a:gd name="T37" fmla="*/ 4959 h 583"/>
                <a:gd name="T38" fmla="*/ 492 w 107"/>
                <a:gd name="T39" fmla="*/ 4903 h 583"/>
                <a:gd name="T40" fmla="*/ 357 w 107"/>
                <a:gd name="T41" fmla="*/ 4903 h 583"/>
                <a:gd name="T42" fmla="*/ 276 w 107"/>
                <a:gd name="T43" fmla="*/ 4762 h 583"/>
                <a:gd name="T44" fmla="*/ 145 w 107"/>
                <a:gd name="T45" fmla="*/ 4692 h 583"/>
                <a:gd name="T46" fmla="*/ 65 w 107"/>
                <a:gd name="T47" fmla="*/ 4692 h 583"/>
                <a:gd name="T48" fmla="*/ 145 w 107"/>
                <a:gd name="T49" fmla="*/ 4546 h 583"/>
                <a:gd name="T50" fmla="*/ 145 w 107"/>
                <a:gd name="T51" fmla="*/ 4546 h 583"/>
                <a:gd name="T52" fmla="*/ 145 w 107"/>
                <a:gd name="T53" fmla="*/ 4546 h 583"/>
                <a:gd name="T54" fmla="*/ 145 w 107"/>
                <a:gd name="T55" fmla="*/ 4347 h 583"/>
                <a:gd name="T56" fmla="*/ 0 w 107"/>
                <a:gd name="T57" fmla="*/ 4271 h 583"/>
                <a:gd name="T58" fmla="*/ 65 w 107"/>
                <a:gd name="T59" fmla="*/ 4005 h 583"/>
                <a:gd name="T60" fmla="*/ 145 w 107"/>
                <a:gd name="T61" fmla="*/ 4060 h 583"/>
                <a:gd name="T62" fmla="*/ 65 w 107"/>
                <a:gd name="T63" fmla="*/ 3794 h 583"/>
                <a:gd name="T64" fmla="*/ 65 w 107"/>
                <a:gd name="T65" fmla="*/ 3652 h 583"/>
                <a:gd name="T66" fmla="*/ 145 w 107"/>
                <a:gd name="T67" fmla="*/ 3443 h 583"/>
                <a:gd name="T68" fmla="*/ 196 w 107"/>
                <a:gd name="T69" fmla="*/ 3526 h 583"/>
                <a:gd name="T70" fmla="*/ 357 w 107"/>
                <a:gd name="T71" fmla="*/ 3041 h 583"/>
                <a:gd name="T72" fmla="*/ 196 w 107"/>
                <a:gd name="T73" fmla="*/ 2967 h 583"/>
                <a:gd name="T74" fmla="*/ 276 w 107"/>
                <a:gd name="T75" fmla="*/ 2682 h 583"/>
                <a:gd name="T76" fmla="*/ 276 w 107"/>
                <a:gd name="T77" fmla="*/ 2414 h 583"/>
                <a:gd name="T78" fmla="*/ 410 w 107"/>
                <a:gd name="T79" fmla="*/ 1587 h 583"/>
                <a:gd name="T80" fmla="*/ 492 w 107"/>
                <a:gd name="T81" fmla="*/ 1302 h 583"/>
                <a:gd name="T82" fmla="*/ 568 w 107"/>
                <a:gd name="T83" fmla="*/ 612 h 583"/>
                <a:gd name="T84" fmla="*/ 568 w 107"/>
                <a:gd name="T85" fmla="*/ 60 h 58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7"/>
                <a:gd name="T130" fmla="*/ 0 h 583"/>
                <a:gd name="T131" fmla="*/ 107 w 107"/>
                <a:gd name="T132" fmla="*/ 583 h 58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7" h="583">
                  <a:moveTo>
                    <a:pt x="66" y="7"/>
                  </a:moveTo>
                  <a:lnTo>
                    <a:pt x="82" y="0"/>
                  </a:lnTo>
                  <a:lnTo>
                    <a:pt x="89" y="24"/>
                  </a:lnTo>
                  <a:lnTo>
                    <a:pt x="89" y="32"/>
                  </a:lnTo>
                  <a:lnTo>
                    <a:pt x="97" y="72"/>
                  </a:lnTo>
                  <a:lnTo>
                    <a:pt x="106" y="72"/>
                  </a:lnTo>
                  <a:lnTo>
                    <a:pt x="106" y="90"/>
                  </a:lnTo>
                  <a:lnTo>
                    <a:pt x="89" y="97"/>
                  </a:lnTo>
                  <a:lnTo>
                    <a:pt x="97" y="121"/>
                  </a:lnTo>
                  <a:lnTo>
                    <a:pt x="82" y="146"/>
                  </a:lnTo>
                  <a:lnTo>
                    <a:pt x="66" y="193"/>
                  </a:lnTo>
                  <a:lnTo>
                    <a:pt x="72" y="227"/>
                  </a:lnTo>
                  <a:lnTo>
                    <a:pt x="66" y="252"/>
                  </a:lnTo>
                  <a:lnTo>
                    <a:pt x="66" y="268"/>
                  </a:lnTo>
                  <a:lnTo>
                    <a:pt x="57" y="275"/>
                  </a:lnTo>
                  <a:lnTo>
                    <a:pt x="57" y="308"/>
                  </a:lnTo>
                  <a:lnTo>
                    <a:pt x="48" y="323"/>
                  </a:lnTo>
                  <a:lnTo>
                    <a:pt x="48" y="357"/>
                  </a:lnTo>
                  <a:lnTo>
                    <a:pt x="48" y="373"/>
                  </a:lnTo>
                  <a:lnTo>
                    <a:pt x="48" y="405"/>
                  </a:lnTo>
                  <a:lnTo>
                    <a:pt x="57" y="405"/>
                  </a:lnTo>
                  <a:lnTo>
                    <a:pt x="57" y="414"/>
                  </a:lnTo>
                  <a:lnTo>
                    <a:pt x="48" y="445"/>
                  </a:lnTo>
                  <a:lnTo>
                    <a:pt x="41" y="460"/>
                  </a:lnTo>
                  <a:lnTo>
                    <a:pt x="41" y="477"/>
                  </a:lnTo>
                  <a:lnTo>
                    <a:pt x="32" y="502"/>
                  </a:lnTo>
                  <a:lnTo>
                    <a:pt x="32" y="519"/>
                  </a:lnTo>
                  <a:lnTo>
                    <a:pt x="32" y="526"/>
                  </a:lnTo>
                  <a:lnTo>
                    <a:pt x="41" y="519"/>
                  </a:lnTo>
                  <a:lnTo>
                    <a:pt x="41" y="542"/>
                  </a:lnTo>
                  <a:lnTo>
                    <a:pt x="48" y="551"/>
                  </a:lnTo>
                  <a:lnTo>
                    <a:pt x="72" y="551"/>
                  </a:lnTo>
                  <a:lnTo>
                    <a:pt x="89" y="551"/>
                  </a:lnTo>
                  <a:lnTo>
                    <a:pt x="89" y="559"/>
                  </a:lnTo>
                  <a:lnTo>
                    <a:pt x="82" y="559"/>
                  </a:lnTo>
                  <a:lnTo>
                    <a:pt x="66" y="566"/>
                  </a:lnTo>
                  <a:lnTo>
                    <a:pt x="66" y="582"/>
                  </a:lnTo>
                  <a:lnTo>
                    <a:pt x="57" y="582"/>
                  </a:lnTo>
                  <a:lnTo>
                    <a:pt x="48" y="575"/>
                  </a:lnTo>
                  <a:lnTo>
                    <a:pt x="57" y="575"/>
                  </a:lnTo>
                  <a:lnTo>
                    <a:pt x="57" y="566"/>
                  </a:lnTo>
                  <a:lnTo>
                    <a:pt x="41" y="575"/>
                  </a:lnTo>
                  <a:lnTo>
                    <a:pt x="32" y="566"/>
                  </a:lnTo>
                  <a:lnTo>
                    <a:pt x="32" y="559"/>
                  </a:lnTo>
                  <a:lnTo>
                    <a:pt x="23" y="559"/>
                  </a:lnTo>
                  <a:lnTo>
                    <a:pt x="17" y="551"/>
                  </a:lnTo>
                  <a:lnTo>
                    <a:pt x="17" y="559"/>
                  </a:lnTo>
                  <a:lnTo>
                    <a:pt x="8" y="551"/>
                  </a:lnTo>
                  <a:lnTo>
                    <a:pt x="8" y="542"/>
                  </a:lnTo>
                  <a:lnTo>
                    <a:pt x="17" y="534"/>
                  </a:lnTo>
                  <a:lnTo>
                    <a:pt x="17" y="526"/>
                  </a:lnTo>
                  <a:lnTo>
                    <a:pt x="17" y="534"/>
                  </a:lnTo>
                  <a:lnTo>
                    <a:pt x="8" y="542"/>
                  </a:lnTo>
                  <a:lnTo>
                    <a:pt x="17" y="534"/>
                  </a:lnTo>
                  <a:lnTo>
                    <a:pt x="17" y="526"/>
                  </a:lnTo>
                  <a:lnTo>
                    <a:pt x="17" y="510"/>
                  </a:lnTo>
                  <a:lnTo>
                    <a:pt x="8" y="510"/>
                  </a:lnTo>
                  <a:lnTo>
                    <a:pt x="0" y="502"/>
                  </a:lnTo>
                  <a:lnTo>
                    <a:pt x="0" y="494"/>
                  </a:lnTo>
                  <a:lnTo>
                    <a:pt x="8" y="470"/>
                  </a:lnTo>
                  <a:lnTo>
                    <a:pt x="8" y="460"/>
                  </a:lnTo>
                  <a:lnTo>
                    <a:pt x="17" y="477"/>
                  </a:lnTo>
                  <a:lnTo>
                    <a:pt x="23" y="454"/>
                  </a:lnTo>
                  <a:lnTo>
                    <a:pt x="8" y="445"/>
                  </a:lnTo>
                  <a:lnTo>
                    <a:pt x="0" y="445"/>
                  </a:lnTo>
                  <a:lnTo>
                    <a:pt x="8" y="429"/>
                  </a:lnTo>
                  <a:lnTo>
                    <a:pt x="17" y="429"/>
                  </a:lnTo>
                  <a:lnTo>
                    <a:pt x="17" y="405"/>
                  </a:lnTo>
                  <a:lnTo>
                    <a:pt x="23" y="395"/>
                  </a:lnTo>
                  <a:lnTo>
                    <a:pt x="23" y="414"/>
                  </a:lnTo>
                  <a:lnTo>
                    <a:pt x="41" y="364"/>
                  </a:lnTo>
                  <a:lnTo>
                    <a:pt x="41" y="357"/>
                  </a:lnTo>
                  <a:lnTo>
                    <a:pt x="32" y="357"/>
                  </a:lnTo>
                  <a:lnTo>
                    <a:pt x="23" y="348"/>
                  </a:lnTo>
                  <a:lnTo>
                    <a:pt x="23" y="323"/>
                  </a:lnTo>
                  <a:lnTo>
                    <a:pt x="32" y="315"/>
                  </a:lnTo>
                  <a:lnTo>
                    <a:pt x="23" y="292"/>
                  </a:lnTo>
                  <a:lnTo>
                    <a:pt x="32" y="283"/>
                  </a:lnTo>
                  <a:lnTo>
                    <a:pt x="57" y="209"/>
                  </a:lnTo>
                  <a:lnTo>
                    <a:pt x="48" y="186"/>
                  </a:lnTo>
                  <a:lnTo>
                    <a:pt x="57" y="171"/>
                  </a:lnTo>
                  <a:lnTo>
                    <a:pt x="57" y="153"/>
                  </a:lnTo>
                  <a:lnTo>
                    <a:pt x="66" y="121"/>
                  </a:lnTo>
                  <a:lnTo>
                    <a:pt x="66" y="72"/>
                  </a:lnTo>
                  <a:lnTo>
                    <a:pt x="72" y="49"/>
                  </a:lnTo>
                  <a:lnTo>
                    <a:pt x="66" y="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61" name="Freeform 78"/>
            <p:cNvSpPr>
              <a:spLocks/>
            </p:cNvSpPr>
            <p:nvPr/>
          </p:nvSpPr>
          <p:spPr bwMode="auto">
            <a:xfrm>
              <a:off x="1793" y="3788"/>
              <a:ext cx="88" cy="83"/>
            </a:xfrm>
            <a:custGeom>
              <a:avLst/>
              <a:gdLst>
                <a:gd name="T0" fmla="*/ 587 w 67"/>
                <a:gd name="T1" fmla="*/ 381 h 64"/>
                <a:gd name="T2" fmla="*/ 587 w 67"/>
                <a:gd name="T3" fmla="*/ 0 h 64"/>
                <a:gd name="T4" fmla="*/ 428 w 67"/>
                <a:gd name="T5" fmla="*/ 58 h 64"/>
                <a:gd name="T6" fmla="*/ 428 w 67"/>
                <a:gd name="T7" fmla="*/ 188 h 64"/>
                <a:gd name="T8" fmla="*/ 378 w 67"/>
                <a:gd name="T9" fmla="*/ 257 h 64"/>
                <a:gd name="T10" fmla="*/ 302 w 67"/>
                <a:gd name="T11" fmla="*/ 257 h 64"/>
                <a:gd name="T12" fmla="*/ 84 w 67"/>
                <a:gd name="T13" fmla="*/ 126 h 64"/>
                <a:gd name="T14" fmla="*/ 0 w 67"/>
                <a:gd name="T15" fmla="*/ 188 h 64"/>
                <a:gd name="T16" fmla="*/ 84 w 67"/>
                <a:gd name="T17" fmla="*/ 257 h 64"/>
                <a:gd name="T18" fmla="*/ 164 w 67"/>
                <a:gd name="T19" fmla="*/ 257 h 64"/>
                <a:gd name="T20" fmla="*/ 164 w 67"/>
                <a:gd name="T21" fmla="*/ 322 h 64"/>
                <a:gd name="T22" fmla="*/ 219 w 67"/>
                <a:gd name="T23" fmla="*/ 322 h 64"/>
                <a:gd name="T24" fmla="*/ 219 w 67"/>
                <a:gd name="T25" fmla="*/ 381 h 64"/>
                <a:gd name="T26" fmla="*/ 378 w 67"/>
                <a:gd name="T27" fmla="*/ 458 h 64"/>
                <a:gd name="T28" fmla="*/ 428 w 67"/>
                <a:gd name="T29" fmla="*/ 458 h 64"/>
                <a:gd name="T30" fmla="*/ 521 w 67"/>
                <a:gd name="T31" fmla="*/ 504 h 64"/>
                <a:gd name="T32" fmla="*/ 587 w 67"/>
                <a:gd name="T33" fmla="*/ 381 h 6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7"/>
                <a:gd name="T52" fmla="*/ 0 h 64"/>
                <a:gd name="T53" fmla="*/ 67 w 67"/>
                <a:gd name="T54" fmla="*/ 64 h 6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7" h="64">
                  <a:moveTo>
                    <a:pt x="66" y="48"/>
                  </a:moveTo>
                  <a:lnTo>
                    <a:pt x="66" y="0"/>
                  </a:lnTo>
                  <a:lnTo>
                    <a:pt x="49" y="7"/>
                  </a:lnTo>
                  <a:lnTo>
                    <a:pt x="49" y="23"/>
                  </a:lnTo>
                  <a:lnTo>
                    <a:pt x="43" y="32"/>
                  </a:lnTo>
                  <a:lnTo>
                    <a:pt x="34" y="32"/>
                  </a:lnTo>
                  <a:lnTo>
                    <a:pt x="9" y="16"/>
                  </a:lnTo>
                  <a:lnTo>
                    <a:pt x="0" y="23"/>
                  </a:lnTo>
                  <a:lnTo>
                    <a:pt x="9" y="32"/>
                  </a:lnTo>
                  <a:lnTo>
                    <a:pt x="18" y="32"/>
                  </a:lnTo>
                  <a:lnTo>
                    <a:pt x="18" y="40"/>
                  </a:lnTo>
                  <a:lnTo>
                    <a:pt x="25" y="40"/>
                  </a:lnTo>
                  <a:lnTo>
                    <a:pt x="25" y="48"/>
                  </a:lnTo>
                  <a:lnTo>
                    <a:pt x="43" y="57"/>
                  </a:lnTo>
                  <a:lnTo>
                    <a:pt x="49" y="57"/>
                  </a:lnTo>
                  <a:lnTo>
                    <a:pt x="59" y="63"/>
                  </a:lnTo>
                  <a:lnTo>
                    <a:pt x="66" y="4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62" name="Freeform 79"/>
            <p:cNvSpPr>
              <a:spLocks/>
            </p:cNvSpPr>
            <p:nvPr/>
          </p:nvSpPr>
          <p:spPr bwMode="auto">
            <a:xfrm>
              <a:off x="1879" y="3788"/>
              <a:ext cx="65" cy="95"/>
            </a:xfrm>
            <a:custGeom>
              <a:avLst/>
              <a:gdLst>
                <a:gd name="T0" fmla="*/ 0 w 50"/>
                <a:gd name="T1" fmla="*/ 393 h 73"/>
                <a:gd name="T2" fmla="*/ 0 w 50"/>
                <a:gd name="T3" fmla="*/ 0 h 73"/>
                <a:gd name="T4" fmla="*/ 64 w 50"/>
                <a:gd name="T5" fmla="*/ 190 h 73"/>
                <a:gd name="T6" fmla="*/ 272 w 50"/>
                <a:gd name="T7" fmla="*/ 331 h 73"/>
                <a:gd name="T8" fmla="*/ 400 w 50"/>
                <a:gd name="T9" fmla="*/ 393 h 73"/>
                <a:gd name="T10" fmla="*/ 350 w 50"/>
                <a:gd name="T11" fmla="*/ 467 h 73"/>
                <a:gd name="T12" fmla="*/ 140 w 50"/>
                <a:gd name="T13" fmla="*/ 521 h 73"/>
                <a:gd name="T14" fmla="*/ 64 w 50"/>
                <a:gd name="T15" fmla="*/ 592 h 73"/>
                <a:gd name="T16" fmla="*/ 0 w 50"/>
                <a:gd name="T17" fmla="*/ 393 h 7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0"/>
                <a:gd name="T28" fmla="*/ 0 h 73"/>
                <a:gd name="T29" fmla="*/ 50 w 50"/>
                <a:gd name="T30" fmla="*/ 73 h 7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0" h="73">
                  <a:moveTo>
                    <a:pt x="0" y="48"/>
                  </a:moveTo>
                  <a:lnTo>
                    <a:pt x="0" y="0"/>
                  </a:lnTo>
                  <a:lnTo>
                    <a:pt x="8" y="23"/>
                  </a:lnTo>
                  <a:lnTo>
                    <a:pt x="33" y="40"/>
                  </a:lnTo>
                  <a:lnTo>
                    <a:pt x="49" y="48"/>
                  </a:lnTo>
                  <a:lnTo>
                    <a:pt x="42" y="57"/>
                  </a:lnTo>
                  <a:lnTo>
                    <a:pt x="17" y="63"/>
                  </a:lnTo>
                  <a:lnTo>
                    <a:pt x="8" y="72"/>
                  </a:lnTo>
                  <a:lnTo>
                    <a:pt x="0" y="4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63" name="Freeform 80"/>
            <p:cNvSpPr>
              <a:spLocks/>
            </p:cNvSpPr>
            <p:nvPr/>
          </p:nvSpPr>
          <p:spPr bwMode="auto">
            <a:xfrm>
              <a:off x="1805" y="3130"/>
              <a:ext cx="331" cy="648"/>
            </a:xfrm>
            <a:custGeom>
              <a:avLst/>
              <a:gdLst>
                <a:gd name="T0" fmla="*/ 1728 w 253"/>
                <a:gd name="T1" fmla="*/ 1035 h 496"/>
                <a:gd name="T2" fmla="*/ 2165 w 253"/>
                <a:gd name="T3" fmla="*/ 634 h 496"/>
                <a:gd name="T4" fmla="*/ 2027 w 253"/>
                <a:gd name="T5" fmla="*/ 422 h 496"/>
                <a:gd name="T6" fmla="*/ 1898 w 253"/>
                <a:gd name="T7" fmla="*/ 634 h 496"/>
                <a:gd name="T8" fmla="*/ 1607 w 253"/>
                <a:gd name="T9" fmla="*/ 634 h 496"/>
                <a:gd name="T10" fmla="*/ 1679 w 253"/>
                <a:gd name="T11" fmla="*/ 422 h 496"/>
                <a:gd name="T12" fmla="*/ 1332 w 253"/>
                <a:gd name="T13" fmla="*/ 284 h 496"/>
                <a:gd name="T14" fmla="*/ 1045 w 253"/>
                <a:gd name="T15" fmla="*/ 0 h 496"/>
                <a:gd name="T16" fmla="*/ 771 w 253"/>
                <a:gd name="T17" fmla="*/ 0 h 496"/>
                <a:gd name="T18" fmla="*/ 637 w 253"/>
                <a:gd name="T19" fmla="*/ 284 h 496"/>
                <a:gd name="T20" fmla="*/ 559 w 253"/>
                <a:gd name="T21" fmla="*/ 551 h 496"/>
                <a:gd name="T22" fmla="*/ 290 w 253"/>
                <a:gd name="T23" fmla="*/ 1165 h 496"/>
                <a:gd name="T24" fmla="*/ 290 w 253"/>
                <a:gd name="T25" fmla="*/ 1661 h 496"/>
                <a:gd name="T26" fmla="*/ 216 w 253"/>
                <a:gd name="T27" fmla="*/ 1862 h 496"/>
                <a:gd name="T28" fmla="*/ 133 w 253"/>
                <a:gd name="T29" fmla="*/ 2271 h 496"/>
                <a:gd name="T30" fmla="*/ 133 w 253"/>
                <a:gd name="T31" fmla="*/ 2691 h 496"/>
                <a:gd name="T32" fmla="*/ 216 w 253"/>
                <a:gd name="T33" fmla="*/ 2967 h 496"/>
                <a:gd name="T34" fmla="*/ 133 w 253"/>
                <a:gd name="T35" fmla="*/ 3301 h 496"/>
                <a:gd name="T36" fmla="*/ 78 w 253"/>
                <a:gd name="T37" fmla="*/ 3574 h 496"/>
                <a:gd name="T38" fmla="*/ 0 w 253"/>
                <a:gd name="T39" fmla="*/ 3927 h 496"/>
                <a:gd name="T40" fmla="*/ 78 w 253"/>
                <a:gd name="T41" fmla="*/ 3927 h 496"/>
                <a:gd name="T42" fmla="*/ 133 w 253"/>
                <a:gd name="T43" fmla="*/ 4200 h 496"/>
                <a:gd name="T44" fmla="*/ 488 w 253"/>
                <a:gd name="T45" fmla="*/ 4200 h 496"/>
                <a:gd name="T46" fmla="*/ 488 w 253"/>
                <a:gd name="T47" fmla="*/ 3927 h 496"/>
                <a:gd name="T48" fmla="*/ 637 w 253"/>
                <a:gd name="T49" fmla="*/ 3638 h 496"/>
                <a:gd name="T50" fmla="*/ 849 w 253"/>
                <a:gd name="T51" fmla="*/ 3376 h 496"/>
                <a:gd name="T52" fmla="*/ 637 w 253"/>
                <a:gd name="T53" fmla="*/ 3240 h 496"/>
                <a:gd name="T54" fmla="*/ 700 w 253"/>
                <a:gd name="T55" fmla="*/ 3092 h 496"/>
                <a:gd name="T56" fmla="*/ 849 w 253"/>
                <a:gd name="T57" fmla="*/ 2967 h 496"/>
                <a:gd name="T58" fmla="*/ 911 w 253"/>
                <a:gd name="T59" fmla="*/ 2823 h 496"/>
                <a:gd name="T60" fmla="*/ 981 w 253"/>
                <a:gd name="T61" fmla="*/ 2691 h 496"/>
                <a:gd name="T62" fmla="*/ 1045 w 253"/>
                <a:gd name="T63" fmla="*/ 2612 h 496"/>
                <a:gd name="T64" fmla="*/ 911 w 253"/>
                <a:gd name="T65" fmla="*/ 2413 h 496"/>
                <a:gd name="T66" fmla="*/ 1192 w 253"/>
                <a:gd name="T67" fmla="*/ 2413 h 496"/>
                <a:gd name="T68" fmla="*/ 1192 w 253"/>
                <a:gd name="T69" fmla="*/ 2139 h 496"/>
                <a:gd name="T70" fmla="*/ 1388 w 253"/>
                <a:gd name="T71" fmla="*/ 2139 h 496"/>
                <a:gd name="T72" fmla="*/ 1811 w 253"/>
                <a:gd name="T73" fmla="*/ 1862 h 496"/>
                <a:gd name="T74" fmla="*/ 1728 w 253"/>
                <a:gd name="T75" fmla="*/ 1717 h 496"/>
                <a:gd name="T76" fmla="*/ 1607 w 253"/>
                <a:gd name="T77" fmla="*/ 1587 h 49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53"/>
                <a:gd name="T118" fmla="*/ 0 h 496"/>
                <a:gd name="T119" fmla="*/ 253 w 253"/>
                <a:gd name="T120" fmla="*/ 496 h 49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53" h="496">
                  <a:moveTo>
                    <a:pt x="187" y="178"/>
                  </a:moveTo>
                  <a:lnTo>
                    <a:pt x="202" y="122"/>
                  </a:lnTo>
                  <a:lnTo>
                    <a:pt x="236" y="81"/>
                  </a:lnTo>
                  <a:lnTo>
                    <a:pt x="252" y="74"/>
                  </a:lnTo>
                  <a:lnTo>
                    <a:pt x="244" y="50"/>
                  </a:lnTo>
                  <a:lnTo>
                    <a:pt x="236" y="50"/>
                  </a:lnTo>
                  <a:lnTo>
                    <a:pt x="236" y="65"/>
                  </a:lnTo>
                  <a:lnTo>
                    <a:pt x="221" y="74"/>
                  </a:lnTo>
                  <a:lnTo>
                    <a:pt x="211" y="81"/>
                  </a:lnTo>
                  <a:lnTo>
                    <a:pt x="187" y="74"/>
                  </a:lnTo>
                  <a:lnTo>
                    <a:pt x="196" y="57"/>
                  </a:lnTo>
                  <a:lnTo>
                    <a:pt x="196" y="50"/>
                  </a:lnTo>
                  <a:lnTo>
                    <a:pt x="179" y="34"/>
                  </a:lnTo>
                  <a:lnTo>
                    <a:pt x="155" y="34"/>
                  </a:lnTo>
                  <a:lnTo>
                    <a:pt x="139" y="10"/>
                  </a:lnTo>
                  <a:lnTo>
                    <a:pt x="122" y="0"/>
                  </a:lnTo>
                  <a:lnTo>
                    <a:pt x="115" y="10"/>
                  </a:lnTo>
                  <a:lnTo>
                    <a:pt x="90" y="0"/>
                  </a:lnTo>
                  <a:lnTo>
                    <a:pt x="74" y="16"/>
                  </a:lnTo>
                  <a:lnTo>
                    <a:pt x="74" y="34"/>
                  </a:lnTo>
                  <a:lnTo>
                    <a:pt x="57" y="41"/>
                  </a:lnTo>
                  <a:lnTo>
                    <a:pt x="65" y="65"/>
                  </a:lnTo>
                  <a:lnTo>
                    <a:pt x="50" y="90"/>
                  </a:lnTo>
                  <a:lnTo>
                    <a:pt x="34" y="137"/>
                  </a:lnTo>
                  <a:lnTo>
                    <a:pt x="40" y="171"/>
                  </a:lnTo>
                  <a:lnTo>
                    <a:pt x="34" y="196"/>
                  </a:lnTo>
                  <a:lnTo>
                    <a:pt x="34" y="212"/>
                  </a:lnTo>
                  <a:lnTo>
                    <a:pt x="25" y="219"/>
                  </a:lnTo>
                  <a:lnTo>
                    <a:pt x="25" y="252"/>
                  </a:lnTo>
                  <a:lnTo>
                    <a:pt x="16" y="267"/>
                  </a:lnTo>
                  <a:lnTo>
                    <a:pt x="16" y="301"/>
                  </a:lnTo>
                  <a:lnTo>
                    <a:pt x="16" y="317"/>
                  </a:lnTo>
                  <a:lnTo>
                    <a:pt x="16" y="349"/>
                  </a:lnTo>
                  <a:lnTo>
                    <a:pt x="25" y="349"/>
                  </a:lnTo>
                  <a:lnTo>
                    <a:pt x="25" y="358"/>
                  </a:lnTo>
                  <a:lnTo>
                    <a:pt x="16" y="389"/>
                  </a:lnTo>
                  <a:lnTo>
                    <a:pt x="9" y="404"/>
                  </a:lnTo>
                  <a:lnTo>
                    <a:pt x="9" y="421"/>
                  </a:lnTo>
                  <a:lnTo>
                    <a:pt x="0" y="446"/>
                  </a:lnTo>
                  <a:lnTo>
                    <a:pt x="0" y="463"/>
                  </a:lnTo>
                  <a:lnTo>
                    <a:pt x="0" y="470"/>
                  </a:lnTo>
                  <a:lnTo>
                    <a:pt x="9" y="463"/>
                  </a:lnTo>
                  <a:lnTo>
                    <a:pt x="9" y="486"/>
                  </a:lnTo>
                  <a:lnTo>
                    <a:pt x="16" y="495"/>
                  </a:lnTo>
                  <a:lnTo>
                    <a:pt x="40" y="495"/>
                  </a:lnTo>
                  <a:lnTo>
                    <a:pt x="57" y="495"/>
                  </a:lnTo>
                  <a:lnTo>
                    <a:pt x="50" y="470"/>
                  </a:lnTo>
                  <a:lnTo>
                    <a:pt x="57" y="463"/>
                  </a:lnTo>
                  <a:lnTo>
                    <a:pt x="65" y="454"/>
                  </a:lnTo>
                  <a:lnTo>
                    <a:pt x="74" y="429"/>
                  </a:lnTo>
                  <a:lnTo>
                    <a:pt x="99" y="414"/>
                  </a:lnTo>
                  <a:lnTo>
                    <a:pt x="99" y="398"/>
                  </a:lnTo>
                  <a:lnTo>
                    <a:pt x="90" y="398"/>
                  </a:lnTo>
                  <a:lnTo>
                    <a:pt x="74" y="381"/>
                  </a:lnTo>
                  <a:lnTo>
                    <a:pt x="74" y="373"/>
                  </a:lnTo>
                  <a:lnTo>
                    <a:pt x="82" y="364"/>
                  </a:lnTo>
                  <a:lnTo>
                    <a:pt x="99" y="358"/>
                  </a:lnTo>
                  <a:lnTo>
                    <a:pt x="99" y="349"/>
                  </a:lnTo>
                  <a:lnTo>
                    <a:pt x="106" y="349"/>
                  </a:lnTo>
                  <a:lnTo>
                    <a:pt x="106" y="333"/>
                  </a:lnTo>
                  <a:lnTo>
                    <a:pt x="115" y="324"/>
                  </a:lnTo>
                  <a:lnTo>
                    <a:pt x="115" y="317"/>
                  </a:lnTo>
                  <a:lnTo>
                    <a:pt x="122" y="317"/>
                  </a:lnTo>
                  <a:lnTo>
                    <a:pt x="122" y="308"/>
                  </a:lnTo>
                  <a:lnTo>
                    <a:pt x="106" y="308"/>
                  </a:lnTo>
                  <a:lnTo>
                    <a:pt x="106" y="284"/>
                  </a:lnTo>
                  <a:lnTo>
                    <a:pt x="122" y="292"/>
                  </a:lnTo>
                  <a:lnTo>
                    <a:pt x="139" y="284"/>
                  </a:lnTo>
                  <a:lnTo>
                    <a:pt x="147" y="259"/>
                  </a:lnTo>
                  <a:lnTo>
                    <a:pt x="139" y="252"/>
                  </a:lnTo>
                  <a:lnTo>
                    <a:pt x="147" y="252"/>
                  </a:lnTo>
                  <a:lnTo>
                    <a:pt x="162" y="252"/>
                  </a:lnTo>
                  <a:lnTo>
                    <a:pt x="202" y="243"/>
                  </a:lnTo>
                  <a:lnTo>
                    <a:pt x="211" y="219"/>
                  </a:lnTo>
                  <a:lnTo>
                    <a:pt x="211" y="212"/>
                  </a:lnTo>
                  <a:lnTo>
                    <a:pt x="202" y="202"/>
                  </a:lnTo>
                  <a:lnTo>
                    <a:pt x="202" y="196"/>
                  </a:lnTo>
                  <a:lnTo>
                    <a:pt x="187" y="187"/>
                  </a:lnTo>
                  <a:lnTo>
                    <a:pt x="187" y="17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64" name="Freeform 81"/>
            <p:cNvSpPr>
              <a:spLocks/>
            </p:cNvSpPr>
            <p:nvPr/>
          </p:nvSpPr>
          <p:spPr bwMode="auto">
            <a:xfrm>
              <a:off x="2007" y="3755"/>
              <a:ext cx="55" cy="34"/>
            </a:xfrm>
            <a:custGeom>
              <a:avLst/>
              <a:gdLst>
                <a:gd name="T0" fmla="*/ 0 w 42"/>
                <a:gd name="T1" fmla="*/ 65 h 26"/>
                <a:gd name="T2" fmla="*/ 143 w 42"/>
                <a:gd name="T3" fmla="*/ 145 h 26"/>
                <a:gd name="T4" fmla="*/ 210 w 42"/>
                <a:gd name="T5" fmla="*/ 212 h 26"/>
                <a:gd name="T6" fmla="*/ 360 w 42"/>
                <a:gd name="T7" fmla="*/ 65 h 26"/>
                <a:gd name="T8" fmla="*/ 360 w 42"/>
                <a:gd name="T9" fmla="*/ 0 h 26"/>
                <a:gd name="T10" fmla="*/ 143 w 42"/>
                <a:gd name="T11" fmla="*/ 0 h 26"/>
                <a:gd name="T12" fmla="*/ 63 w 42"/>
                <a:gd name="T13" fmla="*/ 0 h 26"/>
                <a:gd name="T14" fmla="*/ 0 w 42"/>
                <a:gd name="T15" fmla="*/ 65 h 2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26"/>
                <a:gd name="T26" fmla="*/ 42 w 42"/>
                <a:gd name="T27" fmla="*/ 26 h 2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26">
                  <a:moveTo>
                    <a:pt x="0" y="8"/>
                  </a:moveTo>
                  <a:lnTo>
                    <a:pt x="16" y="17"/>
                  </a:lnTo>
                  <a:lnTo>
                    <a:pt x="24" y="25"/>
                  </a:lnTo>
                  <a:lnTo>
                    <a:pt x="41" y="8"/>
                  </a:lnTo>
                  <a:lnTo>
                    <a:pt x="41" y="0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65" name="Freeform 82"/>
            <p:cNvSpPr>
              <a:spLocks/>
            </p:cNvSpPr>
            <p:nvPr/>
          </p:nvSpPr>
          <p:spPr bwMode="auto">
            <a:xfrm>
              <a:off x="1805" y="2010"/>
              <a:ext cx="34" cy="22"/>
            </a:xfrm>
            <a:custGeom>
              <a:avLst/>
              <a:gdLst>
                <a:gd name="T0" fmla="*/ 0 w 26"/>
                <a:gd name="T1" fmla="*/ 126 h 17"/>
                <a:gd name="T2" fmla="*/ 78 w 26"/>
                <a:gd name="T3" fmla="*/ 126 h 17"/>
                <a:gd name="T4" fmla="*/ 212 w 26"/>
                <a:gd name="T5" fmla="*/ 0 h 17"/>
                <a:gd name="T6" fmla="*/ 133 w 26"/>
                <a:gd name="T7" fmla="*/ 0 h 17"/>
                <a:gd name="T8" fmla="*/ 0 w 26"/>
                <a:gd name="T9" fmla="*/ 126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7"/>
                <a:gd name="T17" fmla="*/ 26 w 26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7">
                  <a:moveTo>
                    <a:pt x="0" y="16"/>
                  </a:moveTo>
                  <a:lnTo>
                    <a:pt x="9" y="16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66" name="Freeform 83"/>
            <p:cNvSpPr>
              <a:spLocks/>
            </p:cNvSpPr>
            <p:nvPr/>
          </p:nvSpPr>
          <p:spPr bwMode="auto">
            <a:xfrm>
              <a:off x="1805" y="2010"/>
              <a:ext cx="34" cy="22"/>
            </a:xfrm>
            <a:custGeom>
              <a:avLst/>
              <a:gdLst>
                <a:gd name="T0" fmla="*/ 0 w 26"/>
                <a:gd name="T1" fmla="*/ 126 h 17"/>
                <a:gd name="T2" fmla="*/ 78 w 26"/>
                <a:gd name="T3" fmla="*/ 126 h 17"/>
                <a:gd name="T4" fmla="*/ 212 w 26"/>
                <a:gd name="T5" fmla="*/ 0 h 17"/>
                <a:gd name="T6" fmla="*/ 133 w 26"/>
                <a:gd name="T7" fmla="*/ 0 h 17"/>
                <a:gd name="T8" fmla="*/ 0 w 26"/>
                <a:gd name="T9" fmla="*/ 126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7"/>
                <a:gd name="T17" fmla="*/ 26 w 26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7">
                  <a:moveTo>
                    <a:pt x="0" y="16"/>
                  </a:moveTo>
                  <a:lnTo>
                    <a:pt x="9" y="16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67" name="Freeform 84"/>
            <p:cNvSpPr>
              <a:spLocks/>
            </p:cNvSpPr>
            <p:nvPr/>
          </p:nvSpPr>
          <p:spPr bwMode="auto">
            <a:xfrm>
              <a:off x="1955" y="1798"/>
              <a:ext cx="43" cy="24"/>
            </a:xfrm>
            <a:custGeom>
              <a:avLst/>
              <a:gdLst>
                <a:gd name="T0" fmla="*/ 0 w 33"/>
                <a:gd name="T1" fmla="*/ 0 h 18"/>
                <a:gd name="T2" fmla="*/ 133 w 33"/>
                <a:gd name="T3" fmla="*/ 172 h 18"/>
                <a:gd name="T4" fmla="*/ 270 w 33"/>
                <a:gd name="T5" fmla="*/ 172 h 18"/>
                <a:gd name="T6" fmla="*/ 133 w 33"/>
                <a:gd name="T7" fmla="*/ 87 h 18"/>
                <a:gd name="T8" fmla="*/ 0 w 3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18"/>
                <a:gd name="T17" fmla="*/ 33 w 33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18">
                  <a:moveTo>
                    <a:pt x="0" y="0"/>
                  </a:moveTo>
                  <a:lnTo>
                    <a:pt x="16" y="17"/>
                  </a:lnTo>
                  <a:lnTo>
                    <a:pt x="32" y="17"/>
                  </a:lnTo>
                  <a:lnTo>
                    <a:pt x="16" y="9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68" name="Freeform 85"/>
            <p:cNvSpPr>
              <a:spLocks/>
            </p:cNvSpPr>
            <p:nvPr/>
          </p:nvSpPr>
          <p:spPr bwMode="auto">
            <a:xfrm>
              <a:off x="1955" y="1798"/>
              <a:ext cx="43" cy="24"/>
            </a:xfrm>
            <a:custGeom>
              <a:avLst/>
              <a:gdLst>
                <a:gd name="T0" fmla="*/ 0 w 33"/>
                <a:gd name="T1" fmla="*/ 0 h 18"/>
                <a:gd name="T2" fmla="*/ 133 w 33"/>
                <a:gd name="T3" fmla="*/ 172 h 18"/>
                <a:gd name="T4" fmla="*/ 270 w 33"/>
                <a:gd name="T5" fmla="*/ 172 h 18"/>
                <a:gd name="T6" fmla="*/ 133 w 33"/>
                <a:gd name="T7" fmla="*/ 87 h 18"/>
                <a:gd name="T8" fmla="*/ 0 w 3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18"/>
                <a:gd name="T17" fmla="*/ 33 w 33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18">
                  <a:moveTo>
                    <a:pt x="0" y="0"/>
                  </a:moveTo>
                  <a:lnTo>
                    <a:pt x="16" y="17"/>
                  </a:lnTo>
                  <a:lnTo>
                    <a:pt x="32" y="17"/>
                  </a:lnTo>
                  <a:lnTo>
                    <a:pt x="16" y="9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69" name="Freeform 86"/>
            <p:cNvSpPr>
              <a:spLocks/>
            </p:cNvSpPr>
            <p:nvPr/>
          </p:nvSpPr>
          <p:spPr bwMode="auto">
            <a:xfrm>
              <a:off x="1955" y="1873"/>
              <a:ext cx="43" cy="32"/>
            </a:xfrm>
            <a:custGeom>
              <a:avLst/>
              <a:gdLst>
                <a:gd name="T0" fmla="*/ 0 w 33"/>
                <a:gd name="T1" fmla="*/ 59 h 25"/>
                <a:gd name="T2" fmla="*/ 197 w 33"/>
                <a:gd name="T3" fmla="*/ 174 h 25"/>
                <a:gd name="T4" fmla="*/ 197 w 33"/>
                <a:gd name="T5" fmla="*/ 106 h 25"/>
                <a:gd name="T6" fmla="*/ 270 w 33"/>
                <a:gd name="T7" fmla="*/ 59 h 25"/>
                <a:gd name="T8" fmla="*/ 133 w 33"/>
                <a:gd name="T9" fmla="*/ 59 h 25"/>
                <a:gd name="T10" fmla="*/ 60 w 33"/>
                <a:gd name="T11" fmla="*/ 0 h 25"/>
                <a:gd name="T12" fmla="*/ 0 w 33"/>
                <a:gd name="T13" fmla="*/ 59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3"/>
                <a:gd name="T22" fmla="*/ 0 h 25"/>
                <a:gd name="T23" fmla="*/ 33 w 33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3" h="25">
                  <a:moveTo>
                    <a:pt x="0" y="8"/>
                  </a:moveTo>
                  <a:lnTo>
                    <a:pt x="24" y="24"/>
                  </a:lnTo>
                  <a:lnTo>
                    <a:pt x="24" y="15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70" name="Freeform 87"/>
            <p:cNvSpPr>
              <a:spLocks/>
            </p:cNvSpPr>
            <p:nvPr/>
          </p:nvSpPr>
          <p:spPr bwMode="auto">
            <a:xfrm>
              <a:off x="1955" y="1873"/>
              <a:ext cx="43" cy="32"/>
            </a:xfrm>
            <a:custGeom>
              <a:avLst/>
              <a:gdLst>
                <a:gd name="T0" fmla="*/ 0 w 33"/>
                <a:gd name="T1" fmla="*/ 59 h 25"/>
                <a:gd name="T2" fmla="*/ 197 w 33"/>
                <a:gd name="T3" fmla="*/ 174 h 25"/>
                <a:gd name="T4" fmla="*/ 197 w 33"/>
                <a:gd name="T5" fmla="*/ 106 h 25"/>
                <a:gd name="T6" fmla="*/ 270 w 33"/>
                <a:gd name="T7" fmla="*/ 59 h 25"/>
                <a:gd name="T8" fmla="*/ 133 w 33"/>
                <a:gd name="T9" fmla="*/ 59 h 25"/>
                <a:gd name="T10" fmla="*/ 60 w 33"/>
                <a:gd name="T11" fmla="*/ 0 h 25"/>
                <a:gd name="T12" fmla="*/ 0 w 33"/>
                <a:gd name="T13" fmla="*/ 59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3"/>
                <a:gd name="T22" fmla="*/ 0 h 25"/>
                <a:gd name="T23" fmla="*/ 33 w 33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3" h="25">
                  <a:moveTo>
                    <a:pt x="0" y="8"/>
                  </a:moveTo>
                  <a:lnTo>
                    <a:pt x="24" y="24"/>
                  </a:lnTo>
                  <a:lnTo>
                    <a:pt x="24" y="15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71" name="Freeform 88"/>
            <p:cNvSpPr>
              <a:spLocks/>
            </p:cNvSpPr>
            <p:nvPr/>
          </p:nvSpPr>
          <p:spPr bwMode="auto">
            <a:xfrm>
              <a:off x="2038" y="1758"/>
              <a:ext cx="109" cy="127"/>
            </a:xfrm>
            <a:custGeom>
              <a:avLst/>
              <a:gdLst>
                <a:gd name="T0" fmla="*/ 0 w 83"/>
                <a:gd name="T1" fmla="*/ 619 h 97"/>
                <a:gd name="T2" fmla="*/ 0 w 83"/>
                <a:gd name="T3" fmla="*/ 687 h 97"/>
                <a:gd name="T4" fmla="*/ 425 w 83"/>
                <a:gd name="T5" fmla="*/ 687 h 97"/>
                <a:gd name="T6" fmla="*/ 425 w 83"/>
                <a:gd name="T7" fmla="*/ 761 h 97"/>
                <a:gd name="T8" fmla="*/ 503 w 83"/>
                <a:gd name="T9" fmla="*/ 687 h 97"/>
                <a:gd name="T10" fmla="*/ 645 w 83"/>
                <a:gd name="T11" fmla="*/ 761 h 97"/>
                <a:gd name="T12" fmla="*/ 645 w 83"/>
                <a:gd name="T13" fmla="*/ 833 h 97"/>
                <a:gd name="T14" fmla="*/ 725 w 83"/>
                <a:gd name="T15" fmla="*/ 833 h 97"/>
                <a:gd name="T16" fmla="*/ 725 w 83"/>
                <a:gd name="T17" fmla="*/ 687 h 97"/>
                <a:gd name="T18" fmla="*/ 573 w 83"/>
                <a:gd name="T19" fmla="*/ 619 h 97"/>
                <a:gd name="T20" fmla="*/ 645 w 83"/>
                <a:gd name="T21" fmla="*/ 538 h 97"/>
                <a:gd name="T22" fmla="*/ 573 w 83"/>
                <a:gd name="T23" fmla="*/ 486 h 97"/>
                <a:gd name="T24" fmla="*/ 645 w 83"/>
                <a:gd name="T25" fmla="*/ 411 h 97"/>
                <a:gd name="T26" fmla="*/ 425 w 83"/>
                <a:gd name="T27" fmla="*/ 411 h 97"/>
                <a:gd name="T28" fmla="*/ 370 w 83"/>
                <a:gd name="T29" fmla="*/ 343 h 97"/>
                <a:gd name="T30" fmla="*/ 425 w 83"/>
                <a:gd name="T31" fmla="*/ 274 h 97"/>
                <a:gd name="T32" fmla="*/ 370 w 83"/>
                <a:gd name="T33" fmla="*/ 274 h 97"/>
                <a:gd name="T34" fmla="*/ 425 w 83"/>
                <a:gd name="T35" fmla="*/ 0 h 97"/>
                <a:gd name="T36" fmla="*/ 282 w 83"/>
                <a:gd name="T37" fmla="*/ 50 h 97"/>
                <a:gd name="T38" fmla="*/ 72 w 83"/>
                <a:gd name="T39" fmla="*/ 486 h 97"/>
                <a:gd name="T40" fmla="*/ 72 w 83"/>
                <a:gd name="T41" fmla="*/ 538 h 97"/>
                <a:gd name="T42" fmla="*/ 0 w 83"/>
                <a:gd name="T43" fmla="*/ 619 h 9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3"/>
                <a:gd name="T67" fmla="*/ 0 h 97"/>
                <a:gd name="T68" fmla="*/ 83 w 83"/>
                <a:gd name="T69" fmla="*/ 97 h 9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3" h="97">
                  <a:moveTo>
                    <a:pt x="0" y="72"/>
                  </a:moveTo>
                  <a:lnTo>
                    <a:pt x="0" y="80"/>
                  </a:lnTo>
                  <a:lnTo>
                    <a:pt x="48" y="80"/>
                  </a:lnTo>
                  <a:lnTo>
                    <a:pt x="48" y="88"/>
                  </a:lnTo>
                  <a:lnTo>
                    <a:pt x="57" y="80"/>
                  </a:lnTo>
                  <a:lnTo>
                    <a:pt x="73" y="88"/>
                  </a:lnTo>
                  <a:lnTo>
                    <a:pt x="73" y="96"/>
                  </a:lnTo>
                  <a:lnTo>
                    <a:pt x="82" y="96"/>
                  </a:lnTo>
                  <a:lnTo>
                    <a:pt x="82" y="80"/>
                  </a:lnTo>
                  <a:lnTo>
                    <a:pt x="65" y="72"/>
                  </a:lnTo>
                  <a:lnTo>
                    <a:pt x="73" y="63"/>
                  </a:lnTo>
                  <a:lnTo>
                    <a:pt x="65" y="56"/>
                  </a:lnTo>
                  <a:lnTo>
                    <a:pt x="73" y="48"/>
                  </a:lnTo>
                  <a:lnTo>
                    <a:pt x="48" y="48"/>
                  </a:lnTo>
                  <a:lnTo>
                    <a:pt x="42" y="40"/>
                  </a:lnTo>
                  <a:lnTo>
                    <a:pt x="48" y="31"/>
                  </a:lnTo>
                  <a:lnTo>
                    <a:pt x="42" y="31"/>
                  </a:lnTo>
                  <a:lnTo>
                    <a:pt x="48" y="0"/>
                  </a:lnTo>
                  <a:lnTo>
                    <a:pt x="32" y="6"/>
                  </a:lnTo>
                  <a:lnTo>
                    <a:pt x="8" y="56"/>
                  </a:lnTo>
                  <a:lnTo>
                    <a:pt x="8" y="63"/>
                  </a:lnTo>
                  <a:lnTo>
                    <a:pt x="0" y="7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72" name="Freeform 89"/>
            <p:cNvSpPr>
              <a:spLocks/>
            </p:cNvSpPr>
            <p:nvPr/>
          </p:nvSpPr>
          <p:spPr bwMode="auto">
            <a:xfrm>
              <a:off x="4517" y="2274"/>
              <a:ext cx="54" cy="23"/>
            </a:xfrm>
            <a:custGeom>
              <a:avLst/>
              <a:gdLst>
                <a:gd name="T0" fmla="*/ 296 w 41"/>
                <a:gd name="T1" fmla="*/ 0 h 17"/>
                <a:gd name="T2" fmla="*/ 72 w 41"/>
                <a:gd name="T3" fmla="*/ 0 h 17"/>
                <a:gd name="T4" fmla="*/ 0 w 41"/>
                <a:gd name="T5" fmla="*/ 100 h 17"/>
                <a:gd name="T6" fmla="*/ 0 w 41"/>
                <a:gd name="T7" fmla="*/ 183 h 17"/>
                <a:gd name="T8" fmla="*/ 296 w 41"/>
                <a:gd name="T9" fmla="*/ 183 h 17"/>
                <a:gd name="T10" fmla="*/ 362 w 41"/>
                <a:gd name="T11" fmla="*/ 183 h 17"/>
                <a:gd name="T12" fmla="*/ 296 w 41"/>
                <a:gd name="T13" fmla="*/ 0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17"/>
                <a:gd name="T23" fmla="*/ 41 w 41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17">
                  <a:moveTo>
                    <a:pt x="33" y="0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33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73" name="Freeform 90"/>
            <p:cNvSpPr>
              <a:spLocks/>
            </p:cNvSpPr>
            <p:nvPr/>
          </p:nvSpPr>
          <p:spPr bwMode="auto">
            <a:xfrm>
              <a:off x="4517" y="2274"/>
              <a:ext cx="54" cy="23"/>
            </a:xfrm>
            <a:custGeom>
              <a:avLst/>
              <a:gdLst>
                <a:gd name="T0" fmla="*/ 296 w 41"/>
                <a:gd name="T1" fmla="*/ 0 h 17"/>
                <a:gd name="T2" fmla="*/ 72 w 41"/>
                <a:gd name="T3" fmla="*/ 0 h 17"/>
                <a:gd name="T4" fmla="*/ 0 w 41"/>
                <a:gd name="T5" fmla="*/ 100 h 17"/>
                <a:gd name="T6" fmla="*/ 0 w 41"/>
                <a:gd name="T7" fmla="*/ 183 h 17"/>
                <a:gd name="T8" fmla="*/ 296 w 41"/>
                <a:gd name="T9" fmla="*/ 183 h 17"/>
                <a:gd name="T10" fmla="*/ 362 w 41"/>
                <a:gd name="T11" fmla="*/ 183 h 17"/>
                <a:gd name="T12" fmla="*/ 296 w 41"/>
                <a:gd name="T13" fmla="*/ 0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17"/>
                <a:gd name="T23" fmla="*/ 41 w 41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17">
                  <a:moveTo>
                    <a:pt x="33" y="0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33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74" name="Freeform 91"/>
            <p:cNvSpPr>
              <a:spLocks/>
            </p:cNvSpPr>
            <p:nvPr/>
          </p:nvSpPr>
          <p:spPr bwMode="auto">
            <a:xfrm>
              <a:off x="4168" y="2116"/>
              <a:ext cx="488" cy="509"/>
            </a:xfrm>
            <a:custGeom>
              <a:avLst/>
              <a:gdLst>
                <a:gd name="T0" fmla="*/ 3005 w 374"/>
                <a:gd name="T1" fmla="*/ 884 h 390"/>
                <a:gd name="T2" fmla="*/ 3135 w 374"/>
                <a:gd name="T3" fmla="*/ 1154 h 390"/>
                <a:gd name="T4" fmla="*/ 2931 w 374"/>
                <a:gd name="T5" fmla="*/ 1229 h 390"/>
                <a:gd name="T6" fmla="*/ 2739 w 374"/>
                <a:gd name="T7" fmla="*/ 1573 h 390"/>
                <a:gd name="T8" fmla="*/ 2670 w 374"/>
                <a:gd name="T9" fmla="*/ 1776 h 390"/>
                <a:gd name="T10" fmla="*/ 2593 w 374"/>
                <a:gd name="T11" fmla="*/ 1496 h 390"/>
                <a:gd name="T12" fmla="*/ 2457 w 374"/>
                <a:gd name="T13" fmla="*/ 1573 h 390"/>
                <a:gd name="T14" fmla="*/ 2593 w 374"/>
                <a:gd name="T15" fmla="*/ 1361 h 390"/>
                <a:gd name="T16" fmla="*/ 2319 w 374"/>
                <a:gd name="T17" fmla="*/ 1229 h 390"/>
                <a:gd name="T18" fmla="*/ 2196 w 374"/>
                <a:gd name="T19" fmla="*/ 1229 h 390"/>
                <a:gd name="T20" fmla="*/ 2119 w 374"/>
                <a:gd name="T21" fmla="*/ 1429 h 390"/>
                <a:gd name="T22" fmla="*/ 2255 w 374"/>
                <a:gd name="T23" fmla="*/ 1776 h 390"/>
                <a:gd name="T24" fmla="*/ 2196 w 374"/>
                <a:gd name="T25" fmla="*/ 1703 h 390"/>
                <a:gd name="T26" fmla="*/ 1987 w 374"/>
                <a:gd name="T27" fmla="*/ 1988 h 390"/>
                <a:gd name="T28" fmla="*/ 1515 w 374"/>
                <a:gd name="T29" fmla="*/ 2322 h 390"/>
                <a:gd name="T30" fmla="*/ 1437 w 374"/>
                <a:gd name="T31" fmla="*/ 2383 h 390"/>
                <a:gd name="T32" fmla="*/ 1313 w 374"/>
                <a:gd name="T33" fmla="*/ 2456 h 390"/>
                <a:gd name="T34" fmla="*/ 1313 w 374"/>
                <a:gd name="T35" fmla="*/ 2728 h 390"/>
                <a:gd name="T36" fmla="*/ 1240 w 374"/>
                <a:gd name="T37" fmla="*/ 3063 h 390"/>
                <a:gd name="T38" fmla="*/ 1101 w 374"/>
                <a:gd name="T39" fmla="*/ 3198 h 390"/>
                <a:gd name="T40" fmla="*/ 890 w 374"/>
                <a:gd name="T41" fmla="*/ 3198 h 390"/>
                <a:gd name="T42" fmla="*/ 548 w 374"/>
                <a:gd name="T43" fmla="*/ 2383 h 390"/>
                <a:gd name="T44" fmla="*/ 493 w 374"/>
                <a:gd name="T45" fmla="*/ 1703 h 390"/>
                <a:gd name="T46" fmla="*/ 283 w 374"/>
                <a:gd name="T47" fmla="*/ 1909 h 390"/>
                <a:gd name="T48" fmla="*/ 211 w 374"/>
                <a:gd name="T49" fmla="*/ 1703 h 390"/>
                <a:gd name="T50" fmla="*/ 162 w 374"/>
                <a:gd name="T51" fmla="*/ 1647 h 390"/>
                <a:gd name="T52" fmla="*/ 78 w 374"/>
                <a:gd name="T53" fmla="*/ 1496 h 390"/>
                <a:gd name="T54" fmla="*/ 283 w 374"/>
                <a:gd name="T55" fmla="*/ 1429 h 390"/>
                <a:gd name="T56" fmla="*/ 211 w 374"/>
                <a:gd name="T57" fmla="*/ 1291 h 390"/>
                <a:gd name="T58" fmla="*/ 162 w 374"/>
                <a:gd name="T59" fmla="*/ 1229 h 390"/>
                <a:gd name="T60" fmla="*/ 211 w 374"/>
                <a:gd name="T61" fmla="*/ 1018 h 390"/>
                <a:gd name="T62" fmla="*/ 420 w 374"/>
                <a:gd name="T63" fmla="*/ 1018 h 390"/>
                <a:gd name="T64" fmla="*/ 693 w 374"/>
                <a:gd name="T65" fmla="*/ 548 h 390"/>
                <a:gd name="T66" fmla="*/ 758 w 374"/>
                <a:gd name="T67" fmla="*/ 469 h 390"/>
                <a:gd name="T68" fmla="*/ 693 w 374"/>
                <a:gd name="T69" fmla="*/ 275 h 390"/>
                <a:gd name="T70" fmla="*/ 693 w 374"/>
                <a:gd name="T71" fmla="*/ 133 h 390"/>
                <a:gd name="T72" fmla="*/ 956 w 374"/>
                <a:gd name="T73" fmla="*/ 133 h 390"/>
                <a:gd name="T74" fmla="*/ 1240 w 374"/>
                <a:gd name="T75" fmla="*/ 0 h 390"/>
                <a:gd name="T76" fmla="*/ 1313 w 374"/>
                <a:gd name="T77" fmla="*/ 211 h 390"/>
                <a:gd name="T78" fmla="*/ 1240 w 374"/>
                <a:gd name="T79" fmla="*/ 469 h 390"/>
                <a:gd name="T80" fmla="*/ 1167 w 374"/>
                <a:gd name="T81" fmla="*/ 683 h 390"/>
                <a:gd name="T82" fmla="*/ 1313 w 374"/>
                <a:gd name="T83" fmla="*/ 953 h 390"/>
                <a:gd name="T84" fmla="*/ 2043 w 374"/>
                <a:gd name="T85" fmla="*/ 1229 h 390"/>
                <a:gd name="T86" fmla="*/ 2119 w 374"/>
                <a:gd name="T87" fmla="*/ 1154 h 390"/>
                <a:gd name="T88" fmla="*/ 2196 w 374"/>
                <a:gd name="T89" fmla="*/ 1018 h 390"/>
                <a:gd name="T90" fmla="*/ 2255 w 374"/>
                <a:gd name="T91" fmla="*/ 1154 h 390"/>
                <a:gd name="T92" fmla="*/ 2593 w 374"/>
                <a:gd name="T93" fmla="*/ 1154 h 390"/>
                <a:gd name="T94" fmla="*/ 2871 w 374"/>
                <a:gd name="T95" fmla="*/ 884 h 39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4"/>
                <a:gd name="T145" fmla="*/ 0 h 390"/>
                <a:gd name="T146" fmla="*/ 374 w 374"/>
                <a:gd name="T147" fmla="*/ 390 h 39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4" h="390">
                  <a:moveTo>
                    <a:pt x="342" y="105"/>
                  </a:moveTo>
                  <a:lnTo>
                    <a:pt x="358" y="105"/>
                  </a:lnTo>
                  <a:lnTo>
                    <a:pt x="373" y="121"/>
                  </a:lnTo>
                  <a:lnTo>
                    <a:pt x="373" y="137"/>
                  </a:lnTo>
                  <a:lnTo>
                    <a:pt x="358" y="137"/>
                  </a:lnTo>
                  <a:lnTo>
                    <a:pt x="349" y="146"/>
                  </a:lnTo>
                  <a:lnTo>
                    <a:pt x="333" y="178"/>
                  </a:lnTo>
                  <a:lnTo>
                    <a:pt x="326" y="187"/>
                  </a:lnTo>
                  <a:lnTo>
                    <a:pt x="318" y="202"/>
                  </a:lnTo>
                  <a:lnTo>
                    <a:pt x="318" y="211"/>
                  </a:lnTo>
                  <a:lnTo>
                    <a:pt x="308" y="187"/>
                  </a:lnTo>
                  <a:lnTo>
                    <a:pt x="308" y="178"/>
                  </a:lnTo>
                  <a:lnTo>
                    <a:pt x="301" y="187"/>
                  </a:lnTo>
                  <a:lnTo>
                    <a:pt x="293" y="187"/>
                  </a:lnTo>
                  <a:lnTo>
                    <a:pt x="293" y="178"/>
                  </a:lnTo>
                  <a:lnTo>
                    <a:pt x="308" y="162"/>
                  </a:lnTo>
                  <a:lnTo>
                    <a:pt x="276" y="162"/>
                  </a:lnTo>
                  <a:lnTo>
                    <a:pt x="276" y="146"/>
                  </a:lnTo>
                  <a:lnTo>
                    <a:pt x="268" y="146"/>
                  </a:lnTo>
                  <a:lnTo>
                    <a:pt x="261" y="146"/>
                  </a:lnTo>
                  <a:lnTo>
                    <a:pt x="261" y="153"/>
                  </a:lnTo>
                  <a:lnTo>
                    <a:pt x="252" y="170"/>
                  </a:lnTo>
                  <a:lnTo>
                    <a:pt x="261" y="170"/>
                  </a:lnTo>
                  <a:lnTo>
                    <a:pt x="268" y="211"/>
                  </a:lnTo>
                  <a:lnTo>
                    <a:pt x="261" y="211"/>
                  </a:lnTo>
                  <a:lnTo>
                    <a:pt x="261" y="202"/>
                  </a:lnTo>
                  <a:lnTo>
                    <a:pt x="243" y="211"/>
                  </a:lnTo>
                  <a:lnTo>
                    <a:pt x="236" y="236"/>
                  </a:lnTo>
                  <a:lnTo>
                    <a:pt x="221" y="242"/>
                  </a:lnTo>
                  <a:lnTo>
                    <a:pt x="180" y="276"/>
                  </a:lnTo>
                  <a:lnTo>
                    <a:pt x="180" y="283"/>
                  </a:lnTo>
                  <a:lnTo>
                    <a:pt x="171" y="283"/>
                  </a:lnTo>
                  <a:lnTo>
                    <a:pt x="162" y="292"/>
                  </a:lnTo>
                  <a:lnTo>
                    <a:pt x="156" y="292"/>
                  </a:lnTo>
                  <a:lnTo>
                    <a:pt x="156" y="299"/>
                  </a:lnTo>
                  <a:lnTo>
                    <a:pt x="156" y="324"/>
                  </a:lnTo>
                  <a:lnTo>
                    <a:pt x="147" y="339"/>
                  </a:lnTo>
                  <a:lnTo>
                    <a:pt x="147" y="364"/>
                  </a:lnTo>
                  <a:lnTo>
                    <a:pt x="139" y="373"/>
                  </a:lnTo>
                  <a:lnTo>
                    <a:pt x="131" y="380"/>
                  </a:lnTo>
                  <a:lnTo>
                    <a:pt x="122" y="389"/>
                  </a:lnTo>
                  <a:lnTo>
                    <a:pt x="106" y="380"/>
                  </a:lnTo>
                  <a:lnTo>
                    <a:pt x="82" y="307"/>
                  </a:lnTo>
                  <a:lnTo>
                    <a:pt x="65" y="283"/>
                  </a:lnTo>
                  <a:lnTo>
                    <a:pt x="59" y="236"/>
                  </a:lnTo>
                  <a:lnTo>
                    <a:pt x="59" y="202"/>
                  </a:lnTo>
                  <a:lnTo>
                    <a:pt x="50" y="218"/>
                  </a:lnTo>
                  <a:lnTo>
                    <a:pt x="34" y="227"/>
                  </a:lnTo>
                  <a:lnTo>
                    <a:pt x="9" y="202"/>
                  </a:lnTo>
                  <a:lnTo>
                    <a:pt x="25" y="202"/>
                  </a:lnTo>
                  <a:lnTo>
                    <a:pt x="25" y="195"/>
                  </a:lnTo>
                  <a:lnTo>
                    <a:pt x="19" y="195"/>
                  </a:lnTo>
                  <a:lnTo>
                    <a:pt x="0" y="187"/>
                  </a:lnTo>
                  <a:lnTo>
                    <a:pt x="9" y="178"/>
                  </a:lnTo>
                  <a:lnTo>
                    <a:pt x="34" y="178"/>
                  </a:lnTo>
                  <a:lnTo>
                    <a:pt x="34" y="170"/>
                  </a:lnTo>
                  <a:lnTo>
                    <a:pt x="34" y="153"/>
                  </a:lnTo>
                  <a:lnTo>
                    <a:pt x="25" y="153"/>
                  </a:lnTo>
                  <a:lnTo>
                    <a:pt x="25" y="146"/>
                  </a:lnTo>
                  <a:lnTo>
                    <a:pt x="19" y="146"/>
                  </a:lnTo>
                  <a:lnTo>
                    <a:pt x="19" y="130"/>
                  </a:lnTo>
                  <a:lnTo>
                    <a:pt x="25" y="121"/>
                  </a:lnTo>
                  <a:lnTo>
                    <a:pt x="34" y="130"/>
                  </a:lnTo>
                  <a:lnTo>
                    <a:pt x="50" y="121"/>
                  </a:lnTo>
                  <a:lnTo>
                    <a:pt x="90" y="74"/>
                  </a:lnTo>
                  <a:lnTo>
                    <a:pt x="82" y="65"/>
                  </a:lnTo>
                  <a:lnTo>
                    <a:pt x="90" y="65"/>
                  </a:lnTo>
                  <a:lnTo>
                    <a:pt x="90" y="56"/>
                  </a:lnTo>
                  <a:lnTo>
                    <a:pt x="74" y="50"/>
                  </a:lnTo>
                  <a:lnTo>
                    <a:pt x="82" y="33"/>
                  </a:lnTo>
                  <a:lnTo>
                    <a:pt x="74" y="25"/>
                  </a:lnTo>
                  <a:lnTo>
                    <a:pt x="82" y="16"/>
                  </a:lnTo>
                  <a:lnTo>
                    <a:pt x="99" y="25"/>
                  </a:lnTo>
                  <a:lnTo>
                    <a:pt x="114" y="16"/>
                  </a:lnTo>
                  <a:lnTo>
                    <a:pt x="122" y="8"/>
                  </a:lnTo>
                  <a:lnTo>
                    <a:pt x="147" y="0"/>
                  </a:lnTo>
                  <a:lnTo>
                    <a:pt x="156" y="8"/>
                  </a:lnTo>
                  <a:lnTo>
                    <a:pt x="156" y="25"/>
                  </a:lnTo>
                  <a:lnTo>
                    <a:pt x="139" y="40"/>
                  </a:lnTo>
                  <a:lnTo>
                    <a:pt x="147" y="56"/>
                  </a:lnTo>
                  <a:lnTo>
                    <a:pt x="131" y="56"/>
                  </a:lnTo>
                  <a:lnTo>
                    <a:pt x="139" y="81"/>
                  </a:lnTo>
                  <a:lnTo>
                    <a:pt x="162" y="90"/>
                  </a:lnTo>
                  <a:lnTo>
                    <a:pt x="156" y="113"/>
                  </a:lnTo>
                  <a:lnTo>
                    <a:pt x="171" y="121"/>
                  </a:lnTo>
                  <a:lnTo>
                    <a:pt x="243" y="146"/>
                  </a:lnTo>
                  <a:lnTo>
                    <a:pt x="252" y="146"/>
                  </a:lnTo>
                  <a:lnTo>
                    <a:pt x="252" y="137"/>
                  </a:lnTo>
                  <a:lnTo>
                    <a:pt x="252" y="121"/>
                  </a:lnTo>
                  <a:lnTo>
                    <a:pt x="261" y="121"/>
                  </a:lnTo>
                  <a:lnTo>
                    <a:pt x="268" y="130"/>
                  </a:lnTo>
                  <a:lnTo>
                    <a:pt x="268" y="137"/>
                  </a:lnTo>
                  <a:lnTo>
                    <a:pt x="301" y="137"/>
                  </a:lnTo>
                  <a:lnTo>
                    <a:pt x="308" y="137"/>
                  </a:lnTo>
                  <a:lnTo>
                    <a:pt x="301" y="121"/>
                  </a:lnTo>
                  <a:lnTo>
                    <a:pt x="342" y="10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75" name="Freeform 92"/>
            <p:cNvSpPr>
              <a:spLocks/>
            </p:cNvSpPr>
            <p:nvPr/>
          </p:nvSpPr>
          <p:spPr bwMode="auto">
            <a:xfrm>
              <a:off x="4497" y="1746"/>
              <a:ext cx="533" cy="254"/>
            </a:xfrm>
            <a:custGeom>
              <a:avLst/>
              <a:gdLst>
                <a:gd name="T0" fmla="*/ 2272 w 408"/>
                <a:gd name="T1" fmla="*/ 408 h 195"/>
                <a:gd name="T2" fmla="*/ 1864 w 408"/>
                <a:gd name="T3" fmla="*/ 197 h 195"/>
                <a:gd name="T4" fmla="*/ 1739 w 408"/>
                <a:gd name="T5" fmla="*/ 270 h 195"/>
                <a:gd name="T6" fmla="*/ 1654 w 408"/>
                <a:gd name="T7" fmla="*/ 270 h 195"/>
                <a:gd name="T8" fmla="*/ 1527 w 408"/>
                <a:gd name="T9" fmla="*/ 78 h 195"/>
                <a:gd name="T10" fmla="*/ 1244 w 408"/>
                <a:gd name="T11" fmla="*/ 0 h 195"/>
                <a:gd name="T12" fmla="*/ 1104 w 408"/>
                <a:gd name="T13" fmla="*/ 78 h 195"/>
                <a:gd name="T14" fmla="*/ 1104 w 408"/>
                <a:gd name="T15" fmla="*/ 197 h 195"/>
                <a:gd name="T16" fmla="*/ 1104 w 408"/>
                <a:gd name="T17" fmla="*/ 335 h 195"/>
                <a:gd name="T18" fmla="*/ 824 w 408"/>
                <a:gd name="T19" fmla="*/ 335 h 195"/>
                <a:gd name="T20" fmla="*/ 685 w 408"/>
                <a:gd name="T21" fmla="*/ 270 h 195"/>
                <a:gd name="T22" fmla="*/ 419 w 408"/>
                <a:gd name="T23" fmla="*/ 197 h 195"/>
                <a:gd name="T24" fmla="*/ 78 w 408"/>
                <a:gd name="T25" fmla="*/ 408 h 195"/>
                <a:gd name="T26" fmla="*/ 0 w 408"/>
                <a:gd name="T27" fmla="*/ 469 h 195"/>
                <a:gd name="T28" fmla="*/ 133 w 408"/>
                <a:gd name="T29" fmla="*/ 673 h 195"/>
                <a:gd name="T30" fmla="*/ 283 w 408"/>
                <a:gd name="T31" fmla="*/ 673 h 195"/>
                <a:gd name="T32" fmla="*/ 351 w 408"/>
                <a:gd name="T33" fmla="*/ 802 h 195"/>
                <a:gd name="T34" fmla="*/ 351 w 408"/>
                <a:gd name="T35" fmla="*/ 1076 h 195"/>
                <a:gd name="T36" fmla="*/ 767 w 408"/>
                <a:gd name="T37" fmla="*/ 1206 h 195"/>
                <a:gd name="T38" fmla="*/ 973 w 408"/>
                <a:gd name="T39" fmla="*/ 1417 h 195"/>
                <a:gd name="T40" fmla="*/ 1377 w 408"/>
                <a:gd name="T41" fmla="*/ 1417 h 195"/>
                <a:gd name="T42" fmla="*/ 1577 w 408"/>
                <a:gd name="T43" fmla="*/ 1538 h 195"/>
                <a:gd name="T44" fmla="*/ 1864 w 408"/>
                <a:gd name="T45" fmla="*/ 1611 h 195"/>
                <a:gd name="T46" fmla="*/ 2139 w 408"/>
                <a:gd name="T47" fmla="*/ 1473 h 195"/>
                <a:gd name="T48" fmla="*/ 2417 w 408"/>
                <a:gd name="T49" fmla="*/ 1473 h 195"/>
                <a:gd name="T50" fmla="*/ 2611 w 408"/>
                <a:gd name="T51" fmla="*/ 1262 h 195"/>
                <a:gd name="T52" fmla="*/ 2563 w 408"/>
                <a:gd name="T53" fmla="*/ 1206 h 195"/>
                <a:gd name="T54" fmla="*/ 2691 w 408"/>
                <a:gd name="T55" fmla="*/ 1076 h 195"/>
                <a:gd name="T56" fmla="*/ 2823 w 408"/>
                <a:gd name="T57" fmla="*/ 1132 h 195"/>
                <a:gd name="T58" fmla="*/ 3029 w 408"/>
                <a:gd name="T59" fmla="*/ 1006 h 195"/>
                <a:gd name="T60" fmla="*/ 3164 w 408"/>
                <a:gd name="T61" fmla="*/ 869 h 195"/>
                <a:gd name="T62" fmla="*/ 3454 w 408"/>
                <a:gd name="T63" fmla="*/ 869 h 195"/>
                <a:gd name="T64" fmla="*/ 3369 w 408"/>
                <a:gd name="T65" fmla="*/ 740 h 195"/>
                <a:gd name="T66" fmla="*/ 3299 w 408"/>
                <a:gd name="T67" fmla="*/ 673 h 195"/>
                <a:gd name="T68" fmla="*/ 3164 w 408"/>
                <a:gd name="T69" fmla="*/ 740 h 195"/>
                <a:gd name="T70" fmla="*/ 3029 w 408"/>
                <a:gd name="T71" fmla="*/ 740 h 195"/>
                <a:gd name="T72" fmla="*/ 3029 w 408"/>
                <a:gd name="T73" fmla="*/ 469 h 195"/>
                <a:gd name="T74" fmla="*/ 3101 w 408"/>
                <a:gd name="T75" fmla="*/ 335 h 195"/>
                <a:gd name="T76" fmla="*/ 2903 w 408"/>
                <a:gd name="T77" fmla="*/ 270 h 195"/>
                <a:gd name="T78" fmla="*/ 2758 w 408"/>
                <a:gd name="T79" fmla="*/ 408 h 195"/>
                <a:gd name="T80" fmla="*/ 2474 w 408"/>
                <a:gd name="T81" fmla="*/ 469 h 195"/>
                <a:gd name="T82" fmla="*/ 2272 w 408"/>
                <a:gd name="T83" fmla="*/ 408 h 19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08"/>
                <a:gd name="T127" fmla="*/ 0 h 195"/>
                <a:gd name="T128" fmla="*/ 408 w 408"/>
                <a:gd name="T129" fmla="*/ 195 h 19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08" h="195">
                  <a:moveTo>
                    <a:pt x="268" y="49"/>
                  </a:moveTo>
                  <a:lnTo>
                    <a:pt x="220" y="24"/>
                  </a:lnTo>
                  <a:lnTo>
                    <a:pt x="205" y="32"/>
                  </a:lnTo>
                  <a:lnTo>
                    <a:pt x="195" y="32"/>
                  </a:lnTo>
                  <a:lnTo>
                    <a:pt x="180" y="9"/>
                  </a:lnTo>
                  <a:lnTo>
                    <a:pt x="146" y="0"/>
                  </a:lnTo>
                  <a:lnTo>
                    <a:pt x="130" y="9"/>
                  </a:lnTo>
                  <a:lnTo>
                    <a:pt x="130" y="24"/>
                  </a:lnTo>
                  <a:lnTo>
                    <a:pt x="130" y="40"/>
                  </a:lnTo>
                  <a:lnTo>
                    <a:pt x="97" y="40"/>
                  </a:lnTo>
                  <a:lnTo>
                    <a:pt x="81" y="32"/>
                  </a:lnTo>
                  <a:lnTo>
                    <a:pt x="49" y="24"/>
                  </a:lnTo>
                  <a:lnTo>
                    <a:pt x="9" y="49"/>
                  </a:lnTo>
                  <a:lnTo>
                    <a:pt x="0" y="57"/>
                  </a:lnTo>
                  <a:lnTo>
                    <a:pt x="16" y="81"/>
                  </a:lnTo>
                  <a:lnTo>
                    <a:pt x="34" y="81"/>
                  </a:lnTo>
                  <a:lnTo>
                    <a:pt x="41" y="97"/>
                  </a:lnTo>
                  <a:lnTo>
                    <a:pt x="41" y="130"/>
                  </a:lnTo>
                  <a:lnTo>
                    <a:pt x="90" y="146"/>
                  </a:lnTo>
                  <a:lnTo>
                    <a:pt x="115" y="171"/>
                  </a:lnTo>
                  <a:lnTo>
                    <a:pt x="162" y="171"/>
                  </a:lnTo>
                  <a:lnTo>
                    <a:pt x="186" y="186"/>
                  </a:lnTo>
                  <a:lnTo>
                    <a:pt x="220" y="194"/>
                  </a:lnTo>
                  <a:lnTo>
                    <a:pt x="252" y="177"/>
                  </a:lnTo>
                  <a:lnTo>
                    <a:pt x="285" y="177"/>
                  </a:lnTo>
                  <a:lnTo>
                    <a:pt x="308" y="152"/>
                  </a:lnTo>
                  <a:lnTo>
                    <a:pt x="302" y="146"/>
                  </a:lnTo>
                  <a:lnTo>
                    <a:pt x="317" y="130"/>
                  </a:lnTo>
                  <a:lnTo>
                    <a:pt x="333" y="137"/>
                  </a:lnTo>
                  <a:lnTo>
                    <a:pt x="357" y="121"/>
                  </a:lnTo>
                  <a:lnTo>
                    <a:pt x="373" y="105"/>
                  </a:lnTo>
                  <a:lnTo>
                    <a:pt x="407" y="105"/>
                  </a:lnTo>
                  <a:lnTo>
                    <a:pt x="397" y="89"/>
                  </a:lnTo>
                  <a:lnTo>
                    <a:pt x="389" y="81"/>
                  </a:lnTo>
                  <a:lnTo>
                    <a:pt x="373" y="89"/>
                  </a:lnTo>
                  <a:lnTo>
                    <a:pt x="357" y="89"/>
                  </a:lnTo>
                  <a:lnTo>
                    <a:pt x="357" y="57"/>
                  </a:lnTo>
                  <a:lnTo>
                    <a:pt x="366" y="40"/>
                  </a:lnTo>
                  <a:lnTo>
                    <a:pt x="342" y="32"/>
                  </a:lnTo>
                  <a:lnTo>
                    <a:pt x="325" y="49"/>
                  </a:lnTo>
                  <a:lnTo>
                    <a:pt x="292" y="57"/>
                  </a:lnTo>
                  <a:lnTo>
                    <a:pt x="268" y="4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76" name="Freeform 93"/>
            <p:cNvSpPr>
              <a:spLocks/>
            </p:cNvSpPr>
            <p:nvPr/>
          </p:nvSpPr>
          <p:spPr bwMode="auto">
            <a:xfrm>
              <a:off x="3372" y="1101"/>
              <a:ext cx="184" cy="402"/>
            </a:xfrm>
            <a:custGeom>
              <a:avLst/>
              <a:gdLst>
                <a:gd name="T0" fmla="*/ 890 w 141"/>
                <a:gd name="T1" fmla="*/ 335 h 308"/>
                <a:gd name="T2" fmla="*/ 890 w 141"/>
                <a:gd name="T3" fmla="*/ 548 h 308"/>
                <a:gd name="T4" fmla="*/ 1040 w 141"/>
                <a:gd name="T5" fmla="*/ 683 h 308"/>
                <a:gd name="T6" fmla="*/ 970 w 141"/>
                <a:gd name="T7" fmla="*/ 884 h 308"/>
                <a:gd name="T8" fmla="*/ 1040 w 141"/>
                <a:gd name="T9" fmla="*/ 1218 h 308"/>
                <a:gd name="T10" fmla="*/ 970 w 141"/>
                <a:gd name="T11" fmla="*/ 1436 h 308"/>
                <a:gd name="T12" fmla="*/ 1101 w 141"/>
                <a:gd name="T13" fmla="*/ 1647 h 308"/>
                <a:gd name="T14" fmla="*/ 1040 w 141"/>
                <a:gd name="T15" fmla="*/ 1770 h 308"/>
                <a:gd name="T16" fmla="*/ 1180 w 141"/>
                <a:gd name="T17" fmla="*/ 1910 h 308"/>
                <a:gd name="T18" fmla="*/ 1180 w 141"/>
                <a:gd name="T19" fmla="*/ 1981 h 308"/>
                <a:gd name="T20" fmla="*/ 970 w 141"/>
                <a:gd name="T21" fmla="*/ 2322 h 308"/>
                <a:gd name="T22" fmla="*/ 766 w 141"/>
                <a:gd name="T23" fmla="*/ 2460 h 308"/>
                <a:gd name="T24" fmla="*/ 694 w 141"/>
                <a:gd name="T25" fmla="*/ 2460 h 308"/>
                <a:gd name="T26" fmla="*/ 345 w 141"/>
                <a:gd name="T27" fmla="*/ 2586 h 308"/>
                <a:gd name="T28" fmla="*/ 78 w 141"/>
                <a:gd name="T29" fmla="*/ 2460 h 308"/>
                <a:gd name="T30" fmla="*/ 149 w 141"/>
                <a:gd name="T31" fmla="*/ 2245 h 308"/>
                <a:gd name="T32" fmla="*/ 78 w 141"/>
                <a:gd name="T33" fmla="*/ 2037 h 308"/>
                <a:gd name="T34" fmla="*/ 149 w 141"/>
                <a:gd name="T35" fmla="*/ 1910 h 308"/>
                <a:gd name="T36" fmla="*/ 418 w 141"/>
                <a:gd name="T37" fmla="*/ 1492 h 308"/>
                <a:gd name="T38" fmla="*/ 493 w 141"/>
                <a:gd name="T39" fmla="*/ 1436 h 308"/>
                <a:gd name="T40" fmla="*/ 493 w 141"/>
                <a:gd name="T41" fmla="*/ 1291 h 308"/>
                <a:gd name="T42" fmla="*/ 418 w 141"/>
                <a:gd name="T43" fmla="*/ 1218 h 308"/>
                <a:gd name="T44" fmla="*/ 345 w 141"/>
                <a:gd name="T45" fmla="*/ 1218 h 308"/>
                <a:gd name="T46" fmla="*/ 283 w 141"/>
                <a:gd name="T47" fmla="*/ 598 h 308"/>
                <a:gd name="T48" fmla="*/ 0 w 141"/>
                <a:gd name="T49" fmla="*/ 335 h 308"/>
                <a:gd name="T50" fmla="*/ 78 w 141"/>
                <a:gd name="T51" fmla="*/ 257 h 308"/>
                <a:gd name="T52" fmla="*/ 211 w 141"/>
                <a:gd name="T53" fmla="*/ 418 h 308"/>
                <a:gd name="T54" fmla="*/ 493 w 141"/>
                <a:gd name="T55" fmla="*/ 418 h 308"/>
                <a:gd name="T56" fmla="*/ 553 w 141"/>
                <a:gd name="T57" fmla="*/ 335 h 308"/>
                <a:gd name="T58" fmla="*/ 629 w 141"/>
                <a:gd name="T59" fmla="*/ 65 h 308"/>
                <a:gd name="T60" fmla="*/ 766 w 141"/>
                <a:gd name="T61" fmla="*/ 0 h 308"/>
                <a:gd name="T62" fmla="*/ 970 w 141"/>
                <a:gd name="T63" fmla="*/ 133 h 308"/>
                <a:gd name="T64" fmla="*/ 890 w 141"/>
                <a:gd name="T65" fmla="*/ 335 h 30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1"/>
                <a:gd name="T100" fmla="*/ 0 h 308"/>
                <a:gd name="T101" fmla="*/ 141 w 141"/>
                <a:gd name="T102" fmla="*/ 308 h 30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1" h="308">
                  <a:moveTo>
                    <a:pt x="106" y="40"/>
                  </a:moveTo>
                  <a:lnTo>
                    <a:pt x="106" y="65"/>
                  </a:lnTo>
                  <a:lnTo>
                    <a:pt x="124" y="81"/>
                  </a:lnTo>
                  <a:lnTo>
                    <a:pt x="115" y="105"/>
                  </a:lnTo>
                  <a:lnTo>
                    <a:pt x="124" y="145"/>
                  </a:lnTo>
                  <a:lnTo>
                    <a:pt x="115" y="170"/>
                  </a:lnTo>
                  <a:lnTo>
                    <a:pt x="131" y="195"/>
                  </a:lnTo>
                  <a:lnTo>
                    <a:pt x="124" y="210"/>
                  </a:lnTo>
                  <a:lnTo>
                    <a:pt x="140" y="227"/>
                  </a:lnTo>
                  <a:lnTo>
                    <a:pt x="140" y="235"/>
                  </a:lnTo>
                  <a:lnTo>
                    <a:pt x="115" y="276"/>
                  </a:lnTo>
                  <a:lnTo>
                    <a:pt x="91" y="292"/>
                  </a:lnTo>
                  <a:lnTo>
                    <a:pt x="83" y="292"/>
                  </a:lnTo>
                  <a:lnTo>
                    <a:pt x="41" y="307"/>
                  </a:lnTo>
                  <a:lnTo>
                    <a:pt x="9" y="292"/>
                  </a:lnTo>
                  <a:lnTo>
                    <a:pt x="18" y="267"/>
                  </a:lnTo>
                  <a:lnTo>
                    <a:pt x="9" y="242"/>
                  </a:lnTo>
                  <a:lnTo>
                    <a:pt x="18" y="227"/>
                  </a:lnTo>
                  <a:lnTo>
                    <a:pt x="49" y="177"/>
                  </a:lnTo>
                  <a:lnTo>
                    <a:pt x="59" y="170"/>
                  </a:lnTo>
                  <a:lnTo>
                    <a:pt x="59" y="153"/>
                  </a:lnTo>
                  <a:lnTo>
                    <a:pt x="49" y="145"/>
                  </a:lnTo>
                  <a:lnTo>
                    <a:pt x="41" y="145"/>
                  </a:lnTo>
                  <a:lnTo>
                    <a:pt x="34" y="71"/>
                  </a:lnTo>
                  <a:lnTo>
                    <a:pt x="0" y="40"/>
                  </a:lnTo>
                  <a:lnTo>
                    <a:pt x="9" y="31"/>
                  </a:lnTo>
                  <a:lnTo>
                    <a:pt x="25" y="49"/>
                  </a:lnTo>
                  <a:lnTo>
                    <a:pt x="59" y="49"/>
                  </a:lnTo>
                  <a:lnTo>
                    <a:pt x="66" y="40"/>
                  </a:lnTo>
                  <a:lnTo>
                    <a:pt x="74" y="8"/>
                  </a:lnTo>
                  <a:lnTo>
                    <a:pt x="91" y="0"/>
                  </a:lnTo>
                  <a:lnTo>
                    <a:pt x="115" y="16"/>
                  </a:lnTo>
                  <a:lnTo>
                    <a:pt x="106" y="4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77" name="Freeform 94"/>
            <p:cNvSpPr>
              <a:spLocks/>
            </p:cNvSpPr>
            <p:nvPr/>
          </p:nvSpPr>
          <p:spPr bwMode="auto">
            <a:xfrm>
              <a:off x="1075" y="2190"/>
              <a:ext cx="500" cy="328"/>
            </a:xfrm>
            <a:custGeom>
              <a:avLst/>
              <a:gdLst>
                <a:gd name="T0" fmla="*/ 2047 w 383"/>
                <a:gd name="T1" fmla="*/ 938 h 252"/>
                <a:gd name="T2" fmla="*/ 2120 w 383"/>
                <a:gd name="T3" fmla="*/ 1277 h 252"/>
                <a:gd name="T4" fmla="*/ 2264 w 383"/>
                <a:gd name="T5" fmla="*/ 1611 h 252"/>
                <a:gd name="T6" fmla="*/ 2672 w 383"/>
                <a:gd name="T7" fmla="*/ 1611 h 252"/>
                <a:gd name="T8" fmla="*/ 2728 w 383"/>
                <a:gd name="T9" fmla="*/ 1611 h 252"/>
                <a:gd name="T10" fmla="*/ 2875 w 383"/>
                <a:gd name="T11" fmla="*/ 1338 h 252"/>
                <a:gd name="T12" fmla="*/ 3148 w 383"/>
                <a:gd name="T13" fmla="*/ 1277 h 252"/>
                <a:gd name="T14" fmla="*/ 3148 w 383"/>
                <a:gd name="T15" fmla="*/ 1611 h 252"/>
                <a:gd name="T16" fmla="*/ 3068 w 383"/>
                <a:gd name="T17" fmla="*/ 1611 h 252"/>
                <a:gd name="T18" fmla="*/ 2796 w 383"/>
                <a:gd name="T19" fmla="*/ 1674 h 252"/>
                <a:gd name="T20" fmla="*/ 2875 w 383"/>
                <a:gd name="T21" fmla="*/ 1866 h 252"/>
                <a:gd name="T22" fmla="*/ 2672 w 383"/>
                <a:gd name="T23" fmla="*/ 2068 h 252"/>
                <a:gd name="T24" fmla="*/ 2330 w 383"/>
                <a:gd name="T25" fmla="*/ 1866 h 252"/>
                <a:gd name="T26" fmla="*/ 2047 w 383"/>
                <a:gd name="T27" fmla="*/ 1866 h 252"/>
                <a:gd name="T28" fmla="*/ 1651 w 383"/>
                <a:gd name="T29" fmla="*/ 1674 h 252"/>
                <a:gd name="T30" fmla="*/ 1305 w 383"/>
                <a:gd name="T31" fmla="*/ 1533 h 252"/>
                <a:gd name="T32" fmla="*/ 1305 w 383"/>
                <a:gd name="T33" fmla="*/ 1338 h 252"/>
                <a:gd name="T34" fmla="*/ 969 w 383"/>
                <a:gd name="T35" fmla="*/ 876 h 252"/>
                <a:gd name="T36" fmla="*/ 808 w 383"/>
                <a:gd name="T37" fmla="*/ 741 h 252"/>
                <a:gd name="T38" fmla="*/ 683 w 383"/>
                <a:gd name="T39" fmla="*/ 535 h 252"/>
                <a:gd name="T40" fmla="*/ 546 w 383"/>
                <a:gd name="T41" fmla="*/ 405 h 252"/>
                <a:gd name="T42" fmla="*/ 336 w 383"/>
                <a:gd name="T43" fmla="*/ 146 h 252"/>
                <a:gd name="T44" fmla="*/ 274 w 383"/>
                <a:gd name="T45" fmla="*/ 276 h 252"/>
                <a:gd name="T46" fmla="*/ 683 w 383"/>
                <a:gd name="T47" fmla="*/ 1006 h 252"/>
                <a:gd name="T48" fmla="*/ 808 w 383"/>
                <a:gd name="T49" fmla="*/ 1083 h 252"/>
                <a:gd name="T50" fmla="*/ 683 w 383"/>
                <a:gd name="T51" fmla="*/ 1083 h 252"/>
                <a:gd name="T52" fmla="*/ 546 w 383"/>
                <a:gd name="T53" fmla="*/ 876 h 252"/>
                <a:gd name="T54" fmla="*/ 274 w 383"/>
                <a:gd name="T55" fmla="*/ 666 h 252"/>
                <a:gd name="T56" fmla="*/ 274 w 383"/>
                <a:gd name="T57" fmla="*/ 608 h 252"/>
                <a:gd name="T58" fmla="*/ 133 w 383"/>
                <a:gd name="T59" fmla="*/ 336 h 252"/>
                <a:gd name="T60" fmla="*/ 197 w 383"/>
                <a:gd name="T61" fmla="*/ 0 h 252"/>
                <a:gd name="T62" fmla="*/ 1157 w 383"/>
                <a:gd name="T63" fmla="*/ 78 h 252"/>
                <a:gd name="T64" fmla="*/ 1305 w 383"/>
                <a:gd name="T65" fmla="*/ 336 h 252"/>
                <a:gd name="T66" fmla="*/ 1510 w 383"/>
                <a:gd name="T67" fmla="*/ 405 h 252"/>
                <a:gd name="T68" fmla="*/ 1651 w 383"/>
                <a:gd name="T69" fmla="*/ 336 h 252"/>
                <a:gd name="T70" fmla="*/ 2120 w 383"/>
                <a:gd name="T71" fmla="*/ 797 h 25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83"/>
                <a:gd name="T109" fmla="*/ 0 h 252"/>
                <a:gd name="T110" fmla="*/ 383 w 383"/>
                <a:gd name="T111" fmla="*/ 252 h 25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83" h="252">
                  <a:moveTo>
                    <a:pt x="251" y="97"/>
                  </a:moveTo>
                  <a:lnTo>
                    <a:pt x="243" y="114"/>
                  </a:lnTo>
                  <a:lnTo>
                    <a:pt x="243" y="146"/>
                  </a:lnTo>
                  <a:lnTo>
                    <a:pt x="251" y="155"/>
                  </a:lnTo>
                  <a:lnTo>
                    <a:pt x="251" y="162"/>
                  </a:lnTo>
                  <a:lnTo>
                    <a:pt x="268" y="196"/>
                  </a:lnTo>
                  <a:lnTo>
                    <a:pt x="292" y="203"/>
                  </a:lnTo>
                  <a:lnTo>
                    <a:pt x="317" y="196"/>
                  </a:lnTo>
                  <a:lnTo>
                    <a:pt x="332" y="196"/>
                  </a:lnTo>
                  <a:lnTo>
                    <a:pt x="323" y="196"/>
                  </a:lnTo>
                  <a:lnTo>
                    <a:pt x="332" y="186"/>
                  </a:lnTo>
                  <a:lnTo>
                    <a:pt x="341" y="162"/>
                  </a:lnTo>
                  <a:lnTo>
                    <a:pt x="348" y="162"/>
                  </a:lnTo>
                  <a:lnTo>
                    <a:pt x="373" y="155"/>
                  </a:lnTo>
                  <a:lnTo>
                    <a:pt x="382" y="162"/>
                  </a:lnTo>
                  <a:lnTo>
                    <a:pt x="373" y="196"/>
                  </a:lnTo>
                  <a:lnTo>
                    <a:pt x="373" y="203"/>
                  </a:lnTo>
                  <a:lnTo>
                    <a:pt x="364" y="196"/>
                  </a:lnTo>
                  <a:lnTo>
                    <a:pt x="357" y="203"/>
                  </a:lnTo>
                  <a:lnTo>
                    <a:pt x="332" y="203"/>
                  </a:lnTo>
                  <a:lnTo>
                    <a:pt x="323" y="211"/>
                  </a:lnTo>
                  <a:lnTo>
                    <a:pt x="341" y="227"/>
                  </a:lnTo>
                  <a:lnTo>
                    <a:pt x="323" y="227"/>
                  </a:lnTo>
                  <a:lnTo>
                    <a:pt x="317" y="251"/>
                  </a:lnTo>
                  <a:lnTo>
                    <a:pt x="292" y="227"/>
                  </a:lnTo>
                  <a:lnTo>
                    <a:pt x="276" y="227"/>
                  </a:lnTo>
                  <a:lnTo>
                    <a:pt x="268" y="236"/>
                  </a:lnTo>
                  <a:lnTo>
                    <a:pt x="243" y="227"/>
                  </a:lnTo>
                  <a:lnTo>
                    <a:pt x="202" y="211"/>
                  </a:lnTo>
                  <a:lnTo>
                    <a:pt x="195" y="203"/>
                  </a:lnTo>
                  <a:lnTo>
                    <a:pt x="171" y="203"/>
                  </a:lnTo>
                  <a:lnTo>
                    <a:pt x="155" y="186"/>
                  </a:lnTo>
                  <a:lnTo>
                    <a:pt x="146" y="171"/>
                  </a:lnTo>
                  <a:lnTo>
                    <a:pt x="155" y="162"/>
                  </a:lnTo>
                  <a:lnTo>
                    <a:pt x="146" y="146"/>
                  </a:lnTo>
                  <a:lnTo>
                    <a:pt x="114" y="106"/>
                  </a:lnTo>
                  <a:lnTo>
                    <a:pt x="96" y="97"/>
                  </a:lnTo>
                  <a:lnTo>
                    <a:pt x="96" y="90"/>
                  </a:lnTo>
                  <a:lnTo>
                    <a:pt x="81" y="74"/>
                  </a:lnTo>
                  <a:lnTo>
                    <a:pt x="81" y="65"/>
                  </a:lnTo>
                  <a:lnTo>
                    <a:pt x="72" y="65"/>
                  </a:lnTo>
                  <a:lnTo>
                    <a:pt x="64" y="49"/>
                  </a:lnTo>
                  <a:lnTo>
                    <a:pt x="49" y="18"/>
                  </a:lnTo>
                  <a:lnTo>
                    <a:pt x="40" y="18"/>
                  </a:lnTo>
                  <a:lnTo>
                    <a:pt x="24" y="9"/>
                  </a:lnTo>
                  <a:lnTo>
                    <a:pt x="32" y="34"/>
                  </a:lnTo>
                  <a:lnTo>
                    <a:pt x="72" y="90"/>
                  </a:lnTo>
                  <a:lnTo>
                    <a:pt x="81" y="122"/>
                  </a:lnTo>
                  <a:lnTo>
                    <a:pt x="89" y="122"/>
                  </a:lnTo>
                  <a:lnTo>
                    <a:pt x="96" y="131"/>
                  </a:lnTo>
                  <a:lnTo>
                    <a:pt x="89" y="139"/>
                  </a:lnTo>
                  <a:lnTo>
                    <a:pt x="81" y="131"/>
                  </a:lnTo>
                  <a:lnTo>
                    <a:pt x="56" y="114"/>
                  </a:lnTo>
                  <a:lnTo>
                    <a:pt x="64" y="106"/>
                  </a:lnTo>
                  <a:lnTo>
                    <a:pt x="56" y="90"/>
                  </a:lnTo>
                  <a:lnTo>
                    <a:pt x="32" y="81"/>
                  </a:lnTo>
                  <a:lnTo>
                    <a:pt x="24" y="65"/>
                  </a:lnTo>
                  <a:lnTo>
                    <a:pt x="32" y="74"/>
                  </a:lnTo>
                  <a:lnTo>
                    <a:pt x="40" y="57"/>
                  </a:lnTo>
                  <a:lnTo>
                    <a:pt x="16" y="41"/>
                  </a:lnTo>
                  <a:lnTo>
                    <a:pt x="0" y="0"/>
                  </a:lnTo>
                  <a:lnTo>
                    <a:pt x="24" y="0"/>
                  </a:lnTo>
                  <a:lnTo>
                    <a:pt x="72" y="18"/>
                  </a:lnTo>
                  <a:lnTo>
                    <a:pt x="137" y="9"/>
                  </a:lnTo>
                  <a:lnTo>
                    <a:pt x="155" y="25"/>
                  </a:lnTo>
                  <a:lnTo>
                    <a:pt x="155" y="41"/>
                  </a:lnTo>
                  <a:lnTo>
                    <a:pt x="171" y="49"/>
                  </a:lnTo>
                  <a:lnTo>
                    <a:pt x="179" y="49"/>
                  </a:lnTo>
                  <a:lnTo>
                    <a:pt x="186" y="41"/>
                  </a:lnTo>
                  <a:lnTo>
                    <a:pt x="195" y="41"/>
                  </a:lnTo>
                  <a:lnTo>
                    <a:pt x="226" y="90"/>
                  </a:lnTo>
                  <a:lnTo>
                    <a:pt x="251" y="9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78" name="Freeform 95"/>
            <p:cNvSpPr>
              <a:spLocks/>
            </p:cNvSpPr>
            <p:nvPr/>
          </p:nvSpPr>
          <p:spPr bwMode="auto">
            <a:xfrm>
              <a:off x="1541" y="2445"/>
              <a:ext cx="22" cy="42"/>
            </a:xfrm>
            <a:custGeom>
              <a:avLst/>
              <a:gdLst>
                <a:gd name="T0" fmla="*/ 0 w 17"/>
                <a:gd name="T1" fmla="*/ 276 h 32"/>
                <a:gd name="T2" fmla="*/ 126 w 17"/>
                <a:gd name="T3" fmla="*/ 276 h 32"/>
                <a:gd name="T4" fmla="*/ 126 w 17"/>
                <a:gd name="T5" fmla="*/ 0 h 32"/>
                <a:gd name="T6" fmla="*/ 0 w 17"/>
                <a:gd name="T7" fmla="*/ 64 h 32"/>
                <a:gd name="T8" fmla="*/ 0 w 17"/>
                <a:gd name="T9" fmla="*/ 276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32"/>
                <a:gd name="T17" fmla="*/ 17 w 17"/>
                <a:gd name="T18" fmla="*/ 32 h 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32">
                  <a:moveTo>
                    <a:pt x="0" y="31"/>
                  </a:moveTo>
                  <a:lnTo>
                    <a:pt x="16" y="31"/>
                  </a:lnTo>
                  <a:lnTo>
                    <a:pt x="16" y="0"/>
                  </a:lnTo>
                  <a:lnTo>
                    <a:pt x="0" y="7"/>
                  </a:lnTo>
                  <a:lnTo>
                    <a:pt x="0" y="31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79" name="Freeform 96"/>
            <p:cNvSpPr>
              <a:spLocks/>
            </p:cNvSpPr>
            <p:nvPr/>
          </p:nvSpPr>
          <p:spPr bwMode="auto">
            <a:xfrm>
              <a:off x="1489" y="2454"/>
              <a:ext cx="62" cy="77"/>
            </a:xfrm>
            <a:custGeom>
              <a:avLst/>
              <a:gdLst>
                <a:gd name="T0" fmla="*/ 313 w 48"/>
                <a:gd name="T1" fmla="*/ 197 h 59"/>
                <a:gd name="T2" fmla="*/ 368 w 48"/>
                <a:gd name="T3" fmla="*/ 275 h 59"/>
                <a:gd name="T4" fmla="*/ 242 w 48"/>
                <a:gd name="T5" fmla="*/ 407 h 59"/>
                <a:gd name="T6" fmla="*/ 187 w 48"/>
                <a:gd name="T7" fmla="*/ 487 h 59"/>
                <a:gd name="T8" fmla="*/ 0 w 48"/>
                <a:gd name="T9" fmla="*/ 407 h 59"/>
                <a:gd name="T10" fmla="*/ 47 w 48"/>
                <a:gd name="T11" fmla="*/ 197 h 59"/>
                <a:gd name="T12" fmla="*/ 187 w 48"/>
                <a:gd name="T13" fmla="*/ 197 h 59"/>
                <a:gd name="T14" fmla="*/ 47 w 48"/>
                <a:gd name="T15" fmla="*/ 65 h 59"/>
                <a:gd name="T16" fmla="*/ 114 w 48"/>
                <a:gd name="T17" fmla="*/ 0 h 59"/>
                <a:gd name="T18" fmla="*/ 313 w 48"/>
                <a:gd name="T19" fmla="*/ 0 h 59"/>
                <a:gd name="T20" fmla="*/ 313 w 48"/>
                <a:gd name="T21" fmla="*/ 197 h 5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8"/>
                <a:gd name="T34" fmla="*/ 0 h 59"/>
                <a:gd name="T35" fmla="*/ 48 w 48"/>
                <a:gd name="T36" fmla="*/ 59 h 5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8" h="59">
                  <a:moveTo>
                    <a:pt x="40" y="24"/>
                  </a:moveTo>
                  <a:lnTo>
                    <a:pt x="47" y="33"/>
                  </a:lnTo>
                  <a:lnTo>
                    <a:pt x="31" y="48"/>
                  </a:lnTo>
                  <a:lnTo>
                    <a:pt x="24" y="58"/>
                  </a:lnTo>
                  <a:lnTo>
                    <a:pt x="0" y="48"/>
                  </a:lnTo>
                  <a:lnTo>
                    <a:pt x="6" y="24"/>
                  </a:lnTo>
                  <a:lnTo>
                    <a:pt x="24" y="24"/>
                  </a:lnTo>
                  <a:lnTo>
                    <a:pt x="6" y="8"/>
                  </a:lnTo>
                  <a:lnTo>
                    <a:pt x="15" y="0"/>
                  </a:lnTo>
                  <a:lnTo>
                    <a:pt x="40" y="0"/>
                  </a:lnTo>
                  <a:lnTo>
                    <a:pt x="40" y="24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80" name="Freeform 97"/>
            <p:cNvSpPr>
              <a:spLocks/>
            </p:cNvSpPr>
            <p:nvPr/>
          </p:nvSpPr>
          <p:spPr bwMode="auto">
            <a:xfrm>
              <a:off x="1529" y="2498"/>
              <a:ext cx="107" cy="42"/>
            </a:xfrm>
            <a:custGeom>
              <a:avLst/>
              <a:gdLst>
                <a:gd name="T0" fmla="*/ 133 w 82"/>
                <a:gd name="T1" fmla="*/ 0 h 33"/>
                <a:gd name="T2" fmla="*/ 493 w 82"/>
                <a:gd name="T3" fmla="*/ 0 h 33"/>
                <a:gd name="T4" fmla="*/ 682 w 82"/>
                <a:gd name="T5" fmla="*/ 47 h 33"/>
                <a:gd name="T6" fmla="*/ 548 w 82"/>
                <a:gd name="T7" fmla="*/ 103 h 33"/>
                <a:gd name="T8" fmla="*/ 283 w 82"/>
                <a:gd name="T9" fmla="*/ 220 h 33"/>
                <a:gd name="T10" fmla="*/ 211 w 82"/>
                <a:gd name="T11" fmla="*/ 220 h 33"/>
                <a:gd name="T12" fmla="*/ 211 w 82"/>
                <a:gd name="T13" fmla="*/ 173 h 33"/>
                <a:gd name="T14" fmla="*/ 0 w 82"/>
                <a:gd name="T15" fmla="*/ 103 h 33"/>
                <a:gd name="T16" fmla="*/ 133 w 82"/>
                <a:gd name="T17" fmla="*/ 0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2"/>
                <a:gd name="T28" fmla="*/ 0 h 33"/>
                <a:gd name="T29" fmla="*/ 82 w 82"/>
                <a:gd name="T30" fmla="*/ 33 h 3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2" h="33">
                  <a:moveTo>
                    <a:pt x="16" y="0"/>
                  </a:moveTo>
                  <a:lnTo>
                    <a:pt x="59" y="0"/>
                  </a:lnTo>
                  <a:lnTo>
                    <a:pt x="81" y="7"/>
                  </a:lnTo>
                  <a:lnTo>
                    <a:pt x="65" y="15"/>
                  </a:lnTo>
                  <a:lnTo>
                    <a:pt x="34" y="32"/>
                  </a:lnTo>
                  <a:lnTo>
                    <a:pt x="25" y="32"/>
                  </a:lnTo>
                  <a:lnTo>
                    <a:pt x="25" y="25"/>
                  </a:lnTo>
                  <a:lnTo>
                    <a:pt x="0" y="15"/>
                  </a:lnTo>
                  <a:lnTo>
                    <a:pt x="16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81" name="Freeform 98"/>
            <p:cNvSpPr>
              <a:spLocks/>
            </p:cNvSpPr>
            <p:nvPr/>
          </p:nvSpPr>
          <p:spPr bwMode="auto">
            <a:xfrm>
              <a:off x="1521" y="2517"/>
              <a:ext cx="42" cy="23"/>
            </a:xfrm>
            <a:custGeom>
              <a:avLst/>
              <a:gdLst>
                <a:gd name="T0" fmla="*/ 47 w 33"/>
                <a:gd name="T1" fmla="*/ 0 h 18"/>
                <a:gd name="T2" fmla="*/ 0 w 33"/>
                <a:gd name="T3" fmla="*/ 75 h 18"/>
                <a:gd name="T4" fmla="*/ 47 w 33"/>
                <a:gd name="T5" fmla="*/ 123 h 18"/>
                <a:gd name="T6" fmla="*/ 220 w 33"/>
                <a:gd name="T7" fmla="*/ 123 h 18"/>
                <a:gd name="T8" fmla="*/ 220 w 33"/>
                <a:gd name="T9" fmla="*/ 75 h 18"/>
                <a:gd name="T10" fmla="*/ 47 w 33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18"/>
                <a:gd name="T20" fmla="*/ 33 w 33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18">
                  <a:moveTo>
                    <a:pt x="7" y="0"/>
                  </a:moveTo>
                  <a:lnTo>
                    <a:pt x="0" y="10"/>
                  </a:lnTo>
                  <a:lnTo>
                    <a:pt x="7" y="17"/>
                  </a:lnTo>
                  <a:lnTo>
                    <a:pt x="32" y="17"/>
                  </a:lnTo>
                  <a:lnTo>
                    <a:pt x="32" y="10"/>
                  </a:lnTo>
                  <a:lnTo>
                    <a:pt x="7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82" name="Freeform 99"/>
            <p:cNvSpPr>
              <a:spLocks/>
            </p:cNvSpPr>
            <p:nvPr/>
          </p:nvSpPr>
          <p:spPr bwMode="auto">
            <a:xfrm>
              <a:off x="1574" y="2506"/>
              <a:ext cx="62" cy="78"/>
            </a:xfrm>
            <a:custGeom>
              <a:avLst/>
              <a:gdLst>
                <a:gd name="T0" fmla="*/ 368 w 48"/>
                <a:gd name="T1" fmla="*/ 0 h 59"/>
                <a:gd name="T2" fmla="*/ 368 w 48"/>
                <a:gd name="T3" fmla="*/ 78 h 59"/>
                <a:gd name="T4" fmla="*/ 313 w 48"/>
                <a:gd name="T5" fmla="*/ 465 h 59"/>
                <a:gd name="T6" fmla="*/ 368 w 48"/>
                <a:gd name="T7" fmla="*/ 543 h 59"/>
                <a:gd name="T8" fmla="*/ 313 w 48"/>
                <a:gd name="T9" fmla="*/ 543 h 59"/>
                <a:gd name="T10" fmla="*/ 114 w 48"/>
                <a:gd name="T11" fmla="*/ 465 h 59"/>
                <a:gd name="T12" fmla="*/ 0 w 48"/>
                <a:gd name="T13" fmla="*/ 311 h 59"/>
                <a:gd name="T14" fmla="*/ 0 w 48"/>
                <a:gd name="T15" fmla="*/ 235 h 59"/>
                <a:gd name="T16" fmla="*/ 242 w 48"/>
                <a:gd name="T17" fmla="*/ 78 h 59"/>
                <a:gd name="T18" fmla="*/ 368 w 48"/>
                <a:gd name="T19" fmla="*/ 0 h 5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8"/>
                <a:gd name="T31" fmla="*/ 0 h 59"/>
                <a:gd name="T32" fmla="*/ 48 w 48"/>
                <a:gd name="T33" fmla="*/ 59 h 5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8" h="59">
                  <a:moveTo>
                    <a:pt x="47" y="0"/>
                  </a:moveTo>
                  <a:lnTo>
                    <a:pt x="47" y="8"/>
                  </a:lnTo>
                  <a:lnTo>
                    <a:pt x="40" y="50"/>
                  </a:lnTo>
                  <a:lnTo>
                    <a:pt x="47" y="58"/>
                  </a:lnTo>
                  <a:lnTo>
                    <a:pt x="40" y="58"/>
                  </a:lnTo>
                  <a:lnTo>
                    <a:pt x="15" y="50"/>
                  </a:lnTo>
                  <a:lnTo>
                    <a:pt x="0" y="33"/>
                  </a:lnTo>
                  <a:lnTo>
                    <a:pt x="0" y="25"/>
                  </a:lnTo>
                  <a:lnTo>
                    <a:pt x="31" y="8"/>
                  </a:lnTo>
                  <a:lnTo>
                    <a:pt x="47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83" name="Freeform 100"/>
            <p:cNvSpPr>
              <a:spLocks/>
            </p:cNvSpPr>
            <p:nvPr/>
          </p:nvSpPr>
          <p:spPr bwMode="auto">
            <a:xfrm>
              <a:off x="1594" y="2572"/>
              <a:ext cx="54" cy="53"/>
            </a:xfrm>
            <a:custGeom>
              <a:avLst/>
              <a:gdLst>
                <a:gd name="T0" fmla="*/ 306 w 42"/>
                <a:gd name="T1" fmla="*/ 313 h 41"/>
                <a:gd name="T2" fmla="*/ 306 w 42"/>
                <a:gd name="T3" fmla="*/ 187 h 41"/>
                <a:gd name="T4" fmla="*/ 238 w 42"/>
                <a:gd name="T5" fmla="*/ 115 h 41"/>
                <a:gd name="T6" fmla="*/ 238 w 42"/>
                <a:gd name="T7" fmla="*/ 61 h 41"/>
                <a:gd name="T8" fmla="*/ 185 w 42"/>
                <a:gd name="T9" fmla="*/ 61 h 41"/>
                <a:gd name="T10" fmla="*/ 0 w 42"/>
                <a:gd name="T11" fmla="*/ 0 h 41"/>
                <a:gd name="T12" fmla="*/ 0 w 42"/>
                <a:gd name="T13" fmla="*/ 115 h 41"/>
                <a:gd name="T14" fmla="*/ 76 w 42"/>
                <a:gd name="T15" fmla="*/ 187 h 41"/>
                <a:gd name="T16" fmla="*/ 123 w 42"/>
                <a:gd name="T17" fmla="*/ 115 h 41"/>
                <a:gd name="T18" fmla="*/ 185 w 42"/>
                <a:gd name="T19" fmla="*/ 242 h 41"/>
                <a:gd name="T20" fmla="*/ 306 w 42"/>
                <a:gd name="T21" fmla="*/ 313 h 4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2"/>
                <a:gd name="T34" fmla="*/ 0 h 41"/>
                <a:gd name="T35" fmla="*/ 42 w 42"/>
                <a:gd name="T36" fmla="*/ 41 h 4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2" h="41">
                  <a:moveTo>
                    <a:pt x="41" y="40"/>
                  </a:moveTo>
                  <a:lnTo>
                    <a:pt x="41" y="24"/>
                  </a:lnTo>
                  <a:lnTo>
                    <a:pt x="32" y="15"/>
                  </a:lnTo>
                  <a:lnTo>
                    <a:pt x="32" y="8"/>
                  </a:lnTo>
                  <a:lnTo>
                    <a:pt x="25" y="8"/>
                  </a:lnTo>
                  <a:lnTo>
                    <a:pt x="0" y="0"/>
                  </a:lnTo>
                  <a:lnTo>
                    <a:pt x="0" y="15"/>
                  </a:lnTo>
                  <a:lnTo>
                    <a:pt x="10" y="24"/>
                  </a:lnTo>
                  <a:lnTo>
                    <a:pt x="16" y="15"/>
                  </a:lnTo>
                  <a:lnTo>
                    <a:pt x="25" y="31"/>
                  </a:lnTo>
                  <a:lnTo>
                    <a:pt x="41" y="4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84" name="Freeform 101"/>
            <p:cNvSpPr>
              <a:spLocks/>
            </p:cNvSpPr>
            <p:nvPr/>
          </p:nvSpPr>
          <p:spPr bwMode="auto">
            <a:xfrm>
              <a:off x="1647" y="2603"/>
              <a:ext cx="55" cy="42"/>
            </a:xfrm>
            <a:custGeom>
              <a:avLst/>
              <a:gdLst>
                <a:gd name="T0" fmla="*/ 0 w 42"/>
                <a:gd name="T1" fmla="*/ 144 h 32"/>
                <a:gd name="T2" fmla="*/ 210 w 42"/>
                <a:gd name="T3" fmla="*/ 219 h 32"/>
                <a:gd name="T4" fmla="*/ 210 w 42"/>
                <a:gd name="T5" fmla="*/ 276 h 32"/>
                <a:gd name="T6" fmla="*/ 276 w 42"/>
                <a:gd name="T7" fmla="*/ 219 h 32"/>
                <a:gd name="T8" fmla="*/ 210 w 42"/>
                <a:gd name="T9" fmla="*/ 144 h 32"/>
                <a:gd name="T10" fmla="*/ 360 w 42"/>
                <a:gd name="T11" fmla="*/ 64 h 32"/>
                <a:gd name="T12" fmla="*/ 276 w 42"/>
                <a:gd name="T13" fmla="*/ 0 h 32"/>
                <a:gd name="T14" fmla="*/ 143 w 42"/>
                <a:gd name="T15" fmla="*/ 64 h 32"/>
                <a:gd name="T16" fmla="*/ 83 w 42"/>
                <a:gd name="T17" fmla="*/ 64 h 32"/>
                <a:gd name="T18" fmla="*/ 0 w 42"/>
                <a:gd name="T19" fmla="*/ 0 h 32"/>
                <a:gd name="T20" fmla="*/ 0 w 42"/>
                <a:gd name="T21" fmla="*/ 144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2"/>
                <a:gd name="T34" fmla="*/ 0 h 32"/>
                <a:gd name="T35" fmla="*/ 42 w 42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2" h="32">
                  <a:moveTo>
                    <a:pt x="0" y="16"/>
                  </a:moveTo>
                  <a:lnTo>
                    <a:pt x="24" y="25"/>
                  </a:lnTo>
                  <a:lnTo>
                    <a:pt x="24" y="31"/>
                  </a:lnTo>
                  <a:lnTo>
                    <a:pt x="32" y="25"/>
                  </a:lnTo>
                  <a:lnTo>
                    <a:pt x="24" y="16"/>
                  </a:lnTo>
                  <a:lnTo>
                    <a:pt x="41" y="7"/>
                  </a:lnTo>
                  <a:lnTo>
                    <a:pt x="32" y="0"/>
                  </a:lnTo>
                  <a:lnTo>
                    <a:pt x="16" y="7"/>
                  </a:lnTo>
                  <a:lnTo>
                    <a:pt x="9" y="7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85" name="Freeform 102"/>
            <p:cNvSpPr>
              <a:spLocks/>
            </p:cNvSpPr>
            <p:nvPr/>
          </p:nvSpPr>
          <p:spPr bwMode="auto">
            <a:xfrm>
              <a:off x="1701" y="2603"/>
              <a:ext cx="41" cy="42"/>
            </a:xfrm>
            <a:custGeom>
              <a:avLst/>
              <a:gdLst>
                <a:gd name="T0" fmla="*/ 174 w 32"/>
                <a:gd name="T1" fmla="*/ 64 h 32"/>
                <a:gd name="T2" fmla="*/ 223 w 32"/>
                <a:gd name="T3" fmla="*/ 144 h 32"/>
                <a:gd name="T4" fmla="*/ 174 w 32"/>
                <a:gd name="T5" fmla="*/ 219 h 32"/>
                <a:gd name="T6" fmla="*/ 174 w 32"/>
                <a:gd name="T7" fmla="*/ 276 h 32"/>
                <a:gd name="T8" fmla="*/ 106 w 32"/>
                <a:gd name="T9" fmla="*/ 144 h 32"/>
                <a:gd name="T10" fmla="*/ 0 w 32"/>
                <a:gd name="T11" fmla="*/ 64 h 32"/>
                <a:gd name="T12" fmla="*/ 0 w 32"/>
                <a:gd name="T13" fmla="*/ 0 h 32"/>
                <a:gd name="T14" fmla="*/ 59 w 32"/>
                <a:gd name="T15" fmla="*/ 0 h 32"/>
                <a:gd name="T16" fmla="*/ 106 w 32"/>
                <a:gd name="T17" fmla="*/ 0 h 32"/>
                <a:gd name="T18" fmla="*/ 174 w 32"/>
                <a:gd name="T19" fmla="*/ 64 h 3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32"/>
                <a:gd name="T32" fmla="*/ 32 w 32"/>
                <a:gd name="T33" fmla="*/ 32 h 3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32">
                  <a:moveTo>
                    <a:pt x="24" y="7"/>
                  </a:moveTo>
                  <a:lnTo>
                    <a:pt x="31" y="16"/>
                  </a:lnTo>
                  <a:lnTo>
                    <a:pt x="24" y="25"/>
                  </a:lnTo>
                  <a:lnTo>
                    <a:pt x="24" y="31"/>
                  </a:lnTo>
                  <a:lnTo>
                    <a:pt x="15" y="16"/>
                  </a:lnTo>
                  <a:lnTo>
                    <a:pt x="0" y="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86" name="Freeform 103"/>
            <p:cNvSpPr>
              <a:spLocks/>
            </p:cNvSpPr>
            <p:nvPr/>
          </p:nvSpPr>
          <p:spPr bwMode="auto">
            <a:xfrm>
              <a:off x="1701" y="2603"/>
              <a:ext cx="41" cy="42"/>
            </a:xfrm>
            <a:custGeom>
              <a:avLst/>
              <a:gdLst>
                <a:gd name="T0" fmla="*/ 174 w 32"/>
                <a:gd name="T1" fmla="*/ 64 h 32"/>
                <a:gd name="T2" fmla="*/ 223 w 32"/>
                <a:gd name="T3" fmla="*/ 144 h 32"/>
                <a:gd name="T4" fmla="*/ 174 w 32"/>
                <a:gd name="T5" fmla="*/ 219 h 32"/>
                <a:gd name="T6" fmla="*/ 174 w 32"/>
                <a:gd name="T7" fmla="*/ 276 h 32"/>
                <a:gd name="T8" fmla="*/ 106 w 32"/>
                <a:gd name="T9" fmla="*/ 144 h 32"/>
                <a:gd name="T10" fmla="*/ 0 w 32"/>
                <a:gd name="T11" fmla="*/ 64 h 32"/>
                <a:gd name="T12" fmla="*/ 0 w 32"/>
                <a:gd name="T13" fmla="*/ 0 h 32"/>
                <a:gd name="T14" fmla="*/ 59 w 32"/>
                <a:gd name="T15" fmla="*/ 0 h 32"/>
                <a:gd name="T16" fmla="*/ 106 w 32"/>
                <a:gd name="T17" fmla="*/ 0 h 32"/>
                <a:gd name="T18" fmla="*/ 174 w 32"/>
                <a:gd name="T19" fmla="*/ 64 h 3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32"/>
                <a:gd name="T32" fmla="*/ 32 w 32"/>
                <a:gd name="T33" fmla="*/ 32 h 3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32">
                  <a:moveTo>
                    <a:pt x="24" y="7"/>
                  </a:moveTo>
                  <a:lnTo>
                    <a:pt x="31" y="16"/>
                  </a:lnTo>
                  <a:lnTo>
                    <a:pt x="24" y="25"/>
                  </a:lnTo>
                  <a:lnTo>
                    <a:pt x="24" y="31"/>
                  </a:lnTo>
                  <a:lnTo>
                    <a:pt x="15" y="16"/>
                  </a:lnTo>
                  <a:lnTo>
                    <a:pt x="0" y="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87" name="Freeform 104"/>
            <p:cNvSpPr>
              <a:spLocks/>
            </p:cNvSpPr>
            <p:nvPr/>
          </p:nvSpPr>
          <p:spPr bwMode="auto">
            <a:xfrm>
              <a:off x="1689" y="2603"/>
              <a:ext cx="22" cy="22"/>
            </a:xfrm>
            <a:custGeom>
              <a:avLst/>
              <a:gdLst>
                <a:gd name="T0" fmla="*/ 126 w 17"/>
                <a:gd name="T1" fmla="*/ 126 h 17"/>
                <a:gd name="T2" fmla="*/ 126 w 17"/>
                <a:gd name="T3" fmla="*/ 0 h 17"/>
                <a:gd name="T4" fmla="*/ 0 w 17"/>
                <a:gd name="T5" fmla="*/ 0 h 17"/>
                <a:gd name="T6" fmla="*/ 126 w 17"/>
                <a:gd name="T7" fmla="*/ 126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7"/>
                <a:gd name="T14" fmla="*/ 17 w 17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88" name="Freeform 105"/>
            <p:cNvSpPr>
              <a:spLocks/>
            </p:cNvSpPr>
            <p:nvPr/>
          </p:nvSpPr>
          <p:spPr bwMode="auto">
            <a:xfrm>
              <a:off x="1689" y="2603"/>
              <a:ext cx="22" cy="22"/>
            </a:xfrm>
            <a:custGeom>
              <a:avLst/>
              <a:gdLst>
                <a:gd name="T0" fmla="*/ 126 w 17"/>
                <a:gd name="T1" fmla="*/ 126 h 17"/>
                <a:gd name="T2" fmla="*/ 126 w 17"/>
                <a:gd name="T3" fmla="*/ 0 h 17"/>
                <a:gd name="T4" fmla="*/ 0 w 17"/>
                <a:gd name="T5" fmla="*/ 0 h 17"/>
                <a:gd name="T6" fmla="*/ 126 w 17"/>
                <a:gd name="T7" fmla="*/ 126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7"/>
                <a:gd name="T14" fmla="*/ 17 w 17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89" name="Freeform 106"/>
            <p:cNvSpPr>
              <a:spLocks/>
            </p:cNvSpPr>
            <p:nvPr/>
          </p:nvSpPr>
          <p:spPr bwMode="auto">
            <a:xfrm>
              <a:off x="1689" y="2603"/>
              <a:ext cx="22" cy="22"/>
            </a:xfrm>
            <a:custGeom>
              <a:avLst/>
              <a:gdLst>
                <a:gd name="T0" fmla="*/ 126 w 17"/>
                <a:gd name="T1" fmla="*/ 126 h 17"/>
                <a:gd name="T2" fmla="*/ 126 w 17"/>
                <a:gd name="T3" fmla="*/ 0 h 17"/>
                <a:gd name="T4" fmla="*/ 0 w 17"/>
                <a:gd name="T5" fmla="*/ 0 h 17"/>
                <a:gd name="T6" fmla="*/ 126 w 17"/>
                <a:gd name="T7" fmla="*/ 126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7"/>
                <a:gd name="T14" fmla="*/ 17 w 17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90" name="Freeform 107"/>
            <p:cNvSpPr>
              <a:spLocks/>
            </p:cNvSpPr>
            <p:nvPr/>
          </p:nvSpPr>
          <p:spPr bwMode="auto">
            <a:xfrm>
              <a:off x="1825" y="2424"/>
              <a:ext cx="66" cy="42"/>
            </a:xfrm>
            <a:custGeom>
              <a:avLst/>
              <a:gdLst>
                <a:gd name="T0" fmla="*/ 0 w 50"/>
                <a:gd name="T1" fmla="*/ 200 h 32"/>
                <a:gd name="T2" fmla="*/ 0 w 50"/>
                <a:gd name="T3" fmla="*/ 0 h 32"/>
                <a:gd name="T4" fmla="*/ 222 w 50"/>
                <a:gd name="T5" fmla="*/ 0 h 32"/>
                <a:gd name="T6" fmla="*/ 222 w 50"/>
                <a:gd name="T7" fmla="*/ 55 h 32"/>
                <a:gd name="T8" fmla="*/ 314 w 50"/>
                <a:gd name="T9" fmla="*/ 55 h 32"/>
                <a:gd name="T10" fmla="*/ 455 w 50"/>
                <a:gd name="T11" fmla="*/ 144 h 32"/>
                <a:gd name="T12" fmla="*/ 376 w 50"/>
                <a:gd name="T13" fmla="*/ 200 h 32"/>
                <a:gd name="T14" fmla="*/ 376 w 50"/>
                <a:gd name="T15" fmla="*/ 144 h 32"/>
                <a:gd name="T16" fmla="*/ 168 w 50"/>
                <a:gd name="T17" fmla="*/ 200 h 32"/>
                <a:gd name="T18" fmla="*/ 168 w 50"/>
                <a:gd name="T19" fmla="*/ 144 h 32"/>
                <a:gd name="T20" fmla="*/ 86 w 50"/>
                <a:gd name="T21" fmla="*/ 200 h 32"/>
                <a:gd name="T22" fmla="*/ 86 w 50"/>
                <a:gd name="T23" fmla="*/ 276 h 32"/>
                <a:gd name="T24" fmla="*/ 0 w 50"/>
                <a:gd name="T25" fmla="*/ 20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0"/>
                <a:gd name="T40" fmla="*/ 0 h 32"/>
                <a:gd name="T41" fmla="*/ 50 w 50"/>
                <a:gd name="T42" fmla="*/ 32 h 3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0" h="32">
                  <a:moveTo>
                    <a:pt x="0" y="23"/>
                  </a:moveTo>
                  <a:lnTo>
                    <a:pt x="0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34" y="6"/>
                  </a:lnTo>
                  <a:lnTo>
                    <a:pt x="49" y="16"/>
                  </a:lnTo>
                  <a:lnTo>
                    <a:pt x="41" y="23"/>
                  </a:lnTo>
                  <a:lnTo>
                    <a:pt x="41" y="16"/>
                  </a:lnTo>
                  <a:lnTo>
                    <a:pt x="18" y="23"/>
                  </a:lnTo>
                  <a:lnTo>
                    <a:pt x="18" y="16"/>
                  </a:lnTo>
                  <a:lnTo>
                    <a:pt x="9" y="23"/>
                  </a:lnTo>
                  <a:lnTo>
                    <a:pt x="9" y="31"/>
                  </a:lnTo>
                  <a:lnTo>
                    <a:pt x="0" y="23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91" name="Freeform 108"/>
            <p:cNvSpPr>
              <a:spLocks/>
            </p:cNvSpPr>
            <p:nvPr/>
          </p:nvSpPr>
          <p:spPr bwMode="auto">
            <a:xfrm>
              <a:off x="1785" y="2424"/>
              <a:ext cx="43" cy="31"/>
            </a:xfrm>
            <a:custGeom>
              <a:avLst/>
              <a:gdLst>
                <a:gd name="T0" fmla="*/ 331 w 32"/>
                <a:gd name="T1" fmla="*/ 182 h 24"/>
                <a:gd name="T2" fmla="*/ 331 w 32"/>
                <a:gd name="T3" fmla="*/ 0 h 24"/>
                <a:gd name="T4" fmla="*/ 157 w 32"/>
                <a:gd name="T5" fmla="*/ 0 h 24"/>
                <a:gd name="T6" fmla="*/ 254 w 32"/>
                <a:gd name="T7" fmla="*/ 125 h 24"/>
                <a:gd name="T8" fmla="*/ 0 w 32"/>
                <a:gd name="T9" fmla="*/ 182 h 24"/>
                <a:gd name="T10" fmla="*/ 65 w 32"/>
                <a:gd name="T11" fmla="*/ 182 h 24"/>
                <a:gd name="T12" fmla="*/ 331 w 32"/>
                <a:gd name="T13" fmla="*/ 182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2"/>
                <a:gd name="T22" fmla="*/ 0 h 24"/>
                <a:gd name="T23" fmla="*/ 32 w 32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2" h="24">
                  <a:moveTo>
                    <a:pt x="31" y="23"/>
                  </a:moveTo>
                  <a:lnTo>
                    <a:pt x="31" y="0"/>
                  </a:lnTo>
                  <a:lnTo>
                    <a:pt x="15" y="0"/>
                  </a:lnTo>
                  <a:lnTo>
                    <a:pt x="24" y="16"/>
                  </a:lnTo>
                  <a:lnTo>
                    <a:pt x="0" y="23"/>
                  </a:lnTo>
                  <a:lnTo>
                    <a:pt x="6" y="23"/>
                  </a:lnTo>
                  <a:lnTo>
                    <a:pt x="31" y="23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92" name="Freeform 109"/>
            <p:cNvSpPr>
              <a:spLocks/>
            </p:cNvSpPr>
            <p:nvPr/>
          </p:nvSpPr>
          <p:spPr bwMode="auto">
            <a:xfrm>
              <a:off x="1711" y="2549"/>
              <a:ext cx="192" cy="277"/>
            </a:xfrm>
            <a:custGeom>
              <a:avLst/>
              <a:gdLst>
                <a:gd name="T0" fmla="*/ 946 w 147"/>
                <a:gd name="T1" fmla="*/ 1798 h 212"/>
                <a:gd name="T2" fmla="*/ 1034 w 147"/>
                <a:gd name="T3" fmla="*/ 1513 h 212"/>
                <a:gd name="T4" fmla="*/ 946 w 147"/>
                <a:gd name="T5" fmla="*/ 1309 h 212"/>
                <a:gd name="T6" fmla="*/ 1034 w 147"/>
                <a:gd name="T7" fmla="*/ 1309 h 212"/>
                <a:gd name="T8" fmla="*/ 946 w 147"/>
                <a:gd name="T9" fmla="*/ 1245 h 212"/>
                <a:gd name="T10" fmla="*/ 946 w 147"/>
                <a:gd name="T11" fmla="*/ 1165 h 212"/>
                <a:gd name="T12" fmla="*/ 1236 w 147"/>
                <a:gd name="T13" fmla="*/ 1165 h 212"/>
                <a:gd name="T14" fmla="*/ 1236 w 147"/>
                <a:gd name="T15" fmla="*/ 1035 h 212"/>
                <a:gd name="T16" fmla="*/ 1164 w 147"/>
                <a:gd name="T17" fmla="*/ 905 h 212"/>
                <a:gd name="T18" fmla="*/ 1236 w 147"/>
                <a:gd name="T19" fmla="*/ 693 h 212"/>
                <a:gd name="T20" fmla="*/ 1034 w 147"/>
                <a:gd name="T21" fmla="*/ 693 h 212"/>
                <a:gd name="T22" fmla="*/ 946 w 147"/>
                <a:gd name="T23" fmla="*/ 611 h 212"/>
                <a:gd name="T24" fmla="*/ 743 w 147"/>
                <a:gd name="T25" fmla="*/ 611 h 212"/>
                <a:gd name="T26" fmla="*/ 684 w 147"/>
                <a:gd name="T27" fmla="*/ 558 h 212"/>
                <a:gd name="T28" fmla="*/ 684 w 147"/>
                <a:gd name="T29" fmla="*/ 485 h 212"/>
                <a:gd name="T30" fmla="*/ 611 w 147"/>
                <a:gd name="T31" fmla="*/ 355 h 212"/>
                <a:gd name="T32" fmla="*/ 684 w 147"/>
                <a:gd name="T33" fmla="*/ 212 h 212"/>
                <a:gd name="T34" fmla="*/ 743 w 147"/>
                <a:gd name="T35" fmla="*/ 145 h 212"/>
                <a:gd name="T36" fmla="*/ 824 w 147"/>
                <a:gd name="T37" fmla="*/ 60 h 212"/>
                <a:gd name="T38" fmla="*/ 743 w 147"/>
                <a:gd name="T39" fmla="*/ 0 h 212"/>
                <a:gd name="T40" fmla="*/ 611 w 147"/>
                <a:gd name="T41" fmla="*/ 145 h 212"/>
                <a:gd name="T42" fmla="*/ 408 w 147"/>
                <a:gd name="T43" fmla="*/ 212 h 212"/>
                <a:gd name="T44" fmla="*/ 340 w 147"/>
                <a:gd name="T45" fmla="*/ 355 h 212"/>
                <a:gd name="T46" fmla="*/ 196 w 147"/>
                <a:gd name="T47" fmla="*/ 408 h 212"/>
                <a:gd name="T48" fmla="*/ 196 w 147"/>
                <a:gd name="T49" fmla="*/ 558 h 212"/>
                <a:gd name="T50" fmla="*/ 133 w 147"/>
                <a:gd name="T51" fmla="*/ 408 h 212"/>
                <a:gd name="T52" fmla="*/ 196 w 147"/>
                <a:gd name="T53" fmla="*/ 485 h 212"/>
                <a:gd name="T54" fmla="*/ 133 w 147"/>
                <a:gd name="T55" fmla="*/ 558 h 212"/>
                <a:gd name="T56" fmla="*/ 133 w 147"/>
                <a:gd name="T57" fmla="*/ 611 h 212"/>
                <a:gd name="T58" fmla="*/ 133 w 147"/>
                <a:gd name="T59" fmla="*/ 693 h 212"/>
                <a:gd name="T60" fmla="*/ 133 w 147"/>
                <a:gd name="T61" fmla="*/ 959 h 212"/>
                <a:gd name="T62" fmla="*/ 196 w 147"/>
                <a:gd name="T63" fmla="*/ 959 h 212"/>
                <a:gd name="T64" fmla="*/ 133 w 147"/>
                <a:gd name="T65" fmla="*/ 1108 h 212"/>
                <a:gd name="T66" fmla="*/ 60 w 147"/>
                <a:gd name="T67" fmla="*/ 1108 h 212"/>
                <a:gd name="T68" fmla="*/ 60 w 147"/>
                <a:gd name="T69" fmla="*/ 1165 h 212"/>
                <a:gd name="T70" fmla="*/ 0 w 147"/>
                <a:gd name="T71" fmla="*/ 1165 h 212"/>
                <a:gd name="T72" fmla="*/ 0 w 147"/>
                <a:gd name="T73" fmla="*/ 1245 h 212"/>
                <a:gd name="T74" fmla="*/ 196 w 147"/>
                <a:gd name="T75" fmla="*/ 1377 h 212"/>
                <a:gd name="T76" fmla="*/ 340 w 147"/>
                <a:gd name="T77" fmla="*/ 1309 h 212"/>
                <a:gd name="T78" fmla="*/ 408 w 147"/>
                <a:gd name="T79" fmla="*/ 1377 h 212"/>
                <a:gd name="T80" fmla="*/ 533 w 147"/>
                <a:gd name="T81" fmla="*/ 1513 h 212"/>
                <a:gd name="T82" fmla="*/ 611 w 147"/>
                <a:gd name="T83" fmla="*/ 1644 h 212"/>
                <a:gd name="T84" fmla="*/ 893 w 147"/>
                <a:gd name="T85" fmla="*/ 1588 h 212"/>
                <a:gd name="T86" fmla="*/ 946 w 147"/>
                <a:gd name="T87" fmla="*/ 1644 h 212"/>
                <a:gd name="T88" fmla="*/ 946 w 147"/>
                <a:gd name="T89" fmla="*/ 1722 h 212"/>
                <a:gd name="T90" fmla="*/ 893 w 147"/>
                <a:gd name="T91" fmla="*/ 1722 h 212"/>
                <a:gd name="T92" fmla="*/ 946 w 147"/>
                <a:gd name="T93" fmla="*/ 1798 h 21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47"/>
                <a:gd name="T142" fmla="*/ 0 h 212"/>
                <a:gd name="T143" fmla="*/ 147 w 147"/>
                <a:gd name="T144" fmla="*/ 212 h 21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47" h="212">
                  <a:moveTo>
                    <a:pt x="112" y="211"/>
                  </a:moveTo>
                  <a:lnTo>
                    <a:pt x="122" y="178"/>
                  </a:lnTo>
                  <a:lnTo>
                    <a:pt x="112" y="154"/>
                  </a:lnTo>
                  <a:lnTo>
                    <a:pt x="122" y="154"/>
                  </a:lnTo>
                  <a:lnTo>
                    <a:pt x="112" y="146"/>
                  </a:lnTo>
                  <a:lnTo>
                    <a:pt x="112" y="137"/>
                  </a:lnTo>
                  <a:lnTo>
                    <a:pt x="146" y="137"/>
                  </a:lnTo>
                  <a:lnTo>
                    <a:pt x="146" y="122"/>
                  </a:lnTo>
                  <a:lnTo>
                    <a:pt x="137" y="106"/>
                  </a:lnTo>
                  <a:lnTo>
                    <a:pt x="146" y="81"/>
                  </a:lnTo>
                  <a:lnTo>
                    <a:pt x="122" y="81"/>
                  </a:lnTo>
                  <a:lnTo>
                    <a:pt x="112" y="72"/>
                  </a:lnTo>
                  <a:lnTo>
                    <a:pt x="88" y="72"/>
                  </a:lnTo>
                  <a:lnTo>
                    <a:pt x="81" y="66"/>
                  </a:lnTo>
                  <a:lnTo>
                    <a:pt x="81" y="57"/>
                  </a:lnTo>
                  <a:lnTo>
                    <a:pt x="72" y="41"/>
                  </a:lnTo>
                  <a:lnTo>
                    <a:pt x="81" y="25"/>
                  </a:lnTo>
                  <a:lnTo>
                    <a:pt x="88" y="17"/>
                  </a:lnTo>
                  <a:lnTo>
                    <a:pt x="97" y="7"/>
                  </a:lnTo>
                  <a:lnTo>
                    <a:pt x="88" y="0"/>
                  </a:lnTo>
                  <a:lnTo>
                    <a:pt x="72" y="17"/>
                  </a:lnTo>
                  <a:lnTo>
                    <a:pt x="48" y="25"/>
                  </a:lnTo>
                  <a:lnTo>
                    <a:pt x="40" y="41"/>
                  </a:lnTo>
                  <a:lnTo>
                    <a:pt x="23" y="48"/>
                  </a:lnTo>
                  <a:lnTo>
                    <a:pt x="23" y="66"/>
                  </a:lnTo>
                  <a:lnTo>
                    <a:pt x="16" y="48"/>
                  </a:lnTo>
                  <a:lnTo>
                    <a:pt x="23" y="57"/>
                  </a:lnTo>
                  <a:lnTo>
                    <a:pt x="16" y="66"/>
                  </a:lnTo>
                  <a:lnTo>
                    <a:pt x="16" y="72"/>
                  </a:lnTo>
                  <a:lnTo>
                    <a:pt x="16" y="81"/>
                  </a:lnTo>
                  <a:lnTo>
                    <a:pt x="16" y="113"/>
                  </a:lnTo>
                  <a:lnTo>
                    <a:pt x="23" y="113"/>
                  </a:lnTo>
                  <a:lnTo>
                    <a:pt x="16" y="131"/>
                  </a:lnTo>
                  <a:lnTo>
                    <a:pt x="7" y="131"/>
                  </a:lnTo>
                  <a:lnTo>
                    <a:pt x="7" y="137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23" y="162"/>
                  </a:lnTo>
                  <a:lnTo>
                    <a:pt x="40" y="154"/>
                  </a:lnTo>
                  <a:lnTo>
                    <a:pt x="48" y="162"/>
                  </a:lnTo>
                  <a:lnTo>
                    <a:pt x="63" y="178"/>
                  </a:lnTo>
                  <a:lnTo>
                    <a:pt x="72" y="194"/>
                  </a:lnTo>
                  <a:lnTo>
                    <a:pt x="106" y="187"/>
                  </a:lnTo>
                  <a:lnTo>
                    <a:pt x="112" y="194"/>
                  </a:lnTo>
                  <a:lnTo>
                    <a:pt x="112" y="203"/>
                  </a:lnTo>
                  <a:lnTo>
                    <a:pt x="106" y="203"/>
                  </a:lnTo>
                  <a:lnTo>
                    <a:pt x="112" y="211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93" name="Freeform 110"/>
            <p:cNvSpPr>
              <a:spLocks/>
            </p:cNvSpPr>
            <p:nvPr/>
          </p:nvSpPr>
          <p:spPr bwMode="auto">
            <a:xfrm>
              <a:off x="1678" y="2740"/>
              <a:ext cx="97" cy="107"/>
            </a:xfrm>
            <a:custGeom>
              <a:avLst/>
              <a:gdLst>
                <a:gd name="T0" fmla="*/ 637 w 74"/>
                <a:gd name="T1" fmla="*/ 133 h 82"/>
                <a:gd name="T2" fmla="*/ 564 w 74"/>
                <a:gd name="T3" fmla="*/ 65 h 82"/>
                <a:gd name="T4" fmla="*/ 421 w 74"/>
                <a:gd name="T5" fmla="*/ 133 h 82"/>
                <a:gd name="T6" fmla="*/ 216 w 74"/>
                <a:gd name="T7" fmla="*/ 0 h 82"/>
                <a:gd name="T8" fmla="*/ 66 w 74"/>
                <a:gd name="T9" fmla="*/ 65 h 82"/>
                <a:gd name="T10" fmla="*/ 66 w 74"/>
                <a:gd name="T11" fmla="*/ 133 h 82"/>
                <a:gd name="T12" fmla="*/ 0 w 74"/>
                <a:gd name="T13" fmla="*/ 211 h 82"/>
                <a:gd name="T14" fmla="*/ 0 w 74"/>
                <a:gd name="T15" fmla="*/ 344 h 82"/>
                <a:gd name="T16" fmla="*/ 66 w 74"/>
                <a:gd name="T17" fmla="*/ 482 h 82"/>
                <a:gd name="T18" fmla="*/ 66 w 74"/>
                <a:gd name="T19" fmla="*/ 407 h 82"/>
                <a:gd name="T20" fmla="*/ 149 w 74"/>
                <a:gd name="T21" fmla="*/ 407 h 82"/>
                <a:gd name="T22" fmla="*/ 66 w 74"/>
                <a:gd name="T23" fmla="*/ 482 h 82"/>
                <a:gd name="T24" fmla="*/ 0 w 74"/>
                <a:gd name="T25" fmla="*/ 611 h 82"/>
                <a:gd name="T26" fmla="*/ 149 w 74"/>
                <a:gd name="T27" fmla="*/ 682 h 82"/>
                <a:gd name="T28" fmla="*/ 360 w 74"/>
                <a:gd name="T29" fmla="*/ 482 h 82"/>
                <a:gd name="T30" fmla="*/ 495 w 74"/>
                <a:gd name="T31" fmla="*/ 407 h 82"/>
                <a:gd name="T32" fmla="*/ 564 w 74"/>
                <a:gd name="T33" fmla="*/ 344 h 82"/>
                <a:gd name="T34" fmla="*/ 637 w 74"/>
                <a:gd name="T35" fmla="*/ 211 h 82"/>
                <a:gd name="T36" fmla="*/ 564 w 74"/>
                <a:gd name="T37" fmla="*/ 133 h 82"/>
                <a:gd name="T38" fmla="*/ 637 w 74"/>
                <a:gd name="T39" fmla="*/ 133 h 8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4"/>
                <a:gd name="T61" fmla="*/ 0 h 82"/>
                <a:gd name="T62" fmla="*/ 74 w 74"/>
                <a:gd name="T63" fmla="*/ 82 h 8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4" h="82">
                  <a:moveTo>
                    <a:pt x="73" y="16"/>
                  </a:moveTo>
                  <a:lnTo>
                    <a:pt x="65" y="8"/>
                  </a:lnTo>
                  <a:lnTo>
                    <a:pt x="48" y="16"/>
                  </a:lnTo>
                  <a:lnTo>
                    <a:pt x="25" y="0"/>
                  </a:lnTo>
                  <a:lnTo>
                    <a:pt x="8" y="8"/>
                  </a:lnTo>
                  <a:lnTo>
                    <a:pt x="8" y="16"/>
                  </a:lnTo>
                  <a:lnTo>
                    <a:pt x="0" y="25"/>
                  </a:lnTo>
                  <a:lnTo>
                    <a:pt x="0" y="41"/>
                  </a:lnTo>
                  <a:lnTo>
                    <a:pt x="8" y="57"/>
                  </a:lnTo>
                  <a:lnTo>
                    <a:pt x="8" y="48"/>
                  </a:lnTo>
                  <a:lnTo>
                    <a:pt x="17" y="48"/>
                  </a:lnTo>
                  <a:lnTo>
                    <a:pt x="8" y="57"/>
                  </a:lnTo>
                  <a:lnTo>
                    <a:pt x="0" y="73"/>
                  </a:lnTo>
                  <a:lnTo>
                    <a:pt x="17" y="81"/>
                  </a:lnTo>
                  <a:lnTo>
                    <a:pt x="41" y="57"/>
                  </a:lnTo>
                  <a:lnTo>
                    <a:pt x="57" y="48"/>
                  </a:lnTo>
                  <a:lnTo>
                    <a:pt x="65" y="41"/>
                  </a:lnTo>
                  <a:lnTo>
                    <a:pt x="73" y="25"/>
                  </a:lnTo>
                  <a:lnTo>
                    <a:pt x="65" y="16"/>
                  </a:lnTo>
                  <a:lnTo>
                    <a:pt x="73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94" name="Freeform 111"/>
            <p:cNvSpPr>
              <a:spLocks/>
            </p:cNvSpPr>
            <p:nvPr/>
          </p:nvSpPr>
          <p:spPr bwMode="auto">
            <a:xfrm>
              <a:off x="1668" y="2761"/>
              <a:ext cx="213" cy="307"/>
            </a:xfrm>
            <a:custGeom>
              <a:avLst/>
              <a:gdLst>
                <a:gd name="T0" fmla="*/ 1319 w 163"/>
                <a:gd name="T1" fmla="*/ 1165 h 235"/>
                <a:gd name="T2" fmla="*/ 1185 w 163"/>
                <a:gd name="T3" fmla="*/ 1165 h 235"/>
                <a:gd name="T4" fmla="*/ 1185 w 163"/>
                <a:gd name="T5" fmla="*/ 1035 h 235"/>
                <a:gd name="T6" fmla="*/ 1026 w 163"/>
                <a:gd name="T7" fmla="*/ 1107 h 235"/>
                <a:gd name="T8" fmla="*/ 893 w 163"/>
                <a:gd name="T9" fmla="*/ 1035 h 235"/>
                <a:gd name="T10" fmla="*/ 809 w 163"/>
                <a:gd name="T11" fmla="*/ 824 h 235"/>
                <a:gd name="T12" fmla="*/ 970 w 163"/>
                <a:gd name="T13" fmla="*/ 551 h 235"/>
                <a:gd name="T14" fmla="*/ 1230 w 163"/>
                <a:gd name="T15" fmla="*/ 419 h 235"/>
                <a:gd name="T16" fmla="*/ 1185 w 163"/>
                <a:gd name="T17" fmla="*/ 351 h 235"/>
                <a:gd name="T18" fmla="*/ 1230 w 163"/>
                <a:gd name="T19" fmla="*/ 351 h 235"/>
                <a:gd name="T20" fmla="*/ 1230 w 163"/>
                <a:gd name="T21" fmla="*/ 274 h 235"/>
                <a:gd name="T22" fmla="*/ 1185 w 163"/>
                <a:gd name="T23" fmla="*/ 212 h 235"/>
                <a:gd name="T24" fmla="*/ 893 w 163"/>
                <a:gd name="T25" fmla="*/ 274 h 235"/>
                <a:gd name="T26" fmla="*/ 809 w 163"/>
                <a:gd name="T27" fmla="*/ 133 h 235"/>
                <a:gd name="T28" fmla="*/ 694 w 163"/>
                <a:gd name="T29" fmla="*/ 0 h 235"/>
                <a:gd name="T30" fmla="*/ 618 w 163"/>
                <a:gd name="T31" fmla="*/ 0 h 235"/>
                <a:gd name="T32" fmla="*/ 694 w 163"/>
                <a:gd name="T33" fmla="*/ 78 h 235"/>
                <a:gd name="T34" fmla="*/ 618 w 163"/>
                <a:gd name="T35" fmla="*/ 212 h 235"/>
                <a:gd name="T36" fmla="*/ 551 w 163"/>
                <a:gd name="T37" fmla="*/ 274 h 235"/>
                <a:gd name="T38" fmla="*/ 419 w 163"/>
                <a:gd name="T39" fmla="*/ 351 h 235"/>
                <a:gd name="T40" fmla="*/ 212 w 163"/>
                <a:gd name="T41" fmla="*/ 551 h 235"/>
                <a:gd name="T42" fmla="*/ 65 w 163"/>
                <a:gd name="T43" fmla="*/ 483 h 235"/>
                <a:gd name="T44" fmla="*/ 133 w 163"/>
                <a:gd name="T45" fmla="*/ 351 h 235"/>
                <a:gd name="T46" fmla="*/ 0 w 163"/>
                <a:gd name="T47" fmla="*/ 483 h 235"/>
                <a:gd name="T48" fmla="*/ 65 w 163"/>
                <a:gd name="T49" fmla="*/ 611 h 235"/>
                <a:gd name="T50" fmla="*/ 0 w 163"/>
                <a:gd name="T51" fmla="*/ 611 h 235"/>
                <a:gd name="T52" fmla="*/ 133 w 163"/>
                <a:gd name="T53" fmla="*/ 758 h 235"/>
                <a:gd name="T54" fmla="*/ 277 w 163"/>
                <a:gd name="T55" fmla="*/ 895 h 235"/>
                <a:gd name="T56" fmla="*/ 618 w 163"/>
                <a:gd name="T57" fmla="*/ 1577 h 235"/>
                <a:gd name="T58" fmla="*/ 1185 w 163"/>
                <a:gd name="T59" fmla="*/ 1988 h 235"/>
                <a:gd name="T60" fmla="*/ 1319 w 163"/>
                <a:gd name="T61" fmla="*/ 1928 h 235"/>
                <a:gd name="T62" fmla="*/ 1380 w 163"/>
                <a:gd name="T63" fmla="*/ 1798 h 235"/>
                <a:gd name="T64" fmla="*/ 1319 w 163"/>
                <a:gd name="T65" fmla="*/ 1719 h 235"/>
                <a:gd name="T66" fmla="*/ 1380 w 163"/>
                <a:gd name="T67" fmla="*/ 1309 h 235"/>
                <a:gd name="T68" fmla="*/ 1319 w 163"/>
                <a:gd name="T69" fmla="*/ 1165 h 23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63"/>
                <a:gd name="T106" fmla="*/ 0 h 235"/>
                <a:gd name="T107" fmla="*/ 163 w 163"/>
                <a:gd name="T108" fmla="*/ 235 h 23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63" h="235">
                  <a:moveTo>
                    <a:pt x="155" y="137"/>
                  </a:moveTo>
                  <a:lnTo>
                    <a:pt x="139" y="137"/>
                  </a:lnTo>
                  <a:lnTo>
                    <a:pt x="139" y="122"/>
                  </a:lnTo>
                  <a:lnTo>
                    <a:pt x="121" y="131"/>
                  </a:lnTo>
                  <a:lnTo>
                    <a:pt x="105" y="122"/>
                  </a:lnTo>
                  <a:lnTo>
                    <a:pt x="96" y="97"/>
                  </a:lnTo>
                  <a:lnTo>
                    <a:pt x="114" y="65"/>
                  </a:lnTo>
                  <a:lnTo>
                    <a:pt x="145" y="49"/>
                  </a:lnTo>
                  <a:lnTo>
                    <a:pt x="139" y="41"/>
                  </a:lnTo>
                  <a:lnTo>
                    <a:pt x="145" y="41"/>
                  </a:lnTo>
                  <a:lnTo>
                    <a:pt x="145" y="32"/>
                  </a:lnTo>
                  <a:lnTo>
                    <a:pt x="139" y="25"/>
                  </a:lnTo>
                  <a:lnTo>
                    <a:pt x="105" y="32"/>
                  </a:lnTo>
                  <a:lnTo>
                    <a:pt x="96" y="16"/>
                  </a:lnTo>
                  <a:lnTo>
                    <a:pt x="81" y="0"/>
                  </a:lnTo>
                  <a:lnTo>
                    <a:pt x="73" y="0"/>
                  </a:lnTo>
                  <a:lnTo>
                    <a:pt x="81" y="9"/>
                  </a:lnTo>
                  <a:lnTo>
                    <a:pt x="73" y="25"/>
                  </a:lnTo>
                  <a:lnTo>
                    <a:pt x="65" y="32"/>
                  </a:lnTo>
                  <a:lnTo>
                    <a:pt x="49" y="41"/>
                  </a:lnTo>
                  <a:lnTo>
                    <a:pt x="25" y="65"/>
                  </a:lnTo>
                  <a:lnTo>
                    <a:pt x="8" y="57"/>
                  </a:lnTo>
                  <a:lnTo>
                    <a:pt x="16" y="41"/>
                  </a:lnTo>
                  <a:lnTo>
                    <a:pt x="0" y="57"/>
                  </a:lnTo>
                  <a:lnTo>
                    <a:pt x="8" y="72"/>
                  </a:lnTo>
                  <a:lnTo>
                    <a:pt x="0" y="72"/>
                  </a:lnTo>
                  <a:lnTo>
                    <a:pt x="16" y="89"/>
                  </a:lnTo>
                  <a:lnTo>
                    <a:pt x="33" y="106"/>
                  </a:lnTo>
                  <a:lnTo>
                    <a:pt x="73" y="186"/>
                  </a:lnTo>
                  <a:lnTo>
                    <a:pt x="139" y="234"/>
                  </a:lnTo>
                  <a:lnTo>
                    <a:pt x="155" y="227"/>
                  </a:lnTo>
                  <a:lnTo>
                    <a:pt x="162" y="211"/>
                  </a:lnTo>
                  <a:lnTo>
                    <a:pt x="155" y="203"/>
                  </a:lnTo>
                  <a:lnTo>
                    <a:pt x="162" y="154"/>
                  </a:lnTo>
                  <a:lnTo>
                    <a:pt x="155" y="13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95" name="Freeform 112"/>
            <p:cNvSpPr>
              <a:spLocks/>
            </p:cNvSpPr>
            <p:nvPr/>
          </p:nvSpPr>
          <p:spPr bwMode="auto">
            <a:xfrm>
              <a:off x="1870" y="2920"/>
              <a:ext cx="192" cy="233"/>
            </a:xfrm>
            <a:custGeom>
              <a:avLst/>
              <a:gdLst>
                <a:gd name="T0" fmla="*/ 1236 w 147"/>
                <a:gd name="T1" fmla="*/ 1177 h 178"/>
                <a:gd name="T2" fmla="*/ 1236 w 147"/>
                <a:gd name="T3" fmla="*/ 966 h 178"/>
                <a:gd name="T4" fmla="*/ 1164 w 147"/>
                <a:gd name="T5" fmla="*/ 830 h 178"/>
                <a:gd name="T6" fmla="*/ 1164 w 147"/>
                <a:gd name="T7" fmla="*/ 770 h 178"/>
                <a:gd name="T8" fmla="*/ 1020 w 147"/>
                <a:gd name="T9" fmla="*/ 770 h 178"/>
                <a:gd name="T10" fmla="*/ 946 w 147"/>
                <a:gd name="T11" fmla="*/ 619 h 178"/>
                <a:gd name="T12" fmla="*/ 946 w 147"/>
                <a:gd name="T13" fmla="*/ 551 h 178"/>
                <a:gd name="T14" fmla="*/ 891 w 147"/>
                <a:gd name="T15" fmla="*/ 421 h 178"/>
                <a:gd name="T16" fmla="*/ 473 w 147"/>
                <a:gd name="T17" fmla="*/ 276 h 178"/>
                <a:gd name="T18" fmla="*/ 419 w 147"/>
                <a:gd name="T19" fmla="*/ 209 h 178"/>
                <a:gd name="T20" fmla="*/ 419 w 147"/>
                <a:gd name="T21" fmla="*/ 0 h 178"/>
                <a:gd name="T22" fmla="*/ 274 w 147"/>
                <a:gd name="T23" fmla="*/ 0 h 178"/>
                <a:gd name="T24" fmla="*/ 127 w 147"/>
                <a:gd name="T25" fmla="*/ 132 h 178"/>
                <a:gd name="T26" fmla="*/ 0 w 147"/>
                <a:gd name="T27" fmla="*/ 132 h 178"/>
                <a:gd name="T28" fmla="*/ 60 w 147"/>
                <a:gd name="T29" fmla="*/ 276 h 178"/>
                <a:gd name="T30" fmla="*/ 0 w 147"/>
                <a:gd name="T31" fmla="*/ 699 h 178"/>
                <a:gd name="T32" fmla="*/ 60 w 147"/>
                <a:gd name="T33" fmla="*/ 770 h 178"/>
                <a:gd name="T34" fmla="*/ 0 w 147"/>
                <a:gd name="T35" fmla="*/ 899 h 178"/>
                <a:gd name="T36" fmla="*/ 60 w 147"/>
                <a:gd name="T37" fmla="*/ 1110 h 178"/>
                <a:gd name="T38" fmla="*/ 60 w 147"/>
                <a:gd name="T39" fmla="*/ 1177 h 178"/>
                <a:gd name="T40" fmla="*/ 127 w 147"/>
                <a:gd name="T41" fmla="*/ 1530 h 178"/>
                <a:gd name="T42" fmla="*/ 199 w 147"/>
                <a:gd name="T43" fmla="*/ 1530 h 178"/>
                <a:gd name="T44" fmla="*/ 340 w 147"/>
                <a:gd name="T45" fmla="*/ 1388 h 178"/>
                <a:gd name="T46" fmla="*/ 551 w 147"/>
                <a:gd name="T47" fmla="*/ 1475 h 178"/>
                <a:gd name="T48" fmla="*/ 611 w 147"/>
                <a:gd name="T49" fmla="*/ 1388 h 178"/>
                <a:gd name="T50" fmla="*/ 758 w 147"/>
                <a:gd name="T51" fmla="*/ 1475 h 178"/>
                <a:gd name="T52" fmla="*/ 824 w 147"/>
                <a:gd name="T53" fmla="*/ 1110 h 178"/>
                <a:gd name="T54" fmla="*/ 1087 w 147"/>
                <a:gd name="T55" fmla="*/ 1110 h 178"/>
                <a:gd name="T56" fmla="*/ 1236 w 147"/>
                <a:gd name="T57" fmla="*/ 1177 h 17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47"/>
                <a:gd name="T88" fmla="*/ 0 h 178"/>
                <a:gd name="T89" fmla="*/ 147 w 147"/>
                <a:gd name="T90" fmla="*/ 178 h 17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47" h="178">
                  <a:moveTo>
                    <a:pt x="146" y="137"/>
                  </a:moveTo>
                  <a:lnTo>
                    <a:pt x="146" y="112"/>
                  </a:lnTo>
                  <a:lnTo>
                    <a:pt x="137" y="96"/>
                  </a:lnTo>
                  <a:lnTo>
                    <a:pt x="137" y="89"/>
                  </a:lnTo>
                  <a:lnTo>
                    <a:pt x="121" y="89"/>
                  </a:lnTo>
                  <a:lnTo>
                    <a:pt x="112" y="72"/>
                  </a:lnTo>
                  <a:lnTo>
                    <a:pt x="112" y="64"/>
                  </a:lnTo>
                  <a:lnTo>
                    <a:pt x="105" y="49"/>
                  </a:lnTo>
                  <a:lnTo>
                    <a:pt x="56" y="32"/>
                  </a:lnTo>
                  <a:lnTo>
                    <a:pt x="49" y="24"/>
                  </a:lnTo>
                  <a:lnTo>
                    <a:pt x="49" y="0"/>
                  </a:lnTo>
                  <a:lnTo>
                    <a:pt x="32" y="0"/>
                  </a:lnTo>
                  <a:lnTo>
                    <a:pt x="15" y="15"/>
                  </a:lnTo>
                  <a:lnTo>
                    <a:pt x="0" y="15"/>
                  </a:lnTo>
                  <a:lnTo>
                    <a:pt x="7" y="32"/>
                  </a:lnTo>
                  <a:lnTo>
                    <a:pt x="0" y="81"/>
                  </a:lnTo>
                  <a:lnTo>
                    <a:pt x="7" y="89"/>
                  </a:lnTo>
                  <a:lnTo>
                    <a:pt x="0" y="105"/>
                  </a:lnTo>
                  <a:lnTo>
                    <a:pt x="7" y="129"/>
                  </a:lnTo>
                  <a:lnTo>
                    <a:pt x="7" y="137"/>
                  </a:lnTo>
                  <a:lnTo>
                    <a:pt x="15" y="177"/>
                  </a:lnTo>
                  <a:lnTo>
                    <a:pt x="24" y="177"/>
                  </a:lnTo>
                  <a:lnTo>
                    <a:pt x="40" y="161"/>
                  </a:lnTo>
                  <a:lnTo>
                    <a:pt x="65" y="171"/>
                  </a:lnTo>
                  <a:lnTo>
                    <a:pt x="72" y="161"/>
                  </a:lnTo>
                  <a:lnTo>
                    <a:pt x="89" y="171"/>
                  </a:lnTo>
                  <a:lnTo>
                    <a:pt x="97" y="129"/>
                  </a:lnTo>
                  <a:lnTo>
                    <a:pt x="129" y="129"/>
                  </a:lnTo>
                  <a:lnTo>
                    <a:pt x="146" y="13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96" name="Freeform 113"/>
            <p:cNvSpPr>
              <a:spLocks/>
            </p:cNvSpPr>
            <p:nvPr/>
          </p:nvSpPr>
          <p:spPr bwMode="auto">
            <a:xfrm>
              <a:off x="1986" y="3089"/>
              <a:ext cx="139" cy="148"/>
            </a:xfrm>
            <a:custGeom>
              <a:avLst/>
              <a:gdLst>
                <a:gd name="T0" fmla="*/ 847 w 106"/>
                <a:gd name="T1" fmla="*/ 660 h 114"/>
                <a:gd name="T2" fmla="*/ 921 w 106"/>
                <a:gd name="T3" fmla="*/ 535 h 114"/>
                <a:gd name="T4" fmla="*/ 768 w 106"/>
                <a:gd name="T5" fmla="*/ 460 h 114"/>
                <a:gd name="T6" fmla="*/ 768 w 106"/>
                <a:gd name="T7" fmla="*/ 338 h 114"/>
                <a:gd name="T8" fmla="*/ 723 w 106"/>
                <a:gd name="T9" fmla="*/ 338 h 114"/>
                <a:gd name="T10" fmla="*/ 501 w 106"/>
                <a:gd name="T11" fmla="*/ 260 h 114"/>
                <a:gd name="T12" fmla="*/ 501 w 106"/>
                <a:gd name="T13" fmla="*/ 64 h 114"/>
                <a:gd name="T14" fmla="*/ 346 w 106"/>
                <a:gd name="T15" fmla="*/ 0 h 114"/>
                <a:gd name="T16" fmla="*/ 66 w 106"/>
                <a:gd name="T17" fmla="*/ 0 h 114"/>
                <a:gd name="T18" fmla="*/ 0 w 106"/>
                <a:gd name="T19" fmla="*/ 338 h 114"/>
                <a:gd name="T20" fmla="*/ 144 w 106"/>
                <a:gd name="T21" fmla="*/ 535 h 114"/>
                <a:gd name="T22" fmla="*/ 346 w 106"/>
                <a:gd name="T23" fmla="*/ 535 h 114"/>
                <a:gd name="T24" fmla="*/ 501 w 106"/>
                <a:gd name="T25" fmla="*/ 660 h 114"/>
                <a:gd name="T26" fmla="*/ 501 w 106"/>
                <a:gd name="T27" fmla="*/ 722 h 114"/>
                <a:gd name="T28" fmla="*/ 425 w 106"/>
                <a:gd name="T29" fmla="*/ 857 h 114"/>
                <a:gd name="T30" fmla="*/ 624 w 106"/>
                <a:gd name="T31" fmla="*/ 915 h 114"/>
                <a:gd name="T32" fmla="*/ 723 w 106"/>
                <a:gd name="T33" fmla="*/ 857 h 114"/>
                <a:gd name="T34" fmla="*/ 847 w 106"/>
                <a:gd name="T35" fmla="*/ 787 h 114"/>
                <a:gd name="T36" fmla="*/ 847 w 106"/>
                <a:gd name="T37" fmla="*/ 660 h 1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6"/>
                <a:gd name="T58" fmla="*/ 0 h 114"/>
                <a:gd name="T59" fmla="*/ 106 w 106"/>
                <a:gd name="T60" fmla="*/ 114 h 11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6" h="114">
                  <a:moveTo>
                    <a:pt x="97" y="82"/>
                  </a:moveTo>
                  <a:lnTo>
                    <a:pt x="105" y="66"/>
                  </a:lnTo>
                  <a:lnTo>
                    <a:pt x="88" y="57"/>
                  </a:lnTo>
                  <a:lnTo>
                    <a:pt x="88" y="42"/>
                  </a:lnTo>
                  <a:lnTo>
                    <a:pt x="82" y="42"/>
                  </a:lnTo>
                  <a:lnTo>
                    <a:pt x="57" y="32"/>
                  </a:lnTo>
                  <a:lnTo>
                    <a:pt x="57" y="8"/>
                  </a:lnTo>
                  <a:lnTo>
                    <a:pt x="40" y="0"/>
                  </a:lnTo>
                  <a:lnTo>
                    <a:pt x="8" y="0"/>
                  </a:lnTo>
                  <a:lnTo>
                    <a:pt x="0" y="42"/>
                  </a:lnTo>
                  <a:lnTo>
                    <a:pt x="16" y="66"/>
                  </a:lnTo>
                  <a:lnTo>
                    <a:pt x="40" y="66"/>
                  </a:lnTo>
                  <a:lnTo>
                    <a:pt x="57" y="82"/>
                  </a:lnTo>
                  <a:lnTo>
                    <a:pt x="57" y="89"/>
                  </a:lnTo>
                  <a:lnTo>
                    <a:pt x="48" y="106"/>
                  </a:lnTo>
                  <a:lnTo>
                    <a:pt x="72" y="113"/>
                  </a:lnTo>
                  <a:lnTo>
                    <a:pt x="82" y="106"/>
                  </a:lnTo>
                  <a:lnTo>
                    <a:pt x="97" y="97"/>
                  </a:lnTo>
                  <a:lnTo>
                    <a:pt x="97" y="8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97" name="Freeform 114"/>
            <p:cNvSpPr>
              <a:spLocks/>
            </p:cNvSpPr>
            <p:nvPr/>
          </p:nvSpPr>
          <p:spPr bwMode="auto">
            <a:xfrm>
              <a:off x="2049" y="3290"/>
              <a:ext cx="98" cy="86"/>
            </a:xfrm>
            <a:custGeom>
              <a:avLst/>
              <a:gdLst>
                <a:gd name="T0" fmla="*/ 551 w 75"/>
                <a:gd name="T1" fmla="*/ 408 h 66"/>
                <a:gd name="T2" fmla="*/ 634 w 75"/>
                <a:gd name="T3" fmla="*/ 257 h 66"/>
                <a:gd name="T4" fmla="*/ 551 w 75"/>
                <a:gd name="T5" fmla="*/ 211 h 66"/>
                <a:gd name="T6" fmla="*/ 340 w 75"/>
                <a:gd name="T7" fmla="*/ 65 h 66"/>
                <a:gd name="T8" fmla="*/ 284 w 75"/>
                <a:gd name="T9" fmla="*/ 65 h 66"/>
                <a:gd name="T10" fmla="*/ 208 w 75"/>
                <a:gd name="T11" fmla="*/ 0 h 66"/>
                <a:gd name="T12" fmla="*/ 127 w 75"/>
                <a:gd name="T13" fmla="*/ 0 h 66"/>
                <a:gd name="T14" fmla="*/ 0 w 75"/>
                <a:gd name="T15" fmla="*/ 466 h 66"/>
                <a:gd name="T16" fmla="*/ 78 w 75"/>
                <a:gd name="T17" fmla="*/ 466 h 66"/>
                <a:gd name="T18" fmla="*/ 284 w 75"/>
                <a:gd name="T19" fmla="*/ 545 h 66"/>
                <a:gd name="T20" fmla="*/ 485 w 75"/>
                <a:gd name="T21" fmla="*/ 545 h 66"/>
                <a:gd name="T22" fmla="*/ 551 w 75"/>
                <a:gd name="T23" fmla="*/ 408 h 6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5"/>
                <a:gd name="T37" fmla="*/ 0 h 66"/>
                <a:gd name="T38" fmla="*/ 75 w 75"/>
                <a:gd name="T39" fmla="*/ 66 h 6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5" h="66">
                  <a:moveTo>
                    <a:pt x="65" y="49"/>
                  </a:moveTo>
                  <a:lnTo>
                    <a:pt x="74" y="31"/>
                  </a:lnTo>
                  <a:lnTo>
                    <a:pt x="65" y="25"/>
                  </a:lnTo>
                  <a:lnTo>
                    <a:pt x="40" y="8"/>
                  </a:lnTo>
                  <a:lnTo>
                    <a:pt x="34" y="8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56"/>
                  </a:lnTo>
                  <a:lnTo>
                    <a:pt x="9" y="56"/>
                  </a:lnTo>
                  <a:lnTo>
                    <a:pt x="34" y="65"/>
                  </a:lnTo>
                  <a:lnTo>
                    <a:pt x="57" y="65"/>
                  </a:lnTo>
                  <a:lnTo>
                    <a:pt x="65" y="4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98" name="Freeform 115"/>
            <p:cNvSpPr>
              <a:spLocks/>
            </p:cNvSpPr>
            <p:nvPr/>
          </p:nvSpPr>
          <p:spPr bwMode="auto">
            <a:xfrm>
              <a:off x="1793" y="2676"/>
              <a:ext cx="659" cy="679"/>
            </a:xfrm>
            <a:custGeom>
              <a:avLst/>
              <a:gdLst>
                <a:gd name="T0" fmla="*/ 2396 w 505"/>
                <a:gd name="T1" fmla="*/ 133 h 520"/>
                <a:gd name="T2" fmla="*/ 2199 w 505"/>
                <a:gd name="T3" fmla="*/ 336 h 520"/>
                <a:gd name="T4" fmla="*/ 1987 w 505"/>
                <a:gd name="T5" fmla="*/ 283 h 520"/>
                <a:gd name="T6" fmla="*/ 1850 w 505"/>
                <a:gd name="T7" fmla="*/ 336 h 520"/>
                <a:gd name="T8" fmla="*/ 1580 w 505"/>
                <a:gd name="T9" fmla="*/ 418 h 520"/>
                <a:gd name="T10" fmla="*/ 1515 w 505"/>
                <a:gd name="T11" fmla="*/ 78 h 520"/>
                <a:gd name="T12" fmla="*/ 1437 w 505"/>
                <a:gd name="T13" fmla="*/ 0 h 520"/>
                <a:gd name="T14" fmla="*/ 1180 w 505"/>
                <a:gd name="T15" fmla="*/ 133 h 520"/>
                <a:gd name="T16" fmla="*/ 1040 w 505"/>
                <a:gd name="T17" fmla="*/ 133 h 520"/>
                <a:gd name="T18" fmla="*/ 1101 w 505"/>
                <a:gd name="T19" fmla="*/ 336 h 520"/>
                <a:gd name="T20" fmla="*/ 830 w 505"/>
                <a:gd name="T21" fmla="*/ 483 h 520"/>
                <a:gd name="T22" fmla="*/ 694 w 505"/>
                <a:gd name="T23" fmla="*/ 336 h 520"/>
                <a:gd name="T24" fmla="*/ 418 w 505"/>
                <a:gd name="T25" fmla="*/ 418 h 520"/>
                <a:gd name="T26" fmla="*/ 418 w 505"/>
                <a:gd name="T27" fmla="*/ 483 h 520"/>
                <a:gd name="T28" fmla="*/ 418 w 505"/>
                <a:gd name="T29" fmla="*/ 969 h 520"/>
                <a:gd name="T30" fmla="*/ 0 w 505"/>
                <a:gd name="T31" fmla="*/ 1376 h 520"/>
                <a:gd name="T32" fmla="*/ 211 w 505"/>
                <a:gd name="T33" fmla="*/ 1654 h 520"/>
                <a:gd name="T34" fmla="*/ 359 w 505"/>
                <a:gd name="T35" fmla="*/ 1711 h 520"/>
                <a:gd name="T36" fmla="*/ 629 w 505"/>
                <a:gd name="T37" fmla="*/ 1711 h 520"/>
                <a:gd name="T38" fmla="*/ 906 w 505"/>
                <a:gd name="T39" fmla="*/ 1585 h 520"/>
                <a:gd name="T40" fmla="*/ 970 w 505"/>
                <a:gd name="T41" fmla="*/ 1848 h 520"/>
                <a:gd name="T42" fmla="*/ 1437 w 505"/>
                <a:gd name="T43" fmla="*/ 2121 h 520"/>
                <a:gd name="T44" fmla="*/ 1515 w 505"/>
                <a:gd name="T45" fmla="*/ 2331 h 520"/>
                <a:gd name="T46" fmla="*/ 1652 w 505"/>
                <a:gd name="T47" fmla="*/ 2396 h 520"/>
                <a:gd name="T48" fmla="*/ 1729 w 505"/>
                <a:gd name="T49" fmla="*/ 2737 h 520"/>
                <a:gd name="T50" fmla="*/ 1931 w 505"/>
                <a:gd name="T51" fmla="*/ 3027 h 520"/>
                <a:gd name="T52" fmla="*/ 1987 w 505"/>
                <a:gd name="T53" fmla="*/ 3151 h 520"/>
                <a:gd name="T54" fmla="*/ 2062 w 505"/>
                <a:gd name="T55" fmla="*/ 3366 h 520"/>
                <a:gd name="T56" fmla="*/ 2199 w 505"/>
                <a:gd name="T57" fmla="*/ 3565 h 520"/>
                <a:gd name="T58" fmla="*/ 1771 w 505"/>
                <a:gd name="T59" fmla="*/ 3975 h 520"/>
                <a:gd name="T60" fmla="*/ 1931 w 505"/>
                <a:gd name="T61" fmla="*/ 4039 h 520"/>
                <a:gd name="T62" fmla="*/ 2199 w 505"/>
                <a:gd name="T63" fmla="*/ 4184 h 520"/>
                <a:gd name="T64" fmla="*/ 2199 w 505"/>
                <a:gd name="T65" fmla="*/ 4385 h 520"/>
                <a:gd name="T66" fmla="*/ 2461 w 505"/>
                <a:gd name="T67" fmla="*/ 4099 h 520"/>
                <a:gd name="T68" fmla="*/ 2740 w 505"/>
                <a:gd name="T69" fmla="*/ 3701 h 520"/>
                <a:gd name="T70" fmla="*/ 2804 w 505"/>
                <a:gd name="T71" fmla="*/ 3289 h 520"/>
                <a:gd name="T72" fmla="*/ 3150 w 505"/>
                <a:gd name="T73" fmla="*/ 3078 h 520"/>
                <a:gd name="T74" fmla="*/ 3423 w 505"/>
                <a:gd name="T75" fmla="*/ 3027 h 520"/>
                <a:gd name="T76" fmla="*/ 3557 w 505"/>
                <a:gd name="T77" fmla="*/ 2882 h 520"/>
                <a:gd name="T78" fmla="*/ 3696 w 505"/>
                <a:gd name="T79" fmla="*/ 2521 h 520"/>
                <a:gd name="T80" fmla="*/ 3758 w 505"/>
                <a:gd name="T81" fmla="*/ 1995 h 520"/>
                <a:gd name="T82" fmla="*/ 4242 w 505"/>
                <a:gd name="T83" fmla="*/ 1376 h 520"/>
                <a:gd name="T84" fmla="*/ 3970 w 505"/>
                <a:gd name="T85" fmla="*/ 1102 h 520"/>
                <a:gd name="T86" fmla="*/ 3500 w 505"/>
                <a:gd name="T87" fmla="*/ 893 h 520"/>
                <a:gd name="T88" fmla="*/ 3150 w 505"/>
                <a:gd name="T89" fmla="*/ 824 h 520"/>
                <a:gd name="T90" fmla="*/ 3150 w 505"/>
                <a:gd name="T91" fmla="*/ 684 h 520"/>
                <a:gd name="T92" fmla="*/ 2804 w 505"/>
                <a:gd name="T93" fmla="*/ 631 h 520"/>
                <a:gd name="T94" fmla="*/ 2740 w 505"/>
                <a:gd name="T95" fmla="*/ 551 h 520"/>
                <a:gd name="T96" fmla="*/ 2541 w 505"/>
                <a:gd name="T97" fmla="*/ 551 h 520"/>
                <a:gd name="T98" fmla="*/ 2461 w 505"/>
                <a:gd name="T99" fmla="*/ 631 h 520"/>
                <a:gd name="T100" fmla="*/ 2461 w 505"/>
                <a:gd name="T101" fmla="*/ 551 h 520"/>
                <a:gd name="T102" fmla="*/ 2609 w 505"/>
                <a:gd name="T103" fmla="*/ 336 h 520"/>
                <a:gd name="T104" fmla="*/ 2461 w 505"/>
                <a:gd name="T105" fmla="*/ 133 h 52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05"/>
                <a:gd name="T160" fmla="*/ 0 h 520"/>
                <a:gd name="T161" fmla="*/ 505 w 505"/>
                <a:gd name="T162" fmla="*/ 520 h 52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05" h="520">
                  <a:moveTo>
                    <a:pt x="293" y="16"/>
                  </a:moveTo>
                  <a:lnTo>
                    <a:pt x="285" y="16"/>
                  </a:lnTo>
                  <a:lnTo>
                    <a:pt x="270" y="34"/>
                  </a:lnTo>
                  <a:lnTo>
                    <a:pt x="261" y="40"/>
                  </a:lnTo>
                  <a:lnTo>
                    <a:pt x="253" y="34"/>
                  </a:lnTo>
                  <a:lnTo>
                    <a:pt x="236" y="34"/>
                  </a:lnTo>
                  <a:lnTo>
                    <a:pt x="230" y="40"/>
                  </a:lnTo>
                  <a:lnTo>
                    <a:pt x="220" y="40"/>
                  </a:lnTo>
                  <a:lnTo>
                    <a:pt x="196" y="49"/>
                  </a:lnTo>
                  <a:lnTo>
                    <a:pt x="188" y="49"/>
                  </a:lnTo>
                  <a:lnTo>
                    <a:pt x="180" y="34"/>
                  </a:lnTo>
                  <a:lnTo>
                    <a:pt x="180" y="9"/>
                  </a:lnTo>
                  <a:lnTo>
                    <a:pt x="180" y="0"/>
                  </a:lnTo>
                  <a:lnTo>
                    <a:pt x="171" y="0"/>
                  </a:lnTo>
                  <a:lnTo>
                    <a:pt x="164" y="9"/>
                  </a:lnTo>
                  <a:lnTo>
                    <a:pt x="140" y="16"/>
                  </a:lnTo>
                  <a:lnTo>
                    <a:pt x="115" y="9"/>
                  </a:lnTo>
                  <a:lnTo>
                    <a:pt x="124" y="16"/>
                  </a:lnTo>
                  <a:lnTo>
                    <a:pt x="124" y="34"/>
                  </a:lnTo>
                  <a:lnTo>
                    <a:pt x="131" y="40"/>
                  </a:lnTo>
                  <a:lnTo>
                    <a:pt x="108" y="57"/>
                  </a:lnTo>
                  <a:lnTo>
                    <a:pt x="99" y="57"/>
                  </a:lnTo>
                  <a:lnTo>
                    <a:pt x="91" y="49"/>
                  </a:lnTo>
                  <a:lnTo>
                    <a:pt x="83" y="40"/>
                  </a:lnTo>
                  <a:lnTo>
                    <a:pt x="49" y="40"/>
                  </a:lnTo>
                  <a:lnTo>
                    <a:pt x="49" y="49"/>
                  </a:lnTo>
                  <a:lnTo>
                    <a:pt x="59" y="57"/>
                  </a:lnTo>
                  <a:lnTo>
                    <a:pt x="49" y="57"/>
                  </a:lnTo>
                  <a:lnTo>
                    <a:pt x="59" y="81"/>
                  </a:lnTo>
                  <a:lnTo>
                    <a:pt x="49" y="114"/>
                  </a:lnTo>
                  <a:lnTo>
                    <a:pt x="18" y="130"/>
                  </a:lnTo>
                  <a:lnTo>
                    <a:pt x="0" y="162"/>
                  </a:lnTo>
                  <a:lnTo>
                    <a:pt x="9" y="187"/>
                  </a:lnTo>
                  <a:lnTo>
                    <a:pt x="25" y="196"/>
                  </a:lnTo>
                  <a:lnTo>
                    <a:pt x="43" y="187"/>
                  </a:lnTo>
                  <a:lnTo>
                    <a:pt x="43" y="202"/>
                  </a:lnTo>
                  <a:lnTo>
                    <a:pt x="59" y="202"/>
                  </a:lnTo>
                  <a:lnTo>
                    <a:pt x="74" y="202"/>
                  </a:lnTo>
                  <a:lnTo>
                    <a:pt x="91" y="187"/>
                  </a:lnTo>
                  <a:lnTo>
                    <a:pt x="108" y="187"/>
                  </a:lnTo>
                  <a:lnTo>
                    <a:pt x="108" y="211"/>
                  </a:lnTo>
                  <a:lnTo>
                    <a:pt x="115" y="219"/>
                  </a:lnTo>
                  <a:lnTo>
                    <a:pt x="164" y="236"/>
                  </a:lnTo>
                  <a:lnTo>
                    <a:pt x="171" y="251"/>
                  </a:lnTo>
                  <a:lnTo>
                    <a:pt x="171" y="259"/>
                  </a:lnTo>
                  <a:lnTo>
                    <a:pt x="180" y="276"/>
                  </a:lnTo>
                  <a:lnTo>
                    <a:pt x="196" y="276"/>
                  </a:lnTo>
                  <a:lnTo>
                    <a:pt x="196" y="283"/>
                  </a:lnTo>
                  <a:lnTo>
                    <a:pt x="205" y="299"/>
                  </a:lnTo>
                  <a:lnTo>
                    <a:pt x="205" y="324"/>
                  </a:lnTo>
                  <a:lnTo>
                    <a:pt x="205" y="348"/>
                  </a:lnTo>
                  <a:lnTo>
                    <a:pt x="230" y="358"/>
                  </a:lnTo>
                  <a:lnTo>
                    <a:pt x="236" y="358"/>
                  </a:lnTo>
                  <a:lnTo>
                    <a:pt x="236" y="373"/>
                  </a:lnTo>
                  <a:lnTo>
                    <a:pt x="253" y="382"/>
                  </a:lnTo>
                  <a:lnTo>
                    <a:pt x="245" y="398"/>
                  </a:lnTo>
                  <a:lnTo>
                    <a:pt x="253" y="398"/>
                  </a:lnTo>
                  <a:lnTo>
                    <a:pt x="261" y="422"/>
                  </a:lnTo>
                  <a:lnTo>
                    <a:pt x="245" y="429"/>
                  </a:lnTo>
                  <a:lnTo>
                    <a:pt x="211" y="470"/>
                  </a:lnTo>
                  <a:lnTo>
                    <a:pt x="220" y="470"/>
                  </a:lnTo>
                  <a:lnTo>
                    <a:pt x="230" y="478"/>
                  </a:lnTo>
                  <a:lnTo>
                    <a:pt x="236" y="478"/>
                  </a:lnTo>
                  <a:lnTo>
                    <a:pt x="261" y="495"/>
                  </a:lnTo>
                  <a:lnTo>
                    <a:pt x="270" y="501"/>
                  </a:lnTo>
                  <a:lnTo>
                    <a:pt x="261" y="519"/>
                  </a:lnTo>
                  <a:lnTo>
                    <a:pt x="277" y="501"/>
                  </a:lnTo>
                  <a:lnTo>
                    <a:pt x="293" y="485"/>
                  </a:lnTo>
                  <a:lnTo>
                    <a:pt x="310" y="453"/>
                  </a:lnTo>
                  <a:lnTo>
                    <a:pt x="326" y="438"/>
                  </a:lnTo>
                  <a:lnTo>
                    <a:pt x="326" y="405"/>
                  </a:lnTo>
                  <a:lnTo>
                    <a:pt x="333" y="389"/>
                  </a:lnTo>
                  <a:lnTo>
                    <a:pt x="350" y="382"/>
                  </a:lnTo>
                  <a:lnTo>
                    <a:pt x="375" y="364"/>
                  </a:lnTo>
                  <a:lnTo>
                    <a:pt x="407" y="364"/>
                  </a:lnTo>
                  <a:lnTo>
                    <a:pt x="407" y="358"/>
                  </a:lnTo>
                  <a:lnTo>
                    <a:pt x="423" y="348"/>
                  </a:lnTo>
                  <a:lnTo>
                    <a:pt x="423" y="341"/>
                  </a:lnTo>
                  <a:lnTo>
                    <a:pt x="439" y="316"/>
                  </a:lnTo>
                  <a:lnTo>
                    <a:pt x="439" y="299"/>
                  </a:lnTo>
                  <a:lnTo>
                    <a:pt x="447" y="292"/>
                  </a:lnTo>
                  <a:lnTo>
                    <a:pt x="447" y="236"/>
                  </a:lnTo>
                  <a:lnTo>
                    <a:pt x="488" y="187"/>
                  </a:lnTo>
                  <a:lnTo>
                    <a:pt x="504" y="162"/>
                  </a:lnTo>
                  <a:lnTo>
                    <a:pt x="497" y="130"/>
                  </a:lnTo>
                  <a:lnTo>
                    <a:pt x="472" y="130"/>
                  </a:lnTo>
                  <a:lnTo>
                    <a:pt x="432" y="97"/>
                  </a:lnTo>
                  <a:lnTo>
                    <a:pt x="416" y="106"/>
                  </a:lnTo>
                  <a:lnTo>
                    <a:pt x="392" y="97"/>
                  </a:lnTo>
                  <a:lnTo>
                    <a:pt x="375" y="97"/>
                  </a:lnTo>
                  <a:lnTo>
                    <a:pt x="375" y="90"/>
                  </a:lnTo>
                  <a:lnTo>
                    <a:pt x="375" y="81"/>
                  </a:lnTo>
                  <a:lnTo>
                    <a:pt x="367" y="81"/>
                  </a:lnTo>
                  <a:lnTo>
                    <a:pt x="333" y="74"/>
                  </a:lnTo>
                  <a:lnTo>
                    <a:pt x="326" y="81"/>
                  </a:lnTo>
                  <a:lnTo>
                    <a:pt x="326" y="65"/>
                  </a:lnTo>
                  <a:lnTo>
                    <a:pt x="317" y="65"/>
                  </a:lnTo>
                  <a:lnTo>
                    <a:pt x="302" y="65"/>
                  </a:lnTo>
                  <a:lnTo>
                    <a:pt x="302" y="81"/>
                  </a:lnTo>
                  <a:lnTo>
                    <a:pt x="293" y="74"/>
                  </a:lnTo>
                  <a:lnTo>
                    <a:pt x="285" y="81"/>
                  </a:lnTo>
                  <a:lnTo>
                    <a:pt x="293" y="65"/>
                  </a:lnTo>
                  <a:lnTo>
                    <a:pt x="310" y="49"/>
                  </a:lnTo>
                  <a:lnTo>
                    <a:pt x="310" y="40"/>
                  </a:lnTo>
                  <a:lnTo>
                    <a:pt x="302" y="40"/>
                  </a:lnTo>
                  <a:lnTo>
                    <a:pt x="293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99" name="Freeform 116"/>
            <p:cNvSpPr>
              <a:spLocks/>
            </p:cNvSpPr>
            <p:nvPr/>
          </p:nvSpPr>
          <p:spPr bwMode="auto">
            <a:xfrm>
              <a:off x="2124" y="2667"/>
              <a:ext cx="42" cy="62"/>
            </a:xfrm>
            <a:custGeom>
              <a:avLst/>
              <a:gdLst>
                <a:gd name="T0" fmla="*/ 0 w 33"/>
                <a:gd name="T1" fmla="*/ 316 h 48"/>
                <a:gd name="T2" fmla="*/ 59 w 33"/>
                <a:gd name="T3" fmla="*/ 368 h 48"/>
                <a:gd name="T4" fmla="*/ 121 w 33"/>
                <a:gd name="T5" fmla="*/ 316 h 48"/>
                <a:gd name="T6" fmla="*/ 220 w 33"/>
                <a:gd name="T7" fmla="*/ 182 h 48"/>
                <a:gd name="T8" fmla="*/ 0 w 33"/>
                <a:gd name="T9" fmla="*/ 0 h 48"/>
                <a:gd name="T10" fmla="*/ 0 w 33"/>
                <a:gd name="T11" fmla="*/ 58 h 48"/>
                <a:gd name="T12" fmla="*/ 0 w 33"/>
                <a:gd name="T13" fmla="*/ 182 h 48"/>
                <a:gd name="T14" fmla="*/ 0 w 33"/>
                <a:gd name="T15" fmla="*/ 316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3"/>
                <a:gd name="T25" fmla="*/ 0 h 48"/>
                <a:gd name="T26" fmla="*/ 33 w 33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3" h="48">
                  <a:moveTo>
                    <a:pt x="0" y="41"/>
                  </a:moveTo>
                  <a:lnTo>
                    <a:pt x="8" y="47"/>
                  </a:lnTo>
                  <a:lnTo>
                    <a:pt x="17" y="41"/>
                  </a:lnTo>
                  <a:lnTo>
                    <a:pt x="32" y="2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23"/>
                  </a:lnTo>
                  <a:lnTo>
                    <a:pt x="0" y="41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0" name="Freeform 117"/>
            <p:cNvSpPr>
              <a:spLocks/>
            </p:cNvSpPr>
            <p:nvPr/>
          </p:nvSpPr>
          <p:spPr bwMode="auto">
            <a:xfrm>
              <a:off x="2061" y="2667"/>
              <a:ext cx="64" cy="62"/>
            </a:xfrm>
            <a:custGeom>
              <a:avLst/>
              <a:gdLst>
                <a:gd name="T0" fmla="*/ 408 w 49"/>
                <a:gd name="T1" fmla="*/ 316 h 48"/>
                <a:gd name="T2" fmla="*/ 408 w 49"/>
                <a:gd name="T3" fmla="*/ 182 h 48"/>
                <a:gd name="T4" fmla="*/ 408 w 49"/>
                <a:gd name="T5" fmla="*/ 58 h 48"/>
                <a:gd name="T6" fmla="*/ 408 w 49"/>
                <a:gd name="T7" fmla="*/ 0 h 48"/>
                <a:gd name="T8" fmla="*/ 127 w 49"/>
                <a:gd name="T9" fmla="*/ 0 h 48"/>
                <a:gd name="T10" fmla="*/ 0 w 49"/>
                <a:gd name="T11" fmla="*/ 125 h 48"/>
                <a:gd name="T12" fmla="*/ 127 w 49"/>
                <a:gd name="T13" fmla="*/ 368 h 48"/>
                <a:gd name="T14" fmla="*/ 212 w 49"/>
                <a:gd name="T15" fmla="*/ 368 h 48"/>
                <a:gd name="T16" fmla="*/ 260 w 49"/>
                <a:gd name="T17" fmla="*/ 316 h 48"/>
                <a:gd name="T18" fmla="*/ 408 w 49"/>
                <a:gd name="T19" fmla="*/ 316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9"/>
                <a:gd name="T31" fmla="*/ 0 h 48"/>
                <a:gd name="T32" fmla="*/ 49 w 49"/>
                <a:gd name="T33" fmla="*/ 48 h 4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9" h="48">
                  <a:moveTo>
                    <a:pt x="48" y="41"/>
                  </a:moveTo>
                  <a:lnTo>
                    <a:pt x="48" y="23"/>
                  </a:lnTo>
                  <a:lnTo>
                    <a:pt x="48" y="7"/>
                  </a:lnTo>
                  <a:lnTo>
                    <a:pt x="48" y="0"/>
                  </a:lnTo>
                  <a:lnTo>
                    <a:pt x="15" y="0"/>
                  </a:lnTo>
                  <a:lnTo>
                    <a:pt x="0" y="16"/>
                  </a:lnTo>
                  <a:lnTo>
                    <a:pt x="15" y="47"/>
                  </a:lnTo>
                  <a:lnTo>
                    <a:pt x="25" y="47"/>
                  </a:lnTo>
                  <a:lnTo>
                    <a:pt x="31" y="41"/>
                  </a:lnTo>
                  <a:lnTo>
                    <a:pt x="48" y="41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1" name="Freeform 118"/>
            <p:cNvSpPr>
              <a:spLocks/>
            </p:cNvSpPr>
            <p:nvPr/>
          </p:nvSpPr>
          <p:spPr bwMode="auto">
            <a:xfrm>
              <a:off x="2007" y="2624"/>
              <a:ext cx="75" cy="117"/>
            </a:xfrm>
            <a:custGeom>
              <a:avLst/>
              <a:gdLst>
                <a:gd name="T0" fmla="*/ 146 w 57"/>
                <a:gd name="T1" fmla="*/ 0 h 90"/>
                <a:gd name="T2" fmla="*/ 284 w 57"/>
                <a:gd name="T3" fmla="*/ 78 h 90"/>
                <a:gd name="T4" fmla="*/ 284 w 57"/>
                <a:gd name="T5" fmla="*/ 124 h 90"/>
                <a:gd name="T6" fmla="*/ 367 w 57"/>
                <a:gd name="T7" fmla="*/ 124 h 90"/>
                <a:gd name="T8" fmla="*/ 504 w 57"/>
                <a:gd name="T9" fmla="*/ 272 h 90"/>
                <a:gd name="T10" fmla="*/ 367 w 57"/>
                <a:gd name="T11" fmla="*/ 400 h 90"/>
                <a:gd name="T12" fmla="*/ 504 w 57"/>
                <a:gd name="T13" fmla="*/ 654 h 90"/>
                <a:gd name="T14" fmla="*/ 284 w 57"/>
                <a:gd name="T15" fmla="*/ 731 h 90"/>
                <a:gd name="T16" fmla="*/ 216 w 57"/>
                <a:gd name="T17" fmla="*/ 731 h 90"/>
                <a:gd name="T18" fmla="*/ 146 w 57"/>
                <a:gd name="T19" fmla="*/ 607 h 90"/>
                <a:gd name="T20" fmla="*/ 146 w 57"/>
                <a:gd name="T21" fmla="*/ 400 h 90"/>
                <a:gd name="T22" fmla="*/ 146 w 57"/>
                <a:gd name="T23" fmla="*/ 325 h 90"/>
                <a:gd name="T24" fmla="*/ 64 w 57"/>
                <a:gd name="T25" fmla="*/ 325 h 90"/>
                <a:gd name="T26" fmla="*/ 0 w 57"/>
                <a:gd name="T27" fmla="*/ 272 h 90"/>
                <a:gd name="T28" fmla="*/ 0 w 57"/>
                <a:gd name="T29" fmla="*/ 124 h 90"/>
                <a:gd name="T30" fmla="*/ 64 w 57"/>
                <a:gd name="T31" fmla="*/ 124 h 90"/>
                <a:gd name="T32" fmla="*/ 64 w 57"/>
                <a:gd name="T33" fmla="*/ 78 h 90"/>
                <a:gd name="T34" fmla="*/ 146 w 57"/>
                <a:gd name="T35" fmla="*/ 0 h 9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7"/>
                <a:gd name="T55" fmla="*/ 0 h 90"/>
                <a:gd name="T56" fmla="*/ 57 w 57"/>
                <a:gd name="T57" fmla="*/ 90 h 9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7" h="90">
                  <a:moveTo>
                    <a:pt x="16" y="0"/>
                  </a:moveTo>
                  <a:lnTo>
                    <a:pt x="32" y="9"/>
                  </a:lnTo>
                  <a:lnTo>
                    <a:pt x="32" y="15"/>
                  </a:lnTo>
                  <a:lnTo>
                    <a:pt x="41" y="15"/>
                  </a:lnTo>
                  <a:lnTo>
                    <a:pt x="56" y="33"/>
                  </a:lnTo>
                  <a:lnTo>
                    <a:pt x="41" y="49"/>
                  </a:lnTo>
                  <a:lnTo>
                    <a:pt x="56" y="80"/>
                  </a:lnTo>
                  <a:lnTo>
                    <a:pt x="32" y="89"/>
                  </a:lnTo>
                  <a:lnTo>
                    <a:pt x="24" y="89"/>
                  </a:lnTo>
                  <a:lnTo>
                    <a:pt x="16" y="74"/>
                  </a:lnTo>
                  <a:lnTo>
                    <a:pt x="16" y="49"/>
                  </a:lnTo>
                  <a:lnTo>
                    <a:pt x="16" y="40"/>
                  </a:lnTo>
                  <a:lnTo>
                    <a:pt x="7" y="40"/>
                  </a:lnTo>
                  <a:lnTo>
                    <a:pt x="0" y="33"/>
                  </a:lnTo>
                  <a:lnTo>
                    <a:pt x="0" y="15"/>
                  </a:lnTo>
                  <a:lnTo>
                    <a:pt x="7" y="15"/>
                  </a:lnTo>
                  <a:lnTo>
                    <a:pt x="7" y="9"/>
                  </a:lnTo>
                  <a:lnTo>
                    <a:pt x="16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2" name="Freeform 119"/>
            <p:cNvSpPr>
              <a:spLocks/>
            </p:cNvSpPr>
            <p:nvPr/>
          </p:nvSpPr>
          <p:spPr bwMode="auto">
            <a:xfrm>
              <a:off x="1805" y="2559"/>
              <a:ext cx="225" cy="193"/>
            </a:xfrm>
            <a:custGeom>
              <a:avLst/>
              <a:gdLst>
                <a:gd name="T0" fmla="*/ 1466 w 172"/>
                <a:gd name="T1" fmla="*/ 419 h 148"/>
                <a:gd name="T2" fmla="*/ 1388 w 172"/>
                <a:gd name="T3" fmla="*/ 493 h 148"/>
                <a:gd name="T4" fmla="*/ 1388 w 172"/>
                <a:gd name="T5" fmla="*/ 546 h 148"/>
                <a:gd name="T6" fmla="*/ 1332 w 172"/>
                <a:gd name="T7" fmla="*/ 546 h 148"/>
                <a:gd name="T8" fmla="*/ 1332 w 172"/>
                <a:gd name="T9" fmla="*/ 694 h 148"/>
                <a:gd name="T10" fmla="*/ 1388 w 172"/>
                <a:gd name="T11" fmla="*/ 754 h 148"/>
                <a:gd name="T12" fmla="*/ 1332 w 172"/>
                <a:gd name="T13" fmla="*/ 827 h 148"/>
                <a:gd name="T14" fmla="*/ 1121 w 172"/>
                <a:gd name="T15" fmla="*/ 884 h 148"/>
                <a:gd name="T16" fmla="*/ 910 w 172"/>
                <a:gd name="T17" fmla="*/ 827 h 148"/>
                <a:gd name="T18" fmla="*/ 981 w 172"/>
                <a:gd name="T19" fmla="*/ 884 h 148"/>
                <a:gd name="T20" fmla="*/ 981 w 172"/>
                <a:gd name="T21" fmla="*/ 1037 h 148"/>
                <a:gd name="T22" fmla="*/ 1045 w 172"/>
                <a:gd name="T23" fmla="*/ 1094 h 148"/>
                <a:gd name="T24" fmla="*/ 849 w 172"/>
                <a:gd name="T25" fmla="*/ 1228 h 148"/>
                <a:gd name="T26" fmla="*/ 770 w 172"/>
                <a:gd name="T27" fmla="*/ 1228 h 148"/>
                <a:gd name="T28" fmla="*/ 700 w 172"/>
                <a:gd name="T29" fmla="*/ 1162 h 148"/>
                <a:gd name="T30" fmla="*/ 637 w 172"/>
                <a:gd name="T31" fmla="*/ 1094 h 148"/>
                <a:gd name="T32" fmla="*/ 637 w 172"/>
                <a:gd name="T33" fmla="*/ 968 h 148"/>
                <a:gd name="T34" fmla="*/ 557 w 172"/>
                <a:gd name="T35" fmla="*/ 827 h 148"/>
                <a:gd name="T36" fmla="*/ 637 w 172"/>
                <a:gd name="T37" fmla="*/ 619 h 148"/>
                <a:gd name="T38" fmla="*/ 426 w 172"/>
                <a:gd name="T39" fmla="*/ 619 h 148"/>
                <a:gd name="T40" fmla="*/ 340 w 172"/>
                <a:gd name="T41" fmla="*/ 546 h 148"/>
                <a:gd name="T42" fmla="*/ 133 w 172"/>
                <a:gd name="T43" fmla="*/ 546 h 148"/>
                <a:gd name="T44" fmla="*/ 78 w 172"/>
                <a:gd name="T45" fmla="*/ 493 h 148"/>
                <a:gd name="T46" fmla="*/ 78 w 172"/>
                <a:gd name="T47" fmla="*/ 419 h 148"/>
                <a:gd name="T48" fmla="*/ 0 w 172"/>
                <a:gd name="T49" fmla="*/ 278 h 148"/>
                <a:gd name="T50" fmla="*/ 78 w 172"/>
                <a:gd name="T51" fmla="*/ 147 h 148"/>
                <a:gd name="T52" fmla="*/ 133 w 172"/>
                <a:gd name="T53" fmla="*/ 85 h 148"/>
                <a:gd name="T54" fmla="*/ 212 w 172"/>
                <a:gd name="T55" fmla="*/ 147 h 148"/>
                <a:gd name="T56" fmla="*/ 133 w 172"/>
                <a:gd name="T57" fmla="*/ 211 h 148"/>
                <a:gd name="T58" fmla="*/ 133 w 172"/>
                <a:gd name="T59" fmla="*/ 340 h 148"/>
                <a:gd name="T60" fmla="*/ 212 w 172"/>
                <a:gd name="T61" fmla="*/ 278 h 148"/>
                <a:gd name="T62" fmla="*/ 212 w 172"/>
                <a:gd name="T63" fmla="*/ 147 h 148"/>
                <a:gd name="T64" fmla="*/ 340 w 172"/>
                <a:gd name="T65" fmla="*/ 85 h 148"/>
                <a:gd name="T66" fmla="*/ 340 w 172"/>
                <a:gd name="T67" fmla="*/ 0 h 148"/>
                <a:gd name="T68" fmla="*/ 340 w 172"/>
                <a:gd name="T69" fmla="*/ 85 h 148"/>
                <a:gd name="T70" fmla="*/ 557 w 172"/>
                <a:gd name="T71" fmla="*/ 85 h 148"/>
                <a:gd name="T72" fmla="*/ 557 w 172"/>
                <a:gd name="T73" fmla="*/ 147 h 148"/>
                <a:gd name="T74" fmla="*/ 770 w 172"/>
                <a:gd name="T75" fmla="*/ 147 h 148"/>
                <a:gd name="T76" fmla="*/ 910 w 172"/>
                <a:gd name="T77" fmla="*/ 211 h 148"/>
                <a:gd name="T78" fmla="*/ 1045 w 172"/>
                <a:gd name="T79" fmla="*/ 147 h 148"/>
                <a:gd name="T80" fmla="*/ 1190 w 172"/>
                <a:gd name="T81" fmla="*/ 147 h 148"/>
                <a:gd name="T82" fmla="*/ 1121 w 172"/>
                <a:gd name="T83" fmla="*/ 147 h 148"/>
                <a:gd name="T84" fmla="*/ 1190 w 172"/>
                <a:gd name="T85" fmla="*/ 211 h 148"/>
                <a:gd name="T86" fmla="*/ 1332 w 172"/>
                <a:gd name="T87" fmla="*/ 278 h 148"/>
                <a:gd name="T88" fmla="*/ 1332 w 172"/>
                <a:gd name="T89" fmla="*/ 419 h 148"/>
                <a:gd name="T90" fmla="*/ 1388 w 172"/>
                <a:gd name="T91" fmla="*/ 340 h 148"/>
                <a:gd name="T92" fmla="*/ 1466 w 172"/>
                <a:gd name="T93" fmla="*/ 419 h 14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72"/>
                <a:gd name="T142" fmla="*/ 0 h 148"/>
                <a:gd name="T143" fmla="*/ 172 w 172"/>
                <a:gd name="T144" fmla="*/ 148 h 14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72" h="148">
                  <a:moveTo>
                    <a:pt x="171" y="50"/>
                  </a:moveTo>
                  <a:lnTo>
                    <a:pt x="162" y="59"/>
                  </a:lnTo>
                  <a:lnTo>
                    <a:pt x="162" y="65"/>
                  </a:lnTo>
                  <a:lnTo>
                    <a:pt x="155" y="65"/>
                  </a:lnTo>
                  <a:lnTo>
                    <a:pt x="155" y="83"/>
                  </a:lnTo>
                  <a:lnTo>
                    <a:pt x="162" y="90"/>
                  </a:lnTo>
                  <a:lnTo>
                    <a:pt x="155" y="99"/>
                  </a:lnTo>
                  <a:lnTo>
                    <a:pt x="131" y="106"/>
                  </a:lnTo>
                  <a:lnTo>
                    <a:pt x="106" y="99"/>
                  </a:lnTo>
                  <a:lnTo>
                    <a:pt x="115" y="106"/>
                  </a:lnTo>
                  <a:lnTo>
                    <a:pt x="115" y="124"/>
                  </a:lnTo>
                  <a:lnTo>
                    <a:pt x="122" y="130"/>
                  </a:lnTo>
                  <a:lnTo>
                    <a:pt x="99" y="147"/>
                  </a:lnTo>
                  <a:lnTo>
                    <a:pt x="90" y="147"/>
                  </a:lnTo>
                  <a:lnTo>
                    <a:pt x="82" y="139"/>
                  </a:lnTo>
                  <a:lnTo>
                    <a:pt x="74" y="130"/>
                  </a:lnTo>
                  <a:lnTo>
                    <a:pt x="74" y="115"/>
                  </a:lnTo>
                  <a:lnTo>
                    <a:pt x="65" y="99"/>
                  </a:lnTo>
                  <a:lnTo>
                    <a:pt x="74" y="74"/>
                  </a:lnTo>
                  <a:lnTo>
                    <a:pt x="50" y="74"/>
                  </a:lnTo>
                  <a:lnTo>
                    <a:pt x="40" y="65"/>
                  </a:lnTo>
                  <a:lnTo>
                    <a:pt x="16" y="65"/>
                  </a:lnTo>
                  <a:lnTo>
                    <a:pt x="9" y="59"/>
                  </a:lnTo>
                  <a:lnTo>
                    <a:pt x="9" y="50"/>
                  </a:lnTo>
                  <a:lnTo>
                    <a:pt x="0" y="34"/>
                  </a:lnTo>
                  <a:lnTo>
                    <a:pt x="9" y="18"/>
                  </a:lnTo>
                  <a:lnTo>
                    <a:pt x="16" y="10"/>
                  </a:lnTo>
                  <a:lnTo>
                    <a:pt x="25" y="18"/>
                  </a:lnTo>
                  <a:lnTo>
                    <a:pt x="16" y="25"/>
                  </a:lnTo>
                  <a:lnTo>
                    <a:pt x="16" y="41"/>
                  </a:lnTo>
                  <a:lnTo>
                    <a:pt x="25" y="34"/>
                  </a:lnTo>
                  <a:lnTo>
                    <a:pt x="25" y="18"/>
                  </a:lnTo>
                  <a:lnTo>
                    <a:pt x="40" y="10"/>
                  </a:lnTo>
                  <a:lnTo>
                    <a:pt x="40" y="0"/>
                  </a:lnTo>
                  <a:lnTo>
                    <a:pt x="40" y="10"/>
                  </a:lnTo>
                  <a:lnTo>
                    <a:pt x="65" y="10"/>
                  </a:lnTo>
                  <a:lnTo>
                    <a:pt x="65" y="18"/>
                  </a:lnTo>
                  <a:lnTo>
                    <a:pt x="90" y="18"/>
                  </a:lnTo>
                  <a:lnTo>
                    <a:pt x="106" y="25"/>
                  </a:lnTo>
                  <a:lnTo>
                    <a:pt x="122" y="18"/>
                  </a:lnTo>
                  <a:lnTo>
                    <a:pt x="139" y="18"/>
                  </a:lnTo>
                  <a:lnTo>
                    <a:pt x="131" y="18"/>
                  </a:lnTo>
                  <a:lnTo>
                    <a:pt x="139" y="25"/>
                  </a:lnTo>
                  <a:lnTo>
                    <a:pt x="155" y="34"/>
                  </a:lnTo>
                  <a:lnTo>
                    <a:pt x="155" y="50"/>
                  </a:lnTo>
                  <a:lnTo>
                    <a:pt x="162" y="41"/>
                  </a:lnTo>
                  <a:lnTo>
                    <a:pt x="171" y="5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3" name="Freeform 120"/>
            <p:cNvSpPr>
              <a:spLocks/>
            </p:cNvSpPr>
            <p:nvPr/>
          </p:nvSpPr>
          <p:spPr bwMode="auto">
            <a:xfrm>
              <a:off x="3416" y="1619"/>
              <a:ext cx="161" cy="140"/>
            </a:xfrm>
            <a:custGeom>
              <a:avLst/>
              <a:gdLst>
                <a:gd name="T0" fmla="*/ 966 w 123"/>
                <a:gd name="T1" fmla="*/ 750 h 107"/>
                <a:gd name="T2" fmla="*/ 915 w 123"/>
                <a:gd name="T3" fmla="*/ 618 h 107"/>
                <a:gd name="T4" fmla="*/ 915 w 123"/>
                <a:gd name="T5" fmla="*/ 559 h 107"/>
                <a:gd name="T6" fmla="*/ 966 w 123"/>
                <a:gd name="T7" fmla="*/ 618 h 107"/>
                <a:gd name="T8" fmla="*/ 1054 w 123"/>
                <a:gd name="T9" fmla="*/ 492 h 107"/>
                <a:gd name="T10" fmla="*/ 966 w 123"/>
                <a:gd name="T11" fmla="*/ 492 h 107"/>
                <a:gd name="T12" fmla="*/ 834 w 123"/>
                <a:gd name="T13" fmla="*/ 276 h 107"/>
                <a:gd name="T14" fmla="*/ 834 w 123"/>
                <a:gd name="T15" fmla="*/ 135 h 107"/>
                <a:gd name="T16" fmla="*/ 776 w 123"/>
                <a:gd name="T17" fmla="*/ 60 h 107"/>
                <a:gd name="T18" fmla="*/ 559 w 123"/>
                <a:gd name="T19" fmla="*/ 0 h 107"/>
                <a:gd name="T20" fmla="*/ 421 w 123"/>
                <a:gd name="T21" fmla="*/ 135 h 107"/>
                <a:gd name="T22" fmla="*/ 421 w 123"/>
                <a:gd name="T23" fmla="*/ 216 h 107"/>
                <a:gd name="T24" fmla="*/ 276 w 123"/>
                <a:gd name="T25" fmla="*/ 276 h 107"/>
                <a:gd name="T26" fmla="*/ 276 w 123"/>
                <a:gd name="T27" fmla="*/ 400 h 107"/>
                <a:gd name="T28" fmla="*/ 216 w 123"/>
                <a:gd name="T29" fmla="*/ 400 h 107"/>
                <a:gd name="T30" fmla="*/ 60 w 123"/>
                <a:gd name="T31" fmla="*/ 492 h 107"/>
                <a:gd name="T32" fmla="*/ 0 w 123"/>
                <a:gd name="T33" fmla="*/ 492 h 107"/>
                <a:gd name="T34" fmla="*/ 60 w 123"/>
                <a:gd name="T35" fmla="*/ 618 h 107"/>
                <a:gd name="T36" fmla="*/ 0 w 123"/>
                <a:gd name="T37" fmla="*/ 750 h 107"/>
                <a:gd name="T38" fmla="*/ 0 w 123"/>
                <a:gd name="T39" fmla="*/ 912 h 107"/>
                <a:gd name="T40" fmla="*/ 132 w 123"/>
                <a:gd name="T41" fmla="*/ 833 h 107"/>
                <a:gd name="T42" fmla="*/ 276 w 123"/>
                <a:gd name="T43" fmla="*/ 833 h 107"/>
                <a:gd name="T44" fmla="*/ 493 w 123"/>
                <a:gd name="T45" fmla="*/ 912 h 107"/>
                <a:gd name="T46" fmla="*/ 559 w 123"/>
                <a:gd name="T47" fmla="*/ 912 h 107"/>
                <a:gd name="T48" fmla="*/ 619 w 123"/>
                <a:gd name="T49" fmla="*/ 912 h 107"/>
                <a:gd name="T50" fmla="*/ 699 w 123"/>
                <a:gd name="T51" fmla="*/ 912 h 107"/>
                <a:gd name="T52" fmla="*/ 834 w 123"/>
                <a:gd name="T53" fmla="*/ 912 h 107"/>
                <a:gd name="T54" fmla="*/ 915 w 123"/>
                <a:gd name="T55" fmla="*/ 750 h 107"/>
                <a:gd name="T56" fmla="*/ 966 w 123"/>
                <a:gd name="T57" fmla="*/ 750 h 10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23"/>
                <a:gd name="T88" fmla="*/ 0 h 107"/>
                <a:gd name="T89" fmla="*/ 123 w 123"/>
                <a:gd name="T90" fmla="*/ 107 h 10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23" h="107">
                  <a:moveTo>
                    <a:pt x="112" y="88"/>
                  </a:moveTo>
                  <a:lnTo>
                    <a:pt x="106" y="72"/>
                  </a:lnTo>
                  <a:lnTo>
                    <a:pt x="106" y="65"/>
                  </a:lnTo>
                  <a:lnTo>
                    <a:pt x="112" y="72"/>
                  </a:lnTo>
                  <a:lnTo>
                    <a:pt x="122" y="57"/>
                  </a:lnTo>
                  <a:lnTo>
                    <a:pt x="112" y="57"/>
                  </a:lnTo>
                  <a:lnTo>
                    <a:pt x="97" y="32"/>
                  </a:lnTo>
                  <a:lnTo>
                    <a:pt x="97" y="16"/>
                  </a:lnTo>
                  <a:lnTo>
                    <a:pt x="90" y="7"/>
                  </a:lnTo>
                  <a:lnTo>
                    <a:pt x="65" y="0"/>
                  </a:lnTo>
                  <a:lnTo>
                    <a:pt x="49" y="16"/>
                  </a:lnTo>
                  <a:lnTo>
                    <a:pt x="49" y="25"/>
                  </a:lnTo>
                  <a:lnTo>
                    <a:pt x="32" y="32"/>
                  </a:lnTo>
                  <a:lnTo>
                    <a:pt x="32" y="47"/>
                  </a:lnTo>
                  <a:lnTo>
                    <a:pt x="25" y="47"/>
                  </a:lnTo>
                  <a:lnTo>
                    <a:pt x="7" y="57"/>
                  </a:lnTo>
                  <a:lnTo>
                    <a:pt x="0" y="57"/>
                  </a:lnTo>
                  <a:lnTo>
                    <a:pt x="7" y="72"/>
                  </a:lnTo>
                  <a:lnTo>
                    <a:pt x="0" y="88"/>
                  </a:lnTo>
                  <a:lnTo>
                    <a:pt x="0" y="106"/>
                  </a:lnTo>
                  <a:lnTo>
                    <a:pt x="15" y="97"/>
                  </a:lnTo>
                  <a:lnTo>
                    <a:pt x="32" y="97"/>
                  </a:lnTo>
                  <a:lnTo>
                    <a:pt x="57" y="106"/>
                  </a:lnTo>
                  <a:lnTo>
                    <a:pt x="65" y="106"/>
                  </a:lnTo>
                  <a:lnTo>
                    <a:pt x="72" y="106"/>
                  </a:lnTo>
                  <a:lnTo>
                    <a:pt x="81" y="106"/>
                  </a:lnTo>
                  <a:lnTo>
                    <a:pt x="97" y="106"/>
                  </a:lnTo>
                  <a:lnTo>
                    <a:pt x="106" y="88"/>
                  </a:lnTo>
                  <a:lnTo>
                    <a:pt x="112" y="8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4" name="Freeform 121"/>
            <p:cNvSpPr>
              <a:spLocks/>
            </p:cNvSpPr>
            <p:nvPr/>
          </p:nvSpPr>
          <p:spPr bwMode="auto">
            <a:xfrm>
              <a:off x="3395" y="1735"/>
              <a:ext cx="307" cy="202"/>
            </a:xfrm>
            <a:custGeom>
              <a:avLst/>
              <a:gdLst>
                <a:gd name="T0" fmla="*/ 824 w 235"/>
                <a:gd name="T1" fmla="*/ 1159 h 155"/>
                <a:gd name="T2" fmla="*/ 685 w 235"/>
                <a:gd name="T3" fmla="*/ 1159 h 155"/>
                <a:gd name="T4" fmla="*/ 685 w 235"/>
                <a:gd name="T5" fmla="*/ 1079 h 155"/>
                <a:gd name="T6" fmla="*/ 745 w 235"/>
                <a:gd name="T7" fmla="*/ 951 h 155"/>
                <a:gd name="T8" fmla="*/ 895 w 235"/>
                <a:gd name="T9" fmla="*/ 951 h 155"/>
                <a:gd name="T10" fmla="*/ 895 w 235"/>
                <a:gd name="T11" fmla="*/ 884 h 155"/>
                <a:gd name="T12" fmla="*/ 824 w 235"/>
                <a:gd name="T13" fmla="*/ 744 h 155"/>
                <a:gd name="T14" fmla="*/ 824 w 235"/>
                <a:gd name="T15" fmla="*/ 678 h 155"/>
                <a:gd name="T16" fmla="*/ 618 w 235"/>
                <a:gd name="T17" fmla="*/ 611 h 155"/>
                <a:gd name="T18" fmla="*/ 473 w 235"/>
                <a:gd name="T19" fmla="*/ 678 h 155"/>
                <a:gd name="T20" fmla="*/ 351 w 235"/>
                <a:gd name="T21" fmla="*/ 744 h 155"/>
                <a:gd name="T22" fmla="*/ 260 w 235"/>
                <a:gd name="T23" fmla="*/ 744 h 155"/>
                <a:gd name="T24" fmla="*/ 60 w 235"/>
                <a:gd name="T25" fmla="*/ 744 h 155"/>
                <a:gd name="T26" fmla="*/ 0 w 235"/>
                <a:gd name="T27" fmla="*/ 678 h 155"/>
                <a:gd name="T28" fmla="*/ 60 w 235"/>
                <a:gd name="T29" fmla="*/ 549 h 155"/>
                <a:gd name="T30" fmla="*/ 133 w 235"/>
                <a:gd name="T31" fmla="*/ 408 h 155"/>
                <a:gd name="T32" fmla="*/ 196 w 235"/>
                <a:gd name="T33" fmla="*/ 336 h 155"/>
                <a:gd name="T34" fmla="*/ 133 w 235"/>
                <a:gd name="T35" fmla="*/ 146 h 155"/>
                <a:gd name="T36" fmla="*/ 260 w 235"/>
                <a:gd name="T37" fmla="*/ 78 h 155"/>
                <a:gd name="T38" fmla="*/ 408 w 235"/>
                <a:gd name="T39" fmla="*/ 78 h 155"/>
                <a:gd name="T40" fmla="*/ 618 w 235"/>
                <a:gd name="T41" fmla="*/ 146 h 155"/>
                <a:gd name="T42" fmla="*/ 685 w 235"/>
                <a:gd name="T43" fmla="*/ 146 h 155"/>
                <a:gd name="T44" fmla="*/ 745 w 235"/>
                <a:gd name="T45" fmla="*/ 146 h 155"/>
                <a:gd name="T46" fmla="*/ 824 w 235"/>
                <a:gd name="T47" fmla="*/ 146 h 155"/>
                <a:gd name="T48" fmla="*/ 959 w 235"/>
                <a:gd name="T49" fmla="*/ 146 h 155"/>
                <a:gd name="T50" fmla="*/ 1035 w 235"/>
                <a:gd name="T51" fmla="*/ 0 h 155"/>
                <a:gd name="T52" fmla="*/ 1084 w 235"/>
                <a:gd name="T53" fmla="*/ 0 h 155"/>
                <a:gd name="T54" fmla="*/ 1296 w 235"/>
                <a:gd name="T55" fmla="*/ 0 h 155"/>
                <a:gd name="T56" fmla="*/ 1377 w 235"/>
                <a:gd name="T57" fmla="*/ 78 h 155"/>
                <a:gd name="T58" fmla="*/ 1296 w 235"/>
                <a:gd name="T59" fmla="*/ 78 h 155"/>
                <a:gd name="T60" fmla="*/ 1377 w 235"/>
                <a:gd name="T61" fmla="*/ 146 h 155"/>
                <a:gd name="T62" fmla="*/ 1442 w 235"/>
                <a:gd name="T63" fmla="*/ 146 h 155"/>
                <a:gd name="T64" fmla="*/ 1511 w 235"/>
                <a:gd name="T65" fmla="*/ 275 h 155"/>
                <a:gd name="T66" fmla="*/ 1587 w 235"/>
                <a:gd name="T67" fmla="*/ 336 h 155"/>
                <a:gd name="T68" fmla="*/ 1637 w 235"/>
                <a:gd name="T69" fmla="*/ 275 h 155"/>
                <a:gd name="T70" fmla="*/ 1995 w 235"/>
                <a:gd name="T71" fmla="*/ 483 h 155"/>
                <a:gd name="T72" fmla="*/ 1928 w 235"/>
                <a:gd name="T73" fmla="*/ 744 h 155"/>
                <a:gd name="T74" fmla="*/ 1850 w 235"/>
                <a:gd name="T75" fmla="*/ 678 h 155"/>
                <a:gd name="T76" fmla="*/ 1799 w 235"/>
                <a:gd name="T77" fmla="*/ 744 h 155"/>
                <a:gd name="T78" fmla="*/ 1799 w 235"/>
                <a:gd name="T79" fmla="*/ 884 h 155"/>
                <a:gd name="T80" fmla="*/ 1719 w 235"/>
                <a:gd name="T81" fmla="*/ 884 h 155"/>
                <a:gd name="T82" fmla="*/ 1377 w 235"/>
                <a:gd name="T83" fmla="*/ 1079 h 155"/>
                <a:gd name="T84" fmla="*/ 1511 w 235"/>
                <a:gd name="T85" fmla="*/ 1159 h 155"/>
                <a:gd name="T86" fmla="*/ 1511 w 235"/>
                <a:gd name="T87" fmla="*/ 1159 h 155"/>
                <a:gd name="T88" fmla="*/ 1296 w 235"/>
                <a:gd name="T89" fmla="*/ 1290 h 155"/>
                <a:gd name="T90" fmla="*/ 1244 w 235"/>
                <a:gd name="T91" fmla="*/ 1290 h 155"/>
                <a:gd name="T92" fmla="*/ 1244 w 235"/>
                <a:gd name="T93" fmla="*/ 1215 h 155"/>
                <a:gd name="T94" fmla="*/ 1169 w 235"/>
                <a:gd name="T95" fmla="*/ 1159 h 155"/>
                <a:gd name="T96" fmla="*/ 1296 w 235"/>
                <a:gd name="T97" fmla="*/ 1079 h 155"/>
                <a:gd name="T98" fmla="*/ 1084 w 235"/>
                <a:gd name="T99" fmla="*/ 1007 h 155"/>
                <a:gd name="T100" fmla="*/ 1084 w 235"/>
                <a:gd name="T101" fmla="*/ 951 h 155"/>
                <a:gd name="T102" fmla="*/ 959 w 235"/>
                <a:gd name="T103" fmla="*/ 951 h 155"/>
                <a:gd name="T104" fmla="*/ 895 w 235"/>
                <a:gd name="T105" fmla="*/ 1079 h 155"/>
                <a:gd name="T106" fmla="*/ 824 w 235"/>
                <a:gd name="T107" fmla="*/ 1079 h 155"/>
                <a:gd name="T108" fmla="*/ 824 w 235"/>
                <a:gd name="T109" fmla="*/ 1159 h 15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35"/>
                <a:gd name="T166" fmla="*/ 0 h 155"/>
                <a:gd name="T167" fmla="*/ 235 w 235"/>
                <a:gd name="T168" fmla="*/ 155 h 15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35" h="155">
                  <a:moveTo>
                    <a:pt x="97" y="139"/>
                  </a:moveTo>
                  <a:lnTo>
                    <a:pt x="81" y="139"/>
                  </a:lnTo>
                  <a:lnTo>
                    <a:pt x="81" y="130"/>
                  </a:lnTo>
                  <a:lnTo>
                    <a:pt x="88" y="114"/>
                  </a:lnTo>
                  <a:lnTo>
                    <a:pt x="106" y="114"/>
                  </a:lnTo>
                  <a:lnTo>
                    <a:pt x="106" y="106"/>
                  </a:lnTo>
                  <a:lnTo>
                    <a:pt x="97" y="90"/>
                  </a:lnTo>
                  <a:lnTo>
                    <a:pt x="97" y="81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1" y="90"/>
                  </a:lnTo>
                  <a:lnTo>
                    <a:pt x="31" y="90"/>
                  </a:lnTo>
                  <a:lnTo>
                    <a:pt x="7" y="90"/>
                  </a:lnTo>
                  <a:lnTo>
                    <a:pt x="0" y="81"/>
                  </a:lnTo>
                  <a:lnTo>
                    <a:pt x="7" y="66"/>
                  </a:lnTo>
                  <a:lnTo>
                    <a:pt x="16" y="49"/>
                  </a:lnTo>
                  <a:lnTo>
                    <a:pt x="23" y="41"/>
                  </a:lnTo>
                  <a:lnTo>
                    <a:pt x="16" y="18"/>
                  </a:lnTo>
                  <a:lnTo>
                    <a:pt x="31" y="9"/>
                  </a:lnTo>
                  <a:lnTo>
                    <a:pt x="48" y="9"/>
                  </a:lnTo>
                  <a:lnTo>
                    <a:pt x="73" y="18"/>
                  </a:lnTo>
                  <a:lnTo>
                    <a:pt x="81" y="18"/>
                  </a:lnTo>
                  <a:lnTo>
                    <a:pt x="88" y="18"/>
                  </a:lnTo>
                  <a:lnTo>
                    <a:pt x="97" y="18"/>
                  </a:lnTo>
                  <a:lnTo>
                    <a:pt x="113" y="18"/>
                  </a:lnTo>
                  <a:lnTo>
                    <a:pt x="122" y="0"/>
                  </a:lnTo>
                  <a:lnTo>
                    <a:pt x="128" y="0"/>
                  </a:lnTo>
                  <a:lnTo>
                    <a:pt x="153" y="0"/>
                  </a:lnTo>
                  <a:lnTo>
                    <a:pt x="162" y="9"/>
                  </a:lnTo>
                  <a:lnTo>
                    <a:pt x="153" y="9"/>
                  </a:lnTo>
                  <a:lnTo>
                    <a:pt x="162" y="18"/>
                  </a:lnTo>
                  <a:lnTo>
                    <a:pt x="170" y="18"/>
                  </a:lnTo>
                  <a:lnTo>
                    <a:pt x="178" y="33"/>
                  </a:lnTo>
                  <a:lnTo>
                    <a:pt x="187" y="41"/>
                  </a:lnTo>
                  <a:lnTo>
                    <a:pt x="193" y="33"/>
                  </a:lnTo>
                  <a:lnTo>
                    <a:pt x="235" y="58"/>
                  </a:lnTo>
                  <a:lnTo>
                    <a:pt x="227" y="90"/>
                  </a:lnTo>
                  <a:lnTo>
                    <a:pt x="218" y="81"/>
                  </a:lnTo>
                  <a:lnTo>
                    <a:pt x="212" y="90"/>
                  </a:lnTo>
                  <a:lnTo>
                    <a:pt x="212" y="106"/>
                  </a:lnTo>
                  <a:lnTo>
                    <a:pt x="203" y="106"/>
                  </a:lnTo>
                  <a:lnTo>
                    <a:pt x="162" y="130"/>
                  </a:lnTo>
                  <a:lnTo>
                    <a:pt x="178" y="139"/>
                  </a:lnTo>
                  <a:lnTo>
                    <a:pt x="153" y="155"/>
                  </a:lnTo>
                  <a:lnTo>
                    <a:pt x="146" y="155"/>
                  </a:lnTo>
                  <a:lnTo>
                    <a:pt x="146" y="146"/>
                  </a:lnTo>
                  <a:lnTo>
                    <a:pt x="138" y="139"/>
                  </a:lnTo>
                  <a:lnTo>
                    <a:pt x="153" y="130"/>
                  </a:lnTo>
                  <a:lnTo>
                    <a:pt x="128" y="121"/>
                  </a:lnTo>
                  <a:lnTo>
                    <a:pt x="128" y="114"/>
                  </a:lnTo>
                  <a:lnTo>
                    <a:pt x="113" y="114"/>
                  </a:lnTo>
                  <a:lnTo>
                    <a:pt x="106" y="130"/>
                  </a:lnTo>
                  <a:lnTo>
                    <a:pt x="97" y="130"/>
                  </a:lnTo>
                  <a:lnTo>
                    <a:pt x="97" y="13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5" name="Freeform 122"/>
            <p:cNvSpPr>
              <a:spLocks/>
            </p:cNvSpPr>
            <p:nvPr/>
          </p:nvSpPr>
          <p:spPr bwMode="auto">
            <a:xfrm>
              <a:off x="3383" y="1568"/>
              <a:ext cx="119" cy="74"/>
            </a:xfrm>
            <a:custGeom>
              <a:avLst/>
              <a:gdLst>
                <a:gd name="T0" fmla="*/ 340 w 91"/>
                <a:gd name="T1" fmla="*/ 0 h 57"/>
                <a:gd name="T2" fmla="*/ 340 w 91"/>
                <a:gd name="T3" fmla="*/ 188 h 57"/>
                <a:gd name="T4" fmla="*/ 212 w 91"/>
                <a:gd name="T5" fmla="*/ 188 h 57"/>
                <a:gd name="T6" fmla="*/ 133 w 91"/>
                <a:gd name="T7" fmla="*/ 58 h 57"/>
                <a:gd name="T8" fmla="*/ 78 w 91"/>
                <a:gd name="T9" fmla="*/ 119 h 57"/>
                <a:gd name="T10" fmla="*/ 0 w 91"/>
                <a:gd name="T11" fmla="*/ 260 h 57"/>
                <a:gd name="T12" fmla="*/ 0 w 91"/>
                <a:gd name="T13" fmla="*/ 380 h 57"/>
                <a:gd name="T14" fmla="*/ 78 w 91"/>
                <a:gd name="T15" fmla="*/ 323 h 57"/>
                <a:gd name="T16" fmla="*/ 424 w 91"/>
                <a:gd name="T17" fmla="*/ 323 h 57"/>
                <a:gd name="T18" fmla="*/ 634 w 91"/>
                <a:gd name="T19" fmla="*/ 456 h 57"/>
                <a:gd name="T20" fmla="*/ 769 w 91"/>
                <a:gd name="T21" fmla="*/ 323 h 57"/>
                <a:gd name="T22" fmla="*/ 700 w 91"/>
                <a:gd name="T23" fmla="*/ 188 h 57"/>
                <a:gd name="T24" fmla="*/ 700 w 91"/>
                <a:gd name="T25" fmla="*/ 58 h 57"/>
                <a:gd name="T26" fmla="*/ 554 w 91"/>
                <a:gd name="T27" fmla="*/ 58 h 57"/>
                <a:gd name="T28" fmla="*/ 424 w 91"/>
                <a:gd name="T29" fmla="*/ 0 h 57"/>
                <a:gd name="T30" fmla="*/ 340 w 91"/>
                <a:gd name="T31" fmla="*/ 0 h 5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1"/>
                <a:gd name="T49" fmla="*/ 0 h 57"/>
                <a:gd name="T50" fmla="*/ 91 w 91"/>
                <a:gd name="T51" fmla="*/ 57 h 5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1" h="57">
                  <a:moveTo>
                    <a:pt x="40" y="0"/>
                  </a:moveTo>
                  <a:lnTo>
                    <a:pt x="40" y="23"/>
                  </a:lnTo>
                  <a:lnTo>
                    <a:pt x="25" y="23"/>
                  </a:lnTo>
                  <a:lnTo>
                    <a:pt x="16" y="7"/>
                  </a:lnTo>
                  <a:lnTo>
                    <a:pt x="9" y="15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9" y="40"/>
                  </a:lnTo>
                  <a:lnTo>
                    <a:pt x="50" y="40"/>
                  </a:lnTo>
                  <a:lnTo>
                    <a:pt x="74" y="56"/>
                  </a:lnTo>
                  <a:lnTo>
                    <a:pt x="90" y="40"/>
                  </a:lnTo>
                  <a:lnTo>
                    <a:pt x="82" y="23"/>
                  </a:lnTo>
                  <a:lnTo>
                    <a:pt x="82" y="7"/>
                  </a:lnTo>
                  <a:lnTo>
                    <a:pt x="65" y="7"/>
                  </a:lnTo>
                  <a:lnTo>
                    <a:pt x="50" y="0"/>
                  </a:lnTo>
                  <a:lnTo>
                    <a:pt x="4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6" name="Freeform 123"/>
            <p:cNvSpPr>
              <a:spLocks/>
            </p:cNvSpPr>
            <p:nvPr/>
          </p:nvSpPr>
          <p:spPr bwMode="auto">
            <a:xfrm>
              <a:off x="3383" y="1619"/>
              <a:ext cx="99" cy="77"/>
            </a:xfrm>
            <a:custGeom>
              <a:avLst/>
              <a:gdLst>
                <a:gd name="T0" fmla="*/ 0 w 75"/>
                <a:gd name="T1" fmla="*/ 238 h 58"/>
                <a:gd name="T2" fmla="*/ 0 w 75"/>
                <a:gd name="T3" fmla="*/ 151 h 58"/>
                <a:gd name="T4" fmla="*/ 0 w 75"/>
                <a:gd name="T5" fmla="*/ 65 h 58"/>
                <a:gd name="T6" fmla="*/ 86 w 75"/>
                <a:gd name="T7" fmla="*/ 0 h 58"/>
                <a:gd name="T8" fmla="*/ 462 w 75"/>
                <a:gd name="T9" fmla="*/ 0 h 58"/>
                <a:gd name="T10" fmla="*/ 681 w 75"/>
                <a:gd name="T11" fmla="*/ 151 h 58"/>
                <a:gd name="T12" fmla="*/ 681 w 75"/>
                <a:gd name="T13" fmla="*/ 238 h 58"/>
                <a:gd name="T14" fmla="*/ 524 w 75"/>
                <a:gd name="T15" fmla="*/ 305 h 58"/>
                <a:gd name="T16" fmla="*/ 524 w 75"/>
                <a:gd name="T17" fmla="*/ 451 h 58"/>
                <a:gd name="T18" fmla="*/ 462 w 75"/>
                <a:gd name="T19" fmla="*/ 451 h 58"/>
                <a:gd name="T20" fmla="*/ 293 w 75"/>
                <a:gd name="T21" fmla="*/ 552 h 58"/>
                <a:gd name="T22" fmla="*/ 235 w 75"/>
                <a:gd name="T23" fmla="*/ 552 h 58"/>
                <a:gd name="T24" fmla="*/ 150 w 75"/>
                <a:gd name="T25" fmla="*/ 451 h 58"/>
                <a:gd name="T26" fmla="*/ 150 w 75"/>
                <a:gd name="T27" fmla="*/ 238 h 58"/>
                <a:gd name="T28" fmla="*/ 0 w 75"/>
                <a:gd name="T29" fmla="*/ 238 h 5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5"/>
                <a:gd name="T46" fmla="*/ 0 h 58"/>
                <a:gd name="T47" fmla="*/ 75 w 75"/>
                <a:gd name="T48" fmla="*/ 58 h 5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5" h="58">
                  <a:moveTo>
                    <a:pt x="0" y="25"/>
                  </a:moveTo>
                  <a:lnTo>
                    <a:pt x="0" y="16"/>
                  </a:lnTo>
                  <a:lnTo>
                    <a:pt x="0" y="7"/>
                  </a:lnTo>
                  <a:lnTo>
                    <a:pt x="9" y="0"/>
                  </a:lnTo>
                  <a:lnTo>
                    <a:pt x="50" y="0"/>
                  </a:lnTo>
                  <a:lnTo>
                    <a:pt x="74" y="16"/>
                  </a:lnTo>
                  <a:lnTo>
                    <a:pt x="74" y="25"/>
                  </a:lnTo>
                  <a:lnTo>
                    <a:pt x="57" y="32"/>
                  </a:lnTo>
                  <a:lnTo>
                    <a:pt x="57" y="47"/>
                  </a:lnTo>
                  <a:lnTo>
                    <a:pt x="50" y="47"/>
                  </a:lnTo>
                  <a:lnTo>
                    <a:pt x="32" y="57"/>
                  </a:lnTo>
                  <a:lnTo>
                    <a:pt x="25" y="57"/>
                  </a:lnTo>
                  <a:lnTo>
                    <a:pt x="16" y="47"/>
                  </a:lnTo>
                  <a:lnTo>
                    <a:pt x="16" y="25"/>
                  </a:lnTo>
                  <a:lnTo>
                    <a:pt x="0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7" name="Freeform 124"/>
            <p:cNvSpPr>
              <a:spLocks/>
            </p:cNvSpPr>
            <p:nvPr/>
          </p:nvSpPr>
          <p:spPr bwMode="auto">
            <a:xfrm>
              <a:off x="3426" y="1523"/>
              <a:ext cx="76" cy="55"/>
            </a:xfrm>
            <a:custGeom>
              <a:avLst/>
              <a:gdLst>
                <a:gd name="T0" fmla="*/ 59 w 59"/>
                <a:gd name="T1" fmla="*/ 297 h 42"/>
                <a:gd name="T2" fmla="*/ 0 w 59"/>
                <a:gd name="T3" fmla="*/ 210 h 42"/>
                <a:gd name="T4" fmla="*/ 0 w 59"/>
                <a:gd name="T5" fmla="*/ 83 h 42"/>
                <a:gd name="T6" fmla="*/ 59 w 59"/>
                <a:gd name="T7" fmla="*/ 0 h 42"/>
                <a:gd name="T8" fmla="*/ 443 w 59"/>
                <a:gd name="T9" fmla="*/ 0 h 42"/>
                <a:gd name="T10" fmla="*/ 376 w 59"/>
                <a:gd name="T11" fmla="*/ 83 h 42"/>
                <a:gd name="T12" fmla="*/ 318 w 59"/>
                <a:gd name="T13" fmla="*/ 83 h 42"/>
                <a:gd name="T14" fmla="*/ 376 w 59"/>
                <a:gd name="T15" fmla="*/ 297 h 42"/>
                <a:gd name="T16" fmla="*/ 376 w 59"/>
                <a:gd name="T17" fmla="*/ 360 h 42"/>
                <a:gd name="T18" fmla="*/ 251 w 59"/>
                <a:gd name="T19" fmla="*/ 360 h 42"/>
                <a:gd name="T20" fmla="*/ 137 w 59"/>
                <a:gd name="T21" fmla="*/ 297 h 42"/>
                <a:gd name="T22" fmla="*/ 59 w 59"/>
                <a:gd name="T23" fmla="*/ 297 h 4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9"/>
                <a:gd name="T37" fmla="*/ 0 h 42"/>
                <a:gd name="T38" fmla="*/ 59 w 59"/>
                <a:gd name="T39" fmla="*/ 42 h 4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9" h="42">
                  <a:moveTo>
                    <a:pt x="8" y="34"/>
                  </a:moveTo>
                  <a:lnTo>
                    <a:pt x="0" y="24"/>
                  </a:lnTo>
                  <a:lnTo>
                    <a:pt x="0" y="9"/>
                  </a:lnTo>
                  <a:lnTo>
                    <a:pt x="8" y="0"/>
                  </a:lnTo>
                  <a:lnTo>
                    <a:pt x="58" y="0"/>
                  </a:lnTo>
                  <a:lnTo>
                    <a:pt x="50" y="9"/>
                  </a:lnTo>
                  <a:lnTo>
                    <a:pt x="42" y="9"/>
                  </a:lnTo>
                  <a:lnTo>
                    <a:pt x="50" y="34"/>
                  </a:lnTo>
                  <a:lnTo>
                    <a:pt x="50" y="41"/>
                  </a:lnTo>
                  <a:lnTo>
                    <a:pt x="33" y="41"/>
                  </a:lnTo>
                  <a:lnTo>
                    <a:pt x="18" y="34"/>
                  </a:lnTo>
                  <a:lnTo>
                    <a:pt x="8" y="34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8" name="Freeform 125"/>
            <p:cNvSpPr>
              <a:spLocks/>
            </p:cNvSpPr>
            <p:nvPr/>
          </p:nvSpPr>
          <p:spPr bwMode="auto">
            <a:xfrm>
              <a:off x="3353" y="1652"/>
              <a:ext cx="53" cy="31"/>
            </a:xfrm>
            <a:custGeom>
              <a:avLst/>
              <a:gdLst>
                <a:gd name="T0" fmla="*/ 313 w 41"/>
                <a:gd name="T1" fmla="*/ 0 h 23"/>
                <a:gd name="T2" fmla="*/ 313 w 41"/>
                <a:gd name="T3" fmla="*/ 240 h 23"/>
                <a:gd name="T4" fmla="*/ 187 w 41"/>
                <a:gd name="T5" fmla="*/ 240 h 23"/>
                <a:gd name="T6" fmla="*/ 0 w 41"/>
                <a:gd name="T7" fmla="*/ 178 h 23"/>
                <a:gd name="T8" fmla="*/ 115 w 41"/>
                <a:gd name="T9" fmla="*/ 73 h 23"/>
                <a:gd name="T10" fmla="*/ 187 w 41"/>
                <a:gd name="T11" fmla="*/ 0 h 23"/>
                <a:gd name="T12" fmla="*/ 313 w 41"/>
                <a:gd name="T13" fmla="*/ 0 h 2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3"/>
                <a:gd name="T23" fmla="*/ 41 w 41"/>
                <a:gd name="T24" fmla="*/ 23 h 2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3">
                  <a:moveTo>
                    <a:pt x="40" y="0"/>
                  </a:moveTo>
                  <a:lnTo>
                    <a:pt x="40" y="22"/>
                  </a:lnTo>
                  <a:lnTo>
                    <a:pt x="24" y="22"/>
                  </a:lnTo>
                  <a:lnTo>
                    <a:pt x="0" y="16"/>
                  </a:lnTo>
                  <a:lnTo>
                    <a:pt x="15" y="7"/>
                  </a:lnTo>
                  <a:lnTo>
                    <a:pt x="24" y="0"/>
                  </a:lnTo>
                  <a:lnTo>
                    <a:pt x="4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9" name="Freeform 126"/>
            <p:cNvSpPr>
              <a:spLocks/>
            </p:cNvSpPr>
            <p:nvPr/>
          </p:nvSpPr>
          <p:spPr bwMode="auto">
            <a:xfrm>
              <a:off x="3692" y="1958"/>
              <a:ext cx="116" cy="42"/>
            </a:xfrm>
            <a:custGeom>
              <a:avLst/>
              <a:gdLst>
                <a:gd name="T0" fmla="*/ 211 w 89"/>
                <a:gd name="T1" fmla="*/ 220 h 33"/>
                <a:gd name="T2" fmla="*/ 211 w 89"/>
                <a:gd name="T3" fmla="*/ 167 h 33"/>
                <a:gd name="T4" fmla="*/ 211 w 89"/>
                <a:gd name="T5" fmla="*/ 103 h 33"/>
                <a:gd name="T6" fmla="*/ 0 w 89"/>
                <a:gd name="T7" fmla="*/ 0 h 33"/>
                <a:gd name="T8" fmla="*/ 335 w 89"/>
                <a:gd name="T9" fmla="*/ 0 h 33"/>
                <a:gd name="T10" fmla="*/ 469 w 89"/>
                <a:gd name="T11" fmla="*/ 60 h 33"/>
                <a:gd name="T12" fmla="*/ 603 w 89"/>
                <a:gd name="T13" fmla="*/ 60 h 33"/>
                <a:gd name="T14" fmla="*/ 735 w 89"/>
                <a:gd name="T15" fmla="*/ 167 h 33"/>
                <a:gd name="T16" fmla="*/ 678 w 89"/>
                <a:gd name="T17" fmla="*/ 167 h 33"/>
                <a:gd name="T18" fmla="*/ 735 w 89"/>
                <a:gd name="T19" fmla="*/ 220 h 33"/>
                <a:gd name="T20" fmla="*/ 603 w 89"/>
                <a:gd name="T21" fmla="*/ 220 h 33"/>
                <a:gd name="T22" fmla="*/ 545 w 89"/>
                <a:gd name="T23" fmla="*/ 220 h 33"/>
                <a:gd name="T24" fmla="*/ 401 w 89"/>
                <a:gd name="T25" fmla="*/ 220 h 33"/>
                <a:gd name="T26" fmla="*/ 211 w 89"/>
                <a:gd name="T27" fmla="*/ 220 h 3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9"/>
                <a:gd name="T43" fmla="*/ 0 h 33"/>
                <a:gd name="T44" fmla="*/ 89 w 89"/>
                <a:gd name="T45" fmla="*/ 33 h 3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9" h="33">
                  <a:moveTo>
                    <a:pt x="25" y="32"/>
                  </a:moveTo>
                  <a:lnTo>
                    <a:pt x="25" y="24"/>
                  </a:lnTo>
                  <a:lnTo>
                    <a:pt x="25" y="15"/>
                  </a:lnTo>
                  <a:lnTo>
                    <a:pt x="0" y="0"/>
                  </a:lnTo>
                  <a:lnTo>
                    <a:pt x="40" y="0"/>
                  </a:lnTo>
                  <a:lnTo>
                    <a:pt x="57" y="9"/>
                  </a:lnTo>
                  <a:lnTo>
                    <a:pt x="72" y="9"/>
                  </a:lnTo>
                  <a:lnTo>
                    <a:pt x="88" y="24"/>
                  </a:lnTo>
                  <a:lnTo>
                    <a:pt x="81" y="24"/>
                  </a:lnTo>
                  <a:lnTo>
                    <a:pt x="88" y="32"/>
                  </a:lnTo>
                  <a:lnTo>
                    <a:pt x="72" y="32"/>
                  </a:lnTo>
                  <a:lnTo>
                    <a:pt x="65" y="32"/>
                  </a:lnTo>
                  <a:lnTo>
                    <a:pt x="48" y="32"/>
                  </a:lnTo>
                  <a:lnTo>
                    <a:pt x="25" y="3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10" name="Freeform 127"/>
            <p:cNvSpPr>
              <a:spLocks/>
            </p:cNvSpPr>
            <p:nvPr/>
          </p:nvSpPr>
          <p:spPr bwMode="auto">
            <a:xfrm>
              <a:off x="3755" y="1999"/>
              <a:ext cx="53" cy="54"/>
            </a:xfrm>
            <a:custGeom>
              <a:avLst/>
              <a:gdLst>
                <a:gd name="T0" fmla="*/ 313 w 41"/>
                <a:gd name="T1" fmla="*/ 362 h 41"/>
                <a:gd name="T2" fmla="*/ 313 w 41"/>
                <a:gd name="T3" fmla="*/ 296 h 41"/>
                <a:gd name="T4" fmla="*/ 259 w 41"/>
                <a:gd name="T5" fmla="*/ 217 h 41"/>
                <a:gd name="T6" fmla="*/ 259 w 41"/>
                <a:gd name="T7" fmla="*/ 151 h 41"/>
                <a:gd name="T8" fmla="*/ 132 w 41"/>
                <a:gd name="T9" fmla="*/ 0 h 41"/>
                <a:gd name="T10" fmla="*/ 0 w 41"/>
                <a:gd name="T11" fmla="*/ 0 h 41"/>
                <a:gd name="T12" fmla="*/ 75 w 41"/>
                <a:gd name="T13" fmla="*/ 217 h 41"/>
                <a:gd name="T14" fmla="*/ 132 w 41"/>
                <a:gd name="T15" fmla="*/ 217 h 41"/>
                <a:gd name="T16" fmla="*/ 259 w 41"/>
                <a:gd name="T17" fmla="*/ 296 h 41"/>
                <a:gd name="T18" fmla="*/ 259 w 41"/>
                <a:gd name="T19" fmla="*/ 362 h 41"/>
                <a:gd name="T20" fmla="*/ 313 w 41"/>
                <a:gd name="T21" fmla="*/ 362 h 4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1"/>
                <a:gd name="T34" fmla="*/ 0 h 41"/>
                <a:gd name="T35" fmla="*/ 41 w 41"/>
                <a:gd name="T36" fmla="*/ 41 h 4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1" h="41">
                  <a:moveTo>
                    <a:pt x="40" y="40"/>
                  </a:moveTo>
                  <a:lnTo>
                    <a:pt x="40" y="33"/>
                  </a:lnTo>
                  <a:lnTo>
                    <a:pt x="33" y="24"/>
                  </a:lnTo>
                  <a:lnTo>
                    <a:pt x="33" y="17"/>
                  </a:lnTo>
                  <a:lnTo>
                    <a:pt x="17" y="0"/>
                  </a:lnTo>
                  <a:lnTo>
                    <a:pt x="0" y="0"/>
                  </a:lnTo>
                  <a:lnTo>
                    <a:pt x="9" y="24"/>
                  </a:lnTo>
                  <a:lnTo>
                    <a:pt x="17" y="24"/>
                  </a:lnTo>
                  <a:lnTo>
                    <a:pt x="33" y="33"/>
                  </a:lnTo>
                  <a:lnTo>
                    <a:pt x="33" y="40"/>
                  </a:lnTo>
                  <a:lnTo>
                    <a:pt x="40" y="4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11" name="Freeform 128"/>
            <p:cNvSpPr>
              <a:spLocks/>
            </p:cNvSpPr>
            <p:nvPr/>
          </p:nvSpPr>
          <p:spPr bwMode="auto">
            <a:xfrm>
              <a:off x="3777" y="2031"/>
              <a:ext cx="23" cy="22"/>
            </a:xfrm>
            <a:custGeom>
              <a:avLst/>
              <a:gdLst>
                <a:gd name="T0" fmla="*/ 183 w 17"/>
                <a:gd name="T1" fmla="*/ 126 h 17"/>
                <a:gd name="T2" fmla="*/ 74 w 17"/>
                <a:gd name="T3" fmla="*/ 126 h 17"/>
                <a:gd name="T4" fmla="*/ 0 w 17"/>
                <a:gd name="T5" fmla="*/ 0 h 17"/>
                <a:gd name="T6" fmla="*/ 183 w 17"/>
                <a:gd name="T7" fmla="*/ 75 h 17"/>
                <a:gd name="T8" fmla="*/ 183 w 17"/>
                <a:gd name="T9" fmla="*/ 126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16" y="16"/>
                  </a:moveTo>
                  <a:lnTo>
                    <a:pt x="7" y="16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12" name="Freeform 129"/>
            <p:cNvSpPr>
              <a:spLocks/>
            </p:cNvSpPr>
            <p:nvPr/>
          </p:nvSpPr>
          <p:spPr bwMode="auto">
            <a:xfrm>
              <a:off x="3777" y="1990"/>
              <a:ext cx="95" cy="75"/>
            </a:xfrm>
            <a:custGeom>
              <a:avLst/>
              <a:gdLst>
                <a:gd name="T0" fmla="*/ 190 w 73"/>
                <a:gd name="T1" fmla="*/ 371 h 58"/>
                <a:gd name="T2" fmla="*/ 331 w 73"/>
                <a:gd name="T3" fmla="*/ 323 h 58"/>
                <a:gd name="T4" fmla="*/ 393 w 73"/>
                <a:gd name="T5" fmla="*/ 323 h 58"/>
                <a:gd name="T6" fmla="*/ 331 w 73"/>
                <a:gd name="T7" fmla="*/ 371 h 58"/>
                <a:gd name="T8" fmla="*/ 467 w 73"/>
                <a:gd name="T9" fmla="*/ 449 h 58"/>
                <a:gd name="T10" fmla="*/ 393 w 73"/>
                <a:gd name="T11" fmla="*/ 371 h 58"/>
                <a:gd name="T12" fmla="*/ 467 w 73"/>
                <a:gd name="T13" fmla="*/ 371 h 58"/>
                <a:gd name="T14" fmla="*/ 467 w 73"/>
                <a:gd name="T15" fmla="*/ 250 h 58"/>
                <a:gd name="T16" fmla="*/ 592 w 73"/>
                <a:gd name="T17" fmla="*/ 193 h 58"/>
                <a:gd name="T18" fmla="*/ 467 w 73"/>
                <a:gd name="T19" fmla="*/ 125 h 58"/>
                <a:gd name="T20" fmla="*/ 393 w 73"/>
                <a:gd name="T21" fmla="*/ 0 h 58"/>
                <a:gd name="T22" fmla="*/ 331 w 73"/>
                <a:gd name="T23" fmla="*/ 61 h 58"/>
                <a:gd name="T24" fmla="*/ 269 w 73"/>
                <a:gd name="T25" fmla="*/ 61 h 58"/>
                <a:gd name="T26" fmla="*/ 190 w 73"/>
                <a:gd name="T27" fmla="*/ 0 h 58"/>
                <a:gd name="T28" fmla="*/ 133 w 73"/>
                <a:gd name="T29" fmla="*/ 0 h 58"/>
                <a:gd name="T30" fmla="*/ 190 w 73"/>
                <a:gd name="T31" fmla="*/ 61 h 58"/>
                <a:gd name="T32" fmla="*/ 60 w 73"/>
                <a:gd name="T33" fmla="*/ 61 h 58"/>
                <a:gd name="T34" fmla="*/ 0 w 73"/>
                <a:gd name="T35" fmla="*/ 61 h 58"/>
                <a:gd name="T36" fmla="*/ 133 w 73"/>
                <a:gd name="T37" fmla="*/ 193 h 58"/>
                <a:gd name="T38" fmla="*/ 133 w 73"/>
                <a:gd name="T39" fmla="*/ 250 h 58"/>
                <a:gd name="T40" fmla="*/ 190 w 73"/>
                <a:gd name="T41" fmla="*/ 323 h 58"/>
                <a:gd name="T42" fmla="*/ 190 w 73"/>
                <a:gd name="T43" fmla="*/ 371 h 5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3"/>
                <a:gd name="T67" fmla="*/ 0 h 58"/>
                <a:gd name="T68" fmla="*/ 73 w 73"/>
                <a:gd name="T69" fmla="*/ 58 h 5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3" h="58">
                  <a:moveTo>
                    <a:pt x="23" y="48"/>
                  </a:moveTo>
                  <a:lnTo>
                    <a:pt x="40" y="41"/>
                  </a:lnTo>
                  <a:lnTo>
                    <a:pt x="48" y="41"/>
                  </a:lnTo>
                  <a:lnTo>
                    <a:pt x="40" y="48"/>
                  </a:lnTo>
                  <a:lnTo>
                    <a:pt x="57" y="57"/>
                  </a:lnTo>
                  <a:lnTo>
                    <a:pt x="48" y="48"/>
                  </a:lnTo>
                  <a:lnTo>
                    <a:pt x="57" y="48"/>
                  </a:lnTo>
                  <a:lnTo>
                    <a:pt x="57" y="32"/>
                  </a:lnTo>
                  <a:lnTo>
                    <a:pt x="72" y="25"/>
                  </a:lnTo>
                  <a:lnTo>
                    <a:pt x="57" y="16"/>
                  </a:lnTo>
                  <a:lnTo>
                    <a:pt x="48" y="0"/>
                  </a:lnTo>
                  <a:lnTo>
                    <a:pt x="40" y="8"/>
                  </a:lnTo>
                  <a:lnTo>
                    <a:pt x="32" y="8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23" y="8"/>
                  </a:lnTo>
                  <a:lnTo>
                    <a:pt x="7" y="8"/>
                  </a:lnTo>
                  <a:lnTo>
                    <a:pt x="0" y="8"/>
                  </a:lnTo>
                  <a:lnTo>
                    <a:pt x="16" y="25"/>
                  </a:lnTo>
                  <a:lnTo>
                    <a:pt x="16" y="32"/>
                  </a:lnTo>
                  <a:lnTo>
                    <a:pt x="23" y="41"/>
                  </a:lnTo>
                  <a:lnTo>
                    <a:pt x="23" y="4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13" name="Freeform 130"/>
            <p:cNvSpPr>
              <a:spLocks/>
            </p:cNvSpPr>
            <p:nvPr/>
          </p:nvSpPr>
          <p:spPr bwMode="auto">
            <a:xfrm>
              <a:off x="3214" y="1154"/>
              <a:ext cx="213" cy="499"/>
            </a:xfrm>
            <a:custGeom>
              <a:avLst/>
              <a:gdLst>
                <a:gd name="T0" fmla="*/ 0 w 163"/>
                <a:gd name="T1" fmla="*/ 2485 h 383"/>
                <a:gd name="T2" fmla="*/ 78 w 163"/>
                <a:gd name="T3" fmla="*/ 2485 h 383"/>
                <a:gd name="T4" fmla="*/ 78 w 163"/>
                <a:gd name="T5" fmla="*/ 2293 h 383"/>
                <a:gd name="T6" fmla="*/ 159 w 163"/>
                <a:gd name="T7" fmla="*/ 2215 h 383"/>
                <a:gd name="T8" fmla="*/ 159 w 163"/>
                <a:gd name="T9" fmla="*/ 2019 h 383"/>
                <a:gd name="T10" fmla="*/ 159 w 163"/>
                <a:gd name="T11" fmla="*/ 1957 h 383"/>
                <a:gd name="T12" fmla="*/ 78 w 163"/>
                <a:gd name="T13" fmla="*/ 1677 h 383"/>
                <a:gd name="T14" fmla="*/ 159 w 163"/>
                <a:gd name="T15" fmla="*/ 1408 h 383"/>
                <a:gd name="T16" fmla="*/ 212 w 163"/>
                <a:gd name="T17" fmla="*/ 1343 h 383"/>
                <a:gd name="T18" fmla="*/ 355 w 163"/>
                <a:gd name="T19" fmla="*/ 1287 h 383"/>
                <a:gd name="T20" fmla="*/ 277 w 163"/>
                <a:gd name="T21" fmla="*/ 1132 h 383"/>
                <a:gd name="T22" fmla="*/ 355 w 163"/>
                <a:gd name="T23" fmla="*/ 1015 h 383"/>
                <a:gd name="T24" fmla="*/ 422 w 163"/>
                <a:gd name="T25" fmla="*/ 805 h 383"/>
                <a:gd name="T26" fmla="*/ 551 w 163"/>
                <a:gd name="T27" fmla="*/ 607 h 383"/>
                <a:gd name="T28" fmla="*/ 551 w 163"/>
                <a:gd name="T29" fmla="*/ 466 h 383"/>
                <a:gd name="T30" fmla="*/ 635 w 163"/>
                <a:gd name="T31" fmla="*/ 336 h 383"/>
                <a:gd name="T32" fmla="*/ 694 w 163"/>
                <a:gd name="T33" fmla="*/ 257 h 383"/>
                <a:gd name="T34" fmla="*/ 768 w 163"/>
                <a:gd name="T35" fmla="*/ 257 h 383"/>
                <a:gd name="T36" fmla="*/ 768 w 163"/>
                <a:gd name="T37" fmla="*/ 133 h 383"/>
                <a:gd name="T38" fmla="*/ 830 w 163"/>
                <a:gd name="T39" fmla="*/ 133 h 383"/>
                <a:gd name="T40" fmla="*/ 976 w 163"/>
                <a:gd name="T41" fmla="*/ 133 h 383"/>
                <a:gd name="T42" fmla="*/ 976 w 163"/>
                <a:gd name="T43" fmla="*/ 0 h 383"/>
                <a:gd name="T44" fmla="*/ 1026 w 163"/>
                <a:gd name="T45" fmla="*/ 0 h 383"/>
                <a:gd name="T46" fmla="*/ 1319 w 163"/>
                <a:gd name="T47" fmla="*/ 257 h 383"/>
                <a:gd name="T48" fmla="*/ 1380 w 163"/>
                <a:gd name="T49" fmla="*/ 869 h 383"/>
                <a:gd name="T50" fmla="*/ 1245 w 163"/>
                <a:gd name="T51" fmla="*/ 869 h 383"/>
                <a:gd name="T52" fmla="*/ 1104 w 163"/>
                <a:gd name="T53" fmla="*/ 1015 h 383"/>
                <a:gd name="T54" fmla="*/ 1104 w 163"/>
                <a:gd name="T55" fmla="*/ 1076 h 383"/>
                <a:gd name="T56" fmla="*/ 1104 w 163"/>
                <a:gd name="T57" fmla="*/ 1132 h 383"/>
                <a:gd name="T58" fmla="*/ 1185 w 163"/>
                <a:gd name="T59" fmla="*/ 1214 h 383"/>
                <a:gd name="T60" fmla="*/ 1026 w 163"/>
                <a:gd name="T61" fmla="*/ 1343 h 383"/>
                <a:gd name="T62" fmla="*/ 830 w 163"/>
                <a:gd name="T63" fmla="*/ 1553 h 383"/>
                <a:gd name="T64" fmla="*/ 694 w 163"/>
                <a:gd name="T65" fmla="*/ 1760 h 383"/>
                <a:gd name="T66" fmla="*/ 694 w 163"/>
                <a:gd name="T67" fmla="*/ 2086 h 383"/>
                <a:gd name="T68" fmla="*/ 830 w 163"/>
                <a:gd name="T69" fmla="*/ 2293 h 383"/>
                <a:gd name="T70" fmla="*/ 768 w 163"/>
                <a:gd name="T71" fmla="*/ 2353 h 383"/>
                <a:gd name="T72" fmla="*/ 768 w 163"/>
                <a:gd name="T73" fmla="*/ 2419 h 383"/>
                <a:gd name="T74" fmla="*/ 635 w 163"/>
                <a:gd name="T75" fmla="*/ 2550 h 383"/>
                <a:gd name="T76" fmla="*/ 551 w 163"/>
                <a:gd name="T77" fmla="*/ 3023 h 383"/>
                <a:gd name="T78" fmla="*/ 422 w 163"/>
                <a:gd name="T79" fmla="*/ 3023 h 383"/>
                <a:gd name="T80" fmla="*/ 355 w 163"/>
                <a:gd name="T81" fmla="*/ 3098 h 383"/>
                <a:gd name="T82" fmla="*/ 355 w 163"/>
                <a:gd name="T83" fmla="*/ 3176 h 383"/>
                <a:gd name="T84" fmla="*/ 212 w 163"/>
                <a:gd name="T85" fmla="*/ 3176 h 383"/>
                <a:gd name="T86" fmla="*/ 159 w 163"/>
                <a:gd name="T87" fmla="*/ 3023 h 383"/>
                <a:gd name="T88" fmla="*/ 212 w 163"/>
                <a:gd name="T89" fmla="*/ 2965 h 383"/>
                <a:gd name="T90" fmla="*/ 159 w 163"/>
                <a:gd name="T91" fmla="*/ 2901 h 383"/>
                <a:gd name="T92" fmla="*/ 0 w 163"/>
                <a:gd name="T93" fmla="*/ 2485 h 38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3"/>
                <a:gd name="T142" fmla="*/ 0 h 383"/>
                <a:gd name="T143" fmla="*/ 163 w 163"/>
                <a:gd name="T144" fmla="*/ 383 h 38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3" h="383">
                  <a:moveTo>
                    <a:pt x="0" y="299"/>
                  </a:moveTo>
                  <a:lnTo>
                    <a:pt x="9" y="299"/>
                  </a:lnTo>
                  <a:lnTo>
                    <a:pt x="9" y="276"/>
                  </a:lnTo>
                  <a:lnTo>
                    <a:pt x="18" y="267"/>
                  </a:lnTo>
                  <a:lnTo>
                    <a:pt x="18" y="243"/>
                  </a:lnTo>
                  <a:lnTo>
                    <a:pt x="18" y="236"/>
                  </a:lnTo>
                  <a:lnTo>
                    <a:pt x="9" y="202"/>
                  </a:lnTo>
                  <a:lnTo>
                    <a:pt x="18" y="170"/>
                  </a:lnTo>
                  <a:lnTo>
                    <a:pt x="25" y="162"/>
                  </a:lnTo>
                  <a:lnTo>
                    <a:pt x="41" y="155"/>
                  </a:lnTo>
                  <a:lnTo>
                    <a:pt x="33" y="137"/>
                  </a:lnTo>
                  <a:lnTo>
                    <a:pt x="41" y="122"/>
                  </a:lnTo>
                  <a:lnTo>
                    <a:pt x="50" y="97"/>
                  </a:lnTo>
                  <a:lnTo>
                    <a:pt x="65" y="73"/>
                  </a:lnTo>
                  <a:lnTo>
                    <a:pt x="65" y="56"/>
                  </a:lnTo>
                  <a:lnTo>
                    <a:pt x="75" y="41"/>
                  </a:lnTo>
                  <a:lnTo>
                    <a:pt x="81" y="31"/>
                  </a:lnTo>
                  <a:lnTo>
                    <a:pt x="90" y="31"/>
                  </a:lnTo>
                  <a:lnTo>
                    <a:pt x="90" y="16"/>
                  </a:lnTo>
                  <a:lnTo>
                    <a:pt x="98" y="16"/>
                  </a:lnTo>
                  <a:lnTo>
                    <a:pt x="115" y="16"/>
                  </a:lnTo>
                  <a:lnTo>
                    <a:pt x="115" y="0"/>
                  </a:lnTo>
                  <a:lnTo>
                    <a:pt x="121" y="0"/>
                  </a:lnTo>
                  <a:lnTo>
                    <a:pt x="155" y="31"/>
                  </a:lnTo>
                  <a:lnTo>
                    <a:pt x="162" y="105"/>
                  </a:lnTo>
                  <a:lnTo>
                    <a:pt x="146" y="105"/>
                  </a:lnTo>
                  <a:lnTo>
                    <a:pt x="130" y="122"/>
                  </a:lnTo>
                  <a:lnTo>
                    <a:pt x="130" y="130"/>
                  </a:lnTo>
                  <a:lnTo>
                    <a:pt x="130" y="137"/>
                  </a:lnTo>
                  <a:lnTo>
                    <a:pt x="139" y="146"/>
                  </a:lnTo>
                  <a:lnTo>
                    <a:pt x="121" y="162"/>
                  </a:lnTo>
                  <a:lnTo>
                    <a:pt x="98" y="187"/>
                  </a:lnTo>
                  <a:lnTo>
                    <a:pt x="81" y="212"/>
                  </a:lnTo>
                  <a:lnTo>
                    <a:pt x="81" y="252"/>
                  </a:lnTo>
                  <a:lnTo>
                    <a:pt x="98" y="276"/>
                  </a:lnTo>
                  <a:lnTo>
                    <a:pt x="90" y="283"/>
                  </a:lnTo>
                  <a:lnTo>
                    <a:pt x="90" y="292"/>
                  </a:lnTo>
                  <a:lnTo>
                    <a:pt x="75" y="307"/>
                  </a:lnTo>
                  <a:lnTo>
                    <a:pt x="65" y="364"/>
                  </a:lnTo>
                  <a:lnTo>
                    <a:pt x="50" y="364"/>
                  </a:lnTo>
                  <a:lnTo>
                    <a:pt x="41" y="373"/>
                  </a:lnTo>
                  <a:lnTo>
                    <a:pt x="41" y="382"/>
                  </a:lnTo>
                  <a:lnTo>
                    <a:pt x="25" y="382"/>
                  </a:lnTo>
                  <a:lnTo>
                    <a:pt x="18" y="364"/>
                  </a:lnTo>
                  <a:lnTo>
                    <a:pt x="25" y="357"/>
                  </a:lnTo>
                  <a:lnTo>
                    <a:pt x="18" y="349"/>
                  </a:lnTo>
                  <a:lnTo>
                    <a:pt x="0" y="29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14" name="Freeform 131"/>
            <p:cNvSpPr>
              <a:spLocks/>
            </p:cNvSpPr>
            <p:nvPr/>
          </p:nvSpPr>
          <p:spPr bwMode="auto">
            <a:xfrm>
              <a:off x="2897" y="1652"/>
              <a:ext cx="45" cy="44"/>
            </a:xfrm>
            <a:custGeom>
              <a:avLst/>
              <a:gdLst>
                <a:gd name="T0" fmla="*/ 185 w 35"/>
                <a:gd name="T1" fmla="*/ 320 h 33"/>
                <a:gd name="T2" fmla="*/ 185 w 35"/>
                <a:gd name="T3" fmla="*/ 219 h 33"/>
                <a:gd name="T4" fmla="*/ 66 w 35"/>
                <a:gd name="T5" fmla="*/ 219 h 33"/>
                <a:gd name="T6" fmla="*/ 0 w 35"/>
                <a:gd name="T7" fmla="*/ 155 h 33"/>
                <a:gd name="T8" fmla="*/ 66 w 35"/>
                <a:gd name="T9" fmla="*/ 0 h 33"/>
                <a:gd name="T10" fmla="*/ 185 w 35"/>
                <a:gd name="T11" fmla="*/ 65 h 33"/>
                <a:gd name="T12" fmla="*/ 258 w 35"/>
                <a:gd name="T13" fmla="*/ 219 h 33"/>
                <a:gd name="T14" fmla="*/ 185 w 35"/>
                <a:gd name="T15" fmla="*/ 32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5"/>
                <a:gd name="T25" fmla="*/ 0 h 33"/>
                <a:gd name="T26" fmla="*/ 35 w 35"/>
                <a:gd name="T27" fmla="*/ 33 h 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5" h="33">
                  <a:moveTo>
                    <a:pt x="25" y="32"/>
                  </a:moveTo>
                  <a:lnTo>
                    <a:pt x="25" y="22"/>
                  </a:lnTo>
                  <a:lnTo>
                    <a:pt x="9" y="22"/>
                  </a:lnTo>
                  <a:lnTo>
                    <a:pt x="0" y="16"/>
                  </a:lnTo>
                  <a:lnTo>
                    <a:pt x="9" y="0"/>
                  </a:lnTo>
                  <a:lnTo>
                    <a:pt x="25" y="7"/>
                  </a:lnTo>
                  <a:lnTo>
                    <a:pt x="34" y="22"/>
                  </a:lnTo>
                  <a:lnTo>
                    <a:pt x="25" y="3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15" name="Freeform 132"/>
            <p:cNvSpPr>
              <a:spLocks/>
            </p:cNvSpPr>
            <p:nvPr/>
          </p:nvSpPr>
          <p:spPr bwMode="auto">
            <a:xfrm>
              <a:off x="2853" y="1652"/>
              <a:ext cx="78" cy="107"/>
            </a:xfrm>
            <a:custGeom>
              <a:avLst/>
              <a:gdLst>
                <a:gd name="T0" fmla="*/ 397 w 59"/>
                <a:gd name="T1" fmla="*/ 0 h 82"/>
                <a:gd name="T2" fmla="*/ 311 w 59"/>
                <a:gd name="T3" fmla="*/ 133 h 82"/>
                <a:gd name="T4" fmla="*/ 397 w 59"/>
                <a:gd name="T5" fmla="*/ 189 h 82"/>
                <a:gd name="T6" fmla="*/ 543 w 59"/>
                <a:gd name="T7" fmla="*/ 189 h 82"/>
                <a:gd name="T8" fmla="*/ 543 w 59"/>
                <a:gd name="T9" fmla="*/ 274 h 82"/>
                <a:gd name="T10" fmla="*/ 543 w 59"/>
                <a:gd name="T11" fmla="*/ 393 h 82"/>
                <a:gd name="T12" fmla="*/ 461 w 59"/>
                <a:gd name="T13" fmla="*/ 609 h 82"/>
                <a:gd name="T14" fmla="*/ 78 w 59"/>
                <a:gd name="T15" fmla="*/ 682 h 82"/>
                <a:gd name="T16" fmla="*/ 0 w 59"/>
                <a:gd name="T17" fmla="*/ 609 h 82"/>
                <a:gd name="T18" fmla="*/ 78 w 59"/>
                <a:gd name="T19" fmla="*/ 609 h 82"/>
                <a:gd name="T20" fmla="*/ 172 w 59"/>
                <a:gd name="T21" fmla="*/ 393 h 82"/>
                <a:gd name="T22" fmla="*/ 78 w 59"/>
                <a:gd name="T23" fmla="*/ 335 h 82"/>
                <a:gd name="T24" fmla="*/ 172 w 59"/>
                <a:gd name="T25" fmla="*/ 274 h 82"/>
                <a:gd name="T26" fmla="*/ 78 w 59"/>
                <a:gd name="T27" fmla="*/ 274 h 82"/>
                <a:gd name="T28" fmla="*/ 78 w 59"/>
                <a:gd name="T29" fmla="*/ 189 h 82"/>
                <a:gd name="T30" fmla="*/ 235 w 59"/>
                <a:gd name="T31" fmla="*/ 189 h 82"/>
                <a:gd name="T32" fmla="*/ 311 w 59"/>
                <a:gd name="T33" fmla="*/ 133 h 82"/>
                <a:gd name="T34" fmla="*/ 235 w 59"/>
                <a:gd name="T35" fmla="*/ 133 h 82"/>
                <a:gd name="T36" fmla="*/ 235 w 59"/>
                <a:gd name="T37" fmla="*/ 60 h 82"/>
                <a:gd name="T38" fmla="*/ 397 w 59"/>
                <a:gd name="T39" fmla="*/ 0 h 8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9"/>
                <a:gd name="T61" fmla="*/ 0 h 82"/>
                <a:gd name="T62" fmla="*/ 59 w 59"/>
                <a:gd name="T63" fmla="*/ 82 h 8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9" h="82">
                  <a:moveTo>
                    <a:pt x="42" y="0"/>
                  </a:moveTo>
                  <a:lnTo>
                    <a:pt x="33" y="16"/>
                  </a:lnTo>
                  <a:lnTo>
                    <a:pt x="42" y="22"/>
                  </a:lnTo>
                  <a:lnTo>
                    <a:pt x="58" y="22"/>
                  </a:lnTo>
                  <a:lnTo>
                    <a:pt x="58" y="32"/>
                  </a:lnTo>
                  <a:lnTo>
                    <a:pt x="58" y="47"/>
                  </a:lnTo>
                  <a:lnTo>
                    <a:pt x="49" y="72"/>
                  </a:lnTo>
                  <a:lnTo>
                    <a:pt x="8" y="81"/>
                  </a:lnTo>
                  <a:lnTo>
                    <a:pt x="0" y="72"/>
                  </a:lnTo>
                  <a:lnTo>
                    <a:pt x="8" y="72"/>
                  </a:lnTo>
                  <a:lnTo>
                    <a:pt x="18" y="47"/>
                  </a:lnTo>
                  <a:lnTo>
                    <a:pt x="8" y="40"/>
                  </a:lnTo>
                  <a:lnTo>
                    <a:pt x="18" y="32"/>
                  </a:lnTo>
                  <a:lnTo>
                    <a:pt x="8" y="32"/>
                  </a:lnTo>
                  <a:lnTo>
                    <a:pt x="8" y="22"/>
                  </a:lnTo>
                  <a:lnTo>
                    <a:pt x="25" y="22"/>
                  </a:lnTo>
                  <a:lnTo>
                    <a:pt x="33" y="16"/>
                  </a:lnTo>
                  <a:lnTo>
                    <a:pt x="25" y="16"/>
                  </a:lnTo>
                  <a:lnTo>
                    <a:pt x="25" y="7"/>
                  </a:lnTo>
                  <a:lnTo>
                    <a:pt x="42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16" name="Freeform 133"/>
            <p:cNvSpPr>
              <a:spLocks/>
            </p:cNvSpPr>
            <p:nvPr/>
          </p:nvSpPr>
          <p:spPr bwMode="auto">
            <a:xfrm>
              <a:off x="3160" y="1586"/>
              <a:ext cx="55" cy="77"/>
            </a:xfrm>
            <a:custGeom>
              <a:avLst/>
              <a:gdLst>
                <a:gd name="T0" fmla="*/ 83 w 42"/>
                <a:gd name="T1" fmla="*/ 552 h 58"/>
                <a:gd name="T2" fmla="*/ 165 w 42"/>
                <a:gd name="T3" fmla="*/ 552 h 58"/>
                <a:gd name="T4" fmla="*/ 216 w 42"/>
                <a:gd name="T5" fmla="*/ 552 h 58"/>
                <a:gd name="T6" fmla="*/ 297 w 42"/>
                <a:gd name="T7" fmla="*/ 305 h 58"/>
                <a:gd name="T8" fmla="*/ 360 w 42"/>
                <a:gd name="T9" fmla="*/ 305 h 58"/>
                <a:gd name="T10" fmla="*/ 360 w 42"/>
                <a:gd name="T11" fmla="*/ 238 h 58"/>
                <a:gd name="T12" fmla="*/ 297 w 42"/>
                <a:gd name="T13" fmla="*/ 238 h 58"/>
                <a:gd name="T14" fmla="*/ 297 w 42"/>
                <a:gd name="T15" fmla="*/ 0 h 58"/>
                <a:gd name="T16" fmla="*/ 83 w 42"/>
                <a:gd name="T17" fmla="*/ 85 h 58"/>
                <a:gd name="T18" fmla="*/ 0 w 42"/>
                <a:gd name="T19" fmla="*/ 238 h 58"/>
                <a:gd name="T20" fmla="*/ 0 w 42"/>
                <a:gd name="T21" fmla="*/ 394 h 58"/>
                <a:gd name="T22" fmla="*/ 83 w 42"/>
                <a:gd name="T23" fmla="*/ 481 h 58"/>
                <a:gd name="T24" fmla="*/ 83 w 42"/>
                <a:gd name="T25" fmla="*/ 552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2"/>
                <a:gd name="T40" fmla="*/ 0 h 58"/>
                <a:gd name="T41" fmla="*/ 42 w 42"/>
                <a:gd name="T42" fmla="*/ 58 h 5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2" h="58">
                  <a:moveTo>
                    <a:pt x="9" y="57"/>
                  </a:moveTo>
                  <a:lnTo>
                    <a:pt x="19" y="57"/>
                  </a:lnTo>
                  <a:lnTo>
                    <a:pt x="25" y="57"/>
                  </a:lnTo>
                  <a:lnTo>
                    <a:pt x="34" y="32"/>
                  </a:lnTo>
                  <a:lnTo>
                    <a:pt x="41" y="32"/>
                  </a:lnTo>
                  <a:lnTo>
                    <a:pt x="41" y="25"/>
                  </a:lnTo>
                  <a:lnTo>
                    <a:pt x="34" y="25"/>
                  </a:lnTo>
                  <a:lnTo>
                    <a:pt x="34" y="0"/>
                  </a:lnTo>
                  <a:lnTo>
                    <a:pt x="9" y="8"/>
                  </a:lnTo>
                  <a:lnTo>
                    <a:pt x="0" y="25"/>
                  </a:lnTo>
                  <a:lnTo>
                    <a:pt x="0" y="41"/>
                  </a:lnTo>
                  <a:lnTo>
                    <a:pt x="9" y="50"/>
                  </a:lnTo>
                  <a:lnTo>
                    <a:pt x="9" y="5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17" name="Freeform 134"/>
            <p:cNvSpPr>
              <a:spLocks/>
            </p:cNvSpPr>
            <p:nvPr/>
          </p:nvSpPr>
          <p:spPr bwMode="auto">
            <a:xfrm>
              <a:off x="3087" y="1704"/>
              <a:ext cx="67" cy="75"/>
            </a:xfrm>
            <a:custGeom>
              <a:avLst/>
              <a:gdLst>
                <a:gd name="T0" fmla="*/ 288 w 51"/>
                <a:gd name="T1" fmla="*/ 504 h 57"/>
                <a:gd name="T2" fmla="*/ 288 w 51"/>
                <a:gd name="T3" fmla="*/ 284 h 57"/>
                <a:gd name="T4" fmla="*/ 363 w 51"/>
                <a:gd name="T5" fmla="*/ 201 h 57"/>
                <a:gd name="T6" fmla="*/ 447 w 51"/>
                <a:gd name="T7" fmla="*/ 0 h 57"/>
                <a:gd name="T8" fmla="*/ 219 w 51"/>
                <a:gd name="T9" fmla="*/ 64 h 57"/>
                <a:gd name="T10" fmla="*/ 288 w 51"/>
                <a:gd name="T11" fmla="*/ 201 h 57"/>
                <a:gd name="T12" fmla="*/ 219 w 51"/>
                <a:gd name="T13" fmla="*/ 201 h 57"/>
                <a:gd name="T14" fmla="*/ 219 w 51"/>
                <a:gd name="T15" fmla="*/ 146 h 57"/>
                <a:gd name="T16" fmla="*/ 145 w 51"/>
                <a:gd name="T17" fmla="*/ 146 h 57"/>
                <a:gd name="T18" fmla="*/ 0 w 51"/>
                <a:gd name="T19" fmla="*/ 426 h 57"/>
                <a:gd name="T20" fmla="*/ 219 w 51"/>
                <a:gd name="T21" fmla="*/ 426 h 57"/>
                <a:gd name="T22" fmla="*/ 288 w 51"/>
                <a:gd name="T23" fmla="*/ 504 h 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1"/>
                <a:gd name="T37" fmla="*/ 0 h 57"/>
                <a:gd name="T38" fmla="*/ 51 w 51"/>
                <a:gd name="T39" fmla="*/ 57 h 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1" h="57">
                  <a:moveTo>
                    <a:pt x="33" y="56"/>
                  </a:moveTo>
                  <a:lnTo>
                    <a:pt x="33" y="32"/>
                  </a:lnTo>
                  <a:lnTo>
                    <a:pt x="41" y="23"/>
                  </a:lnTo>
                  <a:lnTo>
                    <a:pt x="50" y="0"/>
                  </a:lnTo>
                  <a:lnTo>
                    <a:pt x="25" y="7"/>
                  </a:lnTo>
                  <a:lnTo>
                    <a:pt x="33" y="23"/>
                  </a:lnTo>
                  <a:lnTo>
                    <a:pt x="25" y="23"/>
                  </a:lnTo>
                  <a:lnTo>
                    <a:pt x="25" y="16"/>
                  </a:lnTo>
                  <a:lnTo>
                    <a:pt x="16" y="16"/>
                  </a:lnTo>
                  <a:lnTo>
                    <a:pt x="0" y="47"/>
                  </a:lnTo>
                  <a:lnTo>
                    <a:pt x="25" y="47"/>
                  </a:lnTo>
                  <a:lnTo>
                    <a:pt x="33" y="5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18" name="Freeform 135"/>
            <p:cNvSpPr>
              <a:spLocks/>
            </p:cNvSpPr>
            <p:nvPr/>
          </p:nvSpPr>
          <p:spPr bwMode="auto">
            <a:xfrm>
              <a:off x="3075" y="1766"/>
              <a:ext cx="57" cy="45"/>
            </a:xfrm>
            <a:custGeom>
              <a:avLst/>
              <a:gdLst>
                <a:gd name="T0" fmla="*/ 329 w 43"/>
                <a:gd name="T1" fmla="*/ 258 h 35"/>
                <a:gd name="T2" fmla="*/ 237 w 43"/>
                <a:gd name="T3" fmla="*/ 258 h 35"/>
                <a:gd name="T4" fmla="*/ 237 w 43"/>
                <a:gd name="T5" fmla="*/ 185 h 35"/>
                <a:gd name="T6" fmla="*/ 172 w 43"/>
                <a:gd name="T7" fmla="*/ 185 h 35"/>
                <a:gd name="T8" fmla="*/ 172 w 43"/>
                <a:gd name="T9" fmla="*/ 126 h 35"/>
                <a:gd name="T10" fmla="*/ 0 w 43"/>
                <a:gd name="T11" fmla="*/ 66 h 35"/>
                <a:gd name="T12" fmla="*/ 0 w 43"/>
                <a:gd name="T13" fmla="*/ 0 h 35"/>
                <a:gd name="T14" fmla="*/ 86 w 43"/>
                <a:gd name="T15" fmla="*/ 0 h 35"/>
                <a:gd name="T16" fmla="*/ 329 w 43"/>
                <a:gd name="T17" fmla="*/ 0 h 35"/>
                <a:gd name="T18" fmla="*/ 400 w 43"/>
                <a:gd name="T19" fmla="*/ 66 h 35"/>
                <a:gd name="T20" fmla="*/ 400 w 43"/>
                <a:gd name="T21" fmla="*/ 185 h 35"/>
                <a:gd name="T22" fmla="*/ 329 w 43"/>
                <a:gd name="T23" fmla="*/ 185 h 35"/>
                <a:gd name="T24" fmla="*/ 329 w 43"/>
                <a:gd name="T25" fmla="*/ 258 h 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3"/>
                <a:gd name="T40" fmla="*/ 0 h 35"/>
                <a:gd name="T41" fmla="*/ 43 w 43"/>
                <a:gd name="T42" fmla="*/ 35 h 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3" h="35">
                  <a:moveTo>
                    <a:pt x="34" y="34"/>
                  </a:moveTo>
                  <a:lnTo>
                    <a:pt x="25" y="34"/>
                  </a:lnTo>
                  <a:lnTo>
                    <a:pt x="25" y="25"/>
                  </a:lnTo>
                  <a:lnTo>
                    <a:pt x="18" y="25"/>
                  </a:lnTo>
                  <a:lnTo>
                    <a:pt x="18" y="17"/>
                  </a:lnTo>
                  <a:lnTo>
                    <a:pt x="0" y="9"/>
                  </a:lnTo>
                  <a:lnTo>
                    <a:pt x="0" y="0"/>
                  </a:lnTo>
                  <a:lnTo>
                    <a:pt x="9" y="0"/>
                  </a:lnTo>
                  <a:lnTo>
                    <a:pt x="34" y="0"/>
                  </a:lnTo>
                  <a:lnTo>
                    <a:pt x="42" y="9"/>
                  </a:lnTo>
                  <a:lnTo>
                    <a:pt x="42" y="25"/>
                  </a:lnTo>
                  <a:lnTo>
                    <a:pt x="34" y="25"/>
                  </a:lnTo>
                  <a:lnTo>
                    <a:pt x="34" y="34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19" name="Freeform 136"/>
            <p:cNvSpPr>
              <a:spLocks/>
            </p:cNvSpPr>
            <p:nvPr/>
          </p:nvSpPr>
          <p:spPr bwMode="auto">
            <a:xfrm>
              <a:off x="3120" y="1798"/>
              <a:ext cx="22" cy="22"/>
            </a:xfrm>
            <a:custGeom>
              <a:avLst/>
              <a:gdLst>
                <a:gd name="T0" fmla="*/ 0 w 17"/>
                <a:gd name="T1" fmla="*/ 126 h 17"/>
                <a:gd name="T2" fmla="*/ 0 w 17"/>
                <a:gd name="T3" fmla="*/ 0 h 17"/>
                <a:gd name="T4" fmla="*/ 126 w 17"/>
                <a:gd name="T5" fmla="*/ 0 h 17"/>
                <a:gd name="T6" fmla="*/ 126 w 17"/>
                <a:gd name="T7" fmla="*/ 126 h 17"/>
                <a:gd name="T8" fmla="*/ 0 w 17"/>
                <a:gd name="T9" fmla="*/ 126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0" name="Freeform 137"/>
            <p:cNvSpPr>
              <a:spLocks/>
            </p:cNvSpPr>
            <p:nvPr/>
          </p:nvSpPr>
          <p:spPr bwMode="auto">
            <a:xfrm>
              <a:off x="3120" y="1798"/>
              <a:ext cx="22" cy="22"/>
            </a:xfrm>
            <a:custGeom>
              <a:avLst/>
              <a:gdLst>
                <a:gd name="T0" fmla="*/ 0 w 17"/>
                <a:gd name="T1" fmla="*/ 126 h 17"/>
                <a:gd name="T2" fmla="*/ 0 w 17"/>
                <a:gd name="T3" fmla="*/ 0 h 17"/>
                <a:gd name="T4" fmla="*/ 126 w 17"/>
                <a:gd name="T5" fmla="*/ 0 h 17"/>
                <a:gd name="T6" fmla="*/ 126 w 17"/>
                <a:gd name="T7" fmla="*/ 126 h 17"/>
                <a:gd name="T8" fmla="*/ 0 w 17"/>
                <a:gd name="T9" fmla="*/ 126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1" name="Freeform 138"/>
            <p:cNvSpPr>
              <a:spLocks/>
            </p:cNvSpPr>
            <p:nvPr/>
          </p:nvSpPr>
          <p:spPr bwMode="auto">
            <a:xfrm>
              <a:off x="3267" y="1662"/>
              <a:ext cx="160" cy="160"/>
            </a:xfrm>
            <a:custGeom>
              <a:avLst/>
              <a:gdLst>
                <a:gd name="T0" fmla="*/ 921 w 122"/>
                <a:gd name="T1" fmla="*/ 1002 h 123"/>
                <a:gd name="T2" fmla="*/ 999 w 122"/>
                <a:gd name="T3" fmla="*/ 865 h 123"/>
                <a:gd name="T4" fmla="*/ 1062 w 122"/>
                <a:gd name="T5" fmla="*/ 792 h 123"/>
                <a:gd name="T6" fmla="*/ 999 w 122"/>
                <a:gd name="T7" fmla="*/ 460 h 123"/>
                <a:gd name="T8" fmla="*/ 1062 w 122"/>
                <a:gd name="T9" fmla="*/ 327 h 123"/>
                <a:gd name="T10" fmla="*/ 999 w 122"/>
                <a:gd name="T11" fmla="*/ 209 h 123"/>
                <a:gd name="T12" fmla="*/ 921 w 122"/>
                <a:gd name="T13" fmla="*/ 125 h 123"/>
                <a:gd name="T14" fmla="*/ 780 w 122"/>
                <a:gd name="T15" fmla="*/ 125 h 123"/>
                <a:gd name="T16" fmla="*/ 564 w 122"/>
                <a:gd name="T17" fmla="*/ 78 h 123"/>
                <a:gd name="T18" fmla="*/ 564 w 122"/>
                <a:gd name="T19" fmla="*/ 125 h 123"/>
                <a:gd name="T20" fmla="*/ 501 w 122"/>
                <a:gd name="T21" fmla="*/ 125 h 123"/>
                <a:gd name="T22" fmla="*/ 426 w 122"/>
                <a:gd name="T23" fmla="*/ 0 h 123"/>
                <a:gd name="T24" fmla="*/ 0 w 122"/>
                <a:gd name="T25" fmla="*/ 209 h 123"/>
                <a:gd name="T26" fmla="*/ 84 w 122"/>
                <a:gd name="T27" fmla="*/ 657 h 123"/>
                <a:gd name="T28" fmla="*/ 150 w 122"/>
                <a:gd name="T29" fmla="*/ 731 h 123"/>
                <a:gd name="T30" fmla="*/ 298 w 122"/>
                <a:gd name="T31" fmla="*/ 792 h 123"/>
                <a:gd name="T32" fmla="*/ 346 w 122"/>
                <a:gd name="T33" fmla="*/ 792 h 123"/>
                <a:gd name="T34" fmla="*/ 501 w 122"/>
                <a:gd name="T35" fmla="*/ 935 h 123"/>
                <a:gd name="T36" fmla="*/ 564 w 122"/>
                <a:gd name="T37" fmla="*/ 935 h 123"/>
                <a:gd name="T38" fmla="*/ 647 w 122"/>
                <a:gd name="T39" fmla="*/ 1002 h 123"/>
                <a:gd name="T40" fmla="*/ 780 w 122"/>
                <a:gd name="T41" fmla="*/ 935 h 123"/>
                <a:gd name="T42" fmla="*/ 921 w 122"/>
                <a:gd name="T43" fmla="*/ 1002 h 12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22"/>
                <a:gd name="T67" fmla="*/ 0 h 123"/>
                <a:gd name="T68" fmla="*/ 122 w 122"/>
                <a:gd name="T69" fmla="*/ 123 h 12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22" h="123">
                  <a:moveTo>
                    <a:pt x="105" y="122"/>
                  </a:moveTo>
                  <a:lnTo>
                    <a:pt x="114" y="105"/>
                  </a:lnTo>
                  <a:lnTo>
                    <a:pt x="121" y="97"/>
                  </a:lnTo>
                  <a:lnTo>
                    <a:pt x="114" y="56"/>
                  </a:lnTo>
                  <a:lnTo>
                    <a:pt x="121" y="40"/>
                  </a:lnTo>
                  <a:lnTo>
                    <a:pt x="114" y="25"/>
                  </a:lnTo>
                  <a:lnTo>
                    <a:pt x="105" y="15"/>
                  </a:lnTo>
                  <a:lnTo>
                    <a:pt x="89" y="15"/>
                  </a:lnTo>
                  <a:lnTo>
                    <a:pt x="65" y="9"/>
                  </a:lnTo>
                  <a:lnTo>
                    <a:pt x="65" y="15"/>
                  </a:lnTo>
                  <a:lnTo>
                    <a:pt x="57" y="15"/>
                  </a:lnTo>
                  <a:lnTo>
                    <a:pt x="49" y="0"/>
                  </a:lnTo>
                  <a:lnTo>
                    <a:pt x="0" y="25"/>
                  </a:lnTo>
                  <a:lnTo>
                    <a:pt x="9" y="80"/>
                  </a:lnTo>
                  <a:lnTo>
                    <a:pt x="17" y="89"/>
                  </a:lnTo>
                  <a:lnTo>
                    <a:pt x="34" y="97"/>
                  </a:lnTo>
                  <a:lnTo>
                    <a:pt x="40" y="97"/>
                  </a:lnTo>
                  <a:lnTo>
                    <a:pt x="57" y="114"/>
                  </a:lnTo>
                  <a:lnTo>
                    <a:pt x="65" y="114"/>
                  </a:lnTo>
                  <a:lnTo>
                    <a:pt x="74" y="122"/>
                  </a:lnTo>
                  <a:lnTo>
                    <a:pt x="89" y="114"/>
                  </a:lnTo>
                  <a:lnTo>
                    <a:pt x="105" y="12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2" name="Freeform 139"/>
            <p:cNvSpPr>
              <a:spLocks/>
            </p:cNvSpPr>
            <p:nvPr/>
          </p:nvSpPr>
          <p:spPr bwMode="auto">
            <a:xfrm>
              <a:off x="3131" y="1662"/>
              <a:ext cx="150" cy="202"/>
            </a:xfrm>
            <a:custGeom>
              <a:avLst/>
              <a:gdLst>
                <a:gd name="T0" fmla="*/ 532 w 115"/>
                <a:gd name="T1" fmla="*/ 211 h 155"/>
                <a:gd name="T2" fmla="*/ 818 w 115"/>
                <a:gd name="T3" fmla="*/ 78 h 155"/>
                <a:gd name="T4" fmla="*/ 818 w 115"/>
                <a:gd name="T5" fmla="*/ 125 h 155"/>
                <a:gd name="T6" fmla="*/ 743 w 115"/>
                <a:gd name="T7" fmla="*/ 125 h 155"/>
                <a:gd name="T8" fmla="*/ 882 w 115"/>
                <a:gd name="T9" fmla="*/ 211 h 155"/>
                <a:gd name="T10" fmla="*/ 955 w 115"/>
                <a:gd name="T11" fmla="*/ 666 h 155"/>
                <a:gd name="T12" fmla="*/ 882 w 115"/>
                <a:gd name="T13" fmla="*/ 666 h 155"/>
                <a:gd name="T14" fmla="*/ 743 w 115"/>
                <a:gd name="T15" fmla="*/ 743 h 155"/>
                <a:gd name="T16" fmla="*/ 610 w 115"/>
                <a:gd name="T17" fmla="*/ 805 h 155"/>
                <a:gd name="T18" fmla="*/ 693 w 115"/>
                <a:gd name="T19" fmla="*/ 951 h 155"/>
                <a:gd name="T20" fmla="*/ 818 w 115"/>
                <a:gd name="T21" fmla="*/ 1079 h 155"/>
                <a:gd name="T22" fmla="*/ 743 w 115"/>
                <a:gd name="T23" fmla="*/ 1142 h 155"/>
                <a:gd name="T24" fmla="*/ 743 w 115"/>
                <a:gd name="T25" fmla="*/ 1215 h 155"/>
                <a:gd name="T26" fmla="*/ 481 w 115"/>
                <a:gd name="T27" fmla="*/ 1282 h 155"/>
                <a:gd name="T28" fmla="*/ 356 w 115"/>
                <a:gd name="T29" fmla="*/ 1282 h 155"/>
                <a:gd name="T30" fmla="*/ 145 w 115"/>
                <a:gd name="T31" fmla="*/ 1282 h 155"/>
                <a:gd name="T32" fmla="*/ 192 w 115"/>
                <a:gd name="T33" fmla="*/ 1079 h 155"/>
                <a:gd name="T34" fmla="*/ 0 w 115"/>
                <a:gd name="T35" fmla="*/ 951 h 155"/>
                <a:gd name="T36" fmla="*/ 0 w 115"/>
                <a:gd name="T37" fmla="*/ 876 h 155"/>
                <a:gd name="T38" fmla="*/ 0 w 115"/>
                <a:gd name="T39" fmla="*/ 743 h 155"/>
                <a:gd name="T40" fmla="*/ 0 w 115"/>
                <a:gd name="T41" fmla="*/ 545 h 155"/>
                <a:gd name="T42" fmla="*/ 65 w 115"/>
                <a:gd name="T43" fmla="*/ 467 h 155"/>
                <a:gd name="T44" fmla="*/ 145 w 115"/>
                <a:gd name="T45" fmla="*/ 275 h 155"/>
                <a:gd name="T46" fmla="*/ 273 w 115"/>
                <a:gd name="T47" fmla="*/ 275 h 155"/>
                <a:gd name="T48" fmla="*/ 356 w 115"/>
                <a:gd name="T49" fmla="*/ 125 h 155"/>
                <a:gd name="T50" fmla="*/ 273 w 115"/>
                <a:gd name="T51" fmla="*/ 125 h 155"/>
                <a:gd name="T52" fmla="*/ 356 w 115"/>
                <a:gd name="T53" fmla="*/ 78 h 155"/>
                <a:gd name="T54" fmla="*/ 273 w 115"/>
                <a:gd name="T55" fmla="*/ 0 h 155"/>
                <a:gd name="T56" fmla="*/ 356 w 115"/>
                <a:gd name="T57" fmla="*/ 0 h 155"/>
                <a:gd name="T58" fmla="*/ 407 w 115"/>
                <a:gd name="T59" fmla="*/ 0 h 155"/>
                <a:gd name="T60" fmla="*/ 407 w 115"/>
                <a:gd name="T61" fmla="*/ 78 h 155"/>
                <a:gd name="T62" fmla="*/ 532 w 115"/>
                <a:gd name="T63" fmla="*/ 125 h 155"/>
                <a:gd name="T64" fmla="*/ 481 w 115"/>
                <a:gd name="T65" fmla="*/ 211 h 155"/>
                <a:gd name="T66" fmla="*/ 532 w 115"/>
                <a:gd name="T67" fmla="*/ 211 h 15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5"/>
                <a:gd name="T103" fmla="*/ 0 h 155"/>
                <a:gd name="T104" fmla="*/ 115 w 115"/>
                <a:gd name="T105" fmla="*/ 155 h 15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5" h="155">
                  <a:moveTo>
                    <a:pt x="64" y="25"/>
                  </a:moveTo>
                  <a:lnTo>
                    <a:pt x="97" y="9"/>
                  </a:lnTo>
                  <a:lnTo>
                    <a:pt x="97" y="15"/>
                  </a:lnTo>
                  <a:lnTo>
                    <a:pt x="89" y="15"/>
                  </a:lnTo>
                  <a:lnTo>
                    <a:pt x="105" y="25"/>
                  </a:lnTo>
                  <a:lnTo>
                    <a:pt x="114" y="80"/>
                  </a:lnTo>
                  <a:lnTo>
                    <a:pt x="105" y="80"/>
                  </a:lnTo>
                  <a:lnTo>
                    <a:pt x="89" y="89"/>
                  </a:lnTo>
                  <a:lnTo>
                    <a:pt x="73" y="97"/>
                  </a:lnTo>
                  <a:lnTo>
                    <a:pt x="82" y="114"/>
                  </a:lnTo>
                  <a:lnTo>
                    <a:pt x="97" y="130"/>
                  </a:lnTo>
                  <a:lnTo>
                    <a:pt x="89" y="137"/>
                  </a:lnTo>
                  <a:lnTo>
                    <a:pt x="89" y="146"/>
                  </a:lnTo>
                  <a:lnTo>
                    <a:pt x="57" y="154"/>
                  </a:lnTo>
                  <a:lnTo>
                    <a:pt x="42" y="154"/>
                  </a:lnTo>
                  <a:lnTo>
                    <a:pt x="17" y="154"/>
                  </a:lnTo>
                  <a:lnTo>
                    <a:pt x="23" y="130"/>
                  </a:lnTo>
                  <a:lnTo>
                    <a:pt x="0" y="114"/>
                  </a:lnTo>
                  <a:lnTo>
                    <a:pt x="0" y="105"/>
                  </a:lnTo>
                  <a:lnTo>
                    <a:pt x="0" y="89"/>
                  </a:lnTo>
                  <a:lnTo>
                    <a:pt x="0" y="65"/>
                  </a:lnTo>
                  <a:lnTo>
                    <a:pt x="8" y="56"/>
                  </a:lnTo>
                  <a:lnTo>
                    <a:pt x="17" y="33"/>
                  </a:lnTo>
                  <a:lnTo>
                    <a:pt x="32" y="33"/>
                  </a:lnTo>
                  <a:lnTo>
                    <a:pt x="42" y="15"/>
                  </a:lnTo>
                  <a:lnTo>
                    <a:pt x="32" y="15"/>
                  </a:lnTo>
                  <a:lnTo>
                    <a:pt x="42" y="9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48" y="9"/>
                  </a:lnTo>
                  <a:lnTo>
                    <a:pt x="64" y="15"/>
                  </a:lnTo>
                  <a:lnTo>
                    <a:pt x="57" y="25"/>
                  </a:lnTo>
                  <a:lnTo>
                    <a:pt x="64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" name="Freeform 140"/>
            <p:cNvSpPr>
              <a:spLocks/>
            </p:cNvSpPr>
            <p:nvPr/>
          </p:nvSpPr>
          <p:spPr bwMode="auto">
            <a:xfrm>
              <a:off x="3186" y="1820"/>
              <a:ext cx="127" cy="65"/>
            </a:xfrm>
            <a:custGeom>
              <a:avLst/>
              <a:gdLst>
                <a:gd name="T0" fmla="*/ 0 w 98"/>
                <a:gd name="T1" fmla="*/ 302 h 49"/>
                <a:gd name="T2" fmla="*/ 115 w 98"/>
                <a:gd name="T3" fmla="*/ 302 h 49"/>
                <a:gd name="T4" fmla="*/ 373 w 98"/>
                <a:gd name="T5" fmla="*/ 228 h 49"/>
                <a:gd name="T6" fmla="*/ 373 w 98"/>
                <a:gd name="T7" fmla="*/ 150 h 49"/>
                <a:gd name="T8" fmla="*/ 435 w 98"/>
                <a:gd name="T9" fmla="*/ 85 h 49"/>
                <a:gd name="T10" fmla="*/ 573 w 98"/>
                <a:gd name="T11" fmla="*/ 85 h 49"/>
                <a:gd name="T12" fmla="*/ 573 w 98"/>
                <a:gd name="T13" fmla="*/ 0 h 49"/>
                <a:gd name="T14" fmla="*/ 771 w 98"/>
                <a:gd name="T15" fmla="*/ 85 h 49"/>
                <a:gd name="T16" fmla="*/ 771 w 98"/>
                <a:gd name="T17" fmla="*/ 228 h 49"/>
                <a:gd name="T18" fmla="*/ 692 w 98"/>
                <a:gd name="T19" fmla="*/ 381 h 49"/>
                <a:gd name="T20" fmla="*/ 435 w 98"/>
                <a:gd name="T21" fmla="*/ 464 h 49"/>
                <a:gd name="T22" fmla="*/ 318 w 98"/>
                <a:gd name="T23" fmla="*/ 381 h 49"/>
                <a:gd name="T24" fmla="*/ 115 w 98"/>
                <a:gd name="T25" fmla="*/ 381 h 49"/>
                <a:gd name="T26" fmla="*/ 49 w 98"/>
                <a:gd name="T27" fmla="*/ 381 h 49"/>
                <a:gd name="T28" fmla="*/ 0 w 98"/>
                <a:gd name="T29" fmla="*/ 302 h 4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8"/>
                <a:gd name="T46" fmla="*/ 0 h 49"/>
                <a:gd name="T47" fmla="*/ 98 w 98"/>
                <a:gd name="T48" fmla="*/ 49 h 4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8" h="49">
                  <a:moveTo>
                    <a:pt x="0" y="32"/>
                  </a:moveTo>
                  <a:lnTo>
                    <a:pt x="15" y="32"/>
                  </a:lnTo>
                  <a:lnTo>
                    <a:pt x="47" y="24"/>
                  </a:lnTo>
                  <a:lnTo>
                    <a:pt x="47" y="15"/>
                  </a:lnTo>
                  <a:lnTo>
                    <a:pt x="55" y="8"/>
                  </a:lnTo>
                  <a:lnTo>
                    <a:pt x="72" y="8"/>
                  </a:lnTo>
                  <a:lnTo>
                    <a:pt x="72" y="0"/>
                  </a:lnTo>
                  <a:lnTo>
                    <a:pt x="97" y="8"/>
                  </a:lnTo>
                  <a:lnTo>
                    <a:pt x="97" y="24"/>
                  </a:lnTo>
                  <a:lnTo>
                    <a:pt x="87" y="40"/>
                  </a:lnTo>
                  <a:lnTo>
                    <a:pt x="55" y="48"/>
                  </a:lnTo>
                  <a:lnTo>
                    <a:pt x="40" y="40"/>
                  </a:lnTo>
                  <a:lnTo>
                    <a:pt x="15" y="40"/>
                  </a:lnTo>
                  <a:lnTo>
                    <a:pt x="6" y="40"/>
                  </a:lnTo>
                  <a:lnTo>
                    <a:pt x="0" y="3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" name="Line 141"/>
            <p:cNvSpPr>
              <a:spLocks noChangeShapeType="1"/>
            </p:cNvSpPr>
            <p:nvPr/>
          </p:nvSpPr>
          <p:spPr bwMode="auto">
            <a:xfrm flipH="1" flipV="1">
              <a:off x="3186" y="1863"/>
              <a:ext cx="7" cy="10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" name="Freeform 142"/>
            <p:cNvSpPr>
              <a:spLocks/>
            </p:cNvSpPr>
            <p:nvPr/>
          </p:nvSpPr>
          <p:spPr bwMode="auto">
            <a:xfrm>
              <a:off x="3186" y="1863"/>
              <a:ext cx="21" cy="22"/>
            </a:xfrm>
            <a:custGeom>
              <a:avLst/>
              <a:gdLst>
                <a:gd name="T0" fmla="*/ 89 w 17"/>
                <a:gd name="T1" fmla="*/ 126 h 17"/>
                <a:gd name="T2" fmla="*/ 0 w 17"/>
                <a:gd name="T3" fmla="*/ 0 h 17"/>
                <a:gd name="T4" fmla="*/ 89 w 17"/>
                <a:gd name="T5" fmla="*/ 126 h 17"/>
                <a:gd name="T6" fmla="*/ 0 60000 65536"/>
                <a:gd name="T7" fmla="*/ 0 60000 65536"/>
                <a:gd name="T8" fmla="*/ 0 60000 65536"/>
                <a:gd name="T9" fmla="*/ 0 w 17"/>
                <a:gd name="T10" fmla="*/ 0 h 17"/>
                <a:gd name="T11" fmla="*/ 17 w 17"/>
                <a:gd name="T12" fmla="*/ 17 h 1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7">
                  <a:moveTo>
                    <a:pt x="16" y="16"/>
                  </a:move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" name="Line 143"/>
            <p:cNvSpPr>
              <a:spLocks noChangeShapeType="1"/>
            </p:cNvSpPr>
            <p:nvPr/>
          </p:nvSpPr>
          <p:spPr bwMode="auto">
            <a:xfrm flipH="1" flipV="1">
              <a:off x="3186" y="1863"/>
              <a:ext cx="7" cy="10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" name="Freeform 144"/>
            <p:cNvSpPr>
              <a:spLocks/>
            </p:cNvSpPr>
            <p:nvPr/>
          </p:nvSpPr>
          <p:spPr bwMode="auto">
            <a:xfrm>
              <a:off x="3186" y="1863"/>
              <a:ext cx="21" cy="22"/>
            </a:xfrm>
            <a:custGeom>
              <a:avLst/>
              <a:gdLst>
                <a:gd name="T0" fmla="*/ 89 w 17"/>
                <a:gd name="T1" fmla="*/ 126 h 17"/>
                <a:gd name="T2" fmla="*/ 0 w 17"/>
                <a:gd name="T3" fmla="*/ 0 h 17"/>
                <a:gd name="T4" fmla="*/ 89 w 17"/>
                <a:gd name="T5" fmla="*/ 126 h 17"/>
                <a:gd name="T6" fmla="*/ 0 60000 65536"/>
                <a:gd name="T7" fmla="*/ 0 60000 65536"/>
                <a:gd name="T8" fmla="*/ 0 60000 65536"/>
                <a:gd name="T9" fmla="*/ 0 w 17"/>
                <a:gd name="T10" fmla="*/ 0 h 17"/>
                <a:gd name="T11" fmla="*/ 17 w 17"/>
                <a:gd name="T12" fmla="*/ 17 h 1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7">
                  <a:moveTo>
                    <a:pt x="16" y="16"/>
                  </a:move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" name="Freeform 145"/>
            <p:cNvSpPr>
              <a:spLocks/>
            </p:cNvSpPr>
            <p:nvPr/>
          </p:nvSpPr>
          <p:spPr bwMode="auto">
            <a:xfrm>
              <a:off x="3131" y="1863"/>
              <a:ext cx="75" cy="42"/>
            </a:xfrm>
            <a:custGeom>
              <a:avLst/>
              <a:gdLst>
                <a:gd name="T0" fmla="*/ 132 w 58"/>
                <a:gd name="T1" fmla="*/ 220 h 33"/>
                <a:gd name="T2" fmla="*/ 250 w 58"/>
                <a:gd name="T3" fmla="*/ 157 h 33"/>
                <a:gd name="T4" fmla="*/ 331 w 58"/>
                <a:gd name="T5" fmla="*/ 157 h 33"/>
                <a:gd name="T6" fmla="*/ 331 w 58"/>
                <a:gd name="T7" fmla="*/ 107 h 33"/>
                <a:gd name="T8" fmla="*/ 371 w 58"/>
                <a:gd name="T9" fmla="*/ 157 h 33"/>
                <a:gd name="T10" fmla="*/ 449 w 58"/>
                <a:gd name="T11" fmla="*/ 59 h 33"/>
                <a:gd name="T12" fmla="*/ 371 w 58"/>
                <a:gd name="T13" fmla="*/ 59 h 33"/>
                <a:gd name="T14" fmla="*/ 331 w 58"/>
                <a:gd name="T15" fmla="*/ 0 h 33"/>
                <a:gd name="T16" fmla="*/ 132 w 58"/>
                <a:gd name="T17" fmla="*/ 0 h 33"/>
                <a:gd name="T18" fmla="*/ 61 w 58"/>
                <a:gd name="T19" fmla="*/ 0 h 33"/>
                <a:gd name="T20" fmla="*/ 0 w 58"/>
                <a:gd name="T21" fmla="*/ 107 h 33"/>
                <a:gd name="T22" fmla="*/ 0 w 58"/>
                <a:gd name="T23" fmla="*/ 157 h 33"/>
                <a:gd name="T24" fmla="*/ 61 w 58"/>
                <a:gd name="T25" fmla="*/ 107 h 33"/>
                <a:gd name="T26" fmla="*/ 61 w 58"/>
                <a:gd name="T27" fmla="*/ 220 h 33"/>
                <a:gd name="T28" fmla="*/ 132 w 58"/>
                <a:gd name="T29" fmla="*/ 220 h 3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8"/>
                <a:gd name="T46" fmla="*/ 0 h 33"/>
                <a:gd name="T47" fmla="*/ 58 w 58"/>
                <a:gd name="T48" fmla="*/ 33 h 3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8" h="33">
                  <a:moveTo>
                    <a:pt x="17" y="32"/>
                  </a:moveTo>
                  <a:lnTo>
                    <a:pt x="32" y="23"/>
                  </a:lnTo>
                  <a:lnTo>
                    <a:pt x="42" y="23"/>
                  </a:lnTo>
                  <a:lnTo>
                    <a:pt x="42" y="16"/>
                  </a:lnTo>
                  <a:lnTo>
                    <a:pt x="48" y="23"/>
                  </a:lnTo>
                  <a:lnTo>
                    <a:pt x="57" y="8"/>
                  </a:lnTo>
                  <a:lnTo>
                    <a:pt x="48" y="8"/>
                  </a:lnTo>
                  <a:lnTo>
                    <a:pt x="42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8" y="16"/>
                  </a:lnTo>
                  <a:lnTo>
                    <a:pt x="8" y="32"/>
                  </a:lnTo>
                  <a:lnTo>
                    <a:pt x="17" y="3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" name="Freeform 146"/>
            <p:cNvSpPr>
              <a:spLocks/>
            </p:cNvSpPr>
            <p:nvPr/>
          </p:nvSpPr>
          <p:spPr bwMode="auto">
            <a:xfrm>
              <a:off x="2948" y="1766"/>
              <a:ext cx="214" cy="213"/>
            </a:xfrm>
            <a:custGeom>
              <a:avLst/>
              <a:gdLst>
                <a:gd name="T0" fmla="*/ 855 w 163"/>
                <a:gd name="T1" fmla="*/ 0 h 163"/>
                <a:gd name="T2" fmla="*/ 723 w 163"/>
                <a:gd name="T3" fmla="*/ 78 h 163"/>
                <a:gd name="T4" fmla="*/ 723 w 163"/>
                <a:gd name="T5" fmla="*/ 212 h 163"/>
                <a:gd name="T6" fmla="*/ 586 w 163"/>
                <a:gd name="T7" fmla="*/ 284 h 163"/>
                <a:gd name="T8" fmla="*/ 502 w 163"/>
                <a:gd name="T9" fmla="*/ 358 h 163"/>
                <a:gd name="T10" fmla="*/ 446 w 163"/>
                <a:gd name="T11" fmla="*/ 358 h 163"/>
                <a:gd name="T12" fmla="*/ 370 w 163"/>
                <a:gd name="T13" fmla="*/ 284 h 163"/>
                <a:gd name="T14" fmla="*/ 302 w 163"/>
                <a:gd name="T15" fmla="*/ 284 h 163"/>
                <a:gd name="T16" fmla="*/ 370 w 163"/>
                <a:gd name="T17" fmla="*/ 422 h 163"/>
                <a:gd name="T18" fmla="*/ 219 w 163"/>
                <a:gd name="T19" fmla="*/ 485 h 163"/>
                <a:gd name="T20" fmla="*/ 219 w 163"/>
                <a:gd name="T21" fmla="*/ 422 h 163"/>
                <a:gd name="T22" fmla="*/ 0 w 163"/>
                <a:gd name="T23" fmla="*/ 485 h 163"/>
                <a:gd name="T24" fmla="*/ 0 w 163"/>
                <a:gd name="T25" fmla="*/ 558 h 163"/>
                <a:gd name="T26" fmla="*/ 302 w 163"/>
                <a:gd name="T27" fmla="*/ 634 h 163"/>
                <a:gd name="T28" fmla="*/ 446 w 163"/>
                <a:gd name="T29" fmla="*/ 828 h 163"/>
                <a:gd name="T30" fmla="*/ 446 w 163"/>
                <a:gd name="T31" fmla="*/ 907 h 163"/>
                <a:gd name="T32" fmla="*/ 370 w 163"/>
                <a:gd name="T33" fmla="*/ 1252 h 163"/>
                <a:gd name="T34" fmla="*/ 502 w 163"/>
                <a:gd name="T35" fmla="*/ 1330 h 163"/>
                <a:gd name="T36" fmla="*/ 855 w 163"/>
                <a:gd name="T37" fmla="*/ 1380 h 163"/>
                <a:gd name="T38" fmla="*/ 855 w 163"/>
                <a:gd name="T39" fmla="*/ 1330 h 163"/>
                <a:gd name="T40" fmla="*/ 1014 w 163"/>
                <a:gd name="T41" fmla="*/ 1252 h 163"/>
                <a:gd name="T42" fmla="*/ 1224 w 163"/>
                <a:gd name="T43" fmla="*/ 1330 h 163"/>
                <a:gd name="T44" fmla="*/ 1295 w 163"/>
                <a:gd name="T45" fmla="*/ 1330 h 163"/>
                <a:gd name="T46" fmla="*/ 1376 w 163"/>
                <a:gd name="T47" fmla="*/ 1167 h 163"/>
                <a:gd name="T48" fmla="*/ 1295 w 163"/>
                <a:gd name="T49" fmla="*/ 1035 h 163"/>
                <a:gd name="T50" fmla="*/ 1295 w 163"/>
                <a:gd name="T51" fmla="*/ 907 h 163"/>
                <a:gd name="T52" fmla="*/ 1295 w 163"/>
                <a:gd name="T53" fmla="*/ 768 h 163"/>
                <a:gd name="T54" fmla="*/ 1224 w 163"/>
                <a:gd name="T55" fmla="*/ 828 h 163"/>
                <a:gd name="T56" fmla="*/ 1224 w 163"/>
                <a:gd name="T57" fmla="*/ 768 h 163"/>
                <a:gd name="T58" fmla="*/ 1295 w 163"/>
                <a:gd name="T59" fmla="*/ 634 h 163"/>
                <a:gd name="T60" fmla="*/ 1376 w 163"/>
                <a:gd name="T61" fmla="*/ 634 h 163"/>
                <a:gd name="T62" fmla="*/ 1434 w 163"/>
                <a:gd name="T63" fmla="*/ 422 h 163"/>
                <a:gd name="T64" fmla="*/ 1224 w 163"/>
                <a:gd name="T65" fmla="*/ 284 h 163"/>
                <a:gd name="T66" fmla="*/ 1158 w 163"/>
                <a:gd name="T67" fmla="*/ 284 h 163"/>
                <a:gd name="T68" fmla="*/ 1075 w 163"/>
                <a:gd name="T69" fmla="*/ 284 h 163"/>
                <a:gd name="T70" fmla="*/ 1075 w 163"/>
                <a:gd name="T71" fmla="*/ 212 h 163"/>
                <a:gd name="T72" fmla="*/ 1014 w 163"/>
                <a:gd name="T73" fmla="*/ 212 h 163"/>
                <a:gd name="T74" fmla="*/ 1014 w 163"/>
                <a:gd name="T75" fmla="*/ 145 h 163"/>
                <a:gd name="T76" fmla="*/ 855 w 163"/>
                <a:gd name="T77" fmla="*/ 78 h 163"/>
                <a:gd name="T78" fmla="*/ 855 w 163"/>
                <a:gd name="T79" fmla="*/ 0 h 16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63"/>
                <a:gd name="T121" fmla="*/ 0 h 163"/>
                <a:gd name="T122" fmla="*/ 163 w 163"/>
                <a:gd name="T123" fmla="*/ 163 h 16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63" h="163">
                  <a:moveTo>
                    <a:pt x="97" y="0"/>
                  </a:moveTo>
                  <a:lnTo>
                    <a:pt x="82" y="9"/>
                  </a:lnTo>
                  <a:lnTo>
                    <a:pt x="82" y="25"/>
                  </a:lnTo>
                  <a:lnTo>
                    <a:pt x="66" y="34"/>
                  </a:lnTo>
                  <a:lnTo>
                    <a:pt x="57" y="42"/>
                  </a:lnTo>
                  <a:lnTo>
                    <a:pt x="50" y="42"/>
                  </a:lnTo>
                  <a:lnTo>
                    <a:pt x="42" y="34"/>
                  </a:lnTo>
                  <a:lnTo>
                    <a:pt x="34" y="34"/>
                  </a:lnTo>
                  <a:lnTo>
                    <a:pt x="42" y="50"/>
                  </a:lnTo>
                  <a:lnTo>
                    <a:pt x="25" y="57"/>
                  </a:lnTo>
                  <a:lnTo>
                    <a:pt x="25" y="50"/>
                  </a:lnTo>
                  <a:lnTo>
                    <a:pt x="0" y="57"/>
                  </a:lnTo>
                  <a:lnTo>
                    <a:pt x="0" y="66"/>
                  </a:lnTo>
                  <a:lnTo>
                    <a:pt x="34" y="74"/>
                  </a:lnTo>
                  <a:lnTo>
                    <a:pt x="50" y="97"/>
                  </a:lnTo>
                  <a:lnTo>
                    <a:pt x="50" y="106"/>
                  </a:lnTo>
                  <a:lnTo>
                    <a:pt x="42" y="147"/>
                  </a:lnTo>
                  <a:lnTo>
                    <a:pt x="57" y="156"/>
                  </a:lnTo>
                  <a:lnTo>
                    <a:pt x="97" y="162"/>
                  </a:lnTo>
                  <a:lnTo>
                    <a:pt x="97" y="156"/>
                  </a:lnTo>
                  <a:lnTo>
                    <a:pt x="115" y="147"/>
                  </a:lnTo>
                  <a:lnTo>
                    <a:pt x="139" y="156"/>
                  </a:lnTo>
                  <a:lnTo>
                    <a:pt x="147" y="156"/>
                  </a:lnTo>
                  <a:lnTo>
                    <a:pt x="156" y="137"/>
                  </a:lnTo>
                  <a:lnTo>
                    <a:pt x="147" y="122"/>
                  </a:lnTo>
                  <a:lnTo>
                    <a:pt x="147" y="106"/>
                  </a:lnTo>
                  <a:lnTo>
                    <a:pt x="147" y="90"/>
                  </a:lnTo>
                  <a:lnTo>
                    <a:pt x="139" y="97"/>
                  </a:lnTo>
                  <a:lnTo>
                    <a:pt x="139" y="90"/>
                  </a:lnTo>
                  <a:lnTo>
                    <a:pt x="147" y="74"/>
                  </a:lnTo>
                  <a:lnTo>
                    <a:pt x="156" y="74"/>
                  </a:lnTo>
                  <a:lnTo>
                    <a:pt x="162" y="50"/>
                  </a:lnTo>
                  <a:lnTo>
                    <a:pt x="139" y="34"/>
                  </a:lnTo>
                  <a:lnTo>
                    <a:pt x="131" y="34"/>
                  </a:lnTo>
                  <a:lnTo>
                    <a:pt x="122" y="34"/>
                  </a:lnTo>
                  <a:lnTo>
                    <a:pt x="122" y="25"/>
                  </a:lnTo>
                  <a:lnTo>
                    <a:pt x="115" y="25"/>
                  </a:lnTo>
                  <a:lnTo>
                    <a:pt x="115" y="17"/>
                  </a:lnTo>
                  <a:lnTo>
                    <a:pt x="97" y="9"/>
                  </a:lnTo>
                  <a:lnTo>
                    <a:pt x="97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" name="Freeform 147"/>
            <p:cNvSpPr>
              <a:spLocks/>
            </p:cNvSpPr>
            <p:nvPr/>
          </p:nvSpPr>
          <p:spPr bwMode="auto">
            <a:xfrm>
              <a:off x="2877" y="1945"/>
              <a:ext cx="200" cy="172"/>
            </a:xfrm>
            <a:custGeom>
              <a:avLst/>
              <a:gdLst>
                <a:gd name="T0" fmla="*/ 60 w 153"/>
                <a:gd name="T1" fmla="*/ 276 h 132"/>
                <a:gd name="T2" fmla="*/ 340 w 153"/>
                <a:gd name="T3" fmla="*/ 276 h 132"/>
                <a:gd name="T4" fmla="*/ 340 w 153"/>
                <a:gd name="T5" fmla="*/ 352 h 132"/>
                <a:gd name="T6" fmla="*/ 272 w 153"/>
                <a:gd name="T7" fmla="*/ 418 h 132"/>
                <a:gd name="T8" fmla="*/ 272 w 153"/>
                <a:gd name="T9" fmla="*/ 549 h 132"/>
                <a:gd name="T10" fmla="*/ 208 w 153"/>
                <a:gd name="T11" fmla="*/ 628 h 132"/>
                <a:gd name="T12" fmla="*/ 272 w 153"/>
                <a:gd name="T13" fmla="*/ 820 h 132"/>
                <a:gd name="T14" fmla="*/ 208 w 153"/>
                <a:gd name="T15" fmla="*/ 954 h 132"/>
                <a:gd name="T16" fmla="*/ 421 w 153"/>
                <a:gd name="T17" fmla="*/ 1093 h 132"/>
                <a:gd name="T18" fmla="*/ 469 w 153"/>
                <a:gd name="T19" fmla="*/ 1031 h 132"/>
                <a:gd name="T20" fmla="*/ 758 w 153"/>
                <a:gd name="T21" fmla="*/ 1031 h 132"/>
                <a:gd name="T22" fmla="*/ 1034 w 153"/>
                <a:gd name="T23" fmla="*/ 758 h 132"/>
                <a:gd name="T24" fmla="*/ 953 w 153"/>
                <a:gd name="T25" fmla="*/ 628 h 132"/>
                <a:gd name="T26" fmla="*/ 1103 w 153"/>
                <a:gd name="T27" fmla="*/ 418 h 132"/>
                <a:gd name="T28" fmla="*/ 1295 w 153"/>
                <a:gd name="T29" fmla="*/ 276 h 132"/>
                <a:gd name="T30" fmla="*/ 1295 w 153"/>
                <a:gd name="T31" fmla="*/ 211 h 132"/>
                <a:gd name="T32" fmla="*/ 953 w 153"/>
                <a:gd name="T33" fmla="*/ 162 h 132"/>
                <a:gd name="T34" fmla="*/ 829 w 153"/>
                <a:gd name="T35" fmla="*/ 85 h 132"/>
                <a:gd name="T36" fmla="*/ 758 w 153"/>
                <a:gd name="T37" fmla="*/ 85 h 132"/>
                <a:gd name="T38" fmla="*/ 613 w 153"/>
                <a:gd name="T39" fmla="*/ 85 h 132"/>
                <a:gd name="T40" fmla="*/ 550 w 153"/>
                <a:gd name="T41" fmla="*/ 85 h 132"/>
                <a:gd name="T42" fmla="*/ 129 w 153"/>
                <a:gd name="T43" fmla="*/ 0 h 132"/>
                <a:gd name="T44" fmla="*/ 60 w 153"/>
                <a:gd name="T45" fmla="*/ 85 h 132"/>
                <a:gd name="T46" fmla="*/ 0 w 153"/>
                <a:gd name="T47" fmla="*/ 85 h 132"/>
                <a:gd name="T48" fmla="*/ 0 w 153"/>
                <a:gd name="T49" fmla="*/ 162 h 132"/>
                <a:gd name="T50" fmla="*/ 60 w 153"/>
                <a:gd name="T51" fmla="*/ 276 h 13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53"/>
                <a:gd name="T79" fmla="*/ 0 h 132"/>
                <a:gd name="T80" fmla="*/ 153 w 153"/>
                <a:gd name="T81" fmla="*/ 132 h 13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53" h="132">
                  <a:moveTo>
                    <a:pt x="7" y="34"/>
                  </a:moveTo>
                  <a:lnTo>
                    <a:pt x="40" y="34"/>
                  </a:lnTo>
                  <a:lnTo>
                    <a:pt x="40" y="42"/>
                  </a:lnTo>
                  <a:lnTo>
                    <a:pt x="31" y="50"/>
                  </a:lnTo>
                  <a:lnTo>
                    <a:pt x="31" y="66"/>
                  </a:lnTo>
                  <a:lnTo>
                    <a:pt x="24" y="75"/>
                  </a:lnTo>
                  <a:lnTo>
                    <a:pt x="31" y="99"/>
                  </a:lnTo>
                  <a:lnTo>
                    <a:pt x="24" y="115"/>
                  </a:lnTo>
                  <a:lnTo>
                    <a:pt x="49" y="131"/>
                  </a:lnTo>
                  <a:lnTo>
                    <a:pt x="55" y="124"/>
                  </a:lnTo>
                  <a:lnTo>
                    <a:pt x="89" y="124"/>
                  </a:lnTo>
                  <a:lnTo>
                    <a:pt x="121" y="91"/>
                  </a:lnTo>
                  <a:lnTo>
                    <a:pt x="112" y="75"/>
                  </a:lnTo>
                  <a:lnTo>
                    <a:pt x="129" y="50"/>
                  </a:lnTo>
                  <a:lnTo>
                    <a:pt x="152" y="34"/>
                  </a:lnTo>
                  <a:lnTo>
                    <a:pt x="152" y="25"/>
                  </a:lnTo>
                  <a:lnTo>
                    <a:pt x="112" y="19"/>
                  </a:lnTo>
                  <a:lnTo>
                    <a:pt x="97" y="10"/>
                  </a:lnTo>
                  <a:lnTo>
                    <a:pt x="89" y="10"/>
                  </a:lnTo>
                  <a:lnTo>
                    <a:pt x="72" y="10"/>
                  </a:lnTo>
                  <a:lnTo>
                    <a:pt x="64" y="10"/>
                  </a:lnTo>
                  <a:lnTo>
                    <a:pt x="15" y="0"/>
                  </a:lnTo>
                  <a:lnTo>
                    <a:pt x="7" y="1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7" y="34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" name="Freeform 148"/>
            <p:cNvSpPr>
              <a:spLocks/>
            </p:cNvSpPr>
            <p:nvPr/>
          </p:nvSpPr>
          <p:spPr bwMode="auto">
            <a:xfrm>
              <a:off x="2877" y="1990"/>
              <a:ext cx="54" cy="107"/>
            </a:xfrm>
            <a:custGeom>
              <a:avLst/>
              <a:gdLst>
                <a:gd name="T0" fmla="*/ 217 w 41"/>
                <a:gd name="T1" fmla="*/ 682 h 82"/>
                <a:gd name="T2" fmla="*/ 283 w 41"/>
                <a:gd name="T3" fmla="*/ 548 h 82"/>
                <a:gd name="T4" fmla="*/ 217 w 41"/>
                <a:gd name="T5" fmla="*/ 344 h 82"/>
                <a:gd name="T6" fmla="*/ 283 w 41"/>
                <a:gd name="T7" fmla="*/ 274 h 82"/>
                <a:gd name="T8" fmla="*/ 283 w 41"/>
                <a:gd name="T9" fmla="*/ 133 h 82"/>
                <a:gd name="T10" fmla="*/ 362 w 41"/>
                <a:gd name="T11" fmla="*/ 65 h 82"/>
                <a:gd name="T12" fmla="*/ 362 w 41"/>
                <a:gd name="T13" fmla="*/ 0 h 82"/>
                <a:gd name="T14" fmla="*/ 65 w 41"/>
                <a:gd name="T15" fmla="*/ 0 h 82"/>
                <a:gd name="T16" fmla="*/ 65 w 41"/>
                <a:gd name="T17" fmla="*/ 133 h 82"/>
                <a:gd name="T18" fmla="*/ 0 w 41"/>
                <a:gd name="T19" fmla="*/ 482 h 82"/>
                <a:gd name="T20" fmla="*/ 65 w 41"/>
                <a:gd name="T21" fmla="*/ 482 h 82"/>
                <a:gd name="T22" fmla="*/ 0 w 41"/>
                <a:gd name="T23" fmla="*/ 682 h 82"/>
                <a:gd name="T24" fmla="*/ 217 w 41"/>
                <a:gd name="T25" fmla="*/ 682 h 8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1"/>
                <a:gd name="T40" fmla="*/ 0 h 82"/>
                <a:gd name="T41" fmla="*/ 41 w 41"/>
                <a:gd name="T42" fmla="*/ 82 h 8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1" h="82">
                  <a:moveTo>
                    <a:pt x="24" y="81"/>
                  </a:moveTo>
                  <a:lnTo>
                    <a:pt x="31" y="65"/>
                  </a:lnTo>
                  <a:lnTo>
                    <a:pt x="24" y="41"/>
                  </a:lnTo>
                  <a:lnTo>
                    <a:pt x="31" y="32"/>
                  </a:lnTo>
                  <a:lnTo>
                    <a:pt x="31" y="16"/>
                  </a:lnTo>
                  <a:lnTo>
                    <a:pt x="40" y="8"/>
                  </a:lnTo>
                  <a:lnTo>
                    <a:pt x="40" y="0"/>
                  </a:lnTo>
                  <a:lnTo>
                    <a:pt x="7" y="0"/>
                  </a:lnTo>
                  <a:lnTo>
                    <a:pt x="7" y="16"/>
                  </a:lnTo>
                  <a:lnTo>
                    <a:pt x="0" y="57"/>
                  </a:lnTo>
                  <a:lnTo>
                    <a:pt x="7" y="57"/>
                  </a:lnTo>
                  <a:lnTo>
                    <a:pt x="0" y="81"/>
                  </a:lnTo>
                  <a:lnTo>
                    <a:pt x="24" y="81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" name="Freeform 149"/>
            <p:cNvSpPr>
              <a:spLocks/>
            </p:cNvSpPr>
            <p:nvPr/>
          </p:nvSpPr>
          <p:spPr bwMode="auto">
            <a:xfrm>
              <a:off x="3141" y="1873"/>
              <a:ext cx="202" cy="203"/>
            </a:xfrm>
            <a:custGeom>
              <a:avLst/>
              <a:gdLst>
                <a:gd name="T0" fmla="*/ 78 w 155"/>
                <a:gd name="T1" fmla="*/ 473 h 155"/>
                <a:gd name="T2" fmla="*/ 197 w 155"/>
                <a:gd name="T3" fmla="*/ 426 h 155"/>
                <a:gd name="T4" fmla="*/ 335 w 155"/>
                <a:gd name="T5" fmla="*/ 473 h 155"/>
                <a:gd name="T6" fmla="*/ 467 w 155"/>
                <a:gd name="T7" fmla="*/ 697 h 155"/>
                <a:gd name="T8" fmla="*/ 545 w 155"/>
                <a:gd name="T9" fmla="*/ 697 h 155"/>
                <a:gd name="T10" fmla="*/ 611 w 155"/>
                <a:gd name="T11" fmla="*/ 836 h 155"/>
                <a:gd name="T12" fmla="*/ 743 w 155"/>
                <a:gd name="T13" fmla="*/ 913 h 155"/>
                <a:gd name="T14" fmla="*/ 884 w 155"/>
                <a:gd name="T15" fmla="*/ 1045 h 155"/>
                <a:gd name="T16" fmla="*/ 951 w 155"/>
                <a:gd name="T17" fmla="*/ 1045 h 155"/>
                <a:gd name="T18" fmla="*/ 1007 w 155"/>
                <a:gd name="T19" fmla="*/ 1261 h 155"/>
                <a:gd name="T20" fmla="*/ 951 w 155"/>
                <a:gd name="T21" fmla="*/ 1336 h 155"/>
                <a:gd name="T22" fmla="*/ 1007 w 155"/>
                <a:gd name="T23" fmla="*/ 1336 h 155"/>
                <a:gd name="T24" fmla="*/ 1093 w 155"/>
                <a:gd name="T25" fmla="*/ 1261 h 155"/>
                <a:gd name="T26" fmla="*/ 1093 w 155"/>
                <a:gd name="T27" fmla="*/ 1180 h 155"/>
                <a:gd name="T28" fmla="*/ 1093 w 155"/>
                <a:gd name="T29" fmla="*/ 1124 h 155"/>
                <a:gd name="T30" fmla="*/ 1093 w 155"/>
                <a:gd name="T31" fmla="*/ 981 h 155"/>
                <a:gd name="T32" fmla="*/ 1215 w 155"/>
                <a:gd name="T33" fmla="*/ 1124 h 155"/>
                <a:gd name="T34" fmla="*/ 1282 w 155"/>
                <a:gd name="T35" fmla="*/ 1045 h 155"/>
                <a:gd name="T36" fmla="*/ 951 w 155"/>
                <a:gd name="T37" fmla="*/ 836 h 155"/>
                <a:gd name="T38" fmla="*/ 1007 w 155"/>
                <a:gd name="T39" fmla="*/ 770 h 155"/>
                <a:gd name="T40" fmla="*/ 951 w 155"/>
                <a:gd name="T41" fmla="*/ 770 h 155"/>
                <a:gd name="T42" fmla="*/ 805 w 155"/>
                <a:gd name="T43" fmla="*/ 697 h 155"/>
                <a:gd name="T44" fmla="*/ 743 w 155"/>
                <a:gd name="T45" fmla="*/ 559 h 155"/>
                <a:gd name="T46" fmla="*/ 611 w 155"/>
                <a:gd name="T47" fmla="*/ 426 h 155"/>
                <a:gd name="T48" fmla="*/ 611 w 155"/>
                <a:gd name="T49" fmla="*/ 210 h 155"/>
                <a:gd name="T50" fmla="*/ 743 w 155"/>
                <a:gd name="T51" fmla="*/ 210 h 155"/>
                <a:gd name="T52" fmla="*/ 743 w 155"/>
                <a:gd name="T53" fmla="*/ 132 h 155"/>
                <a:gd name="T54" fmla="*/ 743 w 155"/>
                <a:gd name="T55" fmla="*/ 65 h 155"/>
                <a:gd name="T56" fmla="*/ 611 w 155"/>
                <a:gd name="T57" fmla="*/ 0 h 155"/>
                <a:gd name="T58" fmla="*/ 408 w 155"/>
                <a:gd name="T59" fmla="*/ 0 h 155"/>
                <a:gd name="T60" fmla="*/ 335 w 155"/>
                <a:gd name="T61" fmla="*/ 132 h 155"/>
                <a:gd name="T62" fmla="*/ 276 w 155"/>
                <a:gd name="T63" fmla="*/ 65 h 155"/>
                <a:gd name="T64" fmla="*/ 276 w 155"/>
                <a:gd name="T65" fmla="*/ 132 h 155"/>
                <a:gd name="T66" fmla="*/ 197 w 155"/>
                <a:gd name="T67" fmla="*/ 132 h 155"/>
                <a:gd name="T68" fmla="*/ 78 w 155"/>
                <a:gd name="T69" fmla="*/ 210 h 155"/>
                <a:gd name="T70" fmla="*/ 0 w 155"/>
                <a:gd name="T71" fmla="*/ 210 h 155"/>
                <a:gd name="T72" fmla="*/ 0 w 155"/>
                <a:gd name="T73" fmla="*/ 343 h 155"/>
                <a:gd name="T74" fmla="*/ 78 w 155"/>
                <a:gd name="T75" fmla="*/ 473 h 15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55"/>
                <a:gd name="T115" fmla="*/ 0 h 155"/>
                <a:gd name="T116" fmla="*/ 155 w 155"/>
                <a:gd name="T117" fmla="*/ 155 h 15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55" h="155">
                  <a:moveTo>
                    <a:pt x="9" y="55"/>
                  </a:moveTo>
                  <a:lnTo>
                    <a:pt x="24" y="49"/>
                  </a:lnTo>
                  <a:lnTo>
                    <a:pt x="40" y="55"/>
                  </a:lnTo>
                  <a:lnTo>
                    <a:pt x="56" y="80"/>
                  </a:lnTo>
                  <a:lnTo>
                    <a:pt x="65" y="80"/>
                  </a:lnTo>
                  <a:lnTo>
                    <a:pt x="74" y="97"/>
                  </a:lnTo>
                  <a:lnTo>
                    <a:pt x="89" y="105"/>
                  </a:lnTo>
                  <a:lnTo>
                    <a:pt x="106" y="121"/>
                  </a:lnTo>
                  <a:lnTo>
                    <a:pt x="114" y="121"/>
                  </a:lnTo>
                  <a:lnTo>
                    <a:pt x="121" y="146"/>
                  </a:lnTo>
                  <a:lnTo>
                    <a:pt x="114" y="154"/>
                  </a:lnTo>
                  <a:lnTo>
                    <a:pt x="121" y="154"/>
                  </a:lnTo>
                  <a:lnTo>
                    <a:pt x="131" y="146"/>
                  </a:lnTo>
                  <a:lnTo>
                    <a:pt x="131" y="137"/>
                  </a:lnTo>
                  <a:lnTo>
                    <a:pt x="131" y="130"/>
                  </a:lnTo>
                  <a:lnTo>
                    <a:pt x="131" y="114"/>
                  </a:lnTo>
                  <a:lnTo>
                    <a:pt x="146" y="130"/>
                  </a:lnTo>
                  <a:lnTo>
                    <a:pt x="154" y="121"/>
                  </a:lnTo>
                  <a:lnTo>
                    <a:pt x="114" y="97"/>
                  </a:lnTo>
                  <a:lnTo>
                    <a:pt x="121" y="89"/>
                  </a:lnTo>
                  <a:lnTo>
                    <a:pt x="114" y="89"/>
                  </a:lnTo>
                  <a:lnTo>
                    <a:pt x="97" y="80"/>
                  </a:lnTo>
                  <a:lnTo>
                    <a:pt x="89" y="65"/>
                  </a:lnTo>
                  <a:lnTo>
                    <a:pt x="74" y="49"/>
                  </a:lnTo>
                  <a:lnTo>
                    <a:pt x="74" y="24"/>
                  </a:lnTo>
                  <a:lnTo>
                    <a:pt x="89" y="24"/>
                  </a:lnTo>
                  <a:lnTo>
                    <a:pt x="89" y="15"/>
                  </a:lnTo>
                  <a:lnTo>
                    <a:pt x="89" y="8"/>
                  </a:lnTo>
                  <a:lnTo>
                    <a:pt x="74" y="0"/>
                  </a:lnTo>
                  <a:lnTo>
                    <a:pt x="49" y="0"/>
                  </a:lnTo>
                  <a:lnTo>
                    <a:pt x="40" y="15"/>
                  </a:lnTo>
                  <a:lnTo>
                    <a:pt x="34" y="8"/>
                  </a:lnTo>
                  <a:lnTo>
                    <a:pt x="34" y="15"/>
                  </a:lnTo>
                  <a:lnTo>
                    <a:pt x="24" y="15"/>
                  </a:lnTo>
                  <a:lnTo>
                    <a:pt x="9" y="24"/>
                  </a:lnTo>
                  <a:lnTo>
                    <a:pt x="0" y="24"/>
                  </a:lnTo>
                  <a:lnTo>
                    <a:pt x="0" y="40"/>
                  </a:lnTo>
                  <a:lnTo>
                    <a:pt x="9" y="5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" name="Freeform 150"/>
            <p:cNvSpPr>
              <a:spLocks/>
            </p:cNvSpPr>
            <p:nvPr/>
          </p:nvSpPr>
          <p:spPr bwMode="auto">
            <a:xfrm>
              <a:off x="3364" y="1840"/>
              <a:ext cx="159" cy="119"/>
            </a:xfrm>
            <a:custGeom>
              <a:avLst/>
              <a:gdLst>
                <a:gd name="T0" fmla="*/ 125 w 122"/>
                <a:gd name="T1" fmla="*/ 554 h 91"/>
                <a:gd name="T2" fmla="*/ 257 w 122"/>
                <a:gd name="T3" fmla="*/ 554 h 91"/>
                <a:gd name="T4" fmla="*/ 257 w 122"/>
                <a:gd name="T5" fmla="*/ 634 h 91"/>
                <a:gd name="T6" fmla="*/ 335 w 122"/>
                <a:gd name="T7" fmla="*/ 684 h 91"/>
                <a:gd name="T8" fmla="*/ 392 w 122"/>
                <a:gd name="T9" fmla="*/ 684 h 91"/>
                <a:gd name="T10" fmla="*/ 601 w 122"/>
                <a:gd name="T11" fmla="*/ 769 h 91"/>
                <a:gd name="T12" fmla="*/ 743 w 122"/>
                <a:gd name="T13" fmla="*/ 634 h 91"/>
                <a:gd name="T14" fmla="*/ 933 w 122"/>
                <a:gd name="T15" fmla="*/ 684 h 91"/>
                <a:gd name="T16" fmla="*/ 933 w 122"/>
                <a:gd name="T17" fmla="*/ 634 h 91"/>
                <a:gd name="T18" fmla="*/ 1007 w 122"/>
                <a:gd name="T19" fmla="*/ 554 h 91"/>
                <a:gd name="T20" fmla="*/ 1007 w 122"/>
                <a:gd name="T21" fmla="*/ 494 h 91"/>
                <a:gd name="T22" fmla="*/ 876 w 122"/>
                <a:gd name="T23" fmla="*/ 494 h 91"/>
                <a:gd name="T24" fmla="*/ 876 w 122"/>
                <a:gd name="T25" fmla="*/ 421 h 91"/>
                <a:gd name="T26" fmla="*/ 876 w 122"/>
                <a:gd name="T27" fmla="*/ 212 h 91"/>
                <a:gd name="T28" fmla="*/ 743 w 122"/>
                <a:gd name="T29" fmla="*/ 0 h 91"/>
                <a:gd name="T30" fmla="*/ 666 w 122"/>
                <a:gd name="T31" fmla="*/ 0 h 91"/>
                <a:gd name="T32" fmla="*/ 545 w 122"/>
                <a:gd name="T33" fmla="*/ 78 h 91"/>
                <a:gd name="T34" fmla="*/ 461 w 122"/>
                <a:gd name="T35" fmla="*/ 78 h 91"/>
                <a:gd name="T36" fmla="*/ 257 w 122"/>
                <a:gd name="T37" fmla="*/ 78 h 91"/>
                <a:gd name="T38" fmla="*/ 197 w 122"/>
                <a:gd name="T39" fmla="*/ 78 h 91"/>
                <a:gd name="T40" fmla="*/ 125 w 122"/>
                <a:gd name="T41" fmla="*/ 340 h 91"/>
                <a:gd name="T42" fmla="*/ 0 w 122"/>
                <a:gd name="T43" fmla="*/ 340 h 91"/>
                <a:gd name="T44" fmla="*/ 125 w 122"/>
                <a:gd name="T45" fmla="*/ 554 h 9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2"/>
                <a:gd name="T70" fmla="*/ 0 h 91"/>
                <a:gd name="T71" fmla="*/ 122 w 122"/>
                <a:gd name="T72" fmla="*/ 91 h 9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2" h="91">
                  <a:moveTo>
                    <a:pt x="15" y="65"/>
                  </a:moveTo>
                  <a:lnTo>
                    <a:pt x="31" y="65"/>
                  </a:lnTo>
                  <a:lnTo>
                    <a:pt x="31" y="74"/>
                  </a:lnTo>
                  <a:lnTo>
                    <a:pt x="40" y="80"/>
                  </a:lnTo>
                  <a:lnTo>
                    <a:pt x="47" y="80"/>
                  </a:lnTo>
                  <a:lnTo>
                    <a:pt x="72" y="90"/>
                  </a:lnTo>
                  <a:lnTo>
                    <a:pt x="89" y="74"/>
                  </a:lnTo>
                  <a:lnTo>
                    <a:pt x="112" y="80"/>
                  </a:lnTo>
                  <a:lnTo>
                    <a:pt x="112" y="74"/>
                  </a:lnTo>
                  <a:lnTo>
                    <a:pt x="121" y="65"/>
                  </a:lnTo>
                  <a:lnTo>
                    <a:pt x="121" y="58"/>
                  </a:lnTo>
                  <a:lnTo>
                    <a:pt x="105" y="58"/>
                  </a:lnTo>
                  <a:lnTo>
                    <a:pt x="105" y="49"/>
                  </a:lnTo>
                  <a:lnTo>
                    <a:pt x="105" y="25"/>
                  </a:lnTo>
                  <a:lnTo>
                    <a:pt x="89" y="0"/>
                  </a:lnTo>
                  <a:lnTo>
                    <a:pt x="80" y="0"/>
                  </a:lnTo>
                  <a:lnTo>
                    <a:pt x="65" y="9"/>
                  </a:lnTo>
                  <a:lnTo>
                    <a:pt x="55" y="9"/>
                  </a:lnTo>
                  <a:lnTo>
                    <a:pt x="31" y="9"/>
                  </a:lnTo>
                  <a:lnTo>
                    <a:pt x="24" y="9"/>
                  </a:lnTo>
                  <a:lnTo>
                    <a:pt x="15" y="40"/>
                  </a:lnTo>
                  <a:lnTo>
                    <a:pt x="0" y="40"/>
                  </a:lnTo>
                  <a:lnTo>
                    <a:pt x="15" y="6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" name="Freeform 151"/>
            <p:cNvSpPr>
              <a:spLocks/>
            </p:cNvSpPr>
            <p:nvPr/>
          </p:nvSpPr>
          <p:spPr bwMode="auto">
            <a:xfrm>
              <a:off x="3364" y="1999"/>
              <a:ext cx="106" cy="87"/>
            </a:xfrm>
            <a:custGeom>
              <a:avLst/>
              <a:gdLst>
                <a:gd name="T0" fmla="*/ 130 w 81"/>
                <a:gd name="T1" fmla="*/ 78 h 66"/>
                <a:gd name="T2" fmla="*/ 340 w 81"/>
                <a:gd name="T3" fmla="*/ 0 h 66"/>
                <a:gd name="T4" fmla="*/ 472 w 81"/>
                <a:gd name="T5" fmla="*/ 0 h 66"/>
                <a:gd name="T6" fmla="*/ 618 w 81"/>
                <a:gd name="T7" fmla="*/ 78 h 66"/>
                <a:gd name="T8" fmla="*/ 684 w 81"/>
                <a:gd name="T9" fmla="*/ 0 h 66"/>
                <a:gd name="T10" fmla="*/ 618 w 81"/>
                <a:gd name="T11" fmla="*/ 152 h 66"/>
                <a:gd name="T12" fmla="*/ 472 w 81"/>
                <a:gd name="T13" fmla="*/ 78 h 66"/>
                <a:gd name="T14" fmla="*/ 407 w 81"/>
                <a:gd name="T15" fmla="*/ 152 h 66"/>
                <a:gd name="T16" fmla="*/ 407 w 81"/>
                <a:gd name="T17" fmla="*/ 220 h 66"/>
                <a:gd name="T18" fmla="*/ 340 w 81"/>
                <a:gd name="T19" fmla="*/ 220 h 66"/>
                <a:gd name="T20" fmla="*/ 274 w 81"/>
                <a:gd name="T21" fmla="*/ 152 h 66"/>
                <a:gd name="T22" fmla="*/ 274 w 81"/>
                <a:gd name="T23" fmla="*/ 220 h 66"/>
                <a:gd name="T24" fmla="*/ 340 w 81"/>
                <a:gd name="T25" fmla="*/ 366 h 66"/>
                <a:gd name="T26" fmla="*/ 472 w 81"/>
                <a:gd name="T27" fmla="*/ 523 h 66"/>
                <a:gd name="T28" fmla="*/ 407 w 81"/>
                <a:gd name="T29" fmla="*/ 523 h 66"/>
                <a:gd name="T30" fmla="*/ 407 w 81"/>
                <a:gd name="T31" fmla="*/ 591 h 66"/>
                <a:gd name="T32" fmla="*/ 274 w 81"/>
                <a:gd name="T33" fmla="*/ 523 h 66"/>
                <a:gd name="T34" fmla="*/ 130 w 81"/>
                <a:gd name="T35" fmla="*/ 523 h 66"/>
                <a:gd name="T36" fmla="*/ 0 w 81"/>
                <a:gd name="T37" fmla="*/ 302 h 66"/>
                <a:gd name="T38" fmla="*/ 130 w 81"/>
                <a:gd name="T39" fmla="*/ 152 h 66"/>
                <a:gd name="T40" fmla="*/ 130 w 81"/>
                <a:gd name="T41" fmla="*/ 78 h 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1"/>
                <a:gd name="T64" fmla="*/ 0 h 66"/>
                <a:gd name="T65" fmla="*/ 81 w 81"/>
                <a:gd name="T66" fmla="*/ 66 h 6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1" h="66">
                  <a:moveTo>
                    <a:pt x="15" y="8"/>
                  </a:moveTo>
                  <a:lnTo>
                    <a:pt x="40" y="0"/>
                  </a:lnTo>
                  <a:lnTo>
                    <a:pt x="55" y="0"/>
                  </a:lnTo>
                  <a:lnTo>
                    <a:pt x="72" y="8"/>
                  </a:lnTo>
                  <a:lnTo>
                    <a:pt x="80" y="0"/>
                  </a:lnTo>
                  <a:lnTo>
                    <a:pt x="72" y="17"/>
                  </a:lnTo>
                  <a:lnTo>
                    <a:pt x="55" y="8"/>
                  </a:lnTo>
                  <a:lnTo>
                    <a:pt x="47" y="17"/>
                  </a:lnTo>
                  <a:lnTo>
                    <a:pt x="47" y="24"/>
                  </a:lnTo>
                  <a:lnTo>
                    <a:pt x="40" y="24"/>
                  </a:lnTo>
                  <a:lnTo>
                    <a:pt x="31" y="17"/>
                  </a:lnTo>
                  <a:lnTo>
                    <a:pt x="31" y="24"/>
                  </a:lnTo>
                  <a:lnTo>
                    <a:pt x="40" y="40"/>
                  </a:lnTo>
                  <a:lnTo>
                    <a:pt x="55" y="57"/>
                  </a:lnTo>
                  <a:lnTo>
                    <a:pt x="47" y="57"/>
                  </a:lnTo>
                  <a:lnTo>
                    <a:pt x="47" y="65"/>
                  </a:lnTo>
                  <a:lnTo>
                    <a:pt x="31" y="57"/>
                  </a:lnTo>
                  <a:lnTo>
                    <a:pt x="15" y="57"/>
                  </a:lnTo>
                  <a:lnTo>
                    <a:pt x="0" y="33"/>
                  </a:lnTo>
                  <a:lnTo>
                    <a:pt x="15" y="17"/>
                  </a:lnTo>
                  <a:lnTo>
                    <a:pt x="15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" name="Freeform 152"/>
            <p:cNvSpPr>
              <a:spLocks/>
            </p:cNvSpPr>
            <p:nvPr/>
          </p:nvSpPr>
          <p:spPr bwMode="auto">
            <a:xfrm>
              <a:off x="3617" y="2094"/>
              <a:ext cx="129" cy="97"/>
            </a:xfrm>
            <a:custGeom>
              <a:avLst/>
              <a:gdLst>
                <a:gd name="T0" fmla="*/ 0 w 98"/>
                <a:gd name="T1" fmla="*/ 704 h 73"/>
                <a:gd name="T2" fmla="*/ 72 w 98"/>
                <a:gd name="T3" fmla="*/ 643 h 73"/>
                <a:gd name="T4" fmla="*/ 151 w 98"/>
                <a:gd name="T5" fmla="*/ 472 h 73"/>
                <a:gd name="T6" fmla="*/ 72 w 98"/>
                <a:gd name="T7" fmla="*/ 399 h 73"/>
                <a:gd name="T8" fmla="*/ 72 w 98"/>
                <a:gd name="T9" fmla="*/ 151 h 73"/>
                <a:gd name="T10" fmla="*/ 151 w 98"/>
                <a:gd name="T11" fmla="*/ 151 h 73"/>
                <a:gd name="T12" fmla="*/ 151 w 98"/>
                <a:gd name="T13" fmla="*/ 86 h 73"/>
                <a:gd name="T14" fmla="*/ 376 w 98"/>
                <a:gd name="T15" fmla="*/ 0 h 73"/>
                <a:gd name="T16" fmla="*/ 428 w 98"/>
                <a:gd name="T17" fmla="*/ 86 h 73"/>
                <a:gd name="T18" fmla="*/ 657 w 98"/>
                <a:gd name="T19" fmla="*/ 0 h 73"/>
                <a:gd name="T20" fmla="*/ 873 w 98"/>
                <a:gd name="T21" fmla="*/ 0 h 73"/>
                <a:gd name="T22" fmla="*/ 738 w 98"/>
                <a:gd name="T23" fmla="*/ 86 h 73"/>
                <a:gd name="T24" fmla="*/ 657 w 98"/>
                <a:gd name="T25" fmla="*/ 399 h 73"/>
                <a:gd name="T26" fmla="*/ 428 w 98"/>
                <a:gd name="T27" fmla="*/ 541 h 73"/>
                <a:gd name="T28" fmla="*/ 376 w 98"/>
                <a:gd name="T29" fmla="*/ 541 h 73"/>
                <a:gd name="T30" fmla="*/ 151 w 98"/>
                <a:gd name="T31" fmla="*/ 704 h 73"/>
                <a:gd name="T32" fmla="*/ 0 w 98"/>
                <a:gd name="T33" fmla="*/ 704 h 7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8"/>
                <a:gd name="T52" fmla="*/ 0 h 73"/>
                <a:gd name="T53" fmla="*/ 98 w 98"/>
                <a:gd name="T54" fmla="*/ 73 h 7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8" h="73">
                  <a:moveTo>
                    <a:pt x="0" y="72"/>
                  </a:moveTo>
                  <a:lnTo>
                    <a:pt x="8" y="66"/>
                  </a:lnTo>
                  <a:lnTo>
                    <a:pt x="17" y="49"/>
                  </a:lnTo>
                  <a:lnTo>
                    <a:pt x="8" y="41"/>
                  </a:lnTo>
                  <a:lnTo>
                    <a:pt x="8" y="16"/>
                  </a:lnTo>
                  <a:lnTo>
                    <a:pt x="17" y="16"/>
                  </a:lnTo>
                  <a:lnTo>
                    <a:pt x="17" y="9"/>
                  </a:lnTo>
                  <a:lnTo>
                    <a:pt x="42" y="0"/>
                  </a:lnTo>
                  <a:lnTo>
                    <a:pt x="48" y="9"/>
                  </a:lnTo>
                  <a:lnTo>
                    <a:pt x="73" y="0"/>
                  </a:lnTo>
                  <a:lnTo>
                    <a:pt x="97" y="0"/>
                  </a:lnTo>
                  <a:lnTo>
                    <a:pt x="82" y="9"/>
                  </a:lnTo>
                  <a:lnTo>
                    <a:pt x="73" y="41"/>
                  </a:lnTo>
                  <a:lnTo>
                    <a:pt x="48" y="56"/>
                  </a:lnTo>
                  <a:lnTo>
                    <a:pt x="42" y="56"/>
                  </a:lnTo>
                  <a:lnTo>
                    <a:pt x="17" y="72"/>
                  </a:lnTo>
                  <a:lnTo>
                    <a:pt x="0" y="7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6" name="Freeform 153"/>
            <p:cNvSpPr>
              <a:spLocks/>
            </p:cNvSpPr>
            <p:nvPr/>
          </p:nvSpPr>
          <p:spPr bwMode="auto">
            <a:xfrm>
              <a:off x="3607" y="2168"/>
              <a:ext cx="75" cy="86"/>
            </a:xfrm>
            <a:custGeom>
              <a:avLst/>
              <a:gdLst>
                <a:gd name="T0" fmla="*/ 504 w 57"/>
                <a:gd name="T1" fmla="*/ 133 h 66"/>
                <a:gd name="T2" fmla="*/ 504 w 57"/>
                <a:gd name="T3" fmla="*/ 0 h 66"/>
                <a:gd name="T4" fmla="*/ 449 w 57"/>
                <a:gd name="T5" fmla="*/ 0 h 66"/>
                <a:gd name="T6" fmla="*/ 225 w 57"/>
                <a:gd name="T7" fmla="*/ 133 h 66"/>
                <a:gd name="T8" fmla="*/ 72 w 57"/>
                <a:gd name="T9" fmla="*/ 133 h 66"/>
                <a:gd name="T10" fmla="*/ 72 w 57"/>
                <a:gd name="T11" fmla="*/ 211 h 66"/>
                <a:gd name="T12" fmla="*/ 72 w 57"/>
                <a:gd name="T13" fmla="*/ 336 h 66"/>
                <a:gd name="T14" fmla="*/ 0 w 57"/>
                <a:gd name="T15" fmla="*/ 545 h 66"/>
                <a:gd name="T16" fmla="*/ 146 w 57"/>
                <a:gd name="T17" fmla="*/ 545 h 66"/>
                <a:gd name="T18" fmla="*/ 225 w 57"/>
                <a:gd name="T19" fmla="*/ 469 h 66"/>
                <a:gd name="T20" fmla="*/ 279 w 57"/>
                <a:gd name="T21" fmla="*/ 469 h 66"/>
                <a:gd name="T22" fmla="*/ 367 w 57"/>
                <a:gd name="T23" fmla="*/ 336 h 66"/>
                <a:gd name="T24" fmla="*/ 279 w 57"/>
                <a:gd name="T25" fmla="*/ 276 h 66"/>
                <a:gd name="T26" fmla="*/ 504 w 57"/>
                <a:gd name="T27" fmla="*/ 133 h 6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7"/>
                <a:gd name="T43" fmla="*/ 0 h 66"/>
                <a:gd name="T44" fmla="*/ 57 w 57"/>
                <a:gd name="T45" fmla="*/ 66 h 6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7" h="66">
                  <a:moveTo>
                    <a:pt x="56" y="16"/>
                  </a:moveTo>
                  <a:lnTo>
                    <a:pt x="56" y="0"/>
                  </a:lnTo>
                  <a:lnTo>
                    <a:pt x="50" y="0"/>
                  </a:lnTo>
                  <a:lnTo>
                    <a:pt x="25" y="16"/>
                  </a:lnTo>
                  <a:lnTo>
                    <a:pt x="8" y="16"/>
                  </a:lnTo>
                  <a:lnTo>
                    <a:pt x="8" y="25"/>
                  </a:lnTo>
                  <a:lnTo>
                    <a:pt x="8" y="41"/>
                  </a:lnTo>
                  <a:lnTo>
                    <a:pt x="0" y="65"/>
                  </a:lnTo>
                  <a:lnTo>
                    <a:pt x="16" y="65"/>
                  </a:lnTo>
                  <a:lnTo>
                    <a:pt x="25" y="57"/>
                  </a:lnTo>
                  <a:lnTo>
                    <a:pt x="31" y="57"/>
                  </a:lnTo>
                  <a:lnTo>
                    <a:pt x="41" y="41"/>
                  </a:lnTo>
                  <a:lnTo>
                    <a:pt x="31" y="34"/>
                  </a:lnTo>
                  <a:lnTo>
                    <a:pt x="56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7" name="Freeform 154"/>
            <p:cNvSpPr>
              <a:spLocks/>
            </p:cNvSpPr>
            <p:nvPr/>
          </p:nvSpPr>
          <p:spPr bwMode="auto">
            <a:xfrm>
              <a:off x="3617" y="2148"/>
              <a:ext cx="24" cy="35"/>
            </a:xfrm>
            <a:custGeom>
              <a:avLst/>
              <a:gdLst>
                <a:gd name="T0" fmla="*/ 85 w 18"/>
                <a:gd name="T1" fmla="*/ 273 h 26"/>
                <a:gd name="T2" fmla="*/ 0 w 18"/>
                <a:gd name="T3" fmla="*/ 273 h 26"/>
                <a:gd name="T4" fmla="*/ 85 w 18"/>
                <a:gd name="T5" fmla="*/ 0 h 26"/>
                <a:gd name="T6" fmla="*/ 172 w 18"/>
                <a:gd name="T7" fmla="*/ 88 h 26"/>
                <a:gd name="T8" fmla="*/ 85 w 18"/>
                <a:gd name="T9" fmla="*/ 273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26"/>
                <a:gd name="T17" fmla="*/ 18 w 18"/>
                <a:gd name="T18" fmla="*/ 26 h 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26">
                  <a:moveTo>
                    <a:pt x="8" y="25"/>
                  </a:moveTo>
                  <a:lnTo>
                    <a:pt x="0" y="25"/>
                  </a:lnTo>
                  <a:lnTo>
                    <a:pt x="8" y="0"/>
                  </a:lnTo>
                  <a:lnTo>
                    <a:pt x="17" y="8"/>
                  </a:lnTo>
                  <a:lnTo>
                    <a:pt x="8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8" name="Freeform 155"/>
            <p:cNvSpPr>
              <a:spLocks/>
            </p:cNvSpPr>
            <p:nvPr/>
          </p:nvSpPr>
          <p:spPr bwMode="auto">
            <a:xfrm>
              <a:off x="3617" y="2148"/>
              <a:ext cx="24" cy="35"/>
            </a:xfrm>
            <a:custGeom>
              <a:avLst/>
              <a:gdLst>
                <a:gd name="T0" fmla="*/ 85 w 18"/>
                <a:gd name="T1" fmla="*/ 273 h 26"/>
                <a:gd name="T2" fmla="*/ 0 w 18"/>
                <a:gd name="T3" fmla="*/ 273 h 26"/>
                <a:gd name="T4" fmla="*/ 85 w 18"/>
                <a:gd name="T5" fmla="*/ 0 h 26"/>
                <a:gd name="T6" fmla="*/ 172 w 18"/>
                <a:gd name="T7" fmla="*/ 88 h 26"/>
                <a:gd name="T8" fmla="*/ 85 w 18"/>
                <a:gd name="T9" fmla="*/ 273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26"/>
                <a:gd name="T17" fmla="*/ 18 w 18"/>
                <a:gd name="T18" fmla="*/ 26 h 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26">
                  <a:moveTo>
                    <a:pt x="8" y="25"/>
                  </a:moveTo>
                  <a:lnTo>
                    <a:pt x="0" y="25"/>
                  </a:lnTo>
                  <a:lnTo>
                    <a:pt x="8" y="0"/>
                  </a:lnTo>
                  <a:lnTo>
                    <a:pt x="17" y="8"/>
                  </a:lnTo>
                  <a:lnTo>
                    <a:pt x="8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9" name="Freeform 156"/>
            <p:cNvSpPr>
              <a:spLocks/>
            </p:cNvSpPr>
            <p:nvPr/>
          </p:nvSpPr>
          <p:spPr bwMode="auto">
            <a:xfrm>
              <a:off x="3595" y="2181"/>
              <a:ext cx="34" cy="73"/>
            </a:xfrm>
            <a:custGeom>
              <a:avLst/>
              <a:gdLst>
                <a:gd name="T0" fmla="*/ 145 w 26"/>
                <a:gd name="T1" fmla="*/ 50 h 56"/>
                <a:gd name="T2" fmla="*/ 145 w 26"/>
                <a:gd name="T3" fmla="*/ 125 h 56"/>
                <a:gd name="T4" fmla="*/ 145 w 26"/>
                <a:gd name="T5" fmla="*/ 257 h 56"/>
                <a:gd name="T6" fmla="*/ 78 w 26"/>
                <a:gd name="T7" fmla="*/ 463 h 56"/>
                <a:gd name="T8" fmla="*/ 0 w 26"/>
                <a:gd name="T9" fmla="*/ 197 h 56"/>
                <a:gd name="T10" fmla="*/ 78 w 26"/>
                <a:gd name="T11" fmla="*/ 125 h 56"/>
                <a:gd name="T12" fmla="*/ 145 w 26"/>
                <a:gd name="T13" fmla="*/ 0 h 56"/>
                <a:gd name="T14" fmla="*/ 212 w 26"/>
                <a:gd name="T15" fmla="*/ 0 h 56"/>
                <a:gd name="T16" fmla="*/ 145 w 26"/>
                <a:gd name="T17" fmla="*/ 50 h 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56"/>
                <a:gd name="T29" fmla="*/ 26 w 26"/>
                <a:gd name="T30" fmla="*/ 56 h 5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56">
                  <a:moveTo>
                    <a:pt x="17" y="6"/>
                  </a:moveTo>
                  <a:lnTo>
                    <a:pt x="17" y="15"/>
                  </a:lnTo>
                  <a:lnTo>
                    <a:pt x="17" y="31"/>
                  </a:lnTo>
                  <a:lnTo>
                    <a:pt x="9" y="55"/>
                  </a:lnTo>
                  <a:lnTo>
                    <a:pt x="0" y="24"/>
                  </a:lnTo>
                  <a:lnTo>
                    <a:pt x="9" y="15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40" name="Freeform 157"/>
            <p:cNvSpPr>
              <a:spLocks/>
            </p:cNvSpPr>
            <p:nvPr/>
          </p:nvSpPr>
          <p:spPr bwMode="auto">
            <a:xfrm>
              <a:off x="3595" y="2181"/>
              <a:ext cx="34" cy="73"/>
            </a:xfrm>
            <a:custGeom>
              <a:avLst/>
              <a:gdLst>
                <a:gd name="T0" fmla="*/ 145 w 26"/>
                <a:gd name="T1" fmla="*/ 50 h 56"/>
                <a:gd name="T2" fmla="*/ 145 w 26"/>
                <a:gd name="T3" fmla="*/ 125 h 56"/>
                <a:gd name="T4" fmla="*/ 145 w 26"/>
                <a:gd name="T5" fmla="*/ 257 h 56"/>
                <a:gd name="T6" fmla="*/ 78 w 26"/>
                <a:gd name="T7" fmla="*/ 463 h 56"/>
                <a:gd name="T8" fmla="*/ 0 w 26"/>
                <a:gd name="T9" fmla="*/ 197 h 56"/>
                <a:gd name="T10" fmla="*/ 78 w 26"/>
                <a:gd name="T11" fmla="*/ 125 h 56"/>
                <a:gd name="T12" fmla="*/ 145 w 26"/>
                <a:gd name="T13" fmla="*/ 0 h 56"/>
                <a:gd name="T14" fmla="*/ 212 w 26"/>
                <a:gd name="T15" fmla="*/ 0 h 56"/>
                <a:gd name="T16" fmla="*/ 145 w 26"/>
                <a:gd name="T17" fmla="*/ 50 h 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56"/>
                <a:gd name="T29" fmla="*/ 26 w 26"/>
                <a:gd name="T30" fmla="*/ 56 h 5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56">
                  <a:moveTo>
                    <a:pt x="17" y="6"/>
                  </a:moveTo>
                  <a:lnTo>
                    <a:pt x="17" y="15"/>
                  </a:lnTo>
                  <a:lnTo>
                    <a:pt x="17" y="31"/>
                  </a:lnTo>
                  <a:lnTo>
                    <a:pt x="9" y="55"/>
                  </a:lnTo>
                  <a:lnTo>
                    <a:pt x="0" y="24"/>
                  </a:lnTo>
                  <a:lnTo>
                    <a:pt x="9" y="15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41" name="Freeform 158"/>
            <p:cNvSpPr>
              <a:spLocks/>
            </p:cNvSpPr>
            <p:nvPr/>
          </p:nvSpPr>
          <p:spPr bwMode="auto">
            <a:xfrm>
              <a:off x="3680" y="2085"/>
              <a:ext cx="161" cy="169"/>
            </a:xfrm>
            <a:custGeom>
              <a:avLst/>
              <a:gdLst>
                <a:gd name="T0" fmla="*/ 637 w 123"/>
                <a:gd name="T1" fmla="*/ 64 h 130"/>
                <a:gd name="T2" fmla="*/ 699 w 123"/>
                <a:gd name="T3" fmla="*/ 192 h 130"/>
                <a:gd name="T4" fmla="*/ 776 w 123"/>
                <a:gd name="T5" fmla="*/ 192 h 130"/>
                <a:gd name="T6" fmla="*/ 776 w 123"/>
                <a:gd name="T7" fmla="*/ 325 h 130"/>
                <a:gd name="T8" fmla="*/ 699 w 123"/>
                <a:gd name="T9" fmla="*/ 467 h 130"/>
                <a:gd name="T10" fmla="*/ 776 w 123"/>
                <a:gd name="T11" fmla="*/ 607 h 130"/>
                <a:gd name="T12" fmla="*/ 915 w 123"/>
                <a:gd name="T13" fmla="*/ 654 h 130"/>
                <a:gd name="T14" fmla="*/ 980 w 123"/>
                <a:gd name="T15" fmla="*/ 855 h 130"/>
                <a:gd name="T16" fmla="*/ 1054 w 123"/>
                <a:gd name="T17" fmla="*/ 930 h 130"/>
                <a:gd name="T18" fmla="*/ 1054 w 123"/>
                <a:gd name="T19" fmla="*/ 987 h 130"/>
                <a:gd name="T20" fmla="*/ 915 w 123"/>
                <a:gd name="T21" fmla="*/ 987 h 130"/>
                <a:gd name="T22" fmla="*/ 834 w 123"/>
                <a:gd name="T23" fmla="*/ 1049 h 130"/>
                <a:gd name="T24" fmla="*/ 699 w 123"/>
                <a:gd name="T25" fmla="*/ 987 h 130"/>
                <a:gd name="T26" fmla="*/ 637 w 123"/>
                <a:gd name="T27" fmla="*/ 1049 h 130"/>
                <a:gd name="T28" fmla="*/ 493 w 123"/>
                <a:gd name="T29" fmla="*/ 987 h 130"/>
                <a:gd name="T30" fmla="*/ 493 w 123"/>
                <a:gd name="T31" fmla="*/ 930 h 130"/>
                <a:gd name="T32" fmla="*/ 421 w 123"/>
                <a:gd name="T33" fmla="*/ 855 h 130"/>
                <a:gd name="T34" fmla="*/ 216 w 123"/>
                <a:gd name="T35" fmla="*/ 731 h 130"/>
                <a:gd name="T36" fmla="*/ 0 w 123"/>
                <a:gd name="T37" fmla="*/ 654 h 130"/>
                <a:gd name="T38" fmla="*/ 0 w 123"/>
                <a:gd name="T39" fmla="*/ 520 h 130"/>
                <a:gd name="T40" fmla="*/ 216 w 123"/>
                <a:gd name="T41" fmla="*/ 400 h 130"/>
                <a:gd name="T42" fmla="*/ 296 w 123"/>
                <a:gd name="T43" fmla="*/ 140 h 130"/>
                <a:gd name="T44" fmla="*/ 421 w 123"/>
                <a:gd name="T45" fmla="*/ 64 h 130"/>
                <a:gd name="T46" fmla="*/ 421 w 123"/>
                <a:gd name="T47" fmla="*/ 0 h 130"/>
                <a:gd name="T48" fmla="*/ 637 w 123"/>
                <a:gd name="T49" fmla="*/ 64 h 13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23"/>
                <a:gd name="T76" fmla="*/ 0 h 130"/>
                <a:gd name="T77" fmla="*/ 123 w 123"/>
                <a:gd name="T78" fmla="*/ 130 h 13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23" h="130">
                  <a:moveTo>
                    <a:pt x="74" y="8"/>
                  </a:moveTo>
                  <a:lnTo>
                    <a:pt x="81" y="24"/>
                  </a:lnTo>
                  <a:lnTo>
                    <a:pt x="90" y="24"/>
                  </a:lnTo>
                  <a:lnTo>
                    <a:pt x="90" y="40"/>
                  </a:lnTo>
                  <a:lnTo>
                    <a:pt x="81" y="57"/>
                  </a:lnTo>
                  <a:lnTo>
                    <a:pt x="90" y="74"/>
                  </a:lnTo>
                  <a:lnTo>
                    <a:pt x="106" y="80"/>
                  </a:lnTo>
                  <a:lnTo>
                    <a:pt x="114" y="105"/>
                  </a:lnTo>
                  <a:lnTo>
                    <a:pt x="122" y="114"/>
                  </a:lnTo>
                  <a:lnTo>
                    <a:pt x="122" y="121"/>
                  </a:lnTo>
                  <a:lnTo>
                    <a:pt x="106" y="121"/>
                  </a:lnTo>
                  <a:lnTo>
                    <a:pt x="97" y="129"/>
                  </a:lnTo>
                  <a:lnTo>
                    <a:pt x="81" y="121"/>
                  </a:lnTo>
                  <a:lnTo>
                    <a:pt x="74" y="129"/>
                  </a:lnTo>
                  <a:lnTo>
                    <a:pt x="57" y="121"/>
                  </a:lnTo>
                  <a:lnTo>
                    <a:pt x="57" y="114"/>
                  </a:lnTo>
                  <a:lnTo>
                    <a:pt x="49" y="105"/>
                  </a:lnTo>
                  <a:lnTo>
                    <a:pt x="25" y="89"/>
                  </a:lnTo>
                  <a:lnTo>
                    <a:pt x="0" y="80"/>
                  </a:lnTo>
                  <a:lnTo>
                    <a:pt x="0" y="64"/>
                  </a:lnTo>
                  <a:lnTo>
                    <a:pt x="25" y="49"/>
                  </a:lnTo>
                  <a:lnTo>
                    <a:pt x="34" y="17"/>
                  </a:lnTo>
                  <a:lnTo>
                    <a:pt x="49" y="8"/>
                  </a:lnTo>
                  <a:lnTo>
                    <a:pt x="49" y="0"/>
                  </a:lnTo>
                  <a:lnTo>
                    <a:pt x="74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42" name="Freeform 159"/>
            <p:cNvSpPr>
              <a:spLocks/>
            </p:cNvSpPr>
            <p:nvPr/>
          </p:nvSpPr>
          <p:spPr bwMode="auto">
            <a:xfrm>
              <a:off x="3777" y="2243"/>
              <a:ext cx="31" cy="22"/>
            </a:xfrm>
            <a:custGeom>
              <a:avLst/>
              <a:gdLst>
                <a:gd name="T0" fmla="*/ 0 w 24"/>
                <a:gd name="T1" fmla="*/ 61 h 17"/>
                <a:gd name="T2" fmla="*/ 58 w 24"/>
                <a:gd name="T3" fmla="*/ 0 h 17"/>
                <a:gd name="T4" fmla="*/ 182 w 24"/>
                <a:gd name="T5" fmla="*/ 61 h 17"/>
                <a:gd name="T6" fmla="*/ 58 w 24"/>
                <a:gd name="T7" fmla="*/ 126 h 17"/>
                <a:gd name="T8" fmla="*/ 0 w 24"/>
                <a:gd name="T9" fmla="*/ 61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17"/>
                <a:gd name="T17" fmla="*/ 24 w 24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17">
                  <a:moveTo>
                    <a:pt x="0" y="8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7" y="16"/>
                  </a:lnTo>
                  <a:lnTo>
                    <a:pt x="0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43" name="Freeform 160"/>
            <p:cNvSpPr>
              <a:spLocks/>
            </p:cNvSpPr>
            <p:nvPr/>
          </p:nvSpPr>
          <p:spPr bwMode="auto">
            <a:xfrm>
              <a:off x="3777" y="2243"/>
              <a:ext cx="31" cy="22"/>
            </a:xfrm>
            <a:custGeom>
              <a:avLst/>
              <a:gdLst>
                <a:gd name="T0" fmla="*/ 0 w 24"/>
                <a:gd name="T1" fmla="*/ 61 h 17"/>
                <a:gd name="T2" fmla="*/ 58 w 24"/>
                <a:gd name="T3" fmla="*/ 0 h 17"/>
                <a:gd name="T4" fmla="*/ 182 w 24"/>
                <a:gd name="T5" fmla="*/ 61 h 17"/>
                <a:gd name="T6" fmla="*/ 58 w 24"/>
                <a:gd name="T7" fmla="*/ 126 h 17"/>
                <a:gd name="T8" fmla="*/ 0 w 24"/>
                <a:gd name="T9" fmla="*/ 61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17"/>
                <a:gd name="T17" fmla="*/ 24 w 24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17">
                  <a:moveTo>
                    <a:pt x="0" y="8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7" y="16"/>
                  </a:lnTo>
                  <a:lnTo>
                    <a:pt x="0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44" name="Freeform 161"/>
            <p:cNvSpPr>
              <a:spLocks/>
            </p:cNvSpPr>
            <p:nvPr/>
          </p:nvSpPr>
          <p:spPr bwMode="auto">
            <a:xfrm>
              <a:off x="3807" y="2243"/>
              <a:ext cx="34" cy="22"/>
            </a:xfrm>
            <a:custGeom>
              <a:avLst/>
              <a:gdLst>
                <a:gd name="T0" fmla="*/ 0 w 26"/>
                <a:gd name="T1" fmla="*/ 61 h 17"/>
                <a:gd name="T2" fmla="*/ 78 w 26"/>
                <a:gd name="T3" fmla="*/ 0 h 17"/>
                <a:gd name="T4" fmla="*/ 212 w 26"/>
                <a:gd name="T5" fmla="*/ 0 h 17"/>
                <a:gd name="T6" fmla="*/ 145 w 26"/>
                <a:gd name="T7" fmla="*/ 61 h 17"/>
                <a:gd name="T8" fmla="*/ 212 w 26"/>
                <a:gd name="T9" fmla="*/ 126 h 17"/>
                <a:gd name="T10" fmla="*/ 0 w 26"/>
                <a:gd name="T11" fmla="*/ 61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"/>
                <a:gd name="T19" fmla="*/ 0 h 17"/>
                <a:gd name="T20" fmla="*/ 26 w 26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" h="17">
                  <a:moveTo>
                    <a:pt x="0" y="8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0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45" name="Freeform 162"/>
            <p:cNvSpPr>
              <a:spLocks/>
            </p:cNvSpPr>
            <p:nvPr/>
          </p:nvSpPr>
          <p:spPr bwMode="auto">
            <a:xfrm>
              <a:off x="3807" y="2243"/>
              <a:ext cx="34" cy="22"/>
            </a:xfrm>
            <a:custGeom>
              <a:avLst/>
              <a:gdLst>
                <a:gd name="T0" fmla="*/ 0 w 26"/>
                <a:gd name="T1" fmla="*/ 61 h 17"/>
                <a:gd name="T2" fmla="*/ 78 w 26"/>
                <a:gd name="T3" fmla="*/ 0 h 17"/>
                <a:gd name="T4" fmla="*/ 212 w 26"/>
                <a:gd name="T5" fmla="*/ 0 h 17"/>
                <a:gd name="T6" fmla="*/ 145 w 26"/>
                <a:gd name="T7" fmla="*/ 61 h 17"/>
                <a:gd name="T8" fmla="*/ 212 w 26"/>
                <a:gd name="T9" fmla="*/ 126 h 17"/>
                <a:gd name="T10" fmla="*/ 0 w 26"/>
                <a:gd name="T11" fmla="*/ 61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"/>
                <a:gd name="T19" fmla="*/ 0 h 17"/>
                <a:gd name="T20" fmla="*/ 26 w 26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" h="17">
                  <a:moveTo>
                    <a:pt x="0" y="8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0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46" name="Freeform 163"/>
            <p:cNvSpPr>
              <a:spLocks/>
            </p:cNvSpPr>
            <p:nvPr/>
          </p:nvSpPr>
          <p:spPr bwMode="auto">
            <a:xfrm>
              <a:off x="3607" y="2190"/>
              <a:ext cx="373" cy="341"/>
            </a:xfrm>
            <a:custGeom>
              <a:avLst/>
              <a:gdLst>
                <a:gd name="T0" fmla="*/ 2031 w 285"/>
                <a:gd name="T1" fmla="*/ 1741 h 262"/>
                <a:gd name="T2" fmla="*/ 2090 w 285"/>
                <a:gd name="T3" fmla="*/ 1674 h 262"/>
                <a:gd name="T4" fmla="*/ 2169 w 285"/>
                <a:gd name="T5" fmla="*/ 1611 h 262"/>
                <a:gd name="T6" fmla="*/ 2230 w 285"/>
                <a:gd name="T7" fmla="*/ 1533 h 262"/>
                <a:gd name="T8" fmla="*/ 2297 w 285"/>
                <a:gd name="T9" fmla="*/ 1484 h 262"/>
                <a:gd name="T10" fmla="*/ 2374 w 285"/>
                <a:gd name="T11" fmla="*/ 1410 h 262"/>
                <a:gd name="T12" fmla="*/ 2447 w 285"/>
                <a:gd name="T13" fmla="*/ 1410 h 262"/>
                <a:gd name="T14" fmla="*/ 2447 w 285"/>
                <a:gd name="T15" fmla="*/ 1338 h 262"/>
                <a:gd name="T16" fmla="*/ 2447 w 285"/>
                <a:gd name="T17" fmla="*/ 1277 h 262"/>
                <a:gd name="T18" fmla="*/ 2447 w 285"/>
                <a:gd name="T19" fmla="*/ 1199 h 262"/>
                <a:gd name="T20" fmla="*/ 2374 w 285"/>
                <a:gd name="T21" fmla="*/ 1148 h 262"/>
                <a:gd name="T22" fmla="*/ 2297 w 285"/>
                <a:gd name="T23" fmla="*/ 1083 h 262"/>
                <a:gd name="T24" fmla="*/ 2230 w 285"/>
                <a:gd name="T25" fmla="*/ 1083 h 262"/>
                <a:gd name="T26" fmla="*/ 2169 w 285"/>
                <a:gd name="T27" fmla="*/ 1083 h 262"/>
                <a:gd name="T28" fmla="*/ 2169 w 285"/>
                <a:gd name="T29" fmla="*/ 1148 h 262"/>
                <a:gd name="T30" fmla="*/ 2090 w 285"/>
                <a:gd name="T31" fmla="*/ 1148 h 262"/>
                <a:gd name="T32" fmla="*/ 2031 w 285"/>
                <a:gd name="T33" fmla="*/ 1148 h 262"/>
                <a:gd name="T34" fmla="*/ 1954 w 285"/>
                <a:gd name="T35" fmla="*/ 1148 h 262"/>
                <a:gd name="T36" fmla="*/ 1874 w 285"/>
                <a:gd name="T37" fmla="*/ 1148 h 262"/>
                <a:gd name="T38" fmla="*/ 1824 w 285"/>
                <a:gd name="T39" fmla="*/ 1148 h 262"/>
                <a:gd name="T40" fmla="*/ 1741 w 285"/>
                <a:gd name="T41" fmla="*/ 1083 h 262"/>
                <a:gd name="T42" fmla="*/ 1824 w 285"/>
                <a:gd name="T43" fmla="*/ 1005 h 262"/>
                <a:gd name="T44" fmla="*/ 1741 w 285"/>
                <a:gd name="T45" fmla="*/ 876 h 262"/>
                <a:gd name="T46" fmla="*/ 1741 w 285"/>
                <a:gd name="T47" fmla="*/ 665 h 262"/>
                <a:gd name="T48" fmla="*/ 1531 w 285"/>
                <a:gd name="T49" fmla="*/ 467 h 262"/>
                <a:gd name="T50" fmla="*/ 1319 w 285"/>
                <a:gd name="T51" fmla="*/ 405 h 262"/>
                <a:gd name="T52" fmla="*/ 1175 w 285"/>
                <a:gd name="T53" fmla="*/ 467 h 262"/>
                <a:gd name="T54" fmla="*/ 1119 w 285"/>
                <a:gd name="T55" fmla="*/ 405 h 262"/>
                <a:gd name="T56" fmla="*/ 975 w 285"/>
                <a:gd name="T57" fmla="*/ 336 h 262"/>
                <a:gd name="T58" fmla="*/ 975 w 285"/>
                <a:gd name="T59" fmla="*/ 276 h 262"/>
                <a:gd name="T60" fmla="*/ 898 w 285"/>
                <a:gd name="T61" fmla="*/ 210 h 262"/>
                <a:gd name="T62" fmla="*/ 698 w 285"/>
                <a:gd name="T63" fmla="*/ 78 h 262"/>
                <a:gd name="T64" fmla="*/ 484 w 285"/>
                <a:gd name="T65" fmla="*/ 0 h 262"/>
                <a:gd name="T66" fmla="*/ 274 w 285"/>
                <a:gd name="T67" fmla="*/ 146 h 262"/>
                <a:gd name="T68" fmla="*/ 359 w 285"/>
                <a:gd name="T69" fmla="*/ 210 h 262"/>
                <a:gd name="T70" fmla="*/ 274 w 285"/>
                <a:gd name="T71" fmla="*/ 336 h 262"/>
                <a:gd name="T72" fmla="*/ 216 w 285"/>
                <a:gd name="T73" fmla="*/ 336 h 262"/>
                <a:gd name="T74" fmla="*/ 135 w 285"/>
                <a:gd name="T75" fmla="*/ 405 h 262"/>
                <a:gd name="T76" fmla="*/ 0 w 285"/>
                <a:gd name="T77" fmla="*/ 405 h 262"/>
                <a:gd name="T78" fmla="*/ 0 w 285"/>
                <a:gd name="T79" fmla="*/ 535 h 262"/>
                <a:gd name="T80" fmla="*/ 65 w 285"/>
                <a:gd name="T81" fmla="*/ 535 h 262"/>
                <a:gd name="T82" fmla="*/ 359 w 285"/>
                <a:gd name="T83" fmla="*/ 938 h 262"/>
                <a:gd name="T84" fmla="*/ 427 w 285"/>
                <a:gd name="T85" fmla="*/ 1005 h 262"/>
                <a:gd name="T86" fmla="*/ 484 w 285"/>
                <a:gd name="T87" fmla="*/ 1148 h 262"/>
                <a:gd name="T88" fmla="*/ 484 w 285"/>
                <a:gd name="T89" fmla="*/ 1338 h 262"/>
                <a:gd name="T90" fmla="*/ 698 w 285"/>
                <a:gd name="T91" fmla="*/ 1484 h 262"/>
                <a:gd name="T92" fmla="*/ 834 w 285"/>
                <a:gd name="T93" fmla="*/ 1808 h 262"/>
                <a:gd name="T94" fmla="*/ 898 w 285"/>
                <a:gd name="T95" fmla="*/ 1866 h 262"/>
                <a:gd name="T96" fmla="*/ 975 w 285"/>
                <a:gd name="T97" fmla="*/ 1808 h 262"/>
                <a:gd name="T98" fmla="*/ 1175 w 285"/>
                <a:gd name="T99" fmla="*/ 1997 h 262"/>
                <a:gd name="T100" fmla="*/ 1255 w 285"/>
                <a:gd name="T101" fmla="*/ 2155 h 262"/>
                <a:gd name="T102" fmla="*/ 1741 w 285"/>
                <a:gd name="T103" fmla="*/ 1808 h 262"/>
                <a:gd name="T104" fmla="*/ 2031 w 285"/>
                <a:gd name="T105" fmla="*/ 1741 h 26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85"/>
                <a:gd name="T160" fmla="*/ 0 h 262"/>
                <a:gd name="T161" fmla="*/ 285 w 285"/>
                <a:gd name="T162" fmla="*/ 262 h 26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85" h="262">
                  <a:moveTo>
                    <a:pt x="236" y="211"/>
                  </a:moveTo>
                  <a:lnTo>
                    <a:pt x="243" y="203"/>
                  </a:lnTo>
                  <a:lnTo>
                    <a:pt x="252" y="196"/>
                  </a:lnTo>
                  <a:lnTo>
                    <a:pt x="259" y="186"/>
                  </a:lnTo>
                  <a:lnTo>
                    <a:pt x="267" y="180"/>
                  </a:lnTo>
                  <a:lnTo>
                    <a:pt x="276" y="171"/>
                  </a:lnTo>
                  <a:lnTo>
                    <a:pt x="284" y="171"/>
                  </a:lnTo>
                  <a:lnTo>
                    <a:pt x="284" y="162"/>
                  </a:lnTo>
                  <a:lnTo>
                    <a:pt x="284" y="155"/>
                  </a:lnTo>
                  <a:lnTo>
                    <a:pt x="284" y="146"/>
                  </a:lnTo>
                  <a:lnTo>
                    <a:pt x="276" y="139"/>
                  </a:lnTo>
                  <a:lnTo>
                    <a:pt x="267" y="131"/>
                  </a:lnTo>
                  <a:lnTo>
                    <a:pt x="259" y="131"/>
                  </a:lnTo>
                  <a:lnTo>
                    <a:pt x="252" y="131"/>
                  </a:lnTo>
                  <a:lnTo>
                    <a:pt x="252" y="139"/>
                  </a:lnTo>
                  <a:lnTo>
                    <a:pt x="243" y="139"/>
                  </a:lnTo>
                  <a:lnTo>
                    <a:pt x="236" y="139"/>
                  </a:lnTo>
                  <a:lnTo>
                    <a:pt x="227" y="139"/>
                  </a:lnTo>
                  <a:lnTo>
                    <a:pt x="218" y="139"/>
                  </a:lnTo>
                  <a:lnTo>
                    <a:pt x="212" y="139"/>
                  </a:lnTo>
                  <a:lnTo>
                    <a:pt x="202" y="131"/>
                  </a:lnTo>
                  <a:lnTo>
                    <a:pt x="212" y="122"/>
                  </a:lnTo>
                  <a:lnTo>
                    <a:pt x="202" y="106"/>
                  </a:lnTo>
                  <a:lnTo>
                    <a:pt x="202" y="81"/>
                  </a:lnTo>
                  <a:lnTo>
                    <a:pt x="178" y="57"/>
                  </a:lnTo>
                  <a:lnTo>
                    <a:pt x="153" y="49"/>
                  </a:lnTo>
                  <a:lnTo>
                    <a:pt x="137" y="57"/>
                  </a:lnTo>
                  <a:lnTo>
                    <a:pt x="130" y="49"/>
                  </a:lnTo>
                  <a:lnTo>
                    <a:pt x="113" y="41"/>
                  </a:lnTo>
                  <a:lnTo>
                    <a:pt x="113" y="34"/>
                  </a:lnTo>
                  <a:lnTo>
                    <a:pt x="105" y="25"/>
                  </a:lnTo>
                  <a:lnTo>
                    <a:pt x="81" y="9"/>
                  </a:lnTo>
                  <a:lnTo>
                    <a:pt x="56" y="0"/>
                  </a:lnTo>
                  <a:lnTo>
                    <a:pt x="31" y="18"/>
                  </a:lnTo>
                  <a:lnTo>
                    <a:pt x="41" y="25"/>
                  </a:lnTo>
                  <a:lnTo>
                    <a:pt x="31" y="41"/>
                  </a:lnTo>
                  <a:lnTo>
                    <a:pt x="25" y="41"/>
                  </a:lnTo>
                  <a:lnTo>
                    <a:pt x="16" y="49"/>
                  </a:lnTo>
                  <a:lnTo>
                    <a:pt x="0" y="49"/>
                  </a:lnTo>
                  <a:lnTo>
                    <a:pt x="0" y="65"/>
                  </a:lnTo>
                  <a:lnTo>
                    <a:pt x="8" y="65"/>
                  </a:lnTo>
                  <a:lnTo>
                    <a:pt x="41" y="114"/>
                  </a:lnTo>
                  <a:lnTo>
                    <a:pt x="50" y="122"/>
                  </a:lnTo>
                  <a:lnTo>
                    <a:pt x="56" y="139"/>
                  </a:lnTo>
                  <a:lnTo>
                    <a:pt x="56" y="162"/>
                  </a:lnTo>
                  <a:lnTo>
                    <a:pt x="81" y="180"/>
                  </a:lnTo>
                  <a:lnTo>
                    <a:pt x="97" y="220"/>
                  </a:lnTo>
                  <a:lnTo>
                    <a:pt x="105" y="227"/>
                  </a:lnTo>
                  <a:lnTo>
                    <a:pt x="113" y="220"/>
                  </a:lnTo>
                  <a:lnTo>
                    <a:pt x="137" y="243"/>
                  </a:lnTo>
                  <a:lnTo>
                    <a:pt x="146" y="261"/>
                  </a:lnTo>
                  <a:lnTo>
                    <a:pt x="202" y="220"/>
                  </a:lnTo>
                  <a:lnTo>
                    <a:pt x="236" y="211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47" name="Freeform 164"/>
            <p:cNvSpPr>
              <a:spLocks/>
            </p:cNvSpPr>
            <p:nvPr/>
          </p:nvSpPr>
          <p:spPr bwMode="auto">
            <a:xfrm>
              <a:off x="3871" y="2315"/>
              <a:ext cx="22" cy="35"/>
            </a:xfrm>
            <a:custGeom>
              <a:avLst/>
              <a:gdLst>
                <a:gd name="T0" fmla="*/ 79 w 17"/>
                <a:gd name="T1" fmla="*/ 273 h 26"/>
                <a:gd name="T2" fmla="*/ 0 w 17"/>
                <a:gd name="T3" fmla="*/ 98 h 26"/>
                <a:gd name="T4" fmla="*/ 79 w 17"/>
                <a:gd name="T5" fmla="*/ 0 h 26"/>
                <a:gd name="T6" fmla="*/ 126 w 17"/>
                <a:gd name="T7" fmla="*/ 0 h 26"/>
                <a:gd name="T8" fmla="*/ 79 w 17"/>
                <a:gd name="T9" fmla="*/ 273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26"/>
                <a:gd name="T17" fmla="*/ 17 w 17"/>
                <a:gd name="T18" fmla="*/ 26 h 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26">
                  <a:moveTo>
                    <a:pt x="10" y="25"/>
                  </a:moveTo>
                  <a:lnTo>
                    <a:pt x="0" y="9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0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48" name="Freeform 165"/>
            <p:cNvSpPr>
              <a:spLocks/>
            </p:cNvSpPr>
            <p:nvPr/>
          </p:nvSpPr>
          <p:spPr bwMode="auto">
            <a:xfrm>
              <a:off x="3871" y="2315"/>
              <a:ext cx="109" cy="57"/>
            </a:xfrm>
            <a:custGeom>
              <a:avLst/>
              <a:gdLst>
                <a:gd name="T0" fmla="*/ 573 w 83"/>
                <a:gd name="T1" fmla="*/ 329 h 43"/>
                <a:gd name="T2" fmla="*/ 725 w 83"/>
                <a:gd name="T3" fmla="*/ 163 h 43"/>
                <a:gd name="T4" fmla="*/ 725 w 83"/>
                <a:gd name="T5" fmla="*/ 86 h 43"/>
                <a:gd name="T6" fmla="*/ 651 w 83"/>
                <a:gd name="T7" fmla="*/ 0 h 43"/>
                <a:gd name="T8" fmla="*/ 447 w 83"/>
                <a:gd name="T9" fmla="*/ 237 h 43"/>
                <a:gd name="T10" fmla="*/ 219 w 83"/>
                <a:gd name="T11" fmla="*/ 237 h 43"/>
                <a:gd name="T12" fmla="*/ 87 w 83"/>
                <a:gd name="T13" fmla="*/ 237 h 43"/>
                <a:gd name="T14" fmla="*/ 0 w 83"/>
                <a:gd name="T15" fmla="*/ 329 h 43"/>
                <a:gd name="T16" fmla="*/ 87 w 83"/>
                <a:gd name="T17" fmla="*/ 400 h 43"/>
                <a:gd name="T18" fmla="*/ 144 w 83"/>
                <a:gd name="T19" fmla="*/ 400 h 43"/>
                <a:gd name="T20" fmla="*/ 219 w 83"/>
                <a:gd name="T21" fmla="*/ 400 h 43"/>
                <a:gd name="T22" fmla="*/ 302 w 83"/>
                <a:gd name="T23" fmla="*/ 400 h 43"/>
                <a:gd name="T24" fmla="*/ 362 w 83"/>
                <a:gd name="T25" fmla="*/ 400 h 43"/>
                <a:gd name="T26" fmla="*/ 447 w 83"/>
                <a:gd name="T27" fmla="*/ 400 h 43"/>
                <a:gd name="T28" fmla="*/ 447 w 83"/>
                <a:gd name="T29" fmla="*/ 329 h 43"/>
                <a:gd name="T30" fmla="*/ 503 w 83"/>
                <a:gd name="T31" fmla="*/ 329 h 43"/>
                <a:gd name="T32" fmla="*/ 573 w 83"/>
                <a:gd name="T33" fmla="*/ 329 h 4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3"/>
                <a:gd name="T52" fmla="*/ 0 h 43"/>
                <a:gd name="T53" fmla="*/ 83 w 83"/>
                <a:gd name="T54" fmla="*/ 43 h 4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3" h="43">
                  <a:moveTo>
                    <a:pt x="65" y="34"/>
                  </a:moveTo>
                  <a:lnTo>
                    <a:pt x="82" y="17"/>
                  </a:lnTo>
                  <a:lnTo>
                    <a:pt x="82" y="9"/>
                  </a:lnTo>
                  <a:lnTo>
                    <a:pt x="74" y="0"/>
                  </a:lnTo>
                  <a:lnTo>
                    <a:pt x="50" y="25"/>
                  </a:lnTo>
                  <a:lnTo>
                    <a:pt x="25" y="25"/>
                  </a:lnTo>
                  <a:lnTo>
                    <a:pt x="10" y="25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16" y="42"/>
                  </a:lnTo>
                  <a:lnTo>
                    <a:pt x="25" y="42"/>
                  </a:lnTo>
                  <a:lnTo>
                    <a:pt x="34" y="42"/>
                  </a:lnTo>
                  <a:lnTo>
                    <a:pt x="41" y="42"/>
                  </a:lnTo>
                  <a:lnTo>
                    <a:pt x="50" y="42"/>
                  </a:lnTo>
                  <a:lnTo>
                    <a:pt x="50" y="34"/>
                  </a:lnTo>
                  <a:lnTo>
                    <a:pt x="57" y="34"/>
                  </a:lnTo>
                  <a:lnTo>
                    <a:pt x="65" y="34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49" name="Freeform 166"/>
            <p:cNvSpPr>
              <a:spLocks/>
            </p:cNvSpPr>
            <p:nvPr/>
          </p:nvSpPr>
          <p:spPr bwMode="auto">
            <a:xfrm>
              <a:off x="3968" y="2306"/>
              <a:ext cx="22" cy="22"/>
            </a:xfrm>
            <a:custGeom>
              <a:avLst/>
              <a:gdLst>
                <a:gd name="T0" fmla="*/ 126 w 17"/>
                <a:gd name="T1" fmla="*/ 126 h 17"/>
                <a:gd name="T2" fmla="*/ 0 w 17"/>
                <a:gd name="T3" fmla="*/ 58 h 17"/>
                <a:gd name="T4" fmla="*/ 0 w 17"/>
                <a:gd name="T5" fmla="*/ 0 h 17"/>
                <a:gd name="T6" fmla="*/ 126 w 17"/>
                <a:gd name="T7" fmla="*/ 0 h 17"/>
                <a:gd name="T8" fmla="*/ 126 w 17"/>
                <a:gd name="T9" fmla="*/ 126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16" y="16"/>
                  </a:moveTo>
                  <a:lnTo>
                    <a:pt x="0" y="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50" name="Freeform 167"/>
            <p:cNvSpPr>
              <a:spLocks/>
            </p:cNvSpPr>
            <p:nvPr/>
          </p:nvSpPr>
          <p:spPr bwMode="auto">
            <a:xfrm>
              <a:off x="3915" y="2338"/>
              <a:ext cx="116" cy="140"/>
            </a:xfrm>
            <a:custGeom>
              <a:avLst/>
              <a:gdLst>
                <a:gd name="T0" fmla="*/ 0 w 89"/>
                <a:gd name="T1" fmla="*/ 912 h 107"/>
                <a:gd name="T2" fmla="*/ 190 w 89"/>
                <a:gd name="T3" fmla="*/ 912 h 107"/>
                <a:gd name="T4" fmla="*/ 257 w 89"/>
                <a:gd name="T5" fmla="*/ 833 h 107"/>
                <a:gd name="T6" fmla="*/ 335 w 89"/>
                <a:gd name="T7" fmla="*/ 761 h 107"/>
                <a:gd name="T8" fmla="*/ 467 w 89"/>
                <a:gd name="T9" fmla="*/ 701 h 107"/>
                <a:gd name="T10" fmla="*/ 545 w 89"/>
                <a:gd name="T11" fmla="*/ 618 h 107"/>
                <a:gd name="T12" fmla="*/ 545 w 89"/>
                <a:gd name="T13" fmla="*/ 568 h 107"/>
                <a:gd name="T14" fmla="*/ 678 w 89"/>
                <a:gd name="T15" fmla="*/ 357 h 107"/>
                <a:gd name="T16" fmla="*/ 735 w 89"/>
                <a:gd name="T17" fmla="*/ 276 h 107"/>
                <a:gd name="T18" fmla="*/ 603 w 89"/>
                <a:gd name="T19" fmla="*/ 145 h 107"/>
                <a:gd name="T20" fmla="*/ 467 w 89"/>
                <a:gd name="T21" fmla="*/ 65 h 107"/>
                <a:gd name="T22" fmla="*/ 401 w 89"/>
                <a:gd name="T23" fmla="*/ 0 h 107"/>
                <a:gd name="T24" fmla="*/ 257 w 89"/>
                <a:gd name="T25" fmla="*/ 145 h 107"/>
                <a:gd name="T26" fmla="*/ 335 w 89"/>
                <a:gd name="T27" fmla="*/ 216 h 107"/>
                <a:gd name="T28" fmla="*/ 401 w 89"/>
                <a:gd name="T29" fmla="*/ 276 h 107"/>
                <a:gd name="T30" fmla="*/ 401 w 89"/>
                <a:gd name="T31" fmla="*/ 357 h 107"/>
                <a:gd name="T32" fmla="*/ 401 w 89"/>
                <a:gd name="T33" fmla="*/ 410 h 107"/>
                <a:gd name="T34" fmla="*/ 401 w 89"/>
                <a:gd name="T35" fmla="*/ 492 h 107"/>
                <a:gd name="T36" fmla="*/ 335 w 89"/>
                <a:gd name="T37" fmla="*/ 492 h 107"/>
                <a:gd name="T38" fmla="*/ 257 w 89"/>
                <a:gd name="T39" fmla="*/ 568 h 107"/>
                <a:gd name="T40" fmla="*/ 190 w 89"/>
                <a:gd name="T41" fmla="*/ 618 h 107"/>
                <a:gd name="T42" fmla="*/ 133 w 89"/>
                <a:gd name="T43" fmla="*/ 701 h 107"/>
                <a:gd name="T44" fmla="*/ 60 w 89"/>
                <a:gd name="T45" fmla="*/ 761 h 107"/>
                <a:gd name="T46" fmla="*/ 0 w 89"/>
                <a:gd name="T47" fmla="*/ 833 h 107"/>
                <a:gd name="T48" fmla="*/ 0 w 89"/>
                <a:gd name="T49" fmla="*/ 912 h 10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9"/>
                <a:gd name="T76" fmla="*/ 0 h 107"/>
                <a:gd name="T77" fmla="*/ 89 w 89"/>
                <a:gd name="T78" fmla="*/ 107 h 10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9" h="107">
                  <a:moveTo>
                    <a:pt x="0" y="106"/>
                  </a:moveTo>
                  <a:lnTo>
                    <a:pt x="23" y="106"/>
                  </a:lnTo>
                  <a:lnTo>
                    <a:pt x="31" y="97"/>
                  </a:lnTo>
                  <a:lnTo>
                    <a:pt x="40" y="89"/>
                  </a:lnTo>
                  <a:lnTo>
                    <a:pt x="56" y="82"/>
                  </a:lnTo>
                  <a:lnTo>
                    <a:pt x="65" y="72"/>
                  </a:lnTo>
                  <a:lnTo>
                    <a:pt x="65" y="66"/>
                  </a:lnTo>
                  <a:lnTo>
                    <a:pt x="81" y="41"/>
                  </a:lnTo>
                  <a:lnTo>
                    <a:pt x="88" y="32"/>
                  </a:lnTo>
                  <a:lnTo>
                    <a:pt x="72" y="17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31" y="17"/>
                  </a:lnTo>
                  <a:lnTo>
                    <a:pt x="40" y="25"/>
                  </a:lnTo>
                  <a:lnTo>
                    <a:pt x="48" y="32"/>
                  </a:lnTo>
                  <a:lnTo>
                    <a:pt x="48" y="41"/>
                  </a:lnTo>
                  <a:lnTo>
                    <a:pt x="48" y="48"/>
                  </a:lnTo>
                  <a:lnTo>
                    <a:pt x="48" y="57"/>
                  </a:lnTo>
                  <a:lnTo>
                    <a:pt x="40" y="57"/>
                  </a:lnTo>
                  <a:lnTo>
                    <a:pt x="31" y="66"/>
                  </a:lnTo>
                  <a:lnTo>
                    <a:pt x="23" y="72"/>
                  </a:lnTo>
                  <a:lnTo>
                    <a:pt x="16" y="82"/>
                  </a:lnTo>
                  <a:lnTo>
                    <a:pt x="7" y="89"/>
                  </a:lnTo>
                  <a:lnTo>
                    <a:pt x="0" y="97"/>
                  </a:lnTo>
                  <a:lnTo>
                    <a:pt x="0" y="10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51" name="Freeform 168"/>
            <p:cNvSpPr>
              <a:spLocks/>
            </p:cNvSpPr>
            <p:nvPr/>
          </p:nvSpPr>
          <p:spPr bwMode="auto">
            <a:xfrm>
              <a:off x="3744" y="2465"/>
              <a:ext cx="172" cy="86"/>
            </a:xfrm>
            <a:custGeom>
              <a:avLst/>
              <a:gdLst>
                <a:gd name="T0" fmla="*/ 0 w 132"/>
                <a:gd name="T1" fmla="*/ 133 h 66"/>
                <a:gd name="T2" fmla="*/ 65 w 132"/>
                <a:gd name="T3" fmla="*/ 78 h 66"/>
                <a:gd name="T4" fmla="*/ 270 w 132"/>
                <a:gd name="T5" fmla="*/ 270 h 66"/>
                <a:gd name="T6" fmla="*/ 336 w 132"/>
                <a:gd name="T7" fmla="*/ 418 h 66"/>
                <a:gd name="T8" fmla="*/ 805 w 132"/>
                <a:gd name="T9" fmla="*/ 78 h 66"/>
                <a:gd name="T10" fmla="*/ 1093 w 132"/>
                <a:gd name="T11" fmla="*/ 0 h 66"/>
                <a:gd name="T12" fmla="*/ 1093 w 132"/>
                <a:gd name="T13" fmla="*/ 78 h 66"/>
                <a:gd name="T14" fmla="*/ 1015 w 132"/>
                <a:gd name="T15" fmla="*/ 133 h 66"/>
                <a:gd name="T16" fmla="*/ 1015 w 132"/>
                <a:gd name="T17" fmla="*/ 211 h 66"/>
                <a:gd name="T18" fmla="*/ 744 w 132"/>
                <a:gd name="T19" fmla="*/ 270 h 66"/>
                <a:gd name="T20" fmla="*/ 469 w 132"/>
                <a:gd name="T21" fmla="*/ 469 h 66"/>
                <a:gd name="T22" fmla="*/ 336 w 132"/>
                <a:gd name="T23" fmla="*/ 469 h 66"/>
                <a:gd name="T24" fmla="*/ 211 w 132"/>
                <a:gd name="T25" fmla="*/ 545 h 66"/>
                <a:gd name="T26" fmla="*/ 65 w 132"/>
                <a:gd name="T27" fmla="*/ 545 h 66"/>
                <a:gd name="T28" fmla="*/ 0 w 132"/>
                <a:gd name="T29" fmla="*/ 133 h 6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2"/>
                <a:gd name="T46" fmla="*/ 0 h 66"/>
                <a:gd name="T47" fmla="*/ 132 w 132"/>
                <a:gd name="T48" fmla="*/ 66 h 6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2" h="66">
                  <a:moveTo>
                    <a:pt x="0" y="16"/>
                  </a:moveTo>
                  <a:lnTo>
                    <a:pt x="8" y="9"/>
                  </a:lnTo>
                  <a:lnTo>
                    <a:pt x="32" y="32"/>
                  </a:lnTo>
                  <a:lnTo>
                    <a:pt x="41" y="50"/>
                  </a:lnTo>
                  <a:lnTo>
                    <a:pt x="97" y="9"/>
                  </a:lnTo>
                  <a:lnTo>
                    <a:pt x="131" y="0"/>
                  </a:lnTo>
                  <a:lnTo>
                    <a:pt x="131" y="9"/>
                  </a:lnTo>
                  <a:lnTo>
                    <a:pt x="122" y="16"/>
                  </a:lnTo>
                  <a:lnTo>
                    <a:pt x="122" y="25"/>
                  </a:lnTo>
                  <a:lnTo>
                    <a:pt x="90" y="32"/>
                  </a:lnTo>
                  <a:lnTo>
                    <a:pt x="57" y="57"/>
                  </a:lnTo>
                  <a:lnTo>
                    <a:pt x="41" y="57"/>
                  </a:lnTo>
                  <a:lnTo>
                    <a:pt x="25" y="65"/>
                  </a:lnTo>
                  <a:lnTo>
                    <a:pt x="8" y="65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52" name="Freeform 169"/>
            <p:cNvSpPr>
              <a:spLocks/>
            </p:cNvSpPr>
            <p:nvPr/>
          </p:nvSpPr>
          <p:spPr bwMode="auto">
            <a:xfrm>
              <a:off x="4371" y="2233"/>
              <a:ext cx="127" cy="75"/>
            </a:xfrm>
            <a:custGeom>
              <a:avLst/>
              <a:gdLst>
                <a:gd name="T0" fmla="*/ 50 w 97"/>
                <a:gd name="T1" fmla="*/ 0 h 57"/>
                <a:gd name="T2" fmla="*/ 0 w 97"/>
                <a:gd name="T3" fmla="*/ 201 h 57"/>
                <a:gd name="T4" fmla="*/ 132 w 97"/>
                <a:gd name="T5" fmla="*/ 279 h 57"/>
                <a:gd name="T6" fmla="*/ 749 w 97"/>
                <a:gd name="T7" fmla="*/ 504 h 57"/>
                <a:gd name="T8" fmla="*/ 833 w 97"/>
                <a:gd name="T9" fmla="*/ 504 h 57"/>
                <a:gd name="T10" fmla="*/ 833 w 97"/>
                <a:gd name="T11" fmla="*/ 426 h 57"/>
                <a:gd name="T12" fmla="*/ 833 w 97"/>
                <a:gd name="T13" fmla="*/ 279 h 57"/>
                <a:gd name="T14" fmla="*/ 619 w 97"/>
                <a:gd name="T15" fmla="*/ 279 h 57"/>
                <a:gd name="T16" fmla="*/ 473 w 97"/>
                <a:gd name="T17" fmla="*/ 201 h 57"/>
                <a:gd name="T18" fmla="*/ 408 w 97"/>
                <a:gd name="T19" fmla="*/ 136 h 57"/>
                <a:gd name="T20" fmla="*/ 343 w 97"/>
                <a:gd name="T21" fmla="*/ 136 h 57"/>
                <a:gd name="T22" fmla="*/ 209 w 97"/>
                <a:gd name="T23" fmla="*/ 0 h 57"/>
                <a:gd name="T24" fmla="*/ 50 w 97"/>
                <a:gd name="T25" fmla="*/ 0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7"/>
                <a:gd name="T40" fmla="*/ 0 h 57"/>
                <a:gd name="T41" fmla="*/ 97 w 97"/>
                <a:gd name="T42" fmla="*/ 57 h 5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7" h="57">
                  <a:moveTo>
                    <a:pt x="6" y="0"/>
                  </a:moveTo>
                  <a:lnTo>
                    <a:pt x="0" y="23"/>
                  </a:lnTo>
                  <a:lnTo>
                    <a:pt x="15" y="31"/>
                  </a:lnTo>
                  <a:lnTo>
                    <a:pt x="87" y="56"/>
                  </a:lnTo>
                  <a:lnTo>
                    <a:pt x="96" y="56"/>
                  </a:lnTo>
                  <a:lnTo>
                    <a:pt x="96" y="47"/>
                  </a:lnTo>
                  <a:lnTo>
                    <a:pt x="96" y="31"/>
                  </a:lnTo>
                  <a:lnTo>
                    <a:pt x="72" y="31"/>
                  </a:lnTo>
                  <a:lnTo>
                    <a:pt x="55" y="23"/>
                  </a:lnTo>
                  <a:lnTo>
                    <a:pt x="47" y="15"/>
                  </a:lnTo>
                  <a:lnTo>
                    <a:pt x="40" y="15"/>
                  </a:lnTo>
                  <a:lnTo>
                    <a:pt x="24" y="0"/>
                  </a:lnTo>
                  <a:lnTo>
                    <a:pt x="6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53" name="Freeform 170"/>
            <p:cNvSpPr>
              <a:spLocks/>
            </p:cNvSpPr>
            <p:nvPr/>
          </p:nvSpPr>
          <p:spPr bwMode="auto">
            <a:xfrm>
              <a:off x="4497" y="2306"/>
              <a:ext cx="87" cy="95"/>
            </a:xfrm>
            <a:custGeom>
              <a:avLst/>
              <a:gdLst>
                <a:gd name="T0" fmla="*/ 535 w 67"/>
                <a:gd name="T1" fmla="*/ 535 h 73"/>
                <a:gd name="T2" fmla="*/ 456 w 67"/>
                <a:gd name="T3" fmla="*/ 336 h 73"/>
                <a:gd name="T4" fmla="*/ 456 w 67"/>
                <a:gd name="T5" fmla="*/ 269 h 73"/>
                <a:gd name="T6" fmla="*/ 397 w 67"/>
                <a:gd name="T7" fmla="*/ 336 h 73"/>
                <a:gd name="T8" fmla="*/ 332 w 67"/>
                <a:gd name="T9" fmla="*/ 336 h 73"/>
                <a:gd name="T10" fmla="*/ 332 w 67"/>
                <a:gd name="T11" fmla="*/ 269 h 73"/>
                <a:gd name="T12" fmla="*/ 456 w 67"/>
                <a:gd name="T13" fmla="*/ 133 h 73"/>
                <a:gd name="T14" fmla="*/ 192 w 67"/>
                <a:gd name="T15" fmla="*/ 133 h 73"/>
                <a:gd name="T16" fmla="*/ 192 w 67"/>
                <a:gd name="T17" fmla="*/ 0 h 73"/>
                <a:gd name="T18" fmla="*/ 126 w 67"/>
                <a:gd name="T19" fmla="*/ 0 h 73"/>
                <a:gd name="T20" fmla="*/ 75 w 67"/>
                <a:gd name="T21" fmla="*/ 0 h 73"/>
                <a:gd name="T22" fmla="*/ 75 w 67"/>
                <a:gd name="T23" fmla="*/ 60 h 73"/>
                <a:gd name="T24" fmla="*/ 0 w 67"/>
                <a:gd name="T25" fmla="*/ 195 h 73"/>
                <a:gd name="T26" fmla="*/ 75 w 67"/>
                <a:gd name="T27" fmla="*/ 195 h 73"/>
                <a:gd name="T28" fmla="*/ 126 w 67"/>
                <a:gd name="T29" fmla="*/ 535 h 73"/>
                <a:gd name="T30" fmla="*/ 273 w 67"/>
                <a:gd name="T31" fmla="*/ 535 h 73"/>
                <a:gd name="T32" fmla="*/ 397 w 67"/>
                <a:gd name="T33" fmla="*/ 403 h 73"/>
                <a:gd name="T34" fmla="*/ 456 w 67"/>
                <a:gd name="T35" fmla="*/ 592 h 73"/>
                <a:gd name="T36" fmla="*/ 535 w 67"/>
                <a:gd name="T37" fmla="*/ 535 h 7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7"/>
                <a:gd name="T58" fmla="*/ 0 h 73"/>
                <a:gd name="T59" fmla="*/ 67 w 67"/>
                <a:gd name="T60" fmla="*/ 73 h 7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7" h="73">
                  <a:moveTo>
                    <a:pt x="66" y="65"/>
                  </a:moveTo>
                  <a:lnTo>
                    <a:pt x="56" y="41"/>
                  </a:lnTo>
                  <a:lnTo>
                    <a:pt x="56" y="32"/>
                  </a:lnTo>
                  <a:lnTo>
                    <a:pt x="49" y="41"/>
                  </a:lnTo>
                  <a:lnTo>
                    <a:pt x="41" y="41"/>
                  </a:lnTo>
                  <a:lnTo>
                    <a:pt x="41" y="32"/>
                  </a:lnTo>
                  <a:lnTo>
                    <a:pt x="56" y="16"/>
                  </a:lnTo>
                  <a:lnTo>
                    <a:pt x="24" y="16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9" y="7"/>
                  </a:lnTo>
                  <a:lnTo>
                    <a:pt x="0" y="24"/>
                  </a:lnTo>
                  <a:lnTo>
                    <a:pt x="9" y="24"/>
                  </a:lnTo>
                  <a:lnTo>
                    <a:pt x="16" y="65"/>
                  </a:lnTo>
                  <a:lnTo>
                    <a:pt x="34" y="65"/>
                  </a:lnTo>
                  <a:lnTo>
                    <a:pt x="49" y="49"/>
                  </a:lnTo>
                  <a:lnTo>
                    <a:pt x="56" y="72"/>
                  </a:lnTo>
                  <a:lnTo>
                    <a:pt x="66" y="6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54" name="Freeform 171"/>
            <p:cNvSpPr>
              <a:spLocks/>
            </p:cNvSpPr>
            <p:nvPr/>
          </p:nvSpPr>
          <p:spPr bwMode="auto">
            <a:xfrm>
              <a:off x="4570" y="2274"/>
              <a:ext cx="150" cy="331"/>
            </a:xfrm>
            <a:custGeom>
              <a:avLst/>
              <a:gdLst>
                <a:gd name="T0" fmla="*/ 643 w 116"/>
                <a:gd name="T1" fmla="*/ 2165 h 253"/>
                <a:gd name="T2" fmla="*/ 776 w 116"/>
                <a:gd name="T3" fmla="*/ 1870 h 253"/>
                <a:gd name="T4" fmla="*/ 702 w 116"/>
                <a:gd name="T5" fmla="*/ 1679 h 253"/>
                <a:gd name="T6" fmla="*/ 643 w 116"/>
                <a:gd name="T7" fmla="*/ 1531 h 253"/>
                <a:gd name="T8" fmla="*/ 643 w 116"/>
                <a:gd name="T9" fmla="*/ 1388 h 253"/>
                <a:gd name="T10" fmla="*/ 581 w 116"/>
                <a:gd name="T11" fmla="*/ 1189 h 253"/>
                <a:gd name="T12" fmla="*/ 581 w 116"/>
                <a:gd name="T13" fmla="*/ 1039 h 253"/>
                <a:gd name="T14" fmla="*/ 828 w 116"/>
                <a:gd name="T15" fmla="*/ 911 h 253"/>
                <a:gd name="T16" fmla="*/ 905 w 116"/>
                <a:gd name="T17" fmla="*/ 771 h 253"/>
                <a:gd name="T18" fmla="*/ 828 w 116"/>
                <a:gd name="T19" fmla="*/ 771 h 253"/>
                <a:gd name="T20" fmla="*/ 702 w 116"/>
                <a:gd name="T21" fmla="*/ 696 h 253"/>
                <a:gd name="T22" fmla="*/ 702 w 116"/>
                <a:gd name="T23" fmla="*/ 637 h 253"/>
                <a:gd name="T24" fmla="*/ 702 w 116"/>
                <a:gd name="T25" fmla="*/ 568 h 253"/>
                <a:gd name="T26" fmla="*/ 643 w 116"/>
                <a:gd name="T27" fmla="*/ 488 h 253"/>
                <a:gd name="T28" fmla="*/ 581 w 116"/>
                <a:gd name="T29" fmla="*/ 488 h 253"/>
                <a:gd name="T30" fmla="*/ 643 w 116"/>
                <a:gd name="T31" fmla="*/ 133 h 253"/>
                <a:gd name="T32" fmla="*/ 581 w 116"/>
                <a:gd name="T33" fmla="*/ 0 h 253"/>
                <a:gd name="T34" fmla="*/ 508 w 116"/>
                <a:gd name="T35" fmla="*/ 0 h 253"/>
                <a:gd name="T36" fmla="*/ 508 w 116"/>
                <a:gd name="T37" fmla="*/ 133 h 253"/>
                <a:gd name="T38" fmla="*/ 393 w 116"/>
                <a:gd name="T39" fmla="*/ 133 h 253"/>
                <a:gd name="T40" fmla="*/ 323 w 116"/>
                <a:gd name="T41" fmla="*/ 216 h 253"/>
                <a:gd name="T42" fmla="*/ 193 w 116"/>
                <a:gd name="T43" fmla="*/ 488 h 253"/>
                <a:gd name="T44" fmla="*/ 141 w 116"/>
                <a:gd name="T45" fmla="*/ 568 h 253"/>
                <a:gd name="T46" fmla="*/ 79 w 116"/>
                <a:gd name="T47" fmla="*/ 696 h 253"/>
                <a:gd name="T48" fmla="*/ 79 w 116"/>
                <a:gd name="T49" fmla="*/ 771 h 253"/>
                <a:gd name="T50" fmla="*/ 0 w 116"/>
                <a:gd name="T51" fmla="*/ 833 h 253"/>
                <a:gd name="T52" fmla="*/ 141 w 116"/>
                <a:gd name="T53" fmla="*/ 981 h 253"/>
                <a:gd name="T54" fmla="*/ 193 w 116"/>
                <a:gd name="T55" fmla="*/ 1121 h 253"/>
                <a:gd name="T56" fmla="*/ 268 w 116"/>
                <a:gd name="T57" fmla="*/ 1332 h 253"/>
                <a:gd name="T58" fmla="*/ 193 w 116"/>
                <a:gd name="T59" fmla="*/ 1388 h 253"/>
                <a:gd name="T60" fmla="*/ 323 w 116"/>
                <a:gd name="T61" fmla="*/ 1467 h 253"/>
                <a:gd name="T62" fmla="*/ 458 w 116"/>
                <a:gd name="T63" fmla="*/ 1332 h 253"/>
                <a:gd name="T64" fmla="*/ 508 w 116"/>
                <a:gd name="T65" fmla="*/ 1388 h 253"/>
                <a:gd name="T66" fmla="*/ 643 w 116"/>
                <a:gd name="T67" fmla="*/ 1811 h 253"/>
                <a:gd name="T68" fmla="*/ 643 w 116"/>
                <a:gd name="T69" fmla="*/ 2165 h 25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16"/>
                <a:gd name="T106" fmla="*/ 0 h 253"/>
                <a:gd name="T107" fmla="*/ 116 w 116"/>
                <a:gd name="T108" fmla="*/ 253 h 25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16" h="253">
                  <a:moveTo>
                    <a:pt x="83" y="252"/>
                  </a:moveTo>
                  <a:lnTo>
                    <a:pt x="99" y="218"/>
                  </a:lnTo>
                  <a:lnTo>
                    <a:pt x="90" y="196"/>
                  </a:lnTo>
                  <a:lnTo>
                    <a:pt x="83" y="178"/>
                  </a:lnTo>
                  <a:lnTo>
                    <a:pt x="83" y="162"/>
                  </a:lnTo>
                  <a:lnTo>
                    <a:pt x="74" y="138"/>
                  </a:lnTo>
                  <a:lnTo>
                    <a:pt x="74" y="121"/>
                  </a:lnTo>
                  <a:lnTo>
                    <a:pt x="106" y="106"/>
                  </a:lnTo>
                  <a:lnTo>
                    <a:pt x="115" y="90"/>
                  </a:lnTo>
                  <a:lnTo>
                    <a:pt x="106" y="90"/>
                  </a:lnTo>
                  <a:lnTo>
                    <a:pt x="90" y="81"/>
                  </a:lnTo>
                  <a:lnTo>
                    <a:pt x="90" y="74"/>
                  </a:lnTo>
                  <a:lnTo>
                    <a:pt x="90" y="66"/>
                  </a:lnTo>
                  <a:lnTo>
                    <a:pt x="83" y="57"/>
                  </a:lnTo>
                  <a:lnTo>
                    <a:pt x="74" y="57"/>
                  </a:lnTo>
                  <a:lnTo>
                    <a:pt x="83" y="16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16"/>
                  </a:lnTo>
                  <a:lnTo>
                    <a:pt x="50" y="16"/>
                  </a:lnTo>
                  <a:lnTo>
                    <a:pt x="41" y="25"/>
                  </a:lnTo>
                  <a:lnTo>
                    <a:pt x="25" y="57"/>
                  </a:lnTo>
                  <a:lnTo>
                    <a:pt x="18" y="66"/>
                  </a:lnTo>
                  <a:lnTo>
                    <a:pt x="10" y="81"/>
                  </a:lnTo>
                  <a:lnTo>
                    <a:pt x="10" y="90"/>
                  </a:lnTo>
                  <a:lnTo>
                    <a:pt x="0" y="97"/>
                  </a:lnTo>
                  <a:lnTo>
                    <a:pt x="18" y="115"/>
                  </a:lnTo>
                  <a:lnTo>
                    <a:pt x="25" y="131"/>
                  </a:lnTo>
                  <a:lnTo>
                    <a:pt x="34" y="155"/>
                  </a:lnTo>
                  <a:lnTo>
                    <a:pt x="25" y="162"/>
                  </a:lnTo>
                  <a:lnTo>
                    <a:pt x="41" y="171"/>
                  </a:lnTo>
                  <a:lnTo>
                    <a:pt x="59" y="155"/>
                  </a:lnTo>
                  <a:lnTo>
                    <a:pt x="65" y="162"/>
                  </a:lnTo>
                  <a:lnTo>
                    <a:pt x="83" y="211"/>
                  </a:lnTo>
                  <a:lnTo>
                    <a:pt x="83" y="25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55" name="Freeform 172"/>
            <p:cNvSpPr>
              <a:spLocks/>
            </p:cNvSpPr>
            <p:nvPr/>
          </p:nvSpPr>
          <p:spPr bwMode="auto">
            <a:xfrm>
              <a:off x="4666" y="2412"/>
              <a:ext cx="128" cy="256"/>
            </a:xfrm>
            <a:custGeom>
              <a:avLst/>
              <a:gdLst>
                <a:gd name="T0" fmla="*/ 274 w 98"/>
                <a:gd name="T1" fmla="*/ 0 h 196"/>
                <a:gd name="T2" fmla="*/ 0 w 98"/>
                <a:gd name="T3" fmla="*/ 127 h 196"/>
                <a:gd name="T4" fmla="*/ 0 w 98"/>
                <a:gd name="T5" fmla="*/ 274 h 196"/>
                <a:gd name="T6" fmla="*/ 78 w 98"/>
                <a:gd name="T7" fmla="*/ 473 h 196"/>
                <a:gd name="T8" fmla="*/ 78 w 98"/>
                <a:gd name="T9" fmla="*/ 611 h 196"/>
                <a:gd name="T10" fmla="*/ 133 w 98"/>
                <a:gd name="T11" fmla="*/ 765 h 196"/>
                <a:gd name="T12" fmla="*/ 212 w 98"/>
                <a:gd name="T13" fmla="*/ 946 h 196"/>
                <a:gd name="T14" fmla="*/ 78 w 98"/>
                <a:gd name="T15" fmla="*/ 1236 h 196"/>
                <a:gd name="T16" fmla="*/ 78 w 98"/>
                <a:gd name="T17" fmla="*/ 1294 h 196"/>
                <a:gd name="T18" fmla="*/ 78 w 98"/>
                <a:gd name="T19" fmla="*/ 1377 h 196"/>
                <a:gd name="T20" fmla="*/ 274 w 98"/>
                <a:gd name="T21" fmla="*/ 1575 h 196"/>
                <a:gd name="T22" fmla="*/ 274 w 98"/>
                <a:gd name="T23" fmla="*/ 1499 h 196"/>
                <a:gd name="T24" fmla="*/ 351 w 98"/>
                <a:gd name="T25" fmla="*/ 1575 h 196"/>
                <a:gd name="T26" fmla="*/ 422 w 98"/>
                <a:gd name="T27" fmla="*/ 1654 h 196"/>
                <a:gd name="T28" fmla="*/ 473 w 98"/>
                <a:gd name="T29" fmla="*/ 1575 h 196"/>
                <a:gd name="T30" fmla="*/ 422 w 98"/>
                <a:gd name="T31" fmla="*/ 1499 h 196"/>
                <a:gd name="T32" fmla="*/ 274 w 98"/>
                <a:gd name="T33" fmla="*/ 1499 h 196"/>
                <a:gd name="T34" fmla="*/ 212 w 98"/>
                <a:gd name="T35" fmla="*/ 1236 h 196"/>
                <a:gd name="T36" fmla="*/ 133 w 98"/>
                <a:gd name="T37" fmla="*/ 1236 h 196"/>
                <a:gd name="T38" fmla="*/ 133 w 98"/>
                <a:gd name="T39" fmla="*/ 1164 h 196"/>
                <a:gd name="T40" fmla="*/ 212 w 98"/>
                <a:gd name="T41" fmla="*/ 946 h 196"/>
                <a:gd name="T42" fmla="*/ 212 w 98"/>
                <a:gd name="T43" fmla="*/ 824 h 196"/>
                <a:gd name="T44" fmla="*/ 351 w 98"/>
                <a:gd name="T45" fmla="*/ 824 h 196"/>
                <a:gd name="T46" fmla="*/ 351 w 98"/>
                <a:gd name="T47" fmla="*/ 891 h 196"/>
                <a:gd name="T48" fmla="*/ 422 w 98"/>
                <a:gd name="T49" fmla="*/ 891 h 196"/>
                <a:gd name="T50" fmla="*/ 551 w 98"/>
                <a:gd name="T51" fmla="*/ 1034 h 196"/>
                <a:gd name="T52" fmla="*/ 551 w 98"/>
                <a:gd name="T53" fmla="*/ 946 h 196"/>
                <a:gd name="T54" fmla="*/ 473 w 98"/>
                <a:gd name="T55" fmla="*/ 824 h 196"/>
                <a:gd name="T56" fmla="*/ 551 w 98"/>
                <a:gd name="T57" fmla="*/ 675 h 196"/>
                <a:gd name="T58" fmla="*/ 824 w 98"/>
                <a:gd name="T59" fmla="*/ 675 h 196"/>
                <a:gd name="T60" fmla="*/ 824 w 98"/>
                <a:gd name="T61" fmla="*/ 551 h 196"/>
                <a:gd name="T62" fmla="*/ 765 w 98"/>
                <a:gd name="T63" fmla="*/ 473 h 196"/>
                <a:gd name="T64" fmla="*/ 684 w 98"/>
                <a:gd name="T65" fmla="*/ 340 h 196"/>
                <a:gd name="T66" fmla="*/ 635 w 98"/>
                <a:gd name="T67" fmla="*/ 212 h 196"/>
                <a:gd name="T68" fmla="*/ 473 w 98"/>
                <a:gd name="T69" fmla="*/ 274 h 196"/>
                <a:gd name="T70" fmla="*/ 351 w 98"/>
                <a:gd name="T71" fmla="*/ 340 h 196"/>
                <a:gd name="T72" fmla="*/ 351 w 98"/>
                <a:gd name="T73" fmla="*/ 127 h 196"/>
                <a:gd name="T74" fmla="*/ 274 w 98"/>
                <a:gd name="T75" fmla="*/ 78 h 196"/>
                <a:gd name="T76" fmla="*/ 274 w 98"/>
                <a:gd name="T77" fmla="*/ 0 h 19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8"/>
                <a:gd name="T118" fmla="*/ 0 h 196"/>
                <a:gd name="T119" fmla="*/ 98 w 98"/>
                <a:gd name="T120" fmla="*/ 196 h 19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8" h="196">
                  <a:moveTo>
                    <a:pt x="32" y="0"/>
                  </a:moveTo>
                  <a:lnTo>
                    <a:pt x="0" y="15"/>
                  </a:lnTo>
                  <a:lnTo>
                    <a:pt x="0" y="32"/>
                  </a:lnTo>
                  <a:lnTo>
                    <a:pt x="9" y="56"/>
                  </a:lnTo>
                  <a:lnTo>
                    <a:pt x="9" y="72"/>
                  </a:lnTo>
                  <a:lnTo>
                    <a:pt x="16" y="90"/>
                  </a:lnTo>
                  <a:lnTo>
                    <a:pt x="25" y="112"/>
                  </a:lnTo>
                  <a:lnTo>
                    <a:pt x="9" y="146"/>
                  </a:lnTo>
                  <a:lnTo>
                    <a:pt x="9" y="153"/>
                  </a:lnTo>
                  <a:lnTo>
                    <a:pt x="9" y="162"/>
                  </a:lnTo>
                  <a:lnTo>
                    <a:pt x="32" y="186"/>
                  </a:lnTo>
                  <a:lnTo>
                    <a:pt x="32" y="177"/>
                  </a:lnTo>
                  <a:lnTo>
                    <a:pt x="41" y="186"/>
                  </a:lnTo>
                  <a:lnTo>
                    <a:pt x="50" y="195"/>
                  </a:lnTo>
                  <a:lnTo>
                    <a:pt x="56" y="186"/>
                  </a:lnTo>
                  <a:lnTo>
                    <a:pt x="50" y="177"/>
                  </a:lnTo>
                  <a:lnTo>
                    <a:pt x="32" y="177"/>
                  </a:lnTo>
                  <a:lnTo>
                    <a:pt x="25" y="146"/>
                  </a:lnTo>
                  <a:lnTo>
                    <a:pt x="16" y="146"/>
                  </a:lnTo>
                  <a:lnTo>
                    <a:pt x="16" y="137"/>
                  </a:lnTo>
                  <a:lnTo>
                    <a:pt x="25" y="112"/>
                  </a:lnTo>
                  <a:lnTo>
                    <a:pt x="25" y="97"/>
                  </a:lnTo>
                  <a:lnTo>
                    <a:pt x="41" y="97"/>
                  </a:lnTo>
                  <a:lnTo>
                    <a:pt x="41" y="105"/>
                  </a:lnTo>
                  <a:lnTo>
                    <a:pt x="50" y="105"/>
                  </a:lnTo>
                  <a:lnTo>
                    <a:pt x="65" y="122"/>
                  </a:lnTo>
                  <a:lnTo>
                    <a:pt x="65" y="112"/>
                  </a:lnTo>
                  <a:lnTo>
                    <a:pt x="56" y="97"/>
                  </a:lnTo>
                  <a:lnTo>
                    <a:pt x="65" y="80"/>
                  </a:lnTo>
                  <a:lnTo>
                    <a:pt x="97" y="80"/>
                  </a:lnTo>
                  <a:lnTo>
                    <a:pt x="97" y="65"/>
                  </a:lnTo>
                  <a:lnTo>
                    <a:pt x="90" y="56"/>
                  </a:lnTo>
                  <a:lnTo>
                    <a:pt x="81" y="40"/>
                  </a:lnTo>
                  <a:lnTo>
                    <a:pt x="75" y="25"/>
                  </a:lnTo>
                  <a:lnTo>
                    <a:pt x="56" y="32"/>
                  </a:lnTo>
                  <a:lnTo>
                    <a:pt x="41" y="40"/>
                  </a:lnTo>
                  <a:lnTo>
                    <a:pt x="41" y="15"/>
                  </a:lnTo>
                  <a:lnTo>
                    <a:pt x="32" y="9"/>
                  </a:lnTo>
                  <a:lnTo>
                    <a:pt x="32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56" name="Freeform 173"/>
            <p:cNvSpPr>
              <a:spLocks/>
            </p:cNvSpPr>
            <p:nvPr/>
          </p:nvSpPr>
          <p:spPr bwMode="auto">
            <a:xfrm>
              <a:off x="4708" y="2380"/>
              <a:ext cx="118" cy="151"/>
            </a:xfrm>
            <a:custGeom>
              <a:avLst/>
              <a:gdLst>
                <a:gd name="T0" fmla="*/ 721 w 91"/>
                <a:gd name="T1" fmla="*/ 867 h 116"/>
                <a:gd name="T2" fmla="*/ 721 w 91"/>
                <a:gd name="T3" fmla="*/ 741 h 116"/>
                <a:gd name="T4" fmla="*/ 590 w 91"/>
                <a:gd name="T5" fmla="*/ 608 h 116"/>
                <a:gd name="T6" fmla="*/ 590 w 91"/>
                <a:gd name="T7" fmla="*/ 535 h 116"/>
                <a:gd name="T8" fmla="*/ 346 w 91"/>
                <a:gd name="T9" fmla="*/ 333 h 116"/>
                <a:gd name="T10" fmla="*/ 460 w 91"/>
                <a:gd name="T11" fmla="*/ 276 h 116"/>
                <a:gd name="T12" fmla="*/ 397 w 91"/>
                <a:gd name="T13" fmla="*/ 210 h 116"/>
                <a:gd name="T14" fmla="*/ 267 w 91"/>
                <a:gd name="T15" fmla="*/ 133 h 116"/>
                <a:gd name="T16" fmla="*/ 191 w 91"/>
                <a:gd name="T17" fmla="*/ 0 h 116"/>
                <a:gd name="T18" fmla="*/ 145 w 91"/>
                <a:gd name="T19" fmla="*/ 0 h 116"/>
                <a:gd name="T20" fmla="*/ 145 w 91"/>
                <a:gd name="T21" fmla="*/ 133 h 116"/>
                <a:gd name="T22" fmla="*/ 75 w 91"/>
                <a:gd name="T23" fmla="*/ 133 h 116"/>
                <a:gd name="T24" fmla="*/ 75 w 91"/>
                <a:gd name="T25" fmla="*/ 78 h 116"/>
                <a:gd name="T26" fmla="*/ 0 w 91"/>
                <a:gd name="T27" fmla="*/ 210 h 116"/>
                <a:gd name="T28" fmla="*/ 0 w 91"/>
                <a:gd name="T29" fmla="*/ 276 h 116"/>
                <a:gd name="T30" fmla="*/ 75 w 91"/>
                <a:gd name="T31" fmla="*/ 333 h 116"/>
                <a:gd name="T32" fmla="*/ 75 w 91"/>
                <a:gd name="T33" fmla="*/ 535 h 116"/>
                <a:gd name="T34" fmla="*/ 191 w 91"/>
                <a:gd name="T35" fmla="*/ 467 h 116"/>
                <a:gd name="T36" fmla="*/ 346 w 91"/>
                <a:gd name="T37" fmla="*/ 411 h 116"/>
                <a:gd name="T38" fmla="*/ 397 w 91"/>
                <a:gd name="T39" fmla="*/ 535 h 116"/>
                <a:gd name="T40" fmla="*/ 460 w 91"/>
                <a:gd name="T41" fmla="*/ 666 h 116"/>
                <a:gd name="T42" fmla="*/ 516 w 91"/>
                <a:gd name="T43" fmla="*/ 741 h 116"/>
                <a:gd name="T44" fmla="*/ 516 w 91"/>
                <a:gd name="T45" fmla="*/ 867 h 116"/>
                <a:gd name="T46" fmla="*/ 590 w 91"/>
                <a:gd name="T47" fmla="*/ 950 h 116"/>
                <a:gd name="T48" fmla="*/ 590 w 91"/>
                <a:gd name="T49" fmla="*/ 867 h 116"/>
                <a:gd name="T50" fmla="*/ 721 w 91"/>
                <a:gd name="T51" fmla="*/ 867 h 11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91"/>
                <a:gd name="T79" fmla="*/ 0 h 116"/>
                <a:gd name="T80" fmla="*/ 91 w 91"/>
                <a:gd name="T81" fmla="*/ 116 h 11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91" h="116">
                  <a:moveTo>
                    <a:pt x="90" y="105"/>
                  </a:moveTo>
                  <a:lnTo>
                    <a:pt x="90" y="90"/>
                  </a:lnTo>
                  <a:lnTo>
                    <a:pt x="74" y="74"/>
                  </a:lnTo>
                  <a:lnTo>
                    <a:pt x="74" y="65"/>
                  </a:lnTo>
                  <a:lnTo>
                    <a:pt x="43" y="40"/>
                  </a:lnTo>
                  <a:lnTo>
                    <a:pt x="58" y="34"/>
                  </a:lnTo>
                  <a:lnTo>
                    <a:pt x="49" y="25"/>
                  </a:lnTo>
                  <a:lnTo>
                    <a:pt x="33" y="1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16"/>
                  </a:lnTo>
                  <a:lnTo>
                    <a:pt x="9" y="16"/>
                  </a:lnTo>
                  <a:lnTo>
                    <a:pt x="9" y="9"/>
                  </a:lnTo>
                  <a:lnTo>
                    <a:pt x="0" y="25"/>
                  </a:lnTo>
                  <a:lnTo>
                    <a:pt x="0" y="34"/>
                  </a:lnTo>
                  <a:lnTo>
                    <a:pt x="9" y="40"/>
                  </a:lnTo>
                  <a:lnTo>
                    <a:pt x="9" y="65"/>
                  </a:lnTo>
                  <a:lnTo>
                    <a:pt x="24" y="57"/>
                  </a:lnTo>
                  <a:lnTo>
                    <a:pt x="43" y="50"/>
                  </a:lnTo>
                  <a:lnTo>
                    <a:pt x="49" y="65"/>
                  </a:lnTo>
                  <a:lnTo>
                    <a:pt x="58" y="81"/>
                  </a:lnTo>
                  <a:lnTo>
                    <a:pt x="65" y="90"/>
                  </a:lnTo>
                  <a:lnTo>
                    <a:pt x="65" y="105"/>
                  </a:lnTo>
                  <a:lnTo>
                    <a:pt x="74" y="115"/>
                  </a:lnTo>
                  <a:lnTo>
                    <a:pt x="74" y="105"/>
                  </a:lnTo>
                  <a:lnTo>
                    <a:pt x="90" y="10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57" name="Freeform 174"/>
            <p:cNvSpPr>
              <a:spLocks/>
            </p:cNvSpPr>
            <p:nvPr/>
          </p:nvSpPr>
          <p:spPr bwMode="auto">
            <a:xfrm>
              <a:off x="4739" y="2371"/>
              <a:ext cx="120" cy="242"/>
            </a:xfrm>
            <a:custGeom>
              <a:avLst/>
              <a:gdLst>
                <a:gd name="T0" fmla="*/ 0 w 92"/>
                <a:gd name="T1" fmla="*/ 60 h 186"/>
                <a:gd name="T2" fmla="*/ 0 w 92"/>
                <a:gd name="T3" fmla="*/ 0 h 186"/>
                <a:gd name="T4" fmla="*/ 78 w 92"/>
                <a:gd name="T5" fmla="*/ 60 h 186"/>
                <a:gd name="T6" fmla="*/ 340 w 92"/>
                <a:gd name="T7" fmla="*/ 0 h 186"/>
                <a:gd name="T8" fmla="*/ 493 w 92"/>
                <a:gd name="T9" fmla="*/ 0 h 186"/>
                <a:gd name="T10" fmla="*/ 493 w 92"/>
                <a:gd name="T11" fmla="*/ 131 h 186"/>
                <a:gd name="T12" fmla="*/ 627 w 92"/>
                <a:gd name="T13" fmla="*/ 131 h 186"/>
                <a:gd name="T14" fmla="*/ 493 w 92"/>
                <a:gd name="T15" fmla="*/ 190 h 186"/>
                <a:gd name="T16" fmla="*/ 420 w 92"/>
                <a:gd name="T17" fmla="*/ 336 h 186"/>
                <a:gd name="T18" fmla="*/ 340 w 92"/>
                <a:gd name="T19" fmla="*/ 383 h 186"/>
                <a:gd name="T20" fmla="*/ 693 w 92"/>
                <a:gd name="T21" fmla="*/ 855 h 186"/>
                <a:gd name="T22" fmla="*/ 760 w 92"/>
                <a:gd name="T23" fmla="*/ 1002 h 186"/>
                <a:gd name="T24" fmla="*/ 693 w 92"/>
                <a:gd name="T25" fmla="*/ 1259 h 186"/>
                <a:gd name="T26" fmla="*/ 549 w 92"/>
                <a:gd name="T27" fmla="*/ 1334 h 186"/>
                <a:gd name="T28" fmla="*/ 493 w 92"/>
                <a:gd name="T29" fmla="*/ 1334 h 186"/>
                <a:gd name="T30" fmla="*/ 420 w 92"/>
                <a:gd name="T31" fmla="*/ 1464 h 186"/>
                <a:gd name="T32" fmla="*/ 283 w 92"/>
                <a:gd name="T33" fmla="*/ 1524 h 186"/>
                <a:gd name="T34" fmla="*/ 283 w 92"/>
                <a:gd name="T35" fmla="*/ 1388 h 186"/>
                <a:gd name="T36" fmla="*/ 211 w 92"/>
                <a:gd name="T37" fmla="*/ 1334 h 186"/>
                <a:gd name="T38" fmla="*/ 340 w 92"/>
                <a:gd name="T39" fmla="*/ 1259 h 186"/>
                <a:gd name="T40" fmla="*/ 420 w 92"/>
                <a:gd name="T41" fmla="*/ 1179 h 186"/>
                <a:gd name="T42" fmla="*/ 549 w 92"/>
                <a:gd name="T43" fmla="*/ 1125 h 186"/>
                <a:gd name="T44" fmla="*/ 549 w 92"/>
                <a:gd name="T45" fmla="*/ 921 h 186"/>
                <a:gd name="T46" fmla="*/ 549 w 92"/>
                <a:gd name="T47" fmla="*/ 792 h 186"/>
                <a:gd name="T48" fmla="*/ 420 w 92"/>
                <a:gd name="T49" fmla="*/ 665 h 186"/>
                <a:gd name="T50" fmla="*/ 420 w 92"/>
                <a:gd name="T51" fmla="*/ 592 h 186"/>
                <a:gd name="T52" fmla="*/ 162 w 92"/>
                <a:gd name="T53" fmla="*/ 383 h 186"/>
                <a:gd name="T54" fmla="*/ 283 w 92"/>
                <a:gd name="T55" fmla="*/ 336 h 186"/>
                <a:gd name="T56" fmla="*/ 211 w 92"/>
                <a:gd name="T57" fmla="*/ 269 h 186"/>
                <a:gd name="T58" fmla="*/ 78 w 92"/>
                <a:gd name="T59" fmla="*/ 190 h 186"/>
                <a:gd name="T60" fmla="*/ 0 w 92"/>
                <a:gd name="T61" fmla="*/ 60 h 18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2"/>
                <a:gd name="T94" fmla="*/ 0 h 186"/>
                <a:gd name="T95" fmla="*/ 92 w 92"/>
                <a:gd name="T96" fmla="*/ 186 h 18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2" h="186">
                  <a:moveTo>
                    <a:pt x="0" y="7"/>
                  </a:moveTo>
                  <a:lnTo>
                    <a:pt x="0" y="0"/>
                  </a:lnTo>
                  <a:lnTo>
                    <a:pt x="9" y="7"/>
                  </a:lnTo>
                  <a:lnTo>
                    <a:pt x="41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74" y="16"/>
                  </a:lnTo>
                  <a:lnTo>
                    <a:pt x="59" y="23"/>
                  </a:lnTo>
                  <a:lnTo>
                    <a:pt x="50" y="41"/>
                  </a:lnTo>
                  <a:lnTo>
                    <a:pt x="41" y="47"/>
                  </a:lnTo>
                  <a:lnTo>
                    <a:pt x="82" y="104"/>
                  </a:lnTo>
                  <a:lnTo>
                    <a:pt x="91" y="122"/>
                  </a:lnTo>
                  <a:lnTo>
                    <a:pt x="82" y="154"/>
                  </a:lnTo>
                  <a:lnTo>
                    <a:pt x="66" y="162"/>
                  </a:lnTo>
                  <a:lnTo>
                    <a:pt x="59" y="162"/>
                  </a:lnTo>
                  <a:lnTo>
                    <a:pt x="50" y="178"/>
                  </a:lnTo>
                  <a:lnTo>
                    <a:pt x="34" y="185"/>
                  </a:lnTo>
                  <a:lnTo>
                    <a:pt x="34" y="169"/>
                  </a:lnTo>
                  <a:lnTo>
                    <a:pt x="25" y="162"/>
                  </a:lnTo>
                  <a:lnTo>
                    <a:pt x="41" y="154"/>
                  </a:lnTo>
                  <a:lnTo>
                    <a:pt x="50" y="144"/>
                  </a:lnTo>
                  <a:lnTo>
                    <a:pt x="66" y="137"/>
                  </a:lnTo>
                  <a:lnTo>
                    <a:pt x="66" y="112"/>
                  </a:lnTo>
                  <a:lnTo>
                    <a:pt x="66" y="97"/>
                  </a:lnTo>
                  <a:lnTo>
                    <a:pt x="50" y="81"/>
                  </a:lnTo>
                  <a:lnTo>
                    <a:pt x="50" y="72"/>
                  </a:lnTo>
                  <a:lnTo>
                    <a:pt x="19" y="47"/>
                  </a:lnTo>
                  <a:lnTo>
                    <a:pt x="34" y="41"/>
                  </a:lnTo>
                  <a:lnTo>
                    <a:pt x="25" y="32"/>
                  </a:lnTo>
                  <a:lnTo>
                    <a:pt x="9" y="23"/>
                  </a:lnTo>
                  <a:lnTo>
                    <a:pt x="0" y="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58" name="Freeform 175"/>
            <p:cNvSpPr>
              <a:spLocks/>
            </p:cNvSpPr>
            <p:nvPr/>
          </p:nvSpPr>
          <p:spPr bwMode="auto">
            <a:xfrm>
              <a:off x="4739" y="2517"/>
              <a:ext cx="87" cy="67"/>
            </a:xfrm>
            <a:custGeom>
              <a:avLst/>
              <a:gdLst>
                <a:gd name="T0" fmla="*/ 201 w 67"/>
                <a:gd name="T1" fmla="*/ 447 h 51"/>
                <a:gd name="T2" fmla="*/ 332 w 67"/>
                <a:gd name="T3" fmla="*/ 370 h 51"/>
                <a:gd name="T4" fmla="*/ 403 w 67"/>
                <a:gd name="T5" fmla="*/ 282 h 51"/>
                <a:gd name="T6" fmla="*/ 535 w 67"/>
                <a:gd name="T7" fmla="*/ 219 h 51"/>
                <a:gd name="T8" fmla="*/ 535 w 67"/>
                <a:gd name="T9" fmla="*/ 0 h 51"/>
                <a:gd name="T10" fmla="*/ 403 w 67"/>
                <a:gd name="T11" fmla="*/ 0 h 51"/>
                <a:gd name="T12" fmla="*/ 403 w 67"/>
                <a:gd name="T13" fmla="*/ 87 h 51"/>
                <a:gd name="T14" fmla="*/ 332 w 67"/>
                <a:gd name="T15" fmla="*/ 0 h 51"/>
                <a:gd name="T16" fmla="*/ 75 w 67"/>
                <a:gd name="T17" fmla="*/ 0 h 51"/>
                <a:gd name="T18" fmla="*/ 0 w 67"/>
                <a:gd name="T19" fmla="*/ 150 h 51"/>
                <a:gd name="T20" fmla="*/ 75 w 67"/>
                <a:gd name="T21" fmla="*/ 282 h 51"/>
                <a:gd name="T22" fmla="*/ 75 w 67"/>
                <a:gd name="T23" fmla="*/ 370 h 51"/>
                <a:gd name="T24" fmla="*/ 75 w 67"/>
                <a:gd name="T25" fmla="*/ 447 h 51"/>
                <a:gd name="T26" fmla="*/ 201 w 67"/>
                <a:gd name="T27" fmla="*/ 447 h 5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7"/>
                <a:gd name="T43" fmla="*/ 0 h 51"/>
                <a:gd name="T44" fmla="*/ 67 w 67"/>
                <a:gd name="T45" fmla="*/ 51 h 5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7" h="51">
                  <a:moveTo>
                    <a:pt x="25" y="50"/>
                  </a:moveTo>
                  <a:lnTo>
                    <a:pt x="41" y="42"/>
                  </a:lnTo>
                  <a:lnTo>
                    <a:pt x="50" y="32"/>
                  </a:lnTo>
                  <a:lnTo>
                    <a:pt x="66" y="25"/>
                  </a:lnTo>
                  <a:lnTo>
                    <a:pt x="66" y="0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41" y="0"/>
                  </a:lnTo>
                  <a:lnTo>
                    <a:pt x="9" y="0"/>
                  </a:lnTo>
                  <a:lnTo>
                    <a:pt x="0" y="17"/>
                  </a:lnTo>
                  <a:lnTo>
                    <a:pt x="9" y="32"/>
                  </a:lnTo>
                  <a:lnTo>
                    <a:pt x="9" y="42"/>
                  </a:lnTo>
                  <a:lnTo>
                    <a:pt x="9" y="50"/>
                  </a:lnTo>
                  <a:lnTo>
                    <a:pt x="25" y="5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59" name="Freeform 176"/>
            <p:cNvSpPr>
              <a:spLocks/>
            </p:cNvSpPr>
            <p:nvPr/>
          </p:nvSpPr>
          <p:spPr bwMode="auto">
            <a:xfrm>
              <a:off x="4708" y="2644"/>
              <a:ext cx="65" cy="97"/>
            </a:xfrm>
            <a:custGeom>
              <a:avLst/>
              <a:gdLst>
                <a:gd name="T0" fmla="*/ 192 w 50"/>
                <a:gd name="T1" fmla="*/ 75 h 75"/>
                <a:gd name="T2" fmla="*/ 146 w 50"/>
                <a:gd name="T3" fmla="*/ 141 h 75"/>
                <a:gd name="T4" fmla="*/ 78 w 50"/>
                <a:gd name="T5" fmla="*/ 75 h 75"/>
                <a:gd name="T6" fmla="*/ 0 w 50"/>
                <a:gd name="T7" fmla="*/ 0 h 75"/>
                <a:gd name="T8" fmla="*/ 0 w 50"/>
                <a:gd name="T9" fmla="*/ 75 h 75"/>
                <a:gd name="T10" fmla="*/ 0 w 50"/>
                <a:gd name="T11" fmla="*/ 268 h 75"/>
                <a:gd name="T12" fmla="*/ 146 w 50"/>
                <a:gd name="T13" fmla="*/ 393 h 75"/>
                <a:gd name="T14" fmla="*/ 354 w 50"/>
                <a:gd name="T15" fmla="*/ 581 h 75"/>
                <a:gd name="T16" fmla="*/ 400 w 50"/>
                <a:gd name="T17" fmla="*/ 581 h 75"/>
                <a:gd name="T18" fmla="*/ 354 w 50"/>
                <a:gd name="T19" fmla="*/ 393 h 75"/>
                <a:gd name="T20" fmla="*/ 354 w 50"/>
                <a:gd name="T21" fmla="*/ 193 h 75"/>
                <a:gd name="T22" fmla="*/ 192 w 50"/>
                <a:gd name="T23" fmla="*/ 75 h 7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0"/>
                <a:gd name="T37" fmla="*/ 0 h 75"/>
                <a:gd name="T38" fmla="*/ 50 w 50"/>
                <a:gd name="T39" fmla="*/ 75 h 7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0" h="75">
                  <a:moveTo>
                    <a:pt x="24" y="9"/>
                  </a:moveTo>
                  <a:lnTo>
                    <a:pt x="18" y="18"/>
                  </a:lnTo>
                  <a:lnTo>
                    <a:pt x="9" y="9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34"/>
                  </a:lnTo>
                  <a:lnTo>
                    <a:pt x="18" y="50"/>
                  </a:lnTo>
                  <a:lnTo>
                    <a:pt x="43" y="74"/>
                  </a:lnTo>
                  <a:lnTo>
                    <a:pt x="49" y="74"/>
                  </a:lnTo>
                  <a:lnTo>
                    <a:pt x="43" y="50"/>
                  </a:lnTo>
                  <a:lnTo>
                    <a:pt x="43" y="25"/>
                  </a:lnTo>
                  <a:lnTo>
                    <a:pt x="24" y="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60" name="Freeform 177"/>
            <p:cNvSpPr>
              <a:spLocks/>
            </p:cNvSpPr>
            <p:nvPr/>
          </p:nvSpPr>
          <p:spPr bwMode="auto">
            <a:xfrm>
              <a:off x="4858" y="2644"/>
              <a:ext cx="172" cy="97"/>
            </a:xfrm>
            <a:custGeom>
              <a:avLst/>
              <a:gdLst>
                <a:gd name="T0" fmla="*/ 624 w 131"/>
                <a:gd name="T1" fmla="*/ 193 h 75"/>
                <a:gd name="T2" fmla="*/ 706 w 131"/>
                <a:gd name="T3" fmla="*/ 193 h 75"/>
                <a:gd name="T4" fmla="*/ 624 w 131"/>
                <a:gd name="T5" fmla="*/ 268 h 75"/>
                <a:gd name="T6" fmla="*/ 572 w 131"/>
                <a:gd name="T7" fmla="*/ 268 h 75"/>
                <a:gd name="T8" fmla="*/ 496 w 131"/>
                <a:gd name="T9" fmla="*/ 268 h 75"/>
                <a:gd name="T10" fmla="*/ 360 w 131"/>
                <a:gd name="T11" fmla="*/ 393 h 75"/>
                <a:gd name="T12" fmla="*/ 219 w 131"/>
                <a:gd name="T13" fmla="*/ 393 h 75"/>
                <a:gd name="T14" fmla="*/ 219 w 131"/>
                <a:gd name="T15" fmla="*/ 508 h 75"/>
                <a:gd name="T16" fmla="*/ 0 w 131"/>
                <a:gd name="T17" fmla="*/ 508 h 75"/>
                <a:gd name="T18" fmla="*/ 133 w 131"/>
                <a:gd name="T19" fmla="*/ 581 h 75"/>
                <a:gd name="T20" fmla="*/ 276 w 131"/>
                <a:gd name="T21" fmla="*/ 581 h 75"/>
                <a:gd name="T22" fmla="*/ 360 w 131"/>
                <a:gd name="T23" fmla="*/ 508 h 75"/>
                <a:gd name="T24" fmla="*/ 496 w 131"/>
                <a:gd name="T25" fmla="*/ 581 h 75"/>
                <a:gd name="T26" fmla="*/ 572 w 131"/>
                <a:gd name="T27" fmla="*/ 508 h 75"/>
                <a:gd name="T28" fmla="*/ 788 w 131"/>
                <a:gd name="T29" fmla="*/ 268 h 75"/>
                <a:gd name="T30" fmla="*/ 986 w 131"/>
                <a:gd name="T31" fmla="*/ 268 h 75"/>
                <a:gd name="T32" fmla="*/ 1062 w 131"/>
                <a:gd name="T33" fmla="*/ 268 h 75"/>
                <a:gd name="T34" fmla="*/ 986 w 131"/>
                <a:gd name="T35" fmla="*/ 193 h 75"/>
                <a:gd name="T36" fmla="*/ 1150 w 131"/>
                <a:gd name="T37" fmla="*/ 193 h 75"/>
                <a:gd name="T38" fmla="*/ 927 w 131"/>
                <a:gd name="T39" fmla="*/ 141 h 75"/>
                <a:gd name="T40" fmla="*/ 927 w 131"/>
                <a:gd name="T41" fmla="*/ 75 h 75"/>
                <a:gd name="T42" fmla="*/ 847 w 131"/>
                <a:gd name="T43" fmla="*/ 0 h 75"/>
                <a:gd name="T44" fmla="*/ 706 w 131"/>
                <a:gd name="T45" fmla="*/ 141 h 75"/>
                <a:gd name="T46" fmla="*/ 624 w 131"/>
                <a:gd name="T47" fmla="*/ 193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31"/>
                <a:gd name="T73" fmla="*/ 0 h 75"/>
                <a:gd name="T74" fmla="*/ 131 w 131"/>
                <a:gd name="T75" fmla="*/ 75 h 7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31" h="75">
                  <a:moveTo>
                    <a:pt x="71" y="25"/>
                  </a:moveTo>
                  <a:lnTo>
                    <a:pt x="80" y="25"/>
                  </a:lnTo>
                  <a:lnTo>
                    <a:pt x="71" y="34"/>
                  </a:lnTo>
                  <a:lnTo>
                    <a:pt x="65" y="34"/>
                  </a:lnTo>
                  <a:lnTo>
                    <a:pt x="56" y="34"/>
                  </a:lnTo>
                  <a:lnTo>
                    <a:pt x="40" y="50"/>
                  </a:lnTo>
                  <a:lnTo>
                    <a:pt x="25" y="50"/>
                  </a:lnTo>
                  <a:lnTo>
                    <a:pt x="25" y="65"/>
                  </a:lnTo>
                  <a:lnTo>
                    <a:pt x="0" y="65"/>
                  </a:lnTo>
                  <a:lnTo>
                    <a:pt x="15" y="74"/>
                  </a:lnTo>
                  <a:lnTo>
                    <a:pt x="31" y="74"/>
                  </a:lnTo>
                  <a:lnTo>
                    <a:pt x="40" y="65"/>
                  </a:lnTo>
                  <a:lnTo>
                    <a:pt x="56" y="74"/>
                  </a:lnTo>
                  <a:lnTo>
                    <a:pt x="65" y="65"/>
                  </a:lnTo>
                  <a:lnTo>
                    <a:pt x="89" y="34"/>
                  </a:lnTo>
                  <a:lnTo>
                    <a:pt x="112" y="34"/>
                  </a:lnTo>
                  <a:lnTo>
                    <a:pt x="120" y="34"/>
                  </a:lnTo>
                  <a:lnTo>
                    <a:pt x="112" y="25"/>
                  </a:lnTo>
                  <a:lnTo>
                    <a:pt x="130" y="25"/>
                  </a:lnTo>
                  <a:lnTo>
                    <a:pt x="105" y="18"/>
                  </a:lnTo>
                  <a:lnTo>
                    <a:pt x="105" y="9"/>
                  </a:lnTo>
                  <a:lnTo>
                    <a:pt x="96" y="0"/>
                  </a:lnTo>
                  <a:lnTo>
                    <a:pt x="80" y="18"/>
                  </a:lnTo>
                  <a:lnTo>
                    <a:pt x="71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61" name="Freeform 178"/>
            <p:cNvSpPr>
              <a:spLocks/>
            </p:cNvSpPr>
            <p:nvPr/>
          </p:nvSpPr>
          <p:spPr bwMode="auto">
            <a:xfrm>
              <a:off x="4931" y="2676"/>
              <a:ext cx="33" cy="23"/>
            </a:xfrm>
            <a:custGeom>
              <a:avLst/>
              <a:gdLst>
                <a:gd name="T0" fmla="*/ 0 w 25"/>
                <a:gd name="T1" fmla="*/ 183 h 17"/>
                <a:gd name="T2" fmla="*/ 86 w 25"/>
                <a:gd name="T3" fmla="*/ 183 h 17"/>
                <a:gd name="T4" fmla="*/ 136 w 25"/>
                <a:gd name="T5" fmla="*/ 183 h 17"/>
                <a:gd name="T6" fmla="*/ 222 w 25"/>
                <a:gd name="T7" fmla="*/ 0 h 17"/>
                <a:gd name="T8" fmla="*/ 136 w 25"/>
                <a:gd name="T9" fmla="*/ 0 h 17"/>
                <a:gd name="T10" fmla="*/ 0 w 25"/>
                <a:gd name="T11" fmla="*/ 183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5"/>
                <a:gd name="T19" fmla="*/ 0 h 17"/>
                <a:gd name="T20" fmla="*/ 25 w 25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5" h="17">
                  <a:moveTo>
                    <a:pt x="0" y="16"/>
                  </a:moveTo>
                  <a:lnTo>
                    <a:pt x="9" y="16"/>
                  </a:lnTo>
                  <a:lnTo>
                    <a:pt x="15" y="16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62" name="Freeform 179"/>
            <p:cNvSpPr>
              <a:spLocks/>
            </p:cNvSpPr>
            <p:nvPr/>
          </p:nvSpPr>
          <p:spPr bwMode="auto">
            <a:xfrm>
              <a:off x="4846" y="2688"/>
              <a:ext cx="171" cy="138"/>
            </a:xfrm>
            <a:custGeom>
              <a:avLst/>
              <a:gdLst>
                <a:gd name="T0" fmla="*/ 84 w 130"/>
                <a:gd name="T1" fmla="*/ 256 h 106"/>
                <a:gd name="T2" fmla="*/ 216 w 130"/>
                <a:gd name="T3" fmla="*/ 333 h 106"/>
                <a:gd name="T4" fmla="*/ 362 w 130"/>
                <a:gd name="T5" fmla="*/ 333 h 106"/>
                <a:gd name="T6" fmla="*/ 434 w 130"/>
                <a:gd name="T7" fmla="*/ 256 h 106"/>
                <a:gd name="T8" fmla="*/ 587 w 130"/>
                <a:gd name="T9" fmla="*/ 333 h 106"/>
                <a:gd name="T10" fmla="*/ 663 w 130"/>
                <a:gd name="T11" fmla="*/ 256 h 106"/>
                <a:gd name="T12" fmla="*/ 883 w 130"/>
                <a:gd name="T13" fmla="*/ 0 h 106"/>
                <a:gd name="T14" fmla="*/ 1083 w 130"/>
                <a:gd name="T15" fmla="*/ 0 h 106"/>
                <a:gd name="T16" fmla="*/ 1022 w 130"/>
                <a:gd name="T17" fmla="*/ 133 h 106"/>
                <a:gd name="T18" fmla="*/ 1083 w 130"/>
                <a:gd name="T19" fmla="*/ 210 h 106"/>
                <a:gd name="T20" fmla="*/ 1022 w 130"/>
                <a:gd name="T21" fmla="*/ 256 h 106"/>
                <a:gd name="T22" fmla="*/ 1161 w 130"/>
                <a:gd name="T23" fmla="*/ 333 h 106"/>
                <a:gd name="T24" fmla="*/ 1083 w 130"/>
                <a:gd name="T25" fmla="*/ 393 h 106"/>
                <a:gd name="T26" fmla="*/ 939 w 130"/>
                <a:gd name="T27" fmla="*/ 543 h 106"/>
                <a:gd name="T28" fmla="*/ 883 w 130"/>
                <a:gd name="T29" fmla="*/ 667 h 106"/>
                <a:gd name="T30" fmla="*/ 939 w 130"/>
                <a:gd name="T31" fmla="*/ 667 h 106"/>
                <a:gd name="T32" fmla="*/ 883 w 130"/>
                <a:gd name="T33" fmla="*/ 802 h 106"/>
                <a:gd name="T34" fmla="*/ 714 w 130"/>
                <a:gd name="T35" fmla="*/ 868 h 106"/>
                <a:gd name="T36" fmla="*/ 663 w 130"/>
                <a:gd name="T37" fmla="*/ 802 h 106"/>
                <a:gd name="T38" fmla="*/ 512 w 130"/>
                <a:gd name="T39" fmla="*/ 802 h 106"/>
                <a:gd name="T40" fmla="*/ 362 w 130"/>
                <a:gd name="T41" fmla="*/ 802 h 106"/>
                <a:gd name="T42" fmla="*/ 362 w 130"/>
                <a:gd name="T43" fmla="*/ 730 h 106"/>
                <a:gd name="T44" fmla="*/ 216 w 130"/>
                <a:gd name="T45" fmla="*/ 730 h 106"/>
                <a:gd name="T46" fmla="*/ 150 w 130"/>
                <a:gd name="T47" fmla="*/ 594 h 106"/>
                <a:gd name="T48" fmla="*/ 84 w 130"/>
                <a:gd name="T49" fmla="*/ 462 h 106"/>
                <a:gd name="T50" fmla="*/ 0 w 130"/>
                <a:gd name="T51" fmla="*/ 333 h 106"/>
                <a:gd name="T52" fmla="*/ 84 w 130"/>
                <a:gd name="T53" fmla="*/ 256 h 10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30"/>
                <a:gd name="T82" fmla="*/ 0 h 106"/>
                <a:gd name="T83" fmla="*/ 130 w 130"/>
                <a:gd name="T84" fmla="*/ 106 h 10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30" h="106">
                  <a:moveTo>
                    <a:pt x="9" y="31"/>
                  </a:moveTo>
                  <a:lnTo>
                    <a:pt x="24" y="40"/>
                  </a:lnTo>
                  <a:lnTo>
                    <a:pt x="40" y="40"/>
                  </a:lnTo>
                  <a:lnTo>
                    <a:pt x="49" y="31"/>
                  </a:lnTo>
                  <a:lnTo>
                    <a:pt x="65" y="40"/>
                  </a:lnTo>
                  <a:lnTo>
                    <a:pt x="74" y="31"/>
                  </a:lnTo>
                  <a:lnTo>
                    <a:pt x="98" y="0"/>
                  </a:lnTo>
                  <a:lnTo>
                    <a:pt x="121" y="0"/>
                  </a:lnTo>
                  <a:lnTo>
                    <a:pt x="114" y="16"/>
                  </a:lnTo>
                  <a:lnTo>
                    <a:pt x="121" y="25"/>
                  </a:lnTo>
                  <a:lnTo>
                    <a:pt x="114" y="31"/>
                  </a:lnTo>
                  <a:lnTo>
                    <a:pt x="129" y="40"/>
                  </a:lnTo>
                  <a:lnTo>
                    <a:pt x="121" y="48"/>
                  </a:lnTo>
                  <a:lnTo>
                    <a:pt x="105" y="65"/>
                  </a:lnTo>
                  <a:lnTo>
                    <a:pt x="98" y="81"/>
                  </a:lnTo>
                  <a:lnTo>
                    <a:pt x="105" y="81"/>
                  </a:lnTo>
                  <a:lnTo>
                    <a:pt x="98" y="97"/>
                  </a:lnTo>
                  <a:lnTo>
                    <a:pt x="80" y="105"/>
                  </a:lnTo>
                  <a:lnTo>
                    <a:pt x="74" y="97"/>
                  </a:lnTo>
                  <a:lnTo>
                    <a:pt x="57" y="97"/>
                  </a:lnTo>
                  <a:lnTo>
                    <a:pt x="40" y="97"/>
                  </a:lnTo>
                  <a:lnTo>
                    <a:pt x="40" y="88"/>
                  </a:lnTo>
                  <a:lnTo>
                    <a:pt x="24" y="88"/>
                  </a:lnTo>
                  <a:lnTo>
                    <a:pt x="17" y="72"/>
                  </a:lnTo>
                  <a:lnTo>
                    <a:pt x="9" y="56"/>
                  </a:lnTo>
                  <a:lnTo>
                    <a:pt x="0" y="40"/>
                  </a:lnTo>
                  <a:lnTo>
                    <a:pt x="9" y="31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63" name="Freeform 180"/>
            <p:cNvSpPr>
              <a:spLocks/>
            </p:cNvSpPr>
            <p:nvPr/>
          </p:nvSpPr>
          <p:spPr bwMode="auto">
            <a:xfrm>
              <a:off x="5219" y="2761"/>
              <a:ext cx="171" cy="147"/>
            </a:xfrm>
            <a:custGeom>
              <a:avLst/>
              <a:gdLst>
                <a:gd name="T0" fmla="*/ 1100 w 131"/>
                <a:gd name="T1" fmla="*/ 269 h 113"/>
                <a:gd name="T2" fmla="*/ 1100 w 131"/>
                <a:gd name="T3" fmla="*/ 535 h 113"/>
                <a:gd name="T4" fmla="*/ 1100 w 131"/>
                <a:gd name="T5" fmla="*/ 921 h 113"/>
                <a:gd name="T6" fmla="*/ 942 w 131"/>
                <a:gd name="T7" fmla="*/ 792 h 113"/>
                <a:gd name="T8" fmla="*/ 743 w 131"/>
                <a:gd name="T9" fmla="*/ 870 h 113"/>
                <a:gd name="T10" fmla="*/ 821 w 131"/>
                <a:gd name="T11" fmla="*/ 731 h 113"/>
                <a:gd name="T12" fmla="*/ 743 w 131"/>
                <a:gd name="T13" fmla="*/ 592 h 113"/>
                <a:gd name="T14" fmla="*/ 257 w 131"/>
                <a:gd name="T15" fmla="*/ 336 h 113"/>
                <a:gd name="T16" fmla="*/ 211 w 131"/>
                <a:gd name="T17" fmla="*/ 401 h 113"/>
                <a:gd name="T18" fmla="*/ 211 w 131"/>
                <a:gd name="T19" fmla="*/ 336 h 113"/>
                <a:gd name="T20" fmla="*/ 133 w 131"/>
                <a:gd name="T21" fmla="*/ 269 h 113"/>
                <a:gd name="T22" fmla="*/ 257 w 131"/>
                <a:gd name="T23" fmla="*/ 269 h 113"/>
                <a:gd name="T24" fmla="*/ 335 w 131"/>
                <a:gd name="T25" fmla="*/ 209 h 113"/>
                <a:gd name="T26" fmla="*/ 133 w 131"/>
                <a:gd name="T27" fmla="*/ 209 h 113"/>
                <a:gd name="T28" fmla="*/ 50 w 131"/>
                <a:gd name="T29" fmla="*/ 131 h 113"/>
                <a:gd name="T30" fmla="*/ 0 w 131"/>
                <a:gd name="T31" fmla="*/ 131 h 113"/>
                <a:gd name="T32" fmla="*/ 133 w 131"/>
                <a:gd name="T33" fmla="*/ 0 h 113"/>
                <a:gd name="T34" fmla="*/ 211 w 131"/>
                <a:gd name="T35" fmla="*/ 0 h 113"/>
                <a:gd name="T36" fmla="*/ 335 w 131"/>
                <a:gd name="T37" fmla="*/ 78 h 113"/>
                <a:gd name="T38" fmla="*/ 335 w 131"/>
                <a:gd name="T39" fmla="*/ 209 h 113"/>
                <a:gd name="T40" fmla="*/ 469 w 131"/>
                <a:gd name="T41" fmla="*/ 336 h 113"/>
                <a:gd name="T42" fmla="*/ 610 w 131"/>
                <a:gd name="T43" fmla="*/ 209 h 113"/>
                <a:gd name="T44" fmla="*/ 743 w 131"/>
                <a:gd name="T45" fmla="*/ 131 h 113"/>
                <a:gd name="T46" fmla="*/ 1100 w 131"/>
                <a:gd name="T47" fmla="*/ 269 h 11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31"/>
                <a:gd name="T73" fmla="*/ 0 h 113"/>
                <a:gd name="T74" fmla="*/ 131 w 131"/>
                <a:gd name="T75" fmla="*/ 113 h 11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31" h="113">
                  <a:moveTo>
                    <a:pt x="130" y="32"/>
                  </a:moveTo>
                  <a:lnTo>
                    <a:pt x="130" y="65"/>
                  </a:lnTo>
                  <a:lnTo>
                    <a:pt x="130" y="112"/>
                  </a:lnTo>
                  <a:lnTo>
                    <a:pt x="112" y="97"/>
                  </a:lnTo>
                  <a:lnTo>
                    <a:pt x="88" y="106"/>
                  </a:lnTo>
                  <a:lnTo>
                    <a:pt x="97" y="89"/>
                  </a:lnTo>
                  <a:lnTo>
                    <a:pt x="88" y="72"/>
                  </a:lnTo>
                  <a:lnTo>
                    <a:pt x="31" y="41"/>
                  </a:lnTo>
                  <a:lnTo>
                    <a:pt x="25" y="49"/>
                  </a:lnTo>
                  <a:lnTo>
                    <a:pt x="25" y="41"/>
                  </a:lnTo>
                  <a:lnTo>
                    <a:pt x="16" y="32"/>
                  </a:lnTo>
                  <a:lnTo>
                    <a:pt x="31" y="32"/>
                  </a:lnTo>
                  <a:lnTo>
                    <a:pt x="40" y="25"/>
                  </a:lnTo>
                  <a:lnTo>
                    <a:pt x="16" y="25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40" y="9"/>
                  </a:lnTo>
                  <a:lnTo>
                    <a:pt x="40" y="25"/>
                  </a:lnTo>
                  <a:lnTo>
                    <a:pt x="56" y="41"/>
                  </a:lnTo>
                  <a:lnTo>
                    <a:pt x="72" y="25"/>
                  </a:lnTo>
                  <a:lnTo>
                    <a:pt x="88" y="16"/>
                  </a:lnTo>
                  <a:lnTo>
                    <a:pt x="130" y="3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64" name="Freeform 181"/>
            <p:cNvSpPr>
              <a:spLocks/>
            </p:cNvSpPr>
            <p:nvPr/>
          </p:nvSpPr>
          <p:spPr bwMode="auto">
            <a:xfrm>
              <a:off x="5388" y="2802"/>
              <a:ext cx="161" cy="139"/>
            </a:xfrm>
            <a:custGeom>
              <a:avLst/>
              <a:gdLst>
                <a:gd name="T0" fmla="*/ 0 w 123"/>
                <a:gd name="T1" fmla="*/ 702 h 106"/>
                <a:gd name="T2" fmla="*/ 0 w 123"/>
                <a:gd name="T3" fmla="*/ 283 h 106"/>
                <a:gd name="T4" fmla="*/ 0 w 123"/>
                <a:gd name="T5" fmla="*/ 0 h 106"/>
                <a:gd name="T6" fmla="*/ 276 w 123"/>
                <a:gd name="T7" fmla="*/ 84 h 106"/>
                <a:gd name="T8" fmla="*/ 493 w 123"/>
                <a:gd name="T9" fmla="*/ 216 h 106"/>
                <a:gd name="T10" fmla="*/ 493 w 123"/>
                <a:gd name="T11" fmla="*/ 283 h 106"/>
                <a:gd name="T12" fmla="*/ 760 w 123"/>
                <a:gd name="T13" fmla="*/ 426 h 106"/>
                <a:gd name="T14" fmla="*/ 619 w 123"/>
                <a:gd name="T15" fmla="*/ 501 h 106"/>
                <a:gd name="T16" fmla="*/ 699 w 123"/>
                <a:gd name="T17" fmla="*/ 501 h 106"/>
                <a:gd name="T18" fmla="*/ 760 w 123"/>
                <a:gd name="T19" fmla="*/ 564 h 106"/>
                <a:gd name="T20" fmla="*/ 834 w 123"/>
                <a:gd name="T21" fmla="*/ 702 h 106"/>
                <a:gd name="T22" fmla="*/ 894 w 123"/>
                <a:gd name="T23" fmla="*/ 702 h 106"/>
                <a:gd name="T24" fmla="*/ 894 w 123"/>
                <a:gd name="T25" fmla="*/ 788 h 106"/>
                <a:gd name="T26" fmla="*/ 1054 w 123"/>
                <a:gd name="T27" fmla="*/ 863 h 106"/>
                <a:gd name="T28" fmla="*/ 1054 w 123"/>
                <a:gd name="T29" fmla="*/ 921 h 106"/>
                <a:gd name="T30" fmla="*/ 699 w 123"/>
                <a:gd name="T31" fmla="*/ 863 h 106"/>
                <a:gd name="T32" fmla="*/ 538 w 123"/>
                <a:gd name="T33" fmla="*/ 564 h 106"/>
                <a:gd name="T34" fmla="*/ 408 w 123"/>
                <a:gd name="T35" fmla="*/ 564 h 106"/>
                <a:gd name="T36" fmla="*/ 340 w 123"/>
                <a:gd name="T37" fmla="*/ 564 h 106"/>
                <a:gd name="T38" fmla="*/ 198 w 123"/>
                <a:gd name="T39" fmla="*/ 646 h 106"/>
                <a:gd name="T40" fmla="*/ 276 w 123"/>
                <a:gd name="T41" fmla="*/ 702 h 106"/>
                <a:gd name="T42" fmla="*/ 132 w 123"/>
                <a:gd name="T43" fmla="*/ 702 h 106"/>
                <a:gd name="T44" fmla="*/ 0 w 123"/>
                <a:gd name="T45" fmla="*/ 702 h 10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3"/>
                <a:gd name="T70" fmla="*/ 0 h 106"/>
                <a:gd name="T71" fmla="*/ 123 w 123"/>
                <a:gd name="T72" fmla="*/ 106 h 10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3" h="106">
                  <a:moveTo>
                    <a:pt x="0" y="80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2" y="9"/>
                  </a:lnTo>
                  <a:lnTo>
                    <a:pt x="57" y="25"/>
                  </a:lnTo>
                  <a:lnTo>
                    <a:pt x="57" y="33"/>
                  </a:lnTo>
                  <a:lnTo>
                    <a:pt x="88" y="49"/>
                  </a:lnTo>
                  <a:lnTo>
                    <a:pt x="72" y="57"/>
                  </a:lnTo>
                  <a:lnTo>
                    <a:pt x="81" y="57"/>
                  </a:lnTo>
                  <a:lnTo>
                    <a:pt x="88" y="65"/>
                  </a:lnTo>
                  <a:lnTo>
                    <a:pt x="97" y="80"/>
                  </a:lnTo>
                  <a:lnTo>
                    <a:pt x="104" y="80"/>
                  </a:lnTo>
                  <a:lnTo>
                    <a:pt x="104" y="90"/>
                  </a:lnTo>
                  <a:lnTo>
                    <a:pt x="122" y="99"/>
                  </a:lnTo>
                  <a:lnTo>
                    <a:pt x="122" y="105"/>
                  </a:lnTo>
                  <a:lnTo>
                    <a:pt x="81" y="99"/>
                  </a:lnTo>
                  <a:lnTo>
                    <a:pt x="63" y="65"/>
                  </a:lnTo>
                  <a:lnTo>
                    <a:pt x="47" y="65"/>
                  </a:lnTo>
                  <a:lnTo>
                    <a:pt x="40" y="65"/>
                  </a:lnTo>
                  <a:lnTo>
                    <a:pt x="23" y="74"/>
                  </a:lnTo>
                  <a:lnTo>
                    <a:pt x="32" y="80"/>
                  </a:lnTo>
                  <a:lnTo>
                    <a:pt x="15" y="80"/>
                  </a:lnTo>
                  <a:lnTo>
                    <a:pt x="0" y="8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65" name="Freeform 182"/>
            <p:cNvSpPr>
              <a:spLocks/>
            </p:cNvSpPr>
            <p:nvPr/>
          </p:nvSpPr>
          <p:spPr bwMode="auto">
            <a:xfrm>
              <a:off x="5141" y="2064"/>
              <a:ext cx="58" cy="86"/>
            </a:xfrm>
            <a:custGeom>
              <a:avLst/>
              <a:gdLst>
                <a:gd name="T0" fmla="*/ 0 w 44"/>
                <a:gd name="T1" fmla="*/ 133 h 66"/>
                <a:gd name="T2" fmla="*/ 229 w 44"/>
                <a:gd name="T3" fmla="*/ 0 h 66"/>
                <a:gd name="T4" fmla="*/ 311 w 44"/>
                <a:gd name="T5" fmla="*/ 133 h 66"/>
                <a:gd name="T6" fmla="*/ 397 w 44"/>
                <a:gd name="T7" fmla="*/ 335 h 66"/>
                <a:gd name="T8" fmla="*/ 311 w 44"/>
                <a:gd name="T9" fmla="*/ 466 h 66"/>
                <a:gd name="T10" fmla="*/ 0 w 44"/>
                <a:gd name="T11" fmla="*/ 545 h 66"/>
                <a:gd name="T12" fmla="*/ 0 w 44"/>
                <a:gd name="T13" fmla="*/ 466 h 66"/>
                <a:gd name="T14" fmla="*/ 0 w 44"/>
                <a:gd name="T15" fmla="*/ 401 h 66"/>
                <a:gd name="T16" fmla="*/ 0 w 44"/>
                <a:gd name="T17" fmla="*/ 197 h 66"/>
                <a:gd name="T18" fmla="*/ 0 w 44"/>
                <a:gd name="T19" fmla="*/ 133 h 6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4"/>
                <a:gd name="T31" fmla="*/ 0 h 66"/>
                <a:gd name="T32" fmla="*/ 44 w 44"/>
                <a:gd name="T33" fmla="*/ 66 h 6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4" h="66">
                  <a:moveTo>
                    <a:pt x="0" y="16"/>
                  </a:moveTo>
                  <a:lnTo>
                    <a:pt x="25" y="0"/>
                  </a:lnTo>
                  <a:lnTo>
                    <a:pt x="34" y="16"/>
                  </a:lnTo>
                  <a:lnTo>
                    <a:pt x="43" y="40"/>
                  </a:lnTo>
                  <a:lnTo>
                    <a:pt x="34" y="56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48"/>
                  </a:lnTo>
                  <a:lnTo>
                    <a:pt x="0" y="24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66" name="Freeform 183"/>
            <p:cNvSpPr>
              <a:spLocks/>
            </p:cNvSpPr>
            <p:nvPr/>
          </p:nvSpPr>
          <p:spPr bwMode="auto">
            <a:xfrm>
              <a:off x="5113" y="1978"/>
              <a:ext cx="107" cy="108"/>
            </a:xfrm>
            <a:custGeom>
              <a:avLst/>
              <a:gdLst>
                <a:gd name="T0" fmla="*/ 682 w 82"/>
                <a:gd name="T1" fmla="*/ 0 h 83"/>
                <a:gd name="T2" fmla="*/ 609 w 82"/>
                <a:gd name="T3" fmla="*/ 0 h 83"/>
                <a:gd name="T4" fmla="*/ 468 w 82"/>
                <a:gd name="T5" fmla="*/ 78 h 83"/>
                <a:gd name="T6" fmla="*/ 393 w 82"/>
                <a:gd name="T7" fmla="*/ 78 h 83"/>
                <a:gd name="T8" fmla="*/ 335 w 82"/>
                <a:gd name="T9" fmla="*/ 141 h 83"/>
                <a:gd name="T10" fmla="*/ 274 w 82"/>
                <a:gd name="T11" fmla="*/ 141 h 83"/>
                <a:gd name="T12" fmla="*/ 0 w 82"/>
                <a:gd name="T13" fmla="*/ 336 h 83"/>
                <a:gd name="T14" fmla="*/ 0 w 82"/>
                <a:gd name="T15" fmla="*/ 411 h 83"/>
                <a:gd name="T16" fmla="*/ 60 w 82"/>
                <a:gd name="T17" fmla="*/ 411 h 83"/>
                <a:gd name="T18" fmla="*/ 0 w 82"/>
                <a:gd name="T19" fmla="*/ 608 h 83"/>
                <a:gd name="T20" fmla="*/ 60 w 82"/>
                <a:gd name="T21" fmla="*/ 675 h 83"/>
                <a:gd name="T22" fmla="*/ 133 w 82"/>
                <a:gd name="T23" fmla="*/ 675 h 83"/>
                <a:gd name="T24" fmla="*/ 189 w 82"/>
                <a:gd name="T25" fmla="*/ 675 h 83"/>
                <a:gd name="T26" fmla="*/ 393 w 82"/>
                <a:gd name="T27" fmla="*/ 544 h 83"/>
                <a:gd name="T28" fmla="*/ 274 w 82"/>
                <a:gd name="T29" fmla="*/ 467 h 83"/>
                <a:gd name="T30" fmla="*/ 274 w 82"/>
                <a:gd name="T31" fmla="*/ 411 h 83"/>
                <a:gd name="T32" fmla="*/ 548 w 82"/>
                <a:gd name="T33" fmla="*/ 276 h 83"/>
                <a:gd name="T34" fmla="*/ 548 w 82"/>
                <a:gd name="T35" fmla="*/ 141 h 83"/>
                <a:gd name="T36" fmla="*/ 682 w 82"/>
                <a:gd name="T37" fmla="*/ 0 h 8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2"/>
                <a:gd name="T58" fmla="*/ 0 h 83"/>
                <a:gd name="T59" fmla="*/ 82 w 82"/>
                <a:gd name="T60" fmla="*/ 83 h 8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2" h="83">
                  <a:moveTo>
                    <a:pt x="81" y="0"/>
                  </a:moveTo>
                  <a:lnTo>
                    <a:pt x="72" y="0"/>
                  </a:lnTo>
                  <a:lnTo>
                    <a:pt x="56" y="9"/>
                  </a:lnTo>
                  <a:lnTo>
                    <a:pt x="47" y="9"/>
                  </a:lnTo>
                  <a:lnTo>
                    <a:pt x="40" y="17"/>
                  </a:lnTo>
                  <a:lnTo>
                    <a:pt x="32" y="17"/>
                  </a:lnTo>
                  <a:lnTo>
                    <a:pt x="0" y="41"/>
                  </a:lnTo>
                  <a:lnTo>
                    <a:pt x="0" y="50"/>
                  </a:lnTo>
                  <a:lnTo>
                    <a:pt x="7" y="50"/>
                  </a:lnTo>
                  <a:lnTo>
                    <a:pt x="0" y="74"/>
                  </a:lnTo>
                  <a:lnTo>
                    <a:pt x="7" y="82"/>
                  </a:lnTo>
                  <a:lnTo>
                    <a:pt x="16" y="82"/>
                  </a:lnTo>
                  <a:lnTo>
                    <a:pt x="22" y="82"/>
                  </a:lnTo>
                  <a:lnTo>
                    <a:pt x="47" y="66"/>
                  </a:lnTo>
                  <a:lnTo>
                    <a:pt x="32" y="57"/>
                  </a:lnTo>
                  <a:lnTo>
                    <a:pt x="32" y="50"/>
                  </a:lnTo>
                  <a:lnTo>
                    <a:pt x="65" y="34"/>
                  </a:lnTo>
                  <a:lnTo>
                    <a:pt x="65" y="17"/>
                  </a:lnTo>
                  <a:lnTo>
                    <a:pt x="81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67" name="Freeform 184"/>
            <p:cNvSpPr>
              <a:spLocks/>
            </p:cNvSpPr>
            <p:nvPr/>
          </p:nvSpPr>
          <p:spPr bwMode="auto">
            <a:xfrm>
              <a:off x="4899" y="858"/>
              <a:ext cx="24" cy="32"/>
            </a:xfrm>
            <a:custGeom>
              <a:avLst/>
              <a:gdLst>
                <a:gd name="T0" fmla="*/ 172 w 18"/>
                <a:gd name="T1" fmla="*/ 174 h 25"/>
                <a:gd name="T2" fmla="*/ 172 w 18"/>
                <a:gd name="T3" fmla="*/ 59 h 25"/>
                <a:gd name="T4" fmla="*/ 0 w 18"/>
                <a:gd name="T5" fmla="*/ 0 h 25"/>
                <a:gd name="T6" fmla="*/ 0 w 18"/>
                <a:gd name="T7" fmla="*/ 59 h 25"/>
                <a:gd name="T8" fmla="*/ 172 w 18"/>
                <a:gd name="T9" fmla="*/ 174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25"/>
                <a:gd name="T17" fmla="*/ 18 w 18"/>
                <a:gd name="T18" fmla="*/ 25 h 2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25">
                  <a:moveTo>
                    <a:pt x="17" y="24"/>
                  </a:moveTo>
                  <a:lnTo>
                    <a:pt x="17" y="8"/>
                  </a:lnTo>
                  <a:lnTo>
                    <a:pt x="0" y="0"/>
                  </a:lnTo>
                  <a:lnTo>
                    <a:pt x="0" y="8"/>
                  </a:lnTo>
                  <a:lnTo>
                    <a:pt x="17" y="24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68" name="Freeform 185"/>
            <p:cNvSpPr>
              <a:spLocks/>
            </p:cNvSpPr>
            <p:nvPr/>
          </p:nvSpPr>
          <p:spPr bwMode="auto">
            <a:xfrm>
              <a:off x="2812" y="2126"/>
              <a:ext cx="203" cy="161"/>
            </a:xfrm>
            <a:custGeom>
              <a:avLst/>
              <a:gdLst>
                <a:gd name="T0" fmla="*/ 1143 w 156"/>
                <a:gd name="T1" fmla="*/ 65 h 123"/>
                <a:gd name="T2" fmla="*/ 1209 w 156"/>
                <a:gd name="T3" fmla="*/ 65 h 123"/>
                <a:gd name="T4" fmla="*/ 1275 w 156"/>
                <a:gd name="T5" fmla="*/ 411 h 123"/>
                <a:gd name="T6" fmla="*/ 1002 w 156"/>
                <a:gd name="T7" fmla="*/ 493 h 123"/>
                <a:gd name="T8" fmla="*/ 1002 w 156"/>
                <a:gd name="T9" fmla="*/ 569 h 123"/>
                <a:gd name="T10" fmla="*/ 819 w 156"/>
                <a:gd name="T11" fmla="*/ 704 h 123"/>
                <a:gd name="T12" fmla="*/ 535 w 156"/>
                <a:gd name="T13" fmla="*/ 834 h 123"/>
                <a:gd name="T14" fmla="*/ 467 w 156"/>
                <a:gd name="T15" fmla="*/ 899 h 123"/>
                <a:gd name="T16" fmla="*/ 467 w 156"/>
                <a:gd name="T17" fmla="*/ 1054 h 123"/>
                <a:gd name="T18" fmla="*/ 0 w 156"/>
                <a:gd name="T19" fmla="*/ 975 h 123"/>
                <a:gd name="T20" fmla="*/ 133 w 156"/>
                <a:gd name="T21" fmla="*/ 975 h 123"/>
                <a:gd name="T22" fmla="*/ 269 w 156"/>
                <a:gd name="T23" fmla="*/ 834 h 123"/>
                <a:gd name="T24" fmla="*/ 331 w 156"/>
                <a:gd name="T25" fmla="*/ 704 h 123"/>
                <a:gd name="T26" fmla="*/ 331 w 156"/>
                <a:gd name="T27" fmla="*/ 569 h 123"/>
                <a:gd name="T28" fmla="*/ 411 w 156"/>
                <a:gd name="T29" fmla="*/ 411 h 123"/>
                <a:gd name="T30" fmla="*/ 467 w 156"/>
                <a:gd name="T31" fmla="*/ 276 h 123"/>
                <a:gd name="T32" fmla="*/ 665 w 156"/>
                <a:gd name="T33" fmla="*/ 216 h 123"/>
                <a:gd name="T34" fmla="*/ 740 w 156"/>
                <a:gd name="T35" fmla="*/ 0 h 123"/>
                <a:gd name="T36" fmla="*/ 819 w 156"/>
                <a:gd name="T37" fmla="*/ 0 h 123"/>
                <a:gd name="T38" fmla="*/ 865 w 156"/>
                <a:gd name="T39" fmla="*/ 65 h 123"/>
                <a:gd name="T40" fmla="*/ 1067 w 156"/>
                <a:gd name="T41" fmla="*/ 65 h 123"/>
                <a:gd name="T42" fmla="*/ 1143 w 156"/>
                <a:gd name="T43" fmla="*/ 65 h 12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56"/>
                <a:gd name="T67" fmla="*/ 0 h 123"/>
                <a:gd name="T68" fmla="*/ 156 w 156"/>
                <a:gd name="T69" fmla="*/ 123 h 12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56" h="123">
                  <a:moveTo>
                    <a:pt x="139" y="8"/>
                  </a:moveTo>
                  <a:lnTo>
                    <a:pt x="147" y="8"/>
                  </a:lnTo>
                  <a:lnTo>
                    <a:pt x="155" y="48"/>
                  </a:lnTo>
                  <a:lnTo>
                    <a:pt x="122" y="57"/>
                  </a:lnTo>
                  <a:lnTo>
                    <a:pt x="122" y="66"/>
                  </a:lnTo>
                  <a:lnTo>
                    <a:pt x="99" y="82"/>
                  </a:lnTo>
                  <a:lnTo>
                    <a:pt x="65" y="97"/>
                  </a:lnTo>
                  <a:lnTo>
                    <a:pt x="57" y="105"/>
                  </a:lnTo>
                  <a:lnTo>
                    <a:pt x="57" y="122"/>
                  </a:lnTo>
                  <a:lnTo>
                    <a:pt x="0" y="113"/>
                  </a:lnTo>
                  <a:lnTo>
                    <a:pt x="16" y="113"/>
                  </a:lnTo>
                  <a:lnTo>
                    <a:pt x="32" y="97"/>
                  </a:lnTo>
                  <a:lnTo>
                    <a:pt x="40" y="82"/>
                  </a:lnTo>
                  <a:lnTo>
                    <a:pt x="40" y="66"/>
                  </a:lnTo>
                  <a:lnTo>
                    <a:pt x="50" y="48"/>
                  </a:lnTo>
                  <a:lnTo>
                    <a:pt x="57" y="32"/>
                  </a:lnTo>
                  <a:lnTo>
                    <a:pt x="81" y="25"/>
                  </a:lnTo>
                  <a:lnTo>
                    <a:pt x="90" y="0"/>
                  </a:lnTo>
                  <a:lnTo>
                    <a:pt x="99" y="0"/>
                  </a:lnTo>
                  <a:lnTo>
                    <a:pt x="105" y="8"/>
                  </a:lnTo>
                  <a:lnTo>
                    <a:pt x="130" y="8"/>
                  </a:lnTo>
                  <a:lnTo>
                    <a:pt x="139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69" name="Freeform 186"/>
            <p:cNvSpPr>
              <a:spLocks/>
            </p:cNvSpPr>
            <p:nvPr/>
          </p:nvSpPr>
          <p:spPr bwMode="auto">
            <a:xfrm>
              <a:off x="3153" y="2094"/>
              <a:ext cx="62" cy="140"/>
            </a:xfrm>
            <a:custGeom>
              <a:avLst/>
              <a:gdLst>
                <a:gd name="T0" fmla="*/ 368 w 48"/>
                <a:gd name="T1" fmla="*/ 568 h 107"/>
                <a:gd name="T2" fmla="*/ 368 w 48"/>
                <a:gd name="T3" fmla="*/ 618 h 107"/>
                <a:gd name="T4" fmla="*/ 242 w 48"/>
                <a:gd name="T5" fmla="*/ 771 h 107"/>
                <a:gd name="T6" fmla="*/ 242 w 48"/>
                <a:gd name="T7" fmla="*/ 833 h 107"/>
                <a:gd name="T8" fmla="*/ 190 w 48"/>
                <a:gd name="T9" fmla="*/ 912 h 107"/>
                <a:gd name="T10" fmla="*/ 190 w 48"/>
                <a:gd name="T11" fmla="*/ 697 h 107"/>
                <a:gd name="T12" fmla="*/ 47 w 48"/>
                <a:gd name="T13" fmla="*/ 618 h 107"/>
                <a:gd name="T14" fmla="*/ 0 w 48"/>
                <a:gd name="T15" fmla="*/ 484 h 107"/>
                <a:gd name="T16" fmla="*/ 114 w 48"/>
                <a:gd name="T17" fmla="*/ 357 h 107"/>
                <a:gd name="T18" fmla="*/ 47 w 48"/>
                <a:gd name="T19" fmla="*/ 79 h 107"/>
                <a:gd name="T20" fmla="*/ 114 w 48"/>
                <a:gd name="T21" fmla="*/ 0 h 107"/>
                <a:gd name="T22" fmla="*/ 242 w 48"/>
                <a:gd name="T23" fmla="*/ 0 h 107"/>
                <a:gd name="T24" fmla="*/ 313 w 48"/>
                <a:gd name="T25" fmla="*/ 79 h 107"/>
                <a:gd name="T26" fmla="*/ 368 w 48"/>
                <a:gd name="T27" fmla="*/ 0 h 107"/>
                <a:gd name="T28" fmla="*/ 313 w 48"/>
                <a:gd name="T29" fmla="*/ 135 h 107"/>
                <a:gd name="T30" fmla="*/ 368 w 48"/>
                <a:gd name="T31" fmla="*/ 276 h 107"/>
                <a:gd name="T32" fmla="*/ 242 w 48"/>
                <a:gd name="T33" fmla="*/ 421 h 107"/>
                <a:gd name="T34" fmla="*/ 242 w 48"/>
                <a:gd name="T35" fmla="*/ 484 h 107"/>
                <a:gd name="T36" fmla="*/ 368 w 48"/>
                <a:gd name="T37" fmla="*/ 484 h 107"/>
                <a:gd name="T38" fmla="*/ 368 w 48"/>
                <a:gd name="T39" fmla="*/ 568 h 10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8"/>
                <a:gd name="T61" fmla="*/ 0 h 107"/>
                <a:gd name="T62" fmla="*/ 48 w 48"/>
                <a:gd name="T63" fmla="*/ 107 h 10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8" h="107">
                  <a:moveTo>
                    <a:pt x="47" y="66"/>
                  </a:moveTo>
                  <a:lnTo>
                    <a:pt x="47" y="72"/>
                  </a:lnTo>
                  <a:lnTo>
                    <a:pt x="31" y="90"/>
                  </a:lnTo>
                  <a:lnTo>
                    <a:pt x="31" y="97"/>
                  </a:lnTo>
                  <a:lnTo>
                    <a:pt x="25" y="106"/>
                  </a:lnTo>
                  <a:lnTo>
                    <a:pt x="25" y="81"/>
                  </a:lnTo>
                  <a:lnTo>
                    <a:pt x="6" y="72"/>
                  </a:lnTo>
                  <a:lnTo>
                    <a:pt x="0" y="56"/>
                  </a:lnTo>
                  <a:lnTo>
                    <a:pt x="15" y="41"/>
                  </a:lnTo>
                  <a:lnTo>
                    <a:pt x="6" y="9"/>
                  </a:lnTo>
                  <a:lnTo>
                    <a:pt x="15" y="0"/>
                  </a:lnTo>
                  <a:lnTo>
                    <a:pt x="31" y="0"/>
                  </a:lnTo>
                  <a:lnTo>
                    <a:pt x="40" y="9"/>
                  </a:lnTo>
                  <a:lnTo>
                    <a:pt x="47" y="0"/>
                  </a:lnTo>
                  <a:lnTo>
                    <a:pt x="40" y="16"/>
                  </a:lnTo>
                  <a:lnTo>
                    <a:pt x="47" y="32"/>
                  </a:lnTo>
                  <a:lnTo>
                    <a:pt x="31" y="49"/>
                  </a:lnTo>
                  <a:lnTo>
                    <a:pt x="31" y="56"/>
                  </a:lnTo>
                  <a:lnTo>
                    <a:pt x="47" y="56"/>
                  </a:lnTo>
                  <a:lnTo>
                    <a:pt x="47" y="6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0" name="Freeform 187"/>
            <p:cNvSpPr>
              <a:spLocks/>
            </p:cNvSpPr>
            <p:nvPr/>
          </p:nvSpPr>
          <p:spPr bwMode="auto">
            <a:xfrm>
              <a:off x="3586" y="2454"/>
              <a:ext cx="244" cy="245"/>
            </a:xfrm>
            <a:custGeom>
              <a:avLst/>
              <a:gdLst>
                <a:gd name="T0" fmla="*/ 1018 w 187"/>
                <a:gd name="T1" fmla="*/ 637 h 187"/>
                <a:gd name="T2" fmla="*/ 950 w 187"/>
                <a:gd name="T3" fmla="*/ 637 h 187"/>
                <a:gd name="T4" fmla="*/ 950 w 187"/>
                <a:gd name="T5" fmla="*/ 785 h 187"/>
                <a:gd name="T6" fmla="*/ 950 w 187"/>
                <a:gd name="T7" fmla="*/ 848 h 187"/>
                <a:gd name="T8" fmla="*/ 1018 w 187"/>
                <a:gd name="T9" fmla="*/ 848 h 187"/>
                <a:gd name="T10" fmla="*/ 1018 w 187"/>
                <a:gd name="T11" fmla="*/ 914 h 187"/>
                <a:gd name="T12" fmla="*/ 1161 w 187"/>
                <a:gd name="T13" fmla="*/ 1053 h 187"/>
                <a:gd name="T14" fmla="*/ 1493 w 187"/>
                <a:gd name="T15" fmla="*/ 1129 h 187"/>
                <a:gd name="T16" fmla="*/ 1566 w 187"/>
                <a:gd name="T17" fmla="*/ 1129 h 187"/>
                <a:gd name="T18" fmla="*/ 1290 w 187"/>
                <a:gd name="T19" fmla="*/ 1479 h 187"/>
                <a:gd name="T20" fmla="*/ 1082 w 187"/>
                <a:gd name="T21" fmla="*/ 1479 h 187"/>
                <a:gd name="T22" fmla="*/ 950 w 187"/>
                <a:gd name="T23" fmla="*/ 1617 h 187"/>
                <a:gd name="T24" fmla="*/ 819 w 187"/>
                <a:gd name="T25" fmla="*/ 1559 h 187"/>
                <a:gd name="T26" fmla="*/ 607 w 187"/>
                <a:gd name="T27" fmla="*/ 1617 h 187"/>
                <a:gd name="T28" fmla="*/ 273 w 187"/>
                <a:gd name="T29" fmla="*/ 1559 h 187"/>
                <a:gd name="T30" fmla="*/ 273 w 187"/>
                <a:gd name="T31" fmla="*/ 1416 h 187"/>
                <a:gd name="T32" fmla="*/ 197 w 187"/>
                <a:gd name="T33" fmla="*/ 1416 h 187"/>
                <a:gd name="T34" fmla="*/ 60 w 187"/>
                <a:gd name="T35" fmla="*/ 1205 h 187"/>
                <a:gd name="T36" fmla="*/ 0 w 187"/>
                <a:gd name="T37" fmla="*/ 1129 h 187"/>
                <a:gd name="T38" fmla="*/ 60 w 187"/>
                <a:gd name="T39" fmla="*/ 1053 h 187"/>
                <a:gd name="T40" fmla="*/ 133 w 187"/>
                <a:gd name="T41" fmla="*/ 848 h 187"/>
                <a:gd name="T42" fmla="*/ 341 w 187"/>
                <a:gd name="T43" fmla="*/ 559 h 187"/>
                <a:gd name="T44" fmla="*/ 393 w 187"/>
                <a:gd name="T45" fmla="*/ 148 h 187"/>
                <a:gd name="T46" fmla="*/ 553 w 187"/>
                <a:gd name="T47" fmla="*/ 66 h 187"/>
                <a:gd name="T48" fmla="*/ 553 w 187"/>
                <a:gd name="T49" fmla="*/ 0 h 187"/>
                <a:gd name="T50" fmla="*/ 682 w 187"/>
                <a:gd name="T51" fmla="*/ 283 h 187"/>
                <a:gd name="T52" fmla="*/ 819 w 187"/>
                <a:gd name="T53" fmla="*/ 421 h 187"/>
                <a:gd name="T54" fmla="*/ 1018 w 187"/>
                <a:gd name="T55" fmla="*/ 637 h 18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87"/>
                <a:gd name="T85" fmla="*/ 0 h 187"/>
                <a:gd name="T86" fmla="*/ 187 w 187"/>
                <a:gd name="T87" fmla="*/ 187 h 18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87" h="187">
                  <a:moveTo>
                    <a:pt x="121" y="73"/>
                  </a:moveTo>
                  <a:lnTo>
                    <a:pt x="113" y="73"/>
                  </a:lnTo>
                  <a:lnTo>
                    <a:pt x="113" y="90"/>
                  </a:lnTo>
                  <a:lnTo>
                    <a:pt x="113" y="98"/>
                  </a:lnTo>
                  <a:lnTo>
                    <a:pt x="121" y="98"/>
                  </a:lnTo>
                  <a:lnTo>
                    <a:pt x="121" y="105"/>
                  </a:lnTo>
                  <a:lnTo>
                    <a:pt x="138" y="121"/>
                  </a:lnTo>
                  <a:lnTo>
                    <a:pt x="178" y="130"/>
                  </a:lnTo>
                  <a:lnTo>
                    <a:pt x="186" y="130"/>
                  </a:lnTo>
                  <a:lnTo>
                    <a:pt x="153" y="170"/>
                  </a:lnTo>
                  <a:lnTo>
                    <a:pt x="129" y="170"/>
                  </a:lnTo>
                  <a:lnTo>
                    <a:pt x="113" y="186"/>
                  </a:lnTo>
                  <a:lnTo>
                    <a:pt x="97" y="179"/>
                  </a:lnTo>
                  <a:lnTo>
                    <a:pt x="72" y="186"/>
                  </a:lnTo>
                  <a:lnTo>
                    <a:pt x="32" y="179"/>
                  </a:lnTo>
                  <a:lnTo>
                    <a:pt x="32" y="163"/>
                  </a:lnTo>
                  <a:lnTo>
                    <a:pt x="24" y="163"/>
                  </a:lnTo>
                  <a:lnTo>
                    <a:pt x="7" y="139"/>
                  </a:lnTo>
                  <a:lnTo>
                    <a:pt x="0" y="130"/>
                  </a:lnTo>
                  <a:lnTo>
                    <a:pt x="7" y="121"/>
                  </a:lnTo>
                  <a:lnTo>
                    <a:pt x="16" y="98"/>
                  </a:lnTo>
                  <a:lnTo>
                    <a:pt x="41" y="65"/>
                  </a:lnTo>
                  <a:lnTo>
                    <a:pt x="47" y="17"/>
                  </a:lnTo>
                  <a:lnTo>
                    <a:pt x="66" y="8"/>
                  </a:lnTo>
                  <a:lnTo>
                    <a:pt x="66" y="0"/>
                  </a:lnTo>
                  <a:lnTo>
                    <a:pt x="81" y="33"/>
                  </a:lnTo>
                  <a:lnTo>
                    <a:pt x="97" y="48"/>
                  </a:lnTo>
                  <a:lnTo>
                    <a:pt x="121" y="73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1" name="Freeform 188"/>
            <p:cNvSpPr>
              <a:spLocks/>
            </p:cNvSpPr>
            <p:nvPr/>
          </p:nvSpPr>
          <p:spPr bwMode="auto">
            <a:xfrm>
              <a:off x="3734" y="2549"/>
              <a:ext cx="22" cy="35"/>
            </a:xfrm>
            <a:custGeom>
              <a:avLst/>
              <a:gdLst>
                <a:gd name="T0" fmla="*/ 61 w 17"/>
                <a:gd name="T1" fmla="*/ 273 h 26"/>
                <a:gd name="T2" fmla="*/ 0 w 17"/>
                <a:gd name="T3" fmla="*/ 273 h 26"/>
                <a:gd name="T4" fmla="*/ 0 w 17"/>
                <a:gd name="T5" fmla="*/ 188 h 26"/>
                <a:gd name="T6" fmla="*/ 0 w 17"/>
                <a:gd name="T7" fmla="*/ 0 h 26"/>
                <a:gd name="T8" fmla="*/ 61 w 17"/>
                <a:gd name="T9" fmla="*/ 0 h 26"/>
                <a:gd name="T10" fmla="*/ 126 w 17"/>
                <a:gd name="T11" fmla="*/ 0 h 26"/>
                <a:gd name="T12" fmla="*/ 126 w 17"/>
                <a:gd name="T13" fmla="*/ 73 h 26"/>
                <a:gd name="T14" fmla="*/ 61 w 17"/>
                <a:gd name="T15" fmla="*/ 73 h 26"/>
                <a:gd name="T16" fmla="*/ 126 w 17"/>
                <a:gd name="T17" fmla="*/ 188 h 26"/>
                <a:gd name="T18" fmla="*/ 61 w 17"/>
                <a:gd name="T19" fmla="*/ 273 h 2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26"/>
                <a:gd name="T32" fmla="*/ 17 w 17"/>
                <a:gd name="T33" fmla="*/ 26 h 2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26">
                  <a:moveTo>
                    <a:pt x="8" y="25"/>
                  </a:moveTo>
                  <a:lnTo>
                    <a:pt x="0" y="2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8" y="7"/>
                  </a:lnTo>
                  <a:lnTo>
                    <a:pt x="16" y="17"/>
                  </a:lnTo>
                  <a:lnTo>
                    <a:pt x="8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2" name="Freeform 189"/>
            <p:cNvSpPr>
              <a:spLocks/>
            </p:cNvSpPr>
            <p:nvPr/>
          </p:nvSpPr>
          <p:spPr bwMode="auto">
            <a:xfrm>
              <a:off x="3734" y="2549"/>
              <a:ext cx="22" cy="35"/>
            </a:xfrm>
            <a:custGeom>
              <a:avLst/>
              <a:gdLst>
                <a:gd name="T0" fmla="*/ 61 w 17"/>
                <a:gd name="T1" fmla="*/ 273 h 26"/>
                <a:gd name="T2" fmla="*/ 0 w 17"/>
                <a:gd name="T3" fmla="*/ 273 h 26"/>
                <a:gd name="T4" fmla="*/ 0 w 17"/>
                <a:gd name="T5" fmla="*/ 188 h 26"/>
                <a:gd name="T6" fmla="*/ 0 w 17"/>
                <a:gd name="T7" fmla="*/ 0 h 26"/>
                <a:gd name="T8" fmla="*/ 61 w 17"/>
                <a:gd name="T9" fmla="*/ 0 h 26"/>
                <a:gd name="T10" fmla="*/ 126 w 17"/>
                <a:gd name="T11" fmla="*/ 0 h 26"/>
                <a:gd name="T12" fmla="*/ 126 w 17"/>
                <a:gd name="T13" fmla="*/ 73 h 26"/>
                <a:gd name="T14" fmla="*/ 61 w 17"/>
                <a:gd name="T15" fmla="*/ 73 h 26"/>
                <a:gd name="T16" fmla="*/ 126 w 17"/>
                <a:gd name="T17" fmla="*/ 188 h 26"/>
                <a:gd name="T18" fmla="*/ 61 w 17"/>
                <a:gd name="T19" fmla="*/ 273 h 2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26"/>
                <a:gd name="T32" fmla="*/ 17 w 17"/>
                <a:gd name="T33" fmla="*/ 26 h 2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26">
                  <a:moveTo>
                    <a:pt x="8" y="25"/>
                  </a:moveTo>
                  <a:lnTo>
                    <a:pt x="0" y="2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8" y="7"/>
                  </a:lnTo>
                  <a:lnTo>
                    <a:pt x="16" y="17"/>
                  </a:lnTo>
                  <a:lnTo>
                    <a:pt x="8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3" name="Freeform 190"/>
            <p:cNvSpPr>
              <a:spLocks/>
            </p:cNvSpPr>
            <p:nvPr/>
          </p:nvSpPr>
          <p:spPr bwMode="auto">
            <a:xfrm>
              <a:off x="3713" y="2559"/>
              <a:ext cx="172" cy="224"/>
            </a:xfrm>
            <a:custGeom>
              <a:avLst/>
              <a:gdLst>
                <a:gd name="T0" fmla="*/ 133 w 132"/>
                <a:gd name="T1" fmla="*/ 876 h 172"/>
                <a:gd name="T2" fmla="*/ 0 w 132"/>
                <a:gd name="T3" fmla="*/ 1025 h 172"/>
                <a:gd name="T4" fmla="*/ 0 w 132"/>
                <a:gd name="T5" fmla="*/ 1360 h 172"/>
                <a:gd name="T6" fmla="*/ 78 w 132"/>
                <a:gd name="T7" fmla="*/ 1416 h 172"/>
                <a:gd name="T8" fmla="*/ 270 w 132"/>
                <a:gd name="T9" fmla="*/ 1214 h 172"/>
                <a:gd name="T10" fmla="*/ 545 w 132"/>
                <a:gd name="T11" fmla="*/ 1025 h 172"/>
                <a:gd name="T12" fmla="*/ 741 w 132"/>
                <a:gd name="T13" fmla="*/ 819 h 172"/>
                <a:gd name="T14" fmla="*/ 883 w 132"/>
                <a:gd name="T15" fmla="*/ 692 h 172"/>
                <a:gd name="T16" fmla="*/ 1093 w 132"/>
                <a:gd name="T17" fmla="*/ 146 h 172"/>
                <a:gd name="T18" fmla="*/ 1093 w 132"/>
                <a:gd name="T19" fmla="*/ 0 h 172"/>
                <a:gd name="T20" fmla="*/ 1007 w 132"/>
                <a:gd name="T21" fmla="*/ 0 h 172"/>
                <a:gd name="T22" fmla="*/ 883 w 132"/>
                <a:gd name="T23" fmla="*/ 83 h 172"/>
                <a:gd name="T24" fmla="*/ 408 w 132"/>
                <a:gd name="T25" fmla="*/ 210 h 172"/>
                <a:gd name="T26" fmla="*/ 336 w 132"/>
                <a:gd name="T27" fmla="*/ 146 h 172"/>
                <a:gd name="T28" fmla="*/ 270 w 132"/>
                <a:gd name="T29" fmla="*/ 83 h 172"/>
                <a:gd name="T30" fmla="*/ 197 w 132"/>
                <a:gd name="T31" fmla="*/ 146 h 172"/>
                <a:gd name="T32" fmla="*/ 197 w 132"/>
                <a:gd name="T33" fmla="*/ 210 h 172"/>
                <a:gd name="T34" fmla="*/ 336 w 132"/>
                <a:gd name="T35" fmla="*/ 336 h 172"/>
                <a:gd name="T36" fmla="*/ 678 w 132"/>
                <a:gd name="T37" fmla="*/ 417 h 172"/>
                <a:gd name="T38" fmla="*/ 741 w 132"/>
                <a:gd name="T39" fmla="*/ 417 h 172"/>
                <a:gd name="T40" fmla="*/ 466 w 132"/>
                <a:gd name="T41" fmla="*/ 742 h 172"/>
                <a:gd name="T42" fmla="*/ 270 w 132"/>
                <a:gd name="T43" fmla="*/ 742 h 172"/>
                <a:gd name="T44" fmla="*/ 133 w 132"/>
                <a:gd name="T45" fmla="*/ 876 h 17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32"/>
                <a:gd name="T70" fmla="*/ 0 h 172"/>
                <a:gd name="T71" fmla="*/ 132 w 132"/>
                <a:gd name="T72" fmla="*/ 172 h 17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32" h="172">
                  <a:moveTo>
                    <a:pt x="16" y="106"/>
                  </a:moveTo>
                  <a:lnTo>
                    <a:pt x="0" y="124"/>
                  </a:lnTo>
                  <a:lnTo>
                    <a:pt x="0" y="164"/>
                  </a:lnTo>
                  <a:lnTo>
                    <a:pt x="9" y="171"/>
                  </a:lnTo>
                  <a:lnTo>
                    <a:pt x="32" y="147"/>
                  </a:lnTo>
                  <a:lnTo>
                    <a:pt x="65" y="124"/>
                  </a:lnTo>
                  <a:lnTo>
                    <a:pt x="89" y="99"/>
                  </a:lnTo>
                  <a:lnTo>
                    <a:pt x="106" y="83"/>
                  </a:lnTo>
                  <a:lnTo>
                    <a:pt x="131" y="18"/>
                  </a:lnTo>
                  <a:lnTo>
                    <a:pt x="131" y="0"/>
                  </a:lnTo>
                  <a:lnTo>
                    <a:pt x="121" y="0"/>
                  </a:lnTo>
                  <a:lnTo>
                    <a:pt x="106" y="10"/>
                  </a:lnTo>
                  <a:lnTo>
                    <a:pt x="49" y="25"/>
                  </a:lnTo>
                  <a:lnTo>
                    <a:pt x="41" y="18"/>
                  </a:lnTo>
                  <a:lnTo>
                    <a:pt x="32" y="10"/>
                  </a:lnTo>
                  <a:lnTo>
                    <a:pt x="24" y="18"/>
                  </a:lnTo>
                  <a:lnTo>
                    <a:pt x="24" y="25"/>
                  </a:lnTo>
                  <a:lnTo>
                    <a:pt x="41" y="41"/>
                  </a:lnTo>
                  <a:lnTo>
                    <a:pt x="81" y="50"/>
                  </a:lnTo>
                  <a:lnTo>
                    <a:pt x="89" y="50"/>
                  </a:lnTo>
                  <a:lnTo>
                    <a:pt x="56" y="90"/>
                  </a:lnTo>
                  <a:lnTo>
                    <a:pt x="32" y="90"/>
                  </a:lnTo>
                  <a:lnTo>
                    <a:pt x="16" y="10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4" name="Freeform 191"/>
            <p:cNvSpPr>
              <a:spLocks/>
            </p:cNvSpPr>
            <p:nvPr/>
          </p:nvSpPr>
          <p:spPr bwMode="auto">
            <a:xfrm>
              <a:off x="2747" y="2286"/>
              <a:ext cx="204" cy="221"/>
            </a:xfrm>
            <a:custGeom>
              <a:avLst/>
              <a:gdLst>
                <a:gd name="T0" fmla="*/ 0 w 155"/>
                <a:gd name="T1" fmla="*/ 715 h 170"/>
                <a:gd name="T2" fmla="*/ 84 w 155"/>
                <a:gd name="T3" fmla="*/ 659 h 170"/>
                <a:gd name="T4" fmla="*/ 438 w 155"/>
                <a:gd name="T5" fmla="*/ 659 h 170"/>
                <a:gd name="T6" fmla="*/ 438 w 155"/>
                <a:gd name="T7" fmla="*/ 534 h 170"/>
                <a:gd name="T8" fmla="*/ 588 w 155"/>
                <a:gd name="T9" fmla="*/ 467 h 170"/>
                <a:gd name="T10" fmla="*/ 588 w 155"/>
                <a:gd name="T11" fmla="*/ 131 h 170"/>
                <a:gd name="T12" fmla="*/ 958 w 155"/>
                <a:gd name="T13" fmla="*/ 131 h 170"/>
                <a:gd name="T14" fmla="*/ 958 w 155"/>
                <a:gd name="T15" fmla="*/ 0 h 170"/>
                <a:gd name="T16" fmla="*/ 1386 w 155"/>
                <a:gd name="T17" fmla="*/ 269 h 170"/>
                <a:gd name="T18" fmla="*/ 1169 w 155"/>
                <a:gd name="T19" fmla="*/ 269 h 170"/>
                <a:gd name="T20" fmla="*/ 1336 w 155"/>
                <a:gd name="T21" fmla="*/ 1323 h 170"/>
                <a:gd name="T22" fmla="*/ 800 w 155"/>
                <a:gd name="T23" fmla="*/ 1323 h 170"/>
                <a:gd name="T24" fmla="*/ 734 w 155"/>
                <a:gd name="T25" fmla="*/ 1382 h 170"/>
                <a:gd name="T26" fmla="*/ 663 w 155"/>
                <a:gd name="T27" fmla="*/ 1323 h 170"/>
                <a:gd name="T28" fmla="*/ 521 w 155"/>
                <a:gd name="T29" fmla="*/ 1382 h 170"/>
                <a:gd name="T30" fmla="*/ 438 w 155"/>
                <a:gd name="T31" fmla="*/ 1251 h 170"/>
                <a:gd name="T32" fmla="*/ 217 w 155"/>
                <a:gd name="T33" fmla="*/ 1192 h 170"/>
                <a:gd name="T34" fmla="*/ 84 w 155"/>
                <a:gd name="T35" fmla="*/ 1192 h 170"/>
                <a:gd name="T36" fmla="*/ 0 w 155"/>
                <a:gd name="T37" fmla="*/ 1251 h 170"/>
                <a:gd name="T38" fmla="*/ 84 w 155"/>
                <a:gd name="T39" fmla="*/ 1001 h 170"/>
                <a:gd name="T40" fmla="*/ 0 w 155"/>
                <a:gd name="T41" fmla="*/ 917 h 170"/>
                <a:gd name="T42" fmla="*/ 84 w 155"/>
                <a:gd name="T43" fmla="*/ 790 h 170"/>
                <a:gd name="T44" fmla="*/ 0 w 155"/>
                <a:gd name="T45" fmla="*/ 715 h 17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55"/>
                <a:gd name="T70" fmla="*/ 0 h 170"/>
                <a:gd name="T71" fmla="*/ 155 w 155"/>
                <a:gd name="T72" fmla="*/ 170 h 17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55" h="170">
                  <a:moveTo>
                    <a:pt x="0" y="88"/>
                  </a:moveTo>
                  <a:lnTo>
                    <a:pt x="9" y="81"/>
                  </a:lnTo>
                  <a:lnTo>
                    <a:pt x="49" y="81"/>
                  </a:lnTo>
                  <a:lnTo>
                    <a:pt x="49" y="65"/>
                  </a:lnTo>
                  <a:lnTo>
                    <a:pt x="65" y="57"/>
                  </a:lnTo>
                  <a:lnTo>
                    <a:pt x="65" y="16"/>
                  </a:lnTo>
                  <a:lnTo>
                    <a:pt x="106" y="16"/>
                  </a:lnTo>
                  <a:lnTo>
                    <a:pt x="106" y="0"/>
                  </a:lnTo>
                  <a:lnTo>
                    <a:pt x="154" y="32"/>
                  </a:lnTo>
                  <a:lnTo>
                    <a:pt x="130" y="32"/>
                  </a:lnTo>
                  <a:lnTo>
                    <a:pt x="148" y="162"/>
                  </a:lnTo>
                  <a:lnTo>
                    <a:pt x="89" y="162"/>
                  </a:lnTo>
                  <a:lnTo>
                    <a:pt x="81" y="169"/>
                  </a:lnTo>
                  <a:lnTo>
                    <a:pt x="74" y="162"/>
                  </a:lnTo>
                  <a:lnTo>
                    <a:pt x="58" y="169"/>
                  </a:lnTo>
                  <a:lnTo>
                    <a:pt x="49" y="153"/>
                  </a:lnTo>
                  <a:lnTo>
                    <a:pt x="24" y="146"/>
                  </a:lnTo>
                  <a:lnTo>
                    <a:pt x="9" y="146"/>
                  </a:lnTo>
                  <a:lnTo>
                    <a:pt x="0" y="153"/>
                  </a:lnTo>
                  <a:lnTo>
                    <a:pt x="9" y="122"/>
                  </a:lnTo>
                  <a:lnTo>
                    <a:pt x="0" y="112"/>
                  </a:lnTo>
                  <a:lnTo>
                    <a:pt x="9" y="97"/>
                  </a:lnTo>
                  <a:lnTo>
                    <a:pt x="0" y="8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5" name="Freeform 192"/>
            <p:cNvSpPr>
              <a:spLocks/>
            </p:cNvSpPr>
            <p:nvPr/>
          </p:nvSpPr>
          <p:spPr bwMode="auto">
            <a:xfrm>
              <a:off x="2747" y="2274"/>
              <a:ext cx="140" cy="127"/>
            </a:xfrm>
            <a:custGeom>
              <a:avLst/>
              <a:gdLst>
                <a:gd name="T0" fmla="*/ 0 w 107"/>
                <a:gd name="T1" fmla="*/ 771 h 98"/>
                <a:gd name="T2" fmla="*/ 79 w 107"/>
                <a:gd name="T3" fmla="*/ 719 h 98"/>
                <a:gd name="T4" fmla="*/ 421 w 107"/>
                <a:gd name="T5" fmla="*/ 719 h 98"/>
                <a:gd name="T6" fmla="*/ 421 w 107"/>
                <a:gd name="T7" fmla="*/ 590 h 98"/>
                <a:gd name="T8" fmla="*/ 559 w 107"/>
                <a:gd name="T9" fmla="*/ 527 h 98"/>
                <a:gd name="T10" fmla="*/ 559 w 107"/>
                <a:gd name="T11" fmla="*/ 193 h 98"/>
                <a:gd name="T12" fmla="*/ 912 w 107"/>
                <a:gd name="T13" fmla="*/ 193 h 98"/>
                <a:gd name="T14" fmla="*/ 912 w 107"/>
                <a:gd name="T15" fmla="*/ 75 h 98"/>
                <a:gd name="T16" fmla="*/ 421 w 107"/>
                <a:gd name="T17" fmla="*/ 0 h 98"/>
                <a:gd name="T18" fmla="*/ 340 w 107"/>
                <a:gd name="T19" fmla="*/ 126 h 98"/>
                <a:gd name="T20" fmla="*/ 290 w 107"/>
                <a:gd name="T21" fmla="*/ 193 h 98"/>
                <a:gd name="T22" fmla="*/ 209 w 107"/>
                <a:gd name="T23" fmla="*/ 395 h 98"/>
                <a:gd name="T24" fmla="*/ 0 w 107"/>
                <a:gd name="T25" fmla="*/ 641 h 98"/>
                <a:gd name="T26" fmla="*/ 0 w 107"/>
                <a:gd name="T27" fmla="*/ 771 h 9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7"/>
                <a:gd name="T43" fmla="*/ 0 h 98"/>
                <a:gd name="T44" fmla="*/ 107 w 107"/>
                <a:gd name="T45" fmla="*/ 98 h 9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7" h="98">
                  <a:moveTo>
                    <a:pt x="0" y="97"/>
                  </a:moveTo>
                  <a:lnTo>
                    <a:pt x="9" y="90"/>
                  </a:lnTo>
                  <a:lnTo>
                    <a:pt x="49" y="90"/>
                  </a:lnTo>
                  <a:lnTo>
                    <a:pt x="49" y="74"/>
                  </a:lnTo>
                  <a:lnTo>
                    <a:pt x="65" y="66"/>
                  </a:lnTo>
                  <a:lnTo>
                    <a:pt x="65" y="25"/>
                  </a:lnTo>
                  <a:lnTo>
                    <a:pt x="106" y="25"/>
                  </a:lnTo>
                  <a:lnTo>
                    <a:pt x="106" y="9"/>
                  </a:lnTo>
                  <a:lnTo>
                    <a:pt x="49" y="0"/>
                  </a:lnTo>
                  <a:lnTo>
                    <a:pt x="40" y="16"/>
                  </a:lnTo>
                  <a:lnTo>
                    <a:pt x="34" y="25"/>
                  </a:lnTo>
                  <a:lnTo>
                    <a:pt x="24" y="49"/>
                  </a:lnTo>
                  <a:lnTo>
                    <a:pt x="0" y="81"/>
                  </a:lnTo>
                  <a:lnTo>
                    <a:pt x="0" y="9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6" name="Freeform 193"/>
            <p:cNvSpPr>
              <a:spLocks/>
            </p:cNvSpPr>
            <p:nvPr/>
          </p:nvSpPr>
          <p:spPr bwMode="auto">
            <a:xfrm>
              <a:off x="2738" y="2477"/>
              <a:ext cx="108" cy="74"/>
            </a:xfrm>
            <a:custGeom>
              <a:avLst/>
              <a:gdLst>
                <a:gd name="T0" fmla="*/ 64 w 83"/>
                <a:gd name="T1" fmla="*/ 383 h 57"/>
                <a:gd name="T2" fmla="*/ 141 w 83"/>
                <a:gd name="T3" fmla="*/ 383 h 57"/>
                <a:gd name="T4" fmla="*/ 269 w 83"/>
                <a:gd name="T5" fmla="*/ 332 h 57"/>
                <a:gd name="T6" fmla="*/ 350 w 83"/>
                <a:gd name="T7" fmla="*/ 383 h 57"/>
                <a:gd name="T8" fmla="*/ 393 w 83"/>
                <a:gd name="T9" fmla="*/ 332 h 57"/>
                <a:gd name="T10" fmla="*/ 269 w 83"/>
                <a:gd name="T11" fmla="*/ 332 h 57"/>
                <a:gd name="T12" fmla="*/ 64 w 83"/>
                <a:gd name="T13" fmla="*/ 332 h 57"/>
                <a:gd name="T14" fmla="*/ 0 w 83"/>
                <a:gd name="T15" fmla="*/ 188 h 57"/>
                <a:gd name="T16" fmla="*/ 64 w 83"/>
                <a:gd name="T17" fmla="*/ 58 h 57"/>
                <a:gd name="T18" fmla="*/ 141 w 83"/>
                <a:gd name="T19" fmla="*/ 0 h 57"/>
                <a:gd name="T20" fmla="*/ 269 w 83"/>
                <a:gd name="T21" fmla="*/ 0 h 57"/>
                <a:gd name="T22" fmla="*/ 467 w 83"/>
                <a:gd name="T23" fmla="*/ 58 h 57"/>
                <a:gd name="T24" fmla="*/ 544 w 83"/>
                <a:gd name="T25" fmla="*/ 188 h 57"/>
                <a:gd name="T26" fmla="*/ 675 w 83"/>
                <a:gd name="T27" fmla="*/ 456 h 57"/>
                <a:gd name="T28" fmla="*/ 393 w 83"/>
                <a:gd name="T29" fmla="*/ 456 h 57"/>
                <a:gd name="T30" fmla="*/ 64 w 83"/>
                <a:gd name="T31" fmla="*/ 456 h 57"/>
                <a:gd name="T32" fmla="*/ 64 w 83"/>
                <a:gd name="T33" fmla="*/ 383 h 5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3"/>
                <a:gd name="T52" fmla="*/ 0 h 57"/>
                <a:gd name="T53" fmla="*/ 83 w 83"/>
                <a:gd name="T54" fmla="*/ 57 h 5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3" h="57">
                  <a:moveTo>
                    <a:pt x="8" y="48"/>
                  </a:moveTo>
                  <a:lnTo>
                    <a:pt x="17" y="48"/>
                  </a:lnTo>
                  <a:lnTo>
                    <a:pt x="32" y="41"/>
                  </a:lnTo>
                  <a:lnTo>
                    <a:pt x="42" y="48"/>
                  </a:lnTo>
                  <a:lnTo>
                    <a:pt x="48" y="41"/>
                  </a:lnTo>
                  <a:lnTo>
                    <a:pt x="32" y="41"/>
                  </a:lnTo>
                  <a:lnTo>
                    <a:pt x="8" y="41"/>
                  </a:lnTo>
                  <a:lnTo>
                    <a:pt x="0" y="23"/>
                  </a:lnTo>
                  <a:lnTo>
                    <a:pt x="8" y="7"/>
                  </a:lnTo>
                  <a:lnTo>
                    <a:pt x="17" y="0"/>
                  </a:lnTo>
                  <a:lnTo>
                    <a:pt x="32" y="0"/>
                  </a:lnTo>
                  <a:lnTo>
                    <a:pt x="57" y="7"/>
                  </a:lnTo>
                  <a:lnTo>
                    <a:pt x="66" y="23"/>
                  </a:lnTo>
                  <a:lnTo>
                    <a:pt x="82" y="56"/>
                  </a:lnTo>
                  <a:lnTo>
                    <a:pt x="48" y="56"/>
                  </a:lnTo>
                  <a:lnTo>
                    <a:pt x="8" y="56"/>
                  </a:lnTo>
                  <a:lnTo>
                    <a:pt x="8" y="4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7" name="Freeform 194"/>
            <p:cNvSpPr>
              <a:spLocks/>
            </p:cNvSpPr>
            <p:nvPr/>
          </p:nvSpPr>
          <p:spPr bwMode="auto">
            <a:xfrm>
              <a:off x="2747" y="2530"/>
              <a:ext cx="54" cy="22"/>
            </a:xfrm>
            <a:custGeom>
              <a:avLst/>
              <a:gdLst>
                <a:gd name="T0" fmla="*/ 0 w 41"/>
                <a:gd name="T1" fmla="*/ 126 h 17"/>
                <a:gd name="T2" fmla="*/ 86 w 41"/>
                <a:gd name="T3" fmla="*/ 126 h 17"/>
                <a:gd name="T4" fmla="*/ 217 w 41"/>
                <a:gd name="T5" fmla="*/ 0 h 17"/>
                <a:gd name="T6" fmla="*/ 311 w 41"/>
                <a:gd name="T7" fmla="*/ 126 h 17"/>
                <a:gd name="T8" fmla="*/ 362 w 41"/>
                <a:gd name="T9" fmla="*/ 0 h 17"/>
                <a:gd name="T10" fmla="*/ 217 w 41"/>
                <a:gd name="T11" fmla="*/ 0 h 17"/>
                <a:gd name="T12" fmla="*/ 0 w 41"/>
                <a:gd name="T13" fmla="*/ 0 h 17"/>
                <a:gd name="T14" fmla="*/ 0 w 41"/>
                <a:gd name="T15" fmla="*/ 126 h 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1"/>
                <a:gd name="T25" fmla="*/ 0 h 17"/>
                <a:gd name="T26" fmla="*/ 41 w 41"/>
                <a:gd name="T27" fmla="*/ 17 h 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1" h="17">
                  <a:moveTo>
                    <a:pt x="0" y="16"/>
                  </a:moveTo>
                  <a:lnTo>
                    <a:pt x="9" y="16"/>
                  </a:lnTo>
                  <a:lnTo>
                    <a:pt x="24" y="0"/>
                  </a:lnTo>
                  <a:lnTo>
                    <a:pt x="34" y="16"/>
                  </a:lnTo>
                  <a:lnTo>
                    <a:pt x="40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8" name="Freeform 195"/>
            <p:cNvSpPr>
              <a:spLocks/>
            </p:cNvSpPr>
            <p:nvPr/>
          </p:nvSpPr>
          <p:spPr bwMode="auto">
            <a:xfrm>
              <a:off x="2747" y="2549"/>
              <a:ext cx="54" cy="35"/>
            </a:xfrm>
            <a:custGeom>
              <a:avLst/>
              <a:gdLst>
                <a:gd name="T0" fmla="*/ 217 w 41"/>
                <a:gd name="T1" fmla="*/ 273 h 26"/>
                <a:gd name="T2" fmla="*/ 362 w 41"/>
                <a:gd name="T3" fmla="*/ 73 h 26"/>
                <a:gd name="T4" fmla="*/ 362 w 41"/>
                <a:gd name="T5" fmla="*/ 0 h 26"/>
                <a:gd name="T6" fmla="*/ 0 w 41"/>
                <a:gd name="T7" fmla="*/ 0 h 26"/>
                <a:gd name="T8" fmla="*/ 151 w 41"/>
                <a:gd name="T9" fmla="*/ 73 h 26"/>
                <a:gd name="T10" fmla="*/ 151 w 41"/>
                <a:gd name="T11" fmla="*/ 188 h 26"/>
                <a:gd name="T12" fmla="*/ 217 w 41"/>
                <a:gd name="T13" fmla="*/ 273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6"/>
                <a:gd name="T23" fmla="*/ 41 w 41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6">
                  <a:moveTo>
                    <a:pt x="24" y="25"/>
                  </a:moveTo>
                  <a:lnTo>
                    <a:pt x="40" y="7"/>
                  </a:lnTo>
                  <a:lnTo>
                    <a:pt x="40" y="0"/>
                  </a:lnTo>
                  <a:lnTo>
                    <a:pt x="0" y="0"/>
                  </a:lnTo>
                  <a:lnTo>
                    <a:pt x="17" y="7"/>
                  </a:lnTo>
                  <a:lnTo>
                    <a:pt x="17" y="17"/>
                  </a:lnTo>
                  <a:lnTo>
                    <a:pt x="24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9" name="Freeform 196"/>
            <p:cNvSpPr>
              <a:spLocks/>
            </p:cNvSpPr>
            <p:nvPr/>
          </p:nvSpPr>
          <p:spPr bwMode="auto">
            <a:xfrm>
              <a:off x="2779" y="2549"/>
              <a:ext cx="119" cy="88"/>
            </a:xfrm>
            <a:custGeom>
              <a:avLst/>
              <a:gdLst>
                <a:gd name="T0" fmla="*/ 700 w 91"/>
                <a:gd name="T1" fmla="*/ 587 h 67"/>
                <a:gd name="T2" fmla="*/ 769 w 91"/>
                <a:gd name="T3" fmla="*/ 587 h 67"/>
                <a:gd name="T4" fmla="*/ 769 w 91"/>
                <a:gd name="T5" fmla="*/ 511 h 67"/>
                <a:gd name="T6" fmla="*/ 769 w 91"/>
                <a:gd name="T7" fmla="*/ 426 h 67"/>
                <a:gd name="T8" fmla="*/ 769 w 91"/>
                <a:gd name="T9" fmla="*/ 363 h 67"/>
                <a:gd name="T10" fmla="*/ 769 w 91"/>
                <a:gd name="T11" fmla="*/ 282 h 67"/>
                <a:gd name="T12" fmla="*/ 638 w 91"/>
                <a:gd name="T13" fmla="*/ 0 h 67"/>
                <a:gd name="T14" fmla="*/ 488 w 91"/>
                <a:gd name="T15" fmla="*/ 64 h 67"/>
                <a:gd name="T16" fmla="*/ 357 w 91"/>
                <a:gd name="T17" fmla="*/ 64 h 67"/>
                <a:gd name="T18" fmla="*/ 424 w 91"/>
                <a:gd name="T19" fmla="*/ 0 h 67"/>
                <a:gd name="T20" fmla="*/ 133 w 91"/>
                <a:gd name="T21" fmla="*/ 0 h 67"/>
                <a:gd name="T22" fmla="*/ 133 w 91"/>
                <a:gd name="T23" fmla="*/ 64 h 67"/>
                <a:gd name="T24" fmla="*/ 0 w 91"/>
                <a:gd name="T25" fmla="*/ 219 h 67"/>
                <a:gd name="T26" fmla="*/ 212 w 91"/>
                <a:gd name="T27" fmla="*/ 363 h 67"/>
                <a:gd name="T28" fmla="*/ 289 w 91"/>
                <a:gd name="T29" fmla="*/ 282 h 67"/>
                <a:gd name="T30" fmla="*/ 357 w 91"/>
                <a:gd name="T31" fmla="*/ 282 h 67"/>
                <a:gd name="T32" fmla="*/ 488 w 91"/>
                <a:gd name="T33" fmla="*/ 426 h 67"/>
                <a:gd name="T34" fmla="*/ 488 w 91"/>
                <a:gd name="T35" fmla="*/ 511 h 67"/>
                <a:gd name="T36" fmla="*/ 554 w 91"/>
                <a:gd name="T37" fmla="*/ 426 h 67"/>
                <a:gd name="T38" fmla="*/ 638 w 91"/>
                <a:gd name="T39" fmla="*/ 587 h 67"/>
                <a:gd name="T40" fmla="*/ 700 w 91"/>
                <a:gd name="T41" fmla="*/ 587 h 6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1"/>
                <a:gd name="T64" fmla="*/ 0 h 67"/>
                <a:gd name="T65" fmla="*/ 91 w 91"/>
                <a:gd name="T66" fmla="*/ 67 h 6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1" h="67">
                  <a:moveTo>
                    <a:pt x="82" y="66"/>
                  </a:moveTo>
                  <a:lnTo>
                    <a:pt x="90" y="66"/>
                  </a:lnTo>
                  <a:lnTo>
                    <a:pt x="90" y="57"/>
                  </a:lnTo>
                  <a:lnTo>
                    <a:pt x="90" y="48"/>
                  </a:lnTo>
                  <a:lnTo>
                    <a:pt x="90" y="41"/>
                  </a:lnTo>
                  <a:lnTo>
                    <a:pt x="90" y="32"/>
                  </a:lnTo>
                  <a:lnTo>
                    <a:pt x="75" y="0"/>
                  </a:lnTo>
                  <a:lnTo>
                    <a:pt x="57" y="7"/>
                  </a:lnTo>
                  <a:lnTo>
                    <a:pt x="41" y="7"/>
                  </a:lnTo>
                  <a:lnTo>
                    <a:pt x="50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0" y="25"/>
                  </a:lnTo>
                  <a:lnTo>
                    <a:pt x="25" y="41"/>
                  </a:lnTo>
                  <a:lnTo>
                    <a:pt x="34" y="32"/>
                  </a:lnTo>
                  <a:lnTo>
                    <a:pt x="41" y="32"/>
                  </a:lnTo>
                  <a:lnTo>
                    <a:pt x="57" y="48"/>
                  </a:lnTo>
                  <a:lnTo>
                    <a:pt x="57" y="57"/>
                  </a:lnTo>
                  <a:lnTo>
                    <a:pt x="65" y="48"/>
                  </a:lnTo>
                  <a:lnTo>
                    <a:pt x="75" y="66"/>
                  </a:lnTo>
                  <a:lnTo>
                    <a:pt x="82" y="6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80" name="Freeform 197"/>
            <p:cNvSpPr>
              <a:spLocks/>
            </p:cNvSpPr>
            <p:nvPr/>
          </p:nvSpPr>
          <p:spPr bwMode="auto">
            <a:xfrm>
              <a:off x="2812" y="2592"/>
              <a:ext cx="43" cy="53"/>
            </a:xfrm>
            <a:custGeom>
              <a:avLst/>
              <a:gdLst>
                <a:gd name="T0" fmla="*/ 0 w 33"/>
                <a:gd name="T1" fmla="*/ 75 h 41"/>
                <a:gd name="T2" fmla="*/ 78 w 33"/>
                <a:gd name="T3" fmla="*/ 0 h 41"/>
                <a:gd name="T4" fmla="*/ 133 w 33"/>
                <a:gd name="T5" fmla="*/ 0 h 41"/>
                <a:gd name="T6" fmla="*/ 270 w 33"/>
                <a:gd name="T7" fmla="*/ 125 h 41"/>
                <a:gd name="T8" fmla="*/ 270 w 33"/>
                <a:gd name="T9" fmla="*/ 193 h 41"/>
                <a:gd name="T10" fmla="*/ 133 w 33"/>
                <a:gd name="T11" fmla="*/ 313 h 41"/>
                <a:gd name="T12" fmla="*/ 78 w 33"/>
                <a:gd name="T13" fmla="*/ 268 h 41"/>
                <a:gd name="T14" fmla="*/ 0 w 33"/>
                <a:gd name="T15" fmla="*/ 268 h 41"/>
                <a:gd name="T16" fmla="*/ 0 w 33"/>
                <a:gd name="T17" fmla="*/ 75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41"/>
                <a:gd name="T29" fmla="*/ 33 w 33"/>
                <a:gd name="T30" fmla="*/ 41 h 4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41">
                  <a:moveTo>
                    <a:pt x="0" y="9"/>
                  </a:moveTo>
                  <a:lnTo>
                    <a:pt x="9" y="0"/>
                  </a:lnTo>
                  <a:lnTo>
                    <a:pt x="16" y="0"/>
                  </a:lnTo>
                  <a:lnTo>
                    <a:pt x="32" y="16"/>
                  </a:lnTo>
                  <a:lnTo>
                    <a:pt x="32" y="25"/>
                  </a:lnTo>
                  <a:lnTo>
                    <a:pt x="16" y="40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0" y="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81" name="Freeform 198"/>
            <p:cNvSpPr>
              <a:spLocks/>
            </p:cNvSpPr>
            <p:nvPr/>
          </p:nvSpPr>
          <p:spPr bwMode="auto">
            <a:xfrm>
              <a:off x="2833" y="2612"/>
              <a:ext cx="77" cy="77"/>
            </a:xfrm>
            <a:custGeom>
              <a:avLst/>
              <a:gdLst>
                <a:gd name="T0" fmla="*/ 487 w 59"/>
                <a:gd name="T1" fmla="*/ 487 h 59"/>
                <a:gd name="T2" fmla="*/ 487 w 59"/>
                <a:gd name="T3" fmla="*/ 358 h 59"/>
                <a:gd name="T4" fmla="*/ 345 w 59"/>
                <a:gd name="T5" fmla="*/ 275 h 59"/>
                <a:gd name="T6" fmla="*/ 345 w 59"/>
                <a:gd name="T7" fmla="*/ 149 h 59"/>
                <a:gd name="T8" fmla="*/ 283 w 59"/>
                <a:gd name="T9" fmla="*/ 149 h 59"/>
                <a:gd name="T10" fmla="*/ 197 w 59"/>
                <a:gd name="T11" fmla="*/ 0 h 59"/>
                <a:gd name="T12" fmla="*/ 133 w 59"/>
                <a:gd name="T13" fmla="*/ 78 h 59"/>
                <a:gd name="T14" fmla="*/ 0 w 59"/>
                <a:gd name="T15" fmla="*/ 197 h 59"/>
                <a:gd name="T16" fmla="*/ 345 w 59"/>
                <a:gd name="T17" fmla="*/ 487 h 59"/>
                <a:gd name="T18" fmla="*/ 487 w 59"/>
                <a:gd name="T19" fmla="*/ 487 h 5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"/>
                <a:gd name="T31" fmla="*/ 0 h 59"/>
                <a:gd name="T32" fmla="*/ 59 w 59"/>
                <a:gd name="T33" fmla="*/ 59 h 5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" h="59">
                  <a:moveTo>
                    <a:pt x="58" y="58"/>
                  </a:moveTo>
                  <a:lnTo>
                    <a:pt x="58" y="42"/>
                  </a:lnTo>
                  <a:lnTo>
                    <a:pt x="41" y="33"/>
                  </a:lnTo>
                  <a:lnTo>
                    <a:pt x="41" y="18"/>
                  </a:lnTo>
                  <a:lnTo>
                    <a:pt x="34" y="18"/>
                  </a:lnTo>
                  <a:lnTo>
                    <a:pt x="24" y="0"/>
                  </a:lnTo>
                  <a:lnTo>
                    <a:pt x="16" y="9"/>
                  </a:lnTo>
                  <a:lnTo>
                    <a:pt x="0" y="24"/>
                  </a:lnTo>
                  <a:lnTo>
                    <a:pt x="41" y="58"/>
                  </a:lnTo>
                  <a:lnTo>
                    <a:pt x="58" y="5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82" name="Freeform 199"/>
            <p:cNvSpPr>
              <a:spLocks/>
            </p:cNvSpPr>
            <p:nvPr/>
          </p:nvSpPr>
          <p:spPr bwMode="auto">
            <a:xfrm>
              <a:off x="3023" y="2572"/>
              <a:ext cx="35" cy="84"/>
            </a:xfrm>
            <a:custGeom>
              <a:avLst/>
              <a:gdLst>
                <a:gd name="T0" fmla="*/ 188 w 26"/>
                <a:gd name="T1" fmla="*/ 0 h 65"/>
                <a:gd name="T2" fmla="*/ 0 w 26"/>
                <a:gd name="T3" fmla="*/ 0 h 65"/>
                <a:gd name="T4" fmla="*/ 98 w 26"/>
                <a:gd name="T5" fmla="*/ 242 h 65"/>
                <a:gd name="T6" fmla="*/ 188 w 26"/>
                <a:gd name="T7" fmla="*/ 429 h 65"/>
                <a:gd name="T8" fmla="*/ 188 w 26"/>
                <a:gd name="T9" fmla="*/ 496 h 65"/>
                <a:gd name="T10" fmla="*/ 273 w 26"/>
                <a:gd name="T11" fmla="*/ 496 h 65"/>
                <a:gd name="T12" fmla="*/ 273 w 26"/>
                <a:gd name="T13" fmla="*/ 242 h 65"/>
                <a:gd name="T14" fmla="*/ 273 w 26"/>
                <a:gd name="T15" fmla="*/ 114 h 65"/>
                <a:gd name="T16" fmla="*/ 188 w 26"/>
                <a:gd name="T17" fmla="*/ 61 h 65"/>
                <a:gd name="T18" fmla="*/ 188 w 26"/>
                <a:gd name="T19" fmla="*/ 0 h 6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65"/>
                <a:gd name="T32" fmla="*/ 26 w 26"/>
                <a:gd name="T33" fmla="*/ 65 h 6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65">
                  <a:moveTo>
                    <a:pt x="17" y="0"/>
                  </a:moveTo>
                  <a:lnTo>
                    <a:pt x="0" y="0"/>
                  </a:lnTo>
                  <a:lnTo>
                    <a:pt x="9" y="31"/>
                  </a:lnTo>
                  <a:lnTo>
                    <a:pt x="17" y="55"/>
                  </a:lnTo>
                  <a:lnTo>
                    <a:pt x="17" y="64"/>
                  </a:lnTo>
                  <a:lnTo>
                    <a:pt x="25" y="64"/>
                  </a:lnTo>
                  <a:lnTo>
                    <a:pt x="25" y="31"/>
                  </a:lnTo>
                  <a:lnTo>
                    <a:pt x="25" y="15"/>
                  </a:lnTo>
                  <a:lnTo>
                    <a:pt x="17" y="8"/>
                  </a:lnTo>
                  <a:lnTo>
                    <a:pt x="17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83" name="Freeform 200"/>
            <p:cNvSpPr>
              <a:spLocks/>
            </p:cNvSpPr>
            <p:nvPr/>
          </p:nvSpPr>
          <p:spPr bwMode="auto">
            <a:xfrm>
              <a:off x="3186" y="2721"/>
              <a:ext cx="29" cy="21"/>
            </a:xfrm>
            <a:custGeom>
              <a:avLst/>
              <a:gdLst>
                <a:gd name="T0" fmla="*/ 139 w 23"/>
                <a:gd name="T1" fmla="*/ 0 h 17"/>
                <a:gd name="T2" fmla="*/ 139 w 23"/>
                <a:gd name="T3" fmla="*/ 89 h 17"/>
                <a:gd name="T4" fmla="*/ 40 w 23"/>
                <a:gd name="T5" fmla="*/ 89 h 17"/>
                <a:gd name="T6" fmla="*/ 0 w 23"/>
                <a:gd name="T7" fmla="*/ 89 h 17"/>
                <a:gd name="T8" fmla="*/ 40 w 23"/>
                <a:gd name="T9" fmla="*/ 0 h 17"/>
                <a:gd name="T10" fmla="*/ 139 w 23"/>
                <a:gd name="T11" fmla="*/ 0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3"/>
                <a:gd name="T19" fmla="*/ 0 h 17"/>
                <a:gd name="T20" fmla="*/ 23 w 23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3" h="17">
                  <a:moveTo>
                    <a:pt x="22" y="0"/>
                  </a:moveTo>
                  <a:lnTo>
                    <a:pt x="22" y="16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6" y="0"/>
                  </a:lnTo>
                  <a:lnTo>
                    <a:pt x="22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84" name="Freeform 201"/>
            <p:cNvSpPr>
              <a:spLocks/>
            </p:cNvSpPr>
            <p:nvPr/>
          </p:nvSpPr>
          <p:spPr bwMode="auto">
            <a:xfrm>
              <a:off x="3214" y="2698"/>
              <a:ext cx="129" cy="149"/>
            </a:xfrm>
            <a:custGeom>
              <a:avLst/>
              <a:gdLst>
                <a:gd name="T0" fmla="*/ 545 w 99"/>
                <a:gd name="T1" fmla="*/ 75 h 115"/>
                <a:gd name="T2" fmla="*/ 545 w 99"/>
                <a:gd name="T3" fmla="*/ 189 h 115"/>
                <a:gd name="T4" fmla="*/ 211 w 99"/>
                <a:gd name="T5" fmla="*/ 144 h 115"/>
                <a:gd name="T6" fmla="*/ 211 w 99"/>
                <a:gd name="T7" fmla="*/ 267 h 115"/>
                <a:gd name="T8" fmla="*/ 275 w 99"/>
                <a:gd name="T9" fmla="*/ 189 h 115"/>
                <a:gd name="T10" fmla="*/ 336 w 99"/>
                <a:gd name="T11" fmla="*/ 267 h 115"/>
                <a:gd name="T12" fmla="*/ 336 w 99"/>
                <a:gd name="T13" fmla="*/ 324 h 115"/>
                <a:gd name="T14" fmla="*/ 336 w 99"/>
                <a:gd name="T15" fmla="*/ 590 h 115"/>
                <a:gd name="T16" fmla="*/ 146 w 99"/>
                <a:gd name="T17" fmla="*/ 590 h 115"/>
                <a:gd name="T18" fmla="*/ 78 w 99"/>
                <a:gd name="T19" fmla="*/ 641 h 115"/>
                <a:gd name="T20" fmla="*/ 78 w 99"/>
                <a:gd name="T21" fmla="*/ 719 h 115"/>
                <a:gd name="T22" fmla="*/ 0 w 99"/>
                <a:gd name="T23" fmla="*/ 719 h 115"/>
                <a:gd name="T24" fmla="*/ 0 w 99"/>
                <a:gd name="T25" fmla="*/ 780 h 115"/>
                <a:gd name="T26" fmla="*/ 146 w 99"/>
                <a:gd name="T27" fmla="*/ 910 h 115"/>
                <a:gd name="T28" fmla="*/ 146 w 99"/>
                <a:gd name="T29" fmla="*/ 841 h 115"/>
                <a:gd name="T30" fmla="*/ 211 w 99"/>
                <a:gd name="T31" fmla="*/ 841 h 115"/>
                <a:gd name="T32" fmla="*/ 336 w 99"/>
                <a:gd name="T33" fmla="*/ 841 h 115"/>
                <a:gd name="T34" fmla="*/ 483 w 99"/>
                <a:gd name="T35" fmla="*/ 780 h 115"/>
                <a:gd name="T36" fmla="*/ 545 w 99"/>
                <a:gd name="T37" fmla="*/ 590 h 115"/>
                <a:gd name="T38" fmla="*/ 678 w 99"/>
                <a:gd name="T39" fmla="*/ 459 h 115"/>
                <a:gd name="T40" fmla="*/ 818 w 99"/>
                <a:gd name="T41" fmla="*/ 0 h 115"/>
                <a:gd name="T42" fmla="*/ 628 w 99"/>
                <a:gd name="T43" fmla="*/ 75 h 115"/>
                <a:gd name="T44" fmla="*/ 545 w 99"/>
                <a:gd name="T45" fmla="*/ 75 h 11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9"/>
                <a:gd name="T70" fmla="*/ 0 h 115"/>
                <a:gd name="T71" fmla="*/ 99 w 99"/>
                <a:gd name="T72" fmla="*/ 115 h 11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9" h="115">
                  <a:moveTo>
                    <a:pt x="65" y="9"/>
                  </a:moveTo>
                  <a:lnTo>
                    <a:pt x="65" y="24"/>
                  </a:lnTo>
                  <a:lnTo>
                    <a:pt x="25" y="18"/>
                  </a:lnTo>
                  <a:lnTo>
                    <a:pt x="25" y="33"/>
                  </a:lnTo>
                  <a:lnTo>
                    <a:pt x="33" y="24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41" y="74"/>
                  </a:lnTo>
                  <a:lnTo>
                    <a:pt x="18" y="74"/>
                  </a:lnTo>
                  <a:lnTo>
                    <a:pt x="9" y="81"/>
                  </a:lnTo>
                  <a:lnTo>
                    <a:pt x="9" y="90"/>
                  </a:lnTo>
                  <a:lnTo>
                    <a:pt x="0" y="90"/>
                  </a:lnTo>
                  <a:lnTo>
                    <a:pt x="0" y="98"/>
                  </a:lnTo>
                  <a:lnTo>
                    <a:pt x="18" y="114"/>
                  </a:lnTo>
                  <a:lnTo>
                    <a:pt x="18" y="106"/>
                  </a:lnTo>
                  <a:lnTo>
                    <a:pt x="25" y="106"/>
                  </a:lnTo>
                  <a:lnTo>
                    <a:pt x="41" y="106"/>
                  </a:lnTo>
                  <a:lnTo>
                    <a:pt x="58" y="98"/>
                  </a:lnTo>
                  <a:lnTo>
                    <a:pt x="65" y="74"/>
                  </a:lnTo>
                  <a:lnTo>
                    <a:pt x="81" y="58"/>
                  </a:lnTo>
                  <a:lnTo>
                    <a:pt x="98" y="0"/>
                  </a:lnTo>
                  <a:lnTo>
                    <a:pt x="75" y="9"/>
                  </a:lnTo>
                  <a:lnTo>
                    <a:pt x="65" y="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85" name="Freeform 202"/>
            <p:cNvSpPr>
              <a:spLocks/>
            </p:cNvSpPr>
            <p:nvPr/>
          </p:nvSpPr>
          <p:spPr bwMode="auto">
            <a:xfrm>
              <a:off x="3510" y="2773"/>
              <a:ext cx="34" cy="32"/>
            </a:xfrm>
            <a:custGeom>
              <a:avLst/>
              <a:gdLst>
                <a:gd name="T0" fmla="*/ 212 w 26"/>
                <a:gd name="T1" fmla="*/ 229 h 24"/>
                <a:gd name="T2" fmla="*/ 78 w 26"/>
                <a:gd name="T3" fmla="*/ 229 h 24"/>
                <a:gd name="T4" fmla="*/ 0 w 26"/>
                <a:gd name="T5" fmla="*/ 229 h 24"/>
                <a:gd name="T6" fmla="*/ 78 w 26"/>
                <a:gd name="T7" fmla="*/ 65 h 24"/>
                <a:gd name="T8" fmla="*/ 212 w 26"/>
                <a:gd name="T9" fmla="*/ 0 h 24"/>
                <a:gd name="T10" fmla="*/ 212 w 26"/>
                <a:gd name="T11" fmla="*/ 155 h 24"/>
                <a:gd name="T12" fmla="*/ 212 w 26"/>
                <a:gd name="T13" fmla="*/ 229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24"/>
                <a:gd name="T23" fmla="*/ 26 w 26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24">
                  <a:moveTo>
                    <a:pt x="25" y="23"/>
                  </a:moveTo>
                  <a:lnTo>
                    <a:pt x="9" y="23"/>
                  </a:lnTo>
                  <a:lnTo>
                    <a:pt x="0" y="23"/>
                  </a:lnTo>
                  <a:lnTo>
                    <a:pt x="9" y="7"/>
                  </a:lnTo>
                  <a:lnTo>
                    <a:pt x="25" y="0"/>
                  </a:lnTo>
                  <a:lnTo>
                    <a:pt x="25" y="16"/>
                  </a:lnTo>
                  <a:lnTo>
                    <a:pt x="25" y="23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86" name="Freeform 203"/>
            <p:cNvSpPr>
              <a:spLocks/>
            </p:cNvSpPr>
            <p:nvPr/>
          </p:nvSpPr>
          <p:spPr bwMode="auto">
            <a:xfrm>
              <a:off x="3522" y="2802"/>
              <a:ext cx="22" cy="34"/>
            </a:xfrm>
            <a:custGeom>
              <a:avLst/>
              <a:gdLst>
                <a:gd name="T0" fmla="*/ 126 w 17"/>
                <a:gd name="T1" fmla="*/ 0 h 26"/>
                <a:gd name="T2" fmla="*/ 126 w 17"/>
                <a:gd name="T3" fmla="*/ 78 h 26"/>
                <a:gd name="T4" fmla="*/ 0 w 17"/>
                <a:gd name="T5" fmla="*/ 212 h 26"/>
                <a:gd name="T6" fmla="*/ 0 w 17"/>
                <a:gd name="T7" fmla="*/ 78 h 26"/>
                <a:gd name="T8" fmla="*/ 0 w 17"/>
                <a:gd name="T9" fmla="*/ 0 h 26"/>
                <a:gd name="T10" fmla="*/ 126 w 17"/>
                <a:gd name="T11" fmla="*/ 0 h 2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26"/>
                <a:gd name="T20" fmla="*/ 17 w 17"/>
                <a:gd name="T21" fmla="*/ 26 h 2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26">
                  <a:moveTo>
                    <a:pt x="16" y="0"/>
                  </a:moveTo>
                  <a:lnTo>
                    <a:pt x="16" y="9"/>
                  </a:lnTo>
                  <a:lnTo>
                    <a:pt x="0" y="25"/>
                  </a:lnTo>
                  <a:lnTo>
                    <a:pt x="0" y="9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87" name="Freeform 204"/>
            <p:cNvSpPr>
              <a:spLocks/>
            </p:cNvSpPr>
            <p:nvPr/>
          </p:nvSpPr>
          <p:spPr bwMode="auto">
            <a:xfrm>
              <a:off x="3226" y="3046"/>
              <a:ext cx="224" cy="213"/>
            </a:xfrm>
            <a:custGeom>
              <a:avLst/>
              <a:gdLst>
                <a:gd name="T0" fmla="*/ 464 w 172"/>
                <a:gd name="T1" fmla="*/ 1380 h 163"/>
                <a:gd name="T2" fmla="*/ 408 w 172"/>
                <a:gd name="T3" fmla="*/ 1245 h 163"/>
                <a:gd name="T4" fmla="*/ 270 w 172"/>
                <a:gd name="T5" fmla="*/ 844 h 163"/>
                <a:gd name="T6" fmla="*/ 270 w 172"/>
                <a:gd name="T7" fmla="*/ 635 h 163"/>
                <a:gd name="T8" fmla="*/ 0 w 172"/>
                <a:gd name="T9" fmla="*/ 78 h 163"/>
                <a:gd name="T10" fmla="*/ 0 w 172"/>
                <a:gd name="T11" fmla="*/ 0 h 163"/>
                <a:gd name="T12" fmla="*/ 133 w 172"/>
                <a:gd name="T13" fmla="*/ 0 h 163"/>
                <a:gd name="T14" fmla="*/ 270 w 172"/>
                <a:gd name="T15" fmla="*/ 0 h 163"/>
                <a:gd name="T16" fmla="*/ 667 w 172"/>
                <a:gd name="T17" fmla="*/ 78 h 163"/>
                <a:gd name="T18" fmla="*/ 802 w 172"/>
                <a:gd name="T19" fmla="*/ 78 h 163"/>
                <a:gd name="T20" fmla="*/ 1076 w 172"/>
                <a:gd name="T21" fmla="*/ 133 h 163"/>
                <a:gd name="T22" fmla="*/ 1206 w 172"/>
                <a:gd name="T23" fmla="*/ 78 h 163"/>
                <a:gd name="T24" fmla="*/ 1263 w 172"/>
                <a:gd name="T25" fmla="*/ 0 h 163"/>
                <a:gd name="T26" fmla="*/ 1416 w 172"/>
                <a:gd name="T27" fmla="*/ 78 h 163"/>
                <a:gd name="T28" fmla="*/ 1263 w 172"/>
                <a:gd name="T29" fmla="*/ 212 h 163"/>
                <a:gd name="T30" fmla="*/ 1206 w 172"/>
                <a:gd name="T31" fmla="*/ 133 h 163"/>
                <a:gd name="T32" fmla="*/ 1005 w 172"/>
                <a:gd name="T33" fmla="*/ 133 h 163"/>
                <a:gd name="T34" fmla="*/ 926 w 172"/>
                <a:gd name="T35" fmla="*/ 551 h 163"/>
                <a:gd name="T36" fmla="*/ 876 w 172"/>
                <a:gd name="T37" fmla="*/ 635 h 163"/>
                <a:gd name="T38" fmla="*/ 876 w 172"/>
                <a:gd name="T39" fmla="*/ 907 h 163"/>
                <a:gd name="T40" fmla="*/ 876 w 172"/>
                <a:gd name="T41" fmla="*/ 1319 h 163"/>
                <a:gd name="T42" fmla="*/ 740 w 172"/>
                <a:gd name="T43" fmla="*/ 1380 h 163"/>
                <a:gd name="T44" fmla="*/ 596 w 172"/>
                <a:gd name="T45" fmla="*/ 1380 h 163"/>
                <a:gd name="T46" fmla="*/ 546 w 172"/>
                <a:gd name="T47" fmla="*/ 1319 h 163"/>
                <a:gd name="T48" fmla="*/ 464 w 172"/>
                <a:gd name="T49" fmla="*/ 1380 h 16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72"/>
                <a:gd name="T76" fmla="*/ 0 h 163"/>
                <a:gd name="T77" fmla="*/ 172 w 172"/>
                <a:gd name="T78" fmla="*/ 163 h 16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72" h="163">
                  <a:moveTo>
                    <a:pt x="56" y="162"/>
                  </a:moveTo>
                  <a:lnTo>
                    <a:pt x="49" y="146"/>
                  </a:lnTo>
                  <a:lnTo>
                    <a:pt x="32" y="99"/>
                  </a:lnTo>
                  <a:lnTo>
                    <a:pt x="32" y="75"/>
                  </a:lnTo>
                  <a:lnTo>
                    <a:pt x="0" y="9"/>
                  </a:lnTo>
                  <a:lnTo>
                    <a:pt x="0" y="0"/>
                  </a:lnTo>
                  <a:lnTo>
                    <a:pt x="16" y="0"/>
                  </a:lnTo>
                  <a:lnTo>
                    <a:pt x="32" y="0"/>
                  </a:lnTo>
                  <a:lnTo>
                    <a:pt x="81" y="9"/>
                  </a:lnTo>
                  <a:lnTo>
                    <a:pt x="97" y="9"/>
                  </a:lnTo>
                  <a:lnTo>
                    <a:pt x="130" y="16"/>
                  </a:lnTo>
                  <a:lnTo>
                    <a:pt x="146" y="9"/>
                  </a:lnTo>
                  <a:lnTo>
                    <a:pt x="153" y="0"/>
                  </a:lnTo>
                  <a:lnTo>
                    <a:pt x="171" y="9"/>
                  </a:lnTo>
                  <a:lnTo>
                    <a:pt x="153" y="25"/>
                  </a:lnTo>
                  <a:lnTo>
                    <a:pt x="146" y="16"/>
                  </a:lnTo>
                  <a:lnTo>
                    <a:pt x="121" y="16"/>
                  </a:lnTo>
                  <a:lnTo>
                    <a:pt x="112" y="65"/>
                  </a:lnTo>
                  <a:lnTo>
                    <a:pt x="106" y="75"/>
                  </a:lnTo>
                  <a:lnTo>
                    <a:pt x="106" y="106"/>
                  </a:lnTo>
                  <a:lnTo>
                    <a:pt x="106" y="155"/>
                  </a:lnTo>
                  <a:lnTo>
                    <a:pt x="89" y="162"/>
                  </a:lnTo>
                  <a:lnTo>
                    <a:pt x="72" y="162"/>
                  </a:lnTo>
                  <a:lnTo>
                    <a:pt x="66" y="155"/>
                  </a:lnTo>
                  <a:lnTo>
                    <a:pt x="56" y="16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88" name="Freeform 205"/>
            <p:cNvSpPr>
              <a:spLocks/>
            </p:cNvSpPr>
            <p:nvPr/>
          </p:nvSpPr>
          <p:spPr bwMode="auto">
            <a:xfrm>
              <a:off x="3226" y="2855"/>
              <a:ext cx="211" cy="213"/>
            </a:xfrm>
            <a:custGeom>
              <a:avLst/>
              <a:gdLst>
                <a:gd name="T0" fmla="*/ 0 w 162"/>
                <a:gd name="T1" fmla="*/ 1245 h 163"/>
                <a:gd name="T2" fmla="*/ 133 w 162"/>
                <a:gd name="T3" fmla="*/ 1245 h 163"/>
                <a:gd name="T4" fmla="*/ 270 w 162"/>
                <a:gd name="T5" fmla="*/ 1245 h 163"/>
                <a:gd name="T6" fmla="*/ 673 w 162"/>
                <a:gd name="T7" fmla="*/ 1319 h 163"/>
                <a:gd name="T8" fmla="*/ 802 w 162"/>
                <a:gd name="T9" fmla="*/ 1319 h 163"/>
                <a:gd name="T10" fmla="*/ 1076 w 162"/>
                <a:gd name="T11" fmla="*/ 1380 h 163"/>
                <a:gd name="T12" fmla="*/ 1206 w 162"/>
                <a:gd name="T13" fmla="*/ 1319 h 163"/>
                <a:gd name="T14" fmla="*/ 1076 w 162"/>
                <a:gd name="T15" fmla="*/ 1185 h 163"/>
                <a:gd name="T16" fmla="*/ 1076 w 162"/>
                <a:gd name="T17" fmla="*/ 844 h 163"/>
                <a:gd name="T18" fmla="*/ 1339 w 162"/>
                <a:gd name="T19" fmla="*/ 768 h 163"/>
                <a:gd name="T20" fmla="*/ 1263 w 162"/>
                <a:gd name="T21" fmla="*/ 551 h 163"/>
                <a:gd name="T22" fmla="*/ 1076 w 162"/>
                <a:gd name="T23" fmla="*/ 634 h 163"/>
                <a:gd name="T24" fmla="*/ 1076 w 162"/>
                <a:gd name="T25" fmla="*/ 551 h 163"/>
                <a:gd name="T26" fmla="*/ 1132 w 162"/>
                <a:gd name="T27" fmla="*/ 502 h 163"/>
                <a:gd name="T28" fmla="*/ 1076 w 162"/>
                <a:gd name="T29" fmla="*/ 422 h 163"/>
                <a:gd name="T30" fmla="*/ 1076 w 162"/>
                <a:gd name="T31" fmla="*/ 212 h 163"/>
                <a:gd name="T32" fmla="*/ 926 w 162"/>
                <a:gd name="T33" fmla="*/ 145 h 163"/>
                <a:gd name="T34" fmla="*/ 802 w 162"/>
                <a:gd name="T35" fmla="*/ 145 h 163"/>
                <a:gd name="T36" fmla="*/ 802 w 162"/>
                <a:gd name="T37" fmla="*/ 212 h 163"/>
                <a:gd name="T38" fmla="*/ 673 w 162"/>
                <a:gd name="T39" fmla="*/ 284 h 163"/>
                <a:gd name="T40" fmla="*/ 546 w 162"/>
                <a:gd name="T41" fmla="*/ 145 h 163"/>
                <a:gd name="T42" fmla="*/ 546 w 162"/>
                <a:gd name="T43" fmla="*/ 0 h 163"/>
                <a:gd name="T44" fmla="*/ 466 w 162"/>
                <a:gd name="T45" fmla="*/ 0 h 163"/>
                <a:gd name="T46" fmla="*/ 197 w 162"/>
                <a:gd name="T47" fmla="*/ 0 h 163"/>
                <a:gd name="T48" fmla="*/ 78 w 162"/>
                <a:gd name="T49" fmla="*/ 78 h 163"/>
                <a:gd name="T50" fmla="*/ 133 w 162"/>
                <a:gd name="T51" fmla="*/ 284 h 163"/>
                <a:gd name="T52" fmla="*/ 133 w 162"/>
                <a:gd name="T53" fmla="*/ 340 h 163"/>
                <a:gd name="T54" fmla="*/ 197 w 162"/>
                <a:gd name="T55" fmla="*/ 634 h 163"/>
                <a:gd name="T56" fmla="*/ 197 w 162"/>
                <a:gd name="T57" fmla="*/ 768 h 163"/>
                <a:gd name="T58" fmla="*/ 78 w 162"/>
                <a:gd name="T59" fmla="*/ 844 h 163"/>
                <a:gd name="T60" fmla="*/ 0 w 162"/>
                <a:gd name="T61" fmla="*/ 1108 h 163"/>
                <a:gd name="T62" fmla="*/ 0 w 162"/>
                <a:gd name="T63" fmla="*/ 1245 h 16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62"/>
                <a:gd name="T97" fmla="*/ 0 h 163"/>
                <a:gd name="T98" fmla="*/ 162 w 162"/>
                <a:gd name="T99" fmla="*/ 163 h 16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62" h="163">
                  <a:moveTo>
                    <a:pt x="0" y="146"/>
                  </a:moveTo>
                  <a:lnTo>
                    <a:pt x="16" y="146"/>
                  </a:lnTo>
                  <a:lnTo>
                    <a:pt x="32" y="146"/>
                  </a:lnTo>
                  <a:lnTo>
                    <a:pt x="81" y="155"/>
                  </a:lnTo>
                  <a:lnTo>
                    <a:pt x="97" y="155"/>
                  </a:lnTo>
                  <a:lnTo>
                    <a:pt x="130" y="162"/>
                  </a:lnTo>
                  <a:lnTo>
                    <a:pt x="146" y="155"/>
                  </a:lnTo>
                  <a:lnTo>
                    <a:pt x="130" y="139"/>
                  </a:lnTo>
                  <a:lnTo>
                    <a:pt x="130" y="99"/>
                  </a:lnTo>
                  <a:lnTo>
                    <a:pt x="161" y="90"/>
                  </a:lnTo>
                  <a:lnTo>
                    <a:pt x="153" y="65"/>
                  </a:lnTo>
                  <a:lnTo>
                    <a:pt x="130" y="74"/>
                  </a:lnTo>
                  <a:lnTo>
                    <a:pt x="130" y="65"/>
                  </a:lnTo>
                  <a:lnTo>
                    <a:pt x="137" y="59"/>
                  </a:lnTo>
                  <a:lnTo>
                    <a:pt x="130" y="50"/>
                  </a:lnTo>
                  <a:lnTo>
                    <a:pt x="130" y="25"/>
                  </a:lnTo>
                  <a:lnTo>
                    <a:pt x="112" y="17"/>
                  </a:lnTo>
                  <a:lnTo>
                    <a:pt x="97" y="17"/>
                  </a:lnTo>
                  <a:lnTo>
                    <a:pt x="97" y="25"/>
                  </a:lnTo>
                  <a:lnTo>
                    <a:pt x="81" y="34"/>
                  </a:lnTo>
                  <a:lnTo>
                    <a:pt x="66" y="17"/>
                  </a:lnTo>
                  <a:lnTo>
                    <a:pt x="66" y="0"/>
                  </a:lnTo>
                  <a:lnTo>
                    <a:pt x="56" y="0"/>
                  </a:lnTo>
                  <a:lnTo>
                    <a:pt x="24" y="0"/>
                  </a:lnTo>
                  <a:lnTo>
                    <a:pt x="9" y="9"/>
                  </a:lnTo>
                  <a:lnTo>
                    <a:pt x="16" y="34"/>
                  </a:lnTo>
                  <a:lnTo>
                    <a:pt x="16" y="40"/>
                  </a:lnTo>
                  <a:lnTo>
                    <a:pt x="24" y="74"/>
                  </a:lnTo>
                  <a:lnTo>
                    <a:pt x="24" y="90"/>
                  </a:lnTo>
                  <a:lnTo>
                    <a:pt x="9" y="99"/>
                  </a:lnTo>
                  <a:lnTo>
                    <a:pt x="0" y="131"/>
                  </a:lnTo>
                  <a:lnTo>
                    <a:pt x="0" y="14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89" name="Freeform 206"/>
            <p:cNvSpPr>
              <a:spLocks/>
            </p:cNvSpPr>
            <p:nvPr/>
          </p:nvSpPr>
          <p:spPr bwMode="auto">
            <a:xfrm>
              <a:off x="3238" y="2835"/>
              <a:ext cx="22" cy="23"/>
            </a:xfrm>
            <a:custGeom>
              <a:avLst/>
              <a:gdLst>
                <a:gd name="T0" fmla="*/ 126 w 17"/>
                <a:gd name="T1" fmla="*/ 0 h 17"/>
                <a:gd name="T2" fmla="*/ 0 w 17"/>
                <a:gd name="T3" fmla="*/ 183 h 17"/>
                <a:gd name="T4" fmla="*/ 0 w 17"/>
                <a:gd name="T5" fmla="*/ 92 h 17"/>
                <a:gd name="T6" fmla="*/ 0 w 17"/>
                <a:gd name="T7" fmla="*/ 0 h 17"/>
                <a:gd name="T8" fmla="*/ 126 w 17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90" name="Freeform 207"/>
            <p:cNvSpPr>
              <a:spLocks/>
            </p:cNvSpPr>
            <p:nvPr/>
          </p:nvSpPr>
          <p:spPr bwMode="auto">
            <a:xfrm>
              <a:off x="3238" y="2835"/>
              <a:ext cx="22" cy="23"/>
            </a:xfrm>
            <a:custGeom>
              <a:avLst/>
              <a:gdLst>
                <a:gd name="T0" fmla="*/ 126 w 17"/>
                <a:gd name="T1" fmla="*/ 0 h 17"/>
                <a:gd name="T2" fmla="*/ 0 w 17"/>
                <a:gd name="T3" fmla="*/ 183 h 17"/>
                <a:gd name="T4" fmla="*/ 0 w 17"/>
                <a:gd name="T5" fmla="*/ 92 h 17"/>
                <a:gd name="T6" fmla="*/ 0 w 17"/>
                <a:gd name="T7" fmla="*/ 0 h 17"/>
                <a:gd name="T8" fmla="*/ 126 w 17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91" name="Freeform 208"/>
            <p:cNvSpPr>
              <a:spLocks/>
            </p:cNvSpPr>
            <p:nvPr/>
          </p:nvSpPr>
          <p:spPr bwMode="auto">
            <a:xfrm>
              <a:off x="3299" y="3130"/>
              <a:ext cx="278" cy="246"/>
            </a:xfrm>
            <a:custGeom>
              <a:avLst/>
              <a:gdLst>
                <a:gd name="T0" fmla="*/ 1652 w 213"/>
                <a:gd name="T1" fmla="*/ 85 h 188"/>
                <a:gd name="T2" fmla="*/ 1703 w 213"/>
                <a:gd name="T3" fmla="*/ 492 h 188"/>
                <a:gd name="T4" fmla="*/ 1652 w 213"/>
                <a:gd name="T5" fmla="*/ 492 h 188"/>
                <a:gd name="T6" fmla="*/ 1573 w 213"/>
                <a:gd name="T7" fmla="*/ 559 h 188"/>
                <a:gd name="T8" fmla="*/ 1652 w 213"/>
                <a:gd name="T9" fmla="*/ 637 h 188"/>
                <a:gd name="T10" fmla="*/ 1703 w 213"/>
                <a:gd name="T11" fmla="*/ 559 h 188"/>
                <a:gd name="T12" fmla="*/ 1787 w 213"/>
                <a:gd name="T13" fmla="*/ 559 h 188"/>
                <a:gd name="T14" fmla="*/ 1787 w 213"/>
                <a:gd name="T15" fmla="*/ 637 h 188"/>
                <a:gd name="T16" fmla="*/ 1787 w 213"/>
                <a:gd name="T17" fmla="*/ 834 h 188"/>
                <a:gd name="T18" fmla="*/ 1652 w 213"/>
                <a:gd name="T19" fmla="*/ 895 h 188"/>
                <a:gd name="T20" fmla="*/ 1518 w 213"/>
                <a:gd name="T21" fmla="*/ 1111 h 188"/>
                <a:gd name="T22" fmla="*/ 1305 w 213"/>
                <a:gd name="T23" fmla="*/ 1316 h 188"/>
                <a:gd name="T24" fmla="*/ 1167 w 213"/>
                <a:gd name="T25" fmla="*/ 1469 h 188"/>
                <a:gd name="T26" fmla="*/ 970 w 213"/>
                <a:gd name="T27" fmla="*/ 1531 h 188"/>
                <a:gd name="T28" fmla="*/ 821 w 213"/>
                <a:gd name="T29" fmla="*/ 1531 h 188"/>
                <a:gd name="T30" fmla="*/ 629 w 213"/>
                <a:gd name="T31" fmla="*/ 1531 h 188"/>
                <a:gd name="T32" fmla="*/ 420 w 213"/>
                <a:gd name="T33" fmla="*/ 1613 h 188"/>
                <a:gd name="T34" fmla="*/ 345 w 213"/>
                <a:gd name="T35" fmla="*/ 1613 h 188"/>
                <a:gd name="T36" fmla="*/ 275 w 213"/>
                <a:gd name="T37" fmla="*/ 1531 h 188"/>
                <a:gd name="T38" fmla="*/ 211 w 213"/>
                <a:gd name="T39" fmla="*/ 1316 h 188"/>
                <a:gd name="T40" fmla="*/ 211 w 213"/>
                <a:gd name="T41" fmla="*/ 1256 h 188"/>
                <a:gd name="T42" fmla="*/ 85 w 213"/>
                <a:gd name="T43" fmla="*/ 834 h 188"/>
                <a:gd name="T44" fmla="*/ 0 w 213"/>
                <a:gd name="T45" fmla="*/ 834 h 188"/>
                <a:gd name="T46" fmla="*/ 85 w 213"/>
                <a:gd name="T47" fmla="*/ 772 h 188"/>
                <a:gd name="T48" fmla="*/ 133 w 213"/>
                <a:gd name="T49" fmla="*/ 834 h 188"/>
                <a:gd name="T50" fmla="*/ 275 w 213"/>
                <a:gd name="T51" fmla="*/ 834 h 188"/>
                <a:gd name="T52" fmla="*/ 420 w 213"/>
                <a:gd name="T53" fmla="*/ 772 h 188"/>
                <a:gd name="T54" fmla="*/ 420 w 213"/>
                <a:gd name="T55" fmla="*/ 357 h 188"/>
                <a:gd name="T56" fmla="*/ 469 w 213"/>
                <a:gd name="T57" fmla="*/ 427 h 188"/>
                <a:gd name="T58" fmla="*/ 469 w 213"/>
                <a:gd name="T59" fmla="*/ 559 h 188"/>
                <a:gd name="T60" fmla="*/ 629 w 213"/>
                <a:gd name="T61" fmla="*/ 559 h 188"/>
                <a:gd name="T62" fmla="*/ 821 w 213"/>
                <a:gd name="T63" fmla="*/ 427 h 188"/>
                <a:gd name="T64" fmla="*/ 884 w 213"/>
                <a:gd name="T65" fmla="*/ 492 h 188"/>
                <a:gd name="T66" fmla="*/ 970 w 213"/>
                <a:gd name="T67" fmla="*/ 427 h 188"/>
                <a:gd name="T68" fmla="*/ 1244 w 213"/>
                <a:gd name="T69" fmla="*/ 135 h 188"/>
                <a:gd name="T70" fmla="*/ 1438 w 213"/>
                <a:gd name="T71" fmla="*/ 0 h 188"/>
                <a:gd name="T72" fmla="*/ 1573 w 213"/>
                <a:gd name="T73" fmla="*/ 85 h 188"/>
                <a:gd name="T74" fmla="*/ 1652 w 213"/>
                <a:gd name="T75" fmla="*/ 85 h 18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13"/>
                <a:gd name="T115" fmla="*/ 0 h 188"/>
                <a:gd name="T116" fmla="*/ 213 w 213"/>
                <a:gd name="T117" fmla="*/ 188 h 18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13" h="188">
                  <a:moveTo>
                    <a:pt x="196" y="10"/>
                  </a:moveTo>
                  <a:lnTo>
                    <a:pt x="202" y="57"/>
                  </a:lnTo>
                  <a:lnTo>
                    <a:pt x="196" y="57"/>
                  </a:lnTo>
                  <a:lnTo>
                    <a:pt x="187" y="65"/>
                  </a:lnTo>
                  <a:lnTo>
                    <a:pt x="196" y="74"/>
                  </a:lnTo>
                  <a:lnTo>
                    <a:pt x="202" y="65"/>
                  </a:lnTo>
                  <a:lnTo>
                    <a:pt x="212" y="65"/>
                  </a:lnTo>
                  <a:lnTo>
                    <a:pt x="212" y="74"/>
                  </a:lnTo>
                  <a:lnTo>
                    <a:pt x="212" y="97"/>
                  </a:lnTo>
                  <a:lnTo>
                    <a:pt x="196" y="105"/>
                  </a:lnTo>
                  <a:lnTo>
                    <a:pt x="180" y="130"/>
                  </a:lnTo>
                  <a:lnTo>
                    <a:pt x="155" y="153"/>
                  </a:lnTo>
                  <a:lnTo>
                    <a:pt x="139" y="171"/>
                  </a:lnTo>
                  <a:lnTo>
                    <a:pt x="115" y="178"/>
                  </a:lnTo>
                  <a:lnTo>
                    <a:pt x="97" y="178"/>
                  </a:lnTo>
                  <a:lnTo>
                    <a:pt x="74" y="178"/>
                  </a:lnTo>
                  <a:lnTo>
                    <a:pt x="50" y="187"/>
                  </a:lnTo>
                  <a:lnTo>
                    <a:pt x="41" y="187"/>
                  </a:lnTo>
                  <a:lnTo>
                    <a:pt x="33" y="178"/>
                  </a:lnTo>
                  <a:lnTo>
                    <a:pt x="25" y="153"/>
                  </a:lnTo>
                  <a:lnTo>
                    <a:pt x="25" y="147"/>
                  </a:lnTo>
                  <a:lnTo>
                    <a:pt x="10" y="97"/>
                  </a:lnTo>
                  <a:lnTo>
                    <a:pt x="0" y="97"/>
                  </a:lnTo>
                  <a:lnTo>
                    <a:pt x="10" y="90"/>
                  </a:lnTo>
                  <a:lnTo>
                    <a:pt x="16" y="97"/>
                  </a:lnTo>
                  <a:lnTo>
                    <a:pt x="33" y="97"/>
                  </a:lnTo>
                  <a:lnTo>
                    <a:pt x="50" y="90"/>
                  </a:lnTo>
                  <a:lnTo>
                    <a:pt x="50" y="41"/>
                  </a:lnTo>
                  <a:lnTo>
                    <a:pt x="56" y="50"/>
                  </a:lnTo>
                  <a:lnTo>
                    <a:pt x="56" y="65"/>
                  </a:lnTo>
                  <a:lnTo>
                    <a:pt x="74" y="65"/>
                  </a:lnTo>
                  <a:lnTo>
                    <a:pt x="97" y="50"/>
                  </a:lnTo>
                  <a:lnTo>
                    <a:pt x="105" y="57"/>
                  </a:lnTo>
                  <a:lnTo>
                    <a:pt x="115" y="50"/>
                  </a:lnTo>
                  <a:lnTo>
                    <a:pt x="147" y="16"/>
                  </a:lnTo>
                  <a:lnTo>
                    <a:pt x="171" y="0"/>
                  </a:lnTo>
                  <a:lnTo>
                    <a:pt x="187" y="10"/>
                  </a:lnTo>
                  <a:lnTo>
                    <a:pt x="196" y="1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92" name="Freeform 209"/>
            <p:cNvSpPr>
              <a:spLocks/>
            </p:cNvSpPr>
            <p:nvPr/>
          </p:nvSpPr>
          <p:spPr bwMode="auto">
            <a:xfrm>
              <a:off x="3364" y="3057"/>
              <a:ext cx="159" cy="160"/>
            </a:xfrm>
            <a:custGeom>
              <a:avLst/>
              <a:gdLst>
                <a:gd name="T0" fmla="*/ 0 w 122"/>
                <a:gd name="T1" fmla="*/ 849 h 122"/>
                <a:gd name="T2" fmla="*/ 50 w 122"/>
                <a:gd name="T3" fmla="*/ 926 h 122"/>
                <a:gd name="T4" fmla="*/ 50 w 122"/>
                <a:gd name="T5" fmla="*/ 1062 h 122"/>
                <a:gd name="T6" fmla="*/ 197 w 122"/>
                <a:gd name="T7" fmla="*/ 1062 h 122"/>
                <a:gd name="T8" fmla="*/ 392 w 122"/>
                <a:gd name="T9" fmla="*/ 926 h 122"/>
                <a:gd name="T10" fmla="*/ 461 w 122"/>
                <a:gd name="T11" fmla="*/ 985 h 122"/>
                <a:gd name="T12" fmla="*/ 545 w 122"/>
                <a:gd name="T13" fmla="*/ 926 h 122"/>
                <a:gd name="T14" fmla="*/ 805 w 122"/>
                <a:gd name="T15" fmla="*/ 624 h 122"/>
                <a:gd name="T16" fmla="*/ 1007 w 122"/>
                <a:gd name="T17" fmla="*/ 487 h 122"/>
                <a:gd name="T18" fmla="*/ 876 w 122"/>
                <a:gd name="T19" fmla="*/ 487 h 122"/>
                <a:gd name="T20" fmla="*/ 805 w 122"/>
                <a:gd name="T21" fmla="*/ 361 h 122"/>
                <a:gd name="T22" fmla="*/ 666 w 122"/>
                <a:gd name="T23" fmla="*/ 210 h 122"/>
                <a:gd name="T24" fmla="*/ 545 w 122"/>
                <a:gd name="T25" fmla="*/ 0 h 122"/>
                <a:gd name="T26" fmla="*/ 392 w 122"/>
                <a:gd name="T27" fmla="*/ 144 h 122"/>
                <a:gd name="T28" fmla="*/ 335 w 122"/>
                <a:gd name="T29" fmla="*/ 64 h 122"/>
                <a:gd name="T30" fmla="*/ 125 w 122"/>
                <a:gd name="T31" fmla="*/ 64 h 122"/>
                <a:gd name="T32" fmla="*/ 50 w 122"/>
                <a:gd name="T33" fmla="*/ 487 h 122"/>
                <a:gd name="T34" fmla="*/ 0 w 122"/>
                <a:gd name="T35" fmla="*/ 581 h 122"/>
                <a:gd name="T36" fmla="*/ 0 w 122"/>
                <a:gd name="T37" fmla="*/ 849 h 1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22"/>
                <a:gd name="T58" fmla="*/ 0 h 122"/>
                <a:gd name="T59" fmla="*/ 122 w 122"/>
                <a:gd name="T60" fmla="*/ 122 h 12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22" h="122">
                  <a:moveTo>
                    <a:pt x="0" y="97"/>
                  </a:moveTo>
                  <a:lnTo>
                    <a:pt x="6" y="106"/>
                  </a:lnTo>
                  <a:lnTo>
                    <a:pt x="6" y="121"/>
                  </a:lnTo>
                  <a:lnTo>
                    <a:pt x="24" y="121"/>
                  </a:lnTo>
                  <a:lnTo>
                    <a:pt x="47" y="106"/>
                  </a:lnTo>
                  <a:lnTo>
                    <a:pt x="55" y="113"/>
                  </a:lnTo>
                  <a:lnTo>
                    <a:pt x="65" y="106"/>
                  </a:lnTo>
                  <a:lnTo>
                    <a:pt x="97" y="72"/>
                  </a:lnTo>
                  <a:lnTo>
                    <a:pt x="121" y="56"/>
                  </a:lnTo>
                  <a:lnTo>
                    <a:pt x="105" y="56"/>
                  </a:lnTo>
                  <a:lnTo>
                    <a:pt x="97" y="41"/>
                  </a:lnTo>
                  <a:lnTo>
                    <a:pt x="80" y="24"/>
                  </a:lnTo>
                  <a:lnTo>
                    <a:pt x="65" y="0"/>
                  </a:lnTo>
                  <a:lnTo>
                    <a:pt x="47" y="16"/>
                  </a:lnTo>
                  <a:lnTo>
                    <a:pt x="40" y="7"/>
                  </a:lnTo>
                  <a:lnTo>
                    <a:pt x="15" y="7"/>
                  </a:lnTo>
                  <a:lnTo>
                    <a:pt x="6" y="56"/>
                  </a:lnTo>
                  <a:lnTo>
                    <a:pt x="0" y="66"/>
                  </a:lnTo>
                  <a:lnTo>
                    <a:pt x="0" y="9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93" name="Freeform 210"/>
            <p:cNvSpPr>
              <a:spLocks/>
            </p:cNvSpPr>
            <p:nvPr/>
          </p:nvSpPr>
          <p:spPr bwMode="auto">
            <a:xfrm>
              <a:off x="3449" y="3026"/>
              <a:ext cx="139" cy="120"/>
            </a:xfrm>
            <a:custGeom>
              <a:avLst/>
              <a:gdLst>
                <a:gd name="T0" fmla="*/ 564 w 106"/>
                <a:gd name="T1" fmla="*/ 0 h 91"/>
                <a:gd name="T2" fmla="*/ 410 w 106"/>
                <a:gd name="T3" fmla="*/ 0 h 91"/>
                <a:gd name="T4" fmla="*/ 410 w 106"/>
                <a:gd name="T5" fmla="*/ 78 h 91"/>
                <a:gd name="T6" fmla="*/ 210 w 106"/>
                <a:gd name="T7" fmla="*/ 220 h 91"/>
                <a:gd name="T8" fmla="*/ 0 w 106"/>
                <a:gd name="T9" fmla="*/ 220 h 91"/>
                <a:gd name="T10" fmla="*/ 132 w 106"/>
                <a:gd name="T11" fmla="*/ 436 h 91"/>
                <a:gd name="T12" fmla="*/ 277 w 106"/>
                <a:gd name="T13" fmla="*/ 591 h 91"/>
                <a:gd name="T14" fmla="*/ 346 w 106"/>
                <a:gd name="T15" fmla="*/ 725 h 91"/>
                <a:gd name="T16" fmla="*/ 487 w 106"/>
                <a:gd name="T17" fmla="*/ 725 h 91"/>
                <a:gd name="T18" fmla="*/ 624 w 106"/>
                <a:gd name="T19" fmla="*/ 825 h 91"/>
                <a:gd name="T20" fmla="*/ 705 w 106"/>
                <a:gd name="T21" fmla="*/ 825 h 91"/>
                <a:gd name="T22" fmla="*/ 847 w 106"/>
                <a:gd name="T23" fmla="*/ 513 h 91"/>
                <a:gd name="T24" fmla="*/ 921 w 106"/>
                <a:gd name="T25" fmla="*/ 220 h 91"/>
                <a:gd name="T26" fmla="*/ 847 w 106"/>
                <a:gd name="T27" fmla="*/ 78 h 91"/>
                <a:gd name="T28" fmla="*/ 705 w 106"/>
                <a:gd name="T29" fmla="*/ 0 h 91"/>
                <a:gd name="T30" fmla="*/ 564 w 106"/>
                <a:gd name="T31" fmla="*/ 0 h 9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6"/>
                <a:gd name="T49" fmla="*/ 0 h 91"/>
                <a:gd name="T50" fmla="*/ 106 w 106"/>
                <a:gd name="T51" fmla="*/ 91 h 9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6" h="91">
                  <a:moveTo>
                    <a:pt x="65" y="0"/>
                  </a:moveTo>
                  <a:lnTo>
                    <a:pt x="47" y="0"/>
                  </a:lnTo>
                  <a:lnTo>
                    <a:pt x="47" y="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5" y="48"/>
                  </a:lnTo>
                  <a:lnTo>
                    <a:pt x="32" y="65"/>
                  </a:lnTo>
                  <a:lnTo>
                    <a:pt x="40" y="80"/>
                  </a:lnTo>
                  <a:lnTo>
                    <a:pt x="56" y="80"/>
                  </a:lnTo>
                  <a:lnTo>
                    <a:pt x="72" y="90"/>
                  </a:lnTo>
                  <a:lnTo>
                    <a:pt x="81" y="90"/>
                  </a:lnTo>
                  <a:lnTo>
                    <a:pt x="97" y="56"/>
                  </a:lnTo>
                  <a:lnTo>
                    <a:pt x="105" y="24"/>
                  </a:lnTo>
                  <a:lnTo>
                    <a:pt x="97" y="8"/>
                  </a:lnTo>
                  <a:lnTo>
                    <a:pt x="81" y="0"/>
                  </a:lnTo>
                  <a:lnTo>
                    <a:pt x="65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94" name="Freeform 211"/>
            <p:cNvSpPr>
              <a:spLocks/>
            </p:cNvSpPr>
            <p:nvPr/>
          </p:nvSpPr>
          <p:spPr bwMode="auto">
            <a:xfrm>
              <a:off x="3534" y="2932"/>
              <a:ext cx="180" cy="285"/>
            </a:xfrm>
            <a:custGeom>
              <a:avLst/>
              <a:gdLst>
                <a:gd name="T0" fmla="*/ 273 w 138"/>
                <a:gd name="T1" fmla="*/ 1853 h 218"/>
                <a:gd name="T2" fmla="*/ 273 w 138"/>
                <a:gd name="T3" fmla="*/ 1786 h 218"/>
                <a:gd name="T4" fmla="*/ 273 w 138"/>
                <a:gd name="T5" fmla="*/ 1723 h 218"/>
                <a:gd name="T6" fmla="*/ 532 w 138"/>
                <a:gd name="T7" fmla="*/ 1642 h 218"/>
                <a:gd name="T8" fmla="*/ 605 w 138"/>
                <a:gd name="T9" fmla="*/ 1590 h 218"/>
                <a:gd name="T10" fmla="*/ 605 w 138"/>
                <a:gd name="T11" fmla="*/ 1381 h 218"/>
                <a:gd name="T12" fmla="*/ 468 w 138"/>
                <a:gd name="T13" fmla="*/ 1090 h 218"/>
                <a:gd name="T14" fmla="*/ 723 w 138"/>
                <a:gd name="T15" fmla="*/ 824 h 218"/>
                <a:gd name="T16" fmla="*/ 934 w 138"/>
                <a:gd name="T17" fmla="*/ 744 h 218"/>
                <a:gd name="T18" fmla="*/ 1150 w 138"/>
                <a:gd name="T19" fmla="*/ 533 h 218"/>
                <a:gd name="T20" fmla="*/ 1080 w 138"/>
                <a:gd name="T21" fmla="*/ 0 h 218"/>
                <a:gd name="T22" fmla="*/ 934 w 138"/>
                <a:gd name="T23" fmla="*/ 129 h 218"/>
                <a:gd name="T24" fmla="*/ 681 w 138"/>
                <a:gd name="T25" fmla="*/ 129 h 218"/>
                <a:gd name="T26" fmla="*/ 532 w 138"/>
                <a:gd name="T27" fmla="*/ 129 h 218"/>
                <a:gd name="T28" fmla="*/ 468 w 138"/>
                <a:gd name="T29" fmla="*/ 196 h 218"/>
                <a:gd name="T30" fmla="*/ 532 w 138"/>
                <a:gd name="T31" fmla="*/ 340 h 218"/>
                <a:gd name="T32" fmla="*/ 605 w 138"/>
                <a:gd name="T33" fmla="*/ 471 h 218"/>
                <a:gd name="T34" fmla="*/ 605 w 138"/>
                <a:gd name="T35" fmla="*/ 616 h 218"/>
                <a:gd name="T36" fmla="*/ 532 w 138"/>
                <a:gd name="T37" fmla="*/ 744 h 218"/>
                <a:gd name="T38" fmla="*/ 468 w 138"/>
                <a:gd name="T39" fmla="*/ 616 h 218"/>
                <a:gd name="T40" fmla="*/ 468 w 138"/>
                <a:gd name="T41" fmla="*/ 471 h 218"/>
                <a:gd name="T42" fmla="*/ 393 w 138"/>
                <a:gd name="T43" fmla="*/ 471 h 218"/>
                <a:gd name="T44" fmla="*/ 335 w 138"/>
                <a:gd name="T45" fmla="*/ 400 h 218"/>
                <a:gd name="T46" fmla="*/ 0 w 138"/>
                <a:gd name="T47" fmla="*/ 533 h 218"/>
                <a:gd name="T48" fmla="*/ 0 w 138"/>
                <a:gd name="T49" fmla="*/ 616 h 218"/>
                <a:gd name="T50" fmla="*/ 133 w 138"/>
                <a:gd name="T51" fmla="*/ 616 h 218"/>
                <a:gd name="T52" fmla="*/ 273 w 138"/>
                <a:gd name="T53" fmla="*/ 684 h 218"/>
                <a:gd name="T54" fmla="*/ 335 w 138"/>
                <a:gd name="T55" fmla="*/ 824 h 218"/>
                <a:gd name="T56" fmla="*/ 273 w 138"/>
                <a:gd name="T57" fmla="*/ 1090 h 218"/>
                <a:gd name="T58" fmla="*/ 133 w 138"/>
                <a:gd name="T59" fmla="*/ 1381 h 218"/>
                <a:gd name="T60" fmla="*/ 189 w 138"/>
                <a:gd name="T61" fmla="*/ 1786 h 218"/>
                <a:gd name="T62" fmla="*/ 189 w 138"/>
                <a:gd name="T63" fmla="*/ 1853 h 218"/>
                <a:gd name="T64" fmla="*/ 273 w 138"/>
                <a:gd name="T65" fmla="*/ 1853 h 21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"/>
                <a:gd name="T100" fmla="*/ 0 h 218"/>
                <a:gd name="T101" fmla="*/ 138 w 138"/>
                <a:gd name="T102" fmla="*/ 218 h 21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" h="218">
                  <a:moveTo>
                    <a:pt x="32" y="217"/>
                  </a:moveTo>
                  <a:lnTo>
                    <a:pt x="32" y="209"/>
                  </a:lnTo>
                  <a:lnTo>
                    <a:pt x="32" y="202"/>
                  </a:lnTo>
                  <a:lnTo>
                    <a:pt x="64" y="193"/>
                  </a:lnTo>
                  <a:lnTo>
                    <a:pt x="72" y="186"/>
                  </a:lnTo>
                  <a:lnTo>
                    <a:pt x="72" y="162"/>
                  </a:lnTo>
                  <a:lnTo>
                    <a:pt x="56" y="128"/>
                  </a:lnTo>
                  <a:lnTo>
                    <a:pt x="87" y="96"/>
                  </a:lnTo>
                  <a:lnTo>
                    <a:pt x="112" y="87"/>
                  </a:lnTo>
                  <a:lnTo>
                    <a:pt x="137" y="63"/>
                  </a:lnTo>
                  <a:lnTo>
                    <a:pt x="129" y="0"/>
                  </a:lnTo>
                  <a:lnTo>
                    <a:pt x="112" y="15"/>
                  </a:lnTo>
                  <a:lnTo>
                    <a:pt x="81" y="15"/>
                  </a:lnTo>
                  <a:lnTo>
                    <a:pt x="64" y="15"/>
                  </a:lnTo>
                  <a:lnTo>
                    <a:pt x="56" y="23"/>
                  </a:lnTo>
                  <a:lnTo>
                    <a:pt x="64" y="40"/>
                  </a:lnTo>
                  <a:lnTo>
                    <a:pt x="72" y="55"/>
                  </a:lnTo>
                  <a:lnTo>
                    <a:pt x="72" y="72"/>
                  </a:lnTo>
                  <a:lnTo>
                    <a:pt x="64" y="87"/>
                  </a:lnTo>
                  <a:lnTo>
                    <a:pt x="56" y="72"/>
                  </a:lnTo>
                  <a:lnTo>
                    <a:pt x="56" y="55"/>
                  </a:lnTo>
                  <a:lnTo>
                    <a:pt x="47" y="55"/>
                  </a:lnTo>
                  <a:lnTo>
                    <a:pt x="40" y="47"/>
                  </a:lnTo>
                  <a:lnTo>
                    <a:pt x="0" y="63"/>
                  </a:lnTo>
                  <a:lnTo>
                    <a:pt x="0" y="72"/>
                  </a:lnTo>
                  <a:lnTo>
                    <a:pt x="16" y="72"/>
                  </a:lnTo>
                  <a:lnTo>
                    <a:pt x="32" y="80"/>
                  </a:lnTo>
                  <a:lnTo>
                    <a:pt x="40" y="96"/>
                  </a:lnTo>
                  <a:lnTo>
                    <a:pt x="32" y="128"/>
                  </a:lnTo>
                  <a:lnTo>
                    <a:pt x="16" y="162"/>
                  </a:lnTo>
                  <a:lnTo>
                    <a:pt x="22" y="209"/>
                  </a:lnTo>
                  <a:lnTo>
                    <a:pt x="22" y="217"/>
                  </a:lnTo>
                  <a:lnTo>
                    <a:pt x="32" y="21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95" name="Freeform 212"/>
            <p:cNvSpPr>
              <a:spLocks/>
            </p:cNvSpPr>
            <p:nvPr/>
          </p:nvSpPr>
          <p:spPr bwMode="auto">
            <a:xfrm>
              <a:off x="3543" y="3206"/>
              <a:ext cx="23" cy="23"/>
            </a:xfrm>
            <a:custGeom>
              <a:avLst/>
              <a:gdLst>
                <a:gd name="T0" fmla="*/ 183 w 17"/>
                <a:gd name="T1" fmla="*/ 59 h 18"/>
                <a:gd name="T2" fmla="*/ 183 w 17"/>
                <a:gd name="T3" fmla="*/ 0 h 18"/>
                <a:gd name="T4" fmla="*/ 100 w 17"/>
                <a:gd name="T5" fmla="*/ 0 h 18"/>
                <a:gd name="T6" fmla="*/ 0 w 17"/>
                <a:gd name="T7" fmla="*/ 59 h 18"/>
                <a:gd name="T8" fmla="*/ 100 w 17"/>
                <a:gd name="T9" fmla="*/ 123 h 18"/>
                <a:gd name="T10" fmla="*/ 183 w 17"/>
                <a:gd name="T11" fmla="*/ 59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8"/>
                <a:gd name="T20" fmla="*/ 17 w 17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8">
                  <a:moveTo>
                    <a:pt x="16" y="8"/>
                  </a:moveTo>
                  <a:lnTo>
                    <a:pt x="16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16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96" name="Freeform 213"/>
            <p:cNvSpPr>
              <a:spLocks/>
            </p:cNvSpPr>
            <p:nvPr/>
          </p:nvSpPr>
          <p:spPr bwMode="auto">
            <a:xfrm>
              <a:off x="3543" y="3206"/>
              <a:ext cx="23" cy="23"/>
            </a:xfrm>
            <a:custGeom>
              <a:avLst/>
              <a:gdLst>
                <a:gd name="T0" fmla="*/ 183 w 17"/>
                <a:gd name="T1" fmla="*/ 59 h 18"/>
                <a:gd name="T2" fmla="*/ 183 w 17"/>
                <a:gd name="T3" fmla="*/ 0 h 18"/>
                <a:gd name="T4" fmla="*/ 100 w 17"/>
                <a:gd name="T5" fmla="*/ 0 h 18"/>
                <a:gd name="T6" fmla="*/ 0 w 17"/>
                <a:gd name="T7" fmla="*/ 59 h 18"/>
                <a:gd name="T8" fmla="*/ 100 w 17"/>
                <a:gd name="T9" fmla="*/ 123 h 18"/>
                <a:gd name="T10" fmla="*/ 183 w 17"/>
                <a:gd name="T11" fmla="*/ 59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8"/>
                <a:gd name="T20" fmla="*/ 17 w 17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8">
                  <a:moveTo>
                    <a:pt x="16" y="8"/>
                  </a:moveTo>
                  <a:lnTo>
                    <a:pt x="16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16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97" name="Freeform 214"/>
            <p:cNvSpPr>
              <a:spLocks/>
            </p:cNvSpPr>
            <p:nvPr/>
          </p:nvSpPr>
          <p:spPr bwMode="auto">
            <a:xfrm>
              <a:off x="1785" y="3524"/>
              <a:ext cx="23" cy="43"/>
            </a:xfrm>
            <a:custGeom>
              <a:avLst/>
              <a:gdLst>
                <a:gd name="T0" fmla="*/ 68 w 17"/>
                <a:gd name="T1" fmla="*/ 0 h 33"/>
                <a:gd name="T2" fmla="*/ 0 w 17"/>
                <a:gd name="T3" fmla="*/ 190 h 33"/>
                <a:gd name="T4" fmla="*/ 68 w 17"/>
                <a:gd name="T5" fmla="*/ 270 h 33"/>
                <a:gd name="T6" fmla="*/ 183 w 17"/>
                <a:gd name="T7" fmla="*/ 60 h 33"/>
                <a:gd name="T8" fmla="*/ 68 w 17"/>
                <a:gd name="T9" fmla="*/ 0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33"/>
                <a:gd name="T17" fmla="*/ 17 w 17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33">
                  <a:moveTo>
                    <a:pt x="6" y="0"/>
                  </a:moveTo>
                  <a:lnTo>
                    <a:pt x="0" y="23"/>
                  </a:lnTo>
                  <a:lnTo>
                    <a:pt x="6" y="32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98" name="Freeform 215"/>
            <p:cNvSpPr>
              <a:spLocks/>
            </p:cNvSpPr>
            <p:nvPr/>
          </p:nvSpPr>
          <p:spPr bwMode="auto">
            <a:xfrm>
              <a:off x="1721" y="2445"/>
              <a:ext cx="33" cy="22"/>
            </a:xfrm>
            <a:custGeom>
              <a:avLst/>
              <a:gdLst>
                <a:gd name="T0" fmla="*/ 0 w 26"/>
                <a:gd name="T1" fmla="*/ 58 h 17"/>
                <a:gd name="T2" fmla="*/ 107 w 26"/>
                <a:gd name="T3" fmla="*/ 126 h 17"/>
                <a:gd name="T4" fmla="*/ 173 w 26"/>
                <a:gd name="T5" fmla="*/ 58 h 17"/>
                <a:gd name="T6" fmla="*/ 60 w 26"/>
                <a:gd name="T7" fmla="*/ 0 h 17"/>
                <a:gd name="T8" fmla="*/ 0 w 26"/>
                <a:gd name="T9" fmla="*/ 58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7"/>
                <a:gd name="T17" fmla="*/ 26 w 26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7">
                  <a:moveTo>
                    <a:pt x="0" y="7"/>
                  </a:moveTo>
                  <a:lnTo>
                    <a:pt x="16" y="16"/>
                  </a:lnTo>
                  <a:lnTo>
                    <a:pt x="25" y="7"/>
                  </a:lnTo>
                  <a:lnTo>
                    <a:pt x="9" y="0"/>
                  </a:lnTo>
                  <a:lnTo>
                    <a:pt x="0" y="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99" name="Freeform 216"/>
            <p:cNvSpPr>
              <a:spLocks/>
            </p:cNvSpPr>
            <p:nvPr/>
          </p:nvSpPr>
          <p:spPr bwMode="auto">
            <a:xfrm>
              <a:off x="1615" y="2360"/>
              <a:ext cx="171" cy="66"/>
            </a:xfrm>
            <a:custGeom>
              <a:avLst/>
              <a:gdLst>
                <a:gd name="T0" fmla="*/ 0 w 132"/>
                <a:gd name="T1" fmla="*/ 222 h 50"/>
                <a:gd name="T2" fmla="*/ 75 w 132"/>
                <a:gd name="T3" fmla="*/ 222 h 50"/>
                <a:gd name="T4" fmla="*/ 193 w 132"/>
                <a:gd name="T5" fmla="*/ 78 h 50"/>
                <a:gd name="T6" fmla="*/ 324 w 132"/>
                <a:gd name="T7" fmla="*/ 136 h 50"/>
                <a:gd name="T8" fmla="*/ 271 w 132"/>
                <a:gd name="T9" fmla="*/ 136 h 50"/>
                <a:gd name="T10" fmla="*/ 324 w 132"/>
                <a:gd name="T11" fmla="*/ 136 h 50"/>
                <a:gd name="T12" fmla="*/ 589 w 132"/>
                <a:gd name="T13" fmla="*/ 222 h 50"/>
                <a:gd name="T14" fmla="*/ 641 w 132"/>
                <a:gd name="T15" fmla="*/ 368 h 50"/>
                <a:gd name="T16" fmla="*/ 771 w 132"/>
                <a:gd name="T17" fmla="*/ 368 h 50"/>
                <a:gd name="T18" fmla="*/ 718 w 132"/>
                <a:gd name="T19" fmla="*/ 455 h 50"/>
                <a:gd name="T20" fmla="*/ 1039 w 132"/>
                <a:gd name="T21" fmla="*/ 455 h 50"/>
                <a:gd name="T22" fmla="*/ 972 w 132"/>
                <a:gd name="T23" fmla="*/ 368 h 50"/>
                <a:gd name="T24" fmla="*/ 909 w 132"/>
                <a:gd name="T25" fmla="*/ 368 h 50"/>
                <a:gd name="T26" fmla="*/ 909 w 132"/>
                <a:gd name="T27" fmla="*/ 285 h 50"/>
                <a:gd name="T28" fmla="*/ 641 w 132"/>
                <a:gd name="T29" fmla="*/ 136 h 50"/>
                <a:gd name="T30" fmla="*/ 324 w 132"/>
                <a:gd name="T31" fmla="*/ 0 h 50"/>
                <a:gd name="T32" fmla="*/ 126 w 132"/>
                <a:gd name="T33" fmla="*/ 78 h 50"/>
                <a:gd name="T34" fmla="*/ 0 w 132"/>
                <a:gd name="T35" fmla="*/ 222 h 5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2"/>
                <a:gd name="T55" fmla="*/ 0 h 50"/>
                <a:gd name="T56" fmla="*/ 132 w 132"/>
                <a:gd name="T57" fmla="*/ 50 h 5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2" h="50">
                  <a:moveTo>
                    <a:pt x="0" y="24"/>
                  </a:moveTo>
                  <a:lnTo>
                    <a:pt x="9" y="24"/>
                  </a:lnTo>
                  <a:lnTo>
                    <a:pt x="25" y="8"/>
                  </a:lnTo>
                  <a:lnTo>
                    <a:pt x="41" y="15"/>
                  </a:lnTo>
                  <a:lnTo>
                    <a:pt x="34" y="15"/>
                  </a:lnTo>
                  <a:lnTo>
                    <a:pt x="41" y="15"/>
                  </a:lnTo>
                  <a:lnTo>
                    <a:pt x="74" y="24"/>
                  </a:lnTo>
                  <a:lnTo>
                    <a:pt x="81" y="40"/>
                  </a:lnTo>
                  <a:lnTo>
                    <a:pt x="97" y="40"/>
                  </a:lnTo>
                  <a:lnTo>
                    <a:pt x="90" y="49"/>
                  </a:lnTo>
                  <a:lnTo>
                    <a:pt x="131" y="49"/>
                  </a:lnTo>
                  <a:lnTo>
                    <a:pt x="122" y="40"/>
                  </a:lnTo>
                  <a:lnTo>
                    <a:pt x="114" y="40"/>
                  </a:lnTo>
                  <a:lnTo>
                    <a:pt x="114" y="31"/>
                  </a:lnTo>
                  <a:lnTo>
                    <a:pt x="81" y="15"/>
                  </a:lnTo>
                  <a:lnTo>
                    <a:pt x="41" y="0"/>
                  </a:lnTo>
                  <a:lnTo>
                    <a:pt x="16" y="8"/>
                  </a:lnTo>
                  <a:lnTo>
                    <a:pt x="0" y="24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00" name="Freeform 217"/>
            <p:cNvSpPr>
              <a:spLocks/>
            </p:cNvSpPr>
            <p:nvPr/>
          </p:nvSpPr>
          <p:spPr bwMode="auto">
            <a:xfrm>
              <a:off x="1721" y="2327"/>
              <a:ext cx="21" cy="34"/>
            </a:xfrm>
            <a:custGeom>
              <a:avLst/>
              <a:gdLst>
                <a:gd name="T0" fmla="*/ 0 w 17"/>
                <a:gd name="T1" fmla="*/ 0 h 26"/>
                <a:gd name="T2" fmla="*/ 0 w 17"/>
                <a:gd name="T3" fmla="*/ 65 h 26"/>
                <a:gd name="T4" fmla="*/ 89 w 17"/>
                <a:gd name="T5" fmla="*/ 212 h 26"/>
                <a:gd name="T6" fmla="*/ 89 w 17"/>
                <a:gd name="T7" fmla="*/ 65 h 26"/>
                <a:gd name="T8" fmla="*/ 0 w 17"/>
                <a:gd name="T9" fmla="*/ 0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26"/>
                <a:gd name="T17" fmla="*/ 17 w 17"/>
                <a:gd name="T18" fmla="*/ 26 h 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26">
                  <a:moveTo>
                    <a:pt x="0" y="0"/>
                  </a:moveTo>
                  <a:lnTo>
                    <a:pt x="0" y="8"/>
                  </a:lnTo>
                  <a:lnTo>
                    <a:pt x="16" y="25"/>
                  </a:lnTo>
                  <a:lnTo>
                    <a:pt x="16" y="8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01" name="Freeform 218"/>
            <p:cNvSpPr>
              <a:spLocks/>
            </p:cNvSpPr>
            <p:nvPr/>
          </p:nvSpPr>
          <p:spPr bwMode="auto">
            <a:xfrm>
              <a:off x="1574" y="1280"/>
              <a:ext cx="116" cy="118"/>
            </a:xfrm>
            <a:custGeom>
              <a:avLst/>
              <a:gdLst>
                <a:gd name="T0" fmla="*/ 0 w 89"/>
                <a:gd name="T1" fmla="*/ 582 h 91"/>
                <a:gd name="T2" fmla="*/ 125 w 89"/>
                <a:gd name="T3" fmla="*/ 582 h 91"/>
                <a:gd name="T4" fmla="*/ 125 w 89"/>
                <a:gd name="T5" fmla="*/ 721 h 91"/>
                <a:gd name="T6" fmla="*/ 257 w 89"/>
                <a:gd name="T7" fmla="*/ 721 h 91"/>
                <a:gd name="T8" fmla="*/ 392 w 89"/>
                <a:gd name="T9" fmla="*/ 516 h 91"/>
                <a:gd name="T10" fmla="*/ 467 w 89"/>
                <a:gd name="T11" fmla="*/ 516 h 91"/>
                <a:gd name="T12" fmla="*/ 603 w 89"/>
                <a:gd name="T13" fmla="*/ 646 h 91"/>
                <a:gd name="T14" fmla="*/ 735 w 89"/>
                <a:gd name="T15" fmla="*/ 516 h 91"/>
                <a:gd name="T16" fmla="*/ 603 w 89"/>
                <a:gd name="T17" fmla="*/ 516 h 91"/>
                <a:gd name="T18" fmla="*/ 467 w 89"/>
                <a:gd name="T19" fmla="*/ 322 h 91"/>
                <a:gd name="T20" fmla="*/ 257 w 89"/>
                <a:gd name="T21" fmla="*/ 126 h 91"/>
                <a:gd name="T22" fmla="*/ 211 w 89"/>
                <a:gd name="T23" fmla="*/ 0 h 91"/>
                <a:gd name="T24" fmla="*/ 125 w 89"/>
                <a:gd name="T25" fmla="*/ 126 h 91"/>
                <a:gd name="T26" fmla="*/ 50 w 89"/>
                <a:gd name="T27" fmla="*/ 193 h 91"/>
                <a:gd name="T28" fmla="*/ 125 w 89"/>
                <a:gd name="T29" fmla="*/ 516 h 91"/>
                <a:gd name="T30" fmla="*/ 0 w 89"/>
                <a:gd name="T31" fmla="*/ 582 h 9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9"/>
                <a:gd name="T49" fmla="*/ 0 h 91"/>
                <a:gd name="T50" fmla="*/ 89 w 89"/>
                <a:gd name="T51" fmla="*/ 91 h 9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9" h="91">
                  <a:moveTo>
                    <a:pt x="0" y="73"/>
                  </a:moveTo>
                  <a:lnTo>
                    <a:pt x="15" y="73"/>
                  </a:lnTo>
                  <a:lnTo>
                    <a:pt x="15" y="90"/>
                  </a:lnTo>
                  <a:lnTo>
                    <a:pt x="31" y="90"/>
                  </a:lnTo>
                  <a:lnTo>
                    <a:pt x="47" y="65"/>
                  </a:lnTo>
                  <a:lnTo>
                    <a:pt x="56" y="65"/>
                  </a:lnTo>
                  <a:lnTo>
                    <a:pt x="72" y="81"/>
                  </a:lnTo>
                  <a:lnTo>
                    <a:pt x="88" y="65"/>
                  </a:lnTo>
                  <a:lnTo>
                    <a:pt x="72" y="65"/>
                  </a:lnTo>
                  <a:lnTo>
                    <a:pt x="56" y="40"/>
                  </a:lnTo>
                  <a:lnTo>
                    <a:pt x="31" y="16"/>
                  </a:lnTo>
                  <a:lnTo>
                    <a:pt x="25" y="0"/>
                  </a:lnTo>
                  <a:lnTo>
                    <a:pt x="15" y="16"/>
                  </a:lnTo>
                  <a:lnTo>
                    <a:pt x="6" y="25"/>
                  </a:lnTo>
                  <a:lnTo>
                    <a:pt x="15" y="65"/>
                  </a:lnTo>
                  <a:lnTo>
                    <a:pt x="0" y="73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02" name="Freeform 219"/>
            <p:cNvSpPr>
              <a:spLocks/>
            </p:cNvSpPr>
            <p:nvPr/>
          </p:nvSpPr>
          <p:spPr bwMode="auto">
            <a:xfrm>
              <a:off x="1741" y="1185"/>
              <a:ext cx="34" cy="54"/>
            </a:xfrm>
            <a:custGeom>
              <a:avLst/>
              <a:gdLst>
                <a:gd name="T0" fmla="*/ 0 w 26"/>
                <a:gd name="T1" fmla="*/ 225 h 41"/>
                <a:gd name="T2" fmla="*/ 0 w 26"/>
                <a:gd name="T3" fmla="*/ 362 h 41"/>
                <a:gd name="T4" fmla="*/ 145 w 26"/>
                <a:gd name="T5" fmla="*/ 283 h 41"/>
                <a:gd name="T6" fmla="*/ 212 w 26"/>
                <a:gd name="T7" fmla="*/ 225 h 41"/>
                <a:gd name="T8" fmla="*/ 212 w 26"/>
                <a:gd name="T9" fmla="*/ 149 h 41"/>
                <a:gd name="T10" fmla="*/ 212 w 26"/>
                <a:gd name="T11" fmla="*/ 0 h 41"/>
                <a:gd name="T12" fmla="*/ 78 w 26"/>
                <a:gd name="T13" fmla="*/ 0 h 41"/>
                <a:gd name="T14" fmla="*/ 0 w 26"/>
                <a:gd name="T15" fmla="*/ 225 h 4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41"/>
                <a:gd name="T26" fmla="*/ 26 w 26"/>
                <a:gd name="T27" fmla="*/ 41 h 4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41">
                  <a:moveTo>
                    <a:pt x="0" y="25"/>
                  </a:moveTo>
                  <a:lnTo>
                    <a:pt x="0" y="40"/>
                  </a:lnTo>
                  <a:lnTo>
                    <a:pt x="17" y="31"/>
                  </a:lnTo>
                  <a:lnTo>
                    <a:pt x="25" y="25"/>
                  </a:lnTo>
                  <a:lnTo>
                    <a:pt x="25" y="16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03" name="Freeform 220"/>
            <p:cNvSpPr>
              <a:spLocks/>
            </p:cNvSpPr>
            <p:nvPr/>
          </p:nvSpPr>
          <p:spPr bwMode="auto">
            <a:xfrm>
              <a:off x="1678" y="898"/>
              <a:ext cx="76" cy="57"/>
            </a:xfrm>
            <a:custGeom>
              <a:avLst/>
              <a:gdLst>
                <a:gd name="T0" fmla="*/ 0 w 58"/>
                <a:gd name="T1" fmla="*/ 0 h 43"/>
                <a:gd name="T2" fmla="*/ 0 w 58"/>
                <a:gd name="T3" fmla="*/ 163 h 43"/>
                <a:gd name="T4" fmla="*/ 0 w 58"/>
                <a:gd name="T5" fmla="*/ 400 h 43"/>
                <a:gd name="T6" fmla="*/ 216 w 58"/>
                <a:gd name="T7" fmla="*/ 400 h 43"/>
                <a:gd name="T8" fmla="*/ 276 w 58"/>
                <a:gd name="T9" fmla="*/ 400 h 43"/>
                <a:gd name="T10" fmla="*/ 494 w 58"/>
                <a:gd name="T11" fmla="*/ 400 h 43"/>
                <a:gd name="T12" fmla="*/ 494 w 58"/>
                <a:gd name="T13" fmla="*/ 329 h 43"/>
                <a:gd name="T14" fmla="*/ 421 w 58"/>
                <a:gd name="T15" fmla="*/ 86 h 43"/>
                <a:gd name="T16" fmla="*/ 360 w 58"/>
                <a:gd name="T17" fmla="*/ 0 h 43"/>
                <a:gd name="T18" fmla="*/ 148 w 58"/>
                <a:gd name="T19" fmla="*/ 0 h 43"/>
                <a:gd name="T20" fmla="*/ 0 w 58"/>
                <a:gd name="T21" fmla="*/ 0 h 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8"/>
                <a:gd name="T34" fmla="*/ 0 h 43"/>
                <a:gd name="T35" fmla="*/ 58 w 58"/>
                <a:gd name="T36" fmla="*/ 43 h 4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8" h="43">
                  <a:moveTo>
                    <a:pt x="0" y="0"/>
                  </a:moveTo>
                  <a:lnTo>
                    <a:pt x="0" y="17"/>
                  </a:lnTo>
                  <a:lnTo>
                    <a:pt x="0" y="42"/>
                  </a:lnTo>
                  <a:lnTo>
                    <a:pt x="25" y="42"/>
                  </a:lnTo>
                  <a:lnTo>
                    <a:pt x="32" y="42"/>
                  </a:lnTo>
                  <a:lnTo>
                    <a:pt x="57" y="42"/>
                  </a:lnTo>
                  <a:lnTo>
                    <a:pt x="57" y="34"/>
                  </a:lnTo>
                  <a:lnTo>
                    <a:pt x="48" y="9"/>
                  </a:lnTo>
                  <a:lnTo>
                    <a:pt x="41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04" name="Freeform 221"/>
            <p:cNvSpPr>
              <a:spLocks/>
            </p:cNvSpPr>
            <p:nvPr/>
          </p:nvSpPr>
          <p:spPr bwMode="auto">
            <a:xfrm>
              <a:off x="1805" y="0"/>
              <a:ext cx="1029" cy="1515"/>
            </a:xfrm>
            <a:custGeom>
              <a:avLst/>
              <a:gdLst>
                <a:gd name="T0" fmla="*/ 336 w 788"/>
                <a:gd name="T1" fmla="*/ 3976 h 1160"/>
                <a:gd name="T2" fmla="*/ 212 w 788"/>
                <a:gd name="T3" fmla="*/ 4471 h 1160"/>
                <a:gd name="T4" fmla="*/ 483 w 788"/>
                <a:gd name="T5" fmla="*/ 4868 h 1160"/>
                <a:gd name="T6" fmla="*/ 1244 w 788"/>
                <a:gd name="T7" fmla="*/ 4868 h 1160"/>
                <a:gd name="T8" fmla="*/ 1785 w 788"/>
                <a:gd name="T9" fmla="*/ 5562 h 1160"/>
                <a:gd name="T10" fmla="*/ 1866 w 788"/>
                <a:gd name="T11" fmla="*/ 6311 h 1160"/>
                <a:gd name="T12" fmla="*/ 1917 w 788"/>
                <a:gd name="T13" fmla="*/ 6718 h 1160"/>
                <a:gd name="T14" fmla="*/ 2207 w 788"/>
                <a:gd name="T15" fmla="*/ 6782 h 1160"/>
                <a:gd name="T16" fmla="*/ 2070 w 788"/>
                <a:gd name="T17" fmla="*/ 6923 h 1160"/>
                <a:gd name="T18" fmla="*/ 2134 w 788"/>
                <a:gd name="T19" fmla="*/ 7396 h 1160"/>
                <a:gd name="T20" fmla="*/ 2481 w 788"/>
                <a:gd name="T21" fmla="*/ 7396 h 1160"/>
                <a:gd name="T22" fmla="*/ 2134 w 788"/>
                <a:gd name="T23" fmla="*/ 7737 h 1160"/>
                <a:gd name="T24" fmla="*/ 2331 w 788"/>
                <a:gd name="T25" fmla="*/ 8791 h 1160"/>
                <a:gd name="T26" fmla="*/ 2950 w 788"/>
                <a:gd name="T27" fmla="*/ 9608 h 1160"/>
                <a:gd name="T28" fmla="*/ 3366 w 788"/>
                <a:gd name="T29" fmla="*/ 9324 h 1160"/>
                <a:gd name="T30" fmla="*/ 3575 w 788"/>
                <a:gd name="T31" fmla="*/ 8707 h 1160"/>
                <a:gd name="T32" fmla="*/ 3639 w 788"/>
                <a:gd name="T33" fmla="*/ 8432 h 1160"/>
                <a:gd name="T34" fmla="*/ 4536 w 788"/>
                <a:gd name="T35" fmla="*/ 7737 h 1160"/>
                <a:gd name="T36" fmla="*/ 5418 w 788"/>
                <a:gd name="T37" fmla="*/ 7267 h 1160"/>
                <a:gd name="T38" fmla="*/ 5076 w 788"/>
                <a:gd name="T39" fmla="*/ 7139 h 1160"/>
                <a:gd name="T40" fmla="*/ 5142 w 788"/>
                <a:gd name="T41" fmla="*/ 6782 h 1160"/>
                <a:gd name="T42" fmla="*/ 5418 w 788"/>
                <a:gd name="T43" fmla="*/ 7075 h 1160"/>
                <a:gd name="T44" fmla="*/ 5286 w 788"/>
                <a:gd name="T45" fmla="*/ 6311 h 1160"/>
                <a:gd name="T46" fmla="*/ 5418 w 788"/>
                <a:gd name="T47" fmla="*/ 6114 h 1160"/>
                <a:gd name="T48" fmla="*/ 5695 w 788"/>
                <a:gd name="T49" fmla="*/ 5825 h 1160"/>
                <a:gd name="T50" fmla="*/ 5912 w 788"/>
                <a:gd name="T51" fmla="*/ 5497 h 1160"/>
                <a:gd name="T52" fmla="*/ 5772 w 788"/>
                <a:gd name="T53" fmla="*/ 4868 h 1160"/>
                <a:gd name="T54" fmla="*/ 5695 w 788"/>
                <a:gd name="T55" fmla="*/ 4529 h 1160"/>
                <a:gd name="T56" fmla="*/ 5837 w 788"/>
                <a:gd name="T57" fmla="*/ 3976 h 1160"/>
                <a:gd name="T58" fmla="*/ 6246 w 788"/>
                <a:gd name="T59" fmla="*/ 2547 h 1160"/>
                <a:gd name="T60" fmla="*/ 6182 w 788"/>
                <a:gd name="T61" fmla="*/ 1587 h 1160"/>
                <a:gd name="T62" fmla="*/ 5498 w 788"/>
                <a:gd name="T63" fmla="*/ 2135 h 1160"/>
                <a:gd name="T64" fmla="*/ 5631 w 788"/>
                <a:gd name="T65" fmla="*/ 1587 h 1160"/>
                <a:gd name="T66" fmla="*/ 5362 w 788"/>
                <a:gd name="T67" fmla="*/ 1655 h 1160"/>
                <a:gd name="T68" fmla="*/ 4672 w 788"/>
                <a:gd name="T69" fmla="*/ 1377 h 1160"/>
                <a:gd name="T70" fmla="*/ 5575 w 788"/>
                <a:gd name="T71" fmla="*/ 1164 h 1160"/>
                <a:gd name="T72" fmla="*/ 5362 w 788"/>
                <a:gd name="T73" fmla="*/ 631 h 1160"/>
                <a:gd name="T74" fmla="*/ 4048 w 788"/>
                <a:gd name="T75" fmla="*/ 0 h 1160"/>
                <a:gd name="T76" fmla="*/ 2817 w 788"/>
                <a:gd name="T77" fmla="*/ 1102 h 1160"/>
                <a:gd name="T78" fmla="*/ 2070 w 788"/>
                <a:gd name="T79" fmla="*/ 1164 h 1160"/>
                <a:gd name="T80" fmla="*/ 1311 w 788"/>
                <a:gd name="T81" fmla="*/ 1872 h 1160"/>
                <a:gd name="T82" fmla="*/ 693 w 788"/>
                <a:gd name="T83" fmla="*/ 2470 h 1160"/>
                <a:gd name="T84" fmla="*/ 970 w 788"/>
                <a:gd name="T85" fmla="*/ 3033 h 1160"/>
                <a:gd name="T86" fmla="*/ 78 w 788"/>
                <a:gd name="T87" fmla="*/ 3629 h 11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88"/>
                <a:gd name="T133" fmla="*/ 0 h 1160"/>
                <a:gd name="T134" fmla="*/ 788 w 788"/>
                <a:gd name="T135" fmla="*/ 1160 h 116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88" h="1160">
                  <a:moveTo>
                    <a:pt x="0" y="463"/>
                  </a:moveTo>
                  <a:lnTo>
                    <a:pt x="25" y="478"/>
                  </a:lnTo>
                  <a:lnTo>
                    <a:pt x="40" y="470"/>
                  </a:lnTo>
                  <a:lnTo>
                    <a:pt x="40" y="495"/>
                  </a:lnTo>
                  <a:lnTo>
                    <a:pt x="65" y="510"/>
                  </a:lnTo>
                  <a:lnTo>
                    <a:pt x="25" y="528"/>
                  </a:lnTo>
                  <a:lnTo>
                    <a:pt x="57" y="551"/>
                  </a:lnTo>
                  <a:lnTo>
                    <a:pt x="50" y="560"/>
                  </a:lnTo>
                  <a:lnTo>
                    <a:pt x="57" y="575"/>
                  </a:lnTo>
                  <a:lnTo>
                    <a:pt x="90" y="584"/>
                  </a:lnTo>
                  <a:lnTo>
                    <a:pt x="99" y="575"/>
                  </a:lnTo>
                  <a:lnTo>
                    <a:pt x="147" y="575"/>
                  </a:lnTo>
                  <a:lnTo>
                    <a:pt x="196" y="600"/>
                  </a:lnTo>
                  <a:lnTo>
                    <a:pt x="196" y="615"/>
                  </a:lnTo>
                  <a:lnTo>
                    <a:pt x="211" y="657"/>
                  </a:lnTo>
                  <a:lnTo>
                    <a:pt x="211" y="681"/>
                  </a:lnTo>
                  <a:lnTo>
                    <a:pt x="227" y="697"/>
                  </a:lnTo>
                  <a:lnTo>
                    <a:pt x="221" y="746"/>
                  </a:lnTo>
                  <a:lnTo>
                    <a:pt x="227" y="762"/>
                  </a:lnTo>
                  <a:lnTo>
                    <a:pt x="227" y="777"/>
                  </a:lnTo>
                  <a:lnTo>
                    <a:pt x="227" y="794"/>
                  </a:lnTo>
                  <a:lnTo>
                    <a:pt x="244" y="794"/>
                  </a:lnTo>
                  <a:lnTo>
                    <a:pt x="252" y="777"/>
                  </a:lnTo>
                  <a:lnTo>
                    <a:pt x="261" y="802"/>
                  </a:lnTo>
                  <a:lnTo>
                    <a:pt x="276" y="811"/>
                  </a:lnTo>
                  <a:lnTo>
                    <a:pt x="284" y="827"/>
                  </a:lnTo>
                  <a:lnTo>
                    <a:pt x="244" y="818"/>
                  </a:lnTo>
                  <a:lnTo>
                    <a:pt x="236" y="836"/>
                  </a:lnTo>
                  <a:lnTo>
                    <a:pt x="236" y="859"/>
                  </a:lnTo>
                  <a:lnTo>
                    <a:pt x="252" y="874"/>
                  </a:lnTo>
                  <a:lnTo>
                    <a:pt x="268" y="867"/>
                  </a:lnTo>
                  <a:lnTo>
                    <a:pt x="284" y="851"/>
                  </a:lnTo>
                  <a:lnTo>
                    <a:pt x="293" y="874"/>
                  </a:lnTo>
                  <a:lnTo>
                    <a:pt x="284" y="899"/>
                  </a:lnTo>
                  <a:lnTo>
                    <a:pt x="268" y="899"/>
                  </a:lnTo>
                  <a:lnTo>
                    <a:pt x="252" y="914"/>
                  </a:lnTo>
                  <a:lnTo>
                    <a:pt x="252" y="980"/>
                  </a:lnTo>
                  <a:lnTo>
                    <a:pt x="268" y="996"/>
                  </a:lnTo>
                  <a:lnTo>
                    <a:pt x="276" y="1038"/>
                  </a:lnTo>
                  <a:lnTo>
                    <a:pt x="308" y="1119"/>
                  </a:lnTo>
                  <a:lnTo>
                    <a:pt x="324" y="1135"/>
                  </a:lnTo>
                  <a:lnTo>
                    <a:pt x="349" y="1135"/>
                  </a:lnTo>
                  <a:lnTo>
                    <a:pt x="373" y="1159"/>
                  </a:lnTo>
                  <a:lnTo>
                    <a:pt x="383" y="1150"/>
                  </a:lnTo>
                  <a:lnTo>
                    <a:pt x="398" y="1101"/>
                  </a:lnTo>
                  <a:lnTo>
                    <a:pt x="398" y="1085"/>
                  </a:lnTo>
                  <a:lnTo>
                    <a:pt x="414" y="1061"/>
                  </a:lnTo>
                  <a:lnTo>
                    <a:pt x="423" y="1029"/>
                  </a:lnTo>
                  <a:lnTo>
                    <a:pt x="414" y="1013"/>
                  </a:lnTo>
                  <a:lnTo>
                    <a:pt x="423" y="1013"/>
                  </a:lnTo>
                  <a:lnTo>
                    <a:pt x="430" y="996"/>
                  </a:lnTo>
                  <a:lnTo>
                    <a:pt x="463" y="996"/>
                  </a:lnTo>
                  <a:lnTo>
                    <a:pt x="479" y="980"/>
                  </a:lnTo>
                  <a:lnTo>
                    <a:pt x="537" y="914"/>
                  </a:lnTo>
                  <a:lnTo>
                    <a:pt x="553" y="914"/>
                  </a:lnTo>
                  <a:lnTo>
                    <a:pt x="585" y="899"/>
                  </a:lnTo>
                  <a:lnTo>
                    <a:pt x="641" y="859"/>
                  </a:lnTo>
                  <a:lnTo>
                    <a:pt x="650" y="843"/>
                  </a:lnTo>
                  <a:lnTo>
                    <a:pt x="618" y="836"/>
                  </a:lnTo>
                  <a:lnTo>
                    <a:pt x="600" y="843"/>
                  </a:lnTo>
                  <a:lnTo>
                    <a:pt x="600" y="836"/>
                  </a:lnTo>
                  <a:lnTo>
                    <a:pt x="618" y="818"/>
                  </a:lnTo>
                  <a:lnTo>
                    <a:pt x="609" y="802"/>
                  </a:lnTo>
                  <a:lnTo>
                    <a:pt x="625" y="794"/>
                  </a:lnTo>
                  <a:lnTo>
                    <a:pt x="634" y="827"/>
                  </a:lnTo>
                  <a:lnTo>
                    <a:pt x="641" y="836"/>
                  </a:lnTo>
                  <a:lnTo>
                    <a:pt x="659" y="827"/>
                  </a:lnTo>
                  <a:lnTo>
                    <a:pt x="659" y="794"/>
                  </a:lnTo>
                  <a:lnTo>
                    <a:pt x="625" y="746"/>
                  </a:lnTo>
                  <a:lnTo>
                    <a:pt x="659" y="762"/>
                  </a:lnTo>
                  <a:lnTo>
                    <a:pt x="659" y="730"/>
                  </a:lnTo>
                  <a:lnTo>
                    <a:pt x="641" y="722"/>
                  </a:lnTo>
                  <a:lnTo>
                    <a:pt x="666" y="705"/>
                  </a:lnTo>
                  <a:lnTo>
                    <a:pt x="674" y="705"/>
                  </a:lnTo>
                  <a:lnTo>
                    <a:pt x="674" y="688"/>
                  </a:lnTo>
                  <a:lnTo>
                    <a:pt x="666" y="681"/>
                  </a:lnTo>
                  <a:lnTo>
                    <a:pt x="690" y="672"/>
                  </a:lnTo>
                  <a:lnTo>
                    <a:pt x="699" y="649"/>
                  </a:lnTo>
                  <a:lnTo>
                    <a:pt x="682" y="649"/>
                  </a:lnTo>
                  <a:lnTo>
                    <a:pt x="690" y="625"/>
                  </a:lnTo>
                  <a:lnTo>
                    <a:pt x="682" y="575"/>
                  </a:lnTo>
                  <a:lnTo>
                    <a:pt x="666" y="568"/>
                  </a:lnTo>
                  <a:lnTo>
                    <a:pt x="666" y="544"/>
                  </a:lnTo>
                  <a:lnTo>
                    <a:pt x="674" y="535"/>
                  </a:lnTo>
                  <a:lnTo>
                    <a:pt x="699" y="544"/>
                  </a:lnTo>
                  <a:lnTo>
                    <a:pt x="706" y="528"/>
                  </a:lnTo>
                  <a:lnTo>
                    <a:pt x="690" y="470"/>
                  </a:lnTo>
                  <a:lnTo>
                    <a:pt x="690" y="445"/>
                  </a:lnTo>
                  <a:lnTo>
                    <a:pt x="690" y="413"/>
                  </a:lnTo>
                  <a:lnTo>
                    <a:pt x="739" y="301"/>
                  </a:lnTo>
                  <a:lnTo>
                    <a:pt x="787" y="227"/>
                  </a:lnTo>
                  <a:lnTo>
                    <a:pt x="771" y="202"/>
                  </a:lnTo>
                  <a:lnTo>
                    <a:pt x="731" y="187"/>
                  </a:lnTo>
                  <a:lnTo>
                    <a:pt x="706" y="221"/>
                  </a:lnTo>
                  <a:lnTo>
                    <a:pt x="690" y="211"/>
                  </a:lnTo>
                  <a:lnTo>
                    <a:pt x="650" y="252"/>
                  </a:lnTo>
                  <a:lnTo>
                    <a:pt x="618" y="268"/>
                  </a:lnTo>
                  <a:lnTo>
                    <a:pt x="634" y="227"/>
                  </a:lnTo>
                  <a:lnTo>
                    <a:pt x="666" y="187"/>
                  </a:lnTo>
                  <a:lnTo>
                    <a:pt x="659" y="162"/>
                  </a:lnTo>
                  <a:lnTo>
                    <a:pt x="634" y="171"/>
                  </a:lnTo>
                  <a:lnTo>
                    <a:pt x="634" y="196"/>
                  </a:lnTo>
                  <a:lnTo>
                    <a:pt x="618" y="202"/>
                  </a:lnTo>
                  <a:lnTo>
                    <a:pt x="618" y="162"/>
                  </a:lnTo>
                  <a:lnTo>
                    <a:pt x="553" y="162"/>
                  </a:lnTo>
                  <a:lnTo>
                    <a:pt x="577" y="146"/>
                  </a:lnTo>
                  <a:lnTo>
                    <a:pt x="609" y="155"/>
                  </a:lnTo>
                  <a:lnTo>
                    <a:pt x="659" y="137"/>
                  </a:lnTo>
                  <a:lnTo>
                    <a:pt x="682" y="114"/>
                  </a:lnTo>
                  <a:lnTo>
                    <a:pt x="659" y="90"/>
                  </a:lnTo>
                  <a:lnTo>
                    <a:pt x="634" y="74"/>
                  </a:lnTo>
                  <a:lnTo>
                    <a:pt x="618" y="50"/>
                  </a:lnTo>
                  <a:lnTo>
                    <a:pt x="585" y="16"/>
                  </a:lnTo>
                  <a:lnTo>
                    <a:pt x="479" y="0"/>
                  </a:lnTo>
                  <a:lnTo>
                    <a:pt x="373" y="50"/>
                  </a:lnTo>
                  <a:lnTo>
                    <a:pt x="341" y="90"/>
                  </a:lnTo>
                  <a:lnTo>
                    <a:pt x="333" y="130"/>
                  </a:lnTo>
                  <a:lnTo>
                    <a:pt x="293" y="130"/>
                  </a:lnTo>
                  <a:lnTo>
                    <a:pt x="284" y="171"/>
                  </a:lnTo>
                  <a:lnTo>
                    <a:pt x="244" y="137"/>
                  </a:lnTo>
                  <a:lnTo>
                    <a:pt x="179" y="162"/>
                  </a:lnTo>
                  <a:lnTo>
                    <a:pt x="147" y="196"/>
                  </a:lnTo>
                  <a:lnTo>
                    <a:pt x="155" y="221"/>
                  </a:lnTo>
                  <a:lnTo>
                    <a:pt x="147" y="243"/>
                  </a:lnTo>
                  <a:lnTo>
                    <a:pt x="122" y="243"/>
                  </a:lnTo>
                  <a:lnTo>
                    <a:pt x="82" y="292"/>
                  </a:lnTo>
                  <a:lnTo>
                    <a:pt x="74" y="333"/>
                  </a:lnTo>
                  <a:lnTo>
                    <a:pt x="106" y="333"/>
                  </a:lnTo>
                  <a:lnTo>
                    <a:pt x="115" y="358"/>
                  </a:lnTo>
                  <a:lnTo>
                    <a:pt x="99" y="389"/>
                  </a:lnTo>
                  <a:lnTo>
                    <a:pt x="57" y="405"/>
                  </a:lnTo>
                  <a:lnTo>
                    <a:pt x="9" y="429"/>
                  </a:lnTo>
                  <a:lnTo>
                    <a:pt x="0" y="463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05" name="Freeform 222"/>
            <p:cNvSpPr>
              <a:spLocks/>
            </p:cNvSpPr>
            <p:nvPr/>
          </p:nvSpPr>
          <p:spPr bwMode="auto">
            <a:xfrm>
              <a:off x="4687" y="487"/>
              <a:ext cx="98" cy="128"/>
            </a:xfrm>
            <a:custGeom>
              <a:avLst/>
              <a:gdLst>
                <a:gd name="T0" fmla="*/ 0 w 75"/>
                <a:gd name="T1" fmla="*/ 824 h 98"/>
                <a:gd name="T2" fmla="*/ 212 w 75"/>
                <a:gd name="T3" fmla="*/ 765 h 98"/>
                <a:gd name="T4" fmla="*/ 419 w 75"/>
                <a:gd name="T5" fmla="*/ 765 h 98"/>
                <a:gd name="T6" fmla="*/ 634 w 75"/>
                <a:gd name="T7" fmla="*/ 611 h 98"/>
                <a:gd name="T8" fmla="*/ 634 w 75"/>
                <a:gd name="T9" fmla="*/ 340 h 98"/>
                <a:gd name="T10" fmla="*/ 340 w 75"/>
                <a:gd name="T11" fmla="*/ 0 h 98"/>
                <a:gd name="T12" fmla="*/ 212 w 75"/>
                <a:gd name="T13" fmla="*/ 133 h 98"/>
                <a:gd name="T14" fmla="*/ 0 w 75"/>
                <a:gd name="T15" fmla="*/ 824 h 9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5"/>
                <a:gd name="T25" fmla="*/ 0 h 98"/>
                <a:gd name="T26" fmla="*/ 75 w 75"/>
                <a:gd name="T27" fmla="*/ 98 h 9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5" h="98">
                  <a:moveTo>
                    <a:pt x="0" y="97"/>
                  </a:moveTo>
                  <a:lnTo>
                    <a:pt x="25" y="90"/>
                  </a:lnTo>
                  <a:lnTo>
                    <a:pt x="49" y="90"/>
                  </a:lnTo>
                  <a:lnTo>
                    <a:pt x="74" y="72"/>
                  </a:lnTo>
                  <a:lnTo>
                    <a:pt x="74" y="40"/>
                  </a:lnTo>
                  <a:lnTo>
                    <a:pt x="40" y="0"/>
                  </a:lnTo>
                  <a:lnTo>
                    <a:pt x="25" y="16"/>
                  </a:lnTo>
                  <a:lnTo>
                    <a:pt x="0" y="9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06" name="Freeform 223"/>
            <p:cNvSpPr>
              <a:spLocks/>
            </p:cNvSpPr>
            <p:nvPr/>
          </p:nvSpPr>
          <p:spPr bwMode="auto">
            <a:xfrm>
              <a:off x="4550" y="308"/>
              <a:ext cx="160" cy="246"/>
            </a:xfrm>
            <a:custGeom>
              <a:avLst/>
              <a:gdLst>
                <a:gd name="T0" fmla="*/ 0 w 122"/>
                <a:gd name="T1" fmla="*/ 834 h 188"/>
                <a:gd name="T2" fmla="*/ 66 w 122"/>
                <a:gd name="T3" fmla="*/ 1047 h 188"/>
                <a:gd name="T4" fmla="*/ 346 w 122"/>
                <a:gd name="T5" fmla="*/ 1171 h 188"/>
                <a:gd name="T6" fmla="*/ 426 w 122"/>
                <a:gd name="T7" fmla="*/ 1388 h 188"/>
                <a:gd name="T8" fmla="*/ 862 w 122"/>
                <a:gd name="T9" fmla="*/ 1613 h 188"/>
                <a:gd name="T10" fmla="*/ 999 w 122"/>
                <a:gd name="T11" fmla="*/ 1527 h 188"/>
                <a:gd name="T12" fmla="*/ 999 w 122"/>
                <a:gd name="T13" fmla="*/ 1316 h 188"/>
                <a:gd name="T14" fmla="*/ 1062 w 122"/>
                <a:gd name="T15" fmla="*/ 1047 h 188"/>
                <a:gd name="T16" fmla="*/ 921 w 122"/>
                <a:gd name="T17" fmla="*/ 834 h 188"/>
                <a:gd name="T18" fmla="*/ 702 w 122"/>
                <a:gd name="T19" fmla="*/ 750 h 188"/>
                <a:gd name="T20" fmla="*/ 702 w 122"/>
                <a:gd name="T21" fmla="*/ 559 h 188"/>
                <a:gd name="T22" fmla="*/ 702 w 122"/>
                <a:gd name="T23" fmla="*/ 340 h 188"/>
                <a:gd name="T24" fmla="*/ 487 w 122"/>
                <a:gd name="T25" fmla="*/ 0 h 188"/>
                <a:gd name="T26" fmla="*/ 283 w 122"/>
                <a:gd name="T27" fmla="*/ 276 h 188"/>
                <a:gd name="T28" fmla="*/ 216 w 122"/>
                <a:gd name="T29" fmla="*/ 559 h 188"/>
                <a:gd name="T30" fmla="*/ 0 w 122"/>
                <a:gd name="T31" fmla="*/ 834 h 18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2"/>
                <a:gd name="T49" fmla="*/ 0 h 188"/>
                <a:gd name="T50" fmla="*/ 122 w 122"/>
                <a:gd name="T51" fmla="*/ 188 h 18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2" h="188">
                  <a:moveTo>
                    <a:pt x="0" y="97"/>
                  </a:moveTo>
                  <a:lnTo>
                    <a:pt x="8" y="122"/>
                  </a:lnTo>
                  <a:lnTo>
                    <a:pt x="40" y="137"/>
                  </a:lnTo>
                  <a:lnTo>
                    <a:pt x="49" y="162"/>
                  </a:lnTo>
                  <a:lnTo>
                    <a:pt x="98" y="187"/>
                  </a:lnTo>
                  <a:lnTo>
                    <a:pt x="114" y="177"/>
                  </a:lnTo>
                  <a:lnTo>
                    <a:pt x="114" y="153"/>
                  </a:lnTo>
                  <a:lnTo>
                    <a:pt x="121" y="122"/>
                  </a:lnTo>
                  <a:lnTo>
                    <a:pt x="105" y="97"/>
                  </a:lnTo>
                  <a:lnTo>
                    <a:pt x="80" y="88"/>
                  </a:lnTo>
                  <a:lnTo>
                    <a:pt x="80" y="65"/>
                  </a:lnTo>
                  <a:lnTo>
                    <a:pt x="80" y="40"/>
                  </a:lnTo>
                  <a:lnTo>
                    <a:pt x="56" y="0"/>
                  </a:lnTo>
                  <a:lnTo>
                    <a:pt x="33" y="32"/>
                  </a:lnTo>
                  <a:lnTo>
                    <a:pt x="25" y="65"/>
                  </a:lnTo>
                  <a:lnTo>
                    <a:pt x="0" y="9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07" name="Freeform 224"/>
            <p:cNvSpPr>
              <a:spLocks/>
            </p:cNvSpPr>
            <p:nvPr/>
          </p:nvSpPr>
          <p:spPr bwMode="auto">
            <a:xfrm>
              <a:off x="3968" y="288"/>
              <a:ext cx="148" cy="137"/>
            </a:xfrm>
            <a:custGeom>
              <a:avLst/>
              <a:gdLst>
                <a:gd name="T0" fmla="*/ 0 w 114"/>
                <a:gd name="T1" fmla="*/ 937 h 104"/>
                <a:gd name="T2" fmla="*/ 200 w 114"/>
                <a:gd name="T3" fmla="*/ 937 h 104"/>
                <a:gd name="T4" fmla="*/ 332 w 114"/>
                <a:gd name="T5" fmla="*/ 722 h 104"/>
                <a:gd name="T6" fmla="*/ 592 w 114"/>
                <a:gd name="T7" fmla="*/ 788 h 104"/>
                <a:gd name="T8" fmla="*/ 654 w 114"/>
                <a:gd name="T9" fmla="*/ 722 h 104"/>
                <a:gd name="T10" fmla="*/ 654 w 114"/>
                <a:gd name="T11" fmla="*/ 427 h 104"/>
                <a:gd name="T12" fmla="*/ 787 w 114"/>
                <a:gd name="T13" fmla="*/ 427 h 104"/>
                <a:gd name="T14" fmla="*/ 915 w 114"/>
                <a:gd name="T15" fmla="*/ 362 h 104"/>
                <a:gd name="T16" fmla="*/ 857 w 114"/>
                <a:gd name="T17" fmla="*/ 0 h 104"/>
                <a:gd name="T18" fmla="*/ 706 w 114"/>
                <a:gd name="T19" fmla="*/ 199 h 104"/>
                <a:gd name="T20" fmla="*/ 654 w 114"/>
                <a:gd name="T21" fmla="*/ 427 h 104"/>
                <a:gd name="T22" fmla="*/ 383 w 114"/>
                <a:gd name="T23" fmla="*/ 497 h 104"/>
                <a:gd name="T24" fmla="*/ 332 w 114"/>
                <a:gd name="T25" fmla="*/ 722 h 104"/>
                <a:gd name="T26" fmla="*/ 126 w 114"/>
                <a:gd name="T27" fmla="*/ 722 h 104"/>
                <a:gd name="T28" fmla="*/ 0 w 114"/>
                <a:gd name="T29" fmla="*/ 937 h 10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4"/>
                <a:gd name="T46" fmla="*/ 0 h 104"/>
                <a:gd name="T47" fmla="*/ 114 w 114"/>
                <a:gd name="T48" fmla="*/ 104 h 10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4" h="104">
                  <a:moveTo>
                    <a:pt x="0" y="103"/>
                  </a:moveTo>
                  <a:lnTo>
                    <a:pt x="25" y="103"/>
                  </a:lnTo>
                  <a:lnTo>
                    <a:pt x="41" y="80"/>
                  </a:lnTo>
                  <a:lnTo>
                    <a:pt x="73" y="87"/>
                  </a:lnTo>
                  <a:lnTo>
                    <a:pt x="81" y="80"/>
                  </a:lnTo>
                  <a:lnTo>
                    <a:pt x="81" y="47"/>
                  </a:lnTo>
                  <a:lnTo>
                    <a:pt x="97" y="47"/>
                  </a:lnTo>
                  <a:lnTo>
                    <a:pt x="113" y="40"/>
                  </a:lnTo>
                  <a:lnTo>
                    <a:pt x="106" y="0"/>
                  </a:lnTo>
                  <a:lnTo>
                    <a:pt x="88" y="22"/>
                  </a:lnTo>
                  <a:lnTo>
                    <a:pt x="81" y="47"/>
                  </a:lnTo>
                  <a:lnTo>
                    <a:pt x="48" y="55"/>
                  </a:lnTo>
                  <a:lnTo>
                    <a:pt x="41" y="80"/>
                  </a:lnTo>
                  <a:lnTo>
                    <a:pt x="16" y="80"/>
                  </a:lnTo>
                  <a:lnTo>
                    <a:pt x="0" y="103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08" name="Freeform 225"/>
            <p:cNvSpPr>
              <a:spLocks/>
            </p:cNvSpPr>
            <p:nvPr/>
          </p:nvSpPr>
          <p:spPr bwMode="auto">
            <a:xfrm>
              <a:off x="3936" y="256"/>
              <a:ext cx="74" cy="117"/>
            </a:xfrm>
            <a:custGeom>
              <a:avLst/>
              <a:gdLst>
                <a:gd name="T0" fmla="*/ 0 w 57"/>
                <a:gd name="T1" fmla="*/ 710 h 89"/>
                <a:gd name="T2" fmla="*/ 192 w 57"/>
                <a:gd name="T3" fmla="*/ 786 h 89"/>
                <a:gd name="T4" fmla="*/ 456 w 57"/>
                <a:gd name="T5" fmla="*/ 710 h 89"/>
                <a:gd name="T6" fmla="*/ 397 w 57"/>
                <a:gd name="T7" fmla="*/ 577 h 89"/>
                <a:gd name="T8" fmla="*/ 456 w 57"/>
                <a:gd name="T9" fmla="*/ 276 h 89"/>
                <a:gd name="T10" fmla="*/ 456 w 57"/>
                <a:gd name="T11" fmla="*/ 0 h 89"/>
                <a:gd name="T12" fmla="*/ 260 w 57"/>
                <a:gd name="T13" fmla="*/ 225 h 89"/>
                <a:gd name="T14" fmla="*/ 260 w 57"/>
                <a:gd name="T15" fmla="*/ 503 h 89"/>
                <a:gd name="T16" fmla="*/ 58 w 57"/>
                <a:gd name="T17" fmla="*/ 503 h 89"/>
                <a:gd name="T18" fmla="*/ 0 w 57"/>
                <a:gd name="T19" fmla="*/ 710 h 8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7"/>
                <a:gd name="T31" fmla="*/ 0 h 89"/>
                <a:gd name="T32" fmla="*/ 57 w 57"/>
                <a:gd name="T33" fmla="*/ 89 h 8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7" h="89">
                  <a:moveTo>
                    <a:pt x="0" y="80"/>
                  </a:moveTo>
                  <a:lnTo>
                    <a:pt x="24" y="88"/>
                  </a:lnTo>
                  <a:lnTo>
                    <a:pt x="56" y="80"/>
                  </a:lnTo>
                  <a:lnTo>
                    <a:pt x="49" y="65"/>
                  </a:lnTo>
                  <a:lnTo>
                    <a:pt x="56" y="31"/>
                  </a:lnTo>
                  <a:lnTo>
                    <a:pt x="56" y="0"/>
                  </a:lnTo>
                  <a:lnTo>
                    <a:pt x="32" y="25"/>
                  </a:lnTo>
                  <a:lnTo>
                    <a:pt x="32" y="56"/>
                  </a:lnTo>
                  <a:lnTo>
                    <a:pt x="7" y="56"/>
                  </a:lnTo>
                  <a:lnTo>
                    <a:pt x="0" y="8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09" name="Freeform 226"/>
            <p:cNvSpPr>
              <a:spLocks/>
            </p:cNvSpPr>
            <p:nvPr/>
          </p:nvSpPr>
          <p:spPr bwMode="auto">
            <a:xfrm>
              <a:off x="3915" y="393"/>
              <a:ext cx="32" cy="22"/>
            </a:xfrm>
            <a:custGeom>
              <a:avLst/>
              <a:gdLst>
                <a:gd name="T0" fmla="*/ 0 w 24"/>
                <a:gd name="T1" fmla="*/ 126 h 17"/>
                <a:gd name="T2" fmla="*/ 229 w 24"/>
                <a:gd name="T3" fmla="*/ 126 h 17"/>
                <a:gd name="T4" fmla="*/ 155 w 24"/>
                <a:gd name="T5" fmla="*/ 0 h 17"/>
                <a:gd name="T6" fmla="*/ 0 w 24"/>
                <a:gd name="T7" fmla="*/ 126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"/>
                <a:gd name="T13" fmla="*/ 0 h 17"/>
                <a:gd name="T14" fmla="*/ 24 w 24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" h="17">
                  <a:moveTo>
                    <a:pt x="0" y="16"/>
                  </a:moveTo>
                  <a:lnTo>
                    <a:pt x="23" y="16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10" name="Freeform 227"/>
            <p:cNvSpPr>
              <a:spLocks/>
            </p:cNvSpPr>
            <p:nvPr/>
          </p:nvSpPr>
          <p:spPr bwMode="auto">
            <a:xfrm>
              <a:off x="3777" y="350"/>
              <a:ext cx="108" cy="86"/>
            </a:xfrm>
            <a:custGeom>
              <a:avLst/>
              <a:gdLst>
                <a:gd name="T0" fmla="*/ 0 w 83"/>
                <a:gd name="T1" fmla="*/ 197 h 66"/>
                <a:gd name="T2" fmla="*/ 131 w 83"/>
                <a:gd name="T3" fmla="*/ 275 h 66"/>
                <a:gd name="T4" fmla="*/ 269 w 83"/>
                <a:gd name="T5" fmla="*/ 275 h 66"/>
                <a:gd name="T6" fmla="*/ 269 w 83"/>
                <a:gd name="T7" fmla="*/ 466 h 66"/>
                <a:gd name="T8" fmla="*/ 393 w 83"/>
                <a:gd name="T9" fmla="*/ 545 h 66"/>
                <a:gd name="T10" fmla="*/ 535 w 83"/>
                <a:gd name="T11" fmla="*/ 466 h 66"/>
                <a:gd name="T12" fmla="*/ 535 w 83"/>
                <a:gd name="T13" fmla="*/ 335 h 66"/>
                <a:gd name="T14" fmla="*/ 675 w 83"/>
                <a:gd name="T15" fmla="*/ 133 h 66"/>
                <a:gd name="T16" fmla="*/ 592 w 83"/>
                <a:gd name="T17" fmla="*/ 65 h 66"/>
                <a:gd name="T18" fmla="*/ 331 w 83"/>
                <a:gd name="T19" fmla="*/ 197 h 66"/>
                <a:gd name="T20" fmla="*/ 331 w 83"/>
                <a:gd name="T21" fmla="*/ 65 h 66"/>
                <a:gd name="T22" fmla="*/ 269 w 83"/>
                <a:gd name="T23" fmla="*/ 0 h 66"/>
                <a:gd name="T24" fmla="*/ 0 w 83"/>
                <a:gd name="T25" fmla="*/ 197 h 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3"/>
                <a:gd name="T40" fmla="*/ 0 h 66"/>
                <a:gd name="T41" fmla="*/ 83 w 83"/>
                <a:gd name="T42" fmla="*/ 66 h 6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3" h="66">
                  <a:moveTo>
                    <a:pt x="0" y="24"/>
                  </a:moveTo>
                  <a:lnTo>
                    <a:pt x="16" y="33"/>
                  </a:lnTo>
                  <a:lnTo>
                    <a:pt x="32" y="33"/>
                  </a:lnTo>
                  <a:lnTo>
                    <a:pt x="32" y="56"/>
                  </a:lnTo>
                  <a:lnTo>
                    <a:pt x="48" y="65"/>
                  </a:lnTo>
                  <a:lnTo>
                    <a:pt x="65" y="56"/>
                  </a:lnTo>
                  <a:lnTo>
                    <a:pt x="65" y="40"/>
                  </a:lnTo>
                  <a:lnTo>
                    <a:pt x="82" y="16"/>
                  </a:lnTo>
                  <a:lnTo>
                    <a:pt x="72" y="8"/>
                  </a:lnTo>
                  <a:lnTo>
                    <a:pt x="40" y="24"/>
                  </a:lnTo>
                  <a:lnTo>
                    <a:pt x="40" y="8"/>
                  </a:lnTo>
                  <a:lnTo>
                    <a:pt x="32" y="0"/>
                  </a:lnTo>
                  <a:lnTo>
                    <a:pt x="0" y="24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11" name="Freeform 228"/>
            <p:cNvSpPr>
              <a:spLocks/>
            </p:cNvSpPr>
            <p:nvPr/>
          </p:nvSpPr>
          <p:spPr bwMode="auto">
            <a:xfrm>
              <a:off x="3214" y="393"/>
              <a:ext cx="268" cy="340"/>
            </a:xfrm>
            <a:custGeom>
              <a:avLst/>
              <a:gdLst>
                <a:gd name="T0" fmla="*/ 0 w 205"/>
                <a:gd name="T1" fmla="*/ 488 h 260"/>
                <a:gd name="T2" fmla="*/ 78 w 205"/>
                <a:gd name="T3" fmla="*/ 1045 h 260"/>
                <a:gd name="T4" fmla="*/ 212 w 205"/>
                <a:gd name="T5" fmla="*/ 1313 h 260"/>
                <a:gd name="T6" fmla="*/ 424 w 205"/>
                <a:gd name="T7" fmla="*/ 1313 h 260"/>
                <a:gd name="T8" fmla="*/ 277 w 205"/>
                <a:gd name="T9" fmla="*/ 1445 h 260"/>
                <a:gd name="T10" fmla="*/ 356 w 205"/>
                <a:gd name="T11" fmla="*/ 1727 h 260"/>
                <a:gd name="T12" fmla="*/ 638 w 205"/>
                <a:gd name="T13" fmla="*/ 2214 h 260"/>
                <a:gd name="T14" fmla="*/ 909 w 205"/>
                <a:gd name="T15" fmla="*/ 1233 h 260"/>
                <a:gd name="T16" fmla="*/ 979 w 205"/>
                <a:gd name="T17" fmla="*/ 1091 h 260"/>
                <a:gd name="T18" fmla="*/ 1034 w 205"/>
                <a:gd name="T19" fmla="*/ 1313 h 260"/>
                <a:gd name="T20" fmla="*/ 1188 w 205"/>
                <a:gd name="T21" fmla="*/ 1445 h 260"/>
                <a:gd name="T22" fmla="*/ 1034 w 205"/>
                <a:gd name="T23" fmla="*/ 1727 h 260"/>
                <a:gd name="T24" fmla="*/ 1246 w 205"/>
                <a:gd name="T25" fmla="*/ 1788 h 260"/>
                <a:gd name="T26" fmla="*/ 1531 w 205"/>
                <a:gd name="T27" fmla="*/ 1590 h 260"/>
                <a:gd name="T28" fmla="*/ 1322 w 205"/>
                <a:gd name="T29" fmla="*/ 1384 h 260"/>
                <a:gd name="T30" fmla="*/ 1106 w 205"/>
                <a:gd name="T31" fmla="*/ 957 h 260"/>
                <a:gd name="T32" fmla="*/ 909 w 205"/>
                <a:gd name="T33" fmla="*/ 829 h 260"/>
                <a:gd name="T34" fmla="*/ 834 w 205"/>
                <a:gd name="T35" fmla="*/ 488 h 260"/>
                <a:gd name="T36" fmla="*/ 1106 w 205"/>
                <a:gd name="T37" fmla="*/ 696 h 260"/>
                <a:gd name="T38" fmla="*/ 1381 w 205"/>
                <a:gd name="T39" fmla="*/ 829 h 260"/>
                <a:gd name="T40" fmla="*/ 1591 w 205"/>
                <a:gd name="T41" fmla="*/ 617 h 260"/>
                <a:gd name="T42" fmla="*/ 1740 w 205"/>
                <a:gd name="T43" fmla="*/ 340 h 260"/>
                <a:gd name="T44" fmla="*/ 1740 w 205"/>
                <a:gd name="T45" fmla="*/ 196 h 260"/>
                <a:gd name="T46" fmla="*/ 1322 w 205"/>
                <a:gd name="T47" fmla="*/ 0 h 260"/>
                <a:gd name="T48" fmla="*/ 1106 w 205"/>
                <a:gd name="T49" fmla="*/ 196 h 260"/>
                <a:gd name="T50" fmla="*/ 979 w 205"/>
                <a:gd name="T51" fmla="*/ 0 h 260"/>
                <a:gd name="T52" fmla="*/ 769 w 205"/>
                <a:gd name="T53" fmla="*/ 129 h 260"/>
                <a:gd name="T54" fmla="*/ 769 w 205"/>
                <a:gd name="T55" fmla="*/ 340 h 260"/>
                <a:gd name="T56" fmla="*/ 554 w 205"/>
                <a:gd name="T57" fmla="*/ 276 h 260"/>
                <a:gd name="T58" fmla="*/ 494 w 205"/>
                <a:gd name="T59" fmla="*/ 488 h 260"/>
                <a:gd name="T60" fmla="*/ 277 w 205"/>
                <a:gd name="T61" fmla="*/ 409 h 260"/>
                <a:gd name="T62" fmla="*/ 0 w 205"/>
                <a:gd name="T63" fmla="*/ 488 h 2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5"/>
                <a:gd name="T97" fmla="*/ 0 h 260"/>
                <a:gd name="T98" fmla="*/ 205 w 205"/>
                <a:gd name="T99" fmla="*/ 260 h 2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5" h="260">
                  <a:moveTo>
                    <a:pt x="0" y="57"/>
                  </a:moveTo>
                  <a:lnTo>
                    <a:pt x="9" y="122"/>
                  </a:lnTo>
                  <a:lnTo>
                    <a:pt x="25" y="153"/>
                  </a:lnTo>
                  <a:lnTo>
                    <a:pt x="50" y="153"/>
                  </a:lnTo>
                  <a:lnTo>
                    <a:pt x="33" y="169"/>
                  </a:lnTo>
                  <a:lnTo>
                    <a:pt x="41" y="202"/>
                  </a:lnTo>
                  <a:lnTo>
                    <a:pt x="75" y="259"/>
                  </a:lnTo>
                  <a:lnTo>
                    <a:pt x="106" y="144"/>
                  </a:lnTo>
                  <a:lnTo>
                    <a:pt x="115" y="128"/>
                  </a:lnTo>
                  <a:lnTo>
                    <a:pt x="121" y="153"/>
                  </a:lnTo>
                  <a:lnTo>
                    <a:pt x="139" y="169"/>
                  </a:lnTo>
                  <a:lnTo>
                    <a:pt x="121" y="202"/>
                  </a:lnTo>
                  <a:lnTo>
                    <a:pt x="146" y="209"/>
                  </a:lnTo>
                  <a:lnTo>
                    <a:pt x="180" y="186"/>
                  </a:lnTo>
                  <a:lnTo>
                    <a:pt x="155" y="162"/>
                  </a:lnTo>
                  <a:lnTo>
                    <a:pt x="130" y="112"/>
                  </a:lnTo>
                  <a:lnTo>
                    <a:pt x="106" y="97"/>
                  </a:lnTo>
                  <a:lnTo>
                    <a:pt x="98" y="57"/>
                  </a:lnTo>
                  <a:lnTo>
                    <a:pt x="130" y="81"/>
                  </a:lnTo>
                  <a:lnTo>
                    <a:pt x="162" y="97"/>
                  </a:lnTo>
                  <a:lnTo>
                    <a:pt x="187" y="72"/>
                  </a:lnTo>
                  <a:lnTo>
                    <a:pt x="204" y="40"/>
                  </a:lnTo>
                  <a:lnTo>
                    <a:pt x="204" y="23"/>
                  </a:lnTo>
                  <a:lnTo>
                    <a:pt x="155" y="0"/>
                  </a:lnTo>
                  <a:lnTo>
                    <a:pt x="130" y="23"/>
                  </a:lnTo>
                  <a:lnTo>
                    <a:pt x="115" y="0"/>
                  </a:lnTo>
                  <a:lnTo>
                    <a:pt x="90" y="15"/>
                  </a:lnTo>
                  <a:lnTo>
                    <a:pt x="90" y="40"/>
                  </a:lnTo>
                  <a:lnTo>
                    <a:pt x="65" y="32"/>
                  </a:lnTo>
                  <a:lnTo>
                    <a:pt x="58" y="57"/>
                  </a:lnTo>
                  <a:lnTo>
                    <a:pt x="33" y="48"/>
                  </a:lnTo>
                  <a:lnTo>
                    <a:pt x="0" y="5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12" name="Freeform 229"/>
            <p:cNvSpPr>
              <a:spLocks/>
            </p:cNvSpPr>
            <p:nvPr/>
          </p:nvSpPr>
          <p:spPr bwMode="auto">
            <a:xfrm>
              <a:off x="1415" y="795"/>
              <a:ext cx="53" cy="54"/>
            </a:xfrm>
            <a:custGeom>
              <a:avLst/>
              <a:gdLst>
                <a:gd name="T0" fmla="*/ 0 w 41"/>
                <a:gd name="T1" fmla="*/ 209 h 41"/>
                <a:gd name="T2" fmla="*/ 313 w 41"/>
                <a:gd name="T3" fmla="*/ 362 h 41"/>
                <a:gd name="T4" fmla="*/ 313 w 41"/>
                <a:gd name="T5" fmla="*/ 149 h 41"/>
                <a:gd name="T6" fmla="*/ 182 w 41"/>
                <a:gd name="T7" fmla="*/ 0 h 41"/>
                <a:gd name="T8" fmla="*/ 125 w 41"/>
                <a:gd name="T9" fmla="*/ 0 h 41"/>
                <a:gd name="T10" fmla="*/ 0 w 41"/>
                <a:gd name="T11" fmla="*/ 209 h 4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1"/>
                <a:gd name="T19" fmla="*/ 0 h 41"/>
                <a:gd name="T20" fmla="*/ 41 w 41"/>
                <a:gd name="T21" fmla="*/ 41 h 4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1" h="41">
                  <a:moveTo>
                    <a:pt x="0" y="23"/>
                  </a:moveTo>
                  <a:lnTo>
                    <a:pt x="40" y="40"/>
                  </a:lnTo>
                  <a:lnTo>
                    <a:pt x="40" y="16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0" y="23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13" name="Freeform 230"/>
            <p:cNvSpPr>
              <a:spLocks/>
            </p:cNvSpPr>
            <p:nvPr/>
          </p:nvSpPr>
          <p:spPr bwMode="auto">
            <a:xfrm>
              <a:off x="1424" y="689"/>
              <a:ext cx="278" cy="181"/>
            </a:xfrm>
            <a:custGeom>
              <a:avLst/>
              <a:gdLst>
                <a:gd name="T0" fmla="*/ 0 w 212"/>
                <a:gd name="T1" fmla="*/ 0 h 138"/>
                <a:gd name="T2" fmla="*/ 0 w 212"/>
                <a:gd name="T3" fmla="*/ 144 h 138"/>
                <a:gd name="T4" fmla="*/ 132 w 212"/>
                <a:gd name="T5" fmla="*/ 346 h 138"/>
                <a:gd name="T6" fmla="*/ 277 w 212"/>
                <a:gd name="T7" fmla="*/ 346 h 138"/>
                <a:gd name="T8" fmla="*/ 426 w 212"/>
                <a:gd name="T9" fmla="*/ 411 h 138"/>
                <a:gd name="T10" fmla="*/ 426 w 212"/>
                <a:gd name="T11" fmla="*/ 1064 h 138"/>
                <a:gd name="T12" fmla="*/ 1045 w 212"/>
                <a:gd name="T13" fmla="*/ 1204 h 138"/>
                <a:gd name="T14" fmla="*/ 1269 w 212"/>
                <a:gd name="T15" fmla="*/ 1204 h 138"/>
                <a:gd name="T16" fmla="*/ 1407 w 212"/>
                <a:gd name="T17" fmla="*/ 1064 h 138"/>
                <a:gd name="T18" fmla="*/ 1567 w 212"/>
                <a:gd name="T19" fmla="*/ 1131 h 138"/>
                <a:gd name="T20" fmla="*/ 1768 w 212"/>
                <a:gd name="T21" fmla="*/ 1064 h 138"/>
                <a:gd name="T22" fmla="*/ 1845 w 212"/>
                <a:gd name="T23" fmla="*/ 707 h 138"/>
                <a:gd name="T24" fmla="*/ 1630 w 212"/>
                <a:gd name="T25" fmla="*/ 624 h 138"/>
                <a:gd name="T26" fmla="*/ 1269 w 212"/>
                <a:gd name="T27" fmla="*/ 557 h 138"/>
                <a:gd name="T28" fmla="*/ 1045 w 212"/>
                <a:gd name="T29" fmla="*/ 707 h 138"/>
                <a:gd name="T30" fmla="*/ 838 w 212"/>
                <a:gd name="T31" fmla="*/ 624 h 138"/>
                <a:gd name="T32" fmla="*/ 639 w 212"/>
                <a:gd name="T33" fmla="*/ 487 h 138"/>
                <a:gd name="T34" fmla="*/ 702 w 212"/>
                <a:gd name="T35" fmla="*/ 411 h 138"/>
                <a:gd name="T36" fmla="*/ 559 w 212"/>
                <a:gd name="T37" fmla="*/ 198 h 138"/>
                <a:gd name="T38" fmla="*/ 346 w 212"/>
                <a:gd name="T39" fmla="*/ 198 h 138"/>
                <a:gd name="T40" fmla="*/ 210 w 212"/>
                <a:gd name="T41" fmla="*/ 64 h 138"/>
                <a:gd name="T42" fmla="*/ 0 w 212"/>
                <a:gd name="T43" fmla="*/ 0 h 13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12"/>
                <a:gd name="T67" fmla="*/ 0 h 138"/>
                <a:gd name="T68" fmla="*/ 212 w 212"/>
                <a:gd name="T69" fmla="*/ 138 h 13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12" h="138">
                  <a:moveTo>
                    <a:pt x="0" y="0"/>
                  </a:moveTo>
                  <a:lnTo>
                    <a:pt x="0" y="16"/>
                  </a:lnTo>
                  <a:lnTo>
                    <a:pt x="15" y="40"/>
                  </a:lnTo>
                  <a:lnTo>
                    <a:pt x="32" y="40"/>
                  </a:lnTo>
                  <a:lnTo>
                    <a:pt x="49" y="47"/>
                  </a:lnTo>
                  <a:lnTo>
                    <a:pt x="49" y="121"/>
                  </a:lnTo>
                  <a:lnTo>
                    <a:pt x="120" y="137"/>
                  </a:lnTo>
                  <a:lnTo>
                    <a:pt x="145" y="137"/>
                  </a:lnTo>
                  <a:lnTo>
                    <a:pt x="161" y="121"/>
                  </a:lnTo>
                  <a:lnTo>
                    <a:pt x="179" y="129"/>
                  </a:lnTo>
                  <a:lnTo>
                    <a:pt x="202" y="121"/>
                  </a:lnTo>
                  <a:lnTo>
                    <a:pt x="211" y="81"/>
                  </a:lnTo>
                  <a:lnTo>
                    <a:pt x="186" y="72"/>
                  </a:lnTo>
                  <a:lnTo>
                    <a:pt x="145" y="63"/>
                  </a:lnTo>
                  <a:lnTo>
                    <a:pt x="120" y="81"/>
                  </a:lnTo>
                  <a:lnTo>
                    <a:pt x="96" y="72"/>
                  </a:lnTo>
                  <a:lnTo>
                    <a:pt x="73" y="56"/>
                  </a:lnTo>
                  <a:lnTo>
                    <a:pt x="80" y="47"/>
                  </a:lnTo>
                  <a:lnTo>
                    <a:pt x="64" y="23"/>
                  </a:lnTo>
                  <a:lnTo>
                    <a:pt x="40" y="23"/>
                  </a:lnTo>
                  <a:lnTo>
                    <a:pt x="24" y="7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14" name="Freeform 231"/>
            <p:cNvSpPr>
              <a:spLocks/>
            </p:cNvSpPr>
            <p:nvPr/>
          </p:nvSpPr>
          <p:spPr bwMode="auto">
            <a:xfrm>
              <a:off x="1444" y="308"/>
              <a:ext cx="151" cy="298"/>
            </a:xfrm>
            <a:custGeom>
              <a:avLst/>
              <a:gdLst>
                <a:gd name="T0" fmla="*/ 0 w 115"/>
                <a:gd name="T1" fmla="*/ 829 h 228"/>
                <a:gd name="T2" fmla="*/ 219 w 115"/>
                <a:gd name="T3" fmla="*/ 1246 h 228"/>
                <a:gd name="T4" fmla="*/ 150 w 115"/>
                <a:gd name="T5" fmla="*/ 1442 h 228"/>
                <a:gd name="T6" fmla="*/ 150 w 115"/>
                <a:gd name="T7" fmla="*/ 1719 h 228"/>
                <a:gd name="T8" fmla="*/ 302 w 115"/>
                <a:gd name="T9" fmla="*/ 1936 h 228"/>
                <a:gd name="T10" fmla="*/ 651 w 115"/>
                <a:gd name="T11" fmla="*/ 1936 h 228"/>
                <a:gd name="T12" fmla="*/ 876 w 115"/>
                <a:gd name="T13" fmla="*/ 1442 h 228"/>
                <a:gd name="T14" fmla="*/ 1010 w 115"/>
                <a:gd name="T15" fmla="*/ 1302 h 228"/>
                <a:gd name="T16" fmla="*/ 1010 w 115"/>
                <a:gd name="T17" fmla="*/ 1090 h 228"/>
                <a:gd name="T18" fmla="*/ 797 w 115"/>
                <a:gd name="T19" fmla="*/ 1039 h 228"/>
                <a:gd name="T20" fmla="*/ 876 w 115"/>
                <a:gd name="T21" fmla="*/ 748 h 228"/>
                <a:gd name="T22" fmla="*/ 797 w 115"/>
                <a:gd name="T23" fmla="*/ 553 h 228"/>
                <a:gd name="T24" fmla="*/ 512 w 115"/>
                <a:gd name="T25" fmla="*/ 553 h 228"/>
                <a:gd name="T26" fmla="*/ 360 w 115"/>
                <a:gd name="T27" fmla="*/ 340 h 228"/>
                <a:gd name="T28" fmla="*/ 302 w 115"/>
                <a:gd name="T29" fmla="*/ 0 h 228"/>
                <a:gd name="T30" fmla="*/ 150 w 115"/>
                <a:gd name="T31" fmla="*/ 0 h 228"/>
                <a:gd name="T32" fmla="*/ 150 w 115"/>
                <a:gd name="T33" fmla="*/ 340 h 228"/>
                <a:gd name="T34" fmla="*/ 0 w 115"/>
                <a:gd name="T35" fmla="*/ 553 h 228"/>
                <a:gd name="T36" fmla="*/ 0 w 115"/>
                <a:gd name="T37" fmla="*/ 829 h 2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5"/>
                <a:gd name="T58" fmla="*/ 0 h 228"/>
                <a:gd name="T59" fmla="*/ 115 w 115"/>
                <a:gd name="T60" fmla="*/ 228 h 22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5" h="228">
                  <a:moveTo>
                    <a:pt x="0" y="97"/>
                  </a:moveTo>
                  <a:lnTo>
                    <a:pt x="25" y="146"/>
                  </a:lnTo>
                  <a:lnTo>
                    <a:pt x="17" y="169"/>
                  </a:lnTo>
                  <a:lnTo>
                    <a:pt x="17" y="202"/>
                  </a:lnTo>
                  <a:lnTo>
                    <a:pt x="34" y="227"/>
                  </a:lnTo>
                  <a:lnTo>
                    <a:pt x="74" y="227"/>
                  </a:lnTo>
                  <a:lnTo>
                    <a:pt x="99" y="169"/>
                  </a:lnTo>
                  <a:lnTo>
                    <a:pt x="114" y="153"/>
                  </a:lnTo>
                  <a:lnTo>
                    <a:pt x="114" y="128"/>
                  </a:lnTo>
                  <a:lnTo>
                    <a:pt x="90" y="122"/>
                  </a:lnTo>
                  <a:lnTo>
                    <a:pt x="99" y="88"/>
                  </a:lnTo>
                  <a:lnTo>
                    <a:pt x="90" y="65"/>
                  </a:lnTo>
                  <a:lnTo>
                    <a:pt x="58" y="65"/>
                  </a:lnTo>
                  <a:lnTo>
                    <a:pt x="40" y="40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40"/>
                  </a:lnTo>
                  <a:lnTo>
                    <a:pt x="0" y="65"/>
                  </a:lnTo>
                  <a:lnTo>
                    <a:pt x="0" y="9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15" name="Freeform 232"/>
            <p:cNvSpPr>
              <a:spLocks/>
            </p:cNvSpPr>
            <p:nvPr/>
          </p:nvSpPr>
          <p:spPr bwMode="auto">
            <a:xfrm>
              <a:off x="1521" y="85"/>
              <a:ext cx="488" cy="668"/>
            </a:xfrm>
            <a:custGeom>
              <a:avLst/>
              <a:gdLst>
                <a:gd name="T0" fmla="*/ 0 w 374"/>
                <a:gd name="T1" fmla="*/ 1331 h 511"/>
                <a:gd name="T2" fmla="*/ 60 w 374"/>
                <a:gd name="T3" fmla="*/ 1673 h 511"/>
                <a:gd name="T4" fmla="*/ 194 w 374"/>
                <a:gd name="T5" fmla="*/ 1867 h 511"/>
                <a:gd name="T6" fmla="*/ 553 w 374"/>
                <a:gd name="T7" fmla="*/ 1867 h 511"/>
                <a:gd name="T8" fmla="*/ 742 w 374"/>
                <a:gd name="T9" fmla="*/ 1803 h 511"/>
                <a:gd name="T10" fmla="*/ 1357 w 374"/>
                <a:gd name="T11" fmla="*/ 1726 h 511"/>
                <a:gd name="T12" fmla="*/ 1161 w 374"/>
                <a:gd name="T13" fmla="*/ 1867 h 511"/>
                <a:gd name="T14" fmla="*/ 819 w 374"/>
                <a:gd name="T15" fmla="*/ 2014 h 511"/>
                <a:gd name="T16" fmla="*/ 742 w 374"/>
                <a:gd name="T17" fmla="*/ 2140 h 511"/>
                <a:gd name="T18" fmla="*/ 468 w 374"/>
                <a:gd name="T19" fmla="*/ 2014 h 511"/>
                <a:gd name="T20" fmla="*/ 393 w 374"/>
                <a:gd name="T21" fmla="*/ 2357 h 511"/>
                <a:gd name="T22" fmla="*/ 553 w 374"/>
                <a:gd name="T23" fmla="*/ 2499 h 511"/>
                <a:gd name="T24" fmla="*/ 607 w 374"/>
                <a:gd name="T25" fmla="*/ 2969 h 511"/>
                <a:gd name="T26" fmla="*/ 468 w 374"/>
                <a:gd name="T27" fmla="*/ 3054 h 511"/>
                <a:gd name="T28" fmla="*/ 273 w 374"/>
                <a:gd name="T29" fmla="*/ 3394 h 511"/>
                <a:gd name="T30" fmla="*/ 553 w 374"/>
                <a:gd name="T31" fmla="*/ 3454 h 511"/>
                <a:gd name="T32" fmla="*/ 273 w 374"/>
                <a:gd name="T33" fmla="*/ 3526 h 511"/>
                <a:gd name="T34" fmla="*/ 273 w 374"/>
                <a:gd name="T35" fmla="*/ 3737 h 511"/>
                <a:gd name="T36" fmla="*/ 341 w 374"/>
                <a:gd name="T37" fmla="*/ 3800 h 511"/>
                <a:gd name="T38" fmla="*/ 60 w 374"/>
                <a:gd name="T39" fmla="*/ 4009 h 511"/>
                <a:gd name="T40" fmla="*/ 60 w 374"/>
                <a:gd name="T41" fmla="*/ 4222 h 511"/>
                <a:gd name="T42" fmla="*/ 553 w 374"/>
                <a:gd name="T43" fmla="*/ 4289 h 511"/>
                <a:gd name="T44" fmla="*/ 682 w 374"/>
                <a:gd name="T45" fmla="*/ 4222 h 511"/>
                <a:gd name="T46" fmla="*/ 819 w 374"/>
                <a:gd name="T47" fmla="*/ 4289 h 511"/>
                <a:gd name="T48" fmla="*/ 950 w 374"/>
                <a:gd name="T49" fmla="*/ 4222 h 511"/>
                <a:gd name="T50" fmla="*/ 1018 w 374"/>
                <a:gd name="T51" fmla="*/ 4353 h 511"/>
                <a:gd name="T52" fmla="*/ 1229 w 374"/>
                <a:gd name="T53" fmla="*/ 4222 h 511"/>
                <a:gd name="T54" fmla="*/ 1357 w 374"/>
                <a:gd name="T55" fmla="*/ 4009 h 511"/>
                <a:gd name="T56" fmla="*/ 1229 w 374"/>
                <a:gd name="T57" fmla="*/ 3800 h 511"/>
                <a:gd name="T58" fmla="*/ 1357 w 374"/>
                <a:gd name="T59" fmla="*/ 3667 h 511"/>
                <a:gd name="T60" fmla="*/ 1357 w 374"/>
                <a:gd name="T61" fmla="*/ 3454 h 511"/>
                <a:gd name="T62" fmla="*/ 1566 w 374"/>
                <a:gd name="T63" fmla="*/ 3454 h 511"/>
                <a:gd name="T64" fmla="*/ 1759 w 374"/>
                <a:gd name="T65" fmla="*/ 2631 h 511"/>
                <a:gd name="T66" fmla="*/ 2043 w 374"/>
                <a:gd name="T67" fmla="*/ 2499 h 511"/>
                <a:gd name="T68" fmla="*/ 2311 w 374"/>
                <a:gd name="T69" fmla="*/ 1936 h 511"/>
                <a:gd name="T70" fmla="*/ 2804 w 374"/>
                <a:gd name="T71" fmla="*/ 1331 h 511"/>
                <a:gd name="T72" fmla="*/ 2804 w 374"/>
                <a:gd name="T73" fmla="*/ 1169 h 511"/>
                <a:gd name="T74" fmla="*/ 3135 w 374"/>
                <a:gd name="T75" fmla="*/ 769 h 511"/>
                <a:gd name="T76" fmla="*/ 3135 w 374"/>
                <a:gd name="T77" fmla="*/ 554 h 511"/>
                <a:gd name="T78" fmla="*/ 2931 w 374"/>
                <a:gd name="T79" fmla="*/ 488 h 511"/>
                <a:gd name="T80" fmla="*/ 2804 w 374"/>
                <a:gd name="T81" fmla="*/ 212 h 511"/>
                <a:gd name="T82" fmla="*/ 2255 w 374"/>
                <a:gd name="T83" fmla="*/ 0 h 511"/>
                <a:gd name="T84" fmla="*/ 1909 w 374"/>
                <a:gd name="T85" fmla="*/ 0 h 511"/>
                <a:gd name="T86" fmla="*/ 1704 w 374"/>
                <a:gd name="T87" fmla="*/ 78 h 511"/>
                <a:gd name="T88" fmla="*/ 1424 w 374"/>
                <a:gd name="T89" fmla="*/ 0 h 511"/>
                <a:gd name="T90" fmla="*/ 1018 w 374"/>
                <a:gd name="T91" fmla="*/ 145 h 511"/>
                <a:gd name="T92" fmla="*/ 819 w 374"/>
                <a:gd name="T93" fmla="*/ 421 h 511"/>
                <a:gd name="T94" fmla="*/ 393 w 374"/>
                <a:gd name="T95" fmla="*/ 769 h 511"/>
                <a:gd name="T96" fmla="*/ 393 w 374"/>
                <a:gd name="T97" fmla="*/ 961 h 511"/>
                <a:gd name="T98" fmla="*/ 133 w 374"/>
                <a:gd name="T99" fmla="*/ 961 h 511"/>
                <a:gd name="T100" fmla="*/ 0 w 374"/>
                <a:gd name="T101" fmla="*/ 1331 h 51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74"/>
                <a:gd name="T154" fmla="*/ 0 h 511"/>
                <a:gd name="T155" fmla="*/ 374 w 374"/>
                <a:gd name="T156" fmla="*/ 511 h 51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74" h="511">
                  <a:moveTo>
                    <a:pt x="0" y="156"/>
                  </a:moveTo>
                  <a:lnTo>
                    <a:pt x="7" y="196"/>
                  </a:lnTo>
                  <a:lnTo>
                    <a:pt x="23" y="219"/>
                  </a:lnTo>
                  <a:lnTo>
                    <a:pt x="66" y="219"/>
                  </a:lnTo>
                  <a:lnTo>
                    <a:pt x="88" y="211"/>
                  </a:lnTo>
                  <a:lnTo>
                    <a:pt x="162" y="203"/>
                  </a:lnTo>
                  <a:lnTo>
                    <a:pt x="138" y="219"/>
                  </a:lnTo>
                  <a:lnTo>
                    <a:pt x="97" y="236"/>
                  </a:lnTo>
                  <a:lnTo>
                    <a:pt x="88" y="251"/>
                  </a:lnTo>
                  <a:lnTo>
                    <a:pt x="56" y="236"/>
                  </a:lnTo>
                  <a:lnTo>
                    <a:pt x="47" y="276"/>
                  </a:lnTo>
                  <a:lnTo>
                    <a:pt x="66" y="293"/>
                  </a:lnTo>
                  <a:lnTo>
                    <a:pt x="72" y="348"/>
                  </a:lnTo>
                  <a:lnTo>
                    <a:pt x="56" y="358"/>
                  </a:lnTo>
                  <a:lnTo>
                    <a:pt x="32" y="398"/>
                  </a:lnTo>
                  <a:lnTo>
                    <a:pt x="66" y="405"/>
                  </a:lnTo>
                  <a:lnTo>
                    <a:pt x="32" y="413"/>
                  </a:lnTo>
                  <a:lnTo>
                    <a:pt x="32" y="438"/>
                  </a:lnTo>
                  <a:lnTo>
                    <a:pt x="41" y="445"/>
                  </a:lnTo>
                  <a:lnTo>
                    <a:pt x="7" y="470"/>
                  </a:lnTo>
                  <a:lnTo>
                    <a:pt x="7" y="495"/>
                  </a:lnTo>
                  <a:lnTo>
                    <a:pt x="66" y="503"/>
                  </a:lnTo>
                  <a:lnTo>
                    <a:pt x="81" y="495"/>
                  </a:lnTo>
                  <a:lnTo>
                    <a:pt x="97" y="503"/>
                  </a:lnTo>
                  <a:lnTo>
                    <a:pt x="113" y="495"/>
                  </a:lnTo>
                  <a:lnTo>
                    <a:pt x="121" y="510"/>
                  </a:lnTo>
                  <a:lnTo>
                    <a:pt x="146" y="495"/>
                  </a:lnTo>
                  <a:lnTo>
                    <a:pt x="162" y="470"/>
                  </a:lnTo>
                  <a:lnTo>
                    <a:pt x="146" y="445"/>
                  </a:lnTo>
                  <a:lnTo>
                    <a:pt x="162" y="430"/>
                  </a:lnTo>
                  <a:lnTo>
                    <a:pt x="162" y="405"/>
                  </a:lnTo>
                  <a:lnTo>
                    <a:pt x="186" y="405"/>
                  </a:lnTo>
                  <a:lnTo>
                    <a:pt x="209" y="308"/>
                  </a:lnTo>
                  <a:lnTo>
                    <a:pt x="243" y="293"/>
                  </a:lnTo>
                  <a:lnTo>
                    <a:pt x="275" y="227"/>
                  </a:lnTo>
                  <a:lnTo>
                    <a:pt x="333" y="156"/>
                  </a:lnTo>
                  <a:lnTo>
                    <a:pt x="333" y="137"/>
                  </a:lnTo>
                  <a:lnTo>
                    <a:pt x="373" y="90"/>
                  </a:lnTo>
                  <a:lnTo>
                    <a:pt x="373" y="65"/>
                  </a:lnTo>
                  <a:lnTo>
                    <a:pt x="349" y="57"/>
                  </a:lnTo>
                  <a:lnTo>
                    <a:pt x="333" y="25"/>
                  </a:lnTo>
                  <a:lnTo>
                    <a:pt x="268" y="0"/>
                  </a:lnTo>
                  <a:lnTo>
                    <a:pt x="227" y="0"/>
                  </a:lnTo>
                  <a:lnTo>
                    <a:pt x="203" y="9"/>
                  </a:lnTo>
                  <a:lnTo>
                    <a:pt x="169" y="0"/>
                  </a:lnTo>
                  <a:lnTo>
                    <a:pt x="121" y="17"/>
                  </a:lnTo>
                  <a:lnTo>
                    <a:pt x="97" y="49"/>
                  </a:lnTo>
                  <a:lnTo>
                    <a:pt x="47" y="90"/>
                  </a:lnTo>
                  <a:lnTo>
                    <a:pt x="47" y="113"/>
                  </a:lnTo>
                  <a:lnTo>
                    <a:pt x="16" y="113"/>
                  </a:lnTo>
                  <a:lnTo>
                    <a:pt x="0" y="15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16" name="Freeform 233"/>
            <p:cNvSpPr>
              <a:spLocks/>
            </p:cNvSpPr>
            <p:nvPr/>
          </p:nvSpPr>
          <p:spPr bwMode="auto">
            <a:xfrm>
              <a:off x="1254" y="499"/>
              <a:ext cx="182" cy="138"/>
            </a:xfrm>
            <a:custGeom>
              <a:avLst/>
              <a:gdLst>
                <a:gd name="T0" fmla="*/ 0 w 140"/>
                <a:gd name="T1" fmla="*/ 60 h 106"/>
                <a:gd name="T2" fmla="*/ 0 w 140"/>
                <a:gd name="T3" fmla="*/ 190 h 106"/>
                <a:gd name="T4" fmla="*/ 192 w 140"/>
                <a:gd name="T5" fmla="*/ 256 h 106"/>
                <a:gd name="T6" fmla="*/ 146 w 140"/>
                <a:gd name="T7" fmla="*/ 462 h 106"/>
                <a:gd name="T8" fmla="*/ 192 w 140"/>
                <a:gd name="T9" fmla="*/ 594 h 106"/>
                <a:gd name="T10" fmla="*/ 534 w 140"/>
                <a:gd name="T11" fmla="*/ 667 h 106"/>
                <a:gd name="T12" fmla="*/ 676 w 140"/>
                <a:gd name="T13" fmla="*/ 868 h 106"/>
                <a:gd name="T14" fmla="*/ 800 w 140"/>
                <a:gd name="T15" fmla="*/ 730 h 106"/>
                <a:gd name="T16" fmla="*/ 1066 w 140"/>
                <a:gd name="T17" fmla="*/ 730 h 106"/>
                <a:gd name="T18" fmla="*/ 1136 w 140"/>
                <a:gd name="T19" fmla="*/ 594 h 106"/>
                <a:gd name="T20" fmla="*/ 1066 w 140"/>
                <a:gd name="T21" fmla="*/ 462 h 106"/>
                <a:gd name="T22" fmla="*/ 866 w 140"/>
                <a:gd name="T23" fmla="*/ 256 h 106"/>
                <a:gd name="T24" fmla="*/ 800 w 140"/>
                <a:gd name="T25" fmla="*/ 667 h 106"/>
                <a:gd name="T26" fmla="*/ 676 w 140"/>
                <a:gd name="T27" fmla="*/ 667 h 106"/>
                <a:gd name="T28" fmla="*/ 676 w 140"/>
                <a:gd name="T29" fmla="*/ 256 h 106"/>
                <a:gd name="T30" fmla="*/ 534 w 140"/>
                <a:gd name="T31" fmla="*/ 60 h 106"/>
                <a:gd name="T32" fmla="*/ 78 w 140"/>
                <a:gd name="T33" fmla="*/ 0 h 106"/>
                <a:gd name="T34" fmla="*/ 0 w 140"/>
                <a:gd name="T35" fmla="*/ 60 h 10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40"/>
                <a:gd name="T55" fmla="*/ 0 h 106"/>
                <a:gd name="T56" fmla="*/ 140 w 140"/>
                <a:gd name="T57" fmla="*/ 106 h 10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40" h="106">
                  <a:moveTo>
                    <a:pt x="0" y="7"/>
                  </a:moveTo>
                  <a:lnTo>
                    <a:pt x="0" y="23"/>
                  </a:lnTo>
                  <a:lnTo>
                    <a:pt x="24" y="31"/>
                  </a:lnTo>
                  <a:lnTo>
                    <a:pt x="18" y="56"/>
                  </a:lnTo>
                  <a:lnTo>
                    <a:pt x="24" y="72"/>
                  </a:lnTo>
                  <a:lnTo>
                    <a:pt x="65" y="81"/>
                  </a:lnTo>
                  <a:lnTo>
                    <a:pt x="83" y="105"/>
                  </a:lnTo>
                  <a:lnTo>
                    <a:pt x="98" y="88"/>
                  </a:lnTo>
                  <a:lnTo>
                    <a:pt x="131" y="88"/>
                  </a:lnTo>
                  <a:lnTo>
                    <a:pt x="139" y="72"/>
                  </a:lnTo>
                  <a:lnTo>
                    <a:pt x="131" y="56"/>
                  </a:lnTo>
                  <a:lnTo>
                    <a:pt x="106" y="31"/>
                  </a:lnTo>
                  <a:lnTo>
                    <a:pt x="98" y="81"/>
                  </a:lnTo>
                  <a:lnTo>
                    <a:pt x="83" y="81"/>
                  </a:lnTo>
                  <a:lnTo>
                    <a:pt x="83" y="31"/>
                  </a:lnTo>
                  <a:lnTo>
                    <a:pt x="65" y="7"/>
                  </a:lnTo>
                  <a:lnTo>
                    <a:pt x="9" y="0"/>
                  </a:lnTo>
                  <a:lnTo>
                    <a:pt x="0" y="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17" name="Freeform 234"/>
            <p:cNvSpPr>
              <a:spLocks/>
            </p:cNvSpPr>
            <p:nvPr/>
          </p:nvSpPr>
          <p:spPr bwMode="auto">
            <a:xfrm>
              <a:off x="1415" y="624"/>
              <a:ext cx="75" cy="44"/>
            </a:xfrm>
            <a:custGeom>
              <a:avLst/>
              <a:gdLst>
                <a:gd name="T0" fmla="*/ 0 w 58"/>
                <a:gd name="T1" fmla="*/ 87 h 33"/>
                <a:gd name="T2" fmla="*/ 371 w 58"/>
                <a:gd name="T3" fmla="*/ 320 h 33"/>
                <a:gd name="T4" fmla="*/ 449 w 58"/>
                <a:gd name="T5" fmla="*/ 172 h 33"/>
                <a:gd name="T6" fmla="*/ 449 w 58"/>
                <a:gd name="T7" fmla="*/ 0 h 33"/>
                <a:gd name="T8" fmla="*/ 182 w 58"/>
                <a:gd name="T9" fmla="*/ 0 h 33"/>
                <a:gd name="T10" fmla="*/ 0 w 58"/>
                <a:gd name="T11" fmla="*/ 8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8"/>
                <a:gd name="T19" fmla="*/ 0 h 33"/>
                <a:gd name="T20" fmla="*/ 58 w 58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8" h="33">
                  <a:moveTo>
                    <a:pt x="0" y="9"/>
                  </a:moveTo>
                  <a:lnTo>
                    <a:pt x="48" y="32"/>
                  </a:lnTo>
                  <a:lnTo>
                    <a:pt x="57" y="17"/>
                  </a:lnTo>
                  <a:lnTo>
                    <a:pt x="57" y="0"/>
                  </a:lnTo>
                  <a:lnTo>
                    <a:pt x="23" y="0"/>
                  </a:lnTo>
                  <a:lnTo>
                    <a:pt x="0" y="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18" name="Freeform 235"/>
            <p:cNvSpPr>
              <a:spLocks/>
            </p:cNvSpPr>
            <p:nvPr/>
          </p:nvSpPr>
          <p:spPr bwMode="auto">
            <a:xfrm>
              <a:off x="1266" y="636"/>
              <a:ext cx="34" cy="55"/>
            </a:xfrm>
            <a:custGeom>
              <a:avLst/>
              <a:gdLst>
                <a:gd name="T0" fmla="*/ 0 w 26"/>
                <a:gd name="T1" fmla="*/ 0 h 42"/>
                <a:gd name="T2" fmla="*/ 0 w 26"/>
                <a:gd name="T3" fmla="*/ 283 h 42"/>
                <a:gd name="T4" fmla="*/ 212 w 26"/>
                <a:gd name="T5" fmla="*/ 360 h 42"/>
                <a:gd name="T6" fmla="*/ 78 w 26"/>
                <a:gd name="T7" fmla="*/ 0 h 42"/>
                <a:gd name="T8" fmla="*/ 0 w 26"/>
                <a:gd name="T9" fmla="*/ 0 h 4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42"/>
                <a:gd name="T17" fmla="*/ 26 w 26"/>
                <a:gd name="T18" fmla="*/ 42 h 4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42">
                  <a:moveTo>
                    <a:pt x="0" y="0"/>
                  </a:moveTo>
                  <a:lnTo>
                    <a:pt x="0" y="33"/>
                  </a:lnTo>
                  <a:lnTo>
                    <a:pt x="25" y="4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19" name="Freeform 236"/>
            <p:cNvSpPr>
              <a:spLocks/>
            </p:cNvSpPr>
            <p:nvPr/>
          </p:nvSpPr>
          <p:spPr bwMode="auto">
            <a:xfrm>
              <a:off x="1277" y="710"/>
              <a:ext cx="117" cy="117"/>
            </a:xfrm>
            <a:custGeom>
              <a:avLst/>
              <a:gdLst>
                <a:gd name="T0" fmla="*/ 0 w 89"/>
                <a:gd name="T1" fmla="*/ 64 h 89"/>
                <a:gd name="T2" fmla="*/ 216 w 89"/>
                <a:gd name="T3" fmla="*/ 627 h 89"/>
                <a:gd name="T4" fmla="*/ 362 w 89"/>
                <a:gd name="T5" fmla="*/ 503 h 89"/>
                <a:gd name="T6" fmla="*/ 503 w 89"/>
                <a:gd name="T7" fmla="*/ 786 h 89"/>
                <a:gd name="T8" fmla="*/ 710 w 89"/>
                <a:gd name="T9" fmla="*/ 786 h 89"/>
                <a:gd name="T10" fmla="*/ 786 w 89"/>
                <a:gd name="T11" fmla="*/ 577 h 89"/>
                <a:gd name="T12" fmla="*/ 786 w 89"/>
                <a:gd name="T13" fmla="*/ 145 h 89"/>
                <a:gd name="T14" fmla="*/ 627 w 89"/>
                <a:gd name="T15" fmla="*/ 0 h 89"/>
                <a:gd name="T16" fmla="*/ 425 w 89"/>
                <a:gd name="T17" fmla="*/ 0 h 89"/>
                <a:gd name="T18" fmla="*/ 362 w 89"/>
                <a:gd name="T19" fmla="*/ 362 h 89"/>
                <a:gd name="T20" fmla="*/ 145 w 89"/>
                <a:gd name="T21" fmla="*/ 64 h 89"/>
                <a:gd name="T22" fmla="*/ 0 w 89"/>
                <a:gd name="T23" fmla="*/ 64 h 8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9"/>
                <a:gd name="T37" fmla="*/ 0 h 89"/>
                <a:gd name="T38" fmla="*/ 89 w 89"/>
                <a:gd name="T39" fmla="*/ 89 h 8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9" h="89">
                  <a:moveTo>
                    <a:pt x="0" y="7"/>
                  </a:moveTo>
                  <a:lnTo>
                    <a:pt x="24" y="71"/>
                  </a:lnTo>
                  <a:lnTo>
                    <a:pt x="40" y="56"/>
                  </a:lnTo>
                  <a:lnTo>
                    <a:pt x="56" y="88"/>
                  </a:lnTo>
                  <a:lnTo>
                    <a:pt x="80" y="88"/>
                  </a:lnTo>
                  <a:lnTo>
                    <a:pt x="88" y="65"/>
                  </a:lnTo>
                  <a:lnTo>
                    <a:pt x="88" y="16"/>
                  </a:lnTo>
                  <a:lnTo>
                    <a:pt x="71" y="0"/>
                  </a:lnTo>
                  <a:lnTo>
                    <a:pt x="47" y="0"/>
                  </a:lnTo>
                  <a:lnTo>
                    <a:pt x="40" y="40"/>
                  </a:lnTo>
                  <a:lnTo>
                    <a:pt x="16" y="7"/>
                  </a:lnTo>
                  <a:lnTo>
                    <a:pt x="0" y="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20" name="Freeform 237"/>
            <p:cNvSpPr>
              <a:spLocks/>
            </p:cNvSpPr>
            <p:nvPr/>
          </p:nvSpPr>
          <p:spPr bwMode="auto">
            <a:xfrm>
              <a:off x="1127" y="560"/>
              <a:ext cx="88" cy="34"/>
            </a:xfrm>
            <a:custGeom>
              <a:avLst/>
              <a:gdLst>
                <a:gd name="T0" fmla="*/ 0 w 67"/>
                <a:gd name="T1" fmla="*/ 212 h 26"/>
                <a:gd name="T2" fmla="*/ 496 w 67"/>
                <a:gd name="T3" fmla="*/ 212 h 26"/>
                <a:gd name="T4" fmla="*/ 587 w 67"/>
                <a:gd name="T5" fmla="*/ 133 h 26"/>
                <a:gd name="T6" fmla="*/ 363 w 67"/>
                <a:gd name="T7" fmla="*/ 0 h 26"/>
                <a:gd name="T8" fmla="*/ 84 w 67"/>
                <a:gd name="T9" fmla="*/ 78 h 26"/>
                <a:gd name="T10" fmla="*/ 0 w 67"/>
                <a:gd name="T11" fmla="*/ 212 h 2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"/>
                <a:gd name="T19" fmla="*/ 0 h 26"/>
                <a:gd name="T20" fmla="*/ 67 w 67"/>
                <a:gd name="T21" fmla="*/ 26 h 2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" h="26">
                  <a:moveTo>
                    <a:pt x="0" y="25"/>
                  </a:moveTo>
                  <a:lnTo>
                    <a:pt x="56" y="25"/>
                  </a:lnTo>
                  <a:lnTo>
                    <a:pt x="66" y="16"/>
                  </a:lnTo>
                  <a:lnTo>
                    <a:pt x="41" y="0"/>
                  </a:lnTo>
                  <a:lnTo>
                    <a:pt x="9" y="9"/>
                  </a:lnTo>
                  <a:lnTo>
                    <a:pt x="0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21" name="Freeform 238"/>
            <p:cNvSpPr>
              <a:spLocks/>
            </p:cNvSpPr>
            <p:nvPr/>
          </p:nvSpPr>
          <p:spPr bwMode="auto">
            <a:xfrm>
              <a:off x="1096" y="604"/>
              <a:ext cx="32" cy="33"/>
            </a:xfrm>
            <a:custGeom>
              <a:avLst/>
              <a:gdLst>
                <a:gd name="T0" fmla="*/ 0 w 25"/>
                <a:gd name="T1" fmla="*/ 65 h 25"/>
                <a:gd name="T2" fmla="*/ 59 w 25"/>
                <a:gd name="T3" fmla="*/ 222 h 25"/>
                <a:gd name="T4" fmla="*/ 174 w 25"/>
                <a:gd name="T5" fmla="*/ 222 h 25"/>
                <a:gd name="T6" fmla="*/ 113 w 25"/>
                <a:gd name="T7" fmla="*/ 0 h 25"/>
                <a:gd name="T8" fmla="*/ 0 w 25"/>
                <a:gd name="T9" fmla="*/ 65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5"/>
                <a:gd name="T16" fmla="*/ 0 h 25"/>
                <a:gd name="T17" fmla="*/ 25 w 25"/>
                <a:gd name="T18" fmla="*/ 25 h 2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5" h="25">
                  <a:moveTo>
                    <a:pt x="0" y="7"/>
                  </a:moveTo>
                  <a:lnTo>
                    <a:pt x="8" y="24"/>
                  </a:lnTo>
                  <a:lnTo>
                    <a:pt x="24" y="24"/>
                  </a:lnTo>
                  <a:lnTo>
                    <a:pt x="16" y="0"/>
                  </a:lnTo>
                  <a:lnTo>
                    <a:pt x="0" y="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22" name="Freeform 239"/>
            <p:cNvSpPr>
              <a:spLocks/>
            </p:cNvSpPr>
            <p:nvPr/>
          </p:nvSpPr>
          <p:spPr bwMode="auto">
            <a:xfrm>
              <a:off x="1127" y="614"/>
              <a:ext cx="66" cy="54"/>
            </a:xfrm>
            <a:custGeom>
              <a:avLst/>
              <a:gdLst>
                <a:gd name="T0" fmla="*/ 0 w 50"/>
                <a:gd name="T1" fmla="*/ 151 h 41"/>
                <a:gd name="T2" fmla="*/ 86 w 50"/>
                <a:gd name="T3" fmla="*/ 296 h 41"/>
                <a:gd name="T4" fmla="*/ 222 w 50"/>
                <a:gd name="T5" fmla="*/ 362 h 41"/>
                <a:gd name="T6" fmla="*/ 455 w 50"/>
                <a:gd name="T7" fmla="*/ 225 h 41"/>
                <a:gd name="T8" fmla="*/ 455 w 50"/>
                <a:gd name="T9" fmla="*/ 0 h 41"/>
                <a:gd name="T10" fmla="*/ 0 w 50"/>
                <a:gd name="T11" fmla="*/ 151 h 4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0"/>
                <a:gd name="T19" fmla="*/ 0 h 41"/>
                <a:gd name="T20" fmla="*/ 50 w 50"/>
                <a:gd name="T21" fmla="*/ 41 h 4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0" h="41">
                  <a:moveTo>
                    <a:pt x="0" y="17"/>
                  </a:moveTo>
                  <a:lnTo>
                    <a:pt x="9" y="33"/>
                  </a:lnTo>
                  <a:lnTo>
                    <a:pt x="24" y="40"/>
                  </a:lnTo>
                  <a:lnTo>
                    <a:pt x="49" y="25"/>
                  </a:lnTo>
                  <a:lnTo>
                    <a:pt x="49" y="0"/>
                  </a:lnTo>
                  <a:lnTo>
                    <a:pt x="0" y="1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23" name="Freeform 240"/>
            <p:cNvSpPr>
              <a:spLocks/>
            </p:cNvSpPr>
            <p:nvPr/>
          </p:nvSpPr>
          <p:spPr bwMode="auto">
            <a:xfrm>
              <a:off x="957" y="647"/>
              <a:ext cx="140" cy="127"/>
            </a:xfrm>
            <a:custGeom>
              <a:avLst/>
              <a:gdLst>
                <a:gd name="T0" fmla="*/ 0 w 107"/>
                <a:gd name="T1" fmla="*/ 636 h 97"/>
                <a:gd name="T2" fmla="*/ 79 w 107"/>
                <a:gd name="T3" fmla="*/ 833 h 97"/>
                <a:gd name="T4" fmla="*/ 340 w 107"/>
                <a:gd name="T5" fmla="*/ 833 h 97"/>
                <a:gd name="T6" fmla="*/ 559 w 107"/>
                <a:gd name="T7" fmla="*/ 559 h 97"/>
                <a:gd name="T8" fmla="*/ 697 w 107"/>
                <a:gd name="T9" fmla="*/ 636 h 97"/>
                <a:gd name="T10" fmla="*/ 849 w 107"/>
                <a:gd name="T11" fmla="*/ 423 h 97"/>
                <a:gd name="T12" fmla="*/ 849 w 107"/>
                <a:gd name="T13" fmla="*/ 283 h 97"/>
                <a:gd name="T14" fmla="*/ 912 w 107"/>
                <a:gd name="T15" fmla="*/ 132 h 97"/>
                <a:gd name="T16" fmla="*/ 771 w 107"/>
                <a:gd name="T17" fmla="*/ 0 h 97"/>
                <a:gd name="T18" fmla="*/ 697 w 107"/>
                <a:gd name="T19" fmla="*/ 132 h 97"/>
                <a:gd name="T20" fmla="*/ 496 w 107"/>
                <a:gd name="T21" fmla="*/ 132 h 97"/>
                <a:gd name="T22" fmla="*/ 0 w 107"/>
                <a:gd name="T23" fmla="*/ 636 h 9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7"/>
                <a:gd name="T37" fmla="*/ 0 h 97"/>
                <a:gd name="T38" fmla="*/ 107 w 107"/>
                <a:gd name="T39" fmla="*/ 97 h 9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7" h="97">
                  <a:moveTo>
                    <a:pt x="0" y="73"/>
                  </a:moveTo>
                  <a:lnTo>
                    <a:pt x="9" y="96"/>
                  </a:lnTo>
                  <a:lnTo>
                    <a:pt x="40" y="96"/>
                  </a:lnTo>
                  <a:lnTo>
                    <a:pt x="65" y="65"/>
                  </a:lnTo>
                  <a:lnTo>
                    <a:pt x="81" y="73"/>
                  </a:lnTo>
                  <a:lnTo>
                    <a:pt x="99" y="49"/>
                  </a:lnTo>
                  <a:lnTo>
                    <a:pt x="99" y="33"/>
                  </a:lnTo>
                  <a:lnTo>
                    <a:pt x="106" y="15"/>
                  </a:lnTo>
                  <a:lnTo>
                    <a:pt x="90" y="0"/>
                  </a:lnTo>
                  <a:lnTo>
                    <a:pt x="81" y="15"/>
                  </a:lnTo>
                  <a:lnTo>
                    <a:pt x="58" y="15"/>
                  </a:lnTo>
                  <a:lnTo>
                    <a:pt x="0" y="73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24" name="Freeform 241"/>
            <p:cNvSpPr>
              <a:spLocks/>
            </p:cNvSpPr>
            <p:nvPr/>
          </p:nvSpPr>
          <p:spPr bwMode="auto">
            <a:xfrm>
              <a:off x="1063" y="710"/>
              <a:ext cx="204" cy="160"/>
            </a:xfrm>
            <a:custGeom>
              <a:avLst/>
              <a:gdLst>
                <a:gd name="T0" fmla="*/ 0 w 156"/>
                <a:gd name="T1" fmla="*/ 706 h 122"/>
                <a:gd name="T2" fmla="*/ 277 w 156"/>
                <a:gd name="T3" fmla="*/ 769 h 122"/>
                <a:gd name="T4" fmla="*/ 357 w 156"/>
                <a:gd name="T5" fmla="*/ 706 h 122"/>
                <a:gd name="T6" fmla="*/ 494 w 156"/>
                <a:gd name="T7" fmla="*/ 838 h 122"/>
                <a:gd name="T8" fmla="*/ 357 w 156"/>
                <a:gd name="T9" fmla="*/ 921 h 122"/>
                <a:gd name="T10" fmla="*/ 421 w 156"/>
                <a:gd name="T11" fmla="*/ 985 h 122"/>
                <a:gd name="T12" fmla="*/ 554 w 156"/>
                <a:gd name="T13" fmla="*/ 1062 h 122"/>
                <a:gd name="T14" fmla="*/ 894 w 156"/>
                <a:gd name="T15" fmla="*/ 769 h 122"/>
                <a:gd name="T16" fmla="*/ 1251 w 156"/>
                <a:gd name="T17" fmla="*/ 769 h 122"/>
                <a:gd name="T18" fmla="*/ 1329 w 156"/>
                <a:gd name="T19" fmla="*/ 410 h 122"/>
                <a:gd name="T20" fmla="*/ 979 w 156"/>
                <a:gd name="T21" fmla="*/ 210 h 122"/>
                <a:gd name="T22" fmla="*/ 894 w 156"/>
                <a:gd name="T23" fmla="*/ 0 h 122"/>
                <a:gd name="T24" fmla="*/ 769 w 156"/>
                <a:gd name="T25" fmla="*/ 210 h 122"/>
                <a:gd name="T26" fmla="*/ 834 w 156"/>
                <a:gd name="T27" fmla="*/ 275 h 122"/>
                <a:gd name="T28" fmla="*/ 834 w 156"/>
                <a:gd name="T29" fmla="*/ 410 h 122"/>
                <a:gd name="T30" fmla="*/ 894 w 156"/>
                <a:gd name="T31" fmla="*/ 564 h 122"/>
                <a:gd name="T32" fmla="*/ 696 w 156"/>
                <a:gd name="T33" fmla="*/ 564 h 122"/>
                <a:gd name="T34" fmla="*/ 554 w 156"/>
                <a:gd name="T35" fmla="*/ 275 h 122"/>
                <a:gd name="T36" fmla="*/ 212 w 156"/>
                <a:gd name="T37" fmla="*/ 144 h 122"/>
                <a:gd name="T38" fmla="*/ 0 w 156"/>
                <a:gd name="T39" fmla="*/ 706 h 12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56"/>
                <a:gd name="T61" fmla="*/ 0 h 122"/>
                <a:gd name="T62" fmla="*/ 156 w 156"/>
                <a:gd name="T63" fmla="*/ 122 h 12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56" h="122">
                  <a:moveTo>
                    <a:pt x="0" y="81"/>
                  </a:moveTo>
                  <a:lnTo>
                    <a:pt x="33" y="88"/>
                  </a:lnTo>
                  <a:lnTo>
                    <a:pt x="41" y="81"/>
                  </a:lnTo>
                  <a:lnTo>
                    <a:pt x="58" y="96"/>
                  </a:lnTo>
                  <a:lnTo>
                    <a:pt x="41" y="105"/>
                  </a:lnTo>
                  <a:lnTo>
                    <a:pt x="49" y="113"/>
                  </a:lnTo>
                  <a:lnTo>
                    <a:pt x="65" y="121"/>
                  </a:lnTo>
                  <a:lnTo>
                    <a:pt x="105" y="88"/>
                  </a:lnTo>
                  <a:lnTo>
                    <a:pt x="146" y="88"/>
                  </a:lnTo>
                  <a:lnTo>
                    <a:pt x="155" y="47"/>
                  </a:lnTo>
                  <a:lnTo>
                    <a:pt x="115" y="24"/>
                  </a:lnTo>
                  <a:lnTo>
                    <a:pt x="105" y="0"/>
                  </a:lnTo>
                  <a:lnTo>
                    <a:pt x="90" y="24"/>
                  </a:lnTo>
                  <a:lnTo>
                    <a:pt x="98" y="31"/>
                  </a:lnTo>
                  <a:lnTo>
                    <a:pt x="98" y="47"/>
                  </a:lnTo>
                  <a:lnTo>
                    <a:pt x="105" y="65"/>
                  </a:lnTo>
                  <a:lnTo>
                    <a:pt x="81" y="65"/>
                  </a:lnTo>
                  <a:lnTo>
                    <a:pt x="65" y="31"/>
                  </a:lnTo>
                  <a:lnTo>
                    <a:pt x="25" y="16"/>
                  </a:lnTo>
                  <a:lnTo>
                    <a:pt x="0" y="81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25" name="Freeform 242"/>
            <p:cNvSpPr>
              <a:spLocks/>
            </p:cNvSpPr>
            <p:nvPr/>
          </p:nvSpPr>
          <p:spPr bwMode="auto">
            <a:xfrm>
              <a:off x="1309" y="877"/>
              <a:ext cx="118" cy="161"/>
            </a:xfrm>
            <a:custGeom>
              <a:avLst/>
              <a:gdLst>
                <a:gd name="T0" fmla="*/ 0 w 90"/>
                <a:gd name="T1" fmla="*/ 500 h 123"/>
                <a:gd name="T2" fmla="*/ 144 w 90"/>
                <a:gd name="T3" fmla="*/ 776 h 123"/>
                <a:gd name="T4" fmla="*/ 198 w 90"/>
                <a:gd name="T5" fmla="*/ 776 h 123"/>
                <a:gd name="T6" fmla="*/ 410 w 90"/>
                <a:gd name="T7" fmla="*/ 1054 h 123"/>
                <a:gd name="T8" fmla="*/ 559 w 90"/>
                <a:gd name="T9" fmla="*/ 980 h 123"/>
                <a:gd name="T10" fmla="*/ 705 w 90"/>
                <a:gd name="T11" fmla="*/ 899 h 123"/>
                <a:gd name="T12" fmla="*/ 780 w 90"/>
                <a:gd name="T13" fmla="*/ 699 h 123"/>
                <a:gd name="T14" fmla="*/ 705 w 90"/>
                <a:gd name="T15" fmla="*/ 500 h 123"/>
                <a:gd name="T16" fmla="*/ 559 w 90"/>
                <a:gd name="T17" fmla="*/ 427 h 123"/>
                <a:gd name="T18" fmla="*/ 624 w 90"/>
                <a:gd name="T19" fmla="*/ 216 h 123"/>
                <a:gd name="T20" fmla="*/ 559 w 90"/>
                <a:gd name="T21" fmla="*/ 0 h 123"/>
                <a:gd name="T22" fmla="*/ 486 w 90"/>
                <a:gd name="T23" fmla="*/ 135 h 123"/>
                <a:gd name="T24" fmla="*/ 277 w 90"/>
                <a:gd name="T25" fmla="*/ 79 h 123"/>
                <a:gd name="T26" fmla="*/ 198 w 90"/>
                <a:gd name="T27" fmla="*/ 135 h 123"/>
                <a:gd name="T28" fmla="*/ 144 w 90"/>
                <a:gd name="T29" fmla="*/ 283 h 123"/>
                <a:gd name="T30" fmla="*/ 277 w 90"/>
                <a:gd name="T31" fmla="*/ 427 h 123"/>
                <a:gd name="T32" fmla="*/ 144 w 90"/>
                <a:gd name="T33" fmla="*/ 427 h 123"/>
                <a:gd name="T34" fmla="*/ 0 w 90"/>
                <a:gd name="T35" fmla="*/ 500 h 12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90"/>
                <a:gd name="T55" fmla="*/ 0 h 123"/>
                <a:gd name="T56" fmla="*/ 90 w 90"/>
                <a:gd name="T57" fmla="*/ 123 h 12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90" h="123">
                  <a:moveTo>
                    <a:pt x="0" y="58"/>
                  </a:moveTo>
                  <a:lnTo>
                    <a:pt x="16" y="90"/>
                  </a:lnTo>
                  <a:lnTo>
                    <a:pt x="23" y="90"/>
                  </a:lnTo>
                  <a:lnTo>
                    <a:pt x="47" y="122"/>
                  </a:lnTo>
                  <a:lnTo>
                    <a:pt x="64" y="114"/>
                  </a:lnTo>
                  <a:lnTo>
                    <a:pt x="81" y="105"/>
                  </a:lnTo>
                  <a:lnTo>
                    <a:pt x="89" y="81"/>
                  </a:lnTo>
                  <a:lnTo>
                    <a:pt x="81" y="58"/>
                  </a:lnTo>
                  <a:lnTo>
                    <a:pt x="64" y="50"/>
                  </a:lnTo>
                  <a:lnTo>
                    <a:pt x="72" y="25"/>
                  </a:lnTo>
                  <a:lnTo>
                    <a:pt x="64" y="0"/>
                  </a:lnTo>
                  <a:lnTo>
                    <a:pt x="56" y="16"/>
                  </a:lnTo>
                  <a:lnTo>
                    <a:pt x="32" y="9"/>
                  </a:lnTo>
                  <a:lnTo>
                    <a:pt x="23" y="16"/>
                  </a:lnTo>
                  <a:lnTo>
                    <a:pt x="16" y="33"/>
                  </a:lnTo>
                  <a:lnTo>
                    <a:pt x="32" y="50"/>
                  </a:lnTo>
                  <a:lnTo>
                    <a:pt x="16" y="50"/>
                  </a:lnTo>
                  <a:lnTo>
                    <a:pt x="0" y="5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26" name="Freeform 243"/>
            <p:cNvSpPr>
              <a:spLocks/>
            </p:cNvSpPr>
            <p:nvPr/>
          </p:nvSpPr>
          <p:spPr bwMode="auto">
            <a:xfrm>
              <a:off x="936" y="858"/>
              <a:ext cx="172" cy="191"/>
            </a:xfrm>
            <a:custGeom>
              <a:avLst/>
              <a:gdLst>
                <a:gd name="T0" fmla="*/ 0 w 131"/>
                <a:gd name="T1" fmla="*/ 895 h 146"/>
                <a:gd name="T2" fmla="*/ 144 w 131"/>
                <a:gd name="T3" fmla="*/ 1109 h 146"/>
                <a:gd name="T4" fmla="*/ 219 w 131"/>
                <a:gd name="T5" fmla="*/ 1248 h 146"/>
                <a:gd name="T6" fmla="*/ 496 w 131"/>
                <a:gd name="T7" fmla="*/ 1171 h 146"/>
                <a:gd name="T8" fmla="*/ 651 w 131"/>
                <a:gd name="T9" fmla="*/ 979 h 146"/>
                <a:gd name="T10" fmla="*/ 651 w 131"/>
                <a:gd name="T11" fmla="*/ 761 h 146"/>
                <a:gd name="T12" fmla="*/ 1150 w 131"/>
                <a:gd name="T13" fmla="*/ 409 h 146"/>
                <a:gd name="T14" fmla="*/ 1014 w 131"/>
                <a:gd name="T15" fmla="*/ 273 h 146"/>
                <a:gd name="T16" fmla="*/ 855 w 131"/>
                <a:gd name="T17" fmla="*/ 130 h 146"/>
                <a:gd name="T18" fmla="*/ 651 w 131"/>
                <a:gd name="T19" fmla="*/ 130 h 146"/>
                <a:gd name="T20" fmla="*/ 446 w 131"/>
                <a:gd name="T21" fmla="*/ 0 h 146"/>
                <a:gd name="T22" fmla="*/ 84 w 131"/>
                <a:gd name="T23" fmla="*/ 209 h 146"/>
                <a:gd name="T24" fmla="*/ 144 w 131"/>
                <a:gd name="T25" fmla="*/ 409 h 146"/>
                <a:gd name="T26" fmla="*/ 144 w 131"/>
                <a:gd name="T27" fmla="*/ 633 h 146"/>
                <a:gd name="T28" fmla="*/ 0 w 131"/>
                <a:gd name="T29" fmla="*/ 895 h 1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1"/>
                <a:gd name="T46" fmla="*/ 0 h 146"/>
                <a:gd name="T47" fmla="*/ 131 w 131"/>
                <a:gd name="T48" fmla="*/ 146 h 1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1" h="146">
                  <a:moveTo>
                    <a:pt x="0" y="105"/>
                  </a:moveTo>
                  <a:lnTo>
                    <a:pt x="16" y="129"/>
                  </a:lnTo>
                  <a:lnTo>
                    <a:pt x="25" y="145"/>
                  </a:lnTo>
                  <a:lnTo>
                    <a:pt x="56" y="137"/>
                  </a:lnTo>
                  <a:lnTo>
                    <a:pt x="74" y="114"/>
                  </a:lnTo>
                  <a:lnTo>
                    <a:pt x="74" y="89"/>
                  </a:lnTo>
                  <a:lnTo>
                    <a:pt x="130" y="48"/>
                  </a:lnTo>
                  <a:lnTo>
                    <a:pt x="115" y="31"/>
                  </a:lnTo>
                  <a:lnTo>
                    <a:pt x="97" y="15"/>
                  </a:lnTo>
                  <a:lnTo>
                    <a:pt x="74" y="15"/>
                  </a:lnTo>
                  <a:lnTo>
                    <a:pt x="50" y="0"/>
                  </a:lnTo>
                  <a:lnTo>
                    <a:pt x="9" y="24"/>
                  </a:lnTo>
                  <a:lnTo>
                    <a:pt x="16" y="48"/>
                  </a:lnTo>
                  <a:lnTo>
                    <a:pt x="16" y="73"/>
                  </a:lnTo>
                  <a:lnTo>
                    <a:pt x="0" y="10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27" name="Freeform 244"/>
            <p:cNvSpPr>
              <a:spLocks/>
            </p:cNvSpPr>
            <p:nvPr/>
          </p:nvSpPr>
          <p:spPr bwMode="auto">
            <a:xfrm>
              <a:off x="6181" y="1376"/>
              <a:ext cx="34" cy="22"/>
            </a:xfrm>
            <a:custGeom>
              <a:avLst/>
              <a:gdLst>
                <a:gd name="T0" fmla="*/ 0 w 26"/>
                <a:gd name="T1" fmla="*/ 0 h 18"/>
                <a:gd name="T2" fmla="*/ 78 w 26"/>
                <a:gd name="T3" fmla="*/ 0 h 18"/>
                <a:gd name="T4" fmla="*/ 212 w 26"/>
                <a:gd name="T5" fmla="*/ 40 h 18"/>
                <a:gd name="T6" fmla="*/ 212 w 26"/>
                <a:gd name="T7" fmla="*/ 88 h 18"/>
                <a:gd name="T8" fmla="*/ 78 w 26"/>
                <a:gd name="T9" fmla="*/ 40 h 18"/>
                <a:gd name="T10" fmla="*/ 0 w 26"/>
                <a:gd name="T11" fmla="*/ 40 h 18"/>
                <a:gd name="T12" fmla="*/ 0 w 26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18"/>
                <a:gd name="T23" fmla="*/ 26 w 26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18">
                  <a:moveTo>
                    <a:pt x="0" y="0"/>
                  </a:moveTo>
                  <a:lnTo>
                    <a:pt x="9" y="0"/>
                  </a:lnTo>
                  <a:lnTo>
                    <a:pt x="25" y="8"/>
                  </a:lnTo>
                  <a:lnTo>
                    <a:pt x="25" y="17"/>
                  </a:lnTo>
                  <a:lnTo>
                    <a:pt x="9" y="8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28" name="Freeform 245"/>
            <p:cNvSpPr>
              <a:spLocks/>
            </p:cNvSpPr>
            <p:nvPr/>
          </p:nvSpPr>
          <p:spPr bwMode="auto">
            <a:xfrm>
              <a:off x="226" y="1491"/>
              <a:ext cx="34" cy="24"/>
            </a:xfrm>
            <a:custGeom>
              <a:avLst/>
              <a:gdLst>
                <a:gd name="T0" fmla="*/ 0 w 26"/>
                <a:gd name="T1" fmla="*/ 85 h 18"/>
                <a:gd name="T2" fmla="*/ 160 w 26"/>
                <a:gd name="T3" fmla="*/ 172 h 18"/>
                <a:gd name="T4" fmla="*/ 212 w 26"/>
                <a:gd name="T5" fmla="*/ 85 h 18"/>
                <a:gd name="T6" fmla="*/ 160 w 26"/>
                <a:gd name="T7" fmla="*/ 0 h 18"/>
                <a:gd name="T8" fmla="*/ 0 w 26"/>
                <a:gd name="T9" fmla="*/ 85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8"/>
                <a:gd name="T17" fmla="*/ 26 w 26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8">
                  <a:moveTo>
                    <a:pt x="0" y="8"/>
                  </a:moveTo>
                  <a:lnTo>
                    <a:pt x="18" y="17"/>
                  </a:lnTo>
                  <a:lnTo>
                    <a:pt x="25" y="8"/>
                  </a:lnTo>
                  <a:lnTo>
                    <a:pt x="18" y="0"/>
                  </a:lnTo>
                  <a:lnTo>
                    <a:pt x="0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29" name="Freeform 246"/>
            <p:cNvSpPr>
              <a:spLocks/>
            </p:cNvSpPr>
            <p:nvPr/>
          </p:nvSpPr>
          <p:spPr bwMode="auto">
            <a:xfrm>
              <a:off x="226" y="1491"/>
              <a:ext cx="34" cy="24"/>
            </a:xfrm>
            <a:custGeom>
              <a:avLst/>
              <a:gdLst>
                <a:gd name="T0" fmla="*/ 0 w 26"/>
                <a:gd name="T1" fmla="*/ 85 h 18"/>
                <a:gd name="T2" fmla="*/ 160 w 26"/>
                <a:gd name="T3" fmla="*/ 172 h 18"/>
                <a:gd name="T4" fmla="*/ 212 w 26"/>
                <a:gd name="T5" fmla="*/ 85 h 18"/>
                <a:gd name="T6" fmla="*/ 160 w 26"/>
                <a:gd name="T7" fmla="*/ 0 h 18"/>
                <a:gd name="T8" fmla="*/ 0 w 26"/>
                <a:gd name="T9" fmla="*/ 85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8"/>
                <a:gd name="T17" fmla="*/ 26 w 26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8">
                  <a:moveTo>
                    <a:pt x="0" y="8"/>
                  </a:moveTo>
                  <a:lnTo>
                    <a:pt x="18" y="17"/>
                  </a:lnTo>
                  <a:lnTo>
                    <a:pt x="25" y="8"/>
                  </a:lnTo>
                  <a:lnTo>
                    <a:pt x="18" y="0"/>
                  </a:lnTo>
                  <a:lnTo>
                    <a:pt x="0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30" name="Freeform 247"/>
            <p:cNvSpPr>
              <a:spLocks/>
            </p:cNvSpPr>
            <p:nvPr/>
          </p:nvSpPr>
          <p:spPr bwMode="auto">
            <a:xfrm>
              <a:off x="438" y="1555"/>
              <a:ext cx="53" cy="55"/>
            </a:xfrm>
            <a:custGeom>
              <a:avLst/>
              <a:gdLst>
                <a:gd name="T0" fmla="*/ 0 w 41"/>
                <a:gd name="T1" fmla="*/ 237 h 43"/>
                <a:gd name="T2" fmla="*/ 75 w 41"/>
                <a:gd name="T3" fmla="*/ 303 h 43"/>
                <a:gd name="T4" fmla="*/ 193 w 41"/>
                <a:gd name="T5" fmla="*/ 180 h 43"/>
                <a:gd name="T6" fmla="*/ 268 w 41"/>
                <a:gd name="T7" fmla="*/ 180 h 43"/>
                <a:gd name="T8" fmla="*/ 268 w 41"/>
                <a:gd name="T9" fmla="*/ 123 h 43"/>
                <a:gd name="T10" fmla="*/ 193 w 41"/>
                <a:gd name="T11" fmla="*/ 123 h 43"/>
                <a:gd name="T12" fmla="*/ 313 w 41"/>
                <a:gd name="T13" fmla="*/ 75 h 43"/>
                <a:gd name="T14" fmla="*/ 268 w 41"/>
                <a:gd name="T15" fmla="*/ 0 h 43"/>
                <a:gd name="T16" fmla="*/ 0 w 41"/>
                <a:gd name="T17" fmla="*/ 237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1"/>
                <a:gd name="T28" fmla="*/ 0 h 43"/>
                <a:gd name="T29" fmla="*/ 41 w 41"/>
                <a:gd name="T30" fmla="*/ 43 h 4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1" h="43">
                  <a:moveTo>
                    <a:pt x="0" y="33"/>
                  </a:moveTo>
                  <a:lnTo>
                    <a:pt x="9" y="42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25" y="17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0" y="33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31" name="Freeform 248"/>
            <p:cNvSpPr>
              <a:spLocks/>
            </p:cNvSpPr>
            <p:nvPr/>
          </p:nvSpPr>
          <p:spPr bwMode="auto">
            <a:xfrm>
              <a:off x="438" y="1555"/>
              <a:ext cx="53" cy="55"/>
            </a:xfrm>
            <a:custGeom>
              <a:avLst/>
              <a:gdLst>
                <a:gd name="T0" fmla="*/ 0 w 41"/>
                <a:gd name="T1" fmla="*/ 237 h 43"/>
                <a:gd name="T2" fmla="*/ 75 w 41"/>
                <a:gd name="T3" fmla="*/ 303 h 43"/>
                <a:gd name="T4" fmla="*/ 193 w 41"/>
                <a:gd name="T5" fmla="*/ 180 h 43"/>
                <a:gd name="T6" fmla="*/ 268 w 41"/>
                <a:gd name="T7" fmla="*/ 180 h 43"/>
                <a:gd name="T8" fmla="*/ 268 w 41"/>
                <a:gd name="T9" fmla="*/ 123 h 43"/>
                <a:gd name="T10" fmla="*/ 193 w 41"/>
                <a:gd name="T11" fmla="*/ 123 h 43"/>
                <a:gd name="T12" fmla="*/ 313 w 41"/>
                <a:gd name="T13" fmla="*/ 75 h 43"/>
                <a:gd name="T14" fmla="*/ 268 w 41"/>
                <a:gd name="T15" fmla="*/ 0 h 43"/>
                <a:gd name="T16" fmla="*/ 0 w 41"/>
                <a:gd name="T17" fmla="*/ 237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1"/>
                <a:gd name="T28" fmla="*/ 0 h 43"/>
                <a:gd name="T29" fmla="*/ 41 w 41"/>
                <a:gd name="T30" fmla="*/ 43 h 4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1" h="43">
                  <a:moveTo>
                    <a:pt x="0" y="33"/>
                  </a:moveTo>
                  <a:lnTo>
                    <a:pt x="9" y="42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25" y="17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0" y="33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32" name="Freeform 249"/>
            <p:cNvSpPr>
              <a:spLocks/>
            </p:cNvSpPr>
            <p:nvPr/>
          </p:nvSpPr>
          <p:spPr bwMode="auto">
            <a:xfrm>
              <a:off x="809" y="1681"/>
              <a:ext cx="34" cy="66"/>
            </a:xfrm>
            <a:custGeom>
              <a:avLst/>
              <a:gdLst>
                <a:gd name="T0" fmla="*/ 0 w 26"/>
                <a:gd name="T1" fmla="*/ 0 h 51"/>
                <a:gd name="T2" fmla="*/ 0 w 26"/>
                <a:gd name="T3" fmla="*/ 141 h 51"/>
                <a:gd name="T4" fmla="*/ 65 w 26"/>
                <a:gd name="T5" fmla="*/ 324 h 51"/>
                <a:gd name="T6" fmla="*/ 212 w 26"/>
                <a:gd name="T7" fmla="*/ 395 h 51"/>
                <a:gd name="T8" fmla="*/ 65 w 26"/>
                <a:gd name="T9" fmla="*/ 268 h 51"/>
                <a:gd name="T10" fmla="*/ 133 w 26"/>
                <a:gd name="T11" fmla="*/ 193 h 51"/>
                <a:gd name="T12" fmla="*/ 65 w 26"/>
                <a:gd name="T13" fmla="*/ 141 h 51"/>
                <a:gd name="T14" fmla="*/ 133 w 26"/>
                <a:gd name="T15" fmla="*/ 0 h 51"/>
                <a:gd name="T16" fmla="*/ 0 w 26"/>
                <a:gd name="T17" fmla="*/ 0 h 5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51"/>
                <a:gd name="T29" fmla="*/ 26 w 26"/>
                <a:gd name="T30" fmla="*/ 51 h 5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51">
                  <a:moveTo>
                    <a:pt x="0" y="0"/>
                  </a:moveTo>
                  <a:lnTo>
                    <a:pt x="0" y="18"/>
                  </a:lnTo>
                  <a:lnTo>
                    <a:pt x="8" y="41"/>
                  </a:lnTo>
                  <a:lnTo>
                    <a:pt x="25" y="50"/>
                  </a:lnTo>
                  <a:lnTo>
                    <a:pt x="8" y="34"/>
                  </a:lnTo>
                  <a:lnTo>
                    <a:pt x="16" y="25"/>
                  </a:lnTo>
                  <a:lnTo>
                    <a:pt x="8" y="18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33" name="Freeform 250"/>
            <p:cNvSpPr>
              <a:spLocks/>
            </p:cNvSpPr>
            <p:nvPr/>
          </p:nvSpPr>
          <p:spPr bwMode="auto">
            <a:xfrm>
              <a:off x="809" y="1681"/>
              <a:ext cx="34" cy="66"/>
            </a:xfrm>
            <a:custGeom>
              <a:avLst/>
              <a:gdLst>
                <a:gd name="T0" fmla="*/ 0 w 26"/>
                <a:gd name="T1" fmla="*/ 0 h 51"/>
                <a:gd name="T2" fmla="*/ 0 w 26"/>
                <a:gd name="T3" fmla="*/ 141 h 51"/>
                <a:gd name="T4" fmla="*/ 65 w 26"/>
                <a:gd name="T5" fmla="*/ 324 h 51"/>
                <a:gd name="T6" fmla="*/ 212 w 26"/>
                <a:gd name="T7" fmla="*/ 395 h 51"/>
                <a:gd name="T8" fmla="*/ 65 w 26"/>
                <a:gd name="T9" fmla="*/ 268 h 51"/>
                <a:gd name="T10" fmla="*/ 133 w 26"/>
                <a:gd name="T11" fmla="*/ 193 h 51"/>
                <a:gd name="T12" fmla="*/ 65 w 26"/>
                <a:gd name="T13" fmla="*/ 141 h 51"/>
                <a:gd name="T14" fmla="*/ 133 w 26"/>
                <a:gd name="T15" fmla="*/ 0 h 51"/>
                <a:gd name="T16" fmla="*/ 0 w 26"/>
                <a:gd name="T17" fmla="*/ 0 h 5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51"/>
                <a:gd name="T29" fmla="*/ 26 w 26"/>
                <a:gd name="T30" fmla="*/ 51 h 5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51">
                  <a:moveTo>
                    <a:pt x="0" y="0"/>
                  </a:moveTo>
                  <a:lnTo>
                    <a:pt x="0" y="18"/>
                  </a:lnTo>
                  <a:lnTo>
                    <a:pt x="8" y="41"/>
                  </a:lnTo>
                  <a:lnTo>
                    <a:pt x="25" y="50"/>
                  </a:lnTo>
                  <a:lnTo>
                    <a:pt x="8" y="34"/>
                  </a:lnTo>
                  <a:lnTo>
                    <a:pt x="16" y="25"/>
                  </a:lnTo>
                  <a:lnTo>
                    <a:pt x="8" y="18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34" name="Freeform 251"/>
            <p:cNvSpPr>
              <a:spLocks/>
            </p:cNvSpPr>
            <p:nvPr/>
          </p:nvSpPr>
          <p:spPr bwMode="auto">
            <a:xfrm>
              <a:off x="883" y="1778"/>
              <a:ext cx="87" cy="64"/>
            </a:xfrm>
            <a:custGeom>
              <a:avLst/>
              <a:gdLst>
                <a:gd name="T0" fmla="*/ 0 w 67"/>
                <a:gd name="T1" fmla="*/ 0 h 49"/>
                <a:gd name="T2" fmla="*/ 75 w 67"/>
                <a:gd name="T3" fmla="*/ 133 h 49"/>
                <a:gd name="T4" fmla="*/ 201 w 67"/>
                <a:gd name="T5" fmla="*/ 212 h 49"/>
                <a:gd name="T6" fmla="*/ 332 w 67"/>
                <a:gd name="T7" fmla="*/ 277 h 49"/>
                <a:gd name="T8" fmla="*/ 332 w 67"/>
                <a:gd name="T9" fmla="*/ 351 h 49"/>
                <a:gd name="T10" fmla="*/ 460 w 67"/>
                <a:gd name="T11" fmla="*/ 408 h 49"/>
                <a:gd name="T12" fmla="*/ 535 w 67"/>
                <a:gd name="T13" fmla="*/ 408 h 49"/>
                <a:gd name="T14" fmla="*/ 273 w 67"/>
                <a:gd name="T15" fmla="*/ 65 h 49"/>
                <a:gd name="T16" fmla="*/ 75 w 67"/>
                <a:gd name="T17" fmla="*/ 0 h 49"/>
                <a:gd name="T18" fmla="*/ 0 w 67"/>
                <a:gd name="T19" fmla="*/ 0 h 4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7"/>
                <a:gd name="T31" fmla="*/ 0 h 49"/>
                <a:gd name="T32" fmla="*/ 67 w 67"/>
                <a:gd name="T33" fmla="*/ 49 h 4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7" h="49">
                  <a:moveTo>
                    <a:pt x="0" y="0"/>
                  </a:moveTo>
                  <a:lnTo>
                    <a:pt x="9" y="16"/>
                  </a:lnTo>
                  <a:lnTo>
                    <a:pt x="25" y="25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57" y="48"/>
                  </a:lnTo>
                  <a:lnTo>
                    <a:pt x="66" y="48"/>
                  </a:lnTo>
                  <a:lnTo>
                    <a:pt x="34" y="8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35" name="Freeform 252"/>
            <p:cNvSpPr>
              <a:spLocks/>
            </p:cNvSpPr>
            <p:nvPr/>
          </p:nvSpPr>
          <p:spPr bwMode="auto">
            <a:xfrm>
              <a:off x="883" y="1778"/>
              <a:ext cx="87" cy="64"/>
            </a:xfrm>
            <a:custGeom>
              <a:avLst/>
              <a:gdLst>
                <a:gd name="T0" fmla="*/ 0 w 67"/>
                <a:gd name="T1" fmla="*/ 0 h 49"/>
                <a:gd name="T2" fmla="*/ 75 w 67"/>
                <a:gd name="T3" fmla="*/ 133 h 49"/>
                <a:gd name="T4" fmla="*/ 201 w 67"/>
                <a:gd name="T5" fmla="*/ 212 h 49"/>
                <a:gd name="T6" fmla="*/ 332 w 67"/>
                <a:gd name="T7" fmla="*/ 277 h 49"/>
                <a:gd name="T8" fmla="*/ 332 w 67"/>
                <a:gd name="T9" fmla="*/ 351 h 49"/>
                <a:gd name="T10" fmla="*/ 460 w 67"/>
                <a:gd name="T11" fmla="*/ 408 h 49"/>
                <a:gd name="T12" fmla="*/ 535 w 67"/>
                <a:gd name="T13" fmla="*/ 408 h 49"/>
                <a:gd name="T14" fmla="*/ 273 w 67"/>
                <a:gd name="T15" fmla="*/ 65 h 49"/>
                <a:gd name="T16" fmla="*/ 75 w 67"/>
                <a:gd name="T17" fmla="*/ 0 h 49"/>
                <a:gd name="T18" fmla="*/ 0 w 67"/>
                <a:gd name="T19" fmla="*/ 0 h 4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7"/>
                <a:gd name="T31" fmla="*/ 0 h 49"/>
                <a:gd name="T32" fmla="*/ 67 w 67"/>
                <a:gd name="T33" fmla="*/ 49 h 4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7" h="49">
                  <a:moveTo>
                    <a:pt x="0" y="0"/>
                  </a:moveTo>
                  <a:lnTo>
                    <a:pt x="9" y="16"/>
                  </a:lnTo>
                  <a:lnTo>
                    <a:pt x="25" y="25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57" y="48"/>
                  </a:lnTo>
                  <a:lnTo>
                    <a:pt x="66" y="48"/>
                  </a:lnTo>
                  <a:lnTo>
                    <a:pt x="34" y="8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36" name="Freeform 253"/>
            <p:cNvSpPr>
              <a:spLocks/>
            </p:cNvSpPr>
            <p:nvPr/>
          </p:nvSpPr>
          <p:spPr bwMode="auto">
            <a:xfrm>
              <a:off x="2621" y="1259"/>
              <a:ext cx="180" cy="129"/>
            </a:xfrm>
            <a:custGeom>
              <a:avLst/>
              <a:gdLst>
                <a:gd name="T0" fmla="*/ 0 w 138"/>
                <a:gd name="T1" fmla="*/ 286 h 98"/>
                <a:gd name="T2" fmla="*/ 78 w 138"/>
                <a:gd name="T3" fmla="*/ 367 h 98"/>
                <a:gd name="T4" fmla="*/ 211 w 138"/>
                <a:gd name="T5" fmla="*/ 286 h 98"/>
                <a:gd name="T6" fmla="*/ 283 w 138"/>
                <a:gd name="T7" fmla="*/ 367 h 98"/>
                <a:gd name="T8" fmla="*/ 78 w 138"/>
                <a:gd name="T9" fmla="*/ 504 h 98"/>
                <a:gd name="T10" fmla="*/ 211 w 138"/>
                <a:gd name="T11" fmla="*/ 504 h 98"/>
                <a:gd name="T12" fmla="*/ 283 w 138"/>
                <a:gd name="T13" fmla="*/ 663 h 98"/>
                <a:gd name="T14" fmla="*/ 211 w 138"/>
                <a:gd name="T15" fmla="*/ 736 h 98"/>
                <a:gd name="T16" fmla="*/ 340 w 138"/>
                <a:gd name="T17" fmla="*/ 736 h 98"/>
                <a:gd name="T18" fmla="*/ 627 w 138"/>
                <a:gd name="T19" fmla="*/ 873 h 98"/>
                <a:gd name="T20" fmla="*/ 1101 w 138"/>
                <a:gd name="T21" fmla="*/ 590 h 98"/>
                <a:gd name="T22" fmla="*/ 1150 w 138"/>
                <a:gd name="T23" fmla="*/ 504 h 98"/>
                <a:gd name="T24" fmla="*/ 1150 w 138"/>
                <a:gd name="T25" fmla="*/ 286 h 98"/>
                <a:gd name="T26" fmla="*/ 1016 w 138"/>
                <a:gd name="T27" fmla="*/ 217 h 98"/>
                <a:gd name="T28" fmla="*/ 1016 w 138"/>
                <a:gd name="T29" fmla="*/ 86 h 98"/>
                <a:gd name="T30" fmla="*/ 955 w 138"/>
                <a:gd name="T31" fmla="*/ 86 h 98"/>
                <a:gd name="T32" fmla="*/ 888 w 138"/>
                <a:gd name="T33" fmla="*/ 0 h 98"/>
                <a:gd name="T34" fmla="*/ 743 w 138"/>
                <a:gd name="T35" fmla="*/ 149 h 98"/>
                <a:gd name="T36" fmla="*/ 681 w 138"/>
                <a:gd name="T37" fmla="*/ 149 h 98"/>
                <a:gd name="T38" fmla="*/ 548 w 138"/>
                <a:gd name="T39" fmla="*/ 149 h 98"/>
                <a:gd name="T40" fmla="*/ 481 w 138"/>
                <a:gd name="T41" fmla="*/ 217 h 98"/>
                <a:gd name="T42" fmla="*/ 481 w 138"/>
                <a:gd name="T43" fmla="*/ 149 h 98"/>
                <a:gd name="T44" fmla="*/ 408 w 138"/>
                <a:gd name="T45" fmla="*/ 286 h 98"/>
                <a:gd name="T46" fmla="*/ 340 w 138"/>
                <a:gd name="T47" fmla="*/ 367 h 98"/>
                <a:gd name="T48" fmla="*/ 340 w 138"/>
                <a:gd name="T49" fmla="*/ 149 h 98"/>
                <a:gd name="T50" fmla="*/ 211 w 138"/>
                <a:gd name="T51" fmla="*/ 86 h 98"/>
                <a:gd name="T52" fmla="*/ 133 w 138"/>
                <a:gd name="T53" fmla="*/ 86 h 98"/>
                <a:gd name="T54" fmla="*/ 133 w 138"/>
                <a:gd name="T55" fmla="*/ 149 h 98"/>
                <a:gd name="T56" fmla="*/ 78 w 138"/>
                <a:gd name="T57" fmla="*/ 149 h 98"/>
                <a:gd name="T58" fmla="*/ 78 w 138"/>
                <a:gd name="T59" fmla="*/ 217 h 98"/>
                <a:gd name="T60" fmla="*/ 0 w 138"/>
                <a:gd name="T61" fmla="*/ 286 h 9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8"/>
                <a:gd name="T94" fmla="*/ 0 h 98"/>
                <a:gd name="T95" fmla="*/ 138 w 138"/>
                <a:gd name="T96" fmla="*/ 98 h 9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8" h="98">
                  <a:moveTo>
                    <a:pt x="0" y="32"/>
                  </a:moveTo>
                  <a:lnTo>
                    <a:pt x="9" y="41"/>
                  </a:lnTo>
                  <a:lnTo>
                    <a:pt x="25" y="32"/>
                  </a:lnTo>
                  <a:lnTo>
                    <a:pt x="34" y="41"/>
                  </a:lnTo>
                  <a:lnTo>
                    <a:pt x="9" y="56"/>
                  </a:lnTo>
                  <a:lnTo>
                    <a:pt x="25" y="56"/>
                  </a:lnTo>
                  <a:lnTo>
                    <a:pt x="34" y="74"/>
                  </a:lnTo>
                  <a:lnTo>
                    <a:pt x="25" y="81"/>
                  </a:lnTo>
                  <a:lnTo>
                    <a:pt x="41" y="81"/>
                  </a:lnTo>
                  <a:lnTo>
                    <a:pt x="74" y="97"/>
                  </a:lnTo>
                  <a:lnTo>
                    <a:pt x="131" y="65"/>
                  </a:lnTo>
                  <a:lnTo>
                    <a:pt x="137" y="56"/>
                  </a:lnTo>
                  <a:lnTo>
                    <a:pt x="137" y="32"/>
                  </a:lnTo>
                  <a:lnTo>
                    <a:pt x="121" y="24"/>
                  </a:lnTo>
                  <a:lnTo>
                    <a:pt x="121" y="9"/>
                  </a:lnTo>
                  <a:lnTo>
                    <a:pt x="114" y="9"/>
                  </a:lnTo>
                  <a:lnTo>
                    <a:pt x="106" y="0"/>
                  </a:lnTo>
                  <a:lnTo>
                    <a:pt x="89" y="16"/>
                  </a:lnTo>
                  <a:lnTo>
                    <a:pt x="81" y="16"/>
                  </a:lnTo>
                  <a:lnTo>
                    <a:pt x="65" y="16"/>
                  </a:lnTo>
                  <a:lnTo>
                    <a:pt x="57" y="24"/>
                  </a:lnTo>
                  <a:lnTo>
                    <a:pt x="57" y="16"/>
                  </a:lnTo>
                  <a:lnTo>
                    <a:pt x="49" y="32"/>
                  </a:lnTo>
                  <a:lnTo>
                    <a:pt x="41" y="41"/>
                  </a:lnTo>
                  <a:lnTo>
                    <a:pt x="41" y="16"/>
                  </a:lnTo>
                  <a:lnTo>
                    <a:pt x="25" y="9"/>
                  </a:lnTo>
                  <a:lnTo>
                    <a:pt x="16" y="9"/>
                  </a:lnTo>
                  <a:lnTo>
                    <a:pt x="16" y="16"/>
                  </a:lnTo>
                  <a:lnTo>
                    <a:pt x="9" y="16"/>
                  </a:lnTo>
                  <a:lnTo>
                    <a:pt x="9" y="24"/>
                  </a:lnTo>
                  <a:lnTo>
                    <a:pt x="0" y="3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37" name="Freeform 254"/>
            <p:cNvSpPr>
              <a:spLocks/>
            </p:cNvSpPr>
            <p:nvPr/>
          </p:nvSpPr>
          <p:spPr bwMode="auto">
            <a:xfrm>
              <a:off x="2718" y="803"/>
              <a:ext cx="22" cy="24"/>
            </a:xfrm>
            <a:custGeom>
              <a:avLst/>
              <a:gdLst>
                <a:gd name="T0" fmla="*/ 0 w 17"/>
                <a:gd name="T1" fmla="*/ 0 h 18"/>
                <a:gd name="T2" fmla="*/ 0 w 17"/>
                <a:gd name="T3" fmla="*/ 172 h 18"/>
                <a:gd name="T4" fmla="*/ 126 w 17"/>
                <a:gd name="T5" fmla="*/ 172 h 18"/>
                <a:gd name="T6" fmla="*/ 0 w 17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8"/>
                <a:gd name="T14" fmla="*/ 17 w 17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8">
                  <a:moveTo>
                    <a:pt x="0" y="0"/>
                  </a:moveTo>
                  <a:lnTo>
                    <a:pt x="0" y="17"/>
                  </a:ln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38" name="Freeform 255"/>
            <p:cNvSpPr>
              <a:spLocks/>
            </p:cNvSpPr>
            <p:nvPr/>
          </p:nvSpPr>
          <p:spPr bwMode="auto">
            <a:xfrm>
              <a:off x="2718" y="803"/>
              <a:ext cx="22" cy="24"/>
            </a:xfrm>
            <a:custGeom>
              <a:avLst/>
              <a:gdLst>
                <a:gd name="T0" fmla="*/ 0 w 17"/>
                <a:gd name="T1" fmla="*/ 0 h 18"/>
                <a:gd name="T2" fmla="*/ 0 w 17"/>
                <a:gd name="T3" fmla="*/ 172 h 18"/>
                <a:gd name="T4" fmla="*/ 126 w 17"/>
                <a:gd name="T5" fmla="*/ 172 h 18"/>
                <a:gd name="T6" fmla="*/ 0 w 17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8"/>
                <a:gd name="T14" fmla="*/ 17 w 17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8">
                  <a:moveTo>
                    <a:pt x="0" y="0"/>
                  </a:moveTo>
                  <a:lnTo>
                    <a:pt x="0" y="17"/>
                  </a:ln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39" name="Freeform 256"/>
            <p:cNvSpPr>
              <a:spLocks/>
            </p:cNvSpPr>
            <p:nvPr/>
          </p:nvSpPr>
          <p:spPr bwMode="auto">
            <a:xfrm>
              <a:off x="3755" y="2962"/>
              <a:ext cx="117" cy="235"/>
            </a:xfrm>
            <a:custGeom>
              <a:avLst/>
              <a:gdLst>
                <a:gd name="T0" fmla="*/ 0 w 90"/>
                <a:gd name="T1" fmla="*/ 1084 h 180"/>
                <a:gd name="T2" fmla="*/ 78 w 90"/>
                <a:gd name="T3" fmla="*/ 1377 h 180"/>
                <a:gd name="T4" fmla="*/ 140 w 90"/>
                <a:gd name="T5" fmla="*/ 1517 h 180"/>
                <a:gd name="T6" fmla="*/ 325 w 90"/>
                <a:gd name="T7" fmla="*/ 1517 h 180"/>
                <a:gd name="T8" fmla="*/ 400 w 90"/>
                <a:gd name="T9" fmla="*/ 1437 h 180"/>
                <a:gd name="T10" fmla="*/ 607 w 90"/>
                <a:gd name="T11" fmla="*/ 675 h 180"/>
                <a:gd name="T12" fmla="*/ 672 w 90"/>
                <a:gd name="T13" fmla="*/ 336 h 180"/>
                <a:gd name="T14" fmla="*/ 731 w 90"/>
                <a:gd name="T15" fmla="*/ 418 h 180"/>
                <a:gd name="T16" fmla="*/ 731 w 90"/>
                <a:gd name="T17" fmla="*/ 336 h 180"/>
                <a:gd name="T18" fmla="*/ 672 w 90"/>
                <a:gd name="T19" fmla="*/ 65 h 180"/>
                <a:gd name="T20" fmla="*/ 607 w 90"/>
                <a:gd name="T21" fmla="*/ 0 h 180"/>
                <a:gd name="T22" fmla="*/ 534 w 90"/>
                <a:gd name="T23" fmla="*/ 145 h 180"/>
                <a:gd name="T24" fmla="*/ 467 w 90"/>
                <a:gd name="T25" fmla="*/ 145 h 180"/>
                <a:gd name="T26" fmla="*/ 467 w 90"/>
                <a:gd name="T27" fmla="*/ 274 h 180"/>
                <a:gd name="T28" fmla="*/ 140 w 90"/>
                <a:gd name="T29" fmla="*/ 482 h 180"/>
                <a:gd name="T30" fmla="*/ 78 w 90"/>
                <a:gd name="T31" fmla="*/ 618 h 180"/>
                <a:gd name="T32" fmla="*/ 140 w 90"/>
                <a:gd name="T33" fmla="*/ 890 h 180"/>
                <a:gd name="T34" fmla="*/ 0 w 90"/>
                <a:gd name="T35" fmla="*/ 1084 h 18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90"/>
                <a:gd name="T55" fmla="*/ 0 h 180"/>
                <a:gd name="T56" fmla="*/ 90 w 90"/>
                <a:gd name="T57" fmla="*/ 180 h 18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90" h="180">
                  <a:moveTo>
                    <a:pt x="0" y="129"/>
                  </a:moveTo>
                  <a:lnTo>
                    <a:pt x="9" y="163"/>
                  </a:lnTo>
                  <a:lnTo>
                    <a:pt x="17" y="179"/>
                  </a:lnTo>
                  <a:lnTo>
                    <a:pt x="40" y="179"/>
                  </a:lnTo>
                  <a:lnTo>
                    <a:pt x="49" y="170"/>
                  </a:lnTo>
                  <a:lnTo>
                    <a:pt x="74" y="80"/>
                  </a:lnTo>
                  <a:lnTo>
                    <a:pt x="82" y="40"/>
                  </a:lnTo>
                  <a:lnTo>
                    <a:pt x="89" y="49"/>
                  </a:lnTo>
                  <a:lnTo>
                    <a:pt x="89" y="40"/>
                  </a:lnTo>
                  <a:lnTo>
                    <a:pt x="82" y="8"/>
                  </a:lnTo>
                  <a:lnTo>
                    <a:pt x="74" y="0"/>
                  </a:lnTo>
                  <a:lnTo>
                    <a:pt x="65" y="17"/>
                  </a:lnTo>
                  <a:lnTo>
                    <a:pt x="57" y="17"/>
                  </a:lnTo>
                  <a:lnTo>
                    <a:pt x="57" y="32"/>
                  </a:lnTo>
                  <a:lnTo>
                    <a:pt x="17" y="57"/>
                  </a:lnTo>
                  <a:lnTo>
                    <a:pt x="9" y="73"/>
                  </a:lnTo>
                  <a:lnTo>
                    <a:pt x="17" y="105"/>
                  </a:lnTo>
                  <a:lnTo>
                    <a:pt x="0" y="12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40" name="Freeform 257"/>
            <p:cNvSpPr>
              <a:spLocks/>
            </p:cNvSpPr>
            <p:nvPr/>
          </p:nvSpPr>
          <p:spPr bwMode="auto">
            <a:xfrm>
              <a:off x="4655" y="2728"/>
              <a:ext cx="22" cy="24"/>
            </a:xfrm>
            <a:custGeom>
              <a:avLst/>
              <a:gdLst>
                <a:gd name="T0" fmla="*/ 0 w 17"/>
                <a:gd name="T1" fmla="*/ 87 h 18"/>
                <a:gd name="T2" fmla="*/ 126 w 17"/>
                <a:gd name="T3" fmla="*/ 172 h 18"/>
                <a:gd name="T4" fmla="*/ 0 w 17"/>
                <a:gd name="T5" fmla="*/ 0 h 18"/>
                <a:gd name="T6" fmla="*/ 0 w 17"/>
                <a:gd name="T7" fmla="*/ 87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8"/>
                <a:gd name="T14" fmla="*/ 17 w 17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8">
                  <a:moveTo>
                    <a:pt x="0" y="9"/>
                  </a:moveTo>
                  <a:lnTo>
                    <a:pt x="16" y="17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41" name="Freeform 258"/>
            <p:cNvSpPr>
              <a:spLocks/>
            </p:cNvSpPr>
            <p:nvPr/>
          </p:nvSpPr>
          <p:spPr bwMode="auto">
            <a:xfrm>
              <a:off x="4655" y="2728"/>
              <a:ext cx="22" cy="24"/>
            </a:xfrm>
            <a:custGeom>
              <a:avLst/>
              <a:gdLst>
                <a:gd name="T0" fmla="*/ 0 w 17"/>
                <a:gd name="T1" fmla="*/ 87 h 18"/>
                <a:gd name="T2" fmla="*/ 126 w 17"/>
                <a:gd name="T3" fmla="*/ 172 h 18"/>
                <a:gd name="T4" fmla="*/ 0 w 17"/>
                <a:gd name="T5" fmla="*/ 0 h 18"/>
                <a:gd name="T6" fmla="*/ 0 w 17"/>
                <a:gd name="T7" fmla="*/ 87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8"/>
                <a:gd name="T14" fmla="*/ 17 w 17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8">
                  <a:moveTo>
                    <a:pt x="0" y="9"/>
                  </a:moveTo>
                  <a:lnTo>
                    <a:pt x="16" y="17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42" name="Freeform 259"/>
            <p:cNvSpPr>
              <a:spLocks/>
            </p:cNvSpPr>
            <p:nvPr/>
          </p:nvSpPr>
          <p:spPr bwMode="auto">
            <a:xfrm>
              <a:off x="4678" y="2773"/>
              <a:ext cx="22" cy="22"/>
            </a:xfrm>
            <a:custGeom>
              <a:avLst/>
              <a:gdLst>
                <a:gd name="T0" fmla="*/ 0 w 17"/>
                <a:gd name="T1" fmla="*/ 0 h 17"/>
                <a:gd name="T2" fmla="*/ 126 w 17"/>
                <a:gd name="T3" fmla="*/ 126 h 17"/>
                <a:gd name="T4" fmla="*/ 126 w 17"/>
                <a:gd name="T5" fmla="*/ 58 h 17"/>
                <a:gd name="T6" fmla="*/ 126 w 17"/>
                <a:gd name="T7" fmla="*/ 0 h 17"/>
                <a:gd name="T8" fmla="*/ 0 w 17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43" name="Freeform 260"/>
            <p:cNvSpPr>
              <a:spLocks/>
            </p:cNvSpPr>
            <p:nvPr/>
          </p:nvSpPr>
          <p:spPr bwMode="auto">
            <a:xfrm>
              <a:off x="4678" y="2773"/>
              <a:ext cx="22" cy="22"/>
            </a:xfrm>
            <a:custGeom>
              <a:avLst/>
              <a:gdLst>
                <a:gd name="T0" fmla="*/ 0 w 17"/>
                <a:gd name="T1" fmla="*/ 0 h 17"/>
                <a:gd name="T2" fmla="*/ 126 w 17"/>
                <a:gd name="T3" fmla="*/ 126 h 17"/>
                <a:gd name="T4" fmla="*/ 126 w 17"/>
                <a:gd name="T5" fmla="*/ 58 h 17"/>
                <a:gd name="T6" fmla="*/ 126 w 17"/>
                <a:gd name="T7" fmla="*/ 0 h 17"/>
                <a:gd name="T8" fmla="*/ 0 w 17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44" name="Freeform 261"/>
            <p:cNvSpPr>
              <a:spLocks/>
            </p:cNvSpPr>
            <p:nvPr/>
          </p:nvSpPr>
          <p:spPr bwMode="auto">
            <a:xfrm>
              <a:off x="4359" y="2592"/>
              <a:ext cx="45" cy="64"/>
            </a:xfrm>
            <a:custGeom>
              <a:avLst/>
              <a:gdLst>
                <a:gd name="T0" fmla="*/ 0 w 34"/>
                <a:gd name="T1" fmla="*/ 180 h 50"/>
                <a:gd name="T2" fmla="*/ 86 w 34"/>
                <a:gd name="T3" fmla="*/ 357 h 50"/>
                <a:gd name="T4" fmla="*/ 228 w 34"/>
                <a:gd name="T5" fmla="*/ 357 h 50"/>
                <a:gd name="T6" fmla="*/ 314 w 34"/>
                <a:gd name="T7" fmla="*/ 247 h 50"/>
                <a:gd name="T8" fmla="*/ 139 w 34"/>
                <a:gd name="T9" fmla="*/ 65 h 50"/>
                <a:gd name="T10" fmla="*/ 86 w 34"/>
                <a:gd name="T11" fmla="*/ 0 h 50"/>
                <a:gd name="T12" fmla="*/ 0 w 34"/>
                <a:gd name="T13" fmla="*/ 180 h 5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50"/>
                <a:gd name="T23" fmla="*/ 34 w 34"/>
                <a:gd name="T24" fmla="*/ 50 h 5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50">
                  <a:moveTo>
                    <a:pt x="0" y="25"/>
                  </a:moveTo>
                  <a:lnTo>
                    <a:pt x="9" y="49"/>
                  </a:lnTo>
                  <a:lnTo>
                    <a:pt x="24" y="49"/>
                  </a:lnTo>
                  <a:lnTo>
                    <a:pt x="33" y="34"/>
                  </a:lnTo>
                  <a:lnTo>
                    <a:pt x="15" y="9"/>
                  </a:lnTo>
                  <a:lnTo>
                    <a:pt x="9" y="0"/>
                  </a:lnTo>
                  <a:lnTo>
                    <a:pt x="0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45" name="Freeform 262"/>
            <p:cNvSpPr>
              <a:spLocks/>
            </p:cNvSpPr>
            <p:nvPr/>
          </p:nvSpPr>
          <p:spPr bwMode="auto">
            <a:xfrm>
              <a:off x="4846" y="2424"/>
              <a:ext cx="46" cy="31"/>
            </a:xfrm>
            <a:custGeom>
              <a:avLst/>
              <a:gdLst>
                <a:gd name="T0" fmla="*/ 0 w 35"/>
                <a:gd name="T1" fmla="*/ 47 h 24"/>
                <a:gd name="T2" fmla="*/ 0 w 35"/>
                <a:gd name="T3" fmla="*/ 125 h 24"/>
                <a:gd name="T4" fmla="*/ 150 w 35"/>
                <a:gd name="T5" fmla="*/ 182 h 24"/>
                <a:gd name="T6" fmla="*/ 216 w 35"/>
                <a:gd name="T7" fmla="*/ 125 h 24"/>
                <a:gd name="T8" fmla="*/ 306 w 35"/>
                <a:gd name="T9" fmla="*/ 0 h 24"/>
                <a:gd name="T10" fmla="*/ 84 w 35"/>
                <a:gd name="T11" fmla="*/ 0 h 24"/>
                <a:gd name="T12" fmla="*/ 0 w 35"/>
                <a:gd name="T13" fmla="*/ 47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24"/>
                <a:gd name="T23" fmla="*/ 35 w 35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24">
                  <a:moveTo>
                    <a:pt x="0" y="6"/>
                  </a:moveTo>
                  <a:lnTo>
                    <a:pt x="0" y="16"/>
                  </a:lnTo>
                  <a:lnTo>
                    <a:pt x="17" y="23"/>
                  </a:lnTo>
                  <a:lnTo>
                    <a:pt x="24" y="16"/>
                  </a:lnTo>
                  <a:lnTo>
                    <a:pt x="34" y="0"/>
                  </a:lnTo>
                  <a:lnTo>
                    <a:pt x="9" y="0"/>
                  </a:lnTo>
                  <a:lnTo>
                    <a:pt x="0" y="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46" name="Freeform 263"/>
            <p:cNvSpPr>
              <a:spLocks/>
            </p:cNvSpPr>
            <p:nvPr/>
          </p:nvSpPr>
          <p:spPr bwMode="auto">
            <a:xfrm>
              <a:off x="5037" y="2327"/>
              <a:ext cx="34" cy="54"/>
            </a:xfrm>
            <a:custGeom>
              <a:avLst/>
              <a:gdLst>
                <a:gd name="T0" fmla="*/ 0 w 26"/>
                <a:gd name="T1" fmla="*/ 225 h 41"/>
                <a:gd name="T2" fmla="*/ 0 w 26"/>
                <a:gd name="T3" fmla="*/ 296 h 41"/>
                <a:gd name="T4" fmla="*/ 65 w 26"/>
                <a:gd name="T5" fmla="*/ 362 h 41"/>
                <a:gd name="T6" fmla="*/ 212 w 26"/>
                <a:gd name="T7" fmla="*/ 0 h 41"/>
                <a:gd name="T8" fmla="*/ 145 w 26"/>
                <a:gd name="T9" fmla="*/ 0 h 41"/>
                <a:gd name="T10" fmla="*/ 0 w 26"/>
                <a:gd name="T11" fmla="*/ 225 h 4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"/>
                <a:gd name="T19" fmla="*/ 0 h 41"/>
                <a:gd name="T20" fmla="*/ 26 w 26"/>
                <a:gd name="T21" fmla="*/ 41 h 4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" h="41">
                  <a:moveTo>
                    <a:pt x="0" y="25"/>
                  </a:moveTo>
                  <a:lnTo>
                    <a:pt x="0" y="33"/>
                  </a:lnTo>
                  <a:lnTo>
                    <a:pt x="8" y="4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0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47" name="Freeform 264"/>
            <p:cNvSpPr>
              <a:spLocks/>
            </p:cNvSpPr>
            <p:nvPr/>
          </p:nvSpPr>
          <p:spPr bwMode="auto">
            <a:xfrm>
              <a:off x="5198" y="2159"/>
              <a:ext cx="43" cy="64"/>
            </a:xfrm>
            <a:custGeom>
              <a:avLst/>
              <a:gdLst>
                <a:gd name="T0" fmla="*/ 0 w 33"/>
                <a:gd name="T1" fmla="*/ 60 h 49"/>
                <a:gd name="T2" fmla="*/ 0 w 33"/>
                <a:gd name="T3" fmla="*/ 145 h 49"/>
                <a:gd name="T4" fmla="*/ 60 w 33"/>
                <a:gd name="T5" fmla="*/ 145 h 49"/>
                <a:gd name="T6" fmla="*/ 60 w 33"/>
                <a:gd name="T7" fmla="*/ 351 h 49"/>
                <a:gd name="T8" fmla="*/ 133 w 33"/>
                <a:gd name="T9" fmla="*/ 408 h 49"/>
                <a:gd name="T10" fmla="*/ 189 w 33"/>
                <a:gd name="T11" fmla="*/ 351 h 49"/>
                <a:gd name="T12" fmla="*/ 270 w 33"/>
                <a:gd name="T13" fmla="*/ 145 h 49"/>
                <a:gd name="T14" fmla="*/ 189 w 33"/>
                <a:gd name="T15" fmla="*/ 60 h 49"/>
                <a:gd name="T16" fmla="*/ 60 w 33"/>
                <a:gd name="T17" fmla="*/ 0 h 49"/>
                <a:gd name="T18" fmla="*/ 0 w 33"/>
                <a:gd name="T19" fmla="*/ 60 h 4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49"/>
                <a:gd name="T32" fmla="*/ 33 w 33"/>
                <a:gd name="T33" fmla="*/ 49 h 4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49">
                  <a:moveTo>
                    <a:pt x="0" y="7"/>
                  </a:moveTo>
                  <a:lnTo>
                    <a:pt x="0" y="17"/>
                  </a:lnTo>
                  <a:lnTo>
                    <a:pt x="7" y="17"/>
                  </a:lnTo>
                  <a:lnTo>
                    <a:pt x="7" y="41"/>
                  </a:lnTo>
                  <a:lnTo>
                    <a:pt x="16" y="48"/>
                  </a:lnTo>
                  <a:lnTo>
                    <a:pt x="22" y="41"/>
                  </a:lnTo>
                  <a:lnTo>
                    <a:pt x="32" y="17"/>
                  </a:lnTo>
                  <a:lnTo>
                    <a:pt x="22" y="7"/>
                  </a:lnTo>
                  <a:lnTo>
                    <a:pt x="7" y="0"/>
                  </a:lnTo>
                  <a:lnTo>
                    <a:pt x="0" y="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48" name="Freeform 265"/>
            <p:cNvSpPr>
              <a:spLocks/>
            </p:cNvSpPr>
            <p:nvPr/>
          </p:nvSpPr>
          <p:spPr bwMode="auto">
            <a:xfrm>
              <a:off x="5239" y="2159"/>
              <a:ext cx="44" cy="24"/>
            </a:xfrm>
            <a:custGeom>
              <a:avLst/>
              <a:gdLst>
                <a:gd name="T0" fmla="*/ 0 w 33"/>
                <a:gd name="T1" fmla="*/ 65 h 18"/>
                <a:gd name="T2" fmla="*/ 0 w 33"/>
                <a:gd name="T3" fmla="*/ 172 h 18"/>
                <a:gd name="T4" fmla="*/ 87 w 33"/>
                <a:gd name="T5" fmla="*/ 172 h 18"/>
                <a:gd name="T6" fmla="*/ 151 w 33"/>
                <a:gd name="T7" fmla="*/ 65 h 18"/>
                <a:gd name="T8" fmla="*/ 240 w 33"/>
                <a:gd name="T9" fmla="*/ 65 h 18"/>
                <a:gd name="T10" fmla="*/ 320 w 33"/>
                <a:gd name="T11" fmla="*/ 0 h 18"/>
                <a:gd name="T12" fmla="*/ 151 w 33"/>
                <a:gd name="T13" fmla="*/ 0 h 18"/>
                <a:gd name="T14" fmla="*/ 0 w 33"/>
                <a:gd name="T15" fmla="*/ 65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3"/>
                <a:gd name="T25" fmla="*/ 0 h 18"/>
                <a:gd name="T26" fmla="*/ 33 w 33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3" h="18">
                  <a:moveTo>
                    <a:pt x="0" y="7"/>
                  </a:moveTo>
                  <a:lnTo>
                    <a:pt x="0" y="17"/>
                  </a:lnTo>
                  <a:lnTo>
                    <a:pt x="9" y="17"/>
                  </a:lnTo>
                  <a:lnTo>
                    <a:pt x="15" y="7"/>
                  </a:lnTo>
                  <a:lnTo>
                    <a:pt x="24" y="7"/>
                  </a:lnTo>
                  <a:lnTo>
                    <a:pt x="32" y="0"/>
                  </a:lnTo>
                  <a:lnTo>
                    <a:pt x="15" y="0"/>
                  </a:lnTo>
                  <a:lnTo>
                    <a:pt x="0" y="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49" name="Freeform 266"/>
            <p:cNvSpPr>
              <a:spLocks/>
            </p:cNvSpPr>
            <p:nvPr/>
          </p:nvSpPr>
          <p:spPr bwMode="auto">
            <a:xfrm>
              <a:off x="5219" y="1999"/>
              <a:ext cx="180" cy="171"/>
            </a:xfrm>
            <a:custGeom>
              <a:avLst/>
              <a:gdLst>
                <a:gd name="T0" fmla="*/ 0 w 138"/>
                <a:gd name="T1" fmla="*/ 1022 h 130"/>
                <a:gd name="T2" fmla="*/ 0 w 138"/>
                <a:gd name="T3" fmla="*/ 1085 h 130"/>
                <a:gd name="T4" fmla="*/ 133 w 138"/>
                <a:gd name="T5" fmla="*/ 1085 h 130"/>
                <a:gd name="T6" fmla="*/ 407 w 138"/>
                <a:gd name="T7" fmla="*/ 939 h 130"/>
                <a:gd name="T8" fmla="*/ 468 w 138"/>
                <a:gd name="T9" fmla="*/ 1022 h 130"/>
                <a:gd name="T10" fmla="*/ 468 w 138"/>
                <a:gd name="T11" fmla="*/ 1085 h 130"/>
                <a:gd name="T12" fmla="*/ 548 w 138"/>
                <a:gd name="T13" fmla="*/ 1161 h 130"/>
                <a:gd name="T14" fmla="*/ 605 w 138"/>
                <a:gd name="T15" fmla="*/ 1022 h 130"/>
                <a:gd name="T16" fmla="*/ 605 w 138"/>
                <a:gd name="T17" fmla="*/ 939 h 130"/>
                <a:gd name="T18" fmla="*/ 669 w 138"/>
                <a:gd name="T19" fmla="*/ 1022 h 130"/>
                <a:gd name="T20" fmla="*/ 742 w 138"/>
                <a:gd name="T21" fmla="*/ 1022 h 130"/>
                <a:gd name="T22" fmla="*/ 818 w 138"/>
                <a:gd name="T23" fmla="*/ 939 h 130"/>
                <a:gd name="T24" fmla="*/ 882 w 138"/>
                <a:gd name="T25" fmla="*/ 1022 h 130"/>
                <a:gd name="T26" fmla="*/ 882 w 138"/>
                <a:gd name="T27" fmla="*/ 939 h 130"/>
                <a:gd name="T28" fmla="*/ 934 w 138"/>
                <a:gd name="T29" fmla="*/ 872 h 130"/>
                <a:gd name="T30" fmla="*/ 934 w 138"/>
                <a:gd name="T31" fmla="*/ 939 h 130"/>
                <a:gd name="T32" fmla="*/ 1016 w 138"/>
                <a:gd name="T33" fmla="*/ 939 h 130"/>
                <a:gd name="T34" fmla="*/ 1094 w 138"/>
                <a:gd name="T35" fmla="*/ 872 h 130"/>
                <a:gd name="T36" fmla="*/ 1094 w 138"/>
                <a:gd name="T37" fmla="*/ 512 h 130"/>
                <a:gd name="T38" fmla="*/ 1150 w 138"/>
                <a:gd name="T39" fmla="*/ 512 h 130"/>
                <a:gd name="T40" fmla="*/ 1150 w 138"/>
                <a:gd name="T41" fmla="*/ 72 h 130"/>
                <a:gd name="T42" fmla="*/ 1094 w 138"/>
                <a:gd name="T43" fmla="*/ 0 h 130"/>
                <a:gd name="T44" fmla="*/ 1094 w 138"/>
                <a:gd name="T45" fmla="*/ 72 h 130"/>
                <a:gd name="T46" fmla="*/ 1016 w 138"/>
                <a:gd name="T47" fmla="*/ 72 h 130"/>
                <a:gd name="T48" fmla="*/ 934 w 138"/>
                <a:gd name="T49" fmla="*/ 362 h 130"/>
                <a:gd name="T50" fmla="*/ 818 w 138"/>
                <a:gd name="T51" fmla="*/ 587 h 130"/>
                <a:gd name="T52" fmla="*/ 669 w 138"/>
                <a:gd name="T53" fmla="*/ 737 h 130"/>
                <a:gd name="T54" fmla="*/ 669 w 138"/>
                <a:gd name="T55" fmla="*/ 587 h 130"/>
                <a:gd name="T56" fmla="*/ 605 w 138"/>
                <a:gd name="T57" fmla="*/ 654 h 130"/>
                <a:gd name="T58" fmla="*/ 548 w 138"/>
                <a:gd name="T59" fmla="*/ 872 h 130"/>
                <a:gd name="T60" fmla="*/ 468 w 138"/>
                <a:gd name="T61" fmla="*/ 872 h 130"/>
                <a:gd name="T62" fmla="*/ 211 w 138"/>
                <a:gd name="T63" fmla="*/ 872 h 130"/>
                <a:gd name="T64" fmla="*/ 0 w 138"/>
                <a:gd name="T65" fmla="*/ 1022 h 13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"/>
                <a:gd name="T100" fmla="*/ 0 h 130"/>
                <a:gd name="T101" fmla="*/ 138 w 138"/>
                <a:gd name="T102" fmla="*/ 130 h 13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" h="130">
                  <a:moveTo>
                    <a:pt x="0" y="114"/>
                  </a:moveTo>
                  <a:lnTo>
                    <a:pt x="0" y="122"/>
                  </a:lnTo>
                  <a:lnTo>
                    <a:pt x="16" y="122"/>
                  </a:lnTo>
                  <a:lnTo>
                    <a:pt x="48" y="105"/>
                  </a:lnTo>
                  <a:lnTo>
                    <a:pt x="56" y="114"/>
                  </a:lnTo>
                  <a:lnTo>
                    <a:pt x="56" y="122"/>
                  </a:lnTo>
                  <a:lnTo>
                    <a:pt x="65" y="129"/>
                  </a:lnTo>
                  <a:lnTo>
                    <a:pt x="72" y="114"/>
                  </a:lnTo>
                  <a:lnTo>
                    <a:pt x="72" y="105"/>
                  </a:lnTo>
                  <a:lnTo>
                    <a:pt x="80" y="114"/>
                  </a:lnTo>
                  <a:lnTo>
                    <a:pt x="88" y="114"/>
                  </a:lnTo>
                  <a:lnTo>
                    <a:pt x="97" y="105"/>
                  </a:lnTo>
                  <a:lnTo>
                    <a:pt x="105" y="114"/>
                  </a:lnTo>
                  <a:lnTo>
                    <a:pt x="105" y="105"/>
                  </a:lnTo>
                  <a:lnTo>
                    <a:pt x="112" y="97"/>
                  </a:lnTo>
                  <a:lnTo>
                    <a:pt x="112" y="105"/>
                  </a:lnTo>
                  <a:lnTo>
                    <a:pt x="121" y="105"/>
                  </a:lnTo>
                  <a:lnTo>
                    <a:pt x="130" y="97"/>
                  </a:lnTo>
                  <a:lnTo>
                    <a:pt x="130" y="57"/>
                  </a:lnTo>
                  <a:lnTo>
                    <a:pt x="137" y="57"/>
                  </a:lnTo>
                  <a:lnTo>
                    <a:pt x="137" y="8"/>
                  </a:lnTo>
                  <a:lnTo>
                    <a:pt x="130" y="0"/>
                  </a:lnTo>
                  <a:lnTo>
                    <a:pt x="130" y="8"/>
                  </a:lnTo>
                  <a:lnTo>
                    <a:pt x="121" y="8"/>
                  </a:lnTo>
                  <a:lnTo>
                    <a:pt x="112" y="40"/>
                  </a:lnTo>
                  <a:lnTo>
                    <a:pt x="97" y="65"/>
                  </a:lnTo>
                  <a:lnTo>
                    <a:pt x="80" y="82"/>
                  </a:lnTo>
                  <a:lnTo>
                    <a:pt x="80" y="65"/>
                  </a:lnTo>
                  <a:lnTo>
                    <a:pt x="72" y="73"/>
                  </a:lnTo>
                  <a:lnTo>
                    <a:pt x="65" y="97"/>
                  </a:lnTo>
                  <a:lnTo>
                    <a:pt x="56" y="97"/>
                  </a:lnTo>
                  <a:lnTo>
                    <a:pt x="25" y="97"/>
                  </a:lnTo>
                  <a:lnTo>
                    <a:pt x="0" y="114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50" name="Freeform 267"/>
            <p:cNvSpPr>
              <a:spLocks/>
            </p:cNvSpPr>
            <p:nvPr/>
          </p:nvSpPr>
          <p:spPr bwMode="auto">
            <a:xfrm>
              <a:off x="5365" y="1904"/>
              <a:ext cx="107" cy="96"/>
            </a:xfrm>
            <a:custGeom>
              <a:avLst/>
              <a:gdLst>
                <a:gd name="T0" fmla="*/ 0 w 82"/>
                <a:gd name="T1" fmla="*/ 454 h 74"/>
                <a:gd name="T2" fmla="*/ 0 w 82"/>
                <a:gd name="T3" fmla="*/ 589 h 74"/>
                <a:gd name="T4" fmla="*/ 149 w 82"/>
                <a:gd name="T5" fmla="*/ 516 h 74"/>
                <a:gd name="T6" fmla="*/ 78 w 82"/>
                <a:gd name="T7" fmla="*/ 516 h 74"/>
                <a:gd name="T8" fmla="*/ 78 w 82"/>
                <a:gd name="T9" fmla="*/ 454 h 74"/>
                <a:gd name="T10" fmla="*/ 211 w 82"/>
                <a:gd name="T11" fmla="*/ 454 h 74"/>
                <a:gd name="T12" fmla="*/ 420 w 82"/>
                <a:gd name="T13" fmla="*/ 516 h 74"/>
                <a:gd name="T14" fmla="*/ 487 w 82"/>
                <a:gd name="T15" fmla="*/ 398 h 74"/>
                <a:gd name="T16" fmla="*/ 548 w 82"/>
                <a:gd name="T17" fmla="*/ 398 h 74"/>
                <a:gd name="T18" fmla="*/ 682 w 82"/>
                <a:gd name="T19" fmla="*/ 332 h 74"/>
                <a:gd name="T20" fmla="*/ 632 w 82"/>
                <a:gd name="T21" fmla="*/ 332 h 74"/>
                <a:gd name="T22" fmla="*/ 548 w 82"/>
                <a:gd name="T23" fmla="*/ 248 h 74"/>
                <a:gd name="T24" fmla="*/ 632 w 82"/>
                <a:gd name="T25" fmla="*/ 198 h 74"/>
                <a:gd name="T26" fmla="*/ 548 w 82"/>
                <a:gd name="T27" fmla="*/ 248 h 74"/>
                <a:gd name="T28" fmla="*/ 420 w 82"/>
                <a:gd name="T29" fmla="*/ 198 h 74"/>
                <a:gd name="T30" fmla="*/ 211 w 82"/>
                <a:gd name="T31" fmla="*/ 0 h 74"/>
                <a:gd name="T32" fmla="*/ 211 w 82"/>
                <a:gd name="T33" fmla="*/ 75 h 74"/>
                <a:gd name="T34" fmla="*/ 211 w 82"/>
                <a:gd name="T35" fmla="*/ 126 h 74"/>
                <a:gd name="T36" fmla="*/ 149 w 82"/>
                <a:gd name="T37" fmla="*/ 398 h 74"/>
                <a:gd name="T38" fmla="*/ 78 w 82"/>
                <a:gd name="T39" fmla="*/ 332 h 74"/>
                <a:gd name="T40" fmla="*/ 78 w 82"/>
                <a:gd name="T41" fmla="*/ 398 h 74"/>
                <a:gd name="T42" fmla="*/ 0 w 82"/>
                <a:gd name="T43" fmla="*/ 454 h 7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2"/>
                <a:gd name="T67" fmla="*/ 0 h 74"/>
                <a:gd name="T68" fmla="*/ 82 w 82"/>
                <a:gd name="T69" fmla="*/ 74 h 7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2" h="74">
                  <a:moveTo>
                    <a:pt x="0" y="56"/>
                  </a:moveTo>
                  <a:lnTo>
                    <a:pt x="0" y="73"/>
                  </a:lnTo>
                  <a:lnTo>
                    <a:pt x="18" y="65"/>
                  </a:lnTo>
                  <a:lnTo>
                    <a:pt x="9" y="65"/>
                  </a:lnTo>
                  <a:lnTo>
                    <a:pt x="9" y="56"/>
                  </a:lnTo>
                  <a:lnTo>
                    <a:pt x="25" y="56"/>
                  </a:lnTo>
                  <a:lnTo>
                    <a:pt x="50" y="65"/>
                  </a:lnTo>
                  <a:lnTo>
                    <a:pt x="58" y="50"/>
                  </a:lnTo>
                  <a:lnTo>
                    <a:pt x="65" y="50"/>
                  </a:lnTo>
                  <a:lnTo>
                    <a:pt x="81" y="41"/>
                  </a:lnTo>
                  <a:lnTo>
                    <a:pt x="75" y="41"/>
                  </a:lnTo>
                  <a:lnTo>
                    <a:pt x="65" y="31"/>
                  </a:lnTo>
                  <a:lnTo>
                    <a:pt x="75" y="25"/>
                  </a:lnTo>
                  <a:lnTo>
                    <a:pt x="65" y="31"/>
                  </a:lnTo>
                  <a:lnTo>
                    <a:pt x="50" y="25"/>
                  </a:lnTo>
                  <a:lnTo>
                    <a:pt x="25" y="0"/>
                  </a:lnTo>
                  <a:lnTo>
                    <a:pt x="25" y="9"/>
                  </a:lnTo>
                  <a:lnTo>
                    <a:pt x="25" y="16"/>
                  </a:lnTo>
                  <a:lnTo>
                    <a:pt x="18" y="50"/>
                  </a:lnTo>
                  <a:lnTo>
                    <a:pt x="9" y="41"/>
                  </a:lnTo>
                  <a:lnTo>
                    <a:pt x="9" y="50"/>
                  </a:lnTo>
                  <a:lnTo>
                    <a:pt x="0" y="5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51" name="Freeform 268"/>
            <p:cNvSpPr>
              <a:spLocks/>
            </p:cNvSpPr>
            <p:nvPr/>
          </p:nvSpPr>
          <p:spPr bwMode="auto">
            <a:xfrm>
              <a:off x="5620" y="1778"/>
              <a:ext cx="23" cy="21"/>
            </a:xfrm>
            <a:custGeom>
              <a:avLst/>
              <a:gdLst>
                <a:gd name="T0" fmla="*/ 0 w 18"/>
                <a:gd name="T1" fmla="*/ 43 h 17"/>
                <a:gd name="T2" fmla="*/ 0 w 18"/>
                <a:gd name="T3" fmla="*/ 89 h 17"/>
                <a:gd name="T4" fmla="*/ 59 w 18"/>
                <a:gd name="T5" fmla="*/ 43 h 17"/>
                <a:gd name="T6" fmla="*/ 123 w 18"/>
                <a:gd name="T7" fmla="*/ 0 h 17"/>
                <a:gd name="T8" fmla="*/ 0 w 18"/>
                <a:gd name="T9" fmla="*/ 43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7"/>
                <a:gd name="T17" fmla="*/ 18 w 18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7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17" y="0"/>
                  </a:lnTo>
                  <a:lnTo>
                    <a:pt x="0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52" name="Freeform 269"/>
            <p:cNvSpPr>
              <a:spLocks/>
            </p:cNvSpPr>
            <p:nvPr/>
          </p:nvSpPr>
          <p:spPr bwMode="auto">
            <a:xfrm>
              <a:off x="5620" y="1778"/>
              <a:ext cx="23" cy="21"/>
            </a:xfrm>
            <a:custGeom>
              <a:avLst/>
              <a:gdLst>
                <a:gd name="T0" fmla="*/ 0 w 18"/>
                <a:gd name="T1" fmla="*/ 43 h 17"/>
                <a:gd name="T2" fmla="*/ 0 w 18"/>
                <a:gd name="T3" fmla="*/ 89 h 17"/>
                <a:gd name="T4" fmla="*/ 59 w 18"/>
                <a:gd name="T5" fmla="*/ 43 h 17"/>
                <a:gd name="T6" fmla="*/ 123 w 18"/>
                <a:gd name="T7" fmla="*/ 0 h 17"/>
                <a:gd name="T8" fmla="*/ 0 w 18"/>
                <a:gd name="T9" fmla="*/ 43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7"/>
                <a:gd name="T17" fmla="*/ 18 w 18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7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17" y="0"/>
                  </a:lnTo>
                  <a:lnTo>
                    <a:pt x="0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53" name="Freeform 270"/>
            <p:cNvSpPr>
              <a:spLocks/>
            </p:cNvSpPr>
            <p:nvPr/>
          </p:nvSpPr>
          <p:spPr bwMode="auto">
            <a:xfrm>
              <a:off x="5758" y="1535"/>
              <a:ext cx="22" cy="22"/>
            </a:xfrm>
            <a:custGeom>
              <a:avLst/>
              <a:gdLst>
                <a:gd name="T0" fmla="*/ 0 w 17"/>
                <a:gd name="T1" fmla="*/ 126 h 17"/>
                <a:gd name="T2" fmla="*/ 126 w 17"/>
                <a:gd name="T3" fmla="*/ 58 h 17"/>
                <a:gd name="T4" fmla="*/ 126 w 17"/>
                <a:gd name="T5" fmla="*/ 0 h 17"/>
                <a:gd name="T6" fmla="*/ 79 w 17"/>
                <a:gd name="T7" fmla="*/ 0 h 17"/>
                <a:gd name="T8" fmla="*/ 0 w 17"/>
                <a:gd name="T9" fmla="*/ 126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0" y="16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54" name="Freeform 271"/>
            <p:cNvSpPr>
              <a:spLocks/>
            </p:cNvSpPr>
            <p:nvPr/>
          </p:nvSpPr>
          <p:spPr bwMode="auto">
            <a:xfrm>
              <a:off x="5758" y="1535"/>
              <a:ext cx="22" cy="22"/>
            </a:xfrm>
            <a:custGeom>
              <a:avLst/>
              <a:gdLst>
                <a:gd name="T0" fmla="*/ 0 w 17"/>
                <a:gd name="T1" fmla="*/ 126 h 17"/>
                <a:gd name="T2" fmla="*/ 126 w 17"/>
                <a:gd name="T3" fmla="*/ 58 h 17"/>
                <a:gd name="T4" fmla="*/ 126 w 17"/>
                <a:gd name="T5" fmla="*/ 0 h 17"/>
                <a:gd name="T6" fmla="*/ 79 w 17"/>
                <a:gd name="T7" fmla="*/ 0 h 17"/>
                <a:gd name="T8" fmla="*/ 0 w 17"/>
                <a:gd name="T9" fmla="*/ 126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0" y="16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55" name="Freeform 272"/>
            <p:cNvSpPr>
              <a:spLocks/>
            </p:cNvSpPr>
            <p:nvPr/>
          </p:nvSpPr>
          <p:spPr bwMode="auto">
            <a:xfrm>
              <a:off x="5398" y="1681"/>
              <a:ext cx="44" cy="224"/>
            </a:xfrm>
            <a:custGeom>
              <a:avLst/>
              <a:gdLst>
                <a:gd name="T0" fmla="*/ 0 w 34"/>
                <a:gd name="T1" fmla="*/ 146 h 172"/>
                <a:gd name="T2" fmla="*/ 0 w 34"/>
                <a:gd name="T3" fmla="*/ 487 h 172"/>
                <a:gd name="T4" fmla="*/ 61 w 34"/>
                <a:gd name="T5" fmla="*/ 543 h 172"/>
                <a:gd name="T6" fmla="*/ 0 w 34"/>
                <a:gd name="T7" fmla="*/ 952 h 172"/>
                <a:gd name="T8" fmla="*/ 61 w 34"/>
                <a:gd name="T9" fmla="*/ 1087 h 172"/>
                <a:gd name="T10" fmla="*/ 0 w 34"/>
                <a:gd name="T11" fmla="*/ 1285 h 172"/>
                <a:gd name="T12" fmla="*/ 61 w 34"/>
                <a:gd name="T13" fmla="*/ 1416 h 172"/>
                <a:gd name="T14" fmla="*/ 61 w 34"/>
                <a:gd name="T15" fmla="*/ 1285 h 172"/>
                <a:gd name="T16" fmla="*/ 193 w 34"/>
                <a:gd name="T17" fmla="*/ 1341 h 172"/>
                <a:gd name="T18" fmla="*/ 193 w 34"/>
                <a:gd name="T19" fmla="*/ 1285 h 172"/>
                <a:gd name="T20" fmla="*/ 61 w 34"/>
                <a:gd name="T21" fmla="*/ 1087 h 172"/>
                <a:gd name="T22" fmla="*/ 126 w 34"/>
                <a:gd name="T23" fmla="*/ 884 h 172"/>
                <a:gd name="T24" fmla="*/ 193 w 34"/>
                <a:gd name="T25" fmla="*/ 884 h 172"/>
                <a:gd name="T26" fmla="*/ 260 w 34"/>
                <a:gd name="T27" fmla="*/ 884 h 172"/>
                <a:gd name="T28" fmla="*/ 126 w 34"/>
                <a:gd name="T29" fmla="*/ 417 h 172"/>
                <a:gd name="T30" fmla="*/ 126 w 34"/>
                <a:gd name="T31" fmla="*/ 83 h 172"/>
                <a:gd name="T32" fmla="*/ 126 w 34"/>
                <a:gd name="T33" fmla="*/ 0 h 172"/>
                <a:gd name="T34" fmla="*/ 61 w 34"/>
                <a:gd name="T35" fmla="*/ 0 h 172"/>
                <a:gd name="T36" fmla="*/ 61 w 34"/>
                <a:gd name="T37" fmla="*/ 83 h 172"/>
                <a:gd name="T38" fmla="*/ 0 w 34"/>
                <a:gd name="T39" fmla="*/ 146 h 17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4"/>
                <a:gd name="T61" fmla="*/ 0 h 172"/>
                <a:gd name="T62" fmla="*/ 34 w 34"/>
                <a:gd name="T63" fmla="*/ 172 h 17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4" h="172">
                  <a:moveTo>
                    <a:pt x="0" y="18"/>
                  </a:moveTo>
                  <a:lnTo>
                    <a:pt x="0" y="59"/>
                  </a:lnTo>
                  <a:lnTo>
                    <a:pt x="8" y="65"/>
                  </a:lnTo>
                  <a:lnTo>
                    <a:pt x="0" y="115"/>
                  </a:lnTo>
                  <a:lnTo>
                    <a:pt x="8" y="131"/>
                  </a:lnTo>
                  <a:lnTo>
                    <a:pt x="0" y="155"/>
                  </a:lnTo>
                  <a:lnTo>
                    <a:pt x="8" y="171"/>
                  </a:lnTo>
                  <a:lnTo>
                    <a:pt x="8" y="155"/>
                  </a:lnTo>
                  <a:lnTo>
                    <a:pt x="25" y="162"/>
                  </a:lnTo>
                  <a:lnTo>
                    <a:pt x="25" y="155"/>
                  </a:lnTo>
                  <a:lnTo>
                    <a:pt x="8" y="131"/>
                  </a:lnTo>
                  <a:lnTo>
                    <a:pt x="16" y="107"/>
                  </a:lnTo>
                  <a:lnTo>
                    <a:pt x="25" y="107"/>
                  </a:lnTo>
                  <a:lnTo>
                    <a:pt x="33" y="107"/>
                  </a:lnTo>
                  <a:lnTo>
                    <a:pt x="16" y="50"/>
                  </a:lnTo>
                  <a:lnTo>
                    <a:pt x="16" y="1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10"/>
                  </a:lnTo>
                  <a:lnTo>
                    <a:pt x="0" y="1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56" name="Freeform 273"/>
            <p:cNvSpPr>
              <a:spLocks/>
            </p:cNvSpPr>
            <p:nvPr/>
          </p:nvSpPr>
          <p:spPr bwMode="auto">
            <a:xfrm>
              <a:off x="6012" y="1027"/>
              <a:ext cx="76" cy="43"/>
            </a:xfrm>
            <a:custGeom>
              <a:avLst/>
              <a:gdLst>
                <a:gd name="T0" fmla="*/ 137 w 59"/>
                <a:gd name="T1" fmla="*/ 211 h 33"/>
                <a:gd name="T2" fmla="*/ 251 w 59"/>
                <a:gd name="T3" fmla="*/ 211 h 33"/>
                <a:gd name="T4" fmla="*/ 443 w 59"/>
                <a:gd name="T5" fmla="*/ 133 h 33"/>
                <a:gd name="T6" fmla="*/ 318 w 59"/>
                <a:gd name="T7" fmla="*/ 0 h 33"/>
                <a:gd name="T8" fmla="*/ 137 w 59"/>
                <a:gd name="T9" fmla="*/ 0 h 33"/>
                <a:gd name="T10" fmla="*/ 0 w 59"/>
                <a:gd name="T11" fmla="*/ 133 h 33"/>
                <a:gd name="T12" fmla="*/ 59 w 59"/>
                <a:gd name="T13" fmla="*/ 270 h 33"/>
                <a:gd name="T14" fmla="*/ 137 w 59"/>
                <a:gd name="T15" fmla="*/ 211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9"/>
                <a:gd name="T25" fmla="*/ 0 h 33"/>
                <a:gd name="T26" fmla="*/ 59 w 59"/>
                <a:gd name="T27" fmla="*/ 33 h 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9" h="33">
                  <a:moveTo>
                    <a:pt x="18" y="25"/>
                  </a:moveTo>
                  <a:lnTo>
                    <a:pt x="33" y="25"/>
                  </a:lnTo>
                  <a:lnTo>
                    <a:pt x="58" y="16"/>
                  </a:lnTo>
                  <a:lnTo>
                    <a:pt x="42" y="0"/>
                  </a:lnTo>
                  <a:lnTo>
                    <a:pt x="18" y="0"/>
                  </a:lnTo>
                  <a:lnTo>
                    <a:pt x="0" y="16"/>
                  </a:lnTo>
                  <a:lnTo>
                    <a:pt x="8" y="32"/>
                  </a:lnTo>
                  <a:lnTo>
                    <a:pt x="18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57" name="Freeform 274"/>
            <p:cNvSpPr>
              <a:spLocks/>
            </p:cNvSpPr>
            <p:nvPr/>
          </p:nvSpPr>
          <p:spPr bwMode="auto">
            <a:xfrm>
              <a:off x="5377" y="898"/>
              <a:ext cx="55" cy="46"/>
            </a:xfrm>
            <a:custGeom>
              <a:avLst/>
              <a:gdLst>
                <a:gd name="T0" fmla="*/ 0 w 42"/>
                <a:gd name="T1" fmla="*/ 150 h 35"/>
                <a:gd name="T2" fmla="*/ 143 w 42"/>
                <a:gd name="T3" fmla="*/ 216 h 35"/>
                <a:gd name="T4" fmla="*/ 360 w 42"/>
                <a:gd name="T5" fmla="*/ 306 h 35"/>
                <a:gd name="T6" fmla="*/ 360 w 42"/>
                <a:gd name="T7" fmla="*/ 150 h 35"/>
                <a:gd name="T8" fmla="*/ 210 w 42"/>
                <a:gd name="T9" fmla="*/ 0 h 35"/>
                <a:gd name="T10" fmla="*/ 83 w 42"/>
                <a:gd name="T11" fmla="*/ 0 h 35"/>
                <a:gd name="T12" fmla="*/ 0 w 42"/>
                <a:gd name="T13" fmla="*/ 150 h 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2"/>
                <a:gd name="T22" fmla="*/ 0 h 35"/>
                <a:gd name="T23" fmla="*/ 42 w 42"/>
                <a:gd name="T24" fmla="*/ 35 h 3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2" h="35">
                  <a:moveTo>
                    <a:pt x="0" y="17"/>
                  </a:moveTo>
                  <a:lnTo>
                    <a:pt x="16" y="24"/>
                  </a:lnTo>
                  <a:lnTo>
                    <a:pt x="41" y="34"/>
                  </a:lnTo>
                  <a:lnTo>
                    <a:pt x="41" y="17"/>
                  </a:lnTo>
                  <a:lnTo>
                    <a:pt x="24" y="0"/>
                  </a:lnTo>
                  <a:lnTo>
                    <a:pt x="9" y="0"/>
                  </a:lnTo>
                  <a:lnTo>
                    <a:pt x="0" y="1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58" name="Freeform 275"/>
            <p:cNvSpPr>
              <a:spLocks/>
            </p:cNvSpPr>
            <p:nvPr/>
          </p:nvSpPr>
          <p:spPr bwMode="auto">
            <a:xfrm>
              <a:off x="5377" y="877"/>
              <a:ext cx="22" cy="23"/>
            </a:xfrm>
            <a:custGeom>
              <a:avLst/>
              <a:gdLst>
                <a:gd name="T0" fmla="*/ 0 w 17"/>
                <a:gd name="T1" fmla="*/ 0 h 17"/>
                <a:gd name="T2" fmla="*/ 0 w 17"/>
                <a:gd name="T3" fmla="*/ 183 h 17"/>
                <a:gd name="T4" fmla="*/ 126 w 17"/>
                <a:gd name="T5" fmla="*/ 100 h 17"/>
                <a:gd name="T6" fmla="*/ 126 w 17"/>
                <a:gd name="T7" fmla="*/ 0 h 17"/>
                <a:gd name="T8" fmla="*/ 0 w 17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59" name="Freeform 276"/>
            <p:cNvSpPr>
              <a:spLocks/>
            </p:cNvSpPr>
            <p:nvPr/>
          </p:nvSpPr>
          <p:spPr bwMode="auto">
            <a:xfrm>
              <a:off x="5482" y="795"/>
              <a:ext cx="76" cy="54"/>
            </a:xfrm>
            <a:custGeom>
              <a:avLst/>
              <a:gdLst>
                <a:gd name="T0" fmla="*/ 0 w 58"/>
                <a:gd name="T1" fmla="*/ 0 h 41"/>
                <a:gd name="T2" fmla="*/ 83 w 58"/>
                <a:gd name="T3" fmla="*/ 209 h 41"/>
                <a:gd name="T4" fmla="*/ 276 w 58"/>
                <a:gd name="T5" fmla="*/ 362 h 41"/>
                <a:gd name="T6" fmla="*/ 436 w 58"/>
                <a:gd name="T7" fmla="*/ 362 h 41"/>
                <a:gd name="T8" fmla="*/ 494 w 58"/>
                <a:gd name="T9" fmla="*/ 149 h 41"/>
                <a:gd name="T10" fmla="*/ 83 w 58"/>
                <a:gd name="T11" fmla="*/ 55 h 41"/>
                <a:gd name="T12" fmla="*/ 0 w 58"/>
                <a:gd name="T13" fmla="*/ 0 h 4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8"/>
                <a:gd name="T22" fmla="*/ 0 h 41"/>
                <a:gd name="T23" fmla="*/ 58 w 58"/>
                <a:gd name="T24" fmla="*/ 41 h 4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8" h="41">
                  <a:moveTo>
                    <a:pt x="0" y="0"/>
                  </a:moveTo>
                  <a:lnTo>
                    <a:pt x="9" y="23"/>
                  </a:lnTo>
                  <a:lnTo>
                    <a:pt x="32" y="40"/>
                  </a:lnTo>
                  <a:lnTo>
                    <a:pt x="50" y="40"/>
                  </a:lnTo>
                  <a:lnTo>
                    <a:pt x="57" y="16"/>
                  </a:lnTo>
                  <a:lnTo>
                    <a:pt x="9" y="6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60" name="Freeform 277"/>
            <p:cNvSpPr>
              <a:spLocks/>
            </p:cNvSpPr>
            <p:nvPr/>
          </p:nvSpPr>
          <p:spPr bwMode="auto">
            <a:xfrm>
              <a:off x="5324" y="751"/>
              <a:ext cx="127" cy="98"/>
            </a:xfrm>
            <a:custGeom>
              <a:avLst/>
              <a:gdLst>
                <a:gd name="T0" fmla="*/ 0 w 98"/>
                <a:gd name="T1" fmla="*/ 422 h 75"/>
                <a:gd name="T2" fmla="*/ 64 w 98"/>
                <a:gd name="T3" fmla="*/ 634 h 75"/>
                <a:gd name="T4" fmla="*/ 193 w 98"/>
                <a:gd name="T5" fmla="*/ 634 h 75"/>
                <a:gd name="T6" fmla="*/ 516 w 98"/>
                <a:gd name="T7" fmla="*/ 485 h 75"/>
                <a:gd name="T8" fmla="*/ 581 w 98"/>
                <a:gd name="T9" fmla="*/ 551 h 75"/>
                <a:gd name="T10" fmla="*/ 771 w 98"/>
                <a:gd name="T11" fmla="*/ 340 h 75"/>
                <a:gd name="T12" fmla="*/ 771 w 98"/>
                <a:gd name="T13" fmla="*/ 212 h 75"/>
                <a:gd name="T14" fmla="*/ 719 w 98"/>
                <a:gd name="T15" fmla="*/ 133 h 75"/>
                <a:gd name="T16" fmla="*/ 651 w 98"/>
                <a:gd name="T17" fmla="*/ 133 h 75"/>
                <a:gd name="T18" fmla="*/ 516 w 98"/>
                <a:gd name="T19" fmla="*/ 0 h 75"/>
                <a:gd name="T20" fmla="*/ 398 w 98"/>
                <a:gd name="T21" fmla="*/ 133 h 75"/>
                <a:gd name="T22" fmla="*/ 193 w 98"/>
                <a:gd name="T23" fmla="*/ 0 h 75"/>
                <a:gd name="T24" fmla="*/ 0 w 98"/>
                <a:gd name="T25" fmla="*/ 78 h 75"/>
                <a:gd name="T26" fmla="*/ 0 w 98"/>
                <a:gd name="T27" fmla="*/ 422 h 7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8"/>
                <a:gd name="T43" fmla="*/ 0 h 75"/>
                <a:gd name="T44" fmla="*/ 98 w 98"/>
                <a:gd name="T45" fmla="*/ 75 h 7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8" h="75">
                  <a:moveTo>
                    <a:pt x="0" y="50"/>
                  </a:moveTo>
                  <a:lnTo>
                    <a:pt x="8" y="74"/>
                  </a:lnTo>
                  <a:lnTo>
                    <a:pt x="25" y="74"/>
                  </a:lnTo>
                  <a:lnTo>
                    <a:pt x="65" y="57"/>
                  </a:lnTo>
                  <a:lnTo>
                    <a:pt x="73" y="65"/>
                  </a:lnTo>
                  <a:lnTo>
                    <a:pt x="97" y="40"/>
                  </a:lnTo>
                  <a:lnTo>
                    <a:pt x="97" y="25"/>
                  </a:lnTo>
                  <a:lnTo>
                    <a:pt x="90" y="16"/>
                  </a:lnTo>
                  <a:lnTo>
                    <a:pt x="82" y="16"/>
                  </a:lnTo>
                  <a:lnTo>
                    <a:pt x="65" y="0"/>
                  </a:lnTo>
                  <a:lnTo>
                    <a:pt x="50" y="16"/>
                  </a:lnTo>
                  <a:lnTo>
                    <a:pt x="25" y="0"/>
                  </a:lnTo>
                  <a:lnTo>
                    <a:pt x="0" y="9"/>
                  </a:lnTo>
                  <a:lnTo>
                    <a:pt x="0" y="5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61" name="Freeform 278"/>
            <p:cNvSpPr>
              <a:spLocks/>
            </p:cNvSpPr>
            <p:nvPr/>
          </p:nvSpPr>
          <p:spPr bwMode="auto">
            <a:xfrm>
              <a:off x="3891" y="689"/>
              <a:ext cx="290" cy="393"/>
            </a:xfrm>
            <a:custGeom>
              <a:avLst/>
              <a:gdLst>
                <a:gd name="T0" fmla="*/ 0 w 221"/>
                <a:gd name="T1" fmla="*/ 2240 h 300"/>
                <a:gd name="T2" fmla="*/ 217 w 221"/>
                <a:gd name="T3" fmla="*/ 2515 h 300"/>
                <a:gd name="T4" fmla="*/ 585 w 221"/>
                <a:gd name="T5" fmla="*/ 2596 h 300"/>
                <a:gd name="T6" fmla="*/ 650 w 221"/>
                <a:gd name="T7" fmla="*/ 2515 h 300"/>
                <a:gd name="T8" fmla="*/ 512 w 221"/>
                <a:gd name="T9" fmla="*/ 2376 h 300"/>
                <a:gd name="T10" fmla="*/ 426 w 221"/>
                <a:gd name="T11" fmla="*/ 2240 h 300"/>
                <a:gd name="T12" fmla="*/ 426 w 221"/>
                <a:gd name="T13" fmla="*/ 1893 h 300"/>
                <a:gd name="T14" fmla="*/ 512 w 221"/>
                <a:gd name="T15" fmla="*/ 1755 h 300"/>
                <a:gd name="T16" fmla="*/ 1008 w 221"/>
                <a:gd name="T17" fmla="*/ 899 h 300"/>
                <a:gd name="T18" fmla="*/ 1358 w 221"/>
                <a:gd name="T19" fmla="*/ 621 h 300"/>
                <a:gd name="T20" fmla="*/ 1934 w 221"/>
                <a:gd name="T21" fmla="*/ 343 h 300"/>
                <a:gd name="T22" fmla="*/ 1934 w 221"/>
                <a:gd name="T23" fmla="*/ 63 h 300"/>
                <a:gd name="T24" fmla="*/ 1803 w 221"/>
                <a:gd name="T25" fmla="*/ 0 h 300"/>
                <a:gd name="T26" fmla="*/ 1655 w 221"/>
                <a:gd name="T27" fmla="*/ 143 h 300"/>
                <a:gd name="T28" fmla="*/ 1504 w 221"/>
                <a:gd name="T29" fmla="*/ 276 h 300"/>
                <a:gd name="T30" fmla="*/ 1289 w 221"/>
                <a:gd name="T31" fmla="*/ 343 h 300"/>
                <a:gd name="T32" fmla="*/ 1076 w 221"/>
                <a:gd name="T33" fmla="*/ 343 h 300"/>
                <a:gd name="T34" fmla="*/ 873 w 221"/>
                <a:gd name="T35" fmla="*/ 486 h 300"/>
                <a:gd name="T36" fmla="*/ 650 w 221"/>
                <a:gd name="T37" fmla="*/ 752 h 300"/>
                <a:gd name="T38" fmla="*/ 426 w 221"/>
                <a:gd name="T39" fmla="*/ 899 h 300"/>
                <a:gd name="T40" fmla="*/ 426 w 221"/>
                <a:gd name="T41" fmla="*/ 1047 h 300"/>
                <a:gd name="T42" fmla="*/ 362 w 221"/>
                <a:gd name="T43" fmla="*/ 1255 h 300"/>
                <a:gd name="T44" fmla="*/ 217 w 221"/>
                <a:gd name="T45" fmla="*/ 1390 h 300"/>
                <a:gd name="T46" fmla="*/ 302 w 221"/>
                <a:gd name="T47" fmla="*/ 1535 h 300"/>
                <a:gd name="T48" fmla="*/ 217 w 221"/>
                <a:gd name="T49" fmla="*/ 1682 h 300"/>
                <a:gd name="T50" fmla="*/ 84 w 221"/>
                <a:gd name="T51" fmla="*/ 1814 h 300"/>
                <a:gd name="T52" fmla="*/ 160 w 221"/>
                <a:gd name="T53" fmla="*/ 1953 h 300"/>
                <a:gd name="T54" fmla="*/ 0 w 221"/>
                <a:gd name="T55" fmla="*/ 2032 h 300"/>
                <a:gd name="T56" fmla="*/ 0 w 221"/>
                <a:gd name="T57" fmla="*/ 2240 h 30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21"/>
                <a:gd name="T88" fmla="*/ 0 h 300"/>
                <a:gd name="T89" fmla="*/ 221 w 221"/>
                <a:gd name="T90" fmla="*/ 300 h 30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21" h="300">
                  <a:moveTo>
                    <a:pt x="0" y="258"/>
                  </a:moveTo>
                  <a:lnTo>
                    <a:pt x="25" y="290"/>
                  </a:lnTo>
                  <a:lnTo>
                    <a:pt x="66" y="299"/>
                  </a:lnTo>
                  <a:lnTo>
                    <a:pt x="74" y="290"/>
                  </a:lnTo>
                  <a:lnTo>
                    <a:pt x="58" y="274"/>
                  </a:lnTo>
                  <a:lnTo>
                    <a:pt x="49" y="258"/>
                  </a:lnTo>
                  <a:lnTo>
                    <a:pt x="49" y="218"/>
                  </a:lnTo>
                  <a:lnTo>
                    <a:pt x="58" y="202"/>
                  </a:lnTo>
                  <a:lnTo>
                    <a:pt x="114" y="104"/>
                  </a:lnTo>
                  <a:lnTo>
                    <a:pt x="155" y="72"/>
                  </a:lnTo>
                  <a:lnTo>
                    <a:pt x="220" y="40"/>
                  </a:lnTo>
                  <a:lnTo>
                    <a:pt x="220" y="7"/>
                  </a:lnTo>
                  <a:lnTo>
                    <a:pt x="205" y="0"/>
                  </a:lnTo>
                  <a:lnTo>
                    <a:pt x="188" y="16"/>
                  </a:lnTo>
                  <a:lnTo>
                    <a:pt x="171" y="32"/>
                  </a:lnTo>
                  <a:lnTo>
                    <a:pt x="146" y="40"/>
                  </a:lnTo>
                  <a:lnTo>
                    <a:pt x="123" y="40"/>
                  </a:lnTo>
                  <a:lnTo>
                    <a:pt x="99" y="56"/>
                  </a:lnTo>
                  <a:lnTo>
                    <a:pt x="74" y="87"/>
                  </a:lnTo>
                  <a:lnTo>
                    <a:pt x="49" y="104"/>
                  </a:lnTo>
                  <a:lnTo>
                    <a:pt x="49" y="121"/>
                  </a:lnTo>
                  <a:lnTo>
                    <a:pt x="41" y="144"/>
                  </a:lnTo>
                  <a:lnTo>
                    <a:pt x="25" y="160"/>
                  </a:lnTo>
                  <a:lnTo>
                    <a:pt x="34" y="177"/>
                  </a:lnTo>
                  <a:lnTo>
                    <a:pt x="25" y="194"/>
                  </a:lnTo>
                  <a:lnTo>
                    <a:pt x="9" y="209"/>
                  </a:lnTo>
                  <a:lnTo>
                    <a:pt x="18" y="225"/>
                  </a:lnTo>
                  <a:lnTo>
                    <a:pt x="0" y="234"/>
                  </a:lnTo>
                  <a:lnTo>
                    <a:pt x="0" y="25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62" name="Freeform 279"/>
            <p:cNvSpPr>
              <a:spLocks/>
            </p:cNvSpPr>
            <p:nvPr/>
          </p:nvSpPr>
          <p:spPr bwMode="auto">
            <a:xfrm>
              <a:off x="3840" y="1122"/>
              <a:ext cx="32" cy="45"/>
            </a:xfrm>
            <a:custGeom>
              <a:avLst/>
              <a:gdLst>
                <a:gd name="T0" fmla="*/ 0 w 25"/>
                <a:gd name="T1" fmla="*/ 314 h 34"/>
                <a:gd name="T2" fmla="*/ 124 w 25"/>
                <a:gd name="T3" fmla="*/ 228 h 34"/>
                <a:gd name="T4" fmla="*/ 174 w 25"/>
                <a:gd name="T5" fmla="*/ 139 h 34"/>
                <a:gd name="T6" fmla="*/ 65 w 25"/>
                <a:gd name="T7" fmla="*/ 0 h 34"/>
                <a:gd name="T8" fmla="*/ 0 w 25"/>
                <a:gd name="T9" fmla="*/ 139 h 34"/>
                <a:gd name="T10" fmla="*/ 0 w 25"/>
                <a:gd name="T11" fmla="*/ 314 h 3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5"/>
                <a:gd name="T19" fmla="*/ 0 h 34"/>
                <a:gd name="T20" fmla="*/ 25 w 25"/>
                <a:gd name="T21" fmla="*/ 34 h 3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5" h="34">
                  <a:moveTo>
                    <a:pt x="0" y="33"/>
                  </a:moveTo>
                  <a:lnTo>
                    <a:pt x="17" y="24"/>
                  </a:lnTo>
                  <a:lnTo>
                    <a:pt x="24" y="15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33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63" name="Freeform 280"/>
            <p:cNvSpPr>
              <a:spLocks/>
            </p:cNvSpPr>
            <p:nvPr/>
          </p:nvSpPr>
          <p:spPr bwMode="auto">
            <a:xfrm>
              <a:off x="2908" y="1555"/>
              <a:ext cx="23" cy="34"/>
            </a:xfrm>
            <a:custGeom>
              <a:avLst/>
              <a:gdLst>
                <a:gd name="T0" fmla="*/ 0 w 17"/>
                <a:gd name="T1" fmla="*/ 212 h 26"/>
                <a:gd name="T2" fmla="*/ 74 w 17"/>
                <a:gd name="T3" fmla="*/ 85 h 26"/>
                <a:gd name="T4" fmla="*/ 183 w 17"/>
                <a:gd name="T5" fmla="*/ 0 h 26"/>
                <a:gd name="T6" fmla="*/ 0 w 17"/>
                <a:gd name="T7" fmla="*/ 85 h 26"/>
                <a:gd name="T8" fmla="*/ 0 w 17"/>
                <a:gd name="T9" fmla="*/ 212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26"/>
                <a:gd name="T17" fmla="*/ 17 w 17"/>
                <a:gd name="T18" fmla="*/ 26 h 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26">
                  <a:moveTo>
                    <a:pt x="0" y="25"/>
                  </a:moveTo>
                  <a:lnTo>
                    <a:pt x="7" y="10"/>
                  </a:lnTo>
                  <a:lnTo>
                    <a:pt x="16" y="0"/>
                  </a:lnTo>
                  <a:lnTo>
                    <a:pt x="0" y="10"/>
                  </a:lnTo>
                  <a:lnTo>
                    <a:pt x="0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64" name="Freeform 281"/>
            <p:cNvSpPr>
              <a:spLocks/>
            </p:cNvSpPr>
            <p:nvPr/>
          </p:nvSpPr>
          <p:spPr bwMode="auto">
            <a:xfrm>
              <a:off x="2908" y="1555"/>
              <a:ext cx="23" cy="34"/>
            </a:xfrm>
            <a:custGeom>
              <a:avLst/>
              <a:gdLst>
                <a:gd name="T0" fmla="*/ 0 w 17"/>
                <a:gd name="T1" fmla="*/ 212 h 26"/>
                <a:gd name="T2" fmla="*/ 74 w 17"/>
                <a:gd name="T3" fmla="*/ 85 h 26"/>
                <a:gd name="T4" fmla="*/ 183 w 17"/>
                <a:gd name="T5" fmla="*/ 0 h 26"/>
                <a:gd name="T6" fmla="*/ 0 w 17"/>
                <a:gd name="T7" fmla="*/ 85 h 26"/>
                <a:gd name="T8" fmla="*/ 0 w 17"/>
                <a:gd name="T9" fmla="*/ 212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26"/>
                <a:gd name="T17" fmla="*/ 17 w 17"/>
                <a:gd name="T18" fmla="*/ 26 h 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26">
                  <a:moveTo>
                    <a:pt x="0" y="25"/>
                  </a:moveTo>
                  <a:lnTo>
                    <a:pt x="7" y="10"/>
                  </a:lnTo>
                  <a:lnTo>
                    <a:pt x="16" y="0"/>
                  </a:lnTo>
                  <a:lnTo>
                    <a:pt x="0" y="10"/>
                  </a:lnTo>
                  <a:lnTo>
                    <a:pt x="0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65" name="Freeform 282"/>
            <p:cNvSpPr>
              <a:spLocks/>
            </p:cNvSpPr>
            <p:nvPr/>
          </p:nvSpPr>
          <p:spPr bwMode="auto">
            <a:xfrm>
              <a:off x="3193" y="1640"/>
              <a:ext cx="22" cy="23"/>
            </a:xfrm>
            <a:custGeom>
              <a:avLst/>
              <a:gdLst>
                <a:gd name="T0" fmla="*/ 0 w 17"/>
                <a:gd name="T1" fmla="*/ 100 h 17"/>
                <a:gd name="T2" fmla="*/ 0 w 17"/>
                <a:gd name="T3" fmla="*/ 183 h 17"/>
                <a:gd name="T4" fmla="*/ 126 w 17"/>
                <a:gd name="T5" fmla="*/ 183 h 17"/>
                <a:gd name="T6" fmla="*/ 126 w 17"/>
                <a:gd name="T7" fmla="*/ 100 h 17"/>
                <a:gd name="T8" fmla="*/ 126 w 17"/>
                <a:gd name="T9" fmla="*/ 0 h 17"/>
                <a:gd name="T10" fmla="*/ 0 w 17"/>
                <a:gd name="T11" fmla="*/ 100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7"/>
                <a:gd name="T20" fmla="*/ 17 w 17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7">
                  <a:moveTo>
                    <a:pt x="0" y="9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0" y="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66" name="Freeform 283"/>
            <p:cNvSpPr>
              <a:spLocks/>
            </p:cNvSpPr>
            <p:nvPr/>
          </p:nvSpPr>
          <p:spPr bwMode="auto">
            <a:xfrm>
              <a:off x="3214" y="1629"/>
              <a:ext cx="25" cy="24"/>
            </a:xfrm>
            <a:custGeom>
              <a:avLst/>
              <a:gdLst>
                <a:gd name="T0" fmla="*/ 0 w 19"/>
                <a:gd name="T1" fmla="*/ 59 h 19"/>
                <a:gd name="T2" fmla="*/ 0 w 19"/>
                <a:gd name="T3" fmla="*/ 120 h 19"/>
                <a:gd name="T4" fmla="*/ 164 w 19"/>
                <a:gd name="T5" fmla="*/ 120 h 19"/>
                <a:gd name="T6" fmla="*/ 164 w 19"/>
                <a:gd name="T7" fmla="*/ 59 h 19"/>
                <a:gd name="T8" fmla="*/ 164 w 19"/>
                <a:gd name="T9" fmla="*/ 0 h 19"/>
                <a:gd name="T10" fmla="*/ 0 w 19"/>
                <a:gd name="T11" fmla="*/ 59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9"/>
                <a:gd name="T20" fmla="*/ 19 w 19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9">
                  <a:moveTo>
                    <a:pt x="0" y="9"/>
                  </a:moveTo>
                  <a:lnTo>
                    <a:pt x="0" y="18"/>
                  </a:lnTo>
                  <a:lnTo>
                    <a:pt x="18" y="18"/>
                  </a:lnTo>
                  <a:lnTo>
                    <a:pt x="18" y="9"/>
                  </a:lnTo>
                  <a:lnTo>
                    <a:pt x="18" y="0"/>
                  </a:lnTo>
                  <a:lnTo>
                    <a:pt x="0" y="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67" name="Freeform 284"/>
            <p:cNvSpPr>
              <a:spLocks/>
            </p:cNvSpPr>
            <p:nvPr/>
          </p:nvSpPr>
          <p:spPr bwMode="auto">
            <a:xfrm>
              <a:off x="3214" y="1662"/>
              <a:ext cx="25" cy="22"/>
            </a:xfrm>
            <a:custGeom>
              <a:avLst/>
              <a:gdLst>
                <a:gd name="T0" fmla="*/ 0 w 19"/>
                <a:gd name="T1" fmla="*/ 0 h 17"/>
                <a:gd name="T2" fmla="*/ 0 w 19"/>
                <a:gd name="T3" fmla="*/ 126 h 17"/>
                <a:gd name="T4" fmla="*/ 164 w 19"/>
                <a:gd name="T5" fmla="*/ 0 h 17"/>
                <a:gd name="T6" fmla="*/ 0 w 19"/>
                <a:gd name="T7" fmla="*/ 0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7"/>
                <a:gd name="T14" fmla="*/ 19 w 19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7">
                  <a:moveTo>
                    <a:pt x="0" y="0"/>
                  </a:moveTo>
                  <a:lnTo>
                    <a:pt x="0" y="16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68" name="Freeform 285"/>
            <p:cNvSpPr>
              <a:spLocks/>
            </p:cNvSpPr>
            <p:nvPr/>
          </p:nvSpPr>
          <p:spPr bwMode="auto">
            <a:xfrm>
              <a:off x="2918" y="1555"/>
              <a:ext cx="140" cy="244"/>
            </a:xfrm>
            <a:custGeom>
              <a:avLst/>
              <a:gdLst>
                <a:gd name="T0" fmla="*/ 160 w 107"/>
                <a:gd name="T1" fmla="*/ 1506 h 188"/>
                <a:gd name="T2" fmla="*/ 209 w 107"/>
                <a:gd name="T3" fmla="*/ 1438 h 188"/>
                <a:gd name="T4" fmla="*/ 357 w 107"/>
                <a:gd name="T5" fmla="*/ 1506 h 188"/>
                <a:gd name="T6" fmla="*/ 357 w 107"/>
                <a:gd name="T7" fmla="*/ 1438 h 188"/>
                <a:gd name="T8" fmla="*/ 421 w 107"/>
                <a:gd name="T9" fmla="*/ 1374 h 188"/>
                <a:gd name="T10" fmla="*/ 496 w 107"/>
                <a:gd name="T11" fmla="*/ 1438 h 188"/>
                <a:gd name="T12" fmla="*/ 568 w 107"/>
                <a:gd name="T13" fmla="*/ 1374 h 188"/>
                <a:gd name="T14" fmla="*/ 843 w 107"/>
                <a:gd name="T15" fmla="*/ 1374 h 188"/>
                <a:gd name="T16" fmla="*/ 912 w 107"/>
                <a:gd name="T17" fmla="*/ 1304 h 188"/>
                <a:gd name="T18" fmla="*/ 771 w 107"/>
                <a:gd name="T19" fmla="*/ 1304 h 188"/>
                <a:gd name="T20" fmla="*/ 912 w 107"/>
                <a:gd name="T21" fmla="*/ 1108 h 188"/>
                <a:gd name="T22" fmla="*/ 843 w 107"/>
                <a:gd name="T23" fmla="*/ 1056 h 188"/>
                <a:gd name="T24" fmla="*/ 771 w 107"/>
                <a:gd name="T25" fmla="*/ 1056 h 188"/>
                <a:gd name="T26" fmla="*/ 697 w 107"/>
                <a:gd name="T27" fmla="*/ 1056 h 188"/>
                <a:gd name="T28" fmla="*/ 771 w 107"/>
                <a:gd name="T29" fmla="*/ 979 h 188"/>
                <a:gd name="T30" fmla="*/ 771 w 107"/>
                <a:gd name="T31" fmla="*/ 920 h 188"/>
                <a:gd name="T32" fmla="*/ 697 w 107"/>
                <a:gd name="T33" fmla="*/ 784 h 188"/>
                <a:gd name="T34" fmla="*/ 637 w 107"/>
                <a:gd name="T35" fmla="*/ 733 h 188"/>
                <a:gd name="T36" fmla="*/ 496 w 107"/>
                <a:gd name="T37" fmla="*/ 533 h 188"/>
                <a:gd name="T38" fmla="*/ 357 w 107"/>
                <a:gd name="T39" fmla="*/ 459 h 188"/>
                <a:gd name="T40" fmla="*/ 568 w 107"/>
                <a:gd name="T41" fmla="*/ 200 h 188"/>
                <a:gd name="T42" fmla="*/ 496 w 107"/>
                <a:gd name="T43" fmla="*/ 140 h 188"/>
                <a:gd name="T44" fmla="*/ 283 w 107"/>
                <a:gd name="T45" fmla="*/ 200 h 188"/>
                <a:gd name="T46" fmla="*/ 283 w 107"/>
                <a:gd name="T47" fmla="*/ 83 h 188"/>
                <a:gd name="T48" fmla="*/ 421 w 107"/>
                <a:gd name="T49" fmla="*/ 0 h 188"/>
                <a:gd name="T50" fmla="*/ 357 w 107"/>
                <a:gd name="T51" fmla="*/ 0 h 188"/>
                <a:gd name="T52" fmla="*/ 209 w 107"/>
                <a:gd name="T53" fmla="*/ 0 h 188"/>
                <a:gd name="T54" fmla="*/ 79 w 107"/>
                <a:gd name="T55" fmla="*/ 200 h 188"/>
                <a:gd name="T56" fmla="*/ 0 w 107"/>
                <a:gd name="T57" fmla="*/ 200 h 188"/>
                <a:gd name="T58" fmla="*/ 79 w 107"/>
                <a:gd name="T59" fmla="*/ 270 h 188"/>
                <a:gd name="T60" fmla="*/ 160 w 107"/>
                <a:gd name="T61" fmla="*/ 270 h 188"/>
                <a:gd name="T62" fmla="*/ 79 w 107"/>
                <a:gd name="T63" fmla="*/ 401 h 188"/>
                <a:gd name="T64" fmla="*/ 160 w 107"/>
                <a:gd name="T65" fmla="*/ 401 h 188"/>
                <a:gd name="T66" fmla="*/ 160 w 107"/>
                <a:gd name="T67" fmla="*/ 459 h 188"/>
                <a:gd name="T68" fmla="*/ 79 w 107"/>
                <a:gd name="T69" fmla="*/ 533 h 188"/>
                <a:gd name="T70" fmla="*/ 160 w 107"/>
                <a:gd name="T71" fmla="*/ 533 h 188"/>
                <a:gd name="T72" fmla="*/ 209 w 107"/>
                <a:gd name="T73" fmla="*/ 604 h 188"/>
                <a:gd name="T74" fmla="*/ 160 w 107"/>
                <a:gd name="T75" fmla="*/ 658 h 188"/>
                <a:gd name="T76" fmla="*/ 209 w 107"/>
                <a:gd name="T77" fmla="*/ 733 h 188"/>
                <a:gd name="T78" fmla="*/ 357 w 107"/>
                <a:gd name="T79" fmla="*/ 658 h 188"/>
                <a:gd name="T80" fmla="*/ 357 w 107"/>
                <a:gd name="T81" fmla="*/ 733 h 188"/>
                <a:gd name="T82" fmla="*/ 357 w 107"/>
                <a:gd name="T83" fmla="*/ 784 h 188"/>
                <a:gd name="T84" fmla="*/ 421 w 107"/>
                <a:gd name="T85" fmla="*/ 784 h 188"/>
                <a:gd name="T86" fmla="*/ 421 w 107"/>
                <a:gd name="T87" fmla="*/ 920 h 188"/>
                <a:gd name="T88" fmla="*/ 209 w 107"/>
                <a:gd name="T89" fmla="*/ 920 h 188"/>
                <a:gd name="T90" fmla="*/ 283 w 107"/>
                <a:gd name="T91" fmla="*/ 979 h 188"/>
                <a:gd name="T92" fmla="*/ 209 w 107"/>
                <a:gd name="T93" fmla="*/ 1056 h 188"/>
                <a:gd name="T94" fmla="*/ 283 w 107"/>
                <a:gd name="T95" fmla="*/ 1056 h 188"/>
                <a:gd name="T96" fmla="*/ 283 w 107"/>
                <a:gd name="T97" fmla="*/ 1108 h 188"/>
                <a:gd name="T98" fmla="*/ 160 w 107"/>
                <a:gd name="T99" fmla="*/ 1188 h 188"/>
                <a:gd name="T100" fmla="*/ 209 w 107"/>
                <a:gd name="T101" fmla="*/ 1250 h 188"/>
                <a:gd name="T102" fmla="*/ 283 w 107"/>
                <a:gd name="T103" fmla="*/ 1250 h 188"/>
                <a:gd name="T104" fmla="*/ 357 w 107"/>
                <a:gd name="T105" fmla="*/ 1304 h 188"/>
                <a:gd name="T106" fmla="*/ 421 w 107"/>
                <a:gd name="T107" fmla="*/ 1250 h 188"/>
                <a:gd name="T108" fmla="*/ 421 w 107"/>
                <a:gd name="T109" fmla="*/ 1304 h 188"/>
                <a:gd name="T110" fmla="*/ 283 w 107"/>
                <a:gd name="T111" fmla="*/ 1304 h 188"/>
                <a:gd name="T112" fmla="*/ 160 w 107"/>
                <a:gd name="T113" fmla="*/ 1506 h 18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7"/>
                <a:gd name="T172" fmla="*/ 0 h 188"/>
                <a:gd name="T173" fmla="*/ 107 w 107"/>
                <a:gd name="T174" fmla="*/ 188 h 18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7" h="188">
                  <a:moveTo>
                    <a:pt x="18" y="187"/>
                  </a:moveTo>
                  <a:lnTo>
                    <a:pt x="24" y="179"/>
                  </a:lnTo>
                  <a:lnTo>
                    <a:pt x="41" y="187"/>
                  </a:lnTo>
                  <a:lnTo>
                    <a:pt x="41" y="179"/>
                  </a:lnTo>
                  <a:lnTo>
                    <a:pt x="49" y="171"/>
                  </a:lnTo>
                  <a:lnTo>
                    <a:pt x="58" y="179"/>
                  </a:lnTo>
                  <a:lnTo>
                    <a:pt x="66" y="171"/>
                  </a:lnTo>
                  <a:lnTo>
                    <a:pt x="98" y="171"/>
                  </a:lnTo>
                  <a:lnTo>
                    <a:pt x="106" y="162"/>
                  </a:lnTo>
                  <a:lnTo>
                    <a:pt x="90" y="162"/>
                  </a:lnTo>
                  <a:lnTo>
                    <a:pt x="106" y="138"/>
                  </a:lnTo>
                  <a:lnTo>
                    <a:pt x="98" y="131"/>
                  </a:lnTo>
                  <a:lnTo>
                    <a:pt x="90" y="131"/>
                  </a:lnTo>
                  <a:lnTo>
                    <a:pt x="81" y="131"/>
                  </a:lnTo>
                  <a:lnTo>
                    <a:pt x="90" y="122"/>
                  </a:lnTo>
                  <a:lnTo>
                    <a:pt x="90" y="115"/>
                  </a:lnTo>
                  <a:lnTo>
                    <a:pt x="81" y="97"/>
                  </a:lnTo>
                  <a:lnTo>
                    <a:pt x="74" y="91"/>
                  </a:lnTo>
                  <a:lnTo>
                    <a:pt x="58" y="66"/>
                  </a:lnTo>
                  <a:lnTo>
                    <a:pt x="41" y="57"/>
                  </a:lnTo>
                  <a:lnTo>
                    <a:pt x="66" y="25"/>
                  </a:lnTo>
                  <a:lnTo>
                    <a:pt x="58" y="17"/>
                  </a:lnTo>
                  <a:lnTo>
                    <a:pt x="33" y="25"/>
                  </a:lnTo>
                  <a:lnTo>
                    <a:pt x="33" y="1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4" y="0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9" y="33"/>
                  </a:lnTo>
                  <a:lnTo>
                    <a:pt x="18" y="33"/>
                  </a:lnTo>
                  <a:lnTo>
                    <a:pt x="9" y="50"/>
                  </a:lnTo>
                  <a:lnTo>
                    <a:pt x="18" y="50"/>
                  </a:lnTo>
                  <a:lnTo>
                    <a:pt x="18" y="57"/>
                  </a:lnTo>
                  <a:lnTo>
                    <a:pt x="9" y="66"/>
                  </a:lnTo>
                  <a:lnTo>
                    <a:pt x="18" y="66"/>
                  </a:lnTo>
                  <a:lnTo>
                    <a:pt x="24" y="75"/>
                  </a:lnTo>
                  <a:lnTo>
                    <a:pt x="18" y="82"/>
                  </a:lnTo>
                  <a:lnTo>
                    <a:pt x="24" y="91"/>
                  </a:lnTo>
                  <a:lnTo>
                    <a:pt x="41" y="82"/>
                  </a:lnTo>
                  <a:lnTo>
                    <a:pt x="41" y="91"/>
                  </a:lnTo>
                  <a:lnTo>
                    <a:pt x="41" y="97"/>
                  </a:lnTo>
                  <a:lnTo>
                    <a:pt x="49" y="97"/>
                  </a:lnTo>
                  <a:lnTo>
                    <a:pt x="49" y="115"/>
                  </a:lnTo>
                  <a:lnTo>
                    <a:pt x="24" y="115"/>
                  </a:lnTo>
                  <a:lnTo>
                    <a:pt x="33" y="122"/>
                  </a:lnTo>
                  <a:lnTo>
                    <a:pt x="24" y="131"/>
                  </a:lnTo>
                  <a:lnTo>
                    <a:pt x="33" y="131"/>
                  </a:lnTo>
                  <a:lnTo>
                    <a:pt x="33" y="138"/>
                  </a:lnTo>
                  <a:lnTo>
                    <a:pt x="18" y="147"/>
                  </a:lnTo>
                  <a:lnTo>
                    <a:pt x="24" y="156"/>
                  </a:lnTo>
                  <a:lnTo>
                    <a:pt x="33" y="156"/>
                  </a:lnTo>
                  <a:lnTo>
                    <a:pt x="41" y="162"/>
                  </a:lnTo>
                  <a:lnTo>
                    <a:pt x="49" y="156"/>
                  </a:lnTo>
                  <a:lnTo>
                    <a:pt x="49" y="162"/>
                  </a:lnTo>
                  <a:lnTo>
                    <a:pt x="33" y="162"/>
                  </a:lnTo>
                  <a:lnTo>
                    <a:pt x="18" y="18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69" name="Freeform 286"/>
            <p:cNvSpPr>
              <a:spLocks/>
            </p:cNvSpPr>
            <p:nvPr/>
          </p:nvSpPr>
          <p:spPr bwMode="auto">
            <a:xfrm>
              <a:off x="3172" y="1970"/>
              <a:ext cx="22" cy="41"/>
            </a:xfrm>
            <a:custGeom>
              <a:avLst/>
              <a:gdLst>
                <a:gd name="T0" fmla="*/ 0 w 17"/>
                <a:gd name="T1" fmla="*/ 46 h 32"/>
                <a:gd name="T2" fmla="*/ 0 w 17"/>
                <a:gd name="T3" fmla="*/ 163 h 32"/>
                <a:gd name="T4" fmla="*/ 126 w 17"/>
                <a:gd name="T5" fmla="*/ 223 h 32"/>
                <a:gd name="T6" fmla="*/ 126 w 17"/>
                <a:gd name="T7" fmla="*/ 0 h 32"/>
                <a:gd name="T8" fmla="*/ 0 w 17"/>
                <a:gd name="T9" fmla="*/ 46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32"/>
                <a:gd name="T17" fmla="*/ 17 w 17"/>
                <a:gd name="T18" fmla="*/ 32 h 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32">
                  <a:moveTo>
                    <a:pt x="0" y="6"/>
                  </a:moveTo>
                  <a:lnTo>
                    <a:pt x="0" y="23"/>
                  </a:lnTo>
                  <a:lnTo>
                    <a:pt x="16" y="31"/>
                  </a:lnTo>
                  <a:lnTo>
                    <a:pt x="16" y="0"/>
                  </a:lnTo>
                  <a:lnTo>
                    <a:pt x="0" y="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70" name="Freeform 287"/>
            <p:cNvSpPr>
              <a:spLocks/>
            </p:cNvSpPr>
            <p:nvPr/>
          </p:nvSpPr>
          <p:spPr bwMode="auto">
            <a:xfrm>
              <a:off x="3160" y="2010"/>
              <a:ext cx="34" cy="55"/>
            </a:xfrm>
            <a:custGeom>
              <a:avLst/>
              <a:gdLst>
                <a:gd name="T0" fmla="*/ 0 w 26"/>
                <a:gd name="T1" fmla="*/ 0 h 42"/>
                <a:gd name="T2" fmla="*/ 78 w 26"/>
                <a:gd name="T3" fmla="*/ 276 h 42"/>
                <a:gd name="T4" fmla="*/ 78 w 26"/>
                <a:gd name="T5" fmla="*/ 360 h 42"/>
                <a:gd name="T6" fmla="*/ 162 w 26"/>
                <a:gd name="T7" fmla="*/ 276 h 42"/>
                <a:gd name="T8" fmla="*/ 212 w 26"/>
                <a:gd name="T9" fmla="*/ 83 h 42"/>
                <a:gd name="T10" fmla="*/ 162 w 26"/>
                <a:gd name="T11" fmla="*/ 0 h 42"/>
                <a:gd name="T12" fmla="*/ 0 w 26"/>
                <a:gd name="T13" fmla="*/ 0 h 4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42"/>
                <a:gd name="T23" fmla="*/ 26 w 26"/>
                <a:gd name="T24" fmla="*/ 42 h 4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42">
                  <a:moveTo>
                    <a:pt x="0" y="0"/>
                  </a:moveTo>
                  <a:lnTo>
                    <a:pt x="9" y="32"/>
                  </a:lnTo>
                  <a:lnTo>
                    <a:pt x="9" y="41"/>
                  </a:lnTo>
                  <a:lnTo>
                    <a:pt x="19" y="32"/>
                  </a:lnTo>
                  <a:lnTo>
                    <a:pt x="25" y="9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71" name="Freeform 288"/>
            <p:cNvSpPr>
              <a:spLocks/>
            </p:cNvSpPr>
            <p:nvPr/>
          </p:nvSpPr>
          <p:spPr bwMode="auto">
            <a:xfrm>
              <a:off x="3238" y="2074"/>
              <a:ext cx="54" cy="34"/>
            </a:xfrm>
            <a:custGeom>
              <a:avLst/>
              <a:gdLst>
                <a:gd name="T0" fmla="*/ 0 w 41"/>
                <a:gd name="T1" fmla="*/ 0 h 26"/>
                <a:gd name="T2" fmla="*/ 0 w 41"/>
                <a:gd name="T3" fmla="*/ 65 h 26"/>
                <a:gd name="T4" fmla="*/ 286 w 41"/>
                <a:gd name="T5" fmla="*/ 212 h 26"/>
                <a:gd name="T6" fmla="*/ 362 w 41"/>
                <a:gd name="T7" fmla="*/ 0 h 26"/>
                <a:gd name="T8" fmla="*/ 209 w 41"/>
                <a:gd name="T9" fmla="*/ 0 h 26"/>
                <a:gd name="T10" fmla="*/ 65 w 41"/>
                <a:gd name="T11" fmla="*/ 0 h 26"/>
                <a:gd name="T12" fmla="*/ 0 w 41"/>
                <a:gd name="T13" fmla="*/ 0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6"/>
                <a:gd name="T23" fmla="*/ 41 w 41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6">
                  <a:moveTo>
                    <a:pt x="0" y="0"/>
                  </a:moveTo>
                  <a:lnTo>
                    <a:pt x="0" y="8"/>
                  </a:lnTo>
                  <a:lnTo>
                    <a:pt x="32" y="25"/>
                  </a:lnTo>
                  <a:lnTo>
                    <a:pt x="40" y="0"/>
                  </a:lnTo>
                  <a:lnTo>
                    <a:pt x="23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72" name="Freeform 289"/>
            <p:cNvSpPr>
              <a:spLocks/>
            </p:cNvSpPr>
            <p:nvPr/>
          </p:nvSpPr>
          <p:spPr bwMode="auto">
            <a:xfrm>
              <a:off x="3383" y="2074"/>
              <a:ext cx="35" cy="34"/>
            </a:xfrm>
            <a:custGeom>
              <a:avLst/>
              <a:gdLst>
                <a:gd name="T0" fmla="*/ 0 w 26"/>
                <a:gd name="T1" fmla="*/ 65 h 26"/>
                <a:gd name="T2" fmla="*/ 98 w 26"/>
                <a:gd name="T3" fmla="*/ 65 h 26"/>
                <a:gd name="T4" fmla="*/ 98 w 26"/>
                <a:gd name="T5" fmla="*/ 212 h 26"/>
                <a:gd name="T6" fmla="*/ 178 w 26"/>
                <a:gd name="T7" fmla="*/ 212 h 26"/>
                <a:gd name="T8" fmla="*/ 273 w 26"/>
                <a:gd name="T9" fmla="*/ 212 h 26"/>
                <a:gd name="T10" fmla="*/ 178 w 26"/>
                <a:gd name="T11" fmla="*/ 65 h 26"/>
                <a:gd name="T12" fmla="*/ 273 w 26"/>
                <a:gd name="T13" fmla="*/ 133 h 26"/>
                <a:gd name="T14" fmla="*/ 273 w 26"/>
                <a:gd name="T15" fmla="*/ 65 h 26"/>
                <a:gd name="T16" fmla="*/ 98 w 26"/>
                <a:gd name="T17" fmla="*/ 0 h 26"/>
                <a:gd name="T18" fmla="*/ 0 w 26"/>
                <a:gd name="T19" fmla="*/ 65 h 2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26"/>
                <a:gd name="T32" fmla="*/ 26 w 26"/>
                <a:gd name="T33" fmla="*/ 26 h 2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26">
                  <a:moveTo>
                    <a:pt x="0" y="8"/>
                  </a:moveTo>
                  <a:lnTo>
                    <a:pt x="9" y="8"/>
                  </a:lnTo>
                  <a:lnTo>
                    <a:pt x="9" y="25"/>
                  </a:lnTo>
                  <a:lnTo>
                    <a:pt x="16" y="25"/>
                  </a:lnTo>
                  <a:lnTo>
                    <a:pt x="25" y="25"/>
                  </a:lnTo>
                  <a:lnTo>
                    <a:pt x="16" y="8"/>
                  </a:lnTo>
                  <a:lnTo>
                    <a:pt x="25" y="16"/>
                  </a:lnTo>
                  <a:lnTo>
                    <a:pt x="25" y="8"/>
                  </a:lnTo>
                  <a:lnTo>
                    <a:pt x="9" y="0"/>
                  </a:lnTo>
                  <a:lnTo>
                    <a:pt x="0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73" name="Freeform 290"/>
            <p:cNvSpPr>
              <a:spLocks/>
            </p:cNvSpPr>
            <p:nvPr/>
          </p:nvSpPr>
          <p:spPr bwMode="auto">
            <a:xfrm>
              <a:off x="3562" y="2126"/>
              <a:ext cx="46" cy="24"/>
            </a:xfrm>
            <a:custGeom>
              <a:avLst/>
              <a:gdLst>
                <a:gd name="T0" fmla="*/ 0 w 35"/>
                <a:gd name="T1" fmla="*/ 85 h 18"/>
                <a:gd name="T2" fmla="*/ 87 w 35"/>
                <a:gd name="T3" fmla="*/ 172 h 18"/>
                <a:gd name="T4" fmla="*/ 164 w 35"/>
                <a:gd name="T5" fmla="*/ 172 h 18"/>
                <a:gd name="T6" fmla="*/ 225 w 35"/>
                <a:gd name="T7" fmla="*/ 85 h 18"/>
                <a:gd name="T8" fmla="*/ 306 w 35"/>
                <a:gd name="T9" fmla="*/ 0 h 18"/>
                <a:gd name="T10" fmla="*/ 0 w 35"/>
                <a:gd name="T11" fmla="*/ 85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18"/>
                <a:gd name="T20" fmla="*/ 35 w 35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18">
                  <a:moveTo>
                    <a:pt x="0" y="8"/>
                  </a:moveTo>
                  <a:lnTo>
                    <a:pt x="10" y="17"/>
                  </a:lnTo>
                  <a:lnTo>
                    <a:pt x="18" y="17"/>
                  </a:lnTo>
                  <a:lnTo>
                    <a:pt x="25" y="8"/>
                  </a:lnTo>
                  <a:lnTo>
                    <a:pt x="34" y="0"/>
                  </a:lnTo>
                  <a:lnTo>
                    <a:pt x="0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74" name="Freeform 291"/>
            <p:cNvSpPr>
              <a:spLocks/>
            </p:cNvSpPr>
            <p:nvPr/>
          </p:nvSpPr>
          <p:spPr bwMode="auto">
            <a:xfrm>
              <a:off x="3068" y="2031"/>
              <a:ext cx="21" cy="22"/>
            </a:xfrm>
            <a:custGeom>
              <a:avLst/>
              <a:gdLst>
                <a:gd name="T0" fmla="*/ 0 w 17"/>
                <a:gd name="T1" fmla="*/ 75 h 17"/>
                <a:gd name="T2" fmla="*/ 32 w 17"/>
                <a:gd name="T3" fmla="*/ 126 h 17"/>
                <a:gd name="T4" fmla="*/ 89 w 17"/>
                <a:gd name="T5" fmla="*/ 75 h 17"/>
                <a:gd name="T6" fmla="*/ 32 w 17"/>
                <a:gd name="T7" fmla="*/ 0 h 17"/>
                <a:gd name="T8" fmla="*/ 0 w 17"/>
                <a:gd name="T9" fmla="*/ 75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0" y="9"/>
                  </a:moveTo>
                  <a:lnTo>
                    <a:pt x="6" y="16"/>
                  </a:lnTo>
                  <a:lnTo>
                    <a:pt x="16" y="9"/>
                  </a:lnTo>
                  <a:lnTo>
                    <a:pt x="6" y="0"/>
                  </a:lnTo>
                  <a:lnTo>
                    <a:pt x="0" y="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75" name="Freeform 292"/>
            <p:cNvSpPr>
              <a:spLocks/>
            </p:cNvSpPr>
            <p:nvPr/>
          </p:nvSpPr>
          <p:spPr bwMode="auto">
            <a:xfrm>
              <a:off x="4920" y="2940"/>
              <a:ext cx="681" cy="530"/>
            </a:xfrm>
            <a:custGeom>
              <a:avLst/>
              <a:gdLst>
                <a:gd name="T0" fmla="*/ 408 w 521"/>
                <a:gd name="T1" fmla="*/ 2881 h 406"/>
                <a:gd name="T2" fmla="*/ 758 w 521"/>
                <a:gd name="T3" fmla="*/ 2672 h 406"/>
                <a:gd name="T4" fmla="*/ 1170 w 521"/>
                <a:gd name="T5" fmla="*/ 2595 h 406"/>
                <a:gd name="T6" fmla="*/ 1997 w 521"/>
                <a:gd name="T7" fmla="*/ 2384 h 406"/>
                <a:gd name="T8" fmla="*/ 2277 w 521"/>
                <a:gd name="T9" fmla="*/ 2595 h 406"/>
                <a:gd name="T10" fmla="*/ 2499 w 521"/>
                <a:gd name="T11" fmla="*/ 2881 h 406"/>
                <a:gd name="T12" fmla="*/ 2693 w 521"/>
                <a:gd name="T13" fmla="*/ 2672 h 406"/>
                <a:gd name="T14" fmla="*/ 2693 w 521"/>
                <a:gd name="T15" fmla="*/ 2881 h 406"/>
                <a:gd name="T16" fmla="*/ 2772 w 521"/>
                <a:gd name="T17" fmla="*/ 2881 h 406"/>
                <a:gd name="T18" fmla="*/ 2838 w 521"/>
                <a:gd name="T19" fmla="*/ 2933 h 406"/>
                <a:gd name="T20" fmla="*/ 2893 w 521"/>
                <a:gd name="T21" fmla="*/ 3146 h 406"/>
                <a:gd name="T22" fmla="*/ 3106 w 521"/>
                <a:gd name="T23" fmla="*/ 3279 h 406"/>
                <a:gd name="T24" fmla="*/ 3328 w 521"/>
                <a:gd name="T25" fmla="*/ 3359 h 406"/>
                <a:gd name="T26" fmla="*/ 3444 w 521"/>
                <a:gd name="T27" fmla="*/ 3279 h 406"/>
                <a:gd name="T28" fmla="*/ 3528 w 521"/>
                <a:gd name="T29" fmla="*/ 3359 h 406"/>
                <a:gd name="T30" fmla="*/ 3801 w 521"/>
                <a:gd name="T31" fmla="*/ 3224 h 406"/>
                <a:gd name="T32" fmla="*/ 4089 w 521"/>
                <a:gd name="T33" fmla="*/ 2933 h 406"/>
                <a:gd name="T34" fmla="*/ 4434 w 521"/>
                <a:gd name="T35" fmla="*/ 2047 h 406"/>
                <a:gd name="T36" fmla="*/ 4221 w 521"/>
                <a:gd name="T37" fmla="*/ 1520 h 406"/>
                <a:gd name="T38" fmla="*/ 4089 w 521"/>
                <a:gd name="T39" fmla="*/ 1316 h 406"/>
                <a:gd name="T40" fmla="*/ 4005 w 521"/>
                <a:gd name="T41" fmla="*/ 1316 h 406"/>
                <a:gd name="T42" fmla="*/ 3666 w 521"/>
                <a:gd name="T43" fmla="*/ 892 h 406"/>
                <a:gd name="T44" fmla="*/ 3528 w 521"/>
                <a:gd name="T45" fmla="*/ 629 h 406"/>
                <a:gd name="T46" fmla="*/ 3444 w 521"/>
                <a:gd name="T47" fmla="*/ 418 h 406"/>
                <a:gd name="T48" fmla="*/ 3244 w 521"/>
                <a:gd name="T49" fmla="*/ 0 h 406"/>
                <a:gd name="T50" fmla="*/ 3106 w 521"/>
                <a:gd name="T51" fmla="*/ 145 h 406"/>
                <a:gd name="T52" fmla="*/ 3053 w 521"/>
                <a:gd name="T53" fmla="*/ 758 h 406"/>
                <a:gd name="T54" fmla="*/ 2631 w 521"/>
                <a:gd name="T55" fmla="*/ 553 h 406"/>
                <a:gd name="T56" fmla="*/ 2551 w 521"/>
                <a:gd name="T57" fmla="*/ 482 h 406"/>
                <a:gd name="T58" fmla="*/ 2499 w 521"/>
                <a:gd name="T59" fmla="*/ 283 h 406"/>
                <a:gd name="T60" fmla="*/ 2631 w 521"/>
                <a:gd name="T61" fmla="*/ 145 h 406"/>
                <a:gd name="T62" fmla="*/ 2499 w 521"/>
                <a:gd name="T63" fmla="*/ 211 h 406"/>
                <a:gd name="T64" fmla="*/ 2421 w 521"/>
                <a:gd name="T65" fmla="*/ 145 h 406"/>
                <a:gd name="T66" fmla="*/ 2159 w 521"/>
                <a:gd name="T67" fmla="*/ 145 h 406"/>
                <a:gd name="T68" fmla="*/ 1948 w 521"/>
                <a:gd name="T69" fmla="*/ 145 h 406"/>
                <a:gd name="T70" fmla="*/ 1864 w 521"/>
                <a:gd name="T71" fmla="*/ 283 h 406"/>
                <a:gd name="T72" fmla="*/ 1804 w 521"/>
                <a:gd name="T73" fmla="*/ 418 h 406"/>
                <a:gd name="T74" fmla="*/ 1656 w 521"/>
                <a:gd name="T75" fmla="*/ 418 h 406"/>
                <a:gd name="T76" fmla="*/ 1656 w 521"/>
                <a:gd name="T77" fmla="*/ 418 h 406"/>
                <a:gd name="T78" fmla="*/ 1528 w 521"/>
                <a:gd name="T79" fmla="*/ 345 h 406"/>
                <a:gd name="T80" fmla="*/ 1314 w 521"/>
                <a:gd name="T81" fmla="*/ 418 h 406"/>
                <a:gd name="T82" fmla="*/ 1170 w 521"/>
                <a:gd name="T83" fmla="*/ 629 h 406"/>
                <a:gd name="T84" fmla="*/ 1170 w 521"/>
                <a:gd name="T85" fmla="*/ 683 h 406"/>
                <a:gd name="T86" fmla="*/ 1103 w 521"/>
                <a:gd name="T87" fmla="*/ 629 h 406"/>
                <a:gd name="T88" fmla="*/ 1039 w 521"/>
                <a:gd name="T89" fmla="*/ 821 h 406"/>
                <a:gd name="T90" fmla="*/ 356 w 521"/>
                <a:gd name="T91" fmla="*/ 1103 h 406"/>
                <a:gd name="T92" fmla="*/ 65 w 521"/>
                <a:gd name="T93" fmla="*/ 1231 h 406"/>
                <a:gd name="T94" fmla="*/ 65 w 521"/>
                <a:gd name="T95" fmla="*/ 1440 h 406"/>
                <a:gd name="T96" fmla="*/ 145 w 521"/>
                <a:gd name="T97" fmla="*/ 1778 h 406"/>
                <a:gd name="T98" fmla="*/ 65 w 521"/>
                <a:gd name="T99" fmla="*/ 1778 h 406"/>
                <a:gd name="T100" fmla="*/ 196 w 521"/>
                <a:gd name="T101" fmla="*/ 2120 h 406"/>
                <a:gd name="T102" fmla="*/ 274 w 521"/>
                <a:gd name="T103" fmla="*/ 2595 h 406"/>
                <a:gd name="T104" fmla="*/ 196 w 521"/>
                <a:gd name="T105" fmla="*/ 2732 h 40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21"/>
                <a:gd name="T160" fmla="*/ 0 h 406"/>
                <a:gd name="T161" fmla="*/ 521 w 521"/>
                <a:gd name="T162" fmla="*/ 406 h 40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21" h="406">
                  <a:moveTo>
                    <a:pt x="23" y="324"/>
                  </a:moveTo>
                  <a:lnTo>
                    <a:pt x="48" y="342"/>
                  </a:lnTo>
                  <a:lnTo>
                    <a:pt x="64" y="342"/>
                  </a:lnTo>
                  <a:lnTo>
                    <a:pt x="89" y="317"/>
                  </a:lnTo>
                  <a:lnTo>
                    <a:pt x="129" y="317"/>
                  </a:lnTo>
                  <a:lnTo>
                    <a:pt x="138" y="308"/>
                  </a:lnTo>
                  <a:lnTo>
                    <a:pt x="169" y="293"/>
                  </a:lnTo>
                  <a:lnTo>
                    <a:pt x="234" y="283"/>
                  </a:lnTo>
                  <a:lnTo>
                    <a:pt x="268" y="299"/>
                  </a:lnTo>
                  <a:lnTo>
                    <a:pt x="268" y="308"/>
                  </a:lnTo>
                  <a:lnTo>
                    <a:pt x="276" y="308"/>
                  </a:lnTo>
                  <a:lnTo>
                    <a:pt x="293" y="342"/>
                  </a:lnTo>
                  <a:lnTo>
                    <a:pt x="316" y="299"/>
                  </a:lnTo>
                  <a:lnTo>
                    <a:pt x="316" y="317"/>
                  </a:lnTo>
                  <a:lnTo>
                    <a:pt x="308" y="342"/>
                  </a:lnTo>
                  <a:lnTo>
                    <a:pt x="316" y="342"/>
                  </a:lnTo>
                  <a:lnTo>
                    <a:pt x="316" y="324"/>
                  </a:lnTo>
                  <a:lnTo>
                    <a:pt x="325" y="342"/>
                  </a:lnTo>
                  <a:lnTo>
                    <a:pt x="316" y="348"/>
                  </a:lnTo>
                  <a:lnTo>
                    <a:pt x="333" y="348"/>
                  </a:lnTo>
                  <a:lnTo>
                    <a:pt x="340" y="365"/>
                  </a:lnTo>
                  <a:lnTo>
                    <a:pt x="340" y="373"/>
                  </a:lnTo>
                  <a:lnTo>
                    <a:pt x="349" y="382"/>
                  </a:lnTo>
                  <a:lnTo>
                    <a:pt x="365" y="389"/>
                  </a:lnTo>
                  <a:lnTo>
                    <a:pt x="381" y="389"/>
                  </a:lnTo>
                  <a:lnTo>
                    <a:pt x="390" y="398"/>
                  </a:lnTo>
                  <a:lnTo>
                    <a:pt x="405" y="382"/>
                  </a:lnTo>
                  <a:lnTo>
                    <a:pt x="405" y="389"/>
                  </a:lnTo>
                  <a:lnTo>
                    <a:pt x="415" y="389"/>
                  </a:lnTo>
                  <a:lnTo>
                    <a:pt x="415" y="398"/>
                  </a:lnTo>
                  <a:lnTo>
                    <a:pt x="430" y="405"/>
                  </a:lnTo>
                  <a:lnTo>
                    <a:pt x="446" y="382"/>
                  </a:lnTo>
                  <a:lnTo>
                    <a:pt x="470" y="382"/>
                  </a:lnTo>
                  <a:lnTo>
                    <a:pt x="480" y="348"/>
                  </a:lnTo>
                  <a:lnTo>
                    <a:pt x="511" y="276"/>
                  </a:lnTo>
                  <a:lnTo>
                    <a:pt x="520" y="243"/>
                  </a:lnTo>
                  <a:lnTo>
                    <a:pt x="511" y="203"/>
                  </a:lnTo>
                  <a:lnTo>
                    <a:pt x="495" y="180"/>
                  </a:lnTo>
                  <a:lnTo>
                    <a:pt x="487" y="171"/>
                  </a:lnTo>
                  <a:lnTo>
                    <a:pt x="480" y="156"/>
                  </a:lnTo>
                  <a:lnTo>
                    <a:pt x="470" y="146"/>
                  </a:lnTo>
                  <a:lnTo>
                    <a:pt x="470" y="156"/>
                  </a:lnTo>
                  <a:lnTo>
                    <a:pt x="455" y="131"/>
                  </a:lnTo>
                  <a:lnTo>
                    <a:pt x="430" y="106"/>
                  </a:lnTo>
                  <a:lnTo>
                    <a:pt x="421" y="81"/>
                  </a:lnTo>
                  <a:lnTo>
                    <a:pt x="415" y="74"/>
                  </a:lnTo>
                  <a:lnTo>
                    <a:pt x="415" y="57"/>
                  </a:lnTo>
                  <a:lnTo>
                    <a:pt x="405" y="49"/>
                  </a:lnTo>
                  <a:lnTo>
                    <a:pt x="390" y="49"/>
                  </a:lnTo>
                  <a:lnTo>
                    <a:pt x="381" y="0"/>
                  </a:lnTo>
                  <a:lnTo>
                    <a:pt x="373" y="0"/>
                  </a:lnTo>
                  <a:lnTo>
                    <a:pt x="365" y="17"/>
                  </a:lnTo>
                  <a:lnTo>
                    <a:pt x="365" y="57"/>
                  </a:lnTo>
                  <a:lnTo>
                    <a:pt x="358" y="90"/>
                  </a:lnTo>
                  <a:lnTo>
                    <a:pt x="340" y="90"/>
                  </a:lnTo>
                  <a:lnTo>
                    <a:pt x="308" y="66"/>
                  </a:lnTo>
                  <a:lnTo>
                    <a:pt x="300" y="66"/>
                  </a:lnTo>
                  <a:lnTo>
                    <a:pt x="300" y="57"/>
                  </a:lnTo>
                  <a:lnTo>
                    <a:pt x="284" y="57"/>
                  </a:lnTo>
                  <a:lnTo>
                    <a:pt x="293" y="34"/>
                  </a:lnTo>
                  <a:lnTo>
                    <a:pt x="300" y="34"/>
                  </a:lnTo>
                  <a:lnTo>
                    <a:pt x="308" y="17"/>
                  </a:lnTo>
                  <a:lnTo>
                    <a:pt x="300" y="17"/>
                  </a:lnTo>
                  <a:lnTo>
                    <a:pt x="293" y="25"/>
                  </a:lnTo>
                  <a:lnTo>
                    <a:pt x="293" y="17"/>
                  </a:lnTo>
                  <a:lnTo>
                    <a:pt x="284" y="17"/>
                  </a:lnTo>
                  <a:lnTo>
                    <a:pt x="244" y="9"/>
                  </a:lnTo>
                  <a:lnTo>
                    <a:pt x="253" y="17"/>
                  </a:lnTo>
                  <a:lnTo>
                    <a:pt x="244" y="17"/>
                  </a:lnTo>
                  <a:lnTo>
                    <a:pt x="228" y="17"/>
                  </a:lnTo>
                  <a:lnTo>
                    <a:pt x="219" y="25"/>
                  </a:lnTo>
                  <a:lnTo>
                    <a:pt x="219" y="34"/>
                  </a:lnTo>
                  <a:lnTo>
                    <a:pt x="212" y="34"/>
                  </a:lnTo>
                  <a:lnTo>
                    <a:pt x="212" y="49"/>
                  </a:lnTo>
                  <a:lnTo>
                    <a:pt x="212" y="57"/>
                  </a:lnTo>
                  <a:lnTo>
                    <a:pt x="194" y="49"/>
                  </a:lnTo>
                  <a:lnTo>
                    <a:pt x="194" y="57"/>
                  </a:lnTo>
                  <a:lnTo>
                    <a:pt x="194" y="49"/>
                  </a:lnTo>
                  <a:lnTo>
                    <a:pt x="187" y="41"/>
                  </a:lnTo>
                  <a:lnTo>
                    <a:pt x="179" y="41"/>
                  </a:lnTo>
                  <a:lnTo>
                    <a:pt x="163" y="49"/>
                  </a:lnTo>
                  <a:lnTo>
                    <a:pt x="154" y="49"/>
                  </a:lnTo>
                  <a:lnTo>
                    <a:pt x="147" y="74"/>
                  </a:lnTo>
                  <a:lnTo>
                    <a:pt x="138" y="74"/>
                  </a:lnTo>
                  <a:lnTo>
                    <a:pt x="129" y="74"/>
                  </a:lnTo>
                  <a:lnTo>
                    <a:pt x="138" y="81"/>
                  </a:lnTo>
                  <a:lnTo>
                    <a:pt x="129" y="90"/>
                  </a:lnTo>
                  <a:lnTo>
                    <a:pt x="129" y="74"/>
                  </a:lnTo>
                  <a:lnTo>
                    <a:pt x="114" y="90"/>
                  </a:lnTo>
                  <a:lnTo>
                    <a:pt x="122" y="97"/>
                  </a:lnTo>
                  <a:lnTo>
                    <a:pt x="97" y="114"/>
                  </a:lnTo>
                  <a:lnTo>
                    <a:pt x="41" y="131"/>
                  </a:lnTo>
                  <a:lnTo>
                    <a:pt x="17" y="156"/>
                  </a:lnTo>
                  <a:lnTo>
                    <a:pt x="8" y="146"/>
                  </a:lnTo>
                  <a:lnTo>
                    <a:pt x="8" y="156"/>
                  </a:lnTo>
                  <a:lnTo>
                    <a:pt x="8" y="171"/>
                  </a:lnTo>
                  <a:lnTo>
                    <a:pt x="0" y="171"/>
                  </a:lnTo>
                  <a:lnTo>
                    <a:pt x="17" y="211"/>
                  </a:lnTo>
                  <a:lnTo>
                    <a:pt x="8" y="196"/>
                  </a:lnTo>
                  <a:lnTo>
                    <a:pt x="8" y="211"/>
                  </a:lnTo>
                  <a:lnTo>
                    <a:pt x="0" y="203"/>
                  </a:lnTo>
                  <a:lnTo>
                    <a:pt x="23" y="251"/>
                  </a:lnTo>
                  <a:lnTo>
                    <a:pt x="32" y="283"/>
                  </a:lnTo>
                  <a:lnTo>
                    <a:pt x="32" y="308"/>
                  </a:lnTo>
                  <a:lnTo>
                    <a:pt x="23" y="317"/>
                  </a:lnTo>
                  <a:lnTo>
                    <a:pt x="23" y="324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76" name="Freeform 293"/>
            <p:cNvSpPr>
              <a:spLocks/>
            </p:cNvSpPr>
            <p:nvPr/>
          </p:nvSpPr>
          <p:spPr bwMode="auto">
            <a:xfrm>
              <a:off x="5207" y="2952"/>
              <a:ext cx="21" cy="22"/>
            </a:xfrm>
            <a:custGeom>
              <a:avLst/>
              <a:gdLst>
                <a:gd name="T0" fmla="*/ 0 w 17"/>
                <a:gd name="T1" fmla="*/ 126 h 17"/>
                <a:gd name="T2" fmla="*/ 49 w 17"/>
                <a:gd name="T3" fmla="*/ 126 h 17"/>
                <a:gd name="T4" fmla="*/ 89 w 17"/>
                <a:gd name="T5" fmla="*/ 0 h 17"/>
                <a:gd name="T6" fmla="*/ 0 w 17"/>
                <a:gd name="T7" fmla="*/ 0 h 17"/>
                <a:gd name="T8" fmla="*/ 0 w 17"/>
                <a:gd name="T9" fmla="*/ 126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0" y="16"/>
                  </a:moveTo>
                  <a:lnTo>
                    <a:pt x="9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77" name="Freeform 294"/>
            <p:cNvSpPr>
              <a:spLocks/>
            </p:cNvSpPr>
            <p:nvPr/>
          </p:nvSpPr>
          <p:spPr bwMode="auto">
            <a:xfrm>
              <a:off x="5207" y="2952"/>
              <a:ext cx="21" cy="22"/>
            </a:xfrm>
            <a:custGeom>
              <a:avLst/>
              <a:gdLst>
                <a:gd name="T0" fmla="*/ 0 w 17"/>
                <a:gd name="T1" fmla="*/ 126 h 17"/>
                <a:gd name="T2" fmla="*/ 49 w 17"/>
                <a:gd name="T3" fmla="*/ 126 h 17"/>
                <a:gd name="T4" fmla="*/ 89 w 17"/>
                <a:gd name="T5" fmla="*/ 0 h 17"/>
                <a:gd name="T6" fmla="*/ 0 w 17"/>
                <a:gd name="T7" fmla="*/ 0 h 17"/>
                <a:gd name="T8" fmla="*/ 0 w 17"/>
                <a:gd name="T9" fmla="*/ 126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0" y="16"/>
                  </a:moveTo>
                  <a:lnTo>
                    <a:pt x="9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78" name="Freeform 295"/>
            <p:cNvSpPr>
              <a:spLocks/>
            </p:cNvSpPr>
            <p:nvPr/>
          </p:nvSpPr>
          <p:spPr bwMode="auto">
            <a:xfrm>
              <a:off x="5313" y="3395"/>
              <a:ext cx="21" cy="21"/>
            </a:xfrm>
            <a:custGeom>
              <a:avLst/>
              <a:gdLst>
                <a:gd name="T0" fmla="*/ 0 w 17"/>
                <a:gd name="T1" fmla="*/ 0 h 17"/>
                <a:gd name="T2" fmla="*/ 89 w 17"/>
                <a:gd name="T3" fmla="*/ 89 h 17"/>
                <a:gd name="T4" fmla="*/ 89 w 17"/>
                <a:gd name="T5" fmla="*/ 0 h 17"/>
                <a:gd name="T6" fmla="*/ 43 w 17"/>
                <a:gd name="T7" fmla="*/ 0 h 17"/>
                <a:gd name="T8" fmla="*/ 0 w 17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79" name="Freeform 296"/>
            <p:cNvSpPr>
              <a:spLocks/>
            </p:cNvSpPr>
            <p:nvPr/>
          </p:nvSpPr>
          <p:spPr bwMode="auto">
            <a:xfrm>
              <a:off x="5313" y="3395"/>
              <a:ext cx="21" cy="21"/>
            </a:xfrm>
            <a:custGeom>
              <a:avLst/>
              <a:gdLst>
                <a:gd name="T0" fmla="*/ 0 w 17"/>
                <a:gd name="T1" fmla="*/ 0 h 17"/>
                <a:gd name="T2" fmla="*/ 89 w 17"/>
                <a:gd name="T3" fmla="*/ 89 h 17"/>
                <a:gd name="T4" fmla="*/ 89 w 17"/>
                <a:gd name="T5" fmla="*/ 0 h 17"/>
                <a:gd name="T6" fmla="*/ 43 w 17"/>
                <a:gd name="T7" fmla="*/ 0 h 17"/>
                <a:gd name="T8" fmla="*/ 0 w 17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80" name="Freeform 297"/>
            <p:cNvSpPr>
              <a:spLocks/>
            </p:cNvSpPr>
            <p:nvPr/>
          </p:nvSpPr>
          <p:spPr bwMode="auto">
            <a:xfrm>
              <a:off x="5450" y="3502"/>
              <a:ext cx="66" cy="65"/>
            </a:xfrm>
            <a:custGeom>
              <a:avLst/>
              <a:gdLst>
                <a:gd name="T0" fmla="*/ 0 w 51"/>
                <a:gd name="T1" fmla="*/ 0 h 50"/>
                <a:gd name="T2" fmla="*/ 79 w 51"/>
                <a:gd name="T3" fmla="*/ 325 h 50"/>
                <a:gd name="T4" fmla="*/ 193 w 51"/>
                <a:gd name="T5" fmla="*/ 400 h 50"/>
                <a:gd name="T6" fmla="*/ 268 w 51"/>
                <a:gd name="T7" fmla="*/ 272 h 50"/>
                <a:gd name="T8" fmla="*/ 324 w 51"/>
                <a:gd name="T9" fmla="*/ 325 h 50"/>
                <a:gd name="T10" fmla="*/ 395 w 51"/>
                <a:gd name="T11" fmla="*/ 0 h 50"/>
                <a:gd name="T12" fmla="*/ 324 w 51"/>
                <a:gd name="T13" fmla="*/ 0 h 50"/>
                <a:gd name="T14" fmla="*/ 126 w 51"/>
                <a:gd name="T15" fmla="*/ 64 h 50"/>
                <a:gd name="T16" fmla="*/ 0 w 51"/>
                <a:gd name="T17" fmla="*/ 0 h 5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1"/>
                <a:gd name="T28" fmla="*/ 0 h 50"/>
                <a:gd name="T29" fmla="*/ 51 w 51"/>
                <a:gd name="T30" fmla="*/ 50 h 5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1" h="50">
                  <a:moveTo>
                    <a:pt x="0" y="0"/>
                  </a:moveTo>
                  <a:lnTo>
                    <a:pt x="10" y="40"/>
                  </a:lnTo>
                  <a:lnTo>
                    <a:pt x="25" y="49"/>
                  </a:lnTo>
                  <a:lnTo>
                    <a:pt x="34" y="33"/>
                  </a:lnTo>
                  <a:lnTo>
                    <a:pt x="41" y="40"/>
                  </a:lnTo>
                  <a:lnTo>
                    <a:pt x="50" y="0"/>
                  </a:lnTo>
                  <a:lnTo>
                    <a:pt x="41" y="0"/>
                  </a:lnTo>
                  <a:lnTo>
                    <a:pt x="16" y="8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81" name="Freeform 298"/>
            <p:cNvSpPr>
              <a:spLocks/>
            </p:cNvSpPr>
            <p:nvPr/>
          </p:nvSpPr>
          <p:spPr bwMode="auto">
            <a:xfrm>
              <a:off x="5917" y="3375"/>
              <a:ext cx="96" cy="150"/>
            </a:xfrm>
            <a:custGeom>
              <a:avLst/>
              <a:gdLst>
                <a:gd name="T0" fmla="*/ 145 w 73"/>
                <a:gd name="T1" fmla="*/ 605 h 115"/>
                <a:gd name="T2" fmla="*/ 276 w 73"/>
                <a:gd name="T3" fmla="*/ 669 h 115"/>
                <a:gd name="T4" fmla="*/ 225 w 73"/>
                <a:gd name="T5" fmla="*/ 882 h 115"/>
                <a:gd name="T6" fmla="*/ 276 w 73"/>
                <a:gd name="T7" fmla="*/ 955 h 115"/>
                <a:gd name="T8" fmla="*/ 362 w 73"/>
                <a:gd name="T9" fmla="*/ 882 h 115"/>
                <a:gd name="T10" fmla="*/ 504 w 73"/>
                <a:gd name="T11" fmla="*/ 605 h 115"/>
                <a:gd name="T12" fmla="*/ 577 w 73"/>
                <a:gd name="T13" fmla="*/ 605 h 115"/>
                <a:gd name="T14" fmla="*/ 646 w 73"/>
                <a:gd name="T15" fmla="*/ 548 h 115"/>
                <a:gd name="T16" fmla="*/ 646 w 73"/>
                <a:gd name="T17" fmla="*/ 408 h 115"/>
                <a:gd name="T18" fmla="*/ 577 w 73"/>
                <a:gd name="T19" fmla="*/ 335 h 115"/>
                <a:gd name="T20" fmla="*/ 504 w 73"/>
                <a:gd name="T21" fmla="*/ 408 h 115"/>
                <a:gd name="T22" fmla="*/ 362 w 73"/>
                <a:gd name="T23" fmla="*/ 408 h 115"/>
                <a:gd name="T24" fmla="*/ 362 w 73"/>
                <a:gd name="T25" fmla="*/ 273 h 115"/>
                <a:gd name="T26" fmla="*/ 276 w 73"/>
                <a:gd name="T27" fmla="*/ 273 h 115"/>
                <a:gd name="T28" fmla="*/ 276 w 73"/>
                <a:gd name="T29" fmla="*/ 335 h 115"/>
                <a:gd name="T30" fmla="*/ 225 w 73"/>
                <a:gd name="T31" fmla="*/ 273 h 115"/>
                <a:gd name="T32" fmla="*/ 225 w 73"/>
                <a:gd name="T33" fmla="*/ 78 h 115"/>
                <a:gd name="T34" fmla="*/ 0 w 73"/>
                <a:gd name="T35" fmla="*/ 0 h 115"/>
                <a:gd name="T36" fmla="*/ 225 w 73"/>
                <a:gd name="T37" fmla="*/ 273 h 115"/>
                <a:gd name="T38" fmla="*/ 225 w 73"/>
                <a:gd name="T39" fmla="*/ 548 h 115"/>
                <a:gd name="T40" fmla="*/ 145 w 73"/>
                <a:gd name="T41" fmla="*/ 605 h 11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3"/>
                <a:gd name="T64" fmla="*/ 0 h 115"/>
                <a:gd name="T65" fmla="*/ 73 w 73"/>
                <a:gd name="T66" fmla="*/ 115 h 11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3" h="115">
                  <a:moveTo>
                    <a:pt x="16" y="72"/>
                  </a:moveTo>
                  <a:lnTo>
                    <a:pt x="31" y="80"/>
                  </a:lnTo>
                  <a:lnTo>
                    <a:pt x="25" y="105"/>
                  </a:lnTo>
                  <a:lnTo>
                    <a:pt x="31" y="114"/>
                  </a:lnTo>
                  <a:lnTo>
                    <a:pt x="40" y="105"/>
                  </a:lnTo>
                  <a:lnTo>
                    <a:pt x="56" y="72"/>
                  </a:lnTo>
                  <a:lnTo>
                    <a:pt x="65" y="72"/>
                  </a:lnTo>
                  <a:lnTo>
                    <a:pt x="72" y="65"/>
                  </a:lnTo>
                  <a:lnTo>
                    <a:pt x="72" y="49"/>
                  </a:lnTo>
                  <a:lnTo>
                    <a:pt x="65" y="40"/>
                  </a:lnTo>
                  <a:lnTo>
                    <a:pt x="56" y="49"/>
                  </a:lnTo>
                  <a:lnTo>
                    <a:pt x="40" y="49"/>
                  </a:lnTo>
                  <a:lnTo>
                    <a:pt x="40" y="32"/>
                  </a:lnTo>
                  <a:lnTo>
                    <a:pt x="31" y="32"/>
                  </a:lnTo>
                  <a:lnTo>
                    <a:pt x="31" y="40"/>
                  </a:lnTo>
                  <a:lnTo>
                    <a:pt x="25" y="32"/>
                  </a:lnTo>
                  <a:lnTo>
                    <a:pt x="25" y="9"/>
                  </a:lnTo>
                  <a:lnTo>
                    <a:pt x="0" y="0"/>
                  </a:lnTo>
                  <a:lnTo>
                    <a:pt x="25" y="32"/>
                  </a:lnTo>
                  <a:lnTo>
                    <a:pt x="25" y="65"/>
                  </a:lnTo>
                  <a:lnTo>
                    <a:pt x="16" y="7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82" name="Freeform 299"/>
            <p:cNvSpPr>
              <a:spLocks/>
            </p:cNvSpPr>
            <p:nvPr/>
          </p:nvSpPr>
          <p:spPr bwMode="auto">
            <a:xfrm>
              <a:off x="5917" y="3375"/>
              <a:ext cx="96" cy="150"/>
            </a:xfrm>
            <a:custGeom>
              <a:avLst/>
              <a:gdLst>
                <a:gd name="T0" fmla="*/ 145 w 73"/>
                <a:gd name="T1" fmla="*/ 605 h 115"/>
                <a:gd name="T2" fmla="*/ 276 w 73"/>
                <a:gd name="T3" fmla="*/ 669 h 115"/>
                <a:gd name="T4" fmla="*/ 225 w 73"/>
                <a:gd name="T5" fmla="*/ 882 h 115"/>
                <a:gd name="T6" fmla="*/ 276 w 73"/>
                <a:gd name="T7" fmla="*/ 955 h 115"/>
                <a:gd name="T8" fmla="*/ 362 w 73"/>
                <a:gd name="T9" fmla="*/ 882 h 115"/>
                <a:gd name="T10" fmla="*/ 504 w 73"/>
                <a:gd name="T11" fmla="*/ 605 h 115"/>
                <a:gd name="T12" fmla="*/ 577 w 73"/>
                <a:gd name="T13" fmla="*/ 605 h 115"/>
                <a:gd name="T14" fmla="*/ 646 w 73"/>
                <a:gd name="T15" fmla="*/ 548 h 115"/>
                <a:gd name="T16" fmla="*/ 646 w 73"/>
                <a:gd name="T17" fmla="*/ 408 h 115"/>
                <a:gd name="T18" fmla="*/ 577 w 73"/>
                <a:gd name="T19" fmla="*/ 335 h 115"/>
                <a:gd name="T20" fmla="*/ 504 w 73"/>
                <a:gd name="T21" fmla="*/ 408 h 115"/>
                <a:gd name="T22" fmla="*/ 362 w 73"/>
                <a:gd name="T23" fmla="*/ 408 h 115"/>
                <a:gd name="T24" fmla="*/ 362 w 73"/>
                <a:gd name="T25" fmla="*/ 273 h 115"/>
                <a:gd name="T26" fmla="*/ 276 w 73"/>
                <a:gd name="T27" fmla="*/ 273 h 115"/>
                <a:gd name="T28" fmla="*/ 276 w 73"/>
                <a:gd name="T29" fmla="*/ 335 h 115"/>
                <a:gd name="T30" fmla="*/ 225 w 73"/>
                <a:gd name="T31" fmla="*/ 273 h 115"/>
                <a:gd name="T32" fmla="*/ 225 w 73"/>
                <a:gd name="T33" fmla="*/ 78 h 115"/>
                <a:gd name="T34" fmla="*/ 0 w 73"/>
                <a:gd name="T35" fmla="*/ 0 h 115"/>
                <a:gd name="T36" fmla="*/ 225 w 73"/>
                <a:gd name="T37" fmla="*/ 273 h 115"/>
                <a:gd name="T38" fmla="*/ 225 w 73"/>
                <a:gd name="T39" fmla="*/ 548 h 115"/>
                <a:gd name="T40" fmla="*/ 145 w 73"/>
                <a:gd name="T41" fmla="*/ 605 h 11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3"/>
                <a:gd name="T64" fmla="*/ 0 h 115"/>
                <a:gd name="T65" fmla="*/ 73 w 73"/>
                <a:gd name="T66" fmla="*/ 115 h 11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3" h="115">
                  <a:moveTo>
                    <a:pt x="16" y="72"/>
                  </a:moveTo>
                  <a:lnTo>
                    <a:pt x="31" y="80"/>
                  </a:lnTo>
                  <a:lnTo>
                    <a:pt x="25" y="105"/>
                  </a:lnTo>
                  <a:lnTo>
                    <a:pt x="31" y="114"/>
                  </a:lnTo>
                  <a:lnTo>
                    <a:pt x="40" y="105"/>
                  </a:lnTo>
                  <a:lnTo>
                    <a:pt x="56" y="72"/>
                  </a:lnTo>
                  <a:lnTo>
                    <a:pt x="65" y="72"/>
                  </a:lnTo>
                  <a:lnTo>
                    <a:pt x="72" y="65"/>
                  </a:lnTo>
                  <a:lnTo>
                    <a:pt x="72" y="49"/>
                  </a:lnTo>
                  <a:lnTo>
                    <a:pt x="65" y="40"/>
                  </a:lnTo>
                  <a:lnTo>
                    <a:pt x="56" y="49"/>
                  </a:lnTo>
                  <a:lnTo>
                    <a:pt x="40" y="49"/>
                  </a:lnTo>
                  <a:lnTo>
                    <a:pt x="40" y="32"/>
                  </a:lnTo>
                  <a:lnTo>
                    <a:pt x="31" y="32"/>
                  </a:lnTo>
                  <a:lnTo>
                    <a:pt x="31" y="40"/>
                  </a:lnTo>
                  <a:lnTo>
                    <a:pt x="25" y="32"/>
                  </a:lnTo>
                  <a:lnTo>
                    <a:pt x="25" y="9"/>
                  </a:lnTo>
                  <a:lnTo>
                    <a:pt x="0" y="0"/>
                  </a:lnTo>
                  <a:lnTo>
                    <a:pt x="25" y="32"/>
                  </a:lnTo>
                  <a:lnTo>
                    <a:pt x="25" y="65"/>
                  </a:lnTo>
                  <a:lnTo>
                    <a:pt x="16" y="72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83" name="Freeform 300"/>
            <p:cNvSpPr>
              <a:spLocks/>
            </p:cNvSpPr>
            <p:nvPr/>
          </p:nvSpPr>
          <p:spPr bwMode="auto">
            <a:xfrm>
              <a:off x="5812" y="3502"/>
              <a:ext cx="140" cy="138"/>
            </a:xfrm>
            <a:custGeom>
              <a:avLst/>
              <a:gdLst>
                <a:gd name="T0" fmla="*/ 0 w 107"/>
                <a:gd name="T1" fmla="*/ 736 h 106"/>
                <a:gd name="T2" fmla="*/ 79 w 107"/>
                <a:gd name="T3" fmla="*/ 802 h 106"/>
                <a:gd name="T4" fmla="*/ 130 w 107"/>
                <a:gd name="T5" fmla="*/ 802 h 106"/>
                <a:gd name="T6" fmla="*/ 276 w 107"/>
                <a:gd name="T7" fmla="*/ 868 h 106"/>
                <a:gd name="T8" fmla="*/ 421 w 107"/>
                <a:gd name="T9" fmla="*/ 802 h 106"/>
                <a:gd name="T10" fmla="*/ 484 w 107"/>
                <a:gd name="T11" fmla="*/ 657 h 106"/>
                <a:gd name="T12" fmla="*/ 559 w 107"/>
                <a:gd name="T13" fmla="*/ 543 h 106"/>
                <a:gd name="T14" fmla="*/ 697 w 107"/>
                <a:gd name="T15" fmla="*/ 406 h 106"/>
                <a:gd name="T16" fmla="*/ 761 w 107"/>
                <a:gd name="T17" fmla="*/ 406 h 106"/>
                <a:gd name="T18" fmla="*/ 697 w 107"/>
                <a:gd name="T19" fmla="*/ 333 h 106"/>
                <a:gd name="T20" fmla="*/ 912 w 107"/>
                <a:gd name="T21" fmla="*/ 141 h 106"/>
                <a:gd name="T22" fmla="*/ 912 w 107"/>
                <a:gd name="T23" fmla="*/ 64 h 106"/>
                <a:gd name="T24" fmla="*/ 833 w 107"/>
                <a:gd name="T25" fmla="*/ 64 h 106"/>
                <a:gd name="T26" fmla="*/ 833 w 107"/>
                <a:gd name="T27" fmla="*/ 0 h 106"/>
                <a:gd name="T28" fmla="*/ 761 w 107"/>
                <a:gd name="T29" fmla="*/ 64 h 106"/>
                <a:gd name="T30" fmla="*/ 761 w 107"/>
                <a:gd name="T31" fmla="*/ 0 h 106"/>
                <a:gd name="T32" fmla="*/ 697 w 107"/>
                <a:gd name="T33" fmla="*/ 0 h 106"/>
                <a:gd name="T34" fmla="*/ 618 w 107"/>
                <a:gd name="T35" fmla="*/ 0 h 106"/>
                <a:gd name="T36" fmla="*/ 618 w 107"/>
                <a:gd name="T37" fmla="*/ 141 h 106"/>
                <a:gd name="T38" fmla="*/ 559 w 107"/>
                <a:gd name="T39" fmla="*/ 141 h 106"/>
                <a:gd name="T40" fmla="*/ 484 w 107"/>
                <a:gd name="T41" fmla="*/ 273 h 106"/>
                <a:gd name="T42" fmla="*/ 209 w 107"/>
                <a:gd name="T43" fmla="*/ 456 h 106"/>
                <a:gd name="T44" fmla="*/ 0 w 107"/>
                <a:gd name="T45" fmla="*/ 736 h 10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7"/>
                <a:gd name="T70" fmla="*/ 0 h 106"/>
                <a:gd name="T71" fmla="*/ 107 w 107"/>
                <a:gd name="T72" fmla="*/ 106 h 10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7" h="106">
                  <a:moveTo>
                    <a:pt x="0" y="89"/>
                  </a:moveTo>
                  <a:lnTo>
                    <a:pt x="9" y="97"/>
                  </a:lnTo>
                  <a:lnTo>
                    <a:pt x="15" y="97"/>
                  </a:lnTo>
                  <a:lnTo>
                    <a:pt x="32" y="105"/>
                  </a:lnTo>
                  <a:lnTo>
                    <a:pt x="49" y="97"/>
                  </a:lnTo>
                  <a:lnTo>
                    <a:pt x="56" y="80"/>
                  </a:lnTo>
                  <a:lnTo>
                    <a:pt x="65" y="65"/>
                  </a:lnTo>
                  <a:lnTo>
                    <a:pt x="81" y="49"/>
                  </a:lnTo>
                  <a:lnTo>
                    <a:pt x="89" y="49"/>
                  </a:lnTo>
                  <a:lnTo>
                    <a:pt x="81" y="40"/>
                  </a:lnTo>
                  <a:lnTo>
                    <a:pt x="106" y="17"/>
                  </a:lnTo>
                  <a:lnTo>
                    <a:pt x="106" y="8"/>
                  </a:lnTo>
                  <a:lnTo>
                    <a:pt x="97" y="8"/>
                  </a:lnTo>
                  <a:lnTo>
                    <a:pt x="97" y="0"/>
                  </a:lnTo>
                  <a:lnTo>
                    <a:pt x="89" y="8"/>
                  </a:lnTo>
                  <a:lnTo>
                    <a:pt x="89" y="0"/>
                  </a:lnTo>
                  <a:lnTo>
                    <a:pt x="81" y="0"/>
                  </a:lnTo>
                  <a:lnTo>
                    <a:pt x="72" y="0"/>
                  </a:lnTo>
                  <a:lnTo>
                    <a:pt x="72" y="17"/>
                  </a:lnTo>
                  <a:lnTo>
                    <a:pt x="65" y="17"/>
                  </a:lnTo>
                  <a:lnTo>
                    <a:pt x="56" y="33"/>
                  </a:lnTo>
                  <a:lnTo>
                    <a:pt x="24" y="55"/>
                  </a:lnTo>
                  <a:lnTo>
                    <a:pt x="0" y="8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84" name="Freeform 301"/>
            <p:cNvSpPr>
              <a:spLocks/>
            </p:cNvSpPr>
            <p:nvPr/>
          </p:nvSpPr>
          <p:spPr bwMode="auto">
            <a:xfrm>
              <a:off x="5812" y="3502"/>
              <a:ext cx="140" cy="138"/>
            </a:xfrm>
            <a:custGeom>
              <a:avLst/>
              <a:gdLst>
                <a:gd name="T0" fmla="*/ 0 w 107"/>
                <a:gd name="T1" fmla="*/ 736 h 106"/>
                <a:gd name="T2" fmla="*/ 79 w 107"/>
                <a:gd name="T3" fmla="*/ 802 h 106"/>
                <a:gd name="T4" fmla="*/ 130 w 107"/>
                <a:gd name="T5" fmla="*/ 802 h 106"/>
                <a:gd name="T6" fmla="*/ 276 w 107"/>
                <a:gd name="T7" fmla="*/ 868 h 106"/>
                <a:gd name="T8" fmla="*/ 421 w 107"/>
                <a:gd name="T9" fmla="*/ 802 h 106"/>
                <a:gd name="T10" fmla="*/ 484 w 107"/>
                <a:gd name="T11" fmla="*/ 657 h 106"/>
                <a:gd name="T12" fmla="*/ 559 w 107"/>
                <a:gd name="T13" fmla="*/ 543 h 106"/>
                <a:gd name="T14" fmla="*/ 697 w 107"/>
                <a:gd name="T15" fmla="*/ 406 h 106"/>
                <a:gd name="T16" fmla="*/ 761 w 107"/>
                <a:gd name="T17" fmla="*/ 406 h 106"/>
                <a:gd name="T18" fmla="*/ 697 w 107"/>
                <a:gd name="T19" fmla="*/ 333 h 106"/>
                <a:gd name="T20" fmla="*/ 912 w 107"/>
                <a:gd name="T21" fmla="*/ 141 h 106"/>
                <a:gd name="T22" fmla="*/ 912 w 107"/>
                <a:gd name="T23" fmla="*/ 64 h 106"/>
                <a:gd name="T24" fmla="*/ 833 w 107"/>
                <a:gd name="T25" fmla="*/ 64 h 106"/>
                <a:gd name="T26" fmla="*/ 833 w 107"/>
                <a:gd name="T27" fmla="*/ 0 h 106"/>
                <a:gd name="T28" fmla="*/ 761 w 107"/>
                <a:gd name="T29" fmla="*/ 64 h 106"/>
                <a:gd name="T30" fmla="*/ 761 w 107"/>
                <a:gd name="T31" fmla="*/ 0 h 106"/>
                <a:gd name="T32" fmla="*/ 697 w 107"/>
                <a:gd name="T33" fmla="*/ 0 h 106"/>
                <a:gd name="T34" fmla="*/ 618 w 107"/>
                <a:gd name="T35" fmla="*/ 0 h 106"/>
                <a:gd name="T36" fmla="*/ 618 w 107"/>
                <a:gd name="T37" fmla="*/ 141 h 106"/>
                <a:gd name="T38" fmla="*/ 559 w 107"/>
                <a:gd name="T39" fmla="*/ 141 h 106"/>
                <a:gd name="T40" fmla="*/ 484 w 107"/>
                <a:gd name="T41" fmla="*/ 273 h 106"/>
                <a:gd name="T42" fmla="*/ 209 w 107"/>
                <a:gd name="T43" fmla="*/ 456 h 106"/>
                <a:gd name="T44" fmla="*/ 0 w 107"/>
                <a:gd name="T45" fmla="*/ 736 h 10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7"/>
                <a:gd name="T70" fmla="*/ 0 h 106"/>
                <a:gd name="T71" fmla="*/ 107 w 107"/>
                <a:gd name="T72" fmla="*/ 106 h 10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7" h="106">
                  <a:moveTo>
                    <a:pt x="0" y="89"/>
                  </a:moveTo>
                  <a:lnTo>
                    <a:pt x="9" y="97"/>
                  </a:lnTo>
                  <a:lnTo>
                    <a:pt x="15" y="97"/>
                  </a:lnTo>
                  <a:lnTo>
                    <a:pt x="32" y="105"/>
                  </a:lnTo>
                  <a:lnTo>
                    <a:pt x="49" y="97"/>
                  </a:lnTo>
                  <a:lnTo>
                    <a:pt x="56" y="80"/>
                  </a:lnTo>
                  <a:lnTo>
                    <a:pt x="65" y="65"/>
                  </a:lnTo>
                  <a:lnTo>
                    <a:pt x="81" y="49"/>
                  </a:lnTo>
                  <a:lnTo>
                    <a:pt x="89" y="49"/>
                  </a:lnTo>
                  <a:lnTo>
                    <a:pt x="81" y="40"/>
                  </a:lnTo>
                  <a:lnTo>
                    <a:pt x="106" y="17"/>
                  </a:lnTo>
                  <a:lnTo>
                    <a:pt x="106" y="8"/>
                  </a:lnTo>
                  <a:lnTo>
                    <a:pt x="97" y="8"/>
                  </a:lnTo>
                  <a:lnTo>
                    <a:pt x="97" y="0"/>
                  </a:lnTo>
                  <a:lnTo>
                    <a:pt x="89" y="8"/>
                  </a:lnTo>
                  <a:lnTo>
                    <a:pt x="89" y="0"/>
                  </a:lnTo>
                  <a:lnTo>
                    <a:pt x="81" y="0"/>
                  </a:lnTo>
                  <a:lnTo>
                    <a:pt x="72" y="0"/>
                  </a:lnTo>
                  <a:lnTo>
                    <a:pt x="72" y="17"/>
                  </a:lnTo>
                  <a:lnTo>
                    <a:pt x="65" y="17"/>
                  </a:lnTo>
                  <a:lnTo>
                    <a:pt x="56" y="33"/>
                  </a:lnTo>
                  <a:lnTo>
                    <a:pt x="24" y="55"/>
                  </a:lnTo>
                  <a:lnTo>
                    <a:pt x="0" y="8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85" name="Freeform 302"/>
            <p:cNvSpPr>
              <a:spLocks/>
            </p:cNvSpPr>
            <p:nvPr/>
          </p:nvSpPr>
          <p:spPr bwMode="auto">
            <a:xfrm>
              <a:off x="4623" y="2667"/>
              <a:ext cx="183" cy="189"/>
            </a:xfrm>
            <a:custGeom>
              <a:avLst/>
              <a:gdLst>
                <a:gd name="T0" fmla="*/ 0 w 140"/>
                <a:gd name="T1" fmla="*/ 0 h 145"/>
                <a:gd name="T2" fmla="*/ 0 w 140"/>
                <a:gd name="T3" fmla="*/ 60 h 145"/>
                <a:gd name="T4" fmla="*/ 159 w 140"/>
                <a:gd name="T5" fmla="*/ 190 h 145"/>
                <a:gd name="T6" fmla="*/ 277 w 140"/>
                <a:gd name="T7" fmla="*/ 338 h 145"/>
                <a:gd name="T8" fmla="*/ 359 w 140"/>
                <a:gd name="T9" fmla="*/ 392 h 145"/>
                <a:gd name="T10" fmla="*/ 421 w 140"/>
                <a:gd name="T11" fmla="*/ 532 h 145"/>
                <a:gd name="T12" fmla="*/ 554 w 140"/>
                <a:gd name="T13" fmla="*/ 678 h 145"/>
                <a:gd name="T14" fmla="*/ 705 w 140"/>
                <a:gd name="T15" fmla="*/ 941 h 145"/>
                <a:gd name="T16" fmla="*/ 973 w 140"/>
                <a:gd name="T17" fmla="*/ 1199 h 145"/>
                <a:gd name="T18" fmla="*/ 1106 w 140"/>
                <a:gd name="T19" fmla="*/ 1199 h 145"/>
                <a:gd name="T20" fmla="*/ 1187 w 140"/>
                <a:gd name="T21" fmla="*/ 941 h 145"/>
                <a:gd name="T22" fmla="*/ 1106 w 140"/>
                <a:gd name="T23" fmla="*/ 806 h 145"/>
                <a:gd name="T24" fmla="*/ 1047 w 140"/>
                <a:gd name="T25" fmla="*/ 806 h 145"/>
                <a:gd name="T26" fmla="*/ 973 w 140"/>
                <a:gd name="T27" fmla="*/ 678 h 145"/>
                <a:gd name="T28" fmla="*/ 922 w 140"/>
                <a:gd name="T29" fmla="*/ 678 h 145"/>
                <a:gd name="T30" fmla="*/ 922 w 140"/>
                <a:gd name="T31" fmla="*/ 603 h 145"/>
                <a:gd name="T32" fmla="*/ 834 w 140"/>
                <a:gd name="T33" fmla="*/ 532 h 145"/>
                <a:gd name="T34" fmla="*/ 834 w 140"/>
                <a:gd name="T35" fmla="*/ 467 h 145"/>
                <a:gd name="T36" fmla="*/ 634 w 140"/>
                <a:gd name="T37" fmla="*/ 338 h 145"/>
                <a:gd name="T38" fmla="*/ 554 w 140"/>
                <a:gd name="T39" fmla="*/ 338 h 145"/>
                <a:gd name="T40" fmla="*/ 208 w 140"/>
                <a:gd name="T41" fmla="*/ 60 h 145"/>
                <a:gd name="T42" fmla="*/ 0 w 140"/>
                <a:gd name="T43" fmla="*/ 0 h 14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40"/>
                <a:gd name="T67" fmla="*/ 0 h 145"/>
                <a:gd name="T68" fmla="*/ 140 w 140"/>
                <a:gd name="T69" fmla="*/ 145 h 14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40" h="145">
                  <a:moveTo>
                    <a:pt x="0" y="0"/>
                  </a:moveTo>
                  <a:lnTo>
                    <a:pt x="0" y="7"/>
                  </a:lnTo>
                  <a:lnTo>
                    <a:pt x="18" y="23"/>
                  </a:lnTo>
                  <a:lnTo>
                    <a:pt x="33" y="41"/>
                  </a:lnTo>
                  <a:lnTo>
                    <a:pt x="42" y="47"/>
                  </a:lnTo>
                  <a:lnTo>
                    <a:pt x="49" y="64"/>
                  </a:lnTo>
                  <a:lnTo>
                    <a:pt x="65" y="81"/>
                  </a:lnTo>
                  <a:lnTo>
                    <a:pt x="83" y="113"/>
                  </a:lnTo>
                  <a:lnTo>
                    <a:pt x="114" y="144"/>
                  </a:lnTo>
                  <a:lnTo>
                    <a:pt x="130" y="144"/>
                  </a:lnTo>
                  <a:lnTo>
                    <a:pt x="139" y="113"/>
                  </a:lnTo>
                  <a:lnTo>
                    <a:pt x="130" y="97"/>
                  </a:lnTo>
                  <a:lnTo>
                    <a:pt x="123" y="97"/>
                  </a:lnTo>
                  <a:lnTo>
                    <a:pt x="114" y="81"/>
                  </a:lnTo>
                  <a:lnTo>
                    <a:pt x="108" y="81"/>
                  </a:lnTo>
                  <a:lnTo>
                    <a:pt x="108" y="72"/>
                  </a:lnTo>
                  <a:lnTo>
                    <a:pt x="98" y="64"/>
                  </a:lnTo>
                  <a:lnTo>
                    <a:pt x="98" y="56"/>
                  </a:lnTo>
                  <a:lnTo>
                    <a:pt x="74" y="41"/>
                  </a:lnTo>
                  <a:lnTo>
                    <a:pt x="65" y="41"/>
                  </a:lnTo>
                  <a:lnTo>
                    <a:pt x="24" y="7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86" name="Freeform 303"/>
            <p:cNvSpPr>
              <a:spLocks/>
            </p:cNvSpPr>
            <p:nvPr/>
          </p:nvSpPr>
          <p:spPr bwMode="auto">
            <a:xfrm>
              <a:off x="4793" y="2855"/>
              <a:ext cx="151" cy="46"/>
            </a:xfrm>
            <a:custGeom>
              <a:avLst/>
              <a:gdLst>
                <a:gd name="T0" fmla="*/ 0 w 116"/>
                <a:gd name="T1" fmla="*/ 84 h 35"/>
                <a:gd name="T2" fmla="*/ 273 w 116"/>
                <a:gd name="T3" fmla="*/ 225 h 35"/>
                <a:gd name="T4" fmla="*/ 950 w 116"/>
                <a:gd name="T5" fmla="*/ 306 h 35"/>
                <a:gd name="T6" fmla="*/ 950 w 116"/>
                <a:gd name="T7" fmla="*/ 225 h 35"/>
                <a:gd name="T8" fmla="*/ 810 w 116"/>
                <a:gd name="T9" fmla="*/ 225 h 35"/>
                <a:gd name="T10" fmla="*/ 741 w 116"/>
                <a:gd name="T11" fmla="*/ 150 h 35"/>
                <a:gd name="T12" fmla="*/ 535 w 116"/>
                <a:gd name="T13" fmla="*/ 84 h 35"/>
                <a:gd name="T14" fmla="*/ 535 w 116"/>
                <a:gd name="T15" fmla="*/ 150 h 35"/>
                <a:gd name="T16" fmla="*/ 411 w 116"/>
                <a:gd name="T17" fmla="*/ 84 h 35"/>
                <a:gd name="T18" fmla="*/ 210 w 116"/>
                <a:gd name="T19" fmla="*/ 0 h 35"/>
                <a:gd name="T20" fmla="*/ 78 w 116"/>
                <a:gd name="T21" fmla="*/ 0 h 35"/>
                <a:gd name="T22" fmla="*/ 0 w 116"/>
                <a:gd name="T23" fmla="*/ 84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6"/>
                <a:gd name="T37" fmla="*/ 0 h 35"/>
                <a:gd name="T38" fmla="*/ 116 w 116"/>
                <a:gd name="T39" fmla="*/ 35 h 3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6" h="35">
                  <a:moveTo>
                    <a:pt x="0" y="9"/>
                  </a:moveTo>
                  <a:lnTo>
                    <a:pt x="33" y="25"/>
                  </a:lnTo>
                  <a:lnTo>
                    <a:pt x="115" y="34"/>
                  </a:lnTo>
                  <a:lnTo>
                    <a:pt x="115" y="25"/>
                  </a:lnTo>
                  <a:lnTo>
                    <a:pt x="98" y="25"/>
                  </a:lnTo>
                  <a:lnTo>
                    <a:pt x="90" y="17"/>
                  </a:lnTo>
                  <a:lnTo>
                    <a:pt x="65" y="9"/>
                  </a:lnTo>
                  <a:lnTo>
                    <a:pt x="65" y="17"/>
                  </a:lnTo>
                  <a:lnTo>
                    <a:pt x="50" y="9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87" name="Freeform 304"/>
            <p:cNvSpPr>
              <a:spLocks/>
            </p:cNvSpPr>
            <p:nvPr/>
          </p:nvSpPr>
          <p:spPr bwMode="auto">
            <a:xfrm>
              <a:off x="4943" y="2900"/>
              <a:ext cx="22" cy="1"/>
            </a:xfrm>
            <a:custGeom>
              <a:avLst/>
              <a:gdLst>
                <a:gd name="T0" fmla="*/ 0 w 17"/>
                <a:gd name="T1" fmla="*/ 0 h 1"/>
                <a:gd name="T2" fmla="*/ 47 w 17"/>
                <a:gd name="T3" fmla="*/ 0 h 1"/>
                <a:gd name="T4" fmla="*/ 126 w 17"/>
                <a:gd name="T5" fmla="*/ 0 h 1"/>
                <a:gd name="T6" fmla="*/ 0 w 17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"/>
                <a:gd name="T14" fmla="*/ 17 w 17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">
                  <a:moveTo>
                    <a:pt x="0" y="0"/>
                  </a:moveTo>
                  <a:lnTo>
                    <a:pt x="6" y="0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88" name="Freeform 305"/>
            <p:cNvSpPr>
              <a:spLocks/>
            </p:cNvSpPr>
            <p:nvPr/>
          </p:nvSpPr>
          <p:spPr bwMode="auto">
            <a:xfrm>
              <a:off x="4974" y="2900"/>
              <a:ext cx="129" cy="22"/>
            </a:xfrm>
            <a:custGeom>
              <a:avLst/>
              <a:gdLst>
                <a:gd name="T0" fmla="*/ 0 w 98"/>
                <a:gd name="T1" fmla="*/ 126 h 17"/>
                <a:gd name="T2" fmla="*/ 65 w 98"/>
                <a:gd name="T3" fmla="*/ 126 h 17"/>
                <a:gd name="T4" fmla="*/ 367 w 98"/>
                <a:gd name="T5" fmla="*/ 0 h 17"/>
                <a:gd name="T6" fmla="*/ 657 w 98"/>
                <a:gd name="T7" fmla="*/ 126 h 17"/>
                <a:gd name="T8" fmla="*/ 873 w 98"/>
                <a:gd name="T9" fmla="*/ 0 h 17"/>
                <a:gd name="T10" fmla="*/ 736 w 98"/>
                <a:gd name="T11" fmla="*/ 0 h 17"/>
                <a:gd name="T12" fmla="*/ 504 w 98"/>
                <a:gd name="T13" fmla="*/ 0 h 17"/>
                <a:gd name="T14" fmla="*/ 367 w 98"/>
                <a:gd name="T15" fmla="*/ 0 h 17"/>
                <a:gd name="T16" fmla="*/ 149 w 98"/>
                <a:gd name="T17" fmla="*/ 0 h 17"/>
                <a:gd name="T18" fmla="*/ 201 w 98"/>
                <a:gd name="T19" fmla="*/ 0 h 17"/>
                <a:gd name="T20" fmla="*/ 0 w 98"/>
                <a:gd name="T21" fmla="*/ 0 h 17"/>
                <a:gd name="T22" fmla="*/ 0 w 98"/>
                <a:gd name="T23" fmla="*/ 126 h 1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8"/>
                <a:gd name="T37" fmla="*/ 0 h 17"/>
                <a:gd name="T38" fmla="*/ 98 w 98"/>
                <a:gd name="T39" fmla="*/ 17 h 1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8" h="17">
                  <a:moveTo>
                    <a:pt x="0" y="16"/>
                  </a:moveTo>
                  <a:lnTo>
                    <a:pt x="7" y="16"/>
                  </a:lnTo>
                  <a:lnTo>
                    <a:pt x="41" y="0"/>
                  </a:lnTo>
                  <a:lnTo>
                    <a:pt x="73" y="16"/>
                  </a:lnTo>
                  <a:lnTo>
                    <a:pt x="97" y="0"/>
                  </a:lnTo>
                  <a:lnTo>
                    <a:pt x="81" y="0"/>
                  </a:lnTo>
                  <a:lnTo>
                    <a:pt x="56" y="0"/>
                  </a:lnTo>
                  <a:lnTo>
                    <a:pt x="41" y="0"/>
                  </a:lnTo>
                  <a:lnTo>
                    <a:pt x="16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89" name="Freeform 306"/>
            <p:cNvSpPr>
              <a:spLocks/>
            </p:cNvSpPr>
            <p:nvPr/>
          </p:nvSpPr>
          <p:spPr bwMode="auto">
            <a:xfrm>
              <a:off x="5014" y="2920"/>
              <a:ext cx="35" cy="22"/>
            </a:xfrm>
            <a:custGeom>
              <a:avLst/>
              <a:gdLst>
                <a:gd name="T0" fmla="*/ 0 w 26"/>
                <a:gd name="T1" fmla="*/ 0 h 17"/>
                <a:gd name="T2" fmla="*/ 188 w 26"/>
                <a:gd name="T3" fmla="*/ 126 h 17"/>
                <a:gd name="T4" fmla="*/ 273 w 26"/>
                <a:gd name="T5" fmla="*/ 126 h 17"/>
                <a:gd name="T6" fmla="*/ 188 w 26"/>
                <a:gd name="T7" fmla="*/ 0 h 17"/>
                <a:gd name="T8" fmla="*/ 0 w 26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7"/>
                <a:gd name="T17" fmla="*/ 26 w 26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7">
                  <a:moveTo>
                    <a:pt x="0" y="0"/>
                  </a:moveTo>
                  <a:lnTo>
                    <a:pt x="17" y="16"/>
                  </a:lnTo>
                  <a:lnTo>
                    <a:pt x="25" y="16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90" name="Freeform 307"/>
            <p:cNvSpPr>
              <a:spLocks/>
            </p:cNvSpPr>
            <p:nvPr/>
          </p:nvSpPr>
          <p:spPr bwMode="auto">
            <a:xfrm>
              <a:off x="5090" y="2900"/>
              <a:ext cx="66" cy="34"/>
            </a:xfrm>
            <a:custGeom>
              <a:avLst/>
              <a:gdLst>
                <a:gd name="T0" fmla="*/ 0 w 51"/>
                <a:gd name="T1" fmla="*/ 212 h 26"/>
                <a:gd name="T2" fmla="*/ 141 w 51"/>
                <a:gd name="T3" fmla="*/ 212 h 26"/>
                <a:gd name="T4" fmla="*/ 395 w 51"/>
                <a:gd name="T5" fmla="*/ 0 h 26"/>
                <a:gd name="T6" fmla="*/ 193 w 51"/>
                <a:gd name="T7" fmla="*/ 0 h 26"/>
                <a:gd name="T8" fmla="*/ 75 w 51"/>
                <a:gd name="T9" fmla="*/ 133 h 26"/>
                <a:gd name="T10" fmla="*/ 0 w 51"/>
                <a:gd name="T11" fmla="*/ 212 h 2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1"/>
                <a:gd name="T19" fmla="*/ 0 h 26"/>
                <a:gd name="T20" fmla="*/ 51 w 51"/>
                <a:gd name="T21" fmla="*/ 26 h 2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1" h="26">
                  <a:moveTo>
                    <a:pt x="0" y="25"/>
                  </a:moveTo>
                  <a:lnTo>
                    <a:pt x="18" y="25"/>
                  </a:lnTo>
                  <a:lnTo>
                    <a:pt x="50" y="0"/>
                  </a:lnTo>
                  <a:lnTo>
                    <a:pt x="25" y="0"/>
                  </a:lnTo>
                  <a:lnTo>
                    <a:pt x="9" y="16"/>
                  </a:lnTo>
                  <a:lnTo>
                    <a:pt x="0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91" name="Freeform 308"/>
            <p:cNvSpPr>
              <a:spLocks/>
            </p:cNvSpPr>
            <p:nvPr/>
          </p:nvSpPr>
          <p:spPr bwMode="auto">
            <a:xfrm>
              <a:off x="5271" y="2846"/>
              <a:ext cx="22" cy="33"/>
            </a:xfrm>
            <a:custGeom>
              <a:avLst/>
              <a:gdLst>
                <a:gd name="T0" fmla="*/ 0 w 17"/>
                <a:gd name="T1" fmla="*/ 222 h 25"/>
                <a:gd name="T2" fmla="*/ 126 w 17"/>
                <a:gd name="T3" fmla="*/ 65 h 25"/>
                <a:gd name="T4" fmla="*/ 126 w 17"/>
                <a:gd name="T5" fmla="*/ 0 h 25"/>
                <a:gd name="T6" fmla="*/ 0 w 17"/>
                <a:gd name="T7" fmla="*/ 222 h 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25"/>
                <a:gd name="T14" fmla="*/ 17 w 17"/>
                <a:gd name="T15" fmla="*/ 25 h 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25">
                  <a:moveTo>
                    <a:pt x="0" y="24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0" y="24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92" name="Freeform 309"/>
            <p:cNvSpPr>
              <a:spLocks/>
            </p:cNvSpPr>
            <p:nvPr/>
          </p:nvSpPr>
          <p:spPr bwMode="auto">
            <a:xfrm>
              <a:off x="4793" y="2782"/>
              <a:ext cx="25" cy="34"/>
            </a:xfrm>
            <a:custGeom>
              <a:avLst/>
              <a:gdLst>
                <a:gd name="T0" fmla="*/ 0 w 19"/>
                <a:gd name="T1" fmla="*/ 78 h 26"/>
                <a:gd name="T2" fmla="*/ 84 w 19"/>
                <a:gd name="T3" fmla="*/ 133 h 26"/>
                <a:gd name="T4" fmla="*/ 164 w 19"/>
                <a:gd name="T5" fmla="*/ 212 h 26"/>
                <a:gd name="T6" fmla="*/ 164 w 19"/>
                <a:gd name="T7" fmla="*/ 133 h 26"/>
                <a:gd name="T8" fmla="*/ 84 w 19"/>
                <a:gd name="T9" fmla="*/ 0 h 26"/>
                <a:gd name="T10" fmla="*/ 0 w 19"/>
                <a:gd name="T11" fmla="*/ 78 h 2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26"/>
                <a:gd name="T20" fmla="*/ 19 w 19"/>
                <a:gd name="T21" fmla="*/ 26 h 2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26">
                  <a:moveTo>
                    <a:pt x="0" y="9"/>
                  </a:moveTo>
                  <a:lnTo>
                    <a:pt x="9" y="16"/>
                  </a:lnTo>
                  <a:lnTo>
                    <a:pt x="18" y="25"/>
                  </a:lnTo>
                  <a:lnTo>
                    <a:pt x="18" y="16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93" name="Freeform 310"/>
            <p:cNvSpPr>
              <a:spLocks/>
            </p:cNvSpPr>
            <p:nvPr/>
          </p:nvSpPr>
          <p:spPr bwMode="auto">
            <a:xfrm>
              <a:off x="4793" y="2782"/>
              <a:ext cx="25" cy="34"/>
            </a:xfrm>
            <a:custGeom>
              <a:avLst/>
              <a:gdLst>
                <a:gd name="T0" fmla="*/ 0 w 19"/>
                <a:gd name="T1" fmla="*/ 78 h 26"/>
                <a:gd name="T2" fmla="*/ 84 w 19"/>
                <a:gd name="T3" fmla="*/ 133 h 26"/>
                <a:gd name="T4" fmla="*/ 164 w 19"/>
                <a:gd name="T5" fmla="*/ 212 h 26"/>
                <a:gd name="T6" fmla="*/ 164 w 19"/>
                <a:gd name="T7" fmla="*/ 133 h 26"/>
                <a:gd name="T8" fmla="*/ 84 w 19"/>
                <a:gd name="T9" fmla="*/ 0 h 26"/>
                <a:gd name="T10" fmla="*/ 0 w 19"/>
                <a:gd name="T11" fmla="*/ 78 h 2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26"/>
                <a:gd name="T20" fmla="*/ 19 w 19"/>
                <a:gd name="T21" fmla="*/ 26 h 2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26">
                  <a:moveTo>
                    <a:pt x="0" y="9"/>
                  </a:moveTo>
                  <a:lnTo>
                    <a:pt x="9" y="16"/>
                  </a:lnTo>
                  <a:lnTo>
                    <a:pt x="18" y="25"/>
                  </a:lnTo>
                  <a:lnTo>
                    <a:pt x="18" y="16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94" name="Freeform 311"/>
            <p:cNvSpPr>
              <a:spLocks/>
            </p:cNvSpPr>
            <p:nvPr/>
          </p:nvSpPr>
          <p:spPr bwMode="auto">
            <a:xfrm>
              <a:off x="4825" y="2802"/>
              <a:ext cx="22" cy="23"/>
            </a:xfrm>
            <a:custGeom>
              <a:avLst/>
              <a:gdLst>
                <a:gd name="T0" fmla="*/ 0 w 17"/>
                <a:gd name="T1" fmla="*/ 183 h 17"/>
                <a:gd name="T2" fmla="*/ 126 w 17"/>
                <a:gd name="T3" fmla="*/ 183 h 17"/>
                <a:gd name="T4" fmla="*/ 126 w 17"/>
                <a:gd name="T5" fmla="*/ 0 h 17"/>
                <a:gd name="T6" fmla="*/ 0 w 17"/>
                <a:gd name="T7" fmla="*/ 0 h 17"/>
                <a:gd name="T8" fmla="*/ 0 w 17"/>
                <a:gd name="T9" fmla="*/ 183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7"/>
                <a:gd name="T17" fmla="*/ 17 w 17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7">
                  <a:moveTo>
                    <a:pt x="0" y="16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95" name="Freeform 312"/>
            <p:cNvSpPr>
              <a:spLocks/>
            </p:cNvSpPr>
            <p:nvPr/>
          </p:nvSpPr>
          <p:spPr bwMode="auto">
            <a:xfrm>
              <a:off x="5014" y="2728"/>
              <a:ext cx="110" cy="128"/>
            </a:xfrm>
            <a:custGeom>
              <a:avLst/>
              <a:gdLst>
                <a:gd name="T0" fmla="*/ 0 w 83"/>
                <a:gd name="T1" fmla="*/ 483 h 98"/>
                <a:gd name="T2" fmla="*/ 0 w 83"/>
                <a:gd name="T3" fmla="*/ 554 h 98"/>
                <a:gd name="T4" fmla="*/ 93 w 83"/>
                <a:gd name="T5" fmla="*/ 554 h 98"/>
                <a:gd name="T6" fmla="*/ 93 w 83"/>
                <a:gd name="T7" fmla="*/ 631 h 98"/>
                <a:gd name="T8" fmla="*/ 93 w 83"/>
                <a:gd name="T9" fmla="*/ 824 h 98"/>
                <a:gd name="T10" fmla="*/ 163 w 83"/>
                <a:gd name="T11" fmla="*/ 765 h 98"/>
                <a:gd name="T12" fmla="*/ 163 w 83"/>
                <a:gd name="T13" fmla="*/ 554 h 98"/>
                <a:gd name="T14" fmla="*/ 237 w 83"/>
                <a:gd name="T15" fmla="*/ 483 h 98"/>
                <a:gd name="T16" fmla="*/ 327 w 83"/>
                <a:gd name="T17" fmla="*/ 483 h 98"/>
                <a:gd name="T18" fmla="*/ 237 w 83"/>
                <a:gd name="T19" fmla="*/ 554 h 98"/>
                <a:gd name="T20" fmla="*/ 327 w 83"/>
                <a:gd name="T21" fmla="*/ 631 h 98"/>
                <a:gd name="T22" fmla="*/ 327 w 83"/>
                <a:gd name="T23" fmla="*/ 696 h 98"/>
                <a:gd name="T24" fmla="*/ 468 w 83"/>
                <a:gd name="T25" fmla="*/ 696 h 98"/>
                <a:gd name="T26" fmla="*/ 468 w 83"/>
                <a:gd name="T27" fmla="*/ 824 h 98"/>
                <a:gd name="T28" fmla="*/ 550 w 83"/>
                <a:gd name="T29" fmla="*/ 765 h 98"/>
                <a:gd name="T30" fmla="*/ 550 w 83"/>
                <a:gd name="T31" fmla="*/ 696 h 98"/>
                <a:gd name="T32" fmla="*/ 400 w 83"/>
                <a:gd name="T33" fmla="*/ 554 h 98"/>
                <a:gd name="T34" fmla="*/ 468 w 83"/>
                <a:gd name="T35" fmla="*/ 554 h 98"/>
                <a:gd name="T36" fmla="*/ 327 w 83"/>
                <a:gd name="T37" fmla="*/ 422 h 98"/>
                <a:gd name="T38" fmla="*/ 468 w 83"/>
                <a:gd name="T39" fmla="*/ 283 h 98"/>
                <a:gd name="T40" fmla="*/ 550 w 83"/>
                <a:gd name="T41" fmla="*/ 283 h 98"/>
                <a:gd name="T42" fmla="*/ 237 w 83"/>
                <a:gd name="T43" fmla="*/ 351 h 98"/>
                <a:gd name="T44" fmla="*/ 163 w 83"/>
                <a:gd name="T45" fmla="*/ 283 h 98"/>
                <a:gd name="T46" fmla="*/ 163 w 83"/>
                <a:gd name="T47" fmla="*/ 212 h 98"/>
                <a:gd name="T48" fmla="*/ 237 w 83"/>
                <a:gd name="T49" fmla="*/ 145 h 98"/>
                <a:gd name="T50" fmla="*/ 713 w 83"/>
                <a:gd name="T51" fmla="*/ 145 h 98"/>
                <a:gd name="T52" fmla="*/ 779 w 83"/>
                <a:gd name="T53" fmla="*/ 0 h 98"/>
                <a:gd name="T54" fmla="*/ 620 w 83"/>
                <a:gd name="T55" fmla="*/ 78 h 98"/>
                <a:gd name="T56" fmla="*/ 468 w 83"/>
                <a:gd name="T57" fmla="*/ 145 h 98"/>
                <a:gd name="T58" fmla="*/ 237 w 83"/>
                <a:gd name="T59" fmla="*/ 78 h 98"/>
                <a:gd name="T60" fmla="*/ 237 w 83"/>
                <a:gd name="T61" fmla="*/ 145 h 98"/>
                <a:gd name="T62" fmla="*/ 163 w 83"/>
                <a:gd name="T63" fmla="*/ 145 h 98"/>
                <a:gd name="T64" fmla="*/ 163 w 83"/>
                <a:gd name="T65" fmla="*/ 283 h 98"/>
                <a:gd name="T66" fmla="*/ 0 w 83"/>
                <a:gd name="T67" fmla="*/ 483 h 9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83"/>
                <a:gd name="T103" fmla="*/ 0 h 98"/>
                <a:gd name="T104" fmla="*/ 83 w 83"/>
                <a:gd name="T105" fmla="*/ 98 h 9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83" h="98">
                  <a:moveTo>
                    <a:pt x="0" y="57"/>
                  </a:moveTo>
                  <a:lnTo>
                    <a:pt x="0" y="66"/>
                  </a:lnTo>
                  <a:lnTo>
                    <a:pt x="10" y="66"/>
                  </a:lnTo>
                  <a:lnTo>
                    <a:pt x="10" y="74"/>
                  </a:lnTo>
                  <a:lnTo>
                    <a:pt x="10" y="97"/>
                  </a:lnTo>
                  <a:lnTo>
                    <a:pt x="17" y="90"/>
                  </a:lnTo>
                  <a:lnTo>
                    <a:pt x="17" y="66"/>
                  </a:lnTo>
                  <a:lnTo>
                    <a:pt x="25" y="57"/>
                  </a:lnTo>
                  <a:lnTo>
                    <a:pt x="34" y="57"/>
                  </a:lnTo>
                  <a:lnTo>
                    <a:pt x="25" y="66"/>
                  </a:lnTo>
                  <a:lnTo>
                    <a:pt x="34" y="74"/>
                  </a:lnTo>
                  <a:lnTo>
                    <a:pt x="34" y="82"/>
                  </a:lnTo>
                  <a:lnTo>
                    <a:pt x="50" y="82"/>
                  </a:lnTo>
                  <a:lnTo>
                    <a:pt x="50" y="97"/>
                  </a:lnTo>
                  <a:lnTo>
                    <a:pt x="57" y="90"/>
                  </a:lnTo>
                  <a:lnTo>
                    <a:pt x="57" y="82"/>
                  </a:lnTo>
                  <a:lnTo>
                    <a:pt x="42" y="66"/>
                  </a:lnTo>
                  <a:lnTo>
                    <a:pt x="50" y="66"/>
                  </a:lnTo>
                  <a:lnTo>
                    <a:pt x="34" y="50"/>
                  </a:lnTo>
                  <a:lnTo>
                    <a:pt x="50" y="34"/>
                  </a:lnTo>
                  <a:lnTo>
                    <a:pt x="57" y="34"/>
                  </a:lnTo>
                  <a:lnTo>
                    <a:pt x="25" y="41"/>
                  </a:lnTo>
                  <a:lnTo>
                    <a:pt x="17" y="34"/>
                  </a:lnTo>
                  <a:lnTo>
                    <a:pt x="17" y="25"/>
                  </a:lnTo>
                  <a:lnTo>
                    <a:pt x="25" y="17"/>
                  </a:lnTo>
                  <a:lnTo>
                    <a:pt x="75" y="17"/>
                  </a:lnTo>
                  <a:lnTo>
                    <a:pt x="82" y="0"/>
                  </a:lnTo>
                  <a:lnTo>
                    <a:pt x="66" y="9"/>
                  </a:lnTo>
                  <a:lnTo>
                    <a:pt x="50" y="17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34"/>
                  </a:lnTo>
                  <a:lnTo>
                    <a:pt x="0" y="5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96" name="Freeform 313"/>
            <p:cNvSpPr>
              <a:spLocks/>
            </p:cNvSpPr>
            <p:nvPr/>
          </p:nvSpPr>
          <p:spPr bwMode="auto">
            <a:xfrm>
              <a:off x="5154" y="2721"/>
              <a:ext cx="23" cy="53"/>
            </a:xfrm>
            <a:custGeom>
              <a:avLst/>
              <a:gdLst>
                <a:gd name="T0" fmla="*/ 0 w 17"/>
                <a:gd name="T1" fmla="*/ 115 h 41"/>
                <a:gd name="T2" fmla="*/ 92 w 17"/>
                <a:gd name="T3" fmla="*/ 242 h 41"/>
                <a:gd name="T4" fmla="*/ 183 w 17"/>
                <a:gd name="T5" fmla="*/ 313 h 41"/>
                <a:gd name="T6" fmla="*/ 92 w 17"/>
                <a:gd name="T7" fmla="*/ 242 h 41"/>
                <a:gd name="T8" fmla="*/ 92 w 17"/>
                <a:gd name="T9" fmla="*/ 182 h 41"/>
                <a:gd name="T10" fmla="*/ 183 w 17"/>
                <a:gd name="T11" fmla="*/ 182 h 41"/>
                <a:gd name="T12" fmla="*/ 183 w 17"/>
                <a:gd name="T13" fmla="*/ 115 h 41"/>
                <a:gd name="T14" fmla="*/ 183 w 17"/>
                <a:gd name="T15" fmla="*/ 47 h 41"/>
                <a:gd name="T16" fmla="*/ 183 w 17"/>
                <a:gd name="T17" fmla="*/ 115 h 41"/>
                <a:gd name="T18" fmla="*/ 92 w 17"/>
                <a:gd name="T19" fmla="*/ 0 h 41"/>
                <a:gd name="T20" fmla="*/ 0 w 17"/>
                <a:gd name="T21" fmla="*/ 115 h 4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"/>
                <a:gd name="T34" fmla="*/ 0 h 41"/>
                <a:gd name="T35" fmla="*/ 17 w 17"/>
                <a:gd name="T36" fmla="*/ 41 h 4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" h="41">
                  <a:moveTo>
                    <a:pt x="0" y="15"/>
                  </a:moveTo>
                  <a:lnTo>
                    <a:pt x="8" y="31"/>
                  </a:lnTo>
                  <a:lnTo>
                    <a:pt x="16" y="40"/>
                  </a:lnTo>
                  <a:lnTo>
                    <a:pt x="8" y="31"/>
                  </a:lnTo>
                  <a:lnTo>
                    <a:pt x="8" y="23"/>
                  </a:lnTo>
                  <a:lnTo>
                    <a:pt x="16" y="23"/>
                  </a:lnTo>
                  <a:lnTo>
                    <a:pt x="16" y="15"/>
                  </a:lnTo>
                  <a:lnTo>
                    <a:pt x="16" y="6"/>
                  </a:lnTo>
                  <a:lnTo>
                    <a:pt x="16" y="15"/>
                  </a:lnTo>
                  <a:lnTo>
                    <a:pt x="8" y="0"/>
                  </a:lnTo>
                  <a:lnTo>
                    <a:pt x="0" y="1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97" name="Freeform 314"/>
            <p:cNvSpPr>
              <a:spLocks/>
            </p:cNvSpPr>
            <p:nvPr/>
          </p:nvSpPr>
          <p:spPr bwMode="auto">
            <a:xfrm>
              <a:off x="5133" y="2814"/>
              <a:ext cx="23" cy="22"/>
            </a:xfrm>
            <a:custGeom>
              <a:avLst/>
              <a:gdLst>
                <a:gd name="T0" fmla="*/ 0 w 17"/>
                <a:gd name="T1" fmla="*/ 0 h 17"/>
                <a:gd name="T2" fmla="*/ 183 w 17"/>
                <a:gd name="T3" fmla="*/ 126 h 17"/>
                <a:gd name="T4" fmla="*/ 183 w 17"/>
                <a:gd name="T5" fmla="*/ 0 h 17"/>
                <a:gd name="T6" fmla="*/ 0 w 17"/>
                <a:gd name="T7" fmla="*/ 0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7"/>
                <a:gd name="T14" fmla="*/ 17 w 17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98" name="Freeform 315"/>
            <p:cNvSpPr>
              <a:spLocks/>
            </p:cNvSpPr>
            <p:nvPr/>
          </p:nvSpPr>
          <p:spPr bwMode="auto">
            <a:xfrm>
              <a:off x="5165" y="2802"/>
              <a:ext cx="55" cy="24"/>
            </a:xfrm>
            <a:custGeom>
              <a:avLst/>
              <a:gdLst>
                <a:gd name="T0" fmla="*/ 0 w 42"/>
                <a:gd name="T1" fmla="*/ 87 h 18"/>
                <a:gd name="T2" fmla="*/ 360 w 42"/>
                <a:gd name="T3" fmla="*/ 172 h 18"/>
                <a:gd name="T4" fmla="*/ 276 w 42"/>
                <a:gd name="T5" fmla="*/ 87 h 18"/>
                <a:gd name="T6" fmla="*/ 216 w 42"/>
                <a:gd name="T7" fmla="*/ 0 h 18"/>
                <a:gd name="T8" fmla="*/ 63 w 42"/>
                <a:gd name="T9" fmla="*/ 0 h 18"/>
                <a:gd name="T10" fmla="*/ 0 w 42"/>
                <a:gd name="T11" fmla="*/ 8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2"/>
                <a:gd name="T19" fmla="*/ 0 h 18"/>
                <a:gd name="T20" fmla="*/ 42 w 42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2" h="18">
                  <a:moveTo>
                    <a:pt x="0" y="9"/>
                  </a:moveTo>
                  <a:lnTo>
                    <a:pt x="41" y="17"/>
                  </a:lnTo>
                  <a:lnTo>
                    <a:pt x="32" y="9"/>
                  </a:lnTo>
                  <a:lnTo>
                    <a:pt x="25" y="0"/>
                  </a:lnTo>
                  <a:lnTo>
                    <a:pt x="7" y="0"/>
                  </a:lnTo>
                  <a:lnTo>
                    <a:pt x="0" y="9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99" name="Freeform 316"/>
            <p:cNvSpPr>
              <a:spLocks/>
            </p:cNvSpPr>
            <p:nvPr/>
          </p:nvSpPr>
          <p:spPr bwMode="auto">
            <a:xfrm>
              <a:off x="5037" y="2445"/>
              <a:ext cx="66" cy="95"/>
            </a:xfrm>
            <a:custGeom>
              <a:avLst/>
              <a:gdLst>
                <a:gd name="T0" fmla="*/ 0 w 50"/>
                <a:gd name="T1" fmla="*/ 254 h 73"/>
                <a:gd name="T2" fmla="*/ 0 w 50"/>
                <a:gd name="T3" fmla="*/ 383 h 73"/>
                <a:gd name="T4" fmla="*/ 78 w 50"/>
                <a:gd name="T5" fmla="*/ 455 h 73"/>
                <a:gd name="T6" fmla="*/ 78 w 50"/>
                <a:gd name="T7" fmla="*/ 535 h 73"/>
                <a:gd name="T8" fmla="*/ 152 w 50"/>
                <a:gd name="T9" fmla="*/ 535 h 73"/>
                <a:gd name="T10" fmla="*/ 235 w 50"/>
                <a:gd name="T11" fmla="*/ 535 h 73"/>
                <a:gd name="T12" fmla="*/ 310 w 50"/>
                <a:gd name="T13" fmla="*/ 592 h 73"/>
                <a:gd name="T14" fmla="*/ 310 w 50"/>
                <a:gd name="T15" fmla="*/ 535 h 73"/>
                <a:gd name="T16" fmla="*/ 368 w 50"/>
                <a:gd name="T17" fmla="*/ 592 h 73"/>
                <a:gd name="T18" fmla="*/ 455 w 50"/>
                <a:gd name="T19" fmla="*/ 592 h 73"/>
                <a:gd name="T20" fmla="*/ 368 w 50"/>
                <a:gd name="T21" fmla="*/ 535 h 73"/>
                <a:gd name="T22" fmla="*/ 455 w 50"/>
                <a:gd name="T23" fmla="*/ 535 h 73"/>
                <a:gd name="T24" fmla="*/ 310 w 50"/>
                <a:gd name="T25" fmla="*/ 455 h 73"/>
                <a:gd name="T26" fmla="*/ 235 w 50"/>
                <a:gd name="T27" fmla="*/ 535 h 73"/>
                <a:gd name="T28" fmla="*/ 152 w 50"/>
                <a:gd name="T29" fmla="*/ 383 h 73"/>
                <a:gd name="T30" fmla="*/ 310 w 50"/>
                <a:gd name="T31" fmla="*/ 195 h 73"/>
                <a:gd name="T32" fmla="*/ 235 w 50"/>
                <a:gd name="T33" fmla="*/ 125 h 73"/>
                <a:gd name="T34" fmla="*/ 310 w 50"/>
                <a:gd name="T35" fmla="*/ 0 h 73"/>
                <a:gd name="T36" fmla="*/ 235 w 50"/>
                <a:gd name="T37" fmla="*/ 60 h 73"/>
                <a:gd name="T38" fmla="*/ 78 w 50"/>
                <a:gd name="T39" fmla="*/ 0 h 73"/>
                <a:gd name="T40" fmla="*/ 0 w 50"/>
                <a:gd name="T41" fmla="*/ 254 h 7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0"/>
                <a:gd name="T64" fmla="*/ 0 h 73"/>
                <a:gd name="T65" fmla="*/ 50 w 50"/>
                <a:gd name="T66" fmla="*/ 73 h 7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0" h="73">
                  <a:moveTo>
                    <a:pt x="0" y="31"/>
                  </a:moveTo>
                  <a:lnTo>
                    <a:pt x="0" y="47"/>
                  </a:lnTo>
                  <a:lnTo>
                    <a:pt x="8" y="55"/>
                  </a:lnTo>
                  <a:lnTo>
                    <a:pt x="8" y="65"/>
                  </a:lnTo>
                  <a:lnTo>
                    <a:pt x="17" y="65"/>
                  </a:lnTo>
                  <a:lnTo>
                    <a:pt x="25" y="65"/>
                  </a:lnTo>
                  <a:lnTo>
                    <a:pt x="33" y="72"/>
                  </a:lnTo>
                  <a:lnTo>
                    <a:pt x="33" y="65"/>
                  </a:lnTo>
                  <a:lnTo>
                    <a:pt x="40" y="72"/>
                  </a:lnTo>
                  <a:lnTo>
                    <a:pt x="49" y="72"/>
                  </a:lnTo>
                  <a:lnTo>
                    <a:pt x="40" y="65"/>
                  </a:lnTo>
                  <a:lnTo>
                    <a:pt x="49" y="65"/>
                  </a:lnTo>
                  <a:lnTo>
                    <a:pt x="33" y="55"/>
                  </a:lnTo>
                  <a:lnTo>
                    <a:pt x="25" y="65"/>
                  </a:lnTo>
                  <a:lnTo>
                    <a:pt x="17" y="47"/>
                  </a:lnTo>
                  <a:lnTo>
                    <a:pt x="33" y="24"/>
                  </a:lnTo>
                  <a:lnTo>
                    <a:pt x="25" y="15"/>
                  </a:lnTo>
                  <a:lnTo>
                    <a:pt x="33" y="0"/>
                  </a:lnTo>
                  <a:lnTo>
                    <a:pt x="25" y="7"/>
                  </a:lnTo>
                  <a:lnTo>
                    <a:pt x="8" y="0"/>
                  </a:lnTo>
                  <a:lnTo>
                    <a:pt x="0" y="31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00" name="Freeform 317"/>
            <p:cNvSpPr>
              <a:spLocks/>
            </p:cNvSpPr>
            <p:nvPr/>
          </p:nvSpPr>
          <p:spPr bwMode="auto">
            <a:xfrm>
              <a:off x="4984" y="2572"/>
              <a:ext cx="46" cy="53"/>
            </a:xfrm>
            <a:custGeom>
              <a:avLst/>
              <a:gdLst>
                <a:gd name="T0" fmla="*/ 0 w 35"/>
                <a:gd name="T1" fmla="*/ 313 h 41"/>
                <a:gd name="T2" fmla="*/ 306 w 35"/>
                <a:gd name="T3" fmla="*/ 61 h 41"/>
                <a:gd name="T4" fmla="*/ 306 w 35"/>
                <a:gd name="T5" fmla="*/ 0 h 41"/>
                <a:gd name="T6" fmla="*/ 0 w 35"/>
                <a:gd name="T7" fmla="*/ 313 h 4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5"/>
                <a:gd name="T13" fmla="*/ 0 h 41"/>
                <a:gd name="T14" fmla="*/ 35 w 35"/>
                <a:gd name="T15" fmla="*/ 41 h 4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5" h="41">
                  <a:moveTo>
                    <a:pt x="0" y="40"/>
                  </a:moveTo>
                  <a:lnTo>
                    <a:pt x="34" y="8"/>
                  </a:lnTo>
                  <a:lnTo>
                    <a:pt x="34" y="0"/>
                  </a:lnTo>
                  <a:lnTo>
                    <a:pt x="0" y="4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01" name="Freeform 318"/>
            <p:cNvSpPr>
              <a:spLocks/>
            </p:cNvSpPr>
            <p:nvPr/>
          </p:nvSpPr>
          <p:spPr bwMode="auto">
            <a:xfrm>
              <a:off x="5037" y="2539"/>
              <a:ext cx="23" cy="22"/>
            </a:xfrm>
            <a:custGeom>
              <a:avLst/>
              <a:gdLst>
                <a:gd name="T0" fmla="*/ 0 w 18"/>
                <a:gd name="T1" fmla="*/ 0 h 17"/>
                <a:gd name="T2" fmla="*/ 123 w 18"/>
                <a:gd name="T3" fmla="*/ 126 h 17"/>
                <a:gd name="T4" fmla="*/ 123 w 18"/>
                <a:gd name="T5" fmla="*/ 61 h 17"/>
                <a:gd name="T6" fmla="*/ 123 w 18"/>
                <a:gd name="T7" fmla="*/ 0 h 17"/>
                <a:gd name="T8" fmla="*/ 0 w 18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7"/>
                <a:gd name="T17" fmla="*/ 18 w 18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7">
                  <a:moveTo>
                    <a:pt x="0" y="0"/>
                  </a:moveTo>
                  <a:lnTo>
                    <a:pt x="17" y="16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02" name="Freeform 319"/>
            <p:cNvSpPr>
              <a:spLocks/>
            </p:cNvSpPr>
            <p:nvPr/>
          </p:nvSpPr>
          <p:spPr bwMode="auto">
            <a:xfrm>
              <a:off x="5113" y="2549"/>
              <a:ext cx="22" cy="44"/>
            </a:xfrm>
            <a:custGeom>
              <a:avLst/>
              <a:gdLst>
                <a:gd name="T0" fmla="*/ 0 w 17"/>
                <a:gd name="T1" fmla="*/ 0 h 33"/>
                <a:gd name="T2" fmla="*/ 58 w 17"/>
                <a:gd name="T3" fmla="*/ 65 h 33"/>
                <a:gd name="T4" fmla="*/ 0 w 17"/>
                <a:gd name="T5" fmla="*/ 172 h 33"/>
                <a:gd name="T6" fmla="*/ 0 w 17"/>
                <a:gd name="T7" fmla="*/ 249 h 33"/>
                <a:gd name="T8" fmla="*/ 0 w 17"/>
                <a:gd name="T9" fmla="*/ 320 h 33"/>
                <a:gd name="T10" fmla="*/ 58 w 17"/>
                <a:gd name="T11" fmla="*/ 320 h 33"/>
                <a:gd name="T12" fmla="*/ 58 w 17"/>
                <a:gd name="T13" fmla="*/ 172 h 33"/>
                <a:gd name="T14" fmla="*/ 126 w 17"/>
                <a:gd name="T15" fmla="*/ 172 h 33"/>
                <a:gd name="T16" fmla="*/ 58 w 17"/>
                <a:gd name="T17" fmla="*/ 65 h 33"/>
                <a:gd name="T18" fmla="*/ 58 w 17"/>
                <a:gd name="T19" fmla="*/ 0 h 33"/>
                <a:gd name="T20" fmla="*/ 0 w 17"/>
                <a:gd name="T21" fmla="*/ 0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"/>
                <a:gd name="T34" fmla="*/ 0 h 33"/>
                <a:gd name="T35" fmla="*/ 17 w 17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" h="33">
                  <a:moveTo>
                    <a:pt x="0" y="0"/>
                  </a:moveTo>
                  <a:lnTo>
                    <a:pt x="7" y="7"/>
                  </a:lnTo>
                  <a:lnTo>
                    <a:pt x="0" y="17"/>
                  </a:lnTo>
                  <a:lnTo>
                    <a:pt x="0" y="25"/>
                  </a:lnTo>
                  <a:lnTo>
                    <a:pt x="0" y="32"/>
                  </a:lnTo>
                  <a:lnTo>
                    <a:pt x="7" y="32"/>
                  </a:lnTo>
                  <a:lnTo>
                    <a:pt x="7" y="17"/>
                  </a:lnTo>
                  <a:lnTo>
                    <a:pt x="16" y="17"/>
                  </a:lnTo>
                  <a:lnTo>
                    <a:pt x="7" y="7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03" name="Freeform 320"/>
            <p:cNvSpPr>
              <a:spLocks/>
            </p:cNvSpPr>
            <p:nvPr/>
          </p:nvSpPr>
          <p:spPr bwMode="auto">
            <a:xfrm>
              <a:off x="5070" y="2559"/>
              <a:ext cx="44" cy="54"/>
            </a:xfrm>
            <a:custGeom>
              <a:avLst/>
              <a:gdLst>
                <a:gd name="T0" fmla="*/ 0 w 34"/>
                <a:gd name="T1" fmla="*/ 135 h 42"/>
                <a:gd name="T2" fmla="*/ 61 w 34"/>
                <a:gd name="T3" fmla="*/ 135 h 42"/>
                <a:gd name="T4" fmla="*/ 61 w 34"/>
                <a:gd name="T5" fmla="*/ 185 h 42"/>
                <a:gd name="T6" fmla="*/ 115 w 34"/>
                <a:gd name="T7" fmla="*/ 306 h 42"/>
                <a:gd name="T8" fmla="*/ 115 w 34"/>
                <a:gd name="T9" fmla="*/ 258 h 42"/>
                <a:gd name="T10" fmla="*/ 115 w 34"/>
                <a:gd name="T11" fmla="*/ 185 h 42"/>
                <a:gd name="T12" fmla="*/ 260 w 34"/>
                <a:gd name="T13" fmla="*/ 258 h 42"/>
                <a:gd name="T14" fmla="*/ 260 w 34"/>
                <a:gd name="T15" fmla="*/ 185 h 42"/>
                <a:gd name="T16" fmla="*/ 189 w 34"/>
                <a:gd name="T17" fmla="*/ 185 h 42"/>
                <a:gd name="T18" fmla="*/ 189 w 34"/>
                <a:gd name="T19" fmla="*/ 76 h 42"/>
                <a:gd name="T20" fmla="*/ 115 w 34"/>
                <a:gd name="T21" fmla="*/ 135 h 42"/>
                <a:gd name="T22" fmla="*/ 115 w 34"/>
                <a:gd name="T23" fmla="*/ 76 h 42"/>
                <a:gd name="T24" fmla="*/ 61 w 34"/>
                <a:gd name="T25" fmla="*/ 0 h 42"/>
                <a:gd name="T26" fmla="*/ 0 w 34"/>
                <a:gd name="T27" fmla="*/ 0 h 42"/>
                <a:gd name="T28" fmla="*/ 0 w 34"/>
                <a:gd name="T29" fmla="*/ 135 h 4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4"/>
                <a:gd name="T46" fmla="*/ 0 h 42"/>
                <a:gd name="T47" fmla="*/ 34 w 34"/>
                <a:gd name="T48" fmla="*/ 42 h 4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4" h="42">
                  <a:moveTo>
                    <a:pt x="0" y="18"/>
                  </a:moveTo>
                  <a:lnTo>
                    <a:pt x="8" y="18"/>
                  </a:lnTo>
                  <a:lnTo>
                    <a:pt x="8" y="25"/>
                  </a:lnTo>
                  <a:lnTo>
                    <a:pt x="15" y="41"/>
                  </a:lnTo>
                  <a:lnTo>
                    <a:pt x="15" y="34"/>
                  </a:lnTo>
                  <a:lnTo>
                    <a:pt x="15" y="25"/>
                  </a:lnTo>
                  <a:lnTo>
                    <a:pt x="33" y="34"/>
                  </a:lnTo>
                  <a:lnTo>
                    <a:pt x="33" y="25"/>
                  </a:lnTo>
                  <a:lnTo>
                    <a:pt x="24" y="25"/>
                  </a:lnTo>
                  <a:lnTo>
                    <a:pt x="24" y="10"/>
                  </a:lnTo>
                  <a:lnTo>
                    <a:pt x="15" y="18"/>
                  </a:lnTo>
                  <a:lnTo>
                    <a:pt x="15" y="1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04" name="Freeform 321"/>
            <p:cNvSpPr>
              <a:spLocks/>
            </p:cNvSpPr>
            <p:nvPr/>
          </p:nvSpPr>
          <p:spPr bwMode="auto">
            <a:xfrm>
              <a:off x="5070" y="2592"/>
              <a:ext cx="73" cy="76"/>
            </a:xfrm>
            <a:custGeom>
              <a:avLst/>
              <a:gdLst>
                <a:gd name="T0" fmla="*/ 0 w 56"/>
                <a:gd name="T1" fmla="*/ 305 h 59"/>
                <a:gd name="T2" fmla="*/ 65 w 56"/>
                <a:gd name="T3" fmla="*/ 259 h 59"/>
                <a:gd name="T4" fmla="*/ 125 w 56"/>
                <a:gd name="T5" fmla="*/ 259 h 59"/>
                <a:gd name="T6" fmla="*/ 197 w 56"/>
                <a:gd name="T7" fmla="*/ 259 h 59"/>
                <a:gd name="T8" fmla="*/ 275 w 56"/>
                <a:gd name="T9" fmla="*/ 259 h 59"/>
                <a:gd name="T10" fmla="*/ 197 w 56"/>
                <a:gd name="T11" fmla="*/ 370 h 59"/>
                <a:gd name="T12" fmla="*/ 335 w 56"/>
                <a:gd name="T13" fmla="*/ 443 h 59"/>
                <a:gd name="T14" fmla="*/ 408 w 56"/>
                <a:gd name="T15" fmla="*/ 370 h 59"/>
                <a:gd name="T16" fmla="*/ 335 w 56"/>
                <a:gd name="T17" fmla="*/ 305 h 59"/>
                <a:gd name="T18" fmla="*/ 408 w 56"/>
                <a:gd name="T19" fmla="*/ 259 h 59"/>
                <a:gd name="T20" fmla="*/ 463 w 56"/>
                <a:gd name="T21" fmla="*/ 370 h 59"/>
                <a:gd name="T22" fmla="*/ 463 w 56"/>
                <a:gd name="T23" fmla="*/ 259 h 59"/>
                <a:gd name="T24" fmla="*/ 463 w 56"/>
                <a:gd name="T25" fmla="*/ 125 h 59"/>
                <a:gd name="T26" fmla="*/ 335 w 56"/>
                <a:gd name="T27" fmla="*/ 0 h 59"/>
                <a:gd name="T28" fmla="*/ 335 w 56"/>
                <a:gd name="T29" fmla="*/ 125 h 59"/>
                <a:gd name="T30" fmla="*/ 275 w 56"/>
                <a:gd name="T31" fmla="*/ 125 h 59"/>
                <a:gd name="T32" fmla="*/ 197 w 56"/>
                <a:gd name="T33" fmla="*/ 188 h 59"/>
                <a:gd name="T34" fmla="*/ 125 w 56"/>
                <a:gd name="T35" fmla="*/ 125 h 59"/>
                <a:gd name="T36" fmla="*/ 0 w 56"/>
                <a:gd name="T37" fmla="*/ 259 h 59"/>
                <a:gd name="T38" fmla="*/ 0 w 56"/>
                <a:gd name="T39" fmla="*/ 305 h 5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"/>
                <a:gd name="T61" fmla="*/ 0 h 59"/>
                <a:gd name="T62" fmla="*/ 56 w 56"/>
                <a:gd name="T63" fmla="*/ 59 h 5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" h="59">
                  <a:moveTo>
                    <a:pt x="0" y="40"/>
                  </a:moveTo>
                  <a:lnTo>
                    <a:pt x="8" y="34"/>
                  </a:lnTo>
                  <a:lnTo>
                    <a:pt x="15" y="34"/>
                  </a:lnTo>
                  <a:lnTo>
                    <a:pt x="24" y="34"/>
                  </a:lnTo>
                  <a:lnTo>
                    <a:pt x="33" y="34"/>
                  </a:lnTo>
                  <a:lnTo>
                    <a:pt x="24" y="49"/>
                  </a:lnTo>
                  <a:lnTo>
                    <a:pt x="40" y="58"/>
                  </a:lnTo>
                  <a:lnTo>
                    <a:pt x="49" y="49"/>
                  </a:lnTo>
                  <a:lnTo>
                    <a:pt x="40" y="40"/>
                  </a:lnTo>
                  <a:lnTo>
                    <a:pt x="49" y="34"/>
                  </a:lnTo>
                  <a:lnTo>
                    <a:pt x="55" y="49"/>
                  </a:lnTo>
                  <a:lnTo>
                    <a:pt x="55" y="34"/>
                  </a:lnTo>
                  <a:lnTo>
                    <a:pt x="55" y="16"/>
                  </a:lnTo>
                  <a:lnTo>
                    <a:pt x="40" y="0"/>
                  </a:lnTo>
                  <a:lnTo>
                    <a:pt x="40" y="16"/>
                  </a:lnTo>
                  <a:lnTo>
                    <a:pt x="33" y="16"/>
                  </a:lnTo>
                  <a:lnTo>
                    <a:pt x="24" y="25"/>
                  </a:lnTo>
                  <a:lnTo>
                    <a:pt x="15" y="16"/>
                  </a:lnTo>
                  <a:lnTo>
                    <a:pt x="0" y="34"/>
                  </a:lnTo>
                  <a:lnTo>
                    <a:pt x="0" y="4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05" name="Freeform 322"/>
            <p:cNvSpPr>
              <a:spLocks/>
            </p:cNvSpPr>
            <p:nvPr/>
          </p:nvSpPr>
          <p:spPr bwMode="auto">
            <a:xfrm>
              <a:off x="5504" y="2825"/>
              <a:ext cx="74" cy="43"/>
            </a:xfrm>
            <a:custGeom>
              <a:avLst/>
              <a:gdLst>
                <a:gd name="T0" fmla="*/ 0 w 57"/>
                <a:gd name="T1" fmla="*/ 133 h 33"/>
                <a:gd name="T2" fmla="*/ 126 w 57"/>
                <a:gd name="T3" fmla="*/ 270 h 33"/>
                <a:gd name="T4" fmla="*/ 273 w 57"/>
                <a:gd name="T5" fmla="*/ 270 h 33"/>
                <a:gd name="T6" fmla="*/ 397 w 57"/>
                <a:gd name="T7" fmla="*/ 190 h 33"/>
                <a:gd name="T8" fmla="*/ 456 w 57"/>
                <a:gd name="T9" fmla="*/ 65 h 33"/>
                <a:gd name="T10" fmla="*/ 456 w 57"/>
                <a:gd name="T11" fmla="*/ 0 h 33"/>
                <a:gd name="T12" fmla="*/ 397 w 57"/>
                <a:gd name="T13" fmla="*/ 0 h 33"/>
                <a:gd name="T14" fmla="*/ 397 w 57"/>
                <a:gd name="T15" fmla="*/ 133 h 33"/>
                <a:gd name="T16" fmla="*/ 332 w 57"/>
                <a:gd name="T17" fmla="*/ 133 h 33"/>
                <a:gd name="T18" fmla="*/ 273 w 57"/>
                <a:gd name="T19" fmla="*/ 133 h 33"/>
                <a:gd name="T20" fmla="*/ 0 w 57"/>
                <a:gd name="T21" fmla="*/ 133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7"/>
                <a:gd name="T34" fmla="*/ 0 h 33"/>
                <a:gd name="T35" fmla="*/ 57 w 57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7" h="33">
                  <a:moveTo>
                    <a:pt x="0" y="16"/>
                  </a:moveTo>
                  <a:lnTo>
                    <a:pt x="16" y="32"/>
                  </a:lnTo>
                  <a:lnTo>
                    <a:pt x="34" y="32"/>
                  </a:lnTo>
                  <a:lnTo>
                    <a:pt x="49" y="23"/>
                  </a:lnTo>
                  <a:lnTo>
                    <a:pt x="56" y="8"/>
                  </a:lnTo>
                  <a:lnTo>
                    <a:pt x="56" y="0"/>
                  </a:lnTo>
                  <a:lnTo>
                    <a:pt x="49" y="0"/>
                  </a:lnTo>
                  <a:lnTo>
                    <a:pt x="49" y="16"/>
                  </a:lnTo>
                  <a:lnTo>
                    <a:pt x="41" y="16"/>
                  </a:lnTo>
                  <a:lnTo>
                    <a:pt x="34" y="16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06" name="Freeform 323"/>
            <p:cNvSpPr>
              <a:spLocks/>
            </p:cNvSpPr>
            <p:nvPr/>
          </p:nvSpPr>
          <p:spPr bwMode="auto">
            <a:xfrm>
              <a:off x="5557" y="2814"/>
              <a:ext cx="32" cy="22"/>
            </a:xfrm>
            <a:custGeom>
              <a:avLst/>
              <a:gdLst>
                <a:gd name="T0" fmla="*/ 0 w 25"/>
                <a:gd name="T1" fmla="*/ 0 h 17"/>
                <a:gd name="T2" fmla="*/ 106 w 25"/>
                <a:gd name="T3" fmla="*/ 61 h 17"/>
                <a:gd name="T4" fmla="*/ 174 w 25"/>
                <a:gd name="T5" fmla="*/ 126 h 17"/>
                <a:gd name="T6" fmla="*/ 174 w 25"/>
                <a:gd name="T7" fmla="*/ 61 h 17"/>
                <a:gd name="T8" fmla="*/ 0 w 25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5"/>
                <a:gd name="T16" fmla="*/ 0 h 17"/>
                <a:gd name="T17" fmla="*/ 25 w 25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5" h="17">
                  <a:moveTo>
                    <a:pt x="0" y="0"/>
                  </a:moveTo>
                  <a:lnTo>
                    <a:pt x="15" y="8"/>
                  </a:lnTo>
                  <a:lnTo>
                    <a:pt x="24" y="16"/>
                  </a:lnTo>
                  <a:lnTo>
                    <a:pt x="24" y="8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07" name="Freeform 324"/>
            <p:cNvSpPr>
              <a:spLocks/>
            </p:cNvSpPr>
            <p:nvPr/>
          </p:nvSpPr>
          <p:spPr bwMode="auto">
            <a:xfrm>
              <a:off x="5620" y="2846"/>
              <a:ext cx="23" cy="33"/>
            </a:xfrm>
            <a:custGeom>
              <a:avLst/>
              <a:gdLst>
                <a:gd name="T0" fmla="*/ 0 w 18"/>
                <a:gd name="T1" fmla="*/ 0 h 25"/>
                <a:gd name="T2" fmla="*/ 59 w 18"/>
                <a:gd name="T3" fmla="*/ 222 h 25"/>
                <a:gd name="T4" fmla="*/ 123 w 18"/>
                <a:gd name="T5" fmla="*/ 150 h 25"/>
                <a:gd name="T6" fmla="*/ 0 w 18"/>
                <a:gd name="T7" fmla="*/ 0 h 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"/>
                <a:gd name="T13" fmla="*/ 0 h 25"/>
                <a:gd name="T14" fmla="*/ 18 w 18"/>
                <a:gd name="T15" fmla="*/ 25 h 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" h="25">
                  <a:moveTo>
                    <a:pt x="0" y="0"/>
                  </a:moveTo>
                  <a:lnTo>
                    <a:pt x="8" y="24"/>
                  </a:lnTo>
                  <a:lnTo>
                    <a:pt x="17" y="16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08" name="Freeform 325"/>
            <p:cNvSpPr>
              <a:spLocks/>
            </p:cNvSpPr>
            <p:nvPr/>
          </p:nvSpPr>
          <p:spPr bwMode="auto">
            <a:xfrm>
              <a:off x="5694" y="2907"/>
              <a:ext cx="22" cy="22"/>
            </a:xfrm>
            <a:custGeom>
              <a:avLst/>
              <a:gdLst>
                <a:gd name="T0" fmla="*/ 0 w 17"/>
                <a:gd name="T1" fmla="*/ 0 h 17"/>
                <a:gd name="T2" fmla="*/ 0 w 17"/>
                <a:gd name="T3" fmla="*/ 126 h 17"/>
                <a:gd name="T4" fmla="*/ 126 w 17"/>
                <a:gd name="T5" fmla="*/ 126 h 17"/>
                <a:gd name="T6" fmla="*/ 0 w 17"/>
                <a:gd name="T7" fmla="*/ 0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7"/>
                <a:gd name="T14" fmla="*/ 17 w 17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09" name="Freeform 326"/>
            <p:cNvSpPr>
              <a:spLocks/>
            </p:cNvSpPr>
            <p:nvPr/>
          </p:nvSpPr>
          <p:spPr bwMode="auto">
            <a:xfrm>
              <a:off x="355" y="2380"/>
              <a:ext cx="23" cy="21"/>
            </a:xfrm>
            <a:custGeom>
              <a:avLst/>
              <a:gdLst>
                <a:gd name="T0" fmla="*/ 0 w 17"/>
                <a:gd name="T1" fmla="*/ 0 h 17"/>
                <a:gd name="T2" fmla="*/ 183 w 17"/>
                <a:gd name="T3" fmla="*/ 89 h 17"/>
                <a:gd name="T4" fmla="*/ 183 w 17"/>
                <a:gd name="T5" fmla="*/ 0 h 17"/>
                <a:gd name="T6" fmla="*/ 0 w 17"/>
                <a:gd name="T7" fmla="*/ 0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7"/>
                <a:gd name="T14" fmla="*/ 17 w 17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10" name="Line 327"/>
            <p:cNvSpPr>
              <a:spLocks noChangeShapeType="1"/>
            </p:cNvSpPr>
            <p:nvPr/>
          </p:nvSpPr>
          <p:spPr bwMode="auto">
            <a:xfrm>
              <a:off x="386" y="2392"/>
              <a:ext cx="12" cy="8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11" name="Line 328"/>
            <p:cNvSpPr>
              <a:spLocks noChangeShapeType="1"/>
            </p:cNvSpPr>
            <p:nvPr/>
          </p:nvSpPr>
          <p:spPr bwMode="auto">
            <a:xfrm>
              <a:off x="407" y="2400"/>
              <a:ext cx="11" cy="12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12" name="Freeform 329"/>
            <p:cNvSpPr>
              <a:spLocks/>
            </p:cNvSpPr>
            <p:nvPr/>
          </p:nvSpPr>
          <p:spPr bwMode="auto">
            <a:xfrm>
              <a:off x="418" y="2412"/>
              <a:ext cx="22" cy="34"/>
            </a:xfrm>
            <a:custGeom>
              <a:avLst/>
              <a:gdLst>
                <a:gd name="T0" fmla="*/ 61 w 17"/>
                <a:gd name="T1" fmla="*/ 0 h 26"/>
                <a:gd name="T2" fmla="*/ 0 w 17"/>
                <a:gd name="T3" fmla="*/ 78 h 26"/>
                <a:gd name="T4" fmla="*/ 61 w 17"/>
                <a:gd name="T5" fmla="*/ 212 h 26"/>
                <a:gd name="T6" fmla="*/ 126 w 17"/>
                <a:gd name="T7" fmla="*/ 129 h 26"/>
                <a:gd name="T8" fmla="*/ 61 w 17"/>
                <a:gd name="T9" fmla="*/ 0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26"/>
                <a:gd name="T17" fmla="*/ 17 w 17"/>
                <a:gd name="T18" fmla="*/ 26 h 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26">
                  <a:moveTo>
                    <a:pt x="8" y="0"/>
                  </a:moveTo>
                  <a:lnTo>
                    <a:pt x="0" y="9"/>
                  </a:lnTo>
                  <a:lnTo>
                    <a:pt x="8" y="25"/>
                  </a:lnTo>
                  <a:lnTo>
                    <a:pt x="16" y="15"/>
                  </a:lnTo>
                  <a:lnTo>
                    <a:pt x="8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13" name="Freeform 330"/>
            <p:cNvSpPr>
              <a:spLocks/>
            </p:cNvSpPr>
            <p:nvPr/>
          </p:nvSpPr>
          <p:spPr bwMode="auto">
            <a:xfrm>
              <a:off x="3481" y="3248"/>
              <a:ext cx="42" cy="43"/>
            </a:xfrm>
            <a:custGeom>
              <a:avLst/>
              <a:gdLst>
                <a:gd name="T0" fmla="*/ 220 w 33"/>
                <a:gd name="T1" fmla="*/ 125 h 33"/>
                <a:gd name="T2" fmla="*/ 157 w 33"/>
                <a:gd name="T3" fmla="*/ 211 h 33"/>
                <a:gd name="T4" fmla="*/ 59 w 33"/>
                <a:gd name="T5" fmla="*/ 270 h 33"/>
                <a:gd name="T6" fmla="*/ 0 w 33"/>
                <a:gd name="T7" fmla="*/ 211 h 33"/>
                <a:gd name="T8" fmla="*/ 107 w 33"/>
                <a:gd name="T9" fmla="*/ 0 h 33"/>
                <a:gd name="T10" fmla="*/ 157 w 33"/>
                <a:gd name="T11" fmla="*/ 60 h 33"/>
                <a:gd name="T12" fmla="*/ 220 w 33"/>
                <a:gd name="T13" fmla="*/ 125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3"/>
                <a:gd name="T22" fmla="*/ 0 h 33"/>
                <a:gd name="T23" fmla="*/ 33 w 33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3" h="33">
                  <a:moveTo>
                    <a:pt x="32" y="15"/>
                  </a:moveTo>
                  <a:lnTo>
                    <a:pt x="23" y="25"/>
                  </a:lnTo>
                  <a:lnTo>
                    <a:pt x="8" y="32"/>
                  </a:lnTo>
                  <a:lnTo>
                    <a:pt x="0" y="25"/>
                  </a:lnTo>
                  <a:lnTo>
                    <a:pt x="16" y="0"/>
                  </a:lnTo>
                  <a:lnTo>
                    <a:pt x="23" y="7"/>
                  </a:lnTo>
                  <a:lnTo>
                    <a:pt x="32" y="1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14" name="Line 331"/>
            <p:cNvSpPr>
              <a:spLocks noChangeShapeType="1"/>
            </p:cNvSpPr>
            <p:nvPr/>
          </p:nvSpPr>
          <p:spPr bwMode="auto">
            <a:xfrm>
              <a:off x="4931" y="2380"/>
              <a:ext cx="12" cy="0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15" name="Freeform 332"/>
            <p:cNvSpPr>
              <a:spLocks/>
            </p:cNvSpPr>
            <p:nvPr/>
          </p:nvSpPr>
          <p:spPr bwMode="auto">
            <a:xfrm>
              <a:off x="3353" y="1978"/>
              <a:ext cx="32" cy="66"/>
            </a:xfrm>
            <a:custGeom>
              <a:avLst/>
              <a:gdLst>
                <a:gd name="T0" fmla="*/ 0 w 25"/>
                <a:gd name="T1" fmla="*/ 0 h 51"/>
                <a:gd name="T2" fmla="*/ 65 w 25"/>
                <a:gd name="T3" fmla="*/ 0 h 51"/>
                <a:gd name="T4" fmla="*/ 106 w 25"/>
                <a:gd name="T5" fmla="*/ 75 h 51"/>
                <a:gd name="T6" fmla="*/ 106 w 25"/>
                <a:gd name="T7" fmla="*/ 132 h 51"/>
                <a:gd name="T8" fmla="*/ 174 w 25"/>
                <a:gd name="T9" fmla="*/ 193 h 51"/>
                <a:gd name="T10" fmla="*/ 174 w 25"/>
                <a:gd name="T11" fmla="*/ 268 h 51"/>
                <a:gd name="T12" fmla="*/ 65 w 25"/>
                <a:gd name="T13" fmla="*/ 395 h 51"/>
                <a:gd name="T14" fmla="*/ 0 w 25"/>
                <a:gd name="T15" fmla="*/ 324 h 51"/>
                <a:gd name="T16" fmla="*/ 0 w 25"/>
                <a:gd name="T17" fmla="*/ 75 h 51"/>
                <a:gd name="T18" fmla="*/ 0 w 25"/>
                <a:gd name="T19" fmla="*/ 0 h 5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51"/>
                <a:gd name="T32" fmla="*/ 25 w 25"/>
                <a:gd name="T33" fmla="*/ 51 h 5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51">
                  <a:moveTo>
                    <a:pt x="0" y="0"/>
                  </a:moveTo>
                  <a:lnTo>
                    <a:pt x="9" y="0"/>
                  </a:lnTo>
                  <a:lnTo>
                    <a:pt x="15" y="9"/>
                  </a:lnTo>
                  <a:lnTo>
                    <a:pt x="15" y="17"/>
                  </a:lnTo>
                  <a:lnTo>
                    <a:pt x="24" y="25"/>
                  </a:lnTo>
                  <a:lnTo>
                    <a:pt x="24" y="34"/>
                  </a:lnTo>
                  <a:lnTo>
                    <a:pt x="9" y="50"/>
                  </a:lnTo>
                  <a:lnTo>
                    <a:pt x="0" y="41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16" name="Freeform 333"/>
            <p:cNvSpPr>
              <a:spLocks/>
            </p:cNvSpPr>
            <p:nvPr/>
          </p:nvSpPr>
          <p:spPr bwMode="auto">
            <a:xfrm>
              <a:off x="3405" y="1937"/>
              <a:ext cx="107" cy="74"/>
            </a:xfrm>
            <a:custGeom>
              <a:avLst/>
              <a:gdLst>
                <a:gd name="T0" fmla="*/ 682 w 82"/>
                <a:gd name="T1" fmla="*/ 49 h 57"/>
                <a:gd name="T2" fmla="*/ 682 w 82"/>
                <a:gd name="T3" fmla="*/ 126 h 57"/>
                <a:gd name="T4" fmla="*/ 629 w 82"/>
                <a:gd name="T5" fmla="*/ 126 h 57"/>
                <a:gd name="T6" fmla="*/ 553 w 82"/>
                <a:gd name="T7" fmla="*/ 249 h 57"/>
                <a:gd name="T8" fmla="*/ 629 w 82"/>
                <a:gd name="T9" fmla="*/ 323 h 57"/>
                <a:gd name="T10" fmla="*/ 487 w 82"/>
                <a:gd name="T11" fmla="*/ 323 h 57"/>
                <a:gd name="T12" fmla="*/ 418 w 82"/>
                <a:gd name="T13" fmla="*/ 383 h 57"/>
                <a:gd name="T14" fmla="*/ 344 w 82"/>
                <a:gd name="T15" fmla="*/ 456 h 57"/>
                <a:gd name="T16" fmla="*/ 197 w 82"/>
                <a:gd name="T17" fmla="*/ 383 h 57"/>
                <a:gd name="T18" fmla="*/ 78 w 82"/>
                <a:gd name="T19" fmla="*/ 383 h 57"/>
                <a:gd name="T20" fmla="*/ 78 w 82"/>
                <a:gd name="T21" fmla="*/ 323 h 57"/>
                <a:gd name="T22" fmla="*/ 0 w 82"/>
                <a:gd name="T23" fmla="*/ 249 h 57"/>
                <a:gd name="T24" fmla="*/ 78 w 82"/>
                <a:gd name="T25" fmla="*/ 200 h 57"/>
                <a:gd name="T26" fmla="*/ 0 w 82"/>
                <a:gd name="T27" fmla="*/ 49 h 57"/>
                <a:gd name="T28" fmla="*/ 0 w 82"/>
                <a:gd name="T29" fmla="*/ 0 h 57"/>
                <a:gd name="T30" fmla="*/ 78 w 82"/>
                <a:gd name="T31" fmla="*/ 49 h 57"/>
                <a:gd name="T32" fmla="*/ 133 w 82"/>
                <a:gd name="T33" fmla="*/ 49 h 57"/>
                <a:gd name="T34" fmla="*/ 344 w 82"/>
                <a:gd name="T35" fmla="*/ 126 h 57"/>
                <a:gd name="T36" fmla="*/ 487 w 82"/>
                <a:gd name="T37" fmla="*/ 0 h 57"/>
                <a:gd name="T38" fmla="*/ 682 w 82"/>
                <a:gd name="T39" fmla="*/ 49 h 5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2"/>
                <a:gd name="T61" fmla="*/ 0 h 57"/>
                <a:gd name="T62" fmla="*/ 82 w 82"/>
                <a:gd name="T63" fmla="*/ 57 h 5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2" h="57">
                  <a:moveTo>
                    <a:pt x="81" y="6"/>
                  </a:moveTo>
                  <a:lnTo>
                    <a:pt x="81" y="16"/>
                  </a:lnTo>
                  <a:lnTo>
                    <a:pt x="74" y="16"/>
                  </a:lnTo>
                  <a:lnTo>
                    <a:pt x="66" y="31"/>
                  </a:lnTo>
                  <a:lnTo>
                    <a:pt x="74" y="40"/>
                  </a:lnTo>
                  <a:lnTo>
                    <a:pt x="58" y="40"/>
                  </a:lnTo>
                  <a:lnTo>
                    <a:pt x="49" y="48"/>
                  </a:lnTo>
                  <a:lnTo>
                    <a:pt x="41" y="56"/>
                  </a:lnTo>
                  <a:lnTo>
                    <a:pt x="24" y="48"/>
                  </a:lnTo>
                  <a:lnTo>
                    <a:pt x="9" y="48"/>
                  </a:lnTo>
                  <a:lnTo>
                    <a:pt x="9" y="40"/>
                  </a:lnTo>
                  <a:lnTo>
                    <a:pt x="0" y="31"/>
                  </a:lnTo>
                  <a:lnTo>
                    <a:pt x="9" y="25"/>
                  </a:lnTo>
                  <a:lnTo>
                    <a:pt x="0" y="6"/>
                  </a:lnTo>
                  <a:lnTo>
                    <a:pt x="0" y="0"/>
                  </a:lnTo>
                  <a:lnTo>
                    <a:pt x="9" y="6"/>
                  </a:lnTo>
                  <a:lnTo>
                    <a:pt x="16" y="6"/>
                  </a:lnTo>
                  <a:lnTo>
                    <a:pt x="41" y="16"/>
                  </a:lnTo>
                  <a:lnTo>
                    <a:pt x="58" y="0"/>
                  </a:lnTo>
                  <a:lnTo>
                    <a:pt x="81" y="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17" name="Freeform 334"/>
            <p:cNvSpPr>
              <a:spLocks/>
            </p:cNvSpPr>
            <p:nvPr/>
          </p:nvSpPr>
          <p:spPr bwMode="auto">
            <a:xfrm>
              <a:off x="3299" y="1831"/>
              <a:ext cx="107" cy="74"/>
            </a:xfrm>
            <a:custGeom>
              <a:avLst/>
              <a:gdLst>
                <a:gd name="T0" fmla="*/ 275 w 82"/>
                <a:gd name="T1" fmla="*/ 456 h 57"/>
                <a:gd name="T2" fmla="*/ 420 w 82"/>
                <a:gd name="T3" fmla="*/ 380 h 57"/>
                <a:gd name="T4" fmla="*/ 548 w 82"/>
                <a:gd name="T5" fmla="*/ 380 h 57"/>
                <a:gd name="T6" fmla="*/ 629 w 82"/>
                <a:gd name="T7" fmla="*/ 126 h 57"/>
                <a:gd name="T8" fmla="*/ 682 w 82"/>
                <a:gd name="T9" fmla="*/ 126 h 57"/>
                <a:gd name="T10" fmla="*/ 629 w 82"/>
                <a:gd name="T11" fmla="*/ 58 h 57"/>
                <a:gd name="T12" fmla="*/ 468 w 82"/>
                <a:gd name="T13" fmla="*/ 0 h 57"/>
                <a:gd name="T14" fmla="*/ 211 w 82"/>
                <a:gd name="T15" fmla="*/ 126 h 57"/>
                <a:gd name="T16" fmla="*/ 85 w 82"/>
                <a:gd name="T17" fmla="*/ 126 h 57"/>
                <a:gd name="T18" fmla="*/ 0 w 82"/>
                <a:gd name="T19" fmla="*/ 260 h 57"/>
                <a:gd name="T20" fmla="*/ 0 w 82"/>
                <a:gd name="T21" fmla="*/ 323 h 57"/>
                <a:gd name="T22" fmla="*/ 211 w 82"/>
                <a:gd name="T23" fmla="*/ 456 h 57"/>
                <a:gd name="T24" fmla="*/ 275 w 82"/>
                <a:gd name="T25" fmla="*/ 456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2"/>
                <a:gd name="T40" fmla="*/ 0 h 57"/>
                <a:gd name="T41" fmla="*/ 82 w 82"/>
                <a:gd name="T42" fmla="*/ 57 h 5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2" h="57">
                  <a:moveTo>
                    <a:pt x="33" y="56"/>
                  </a:moveTo>
                  <a:lnTo>
                    <a:pt x="50" y="47"/>
                  </a:lnTo>
                  <a:lnTo>
                    <a:pt x="65" y="47"/>
                  </a:lnTo>
                  <a:lnTo>
                    <a:pt x="74" y="16"/>
                  </a:lnTo>
                  <a:lnTo>
                    <a:pt x="81" y="16"/>
                  </a:lnTo>
                  <a:lnTo>
                    <a:pt x="74" y="7"/>
                  </a:lnTo>
                  <a:lnTo>
                    <a:pt x="56" y="0"/>
                  </a:lnTo>
                  <a:lnTo>
                    <a:pt x="25" y="16"/>
                  </a:lnTo>
                  <a:lnTo>
                    <a:pt x="10" y="16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25" y="56"/>
                  </a:lnTo>
                  <a:lnTo>
                    <a:pt x="33" y="5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18" name="Freeform 335"/>
            <p:cNvSpPr>
              <a:spLocks/>
            </p:cNvSpPr>
            <p:nvPr/>
          </p:nvSpPr>
          <p:spPr bwMode="auto">
            <a:xfrm>
              <a:off x="3257" y="1873"/>
              <a:ext cx="43" cy="32"/>
            </a:xfrm>
            <a:custGeom>
              <a:avLst/>
              <a:gdLst>
                <a:gd name="T0" fmla="*/ 270 w 33"/>
                <a:gd name="T1" fmla="*/ 59 h 25"/>
                <a:gd name="T2" fmla="*/ 211 w 33"/>
                <a:gd name="T3" fmla="*/ 59 h 25"/>
                <a:gd name="T4" fmla="*/ 145 w 33"/>
                <a:gd name="T5" fmla="*/ 174 h 25"/>
                <a:gd name="T6" fmla="*/ 65 w 33"/>
                <a:gd name="T7" fmla="*/ 174 h 25"/>
                <a:gd name="T8" fmla="*/ 0 w 33"/>
                <a:gd name="T9" fmla="*/ 174 h 25"/>
                <a:gd name="T10" fmla="*/ 0 w 33"/>
                <a:gd name="T11" fmla="*/ 106 h 25"/>
                <a:gd name="T12" fmla="*/ 0 w 33"/>
                <a:gd name="T13" fmla="*/ 59 h 25"/>
                <a:gd name="T14" fmla="*/ 270 w 33"/>
                <a:gd name="T15" fmla="*/ 0 h 25"/>
                <a:gd name="T16" fmla="*/ 270 w 33"/>
                <a:gd name="T17" fmla="*/ 59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32" y="8"/>
                  </a:moveTo>
                  <a:lnTo>
                    <a:pt x="25" y="8"/>
                  </a:lnTo>
                  <a:lnTo>
                    <a:pt x="17" y="24"/>
                  </a:lnTo>
                  <a:lnTo>
                    <a:pt x="8" y="24"/>
                  </a:lnTo>
                  <a:lnTo>
                    <a:pt x="0" y="24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2" y="0"/>
                  </a:lnTo>
                  <a:lnTo>
                    <a:pt x="32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19" name="Freeform 336"/>
            <p:cNvSpPr>
              <a:spLocks/>
            </p:cNvSpPr>
            <p:nvPr/>
          </p:nvSpPr>
          <p:spPr bwMode="auto">
            <a:xfrm>
              <a:off x="3257" y="1884"/>
              <a:ext cx="97" cy="95"/>
            </a:xfrm>
            <a:custGeom>
              <a:avLst/>
              <a:gdLst>
                <a:gd name="T0" fmla="*/ 277 w 74"/>
                <a:gd name="T1" fmla="*/ 0 h 73"/>
                <a:gd name="T2" fmla="*/ 495 w 74"/>
                <a:gd name="T3" fmla="*/ 133 h 73"/>
                <a:gd name="T4" fmla="*/ 564 w 74"/>
                <a:gd name="T5" fmla="*/ 133 h 73"/>
                <a:gd name="T6" fmla="*/ 637 w 74"/>
                <a:gd name="T7" fmla="*/ 210 h 73"/>
                <a:gd name="T8" fmla="*/ 637 w 74"/>
                <a:gd name="T9" fmla="*/ 269 h 73"/>
                <a:gd name="T10" fmla="*/ 564 w 74"/>
                <a:gd name="T11" fmla="*/ 269 h 73"/>
                <a:gd name="T12" fmla="*/ 564 w 74"/>
                <a:gd name="T13" fmla="*/ 210 h 73"/>
                <a:gd name="T14" fmla="*/ 363 w 74"/>
                <a:gd name="T15" fmla="*/ 133 h 73"/>
                <a:gd name="T16" fmla="*/ 277 w 74"/>
                <a:gd name="T17" fmla="*/ 210 h 73"/>
                <a:gd name="T18" fmla="*/ 277 w 74"/>
                <a:gd name="T19" fmla="*/ 133 h 73"/>
                <a:gd name="T20" fmla="*/ 216 w 74"/>
                <a:gd name="T21" fmla="*/ 210 h 73"/>
                <a:gd name="T22" fmla="*/ 277 w 74"/>
                <a:gd name="T23" fmla="*/ 269 h 73"/>
                <a:gd name="T24" fmla="*/ 421 w 74"/>
                <a:gd name="T25" fmla="*/ 467 h 73"/>
                <a:gd name="T26" fmla="*/ 495 w 74"/>
                <a:gd name="T27" fmla="*/ 544 h 73"/>
                <a:gd name="T28" fmla="*/ 495 w 74"/>
                <a:gd name="T29" fmla="*/ 592 h 73"/>
                <a:gd name="T30" fmla="*/ 363 w 74"/>
                <a:gd name="T31" fmla="*/ 467 h 73"/>
                <a:gd name="T32" fmla="*/ 277 w 74"/>
                <a:gd name="T33" fmla="*/ 467 h 73"/>
                <a:gd name="T34" fmla="*/ 149 w 74"/>
                <a:gd name="T35" fmla="*/ 336 h 73"/>
                <a:gd name="T36" fmla="*/ 149 w 74"/>
                <a:gd name="T37" fmla="*/ 210 h 73"/>
                <a:gd name="T38" fmla="*/ 66 w 74"/>
                <a:gd name="T39" fmla="*/ 210 h 73"/>
                <a:gd name="T40" fmla="*/ 0 w 74"/>
                <a:gd name="T41" fmla="*/ 269 h 73"/>
                <a:gd name="T42" fmla="*/ 0 w 74"/>
                <a:gd name="T43" fmla="*/ 133 h 73"/>
                <a:gd name="T44" fmla="*/ 149 w 74"/>
                <a:gd name="T45" fmla="*/ 133 h 73"/>
                <a:gd name="T46" fmla="*/ 216 w 74"/>
                <a:gd name="T47" fmla="*/ 0 h 73"/>
                <a:gd name="T48" fmla="*/ 277 w 74"/>
                <a:gd name="T49" fmla="*/ 0 h 7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4"/>
                <a:gd name="T76" fmla="*/ 0 h 73"/>
                <a:gd name="T77" fmla="*/ 74 w 74"/>
                <a:gd name="T78" fmla="*/ 73 h 7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4" h="73">
                  <a:moveTo>
                    <a:pt x="32" y="0"/>
                  </a:moveTo>
                  <a:lnTo>
                    <a:pt x="57" y="16"/>
                  </a:lnTo>
                  <a:lnTo>
                    <a:pt x="65" y="16"/>
                  </a:lnTo>
                  <a:lnTo>
                    <a:pt x="73" y="25"/>
                  </a:lnTo>
                  <a:lnTo>
                    <a:pt x="73" y="32"/>
                  </a:lnTo>
                  <a:lnTo>
                    <a:pt x="65" y="32"/>
                  </a:lnTo>
                  <a:lnTo>
                    <a:pt x="65" y="25"/>
                  </a:lnTo>
                  <a:lnTo>
                    <a:pt x="42" y="16"/>
                  </a:lnTo>
                  <a:lnTo>
                    <a:pt x="32" y="25"/>
                  </a:lnTo>
                  <a:lnTo>
                    <a:pt x="32" y="16"/>
                  </a:lnTo>
                  <a:lnTo>
                    <a:pt x="25" y="25"/>
                  </a:lnTo>
                  <a:lnTo>
                    <a:pt x="32" y="32"/>
                  </a:lnTo>
                  <a:lnTo>
                    <a:pt x="48" y="57"/>
                  </a:lnTo>
                  <a:lnTo>
                    <a:pt x="57" y="66"/>
                  </a:lnTo>
                  <a:lnTo>
                    <a:pt x="57" y="72"/>
                  </a:lnTo>
                  <a:lnTo>
                    <a:pt x="42" y="57"/>
                  </a:lnTo>
                  <a:lnTo>
                    <a:pt x="32" y="57"/>
                  </a:lnTo>
                  <a:lnTo>
                    <a:pt x="17" y="41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0" y="32"/>
                  </a:lnTo>
                  <a:lnTo>
                    <a:pt x="0" y="16"/>
                  </a:lnTo>
                  <a:lnTo>
                    <a:pt x="17" y="16"/>
                  </a:lnTo>
                  <a:lnTo>
                    <a:pt x="25" y="0"/>
                  </a:lnTo>
                  <a:lnTo>
                    <a:pt x="32" y="0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20" name="Freeform 337"/>
            <p:cNvSpPr>
              <a:spLocks/>
            </p:cNvSpPr>
            <p:nvPr/>
          </p:nvSpPr>
          <p:spPr bwMode="auto">
            <a:xfrm>
              <a:off x="3332" y="1958"/>
              <a:ext cx="34" cy="33"/>
            </a:xfrm>
            <a:custGeom>
              <a:avLst/>
              <a:gdLst>
                <a:gd name="T0" fmla="*/ 0 w 26"/>
                <a:gd name="T1" fmla="*/ 136 h 25"/>
                <a:gd name="T2" fmla="*/ 133 w 26"/>
                <a:gd name="T3" fmla="*/ 222 h 25"/>
                <a:gd name="T4" fmla="*/ 133 w 26"/>
                <a:gd name="T5" fmla="*/ 136 h 25"/>
                <a:gd name="T6" fmla="*/ 212 w 26"/>
                <a:gd name="T7" fmla="*/ 136 h 25"/>
                <a:gd name="T8" fmla="*/ 212 w 26"/>
                <a:gd name="T9" fmla="*/ 86 h 25"/>
                <a:gd name="T10" fmla="*/ 133 w 26"/>
                <a:gd name="T11" fmla="*/ 0 h 25"/>
                <a:gd name="T12" fmla="*/ 65 w 26"/>
                <a:gd name="T13" fmla="*/ 0 h 25"/>
                <a:gd name="T14" fmla="*/ 0 w 26"/>
                <a:gd name="T15" fmla="*/ 86 h 25"/>
                <a:gd name="T16" fmla="*/ 0 w 26"/>
                <a:gd name="T17" fmla="*/ 136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25"/>
                <a:gd name="T29" fmla="*/ 26 w 26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25">
                  <a:moveTo>
                    <a:pt x="0" y="15"/>
                  </a:moveTo>
                  <a:lnTo>
                    <a:pt x="16" y="24"/>
                  </a:lnTo>
                  <a:lnTo>
                    <a:pt x="16" y="15"/>
                  </a:lnTo>
                  <a:lnTo>
                    <a:pt x="25" y="15"/>
                  </a:lnTo>
                  <a:lnTo>
                    <a:pt x="25" y="9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9"/>
                  </a:lnTo>
                  <a:lnTo>
                    <a:pt x="0" y="1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21" name="Freeform 338"/>
            <p:cNvSpPr>
              <a:spLocks/>
            </p:cNvSpPr>
            <p:nvPr/>
          </p:nvSpPr>
          <p:spPr bwMode="auto">
            <a:xfrm>
              <a:off x="3342" y="1892"/>
              <a:ext cx="76" cy="99"/>
            </a:xfrm>
            <a:custGeom>
              <a:avLst/>
              <a:gdLst>
                <a:gd name="T0" fmla="*/ 66 w 58"/>
                <a:gd name="T1" fmla="*/ 235 h 75"/>
                <a:gd name="T2" fmla="*/ 66 w 58"/>
                <a:gd name="T3" fmla="*/ 168 h 75"/>
                <a:gd name="T4" fmla="*/ 0 w 58"/>
                <a:gd name="T5" fmla="*/ 86 h 75"/>
                <a:gd name="T6" fmla="*/ 148 w 58"/>
                <a:gd name="T7" fmla="*/ 0 h 75"/>
                <a:gd name="T8" fmla="*/ 276 w 58"/>
                <a:gd name="T9" fmla="*/ 235 h 75"/>
                <a:gd name="T10" fmla="*/ 421 w 58"/>
                <a:gd name="T11" fmla="*/ 235 h 75"/>
                <a:gd name="T12" fmla="*/ 421 w 58"/>
                <a:gd name="T13" fmla="*/ 314 h 75"/>
                <a:gd name="T14" fmla="*/ 421 w 58"/>
                <a:gd name="T15" fmla="*/ 368 h 75"/>
                <a:gd name="T16" fmla="*/ 494 w 58"/>
                <a:gd name="T17" fmla="*/ 546 h 75"/>
                <a:gd name="T18" fmla="*/ 421 w 58"/>
                <a:gd name="T19" fmla="*/ 601 h 75"/>
                <a:gd name="T20" fmla="*/ 276 w 58"/>
                <a:gd name="T21" fmla="*/ 601 h 75"/>
                <a:gd name="T22" fmla="*/ 198 w 58"/>
                <a:gd name="T23" fmla="*/ 681 h 75"/>
                <a:gd name="T24" fmla="*/ 148 w 58"/>
                <a:gd name="T25" fmla="*/ 601 h 75"/>
                <a:gd name="T26" fmla="*/ 148 w 58"/>
                <a:gd name="T27" fmla="*/ 546 h 75"/>
                <a:gd name="T28" fmla="*/ 66 w 58"/>
                <a:gd name="T29" fmla="*/ 462 h 75"/>
                <a:gd name="T30" fmla="*/ 66 w 58"/>
                <a:gd name="T31" fmla="*/ 235 h 7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8"/>
                <a:gd name="T49" fmla="*/ 0 h 75"/>
                <a:gd name="T50" fmla="*/ 58 w 58"/>
                <a:gd name="T51" fmla="*/ 75 h 7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8" h="75">
                  <a:moveTo>
                    <a:pt x="8" y="25"/>
                  </a:moveTo>
                  <a:lnTo>
                    <a:pt x="8" y="18"/>
                  </a:lnTo>
                  <a:lnTo>
                    <a:pt x="0" y="9"/>
                  </a:lnTo>
                  <a:lnTo>
                    <a:pt x="17" y="0"/>
                  </a:lnTo>
                  <a:lnTo>
                    <a:pt x="32" y="25"/>
                  </a:lnTo>
                  <a:lnTo>
                    <a:pt x="48" y="25"/>
                  </a:lnTo>
                  <a:lnTo>
                    <a:pt x="48" y="34"/>
                  </a:lnTo>
                  <a:lnTo>
                    <a:pt x="48" y="40"/>
                  </a:lnTo>
                  <a:lnTo>
                    <a:pt x="57" y="59"/>
                  </a:lnTo>
                  <a:lnTo>
                    <a:pt x="48" y="65"/>
                  </a:lnTo>
                  <a:lnTo>
                    <a:pt x="32" y="65"/>
                  </a:lnTo>
                  <a:lnTo>
                    <a:pt x="23" y="74"/>
                  </a:lnTo>
                  <a:lnTo>
                    <a:pt x="17" y="65"/>
                  </a:lnTo>
                  <a:lnTo>
                    <a:pt x="17" y="59"/>
                  </a:lnTo>
                  <a:lnTo>
                    <a:pt x="8" y="50"/>
                  </a:lnTo>
                  <a:lnTo>
                    <a:pt x="8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22" name="Freeform 339"/>
            <p:cNvSpPr>
              <a:spLocks/>
            </p:cNvSpPr>
            <p:nvPr/>
          </p:nvSpPr>
          <p:spPr bwMode="auto">
            <a:xfrm>
              <a:off x="3372" y="1978"/>
              <a:ext cx="46" cy="33"/>
            </a:xfrm>
            <a:custGeom>
              <a:avLst/>
              <a:gdLst>
                <a:gd name="T0" fmla="*/ 84 w 35"/>
                <a:gd name="T1" fmla="*/ 173 h 26"/>
                <a:gd name="T2" fmla="*/ 0 w 35"/>
                <a:gd name="T3" fmla="*/ 119 h 26"/>
                <a:gd name="T4" fmla="*/ 0 w 35"/>
                <a:gd name="T5" fmla="*/ 60 h 26"/>
                <a:gd name="T6" fmla="*/ 84 w 35"/>
                <a:gd name="T7" fmla="*/ 0 h 26"/>
                <a:gd name="T8" fmla="*/ 225 w 35"/>
                <a:gd name="T9" fmla="*/ 0 h 26"/>
                <a:gd name="T10" fmla="*/ 306 w 35"/>
                <a:gd name="T11" fmla="*/ 60 h 26"/>
                <a:gd name="T12" fmla="*/ 306 w 35"/>
                <a:gd name="T13" fmla="*/ 119 h 26"/>
                <a:gd name="T14" fmla="*/ 84 w 35"/>
                <a:gd name="T15" fmla="*/ 173 h 2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5"/>
                <a:gd name="T25" fmla="*/ 0 h 26"/>
                <a:gd name="T26" fmla="*/ 35 w 35"/>
                <a:gd name="T27" fmla="*/ 26 h 2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5" h="26">
                  <a:moveTo>
                    <a:pt x="9" y="25"/>
                  </a:moveTo>
                  <a:lnTo>
                    <a:pt x="0" y="17"/>
                  </a:lnTo>
                  <a:lnTo>
                    <a:pt x="0" y="9"/>
                  </a:lnTo>
                  <a:lnTo>
                    <a:pt x="9" y="0"/>
                  </a:lnTo>
                  <a:lnTo>
                    <a:pt x="25" y="0"/>
                  </a:lnTo>
                  <a:lnTo>
                    <a:pt x="34" y="9"/>
                  </a:lnTo>
                  <a:lnTo>
                    <a:pt x="34" y="17"/>
                  </a:lnTo>
                  <a:lnTo>
                    <a:pt x="9" y="25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23" name="Freeform 340"/>
            <p:cNvSpPr>
              <a:spLocks/>
            </p:cNvSpPr>
            <p:nvPr/>
          </p:nvSpPr>
          <p:spPr bwMode="auto">
            <a:xfrm>
              <a:off x="3289" y="1904"/>
              <a:ext cx="65" cy="67"/>
            </a:xfrm>
            <a:custGeom>
              <a:avLst/>
              <a:gdLst>
                <a:gd name="T0" fmla="*/ 65 w 49"/>
                <a:gd name="T1" fmla="*/ 145 h 51"/>
                <a:gd name="T2" fmla="*/ 223 w 49"/>
                <a:gd name="T3" fmla="*/ 363 h 51"/>
                <a:gd name="T4" fmla="*/ 302 w 49"/>
                <a:gd name="T5" fmla="*/ 447 h 51"/>
                <a:gd name="T6" fmla="*/ 381 w 49"/>
                <a:gd name="T7" fmla="*/ 363 h 51"/>
                <a:gd name="T8" fmla="*/ 464 w 49"/>
                <a:gd name="T9" fmla="*/ 363 h 51"/>
                <a:gd name="T10" fmla="*/ 464 w 49"/>
                <a:gd name="T11" fmla="*/ 145 h 51"/>
                <a:gd name="T12" fmla="*/ 381 w 49"/>
                <a:gd name="T13" fmla="*/ 145 h 51"/>
                <a:gd name="T14" fmla="*/ 381 w 49"/>
                <a:gd name="T15" fmla="*/ 84 h 51"/>
                <a:gd name="T16" fmla="*/ 168 w 49"/>
                <a:gd name="T17" fmla="*/ 0 h 51"/>
                <a:gd name="T18" fmla="*/ 65 w 49"/>
                <a:gd name="T19" fmla="*/ 84 h 51"/>
                <a:gd name="T20" fmla="*/ 65 w 49"/>
                <a:gd name="T21" fmla="*/ 0 h 51"/>
                <a:gd name="T22" fmla="*/ 0 w 49"/>
                <a:gd name="T23" fmla="*/ 84 h 51"/>
                <a:gd name="T24" fmla="*/ 65 w 49"/>
                <a:gd name="T25" fmla="*/ 145 h 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9"/>
                <a:gd name="T40" fmla="*/ 0 h 51"/>
                <a:gd name="T41" fmla="*/ 49 w 49"/>
                <a:gd name="T42" fmla="*/ 51 h 5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9" h="51">
                  <a:moveTo>
                    <a:pt x="7" y="16"/>
                  </a:moveTo>
                  <a:lnTo>
                    <a:pt x="23" y="41"/>
                  </a:lnTo>
                  <a:lnTo>
                    <a:pt x="32" y="50"/>
                  </a:lnTo>
                  <a:lnTo>
                    <a:pt x="40" y="41"/>
                  </a:lnTo>
                  <a:lnTo>
                    <a:pt x="48" y="41"/>
                  </a:lnTo>
                  <a:lnTo>
                    <a:pt x="48" y="16"/>
                  </a:lnTo>
                  <a:lnTo>
                    <a:pt x="40" y="16"/>
                  </a:lnTo>
                  <a:lnTo>
                    <a:pt x="40" y="9"/>
                  </a:lnTo>
                  <a:lnTo>
                    <a:pt x="17" y="0"/>
                  </a:lnTo>
                  <a:lnTo>
                    <a:pt x="7" y="9"/>
                  </a:lnTo>
                  <a:lnTo>
                    <a:pt x="7" y="0"/>
                  </a:lnTo>
                  <a:lnTo>
                    <a:pt x="0" y="9"/>
                  </a:lnTo>
                  <a:lnTo>
                    <a:pt x="7" y="16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24" name="Freeform 341"/>
            <p:cNvSpPr>
              <a:spLocks/>
            </p:cNvSpPr>
            <p:nvPr/>
          </p:nvSpPr>
          <p:spPr bwMode="auto">
            <a:xfrm>
              <a:off x="3226" y="1766"/>
              <a:ext cx="117" cy="66"/>
            </a:xfrm>
            <a:custGeom>
              <a:avLst/>
              <a:gdLst>
                <a:gd name="T0" fmla="*/ 731 w 90"/>
                <a:gd name="T1" fmla="*/ 268 h 51"/>
                <a:gd name="T2" fmla="*/ 592 w 90"/>
                <a:gd name="T3" fmla="*/ 132 h 51"/>
                <a:gd name="T4" fmla="*/ 542 w 90"/>
                <a:gd name="T5" fmla="*/ 132 h 51"/>
                <a:gd name="T6" fmla="*/ 400 w 90"/>
                <a:gd name="T7" fmla="*/ 75 h 51"/>
                <a:gd name="T8" fmla="*/ 334 w 90"/>
                <a:gd name="T9" fmla="*/ 0 h 51"/>
                <a:gd name="T10" fmla="*/ 269 w 90"/>
                <a:gd name="T11" fmla="*/ 0 h 51"/>
                <a:gd name="T12" fmla="*/ 131 w 90"/>
                <a:gd name="T13" fmla="*/ 75 h 51"/>
                <a:gd name="T14" fmla="*/ 0 w 90"/>
                <a:gd name="T15" fmla="*/ 132 h 51"/>
                <a:gd name="T16" fmla="*/ 78 w 90"/>
                <a:gd name="T17" fmla="*/ 268 h 51"/>
                <a:gd name="T18" fmla="*/ 192 w 90"/>
                <a:gd name="T19" fmla="*/ 395 h 51"/>
                <a:gd name="T20" fmla="*/ 334 w 90"/>
                <a:gd name="T21" fmla="*/ 395 h 51"/>
                <a:gd name="T22" fmla="*/ 334 w 90"/>
                <a:gd name="T23" fmla="*/ 331 h 51"/>
                <a:gd name="T24" fmla="*/ 542 w 90"/>
                <a:gd name="T25" fmla="*/ 395 h 51"/>
                <a:gd name="T26" fmla="*/ 731 w 90"/>
                <a:gd name="T27" fmla="*/ 268 h 5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0"/>
                <a:gd name="T43" fmla="*/ 0 h 51"/>
                <a:gd name="T44" fmla="*/ 90 w 90"/>
                <a:gd name="T45" fmla="*/ 51 h 5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0" h="51">
                  <a:moveTo>
                    <a:pt x="89" y="34"/>
                  </a:moveTo>
                  <a:lnTo>
                    <a:pt x="72" y="17"/>
                  </a:lnTo>
                  <a:lnTo>
                    <a:pt x="66" y="17"/>
                  </a:lnTo>
                  <a:lnTo>
                    <a:pt x="49" y="9"/>
                  </a:lnTo>
                  <a:lnTo>
                    <a:pt x="41" y="0"/>
                  </a:lnTo>
                  <a:lnTo>
                    <a:pt x="32" y="0"/>
                  </a:lnTo>
                  <a:lnTo>
                    <a:pt x="16" y="9"/>
                  </a:lnTo>
                  <a:lnTo>
                    <a:pt x="0" y="17"/>
                  </a:lnTo>
                  <a:lnTo>
                    <a:pt x="9" y="34"/>
                  </a:lnTo>
                  <a:lnTo>
                    <a:pt x="24" y="50"/>
                  </a:lnTo>
                  <a:lnTo>
                    <a:pt x="41" y="50"/>
                  </a:lnTo>
                  <a:lnTo>
                    <a:pt x="41" y="42"/>
                  </a:lnTo>
                  <a:lnTo>
                    <a:pt x="66" y="50"/>
                  </a:lnTo>
                  <a:lnTo>
                    <a:pt x="89" y="34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25" name="Freeform 342"/>
            <p:cNvSpPr>
              <a:spLocks/>
            </p:cNvSpPr>
            <p:nvPr/>
          </p:nvSpPr>
          <p:spPr bwMode="auto">
            <a:xfrm>
              <a:off x="3257" y="2359"/>
              <a:ext cx="170" cy="276"/>
            </a:xfrm>
            <a:custGeom>
              <a:avLst/>
              <a:gdLst>
                <a:gd name="T0" fmla="*/ 145 w 130"/>
                <a:gd name="T1" fmla="*/ 64 h 212"/>
                <a:gd name="T2" fmla="*/ 145 w 130"/>
                <a:gd name="T3" fmla="*/ 197 h 212"/>
                <a:gd name="T4" fmla="*/ 276 w 130"/>
                <a:gd name="T5" fmla="*/ 333 h 212"/>
                <a:gd name="T6" fmla="*/ 212 w 130"/>
                <a:gd name="T7" fmla="*/ 736 h 212"/>
                <a:gd name="T8" fmla="*/ 0 w 130"/>
                <a:gd name="T9" fmla="*/ 988 h 212"/>
                <a:gd name="T10" fmla="*/ 0 w 130"/>
                <a:gd name="T11" fmla="*/ 1068 h 212"/>
                <a:gd name="T12" fmla="*/ 65 w 130"/>
                <a:gd name="T13" fmla="*/ 1130 h 212"/>
                <a:gd name="T14" fmla="*/ 65 w 130"/>
                <a:gd name="T15" fmla="*/ 1198 h 212"/>
                <a:gd name="T16" fmla="*/ 212 w 130"/>
                <a:gd name="T17" fmla="*/ 1454 h 212"/>
                <a:gd name="T18" fmla="*/ 65 w 130"/>
                <a:gd name="T19" fmla="*/ 1454 h 212"/>
                <a:gd name="T20" fmla="*/ 65 w 130"/>
                <a:gd name="T21" fmla="*/ 1534 h 212"/>
                <a:gd name="T22" fmla="*/ 145 w 130"/>
                <a:gd name="T23" fmla="*/ 1595 h 212"/>
                <a:gd name="T24" fmla="*/ 212 w 130"/>
                <a:gd name="T25" fmla="*/ 1742 h 212"/>
                <a:gd name="T26" fmla="*/ 554 w 130"/>
                <a:gd name="T27" fmla="*/ 1664 h 212"/>
                <a:gd name="T28" fmla="*/ 619 w 130"/>
                <a:gd name="T29" fmla="*/ 1595 h 212"/>
                <a:gd name="T30" fmla="*/ 554 w 130"/>
                <a:gd name="T31" fmla="*/ 1595 h 212"/>
                <a:gd name="T32" fmla="*/ 749 w 130"/>
                <a:gd name="T33" fmla="*/ 1534 h 212"/>
                <a:gd name="T34" fmla="*/ 910 w 130"/>
                <a:gd name="T35" fmla="*/ 1402 h 212"/>
                <a:gd name="T36" fmla="*/ 972 w 130"/>
                <a:gd name="T37" fmla="*/ 1338 h 212"/>
                <a:gd name="T38" fmla="*/ 1045 w 130"/>
                <a:gd name="T39" fmla="*/ 1338 h 212"/>
                <a:gd name="T40" fmla="*/ 910 w 130"/>
                <a:gd name="T41" fmla="*/ 1130 h 212"/>
                <a:gd name="T42" fmla="*/ 1045 w 130"/>
                <a:gd name="T43" fmla="*/ 868 h 212"/>
                <a:gd name="T44" fmla="*/ 1105 w 130"/>
                <a:gd name="T45" fmla="*/ 868 h 212"/>
                <a:gd name="T46" fmla="*/ 1105 w 130"/>
                <a:gd name="T47" fmla="*/ 792 h 212"/>
                <a:gd name="T48" fmla="*/ 1105 w 130"/>
                <a:gd name="T49" fmla="*/ 456 h 212"/>
                <a:gd name="T50" fmla="*/ 276 w 130"/>
                <a:gd name="T51" fmla="*/ 0 h 212"/>
                <a:gd name="T52" fmla="*/ 145 w 130"/>
                <a:gd name="T53" fmla="*/ 64 h 21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30"/>
                <a:gd name="T82" fmla="*/ 0 h 212"/>
                <a:gd name="T83" fmla="*/ 130 w 130"/>
                <a:gd name="T84" fmla="*/ 212 h 21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30" h="212">
                  <a:moveTo>
                    <a:pt x="17" y="8"/>
                  </a:moveTo>
                  <a:lnTo>
                    <a:pt x="17" y="24"/>
                  </a:lnTo>
                  <a:lnTo>
                    <a:pt x="32" y="40"/>
                  </a:lnTo>
                  <a:lnTo>
                    <a:pt x="25" y="89"/>
                  </a:lnTo>
                  <a:lnTo>
                    <a:pt x="0" y="120"/>
                  </a:lnTo>
                  <a:lnTo>
                    <a:pt x="0" y="130"/>
                  </a:lnTo>
                  <a:lnTo>
                    <a:pt x="8" y="137"/>
                  </a:lnTo>
                  <a:lnTo>
                    <a:pt x="8" y="145"/>
                  </a:lnTo>
                  <a:lnTo>
                    <a:pt x="25" y="177"/>
                  </a:lnTo>
                  <a:lnTo>
                    <a:pt x="8" y="177"/>
                  </a:lnTo>
                  <a:lnTo>
                    <a:pt x="8" y="186"/>
                  </a:lnTo>
                  <a:lnTo>
                    <a:pt x="17" y="193"/>
                  </a:lnTo>
                  <a:lnTo>
                    <a:pt x="25" y="211"/>
                  </a:lnTo>
                  <a:lnTo>
                    <a:pt x="65" y="202"/>
                  </a:lnTo>
                  <a:lnTo>
                    <a:pt x="73" y="193"/>
                  </a:lnTo>
                  <a:lnTo>
                    <a:pt x="65" y="193"/>
                  </a:lnTo>
                  <a:lnTo>
                    <a:pt x="88" y="186"/>
                  </a:lnTo>
                  <a:lnTo>
                    <a:pt x="106" y="170"/>
                  </a:lnTo>
                  <a:lnTo>
                    <a:pt x="113" y="162"/>
                  </a:lnTo>
                  <a:lnTo>
                    <a:pt x="122" y="162"/>
                  </a:lnTo>
                  <a:lnTo>
                    <a:pt x="106" y="137"/>
                  </a:lnTo>
                  <a:lnTo>
                    <a:pt x="122" y="105"/>
                  </a:lnTo>
                  <a:lnTo>
                    <a:pt x="129" y="105"/>
                  </a:lnTo>
                  <a:lnTo>
                    <a:pt x="129" y="96"/>
                  </a:lnTo>
                  <a:lnTo>
                    <a:pt x="129" y="55"/>
                  </a:lnTo>
                  <a:lnTo>
                    <a:pt x="32" y="0"/>
                  </a:lnTo>
                  <a:lnTo>
                    <a:pt x="17" y="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26" name="Freeform 343"/>
            <p:cNvSpPr>
              <a:spLocks/>
            </p:cNvSpPr>
            <p:nvPr/>
          </p:nvSpPr>
          <p:spPr bwMode="auto">
            <a:xfrm>
              <a:off x="2940" y="2502"/>
              <a:ext cx="128" cy="98"/>
            </a:xfrm>
            <a:custGeom>
              <a:avLst/>
              <a:gdLst>
                <a:gd name="T0" fmla="*/ 0 w 98"/>
                <a:gd name="T1" fmla="*/ 494 h 75"/>
                <a:gd name="T2" fmla="*/ 50 w 98"/>
                <a:gd name="T3" fmla="*/ 422 h 75"/>
                <a:gd name="T4" fmla="*/ 196 w 98"/>
                <a:gd name="T5" fmla="*/ 212 h 75"/>
                <a:gd name="T6" fmla="*/ 340 w 98"/>
                <a:gd name="T7" fmla="*/ 159 h 75"/>
                <a:gd name="T8" fmla="*/ 473 w 98"/>
                <a:gd name="T9" fmla="*/ 0 h 75"/>
                <a:gd name="T10" fmla="*/ 611 w 98"/>
                <a:gd name="T11" fmla="*/ 0 h 75"/>
                <a:gd name="T12" fmla="*/ 611 w 98"/>
                <a:gd name="T13" fmla="*/ 159 h 75"/>
                <a:gd name="T14" fmla="*/ 743 w 98"/>
                <a:gd name="T15" fmla="*/ 277 h 75"/>
                <a:gd name="T16" fmla="*/ 824 w 98"/>
                <a:gd name="T17" fmla="*/ 277 h 75"/>
                <a:gd name="T18" fmla="*/ 824 w 98"/>
                <a:gd name="T19" fmla="*/ 340 h 75"/>
                <a:gd name="T20" fmla="*/ 675 w 98"/>
                <a:gd name="T21" fmla="*/ 422 h 75"/>
                <a:gd name="T22" fmla="*/ 533 w 98"/>
                <a:gd name="T23" fmla="*/ 422 h 75"/>
                <a:gd name="T24" fmla="*/ 260 w 98"/>
                <a:gd name="T25" fmla="*/ 422 h 75"/>
                <a:gd name="T26" fmla="*/ 260 w 98"/>
                <a:gd name="T27" fmla="*/ 494 h 75"/>
                <a:gd name="T28" fmla="*/ 260 w 98"/>
                <a:gd name="T29" fmla="*/ 634 h 75"/>
                <a:gd name="T30" fmla="*/ 196 w 98"/>
                <a:gd name="T31" fmla="*/ 551 h 75"/>
                <a:gd name="T32" fmla="*/ 50 w 98"/>
                <a:gd name="T33" fmla="*/ 551 h 75"/>
                <a:gd name="T34" fmla="*/ 0 w 98"/>
                <a:gd name="T35" fmla="*/ 494 h 7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98"/>
                <a:gd name="T55" fmla="*/ 0 h 75"/>
                <a:gd name="T56" fmla="*/ 98 w 98"/>
                <a:gd name="T57" fmla="*/ 75 h 7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98" h="75">
                  <a:moveTo>
                    <a:pt x="0" y="58"/>
                  </a:moveTo>
                  <a:lnTo>
                    <a:pt x="6" y="50"/>
                  </a:lnTo>
                  <a:lnTo>
                    <a:pt x="23" y="25"/>
                  </a:lnTo>
                  <a:lnTo>
                    <a:pt x="40" y="18"/>
                  </a:lnTo>
                  <a:lnTo>
                    <a:pt x="56" y="0"/>
                  </a:lnTo>
                  <a:lnTo>
                    <a:pt x="72" y="0"/>
                  </a:lnTo>
                  <a:lnTo>
                    <a:pt x="72" y="18"/>
                  </a:lnTo>
                  <a:lnTo>
                    <a:pt x="88" y="33"/>
                  </a:lnTo>
                  <a:lnTo>
                    <a:pt x="97" y="33"/>
                  </a:lnTo>
                  <a:lnTo>
                    <a:pt x="97" y="40"/>
                  </a:lnTo>
                  <a:lnTo>
                    <a:pt x="80" y="50"/>
                  </a:lnTo>
                  <a:lnTo>
                    <a:pt x="63" y="50"/>
                  </a:lnTo>
                  <a:lnTo>
                    <a:pt x="31" y="50"/>
                  </a:lnTo>
                  <a:lnTo>
                    <a:pt x="31" y="58"/>
                  </a:lnTo>
                  <a:lnTo>
                    <a:pt x="31" y="74"/>
                  </a:lnTo>
                  <a:lnTo>
                    <a:pt x="23" y="65"/>
                  </a:lnTo>
                  <a:lnTo>
                    <a:pt x="6" y="65"/>
                  </a:lnTo>
                  <a:lnTo>
                    <a:pt x="0" y="58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27" name="Freeform 344"/>
            <p:cNvSpPr>
              <a:spLocks/>
            </p:cNvSpPr>
            <p:nvPr/>
          </p:nvSpPr>
          <p:spPr bwMode="auto">
            <a:xfrm>
              <a:off x="3045" y="2546"/>
              <a:ext cx="42" cy="107"/>
            </a:xfrm>
            <a:custGeom>
              <a:avLst/>
              <a:gdLst>
                <a:gd name="T0" fmla="*/ 121 w 33"/>
                <a:gd name="T1" fmla="*/ 60 h 82"/>
                <a:gd name="T2" fmla="*/ 0 w 33"/>
                <a:gd name="T3" fmla="*/ 145 h 82"/>
                <a:gd name="T4" fmla="*/ 0 w 33"/>
                <a:gd name="T5" fmla="*/ 211 h 82"/>
                <a:gd name="T6" fmla="*/ 59 w 33"/>
                <a:gd name="T7" fmla="*/ 274 h 82"/>
                <a:gd name="T8" fmla="*/ 59 w 33"/>
                <a:gd name="T9" fmla="*/ 407 h 82"/>
                <a:gd name="T10" fmla="*/ 59 w 33"/>
                <a:gd name="T11" fmla="*/ 682 h 82"/>
                <a:gd name="T12" fmla="*/ 157 w 33"/>
                <a:gd name="T13" fmla="*/ 682 h 82"/>
                <a:gd name="T14" fmla="*/ 157 w 33"/>
                <a:gd name="T15" fmla="*/ 482 h 82"/>
                <a:gd name="T16" fmla="*/ 220 w 33"/>
                <a:gd name="T17" fmla="*/ 211 h 82"/>
                <a:gd name="T18" fmla="*/ 220 w 33"/>
                <a:gd name="T19" fmla="*/ 60 h 82"/>
                <a:gd name="T20" fmla="*/ 157 w 33"/>
                <a:gd name="T21" fmla="*/ 0 h 82"/>
                <a:gd name="T22" fmla="*/ 121 w 33"/>
                <a:gd name="T23" fmla="*/ 0 h 82"/>
                <a:gd name="T24" fmla="*/ 121 w 33"/>
                <a:gd name="T25" fmla="*/ 60 h 8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82"/>
                <a:gd name="T41" fmla="*/ 33 w 33"/>
                <a:gd name="T42" fmla="*/ 82 h 8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82">
                  <a:moveTo>
                    <a:pt x="17" y="7"/>
                  </a:moveTo>
                  <a:lnTo>
                    <a:pt x="0" y="17"/>
                  </a:lnTo>
                  <a:lnTo>
                    <a:pt x="0" y="25"/>
                  </a:lnTo>
                  <a:lnTo>
                    <a:pt x="8" y="32"/>
                  </a:lnTo>
                  <a:lnTo>
                    <a:pt x="8" y="48"/>
                  </a:lnTo>
                  <a:lnTo>
                    <a:pt x="8" y="81"/>
                  </a:lnTo>
                  <a:lnTo>
                    <a:pt x="23" y="81"/>
                  </a:lnTo>
                  <a:lnTo>
                    <a:pt x="23" y="57"/>
                  </a:lnTo>
                  <a:lnTo>
                    <a:pt x="32" y="25"/>
                  </a:lnTo>
                  <a:lnTo>
                    <a:pt x="32" y="7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7" y="7"/>
                  </a:lnTo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28" name="Freeform 345"/>
            <p:cNvSpPr>
              <a:spLocks/>
            </p:cNvSpPr>
            <p:nvPr/>
          </p:nvSpPr>
          <p:spPr bwMode="auto">
            <a:xfrm>
              <a:off x="3465" y="1831"/>
              <a:ext cx="72" cy="81"/>
            </a:xfrm>
            <a:custGeom>
              <a:avLst/>
              <a:gdLst>
                <a:gd name="T0" fmla="*/ 421 w 53"/>
                <a:gd name="T1" fmla="*/ 448 h 60"/>
                <a:gd name="T2" fmla="*/ 617 w 53"/>
                <a:gd name="T3" fmla="*/ 436 h 60"/>
                <a:gd name="T4" fmla="*/ 514 w 53"/>
                <a:gd name="T5" fmla="*/ 192 h 60"/>
                <a:gd name="T6" fmla="*/ 524 w 53"/>
                <a:gd name="T7" fmla="*/ 55 h 60"/>
                <a:gd name="T8" fmla="*/ 209 w 53"/>
                <a:gd name="T9" fmla="*/ 0 h 60"/>
                <a:gd name="T10" fmla="*/ 0 w 53"/>
                <a:gd name="T11" fmla="*/ 100 h 60"/>
                <a:gd name="T12" fmla="*/ 140 w 53"/>
                <a:gd name="T13" fmla="*/ 120 h 60"/>
                <a:gd name="T14" fmla="*/ 300 w 53"/>
                <a:gd name="T15" fmla="*/ 400 h 60"/>
                <a:gd name="T16" fmla="*/ 314 w 53"/>
                <a:gd name="T17" fmla="*/ 656 h 60"/>
                <a:gd name="T18" fmla="*/ 421 w 53"/>
                <a:gd name="T19" fmla="*/ 448 h 6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60"/>
                <a:gd name="T32" fmla="*/ 53 w 53"/>
                <a:gd name="T33" fmla="*/ 60 h 6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60">
                  <a:moveTo>
                    <a:pt x="36" y="41"/>
                  </a:moveTo>
                  <a:lnTo>
                    <a:pt x="53" y="39"/>
                  </a:lnTo>
                  <a:lnTo>
                    <a:pt x="44" y="18"/>
                  </a:lnTo>
                  <a:lnTo>
                    <a:pt x="45" y="5"/>
                  </a:lnTo>
                  <a:lnTo>
                    <a:pt x="18" y="0"/>
                  </a:lnTo>
                  <a:lnTo>
                    <a:pt x="0" y="9"/>
                  </a:lnTo>
                  <a:lnTo>
                    <a:pt x="12" y="11"/>
                  </a:lnTo>
                  <a:lnTo>
                    <a:pt x="26" y="36"/>
                  </a:lnTo>
                  <a:lnTo>
                    <a:pt x="27" y="60"/>
                  </a:lnTo>
                  <a:lnTo>
                    <a:pt x="36" y="41"/>
                  </a:lnTo>
                  <a:close/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grpSp>
        <p:nvGrpSpPr>
          <p:cNvPr id="329" name="Gruppieren 1"/>
          <p:cNvGrpSpPr/>
          <p:nvPr/>
        </p:nvGrpSpPr>
        <p:grpSpPr>
          <a:xfrm>
            <a:off x="821850" y="1379756"/>
            <a:ext cx="8081865" cy="4351630"/>
            <a:chOff x="432118" y="1989138"/>
            <a:chExt cx="8081865" cy="4351630"/>
          </a:xfrm>
        </p:grpSpPr>
        <p:sp>
          <p:nvSpPr>
            <p:cNvPr id="330" name="Rectangle 510"/>
            <p:cNvSpPr>
              <a:spLocks noChangeArrowheads="1"/>
            </p:cNvSpPr>
            <p:nvPr/>
          </p:nvSpPr>
          <p:spPr bwMode="auto">
            <a:xfrm>
              <a:off x="2600325" y="4167188"/>
              <a:ext cx="108000" cy="108000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31" name="Rectangle 511"/>
            <p:cNvSpPr>
              <a:spLocks noChangeArrowheads="1"/>
            </p:cNvSpPr>
            <p:nvPr/>
          </p:nvSpPr>
          <p:spPr bwMode="auto">
            <a:xfrm>
              <a:off x="3189288" y="5270500"/>
              <a:ext cx="108000" cy="108000"/>
            </a:xfrm>
            <a:prstGeom prst="rect">
              <a:avLst/>
            </a:prstGeom>
            <a:solidFill>
              <a:srgbClr val="F39500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32" name="Rectangle 507"/>
            <p:cNvSpPr>
              <a:spLocks noChangeArrowheads="1"/>
            </p:cNvSpPr>
            <p:nvPr/>
          </p:nvSpPr>
          <p:spPr bwMode="auto">
            <a:xfrm>
              <a:off x="2709863" y="4178300"/>
              <a:ext cx="108000" cy="108000"/>
            </a:xfrm>
            <a:prstGeom prst="rect">
              <a:avLst/>
            </a:prstGeom>
            <a:solidFill>
              <a:srgbClr val="21A0D2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33" name="Rectangle 501"/>
            <p:cNvSpPr>
              <a:spLocks noChangeArrowheads="1"/>
            </p:cNvSpPr>
            <p:nvPr/>
          </p:nvSpPr>
          <p:spPr bwMode="auto">
            <a:xfrm>
              <a:off x="3211513" y="5513388"/>
              <a:ext cx="108000" cy="108000"/>
            </a:xfrm>
            <a:prstGeom prst="rect">
              <a:avLst/>
            </a:prstGeom>
            <a:solidFill>
              <a:srgbClr val="C50022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34" name="Rectangle 502"/>
            <p:cNvSpPr>
              <a:spLocks noChangeArrowheads="1"/>
            </p:cNvSpPr>
            <p:nvPr/>
          </p:nvSpPr>
          <p:spPr bwMode="auto">
            <a:xfrm>
              <a:off x="4306888" y="4164013"/>
              <a:ext cx="108000" cy="108000"/>
            </a:xfrm>
            <a:prstGeom prst="rect">
              <a:avLst/>
            </a:prstGeom>
            <a:solidFill>
              <a:srgbClr val="C50022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35" name="Rectangle 504"/>
            <p:cNvSpPr>
              <a:spLocks noChangeArrowheads="1"/>
            </p:cNvSpPr>
            <p:nvPr/>
          </p:nvSpPr>
          <p:spPr bwMode="auto">
            <a:xfrm>
              <a:off x="6021388" y="4381500"/>
              <a:ext cx="108000" cy="108000"/>
            </a:xfrm>
            <a:prstGeom prst="rect">
              <a:avLst/>
            </a:prstGeom>
            <a:solidFill>
              <a:srgbClr val="C50022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36" name="Rectangle 505"/>
            <p:cNvSpPr>
              <a:spLocks noChangeArrowheads="1"/>
            </p:cNvSpPr>
            <p:nvPr/>
          </p:nvSpPr>
          <p:spPr bwMode="auto">
            <a:xfrm>
              <a:off x="7223125" y="4752975"/>
              <a:ext cx="108000" cy="108000"/>
            </a:xfrm>
            <a:prstGeom prst="rect">
              <a:avLst/>
            </a:prstGeom>
            <a:solidFill>
              <a:srgbClr val="C50022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37" name="Rectangle 149"/>
            <p:cNvSpPr>
              <a:spLocks noChangeArrowheads="1"/>
            </p:cNvSpPr>
            <p:nvPr/>
          </p:nvSpPr>
          <p:spPr bwMode="auto">
            <a:xfrm>
              <a:off x="3386358" y="5554280"/>
              <a:ext cx="120967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762000" eaLnBrk="0" hangingPunct="0"/>
              <a:r>
                <a:rPr lang="uk-UA" sz="1200" dirty="0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Кампінас </a:t>
              </a:r>
              <a:endParaRPr lang="de-DE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38" name="Rectangle 150"/>
            <p:cNvSpPr>
              <a:spLocks noChangeArrowheads="1"/>
            </p:cNvSpPr>
            <p:nvPr/>
          </p:nvSpPr>
          <p:spPr bwMode="auto">
            <a:xfrm>
              <a:off x="3430588" y="4113213"/>
              <a:ext cx="81597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r" defTabSz="762000" eaLnBrk="0" hangingPunct="0"/>
              <a:r>
                <a:rPr lang="uk-UA" sz="1200" dirty="0" err="1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Утрера</a:t>
              </a:r>
              <a:r>
                <a:rPr lang="uk-UA" sz="1200" dirty="0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 </a:t>
              </a:r>
              <a:endParaRPr lang="de-DE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39" name="Rectangle 151"/>
            <p:cNvSpPr>
              <a:spLocks noChangeArrowheads="1"/>
            </p:cNvSpPr>
            <p:nvPr/>
          </p:nvSpPr>
          <p:spPr bwMode="auto">
            <a:xfrm>
              <a:off x="2895600" y="4143375"/>
              <a:ext cx="63817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762000" eaLnBrk="0" hangingPunct="0"/>
              <a:r>
                <a:rPr lang="de-DE" sz="1200" dirty="0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RTP</a:t>
              </a:r>
            </a:p>
          </p:txBody>
        </p:sp>
        <p:sp>
          <p:nvSpPr>
            <p:cNvPr id="340" name="Rectangle 153"/>
            <p:cNvSpPr>
              <a:spLocks noChangeArrowheads="1"/>
            </p:cNvSpPr>
            <p:nvPr/>
          </p:nvSpPr>
          <p:spPr bwMode="auto">
            <a:xfrm>
              <a:off x="6214518" y="4341813"/>
              <a:ext cx="108267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762000" eaLnBrk="0" hangingPunct="0"/>
              <a:r>
                <a:rPr lang="uk-UA" sz="1200" dirty="0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Пуна</a:t>
              </a:r>
              <a:endParaRPr lang="de-DE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41" name="Rectangle 156"/>
            <p:cNvSpPr>
              <a:spLocks noChangeArrowheads="1"/>
            </p:cNvSpPr>
            <p:nvPr/>
          </p:nvSpPr>
          <p:spPr bwMode="auto">
            <a:xfrm>
              <a:off x="520710" y="4108450"/>
              <a:ext cx="90487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r" defTabSz="762000" eaLnBrk="0" hangingPunct="0"/>
              <a:r>
                <a:rPr lang="uk-UA" sz="1200" dirty="0" err="1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Дінуба</a:t>
              </a:r>
              <a:endParaRPr lang="de-DE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42" name="Rectangle 509"/>
            <p:cNvSpPr>
              <a:spLocks noChangeArrowheads="1"/>
            </p:cNvSpPr>
            <p:nvPr/>
          </p:nvSpPr>
          <p:spPr bwMode="auto">
            <a:xfrm>
              <a:off x="432118" y="5754720"/>
              <a:ext cx="108000" cy="108000"/>
            </a:xfrm>
            <a:prstGeom prst="rect">
              <a:avLst/>
            </a:prstGeom>
            <a:solidFill>
              <a:srgbClr val="F39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43" name="Rectangle 158"/>
            <p:cNvSpPr>
              <a:spLocks noChangeArrowheads="1"/>
            </p:cNvSpPr>
            <p:nvPr/>
          </p:nvSpPr>
          <p:spPr bwMode="auto">
            <a:xfrm>
              <a:off x="607060" y="5710079"/>
              <a:ext cx="1774825" cy="1615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762000" eaLnBrk="0" hangingPunct="0"/>
              <a:r>
                <a:rPr lang="uk-UA" sz="1050" dirty="0">
                  <a:solidFill>
                    <a:srgbClr val="000000"/>
                  </a:solidFill>
                  <a:latin typeface="Arial" pitchFamily="34" charset="0"/>
                </a:rPr>
                <a:t>Виробничий центр </a:t>
              </a:r>
              <a:endParaRPr lang="en-GB" sz="1050" noProof="1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44" name="Rectangle 506"/>
            <p:cNvSpPr>
              <a:spLocks noChangeArrowheads="1"/>
            </p:cNvSpPr>
            <p:nvPr/>
          </p:nvSpPr>
          <p:spPr bwMode="auto">
            <a:xfrm>
              <a:off x="432118" y="5286408"/>
              <a:ext cx="108000" cy="108000"/>
            </a:xfrm>
            <a:prstGeom prst="rect">
              <a:avLst/>
            </a:prstGeom>
            <a:solidFill>
              <a:srgbClr val="004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45" name="Rectangle 159"/>
            <p:cNvSpPr>
              <a:spLocks noChangeArrowheads="1"/>
            </p:cNvSpPr>
            <p:nvPr/>
          </p:nvSpPr>
          <p:spPr bwMode="auto">
            <a:xfrm>
              <a:off x="607060" y="5240973"/>
              <a:ext cx="1970580" cy="1615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762000" eaLnBrk="0" hangingPunct="0"/>
              <a:r>
                <a:rPr lang="uk-UA" sz="1050" dirty="0">
                  <a:solidFill>
                    <a:srgbClr val="000000"/>
                  </a:solidFill>
                  <a:latin typeface="Arial" pitchFamily="34" charset="0"/>
                </a:rPr>
                <a:t>Глобальна штаб-квартира </a:t>
              </a:r>
              <a:endParaRPr lang="de-DE" sz="105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46" name="Rectangle 513"/>
            <p:cNvSpPr>
              <a:spLocks noChangeArrowheads="1"/>
            </p:cNvSpPr>
            <p:nvPr/>
          </p:nvSpPr>
          <p:spPr bwMode="auto">
            <a:xfrm>
              <a:off x="432118" y="5988876"/>
              <a:ext cx="108000" cy="108000"/>
            </a:xfrm>
            <a:prstGeom prst="rect">
              <a:avLst/>
            </a:prstGeom>
            <a:solidFill>
              <a:srgbClr val="157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47" name="Rectangle 162"/>
            <p:cNvSpPr>
              <a:spLocks noChangeArrowheads="1"/>
            </p:cNvSpPr>
            <p:nvPr/>
          </p:nvSpPr>
          <p:spPr bwMode="auto">
            <a:xfrm>
              <a:off x="607060" y="5944632"/>
              <a:ext cx="2320925" cy="1615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762000" eaLnBrk="0" hangingPunct="0"/>
              <a:r>
                <a:rPr lang="uk-UA" sz="1050" dirty="0">
                  <a:solidFill>
                    <a:srgbClr val="000000"/>
                  </a:solidFill>
                  <a:latin typeface="Arial" pitchFamily="34" charset="0"/>
                </a:rPr>
                <a:t>Дослідницький центр </a:t>
              </a:r>
              <a:endParaRPr lang="en-GB" sz="1050" noProof="1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48" name="Rectangle 167"/>
            <p:cNvSpPr>
              <a:spLocks noChangeArrowheads="1"/>
            </p:cNvSpPr>
            <p:nvPr/>
          </p:nvSpPr>
          <p:spPr bwMode="auto">
            <a:xfrm>
              <a:off x="3397470" y="5151055"/>
              <a:ext cx="163036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762000" eaLnBrk="0" hangingPunct="0"/>
              <a:r>
                <a:rPr lang="uk-UA" sz="1200" dirty="0" err="1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Гваратінгуета</a:t>
              </a:r>
              <a:r>
                <a:rPr lang="uk-UA" sz="1200" dirty="0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 </a:t>
              </a:r>
              <a:endParaRPr lang="de-DE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49" name="Rectangle 497"/>
            <p:cNvSpPr>
              <a:spLocks noChangeArrowheads="1"/>
            </p:cNvSpPr>
            <p:nvPr/>
          </p:nvSpPr>
          <p:spPr bwMode="auto">
            <a:xfrm>
              <a:off x="7431308" y="4693855"/>
              <a:ext cx="108267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762000" eaLnBrk="0" hangingPunct="0"/>
              <a:r>
                <a:rPr lang="uk-UA" sz="1200" dirty="0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Бей, Лагуна </a:t>
              </a:r>
              <a:endParaRPr lang="de-DE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50" name="Rectangle 500"/>
            <p:cNvSpPr>
              <a:spLocks noChangeArrowheads="1"/>
            </p:cNvSpPr>
            <p:nvPr/>
          </p:nvSpPr>
          <p:spPr bwMode="auto">
            <a:xfrm>
              <a:off x="1490663" y="4157663"/>
              <a:ext cx="108000" cy="108000"/>
            </a:xfrm>
            <a:prstGeom prst="rect">
              <a:avLst/>
            </a:prstGeom>
            <a:solidFill>
              <a:srgbClr val="C50022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51" name="Rectangle 506"/>
            <p:cNvSpPr>
              <a:spLocks noChangeArrowheads="1"/>
            </p:cNvSpPr>
            <p:nvPr/>
          </p:nvSpPr>
          <p:spPr bwMode="auto">
            <a:xfrm>
              <a:off x="432118" y="6223033"/>
              <a:ext cx="108000" cy="108000"/>
            </a:xfrm>
            <a:prstGeom prst="rect">
              <a:avLst/>
            </a:prstGeom>
            <a:solidFill>
              <a:srgbClr val="C50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52" name="Rectangle 162"/>
            <p:cNvSpPr>
              <a:spLocks noChangeArrowheads="1"/>
            </p:cNvSpPr>
            <p:nvPr/>
          </p:nvSpPr>
          <p:spPr bwMode="auto">
            <a:xfrm>
              <a:off x="607060" y="6179185"/>
              <a:ext cx="2774365" cy="1615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762000" eaLnBrk="0" hangingPunct="0"/>
              <a:r>
                <a:rPr lang="uk-UA" sz="1050" dirty="0">
                  <a:solidFill>
                    <a:srgbClr val="000000"/>
                  </a:solidFill>
                  <a:latin typeface="Arial" pitchFamily="34" charset="0"/>
                </a:rPr>
                <a:t>Глобальні станції аграрних досліджень</a:t>
              </a:r>
              <a:endParaRPr lang="de-DE" sz="105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53" name="Rectangle 506"/>
            <p:cNvSpPr>
              <a:spLocks noChangeArrowheads="1"/>
            </p:cNvSpPr>
            <p:nvPr/>
          </p:nvSpPr>
          <p:spPr bwMode="auto">
            <a:xfrm>
              <a:off x="2297113" y="3962400"/>
              <a:ext cx="108000" cy="108000"/>
            </a:xfrm>
            <a:prstGeom prst="rect">
              <a:avLst/>
            </a:prstGeom>
            <a:solidFill>
              <a:srgbClr val="F39500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54" name="Rectangle 506"/>
            <p:cNvSpPr>
              <a:spLocks noChangeArrowheads="1"/>
            </p:cNvSpPr>
            <p:nvPr/>
          </p:nvSpPr>
          <p:spPr bwMode="auto">
            <a:xfrm>
              <a:off x="2232025" y="4303713"/>
              <a:ext cx="108000" cy="108000"/>
            </a:xfrm>
            <a:prstGeom prst="rect">
              <a:avLst/>
            </a:prstGeom>
            <a:solidFill>
              <a:srgbClr val="F39500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55" name="Rectangle 167"/>
            <p:cNvSpPr>
              <a:spLocks noChangeArrowheads="1"/>
            </p:cNvSpPr>
            <p:nvPr/>
          </p:nvSpPr>
          <p:spPr bwMode="auto">
            <a:xfrm>
              <a:off x="2460845" y="3907163"/>
              <a:ext cx="75406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762000" eaLnBrk="0" hangingPunct="0"/>
              <a:r>
                <a:rPr lang="uk-UA" sz="1200" dirty="0" err="1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Ханнібал</a:t>
              </a:r>
              <a:endParaRPr lang="de-DE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56" name="Rectangle 167"/>
            <p:cNvSpPr>
              <a:spLocks noChangeArrowheads="1"/>
            </p:cNvSpPr>
            <p:nvPr/>
          </p:nvSpPr>
          <p:spPr bwMode="auto">
            <a:xfrm>
              <a:off x="2382838" y="4328568"/>
              <a:ext cx="104457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762000" eaLnBrk="0" hangingPunct="0"/>
              <a:r>
                <a:rPr lang="uk-UA" sz="1200" dirty="0" err="1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Бомонт</a:t>
              </a:r>
              <a:endParaRPr lang="de-DE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57" name="Rectangle 506"/>
            <p:cNvSpPr>
              <a:spLocks noChangeArrowheads="1"/>
            </p:cNvSpPr>
            <p:nvPr/>
          </p:nvSpPr>
          <p:spPr bwMode="auto">
            <a:xfrm>
              <a:off x="4413250" y="4141788"/>
              <a:ext cx="108000" cy="108000"/>
            </a:xfrm>
            <a:prstGeom prst="rect">
              <a:avLst/>
            </a:prstGeom>
            <a:solidFill>
              <a:srgbClr val="F39500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58" name="Rectangle 506"/>
            <p:cNvSpPr>
              <a:spLocks noChangeArrowheads="1"/>
            </p:cNvSpPr>
            <p:nvPr/>
          </p:nvSpPr>
          <p:spPr bwMode="auto">
            <a:xfrm>
              <a:off x="4714875" y="3841750"/>
              <a:ext cx="108000" cy="108000"/>
            </a:xfrm>
            <a:prstGeom prst="rect">
              <a:avLst/>
            </a:prstGeom>
            <a:solidFill>
              <a:srgbClr val="F39500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59" name="Rectangle 506"/>
            <p:cNvSpPr>
              <a:spLocks noChangeArrowheads="1"/>
            </p:cNvSpPr>
            <p:nvPr/>
          </p:nvSpPr>
          <p:spPr bwMode="auto">
            <a:xfrm>
              <a:off x="4498975" y="3830638"/>
              <a:ext cx="108000" cy="108000"/>
            </a:xfrm>
            <a:prstGeom prst="rect">
              <a:avLst/>
            </a:prstGeom>
            <a:solidFill>
              <a:srgbClr val="F39500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60" name="Rectangle 152"/>
            <p:cNvSpPr>
              <a:spLocks noChangeArrowheads="1"/>
            </p:cNvSpPr>
            <p:nvPr/>
          </p:nvSpPr>
          <p:spPr bwMode="auto">
            <a:xfrm>
              <a:off x="4483703" y="4271580"/>
              <a:ext cx="1185862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762000" eaLnBrk="0" hangingPunct="0"/>
              <a:r>
                <a:rPr lang="uk-UA" sz="1200" dirty="0" err="1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Таррагона</a:t>
              </a:r>
              <a:r>
                <a:rPr lang="uk-UA" sz="1200" dirty="0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 </a:t>
              </a:r>
              <a:endParaRPr lang="de-DE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61" name="Rectangle 150"/>
            <p:cNvSpPr>
              <a:spLocks noChangeArrowheads="1"/>
            </p:cNvSpPr>
            <p:nvPr/>
          </p:nvSpPr>
          <p:spPr bwMode="auto">
            <a:xfrm>
              <a:off x="3573463" y="3765550"/>
              <a:ext cx="81597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r" defTabSz="762000" eaLnBrk="0" hangingPunct="0"/>
              <a:r>
                <a:rPr lang="uk-UA" sz="1200" dirty="0" err="1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Ельбоф</a:t>
              </a:r>
              <a:endParaRPr lang="de-DE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62" name="Rectangle 506"/>
            <p:cNvSpPr>
              <a:spLocks noChangeArrowheads="1"/>
            </p:cNvSpPr>
            <p:nvPr/>
          </p:nvSpPr>
          <p:spPr bwMode="auto">
            <a:xfrm>
              <a:off x="4640263" y="3717925"/>
              <a:ext cx="108000" cy="108000"/>
            </a:xfrm>
            <a:prstGeom prst="rect">
              <a:avLst/>
            </a:prstGeom>
            <a:solidFill>
              <a:srgbClr val="F39500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63" name="Rectangle 506"/>
            <p:cNvSpPr>
              <a:spLocks noChangeArrowheads="1"/>
            </p:cNvSpPr>
            <p:nvPr/>
          </p:nvSpPr>
          <p:spPr bwMode="auto">
            <a:xfrm>
              <a:off x="432118" y="5520564"/>
              <a:ext cx="108000" cy="108000"/>
            </a:xfrm>
            <a:prstGeom prst="rect">
              <a:avLst/>
            </a:prstGeom>
            <a:solidFill>
              <a:srgbClr val="21A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64" name="Rectangle 159"/>
            <p:cNvSpPr>
              <a:spLocks noChangeArrowheads="1"/>
            </p:cNvSpPr>
            <p:nvPr/>
          </p:nvSpPr>
          <p:spPr bwMode="auto">
            <a:xfrm>
              <a:off x="607060" y="5475526"/>
              <a:ext cx="2014538" cy="1615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762000" eaLnBrk="0" hangingPunct="0"/>
              <a:r>
                <a:rPr lang="uk-UA" sz="1050" dirty="0">
                  <a:solidFill>
                    <a:srgbClr val="000000"/>
                  </a:solidFill>
                  <a:latin typeface="Arial" pitchFamily="34" charset="0"/>
                </a:rPr>
                <a:t>Регіональні штаб-квартири  </a:t>
              </a:r>
              <a:endParaRPr lang="de-DE" sz="105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65" name="Rectangle 506"/>
            <p:cNvSpPr>
              <a:spLocks noChangeArrowheads="1"/>
            </p:cNvSpPr>
            <p:nvPr/>
          </p:nvSpPr>
          <p:spPr bwMode="auto">
            <a:xfrm>
              <a:off x="3273425" y="5380038"/>
              <a:ext cx="108000" cy="108000"/>
            </a:xfrm>
            <a:prstGeom prst="rect">
              <a:avLst/>
            </a:prstGeom>
            <a:solidFill>
              <a:srgbClr val="21A0D2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66" name="Rectangle 167"/>
            <p:cNvSpPr>
              <a:spLocks noChangeArrowheads="1"/>
            </p:cNvSpPr>
            <p:nvPr/>
          </p:nvSpPr>
          <p:spPr bwMode="auto">
            <a:xfrm>
              <a:off x="3484783" y="5359018"/>
              <a:ext cx="1630362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762000" eaLnBrk="0" hangingPunct="0"/>
              <a:r>
                <a:rPr lang="uk-UA" sz="1200" dirty="0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Сан-Паулу </a:t>
              </a:r>
              <a:endParaRPr lang="de-DE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67" name="Rectangle 506"/>
            <p:cNvSpPr>
              <a:spLocks noChangeArrowheads="1"/>
            </p:cNvSpPr>
            <p:nvPr/>
          </p:nvSpPr>
          <p:spPr bwMode="auto">
            <a:xfrm>
              <a:off x="6613525" y="4922838"/>
              <a:ext cx="108000" cy="108000"/>
            </a:xfrm>
            <a:prstGeom prst="rect">
              <a:avLst/>
            </a:prstGeom>
            <a:solidFill>
              <a:srgbClr val="21A0D2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68" name="Rectangle 497"/>
            <p:cNvSpPr>
              <a:spLocks noChangeArrowheads="1"/>
            </p:cNvSpPr>
            <p:nvPr/>
          </p:nvSpPr>
          <p:spPr bwMode="auto">
            <a:xfrm>
              <a:off x="6806215" y="4916928"/>
              <a:ext cx="108267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762000" eaLnBrk="0" hangingPunct="0"/>
              <a:r>
                <a:rPr lang="uk-UA" sz="1200" dirty="0" err="1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Сингапур</a:t>
              </a:r>
              <a:r>
                <a:rPr lang="uk-UA" sz="1200" dirty="0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 </a:t>
              </a:r>
              <a:endParaRPr lang="de-DE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69" name="Rectangle 152"/>
            <p:cNvSpPr>
              <a:spLocks noChangeArrowheads="1"/>
            </p:cNvSpPr>
            <p:nvPr/>
          </p:nvSpPr>
          <p:spPr bwMode="auto">
            <a:xfrm>
              <a:off x="4699000" y="4062413"/>
              <a:ext cx="118586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762000" eaLnBrk="0" hangingPunct="0"/>
              <a:r>
                <a:rPr lang="uk-UA" sz="1200" dirty="0" err="1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Лімбургерхоф</a:t>
              </a:r>
              <a:r>
                <a:rPr lang="uk-UA" sz="1200" dirty="0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 </a:t>
              </a:r>
              <a:endParaRPr lang="de-DE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70" name="Rectangle 152"/>
            <p:cNvSpPr>
              <a:spLocks noChangeArrowheads="1"/>
            </p:cNvSpPr>
            <p:nvPr/>
          </p:nvSpPr>
          <p:spPr bwMode="auto">
            <a:xfrm>
              <a:off x="4970314" y="3780823"/>
              <a:ext cx="1185862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762000" eaLnBrk="0" hangingPunct="0"/>
              <a:r>
                <a:rPr lang="uk-UA" sz="1200" dirty="0" err="1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Людвігсхафен</a:t>
              </a:r>
              <a:r>
                <a:rPr lang="uk-UA" sz="1200" dirty="0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 </a:t>
              </a:r>
              <a:endParaRPr lang="de-DE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71" name="Rectangle 152"/>
            <p:cNvSpPr>
              <a:spLocks noChangeArrowheads="1"/>
            </p:cNvSpPr>
            <p:nvPr/>
          </p:nvSpPr>
          <p:spPr bwMode="auto">
            <a:xfrm>
              <a:off x="4178225" y="3501008"/>
              <a:ext cx="118586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762000" eaLnBrk="0" hangingPunct="0"/>
              <a:r>
                <a:rPr lang="uk-UA" sz="1200" dirty="0" err="1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Шварцхайде</a:t>
              </a:r>
              <a:r>
                <a:rPr lang="uk-UA" sz="1200" dirty="0">
                  <a:solidFill>
                    <a:srgbClr val="000000"/>
                  </a:solidFill>
                  <a:latin typeface="Arial" pitchFamily="34" charset="0"/>
                  <a:cs typeface="Times New Roman" pitchFamily="18" charset="0"/>
                </a:rPr>
                <a:t> </a:t>
              </a:r>
              <a:endParaRPr lang="de-DE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endParaRPr>
            </a:p>
          </p:txBody>
        </p:sp>
        <p:sp>
          <p:nvSpPr>
            <p:cNvPr id="372" name="Rectangle 503"/>
            <p:cNvSpPr>
              <a:spLocks noChangeArrowheads="1"/>
            </p:cNvSpPr>
            <p:nvPr/>
          </p:nvSpPr>
          <p:spPr bwMode="auto">
            <a:xfrm>
              <a:off x="4541838" y="3933825"/>
              <a:ext cx="108000" cy="108000"/>
            </a:xfrm>
            <a:prstGeom prst="rect">
              <a:avLst/>
            </a:prstGeom>
            <a:solidFill>
              <a:srgbClr val="004A96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73" name="Rectangle 506"/>
            <p:cNvSpPr>
              <a:spLocks noChangeArrowheads="1"/>
            </p:cNvSpPr>
            <p:nvPr/>
          </p:nvSpPr>
          <p:spPr bwMode="auto">
            <a:xfrm>
              <a:off x="4781550" y="3933825"/>
              <a:ext cx="108000" cy="108000"/>
            </a:xfrm>
            <a:prstGeom prst="rect">
              <a:avLst/>
            </a:prstGeom>
            <a:solidFill>
              <a:srgbClr val="21A0D2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74" name="Rectangle 512"/>
            <p:cNvSpPr>
              <a:spLocks noChangeArrowheads="1"/>
            </p:cNvSpPr>
            <p:nvPr/>
          </p:nvSpPr>
          <p:spPr bwMode="auto">
            <a:xfrm>
              <a:off x="4656138" y="3933825"/>
              <a:ext cx="108000" cy="108000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75" name="Line 383"/>
            <p:cNvSpPr>
              <a:spLocks noChangeShapeType="1"/>
            </p:cNvSpPr>
            <p:nvPr/>
          </p:nvSpPr>
          <p:spPr bwMode="auto">
            <a:xfrm flipH="1">
              <a:off x="4727574" y="3098006"/>
              <a:ext cx="1268727" cy="905670"/>
            </a:xfrm>
            <a:prstGeom prst="line">
              <a:avLst/>
            </a:prstGeom>
            <a:ln>
              <a:solidFill>
                <a:srgbClr val="157939"/>
              </a:solidFill>
              <a:headEnd/>
              <a:tailEnd/>
            </a:ln>
            <a:effectLst/>
            <a:extLst/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76" name="Line 387"/>
            <p:cNvSpPr>
              <a:spLocks noChangeShapeType="1"/>
            </p:cNvSpPr>
            <p:nvPr/>
          </p:nvSpPr>
          <p:spPr bwMode="auto">
            <a:xfrm>
              <a:off x="1592832" y="3795304"/>
              <a:ext cx="1077344" cy="448083"/>
            </a:xfrm>
            <a:prstGeom prst="line">
              <a:avLst/>
            </a:prstGeom>
            <a:ln>
              <a:solidFill>
                <a:srgbClr val="157939"/>
              </a:solidFill>
              <a:headEnd/>
              <a:tailEnd/>
            </a:ln>
            <a:effectLst/>
            <a:extLst/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  <p:txBody>
            <a:bodyPr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77" name="Oval 385"/>
            <p:cNvSpPr>
              <a:spLocks noChangeAspect="1" noChangeArrowheads="1"/>
            </p:cNvSpPr>
            <p:nvPr/>
          </p:nvSpPr>
          <p:spPr bwMode="auto">
            <a:xfrm>
              <a:off x="2617787" y="4179886"/>
              <a:ext cx="71437" cy="71437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/>
          </p:spPr>
          <p:txBody>
            <a:bodyPr wrap="none" anchor="ctr"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78" name="Oval 386"/>
            <p:cNvSpPr>
              <a:spLocks noChangeAspect="1" noChangeArrowheads="1"/>
            </p:cNvSpPr>
            <p:nvPr/>
          </p:nvSpPr>
          <p:spPr bwMode="auto">
            <a:xfrm>
              <a:off x="4681537" y="3951286"/>
              <a:ext cx="71437" cy="71437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/>
          </p:spPr>
          <p:txBody>
            <a:bodyPr wrap="none" anchor="ctr"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79" name="Oval 382" descr="BASF RTP Site_Mar-03"/>
            <p:cNvSpPr>
              <a:spLocks noChangeArrowheads="1"/>
            </p:cNvSpPr>
            <p:nvPr/>
          </p:nvSpPr>
          <p:spPr bwMode="auto">
            <a:xfrm>
              <a:off x="467841" y="2493193"/>
              <a:ext cx="1439863" cy="1439863"/>
            </a:xfrm>
            <a:prstGeom prst="ellipse">
              <a:avLst/>
            </a:prstGeom>
            <a:blipFill dpi="0" rotWithShape="1">
              <a:blip r:embed="rId3"/>
              <a:srcRect/>
              <a:stretch>
                <a:fillRect/>
              </a:stretch>
            </a:blipFill>
            <a:ln w="19050">
              <a:solidFill>
                <a:srgbClr val="65AC1E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80" name="Oval 381" descr="A10_0046_Lihof"/>
            <p:cNvSpPr>
              <a:spLocks noChangeArrowheads="1"/>
            </p:cNvSpPr>
            <p:nvPr/>
          </p:nvSpPr>
          <p:spPr bwMode="auto">
            <a:xfrm>
              <a:off x="5796136" y="1989138"/>
              <a:ext cx="1439862" cy="1439862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 w="1905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sp>
        <p:nvSpPr>
          <p:cNvPr id="381" name="Line 66"/>
          <p:cNvSpPr>
            <a:spLocks noChangeShapeType="1"/>
          </p:cNvSpPr>
          <p:nvPr/>
        </p:nvSpPr>
        <p:spPr bwMode="auto">
          <a:xfrm>
            <a:off x="386557" y="6032500"/>
            <a:ext cx="9147175" cy="0"/>
          </a:xfrm>
          <a:prstGeom prst="line">
            <a:avLst/>
          </a:prstGeom>
          <a:noFill/>
          <a:ln w="9525">
            <a:solidFill>
              <a:srgbClr val="65AC1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82" name="Line 69"/>
          <p:cNvSpPr>
            <a:spLocks noChangeShapeType="1"/>
          </p:cNvSpPr>
          <p:nvPr/>
        </p:nvSpPr>
        <p:spPr bwMode="auto">
          <a:xfrm>
            <a:off x="9314656" y="984251"/>
            <a:ext cx="3052" cy="5301059"/>
          </a:xfrm>
          <a:prstGeom prst="line">
            <a:avLst/>
          </a:prstGeom>
          <a:noFill/>
          <a:ln w="9525">
            <a:solidFill>
              <a:srgbClr val="65AC1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83" name="Line 63"/>
          <p:cNvSpPr>
            <a:spLocks noChangeShapeType="1"/>
          </p:cNvSpPr>
          <p:nvPr/>
        </p:nvSpPr>
        <p:spPr bwMode="auto">
          <a:xfrm flipH="1">
            <a:off x="607219" y="984251"/>
            <a:ext cx="0" cy="5301059"/>
          </a:xfrm>
          <a:prstGeom prst="line">
            <a:avLst/>
          </a:prstGeom>
          <a:noFill/>
          <a:ln w="9525">
            <a:solidFill>
              <a:srgbClr val="65AC1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84" name="Line 65"/>
          <p:cNvSpPr>
            <a:spLocks noChangeShapeType="1"/>
          </p:cNvSpPr>
          <p:nvPr/>
        </p:nvSpPr>
        <p:spPr bwMode="auto">
          <a:xfrm>
            <a:off x="389731" y="1316757"/>
            <a:ext cx="9144000" cy="0"/>
          </a:xfrm>
          <a:prstGeom prst="line">
            <a:avLst/>
          </a:prstGeom>
          <a:noFill/>
          <a:ln w="9525">
            <a:solidFill>
              <a:srgbClr val="65AC1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85" name="Rectangle 162"/>
          <p:cNvSpPr>
            <a:spLocks noChangeArrowheads="1"/>
          </p:cNvSpPr>
          <p:nvPr/>
        </p:nvSpPr>
        <p:spPr bwMode="auto">
          <a:xfrm>
            <a:off x="7986068" y="5781253"/>
            <a:ext cx="133164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defTabSz="762000" eaLnBrk="0" hangingPunct="0"/>
            <a:r>
              <a:rPr lang="en-GB" sz="1000" dirty="0">
                <a:solidFill>
                  <a:srgbClr val="000000"/>
                </a:solidFill>
                <a:latin typeface="Arial" pitchFamily="34" charset="0"/>
              </a:rPr>
              <a:t>*</a:t>
            </a:r>
            <a:r>
              <a:rPr lang="en-GB" sz="1200" dirty="0">
                <a:solidFill>
                  <a:srgbClr val="000000"/>
                </a:solidFill>
                <a:latin typeface="Arial" pitchFamily="34" charset="0"/>
              </a:rPr>
              <a:t> </a:t>
            </a:r>
            <a:r>
              <a:rPr lang="uk-UA" sz="1000" dirty="0">
                <a:solidFill>
                  <a:srgbClr val="000000"/>
                </a:solidFill>
                <a:latin typeface="Arial" pitchFamily="34" charset="0"/>
              </a:rPr>
              <a:t>На стадії розвитку</a:t>
            </a:r>
            <a:endParaRPr lang="de-DE" sz="1000" dirty="0">
              <a:solidFill>
                <a:srgbClr val="000000"/>
              </a:solidFill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389" name="Rectangle 513"/>
          <p:cNvSpPr>
            <a:spLocks noChangeArrowheads="1"/>
          </p:cNvSpPr>
          <p:nvPr/>
        </p:nvSpPr>
        <p:spPr bwMode="auto">
          <a:xfrm>
            <a:off x="6323432" y="3823685"/>
            <a:ext cx="108000" cy="108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90" name="Rectangle 153"/>
          <p:cNvSpPr>
            <a:spLocks noChangeArrowheads="1"/>
          </p:cNvSpPr>
          <p:nvPr/>
        </p:nvSpPr>
        <p:spPr bwMode="auto">
          <a:xfrm>
            <a:off x="6431225" y="3918857"/>
            <a:ext cx="108267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762000" eaLnBrk="0" hangingPunct="0"/>
            <a:r>
              <a:rPr lang="uk-UA" sz="1200" dirty="0" err="1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Тхане</a:t>
            </a:r>
            <a:endParaRPr lang="de-DE" sz="1200" dirty="0">
              <a:solidFill>
                <a:srgbClr val="000000"/>
              </a:solidFill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391" name="Rectangle 505"/>
          <p:cNvSpPr>
            <a:spLocks noChangeArrowheads="1"/>
          </p:cNvSpPr>
          <p:nvPr/>
        </p:nvSpPr>
        <p:spPr bwMode="auto">
          <a:xfrm>
            <a:off x="5513806" y="4828208"/>
            <a:ext cx="108000" cy="108000"/>
          </a:xfrm>
          <a:prstGeom prst="rect">
            <a:avLst/>
          </a:prstGeom>
          <a:solidFill>
            <a:srgbClr val="C50022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92" name="Rectangle 153"/>
          <p:cNvSpPr>
            <a:spLocks noChangeArrowheads="1"/>
          </p:cNvSpPr>
          <p:nvPr/>
        </p:nvSpPr>
        <p:spPr bwMode="auto">
          <a:xfrm>
            <a:off x="5604239" y="4840909"/>
            <a:ext cx="108267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762000" eaLnBrk="0" hangingPunct="0"/>
            <a:r>
              <a:rPr lang="uk-UA" sz="1200" dirty="0" err="1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Дурбан</a:t>
            </a:r>
            <a:endParaRPr lang="de-DE" sz="1200" dirty="0">
              <a:solidFill>
                <a:srgbClr val="000000"/>
              </a:solidFill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393" name="Rectangle 511"/>
          <p:cNvSpPr>
            <a:spLocks noChangeArrowheads="1"/>
          </p:cNvSpPr>
          <p:nvPr/>
        </p:nvSpPr>
        <p:spPr bwMode="auto">
          <a:xfrm>
            <a:off x="3451291" y="4791791"/>
            <a:ext cx="108000" cy="108000"/>
          </a:xfrm>
          <a:prstGeom prst="rect">
            <a:avLst/>
          </a:prstGeom>
          <a:solidFill>
            <a:srgbClr val="F39500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94" name="Rectangle 511"/>
          <p:cNvSpPr>
            <a:spLocks noChangeArrowheads="1"/>
          </p:cNvSpPr>
          <p:nvPr/>
        </p:nvSpPr>
        <p:spPr bwMode="auto">
          <a:xfrm>
            <a:off x="3397291" y="4938842"/>
            <a:ext cx="108000" cy="108000"/>
          </a:xfrm>
          <a:prstGeom prst="rect">
            <a:avLst/>
          </a:prstGeom>
          <a:solidFill>
            <a:srgbClr val="F39500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95" name="Rectangle 167"/>
          <p:cNvSpPr>
            <a:spLocks noChangeArrowheads="1"/>
          </p:cNvSpPr>
          <p:nvPr/>
        </p:nvSpPr>
        <p:spPr bwMode="auto">
          <a:xfrm>
            <a:off x="2783378" y="4661125"/>
            <a:ext cx="64145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62000" eaLnBrk="0" hangingPunct="0"/>
            <a:r>
              <a:rPr lang="uk-UA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Курітіба </a:t>
            </a:r>
            <a:endParaRPr lang="de-DE" sz="1200" dirty="0">
              <a:solidFill>
                <a:srgbClr val="000000"/>
              </a:solidFill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396" name="Rectangle 167"/>
          <p:cNvSpPr>
            <a:spLocks noChangeArrowheads="1"/>
          </p:cNvSpPr>
          <p:nvPr/>
        </p:nvSpPr>
        <p:spPr bwMode="auto">
          <a:xfrm>
            <a:off x="2602497" y="4966014"/>
            <a:ext cx="84513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62000" eaLnBrk="0" hangingPunct="0"/>
            <a:r>
              <a:rPr lang="uk-UA" sz="1100" dirty="0" err="1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Санто</a:t>
            </a:r>
            <a:r>
              <a:rPr lang="uk-UA" sz="11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 Томе</a:t>
            </a:r>
            <a:r>
              <a:rPr lang="uk-UA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 </a:t>
            </a:r>
            <a:endParaRPr lang="de-DE" sz="1200" dirty="0">
              <a:solidFill>
                <a:srgbClr val="000000"/>
              </a:solidFill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397" name="Rectangle 506"/>
          <p:cNvSpPr>
            <a:spLocks noChangeArrowheads="1"/>
          </p:cNvSpPr>
          <p:nvPr/>
        </p:nvSpPr>
        <p:spPr bwMode="auto">
          <a:xfrm>
            <a:off x="8190638" y="4992842"/>
            <a:ext cx="108000" cy="108000"/>
          </a:xfrm>
          <a:prstGeom prst="rect">
            <a:avLst/>
          </a:prstGeom>
          <a:solidFill>
            <a:srgbClr val="F39500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98" name="Rectangle 497"/>
          <p:cNvSpPr>
            <a:spLocks noChangeArrowheads="1"/>
          </p:cNvSpPr>
          <p:nvPr/>
        </p:nvSpPr>
        <p:spPr bwMode="auto">
          <a:xfrm>
            <a:off x="7076124" y="4936554"/>
            <a:ext cx="108267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r" defTabSz="762000" eaLnBrk="0" hangingPunct="0"/>
            <a:r>
              <a:rPr lang="uk-UA" sz="1200" dirty="0" err="1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Сомерсбей</a:t>
            </a:r>
            <a:r>
              <a:rPr lang="uk-UA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 </a:t>
            </a:r>
            <a:endParaRPr lang="de-DE" sz="1200" dirty="0">
              <a:solidFill>
                <a:srgbClr val="000000"/>
              </a:solidFill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399" name="Rectangle 513"/>
          <p:cNvSpPr>
            <a:spLocks noChangeArrowheads="1"/>
          </p:cNvSpPr>
          <p:nvPr/>
        </p:nvSpPr>
        <p:spPr bwMode="auto">
          <a:xfrm>
            <a:off x="2803038" y="4084728"/>
            <a:ext cx="108000" cy="108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400" name="Rectangle 167"/>
          <p:cNvSpPr>
            <a:spLocks noChangeArrowheads="1"/>
          </p:cNvSpPr>
          <p:nvPr/>
        </p:nvSpPr>
        <p:spPr bwMode="auto">
          <a:xfrm>
            <a:off x="2924970" y="4046455"/>
            <a:ext cx="104457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762000" eaLnBrk="0" hangingPunct="0"/>
            <a:r>
              <a:rPr lang="uk-UA" sz="1200" dirty="0" err="1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Дюрем</a:t>
            </a:r>
            <a:endParaRPr lang="de-DE" sz="1200" dirty="0">
              <a:solidFill>
                <a:srgbClr val="000000"/>
              </a:solidFill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401" name="Rectangle 509"/>
          <p:cNvSpPr>
            <a:spLocks noChangeArrowheads="1"/>
          </p:cNvSpPr>
          <p:nvPr/>
        </p:nvSpPr>
        <p:spPr bwMode="auto">
          <a:xfrm>
            <a:off x="1975012" y="3413341"/>
            <a:ext cx="108000" cy="108000"/>
          </a:xfrm>
          <a:prstGeom prst="rect">
            <a:avLst/>
          </a:prstGeom>
          <a:solidFill>
            <a:srgbClr val="F39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402" name="Rectangle 156"/>
          <p:cNvSpPr>
            <a:spLocks noChangeArrowheads="1"/>
          </p:cNvSpPr>
          <p:nvPr/>
        </p:nvSpPr>
        <p:spPr bwMode="auto">
          <a:xfrm>
            <a:off x="1048505" y="3333550"/>
            <a:ext cx="90487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r" defTabSz="762000" eaLnBrk="0" hangingPunct="0"/>
            <a:r>
              <a:rPr lang="uk-UA" sz="1200" dirty="0" err="1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Колдвелл</a:t>
            </a:r>
            <a:endParaRPr lang="de-DE" sz="1200" dirty="0">
              <a:solidFill>
                <a:srgbClr val="000000"/>
              </a:solidFill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403" name="Rectangle 509"/>
          <p:cNvSpPr>
            <a:spLocks noChangeArrowheads="1"/>
          </p:cNvSpPr>
          <p:nvPr/>
        </p:nvSpPr>
        <p:spPr bwMode="auto">
          <a:xfrm>
            <a:off x="2517437" y="3237161"/>
            <a:ext cx="108000" cy="108000"/>
          </a:xfrm>
          <a:prstGeom prst="rect">
            <a:avLst/>
          </a:prstGeom>
          <a:solidFill>
            <a:srgbClr val="F39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404" name="Rectangle 509"/>
          <p:cNvSpPr>
            <a:spLocks noChangeArrowheads="1"/>
          </p:cNvSpPr>
          <p:nvPr/>
        </p:nvSpPr>
        <p:spPr bwMode="auto">
          <a:xfrm>
            <a:off x="2484531" y="3373215"/>
            <a:ext cx="108000" cy="108000"/>
          </a:xfrm>
          <a:prstGeom prst="rect">
            <a:avLst/>
          </a:prstGeom>
          <a:solidFill>
            <a:srgbClr val="F39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405" name="Rectangle 509"/>
          <p:cNvSpPr>
            <a:spLocks noChangeArrowheads="1"/>
          </p:cNvSpPr>
          <p:nvPr/>
        </p:nvSpPr>
        <p:spPr bwMode="auto">
          <a:xfrm>
            <a:off x="2248715" y="3063609"/>
            <a:ext cx="108000" cy="108000"/>
          </a:xfrm>
          <a:prstGeom prst="rect">
            <a:avLst/>
          </a:prstGeom>
          <a:solidFill>
            <a:srgbClr val="F39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406" name="Rectangle 156"/>
          <p:cNvSpPr>
            <a:spLocks noChangeArrowheads="1"/>
          </p:cNvSpPr>
          <p:nvPr/>
        </p:nvSpPr>
        <p:spPr bwMode="auto">
          <a:xfrm>
            <a:off x="2350686" y="2930571"/>
            <a:ext cx="90487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762000" eaLnBrk="0" hangingPunct="0"/>
            <a:r>
              <a:rPr lang="uk-UA" sz="1200" dirty="0" err="1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Саскатун</a:t>
            </a:r>
            <a:endParaRPr lang="de-DE" sz="1200" dirty="0">
              <a:solidFill>
                <a:srgbClr val="000000"/>
              </a:solidFill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407" name="Rectangle 156"/>
          <p:cNvSpPr>
            <a:spLocks noChangeArrowheads="1"/>
          </p:cNvSpPr>
          <p:nvPr/>
        </p:nvSpPr>
        <p:spPr bwMode="auto">
          <a:xfrm>
            <a:off x="2654417" y="3185428"/>
            <a:ext cx="9048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762000" eaLnBrk="0" hangingPunct="0"/>
            <a:r>
              <a:rPr lang="uk-UA" sz="1100" dirty="0" err="1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Еймс</a:t>
            </a:r>
            <a:endParaRPr lang="de-DE" sz="1100" dirty="0">
              <a:solidFill>
                <a:srgbClr val="000000"/>
              </a:solidFill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408" name="Rectangle 156"/>
          <p:cNvSpPr>
            <a:spLocks noChangeArrowheads="1"/>
          </p:cNvSpPr>
          <p:nvPr/>
        </p:nvSpPr>
        <p:spPr bwMode="auto">
          <a:xfrm>
            <a:off x="1779831" y="3240477"/>
            <a:ext cx="687361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62000" eaLnBrk="0" hangingPunct="0"/>
            <a:r>
              <a:rPr lang="uk-UA" sz="105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Св. </a:t>
            </a:r>
            <a:r>
              <a:rPr lang="uk-UA" sz="1050" dirty="0" err="1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Йосеф</a:t>
            </a:r>
            <a:endParaRPr lang="de-DE" sz="1050" dirty="0">
              <a:solidFill>
                <a:srgbClr val="000000"/>
              </a:solidFill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409" name="Rectangle 511"/>
          <p:cNvSpPr>
            <a:spLocks noChangeArrowheads="1"/>
          </p:cNvSpPr>
          <p:nvPr/>
        </p:nvSpPr>
        <p:spPr bwMode="auto">
          <a:xfrm>
            <a:off x="4024123" y="2678718"/>
            <a:ext cx="108000" cy="108000"/>
          </a:xfrm>
          <a:prstGeom prst="rect">
            <a:avLst/>
          </a:prstGeom>
          <a:solidFill>
            <a:srgbClr val="F39500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410" name="Rectangle 152"/>
          <p:cNvSpPr>
            <a:spLocks noChangeArrowheads="1"/>
          </p:cNvSpPr>
          <p:nvPr/>
        </p:nvSpPr>
        <p:spPr bwMode="auto">
          <a:xfrm>
            <a:off x="4115611" y="2550464"/>
            <a:ext cx="118586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762000" eaLnBrk="0" hangingPunct="0"/>
            <a:r>
              <a:rPr lang="uk-UA" sz="1200" dirty="0" err="1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Літлхемптон</a:t>
            </a:r>
            <a:r>
              <a:rPr lang="uk-UA" sz="1200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 </a:t>
            </a:r>
            <a:endParaRPr lang="de-DE" sz="1200" dirty="0">
              <a:solidFill>
                <a:srgbClr val="000000"/>
              </a:solidFill>
              <a:latin typeface="Arial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692199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3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3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81" grpId="0" animBg="1"/>
      <p:bldP spid="382" grpId="0" animBg="1"/>
      <p:bldP spid="383" grpId="0" animBg="1"/>
      <p:bldP spid="38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4E2F46F-8DA8-4018-91FF-707B7F4423C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5010B03-D230-4701-9F37-B6F131066B93}" type="datetime1">
              <a:rPr lang="de-DE" smtClean="0"/>
              <a:t>06.11.2019</a:t>
            </a:fld>
            <a:endParaRPr lang="de-DE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BE8B4584-8CCB-463E-84C5-310F46A78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|  Optionale Zusatzinformationen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B492A70-CFB0-4819-9442-669B8DCC89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C88839C7-DEBF-4DC3-B0A0-859769691F24}"/>
              </a:ext>
            </a:extLst>
          </p:cNvPr>
          <p:cNvSpPr/>
          <p:nvPr/>
        </p:nvSpPr>
        <p:spPr>
          <a:xfrm>
            <a:off x="6196277" y="5291827"/>
            <a:ext cx="431757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err="1"/>
              <a:t>Демоцентр</a:t>
            </a:r>
            <a:endParaRPr lang="en-US" sz="1400" dirty="0"/>
          </a:p>
          <a:p>
            <a:r>
              <a:rPr lang="ru-RU" sz="1400" dirty="0" err="1"/>
              <a:t>Агроцентр</a:t>
            </a:r>
            <a:endParaRPr lang="en-US" sz="1400" dirty="0"/>
          </a:p>
          <a:p>
            <a:r>
              <a:rPr lang="ru-RU" sz="1400" dirty="0" err="1"/>
              <a:t>Демоцентр</a:t>
            </a:r>
            <a:r>
              <a:rPr lang="ru-RU" sz="1400" dirty="0"/>
              <a:t> (специальные культуры)</a:t>
            </a:r>
            <a:endParaRPr lang="en-US" sz="1400" dirty="0"/>
          </a:p>
        </p:txBody>
      </p:sp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11B23C83-EDA5-49F0-91D1-B3B84C06BB8B}"/>
              </a:ext>
            </a:extLst>
          </p:cNvPr>
          <p:cNvGrpSpPr/>
          <p:nvPr/>
        </p:nvGrpSpPr>
        <p:grpSpPr>
          <a:xfrm>
            <a:off x="4457700" y="971551"/>
            <a:ext cx="7137433" cy="4508564"/>
            <a:chOff x="5039625" y="954353"/>
            <a:chExt cx="6555508" cy="4220961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2E4B1828-3902-4C15-83B2-467267E7C0DD}"/>
                </a:ext>
              </a:extLst>
            </p:cNvPr>
            <p:cNvGrpSpPr/>
            <p:nvPr/>
          </p:nvGrpSpPr>
          <p:grpSpPr>
            <a:xfrm>
              <a:off x="5039625" y="954353"/>
              <a:ext cx="6555508" cy="4220961"/>
              <a:chOff x="1655454" y="1725721"/>
              <a:chExt cx="7589966" cy="4804453"/>
            </a:xfrm>
          </p:grpSpPr>
          <p:sp>
            <p:nvSpPr>
              <p:cNvPr id="6" name="Odesa">
                <a:extLst>
                  <a:ext uri="{FF2B5EF4-FFF2-40B4-BE49-F238E27FC236}">
                    <a16:creationId xmlns:a16="http://schemas.microsoft.com/office/drawing/2014/main" id="{5040E12A-25C2-4246-A188-BB2D9EDB6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6778" y="4233825"/>
                <a:ext cx="1391660" cy="1819012"/>
              </a:xfrm>
              <a:custGeom>
                <a:avLst/>
                <a:gdLst>
                  <a:gd name="T0" fmla="*/ 2469 w 2831"/>
                  <a:gd name="T1" fmla="*/ 2141 h 3891"/>
                  <a:gd name="T2" fmla="*/ 2299 w 2831"/>
                  <a:gd name="T3" fmla="*/ 2434 h 3891"/>
                  <a:gd name="T4" fmla="*/ 2240 w 2831"/>
                  <a:gd name="T5" fmla="*/ 2542 h 3891"/>
                  <a:gd name="T6" fmla="*/ 2055 w 2831"/>
                  <a:gd name="T7" fmla="*/ 2837 h 3891"/>
                  <a:gd name="T8" fmla="*/ 1909 w 2831"/>
                  <a:gd name="T9" fmla="*/ 2929 h 3891"/>
                  <a:gd name="T10" fmla="*/ 1679 w 2831"/>
                  <a:gd name="T11" fmla="*/ 3210 h 3891"/>
                  <a:gd name="T12" fmla="*/ 1670 w 2831"/>
                  <a:gd name="T13" fmla="*/ 3195 h 3891"/>
                  <a:gd name="T14" fmla="*/ 1727 w 2831"/>
                  <a:gd name="T15" fmla="*/ 3052 h 3891"/>
                  <a:gd name="T16" fmla="*/ 1668 w 2831"/>
                  <a:gd name="T17" fmla="*/ 3110 h 3891"/>
                  <a:gd name="T18" fmla="*/ 1606 w 2831"/>
                  <a:gd name="T19" fmla="*/ 3035 h 3891"/>
                  <a:gd name="T20" fmla="*/ 1598 w 2831"/>
                  <a:gd name="T21" fmla="*/ 3182 h 3891"/>
                  <a:gd name="T22" fmla="*/ 1545 w 2831"/>
                  <a:gd name="T23" fmla="*/ 3200 h 3891"/>
                  <a:gd name="T24" fmla="*/ 1516 w 2831"/>
                  <a:gd name="T25" fmla="*/ 3304 h 3891"/>
                  <a:gd name="T26" fmla="*/ 1386 w 2831"/>
                  <a:gd name="T27" fmla="*/ 3421 h 3891"/>
                  <a:gd name="T28" fmla="*/ 1411 w 2831"/>
                  <a:gd name="T29" fmla="*/ 3378 h 3891"/>
                  <a:gd name="T30" fmla="*/ 1353 w 2831"/>
                  <a:gd name="T31" fmla="*/ 3188 h 3891"/>
                  <a:gd name="T32" fmla="*/ 1293 w 2831"/>
                  <a:gd name="T33" fmla="*/ 3232 h 3891"/>
                  <a:gd name="T34" fmla="*/ 1278 w 2831"/>
                  <a:gd name="T35" fmla="*/ 3472 h 3891"/>
                  <a:gd name="T36" fmla="*/ 1304 w 2831"/>
                  <a:gd name="T37" fmla="*/ 3615 h 3891"/>
                  <a:gd name="T38" fmla="*/ 1377 w 2831"/>
                  <a:gd name="T39" fmla="*/ 3598 h 3891"/>
                  <a:gd name="T40" fmla="*/ 1390 w 2831"/>
                  <a:gd name="T41" fmla="*/ 3871 h 3891"/>
                  <a:gd name="T42" fmla="*/ 1149 w 2831"/>
                  <a:gd name="T43" fmla="*/ 3633 h 3891"/>
                  <a:gd name="T44" fmla="*/ 843 w 2831"/>
                  <a:gd name="T45" fmla="*/ 3687 h 3891"/>
                  <a:gd name="T46" fmla="*/ 637 w 2831"/>
                  <a:gd name="T47" fmla="*/ 3811 h 3891"/>
                  <a:gd name="T48" fmla="*/ 491 w 2831"/>
                  <a:gd name="T49" fmla="*/ 3861 h 3891"/>
                  <a:gd name="T50" fmla="*/ 124 w 2831"/>
                  <a:gd name="T51" fmla="*/ 3716 h 3891"/>
                  <a:gd name="T52" fmla="*/ 38 w 2831"/>
                  <a:gd name="T53" fmla="*/ 3510 h 3891"/>
                  <a:gd name="T54" fmla="*/ 249 w 2831"/>
                  <a:gd name="T55" fmla="*/ 3476 h 3891"/>
                  <a:gd name="T56" fmla="*/ 403 w 2831"/>
                  <a:gd name="T57" fmla="*/ 3147 h 3891"/>
                  <a:gd name="T58" fmla="*/ 535 w 2831"/>
                  <a:gd name="T59" fmla="*/ 2908 h 3891"/>
                  <a:gd name="T60" fmla="*/ 727 w 2831"/>
                  <a:gd name="T61" fmla="*/ 2681 h 3891"/>
                  <a:gd name="T62" fmla="*/ 692 w 2831"/>
                  <a:gd name="T63" fmla="*/ 2473 h 3891"/>
                  <a:gd name="T64" fmla="*/ 911 w 2831"/>
                  <a:gd name="T65" fmla="*/ 2230 h 3891"/>
                  <a:gd name="T66" fmla="*/ 999 w 2831"/>
                  <a:gd name="T67" fmla="*/ 2320 h 3891"/>
                  <a:gd name="T68" fmla="*/ 1146 w 2831"/>
                  <a:gd name="T69" fmla="*/ 2298 h 3891"/>
                  <a:gd name="T70" fmla="*/ 1289 w 2831"/>
                  <a:gd name="T71" fmla="*/ 2348 h 3891"/>
                  <a:gd name="T72" fmla="*/ 1422 w 2831"/>
                  <a:gd name="T73" fmla="*/ 2287 h 3891"/>
                  <a:gd name="T74" fmla="*/ 1576 w 2831"/>
                  <a:gd name="T75" fmla="*/ 2396 h 3891"/>
                  <a:gd name="T76" fmla="*/ 1626 w 2831"/>
                  <a:gd name="T77" fmla="*/ 2240 h 3891"/>
                  <a:gd name="T78" fmla="*/ 1620 w 2831"/>
                  <a:gd name="T79" fmla="*/ 2063 h 3891"/>
                  <a:gd name="T80" fmla="*/ 1609 w 2831"/>
                  <a:gd name="T81" fmla="*/ 1776 h 3891"/>
                  <a:gd name="T82" fmla="*/ 1360 w 2831"/>
                  <a:gd name="T83" fmla="*/ 1643 h 3891"/>
                  <a:gd name="T84" fmla="*/ 1327 w 2831"/>
                  <a:gd name="T85" fmla="*/ 1461 h 3891"/>
                  <a:gd name="T86" fmla="*/ 1301 w 2831"/>
                  <a:gd name="T87" fmla="*/ 1222 h 3891"/>
                  <a:gd name="T88" fmla="*/ 1198 w 2831"/>
                  <a:gd name="T89" fmla="*/ 1210 h 3891"/>
                  <a:gd name="T90" fmla="*/ 1085 w 2831"/>
                  <a:gd name="T91" fmla="*/ 1042 h 3891"/>
                  <a:gd name="T92" fmla="*/ 935 w 2831"/>
                  <a:gd name="T93" fmla="*/ 885 h 3891"/>
                  <a:gd name="T94" fmla="*/ 983 w 2831"/>
                  <a:gd name="T95" fmla="*/ 525 h 3891"/>
                  <a:gd name="T96" fmla="*/ 920 w 2831"/>
                  <a:gd name="T97" fmla="*/ 313 h 3891"/>
                  <a:gd name="T98" fmla="*/ 704 w 2831"/>
                  <a:gd name="T99" fmla="*/ 295 h 3891"/>
                  <a:gd name="T100" fmla="*/ 788 w 2831"/>
                  <a:gd name="T101" fmla="*/ 106 h 3891"/>
                  <a:gd name="T102" fmla="*/ 1286 w 2831"/>
                  <a:gd name="T103" fmla="*/ 166 h 3891"/>
                  <a:gd name="T104" fmla="*/ 1558 w 2831"/>
                  <a:gd name="T105" fmla="*/ 26 h 3891"/>
                  <a:gd name="T106" fmla="*/ 1969 w 2831"/>
                  <a:gd name="T107" fmla="*/ 92 h 3891"/>
                  <a:gd name="T108" fmla="*/ 1881 w 2831"/>
                  <a:gd name="T109" fmla="*/ 223 h 3891"/>
                  <a:gd name="T110" fmla="*/ 1947 w 2831"/>
                  <a:gd name="T111" fmla="*/ 434 h 3891"/>
                  <a:gd name="T112" fmla="*/ 1991 w 2831"/>
                  <a:gd name="T113" fmla="*/ 674 h 3891"/>
                  <a:gd name="T114" fmla="*/ 2285 w 2831"/>
                  <a:gd name="T115" fmla="*/ 774 h 3891"/>
                  <a:gd name="T116" fmla="*/ 2453 w 2831"/>
                  <a:gd name="T117" fmla="*/ 995 h 3891"/>
                  <a:gd name="T118" fmla="*/ 2621 w 2831"/>
                  <a:gd name="T119" fmla="*/ 1280 h 3891"/>
                  <a:gd name="T120" fmla="*/ 2783 w 2831"/>
                  <a:gd name="T121" fmla="*/ 1368 h 3891"/>
                  <a:gd name="T122" fmla="*/ 2781 w 2831"/>
                  <a:gd name="T123" fmla="*/ 1641 h 3891"/>
                  <a:gd name="T124" fmla="*/ 2711 w 2831"/>
                  <a:gd name="T125" fmla="*/ 1929 h 38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831" h="3891">
                    <a:moveTo>
                      <a:pt x="2697" y="2088"/>
                    </a:moveTo>
                    <a:lnTo>
                      <a:pt x="2687" y="2088"/>
                    </a:lnTo>
                    <a:lnTo>
                      <a:pt x="2674" y="2089"/>
                    </a:lnTo>
                    <a:lnTo>
                      <a:pt x="2663" y="2092"/>
                    </a:lnTo>
                    <a:lnTo>
                      <a:pt x="2651" y="2095"/>
                    </a:lnTo>
                    <a:lnTo>
                      <a:pt x="2639" y="2098"/>
                    </a:lnTo>
                    <a:lnTo>
                      <a:pt x="2613" y="2103"/>
                    </a:lnTo>
                    <a:lnTo>
                      <a:pt x="2591" y="2106"/>
                    </a:lnTo>
                    <a:lnTo>
                      <a:pt x="2579" y="2107"/>
                    </a:lnTo>
                    <a:lnTo>
                      <a:pt x="2568" y="2109"/>
                    </a:lnTo>
                    <a:lnTo>
                      <a:pt x="2556" y="2112"/>
                    </a:lnTo>
                    <a:lnTo>
                      <a:pt x="2542" y="2117"/>
                    </a:lnTo>
                    <a:lnTo>
                      <a:pt x="2537" y="2119"/>
                    </a:lnTo>
                    <a:lnTo>
                      <a:pt x="2533" y="2122"/>
                    </a:lnTo>
                    <a:lnTo>
                      <a:pt x="2529" y="2126"/>
                    </a:lnTo>
                    <a:lnTo>
                      <a:pt x="2525" y="2129"/>
                    </a:lnTo>
                    <a:lnTo>
                      <a:pt x="2520" y="2134"/>
                    </a:lnTo>
                    <a:lnTo>
                      <a:pt x="2516" y="2137"/>
                    </a:lnTo>
                    <a:lnTo>
                      <a:pt x="2512" y="2139"/>
                    </a:lnTo>
                    <a:lnTo>
                      <a:pt x="2506" y="2139"/>
                    </a:lnTo>
                    <a:lnTo>
                      <a:pt x="2496" y="2138"/>
                    </a:lnTo>
                    <a:lnTo>
                      <a:pt x="2486" y="2136"/>
                    </a:lnTo>
                    <a:lnTo>
                      <a:pt x="2479" y="2137"/>
                    </a:lnTo>
                    <a:lnTo>
                      <a:pt x="2474" y="2138"/>
                    </a:lnTo>
                    <a:lnTo>
                      <a:pt x="2469" y="2141"/>
                    </a:lnTo>
                    <a:lnTo>
                      <a:pt x="2465" y="2145"/>
                    </a:lnTo>
                    <a:lnTo>
                      <a:pt x="2456" y="2152"/>
                    </a:lnTo>
                    <a:lnTo>
                      <a:pt x="2445" y="2160"/>
                    </a:lnTo>
                    <a:lnTo>
                      <a:pt x="2419" y="2175"/>
                    </a:lnTo>
                    <a:lnTo>
                      <a:pt x="2397" y="2188"/>
                    </a:lnTo>
                    <a:lnTo>
                      <a:pt x="2385" y="2193"/>
                    </a:lnTo>
                    <a:lnTo>
                      <a:pt x="2374" y="2197"/>
                    </a:lnTo>
                    <a:lnTo>
                      <a:pt x="2361" y="2200"/>
                    </a:lnTo>
                    <a:lnTo>
                      <a:pt x="2346" y="2201"/>
                    </a:lnTo>
                    <a:lnTo>
                      <a:pt x="2346" y="2212"/>
                    </a:lnTo>
                    <a:lnTo>
                      <a:pt x="2352" y="2231"/>
                    </a:lnTo>
                    <a:lnTo>
                      <a:pt x="2352" y="2254"/>
                    </a:lnTo>
                    <a:lnTo>
                      <a:pt x="2354" y="2269"/>
                    </a:lnTo>
                    <a:lnTo>
                      <a:pt x="2357" y="2280"/>
                    </a:lnTo>
                    <a:lnTo>
                      <a:pt x="2361" y="2293"/>
                    </a:lnTo>
                    <a:lnTo>
                      <a:pt x="2364" y="2307"/>
                    </a:lnTo>
                    <a:lnTo>
                      <a:pt x="2352" y="2341"/>
                    </a:lnTo>
                    <a:lnTo>
                      <a:pt x="2343" y="2372"/>
                    </a:lnTo>
                    <a:lnTo>
                      <a:pt x="2338" y="2388"/>
                    </a:lnTo>
                    <a:lnTo>
                      <a:pt x="2331" y="2401"/>
                    </a:lnTo>
                    <a:lnTo>
                      <a:pt x="2326" y="2407"/>
                    </a:lnTo>
                    <a:lnTo>
                      <a:pt x="2320" y="2413"/>
                    </a:lnTo>
                    <a:lnTo>
                      <a:pt x="2314" y="2420"/>
                    </a:lnTo>
                    <a:lnTo>
                      <a:pt x="2307" y="2426"/>
                    </a:lnTo>
                    <a:lnTo>
                      <a:pt x="2299" y="2434"/>
                    </a:lnTo>
                    <a:lnTo>
                      <a:pt x="2293" y="2442"/>
                    </a:lnTo>
                    <a:lnTo>
                      <a:pt x="2288" y="2446"/>
                    </a:lnTo>
                    <a:lnTo>
                      <a:pt x="2285" y="2450"/>
                    </a:lnTo>
                    <a:lnTo>
                      <a:pt x="2280" y="2451"/>
                    </a:lnTo>
                    <a:lnTo>
                      <a:pt x="2275" y="2452"/>
                    </a:lnTo>
                    <a:lnTo>
                      <a:pt x="2269" y="2452"/>
                    </a:lnTo>
                    <a:lnTo>
                      <a:pt x="2263" y="2451"/>
                    </a:lnTo>
                    <a:lnTo>
                      <a:pt x="2258" y="2448"/>
                    </a:lnTo>
                    <a:lnTo>
                      <a:pt x="2252" y="2446"/>
                    </a:lnTo>
                    <a:lnTo>
                      <a:pt x="2244" y="2442"/>
                    </a:lnTo>
                    <a:lnTo>
                      <a:pt x="2239" y="2440"/>
                    </a:lnTo>
                    <a:lnTo>
                      <a:pt x="2238" y="2439"/>
                    </a:lnTo>
                    <a:lnTo>
                      <a:pt x="2237" y="2440"/>
                    </a:lnTo>
                    <a:lnTo>
                      <a:pt x="2238" y="2442"/>
                    </a:lnTo>
                    <a:lnTo>
                      <a:pt x="2239" y="2445"/>
                    </a:lnTo>
                    <a:lnTo>
                      <a:pt x="2245" y="2458"/>
                    </a:lnTo>
                    <a:lnTo>
                      <a:pt x="2254" y="2477"/>
                    </a:lnTo>
                    <a:lnTo>
                      <a:pt x="2262" y="2484"/>
                    </a:lnTo>
                    <a:lnTo>
                      <a:pt x="2266" y="2491"/>
                    </a:lnTo>
                    <a:lnTo>
                      <a:pt x="2265" y="2498"/>
                    </a:lnTo>
                    <a:lnTo>
                      <a:pt x="2263" y="2505"/>
                    </a:lnTo>
                    <a:lnTo>
                      <a:pt x="2260" y="2511"/>
                    </a:lnTo>
                    <a:lnTo>
                      <a:pt x="2256" y="2518"/>
                    </a:lnTo>
                    <a:lnTo>
                      <a:pt x="2248" y="2529"/>
                    </a:lnTo>
                    <a:lnTo>
                      <a:pt x="2240" y="2542"/>
                    </a:lnTo>
                    <a:lnTo>
                      <a:pt x="2229" y="2562"/>
                    </a:lnTo>
                    <a:lnTo>
                      <a:pt x="2217" y="2580"/>
                    </a:lnTo>
                    <a:lnTo>
                      <a:pt x="2206" y="2595"/>
                    </a:lnTo>
                    <a:lnTo>
                      <a:pt x="2195" y="2610"/>
                    </a:lnTo>
                    <a:lnTo>
                      <a:pt x="2183" y="2625"/>
                    </a:lnTo>
                    <a:lnTo>
                      <a:pt x="2173" y="2641"/>
                    </a:lnTo>
                    <a:lnTo>
                      <a:pt x="2163" y="2658"/>
                    </a:lnTo>
                    <a:lnTo>
                      <a:pt x="2153" y="2679"/>
                    </a:lnTo>
                    <a:lnTo>
                      <a:pt x="2149" y="2687"/>
                    </a:lnTo>
                    <a:lnTo>
                      <a:pt x="2144" y="2694"/>
                    </a:lnTo>
                    <a:lnTo>
                      <a:pt x="2137" y="2700"/>
                    </a:lnTo>
                    <a:lnTo>
                      <a:pt x="2130" y="2708"/>
                    </a:lnTo>
                    <a:lnTo>
                      <a:pt x="2123" y="2716"/>
                    </a:lnTo>
                    <a:lnTo>
                      <a:pt x="2118" y="2723"/>
                    </a:lnTo>
                    <a:lnTo>
                      <a:pt x="2115" y="2731"/>
                    </a:lnTo>
                    <a:lnTo>
                      <a:pt x="2112" y="2739"/>
                    </a:lnTo>
                    <a:lnTo>
                      <a:pt x="2107" y="2756"/>
                    </a:lnTo>
                    <a:lnTo>
                      <a:pt x="2100" y="2774"/>
                    </a:lnTo>
                    <a:lnTo>
                      <a:pt x="2088" y="2798"/>
                    </a:lnTo>
                    <a:lnTo>
                      <a:pt x="2076" y="2819"/>
                    </a:lnTo>
                    <a:lnTo>
                      <a:pt x="2072" y="2823"/>
                    </a:lnTo>
                    <a:lnTo>
                      <a:pt x="2069" y="2827"/>
                    </a:lnTo>
                    <a:lnTo>
                      <a:pt x="2065" y="2832"/>
                    </a:lnTo>
                    <a:lnTo>
                      <a:pt x="2060" y="2835"/>
                    </a:lnTo>
                    <a:lnTo>
                      <a:pt x="2055" y="2837"/>
                    </a:lnTo>
                    <a:lnTo>
                      <a:pt x="2050" y="2839"/>
                    </a:lnTo>
                    <a:lnTo>
                      <a:pt x="2044" y="2840"/>
                    </a:lnTo>
                    <a:lnTo>
                      <a:pt x="2038" y="2840"/>
                    </a:lnTo>
                    <a:lnTo>
                      <a:pt x="2031" y="2840"/>
                    </a:lnTo>
                    <a:lnTo>
                      <a:pt x="2017" y="2848"/>
                    </a:lnTo>
                    <a:lnTo>
                      <a:pt x="2003" y="2854"/>
                    </a:lnTo>
                    <a:lnTo>
                      <a:pt x="1999" y="2846"/>
                    </a:lnTo>
                    <a:lnTo>
                      <a:pt x="1996" y="2839"/>
                    </a:lnTo>
                    <a:lnTo>
                      <a:pt x="1990" y="2832"/>
                    </a:lnTo>
                    <a:lnTo>
                      <a:pt x="1984" y="2825"/>
                    </a:lnTo>
                    <a:lnTo>
                      <a:pt x="1983" y="2829"/>
                    </a:lnTo>
                    <a:lnTo>
                      <a:pt x="1982" y="2831"/>
                    </a:lnTo>
                    <a:lnTo>
                      <a:pt x="1982" y="2842"/>
                    </a:lnTo>
                    <a:lnTo>
                      <a:pt x="1980" y="2853"/>
                    </a:lnTo>
                    <a:lnTo>
                      <a:pt x="1978" y="2863"/>
                    </a:lnTo>
                    <a:lnTo>
                      <a:pt x="1974" y="2872"/>
                    </a:lnTo>
                    <a:lnTo>
                      <a:pt x="1969" y="2881"/>
                    </a:lnTo>
                    <a:lnTo>
                      <a:pt x="1963" y="2888"/>
                    </a:lnTo>
                    <a:lnTo>
                      <a:pt x="1954" y="2896"/>
                    </a:lnTo>
                    <a:lnTo>
                      <a:pt x="1945" y="2903"/>
                    </a:lnTo>
                    <a:lnTo>
                      <a:pt x="1933" y="2909"/>
                    </a:lnTo>
                    <a:lnTo>
                      <a:pt x="1920" y="2915"/>
                    </a:lnTo>
                    <a:lnTo>
                      <a:pt x="1916" y="2919"/>
                    </a:lnTo>
                    <a:lnTo>
                      <a:pt x="1912" y="2924"/>
                    </a:lnTo>
                    <a:lnTo>
                      <a:pt x="1909" y="2929"/>
                    </a:lnTo>
                    <a:lnTo>
                      <a:pt x="1908" y="2935"/>
                    </a:lnTo>
                    <a:lnTo>
                      <a:pt x="1908" y="2959"/>
                    </a:lnTo>
                    <a:lnTo>
                      <a:pt x="1911" y="2967"/>
                    </a:lnTo>
                    <a:lnTo>
                      <a:pt x="1914" y="2975"/>
                    </a:lnTo>
                    <a:lnTo>
                      <a:pt x="1914" y="2981"/>
                    </a:lnTo>
                    <a:lnTo>
                      <a:pt x="1913" y="2988"/>
                    </a:lnTo>
                    <a:lnTo>
                      <a:pt x="1912" y="2994"/>
                    </a:lnTo>
                    <a:lnTo>
                      <a:pt x="1910" y="2999"/>
                    </a:lnTo>
                    <a:lnTo>
                      <a:pt x="1905" y="3009"/>
                    </a:lnTo>
                    <a:lnTo>
                      <a:pt x="1899" y="3019"/>
                    </a:lnTo>
                    <a:lnTo>
                      <a:pt x="1881" y="3035"/>
                    </a:lnTo>
                    <a:lnTo>
                      <a:pt x="1863" y="3054"/>
                    </a:lnTo>
                    <a:lnTo>
                      <a:pt x="1847" y="3069"/>
                    </a:lnTo>
                    <a:lnTo>
                      <a:pt x="1832" y="3083"/>
                    </a:lnTo>
                    <a:lnTo>
                      <a:pt x="1817" y="3094"/>
                    </a:lnTo>
                    <a:lnTo>
                      <a:pt x="1803" y="3104"/>
                    </a:lnTo>
                    <a:lnTo>
                      <a:pt x="1773" y="3125"/>
                    </a:lnTo>
                    <a:lnTo>
                      <a:pt x="1738" y="3147"/>
                    </a:lnTo>
                    <a:lnTo>
                      <a:pt x="1728" y="3153"/>
                    </a:lnTo>
                    <a:lnTo>
                      <a:pt x="1721" y="3159"/>
                    </a:lnTo>
                    <a:lnTo>
                      <a:pt x="1714" y="3164"/>
                    </a:lnTo>
                    <a:lnTo>
                      <a:pt x="1708" y="3170"/>
                    </a:lnTo>
                    <a:lnTo>
                      <a:pt x="1698" y="3183"/>
                    </a:lnTo>
                    <a:lnTo>
                      <a:pt x="1688" y="3196"/>
                    </a:lnTo>
                    <a:lnTo>
                      <a:pt x="1679" y="3210"/>
                    </a:lnTo>
                    <a:lnTo>
                      <a:pt x="1669" y="3223"/>
                    </a:lnTo>
                    <a:lnTo>
                      <a:pt x="1658" y="3237"/>
                    </a:lnTo>
                    <a:lnTo>
                      <a:pt x="1644" y="3253"/>
                    </a:lnTo>
                    <a:lnTo>
                      <a:pt x="1636" y="3259"/>
                    </a:lnTo>
                    <a:lnTo>
                      <a:pt x="1622" y="3267"/>
                    </a:lnTo>
                    <a:lnTo>
                      <a:pt x="1606" y="3278"/>
                    </a:lnTo>
                    <a:lnTo>
                      <a:pt x="1587" y="3287"/>
                    </a:lnTo>
                    <a:lnTo>
                      <a:pt x="1571" y="3296"/>
                    </a:lnTo>
                    <a:lnTo>
                      <a:pt x="1556" y="3302"/>
                    </a:lnTo>
                    <a:lnTo>
                      <a:pt x="1547" y="3307"/>
                    </a:lnTo>
                    <a:lnTo>
                      <a:pt x="1544" y="3307"/>
                    </a:lnTo>
                    <a:lnTo>
                      <a:pt x="1550" y="3299"/>
                    </a:lnTo>
                    <a:lnTo>
                      <a:pt x="1555" y="3294"/>
                    </a:lnTo>
                    <a:lnTo>
                      <a:pt x="1561" y="3289"/>
                    </a:lnTo>
                    <a:lnTo>
                      <a:pt x="1568" y="3285"/>
                    </a:lnTo>
                    <a:lnTo>
                      <a:pt x="1580" y="3278"/>
                    </a:lnTo>
                    <a:lnTo>
                      <a:pt x="1594" y="3268"/>
                    </a:lnTo>
                    <a:lnTo>
                      <a:pt x="1605" y="3261"/>
                    </a:lnTo>
                    <a:lnTo>
                      <a:pt x="1613" y="3255"/>
                    </a:lnTo>
                    <a:lnTo>
                      <a:pt x="1620" y="3248"/>
                    </a:lnTo>
                    <a:lnTo>
                      <a:pt x="1627" y="3242"/>
                    </a:lnTo>
                    <a:lnTo>
                      <a:pt x="1642" y="3227"/>
                    </a:lnTo>
                    <a:lnTo>
                      <a:pt x="1657" y="3211"/>
                    </a:lnTo>
                    <a:lnTo>
                      <a:pt x="1665" y="3203"/>
                    </a:lnTo>
                    <a:lnTo>
                      <a:pt x="1670" y="3195"/>
                    </a:lnTo>
                    <a:lnTo>
                      <a:pt x="1675" y="3188"/>
                    </a:lnTo>
                    <a:lnTo>
                      <a:pt x="1679" y="3181"/>
                    </a:lnTo>
                    <a:lnTo>
                      <a:pt x="1683" y="3173"/>
                    </a:lnTo>
                    <a:lnTo>
                      <a:pt x="1689" y="3166"/>
                    </a:lnTo>
                    <a:lnTo>
                      <a:pt x="1695" y="3160"/>
                    </a:lnTo>
                    <a:lnTo>
                      <a:pt x="1704" y="3154"/>
                    </a:lnTo>
                    <a:lnTo>
                      <a:pt x="1721" y="3143"/>
                    </a:lnTo>
                    <a:lnTo>
                      <a:pt x="1737" y="3132"/>
                    </a:lnTo>
                    <a:lnTo>
                      <a:pt x="1744" y="3126"/>
                    </a:lnTo>
                    <a:lnTo>
                      <a:pt x="1748" y="3119"/>
                    </a:lnTo>
                    <a:lnTo>
                      <a:pt x="1750" y="3115"/>
                    </a:lnTo>
                    <a:lnTo>
                      <a:pt x="1751" y="3110"/>
                    </a:lnTo>
                    <a:lnTo>
                      <a:pt x="1752" y="3105"/>
                    </a:lnTo>
                    <a:lnTo>
                      <a:pt x="1753" y="3100"/>
                    </a:lnTo>
                    <a:lnTo>
                      <a:pt x="1753" y="3069"/>
                    </a:lnTo>
                    <a:lnTo>
                      <a:pt x="1753" y="3059"/>
                    </a:lnTo>
                    <a:lnTo>
                      <a:pt x="1752" y="3049"/>
                    </a:lnTo>
                    <a:lnTo>
                      <a:pt x="1751" y="3045"/>
                    </a:lnTo>
                    <a:lnTo>
                      <a:pt x="1749" y="3042"/>
                    </a:lnTo>
                    <a:lnTo>
                      <a:pt x="1746" y="3040"/>
                    </a:lnTo>
                    <a:lnTo>
                      <a:pt x="1742" y="3039"/>
                    </a:lnTo>
                    <a:lnTo>
                      <a:pt x="1737" y="3040"/>
                    </a:lnTo>
                    <a:lnTo>
                      <a:pt x="1733" y="3043"/>
                    </a:lnTo>
                    <a:lnTo>
                      <a:pt x="1730" y="3046"/>
                    </a:lnTo>
                    <a:lnTo>
                      <a:pt x="1727" y="3052"/>
                    </a:lnTo>
                    <a:lnTo>
                      <a:pt x="1724" y="3063"/>
                    </a:lnTo>
                    <a:lnTo>
                      <a:pt x="1722" y="3075"/>
                    </a:lnTo>
                    <a:lnTo>
                      <a:pt x="1719" y="3091"/>
                    </a:lnTo>
                    <a:lnTo>
                      <a:pt x="1717" y="3105"/>
                    </a:lnTo>
                    <a:lnTo>
                      <a:pt x="1716" y="3112"/>
                    </a:lnTo>
                    <a:lnTo>
                      <a:pt x="1714" y="3119"/>
                    </a:lnTo>
                    <a:lnTo>
                      <a:pt x="1711" y="3126"/>
                    </a:lnTo>
                    <a:lnTo>
                      <a:pt x="1708" y="3134"/>
                    </a:lnTo>
                    <a:lnTo>
                      <a:pt x="1699" y="3132"/>
                    </a:lnTo>
                    <a:lnTo>
                      <a:pt x="1695" y="3136"/>
                    </a:lnTo>
                    <a:lnTo>
                      <a:pt x="1692" y="3141"/>
                    </a:lnTo>
                    <a:lnTo>
                      <a:pt x="1691" y="3143"/>
                    </a:lnTo>
                    <a:lnTo>
                      <a:pt x="1690" y="3146"/>
                    </a:lnTo>
                    <a:lnTo>
                      <a:pt x="1688" y="3147"/>
                    </a:lnTo>
                    <a:lnTo>
                      <a:pt x="1685" y="3147"/>
                    </a:lnTo>
                    <a:lnTo>
                      <a:pt x="1683" y="3147"/>
                    </a:lnTo>
                    <a:lnTo>
                      <a:pt x="1680" y="3146"/>
                    </a:lnTo>
                    <a:lnTo>
                      <a:pt x="1678" y="3143"/>
                    </a:lnTo>
                    <a:lnTo>
                      <a:pt x="1677" y="3141"/>
                    </a:lnTo>
                    <a:lnTo>
                      <a:pt x="1675" y="3136"/>
                    </a:lnTo>
                    <a:lnTo>
                      <a:pt x="1674" y="3129"/>
                    </a:lnTo>
                    <a:lnTo>
                      <a:pt x="1673" y="3123"/>
                    </a:lnTo>
                    <a:lnTo>
                      <a:pt x="1671" y="3116"/>
                    </a:lnTo>
                    <a:lnTo>
                      <a:pt x="1670" y="3112"/>
                    </a:lnTo>
                    <a:lnTo>
                      <a:pt x="1668" y="3110"/>
                    </a:lnTo>
                    <a:lnTo>
                      <a:pt x="1666" y="3108"/>
                    </a:lnTo>
                    <a:lnTo>
                      <a:pt x="1664" y="3107"/>
                    </a:lnTo>
                    <a:lnTo>
                      <a:pt x="1649" y="3102"/>
                    </a:lnTo>
                    <a:lnTo>
                      <a:pt x="1637" y="3097"/>
                    </a:lnTo>
                    <a:lnTo>
                      <a:pt x="1632" y="3094"/>
                    </a:lnTo>
                    <a:lnTo>
                      <a:pt x="1626" y="3090"/>
                    </a:lnTo>
                    <a:lnTo>
                      <a:pt x="1625" y="3088"/>
                    </a:lnTo>
                    <a:lnTo>
                      <a:pt x="1624" y="3085"/>
                    </a:lnTo>
                    <a:lnTo>
                      <a:pt x="1623" y="3082"/>
                    </a:lnTo>
                    <a:lnTo>
                      <a:pt x="1623" y="3078"/>
                    </a:lnTo>
                    <a:lnTo>
                      <a:pt x="1623" y="3070"/>
                    </a:lnTo>
                    <a:lnTo>
                      <a:pt x="1624" y="3063"/>
                    </a:lnTo>
                    <a:lnTo>
                      <a:pt x="1626" y="3056"/>
                    </a:lnTo>
                    <a:lnTo>
                      <a:pt x="1628" y="3049"/>
                    </a:lnTo>
                    <a:lnTo>
                      <a:pt x="1631" y="3042"/>
                    </a:lnTo>
                    <a:lnTo>
                      <a:pt x="1633" y="3036"/>
                    </a:lnTo>
                    <a:lnTo>
                      <a:pt x="1634" y="3028"/>
                    </a:lnTo>
                    <a:lnTo>
                      <a:pt x="1634" y="3021"/>
                    </a:lnTo>
                    <a:lnTo>
                      <a:pt x="1633" y="3016"/>
                    </a:lnTo>
                    <a:lnTo>
                      <a:pt x="1629" y="3013"/>
                    </a:lnTo>
                    <a:lnTo>
                      <a:pt x="1623" y="3016"/>
                    </a:lnTo>
                    <a:lnTo>
                      <a:pt x="1617" y="3021"/>
                    </a:lnTo>
                    <a:lnTo>
                      <a:pt x="1613" y="3025"/>
                    </a:lnTo>
                    <a:lnTo>
                      <a:pt x="1609" y="3029"/>
                    </a:lnTo>
                    <a:lnTo>
                      <a:pt x="1606" y="3035"/>
                    </a:lnTo>
                    <a:lnTo>
                      <a:pt x="1604" y="3040"/>
                    </a:lnTo>
                    <a:lnTo>
                      <a:pt x="1603" y="3046"/>
                    </a:lnTo>
                    <a:lnTo>
                      <a:pt x="1602" y="3054"/>
                    </a:lnTo>
                    <a:lnTo>
                      <a:pt x="1603" y="3059"/>
                    </a:lnTo>
                    <a:lnTo>
                      <a:pt x="1604" y="3063"/>
                    </a:lnTo>
                    <a:lnTo>
                      <a:pt x="1606" y="3067"/>
                    </a:lnTo>
                    <a:lnTo>
                      <a:pt x="1607" y="3070"/>
                    </a:lnTo>
                    <a:lnTo>
                      <a:pt x="1609" y="3073"/>
                    </a:lnTo>
                    <a:lnTo>
                      <a:pt x="1611" y="3077"/>
                    </a:lnTo>
                    <a:lnTo>
                      <a:pt x="1612" y="3082"/>
                    </a:lnTo>
                    <a:lnTo>
                      <a:pt x="1612" y="3087"/>
                    </a:lnTo>
                    <a:lnTo>
                      <a:pt x="1612" y="3091"/>
                    </a:lnTo>
                    <a:lnTo>
                      <a:pt x="1611" y="3094"/>
                    </a:lnTo>
                    <a:lnTo>
                      <a:pt x="1609" y="3097"/>
                    </a:lnTo>
                    <a:lnTo>
                      <a:pt x="1607" y="3101"/>
                    </a:lnTo>
                    <a:lnTo>
                      <a:pt x="1602" y="3109"/>
                    </a:lnTo>
                    <a:lnTo>
                      <a:pt x="1598" y="3119"/>
                    </a:lnTo>
                    <a:lnTo>
                      <a:pt x="1596" y="3128"/>
                    </a:lnTo>
                    <a:lnTo>
                      <a:pt x="1596" y="3138"/>
                    </a:lnTo>
                    <a:lnTo>
                      <a:pt x="1596" y="3148"/>
                    </a:lnTo>
                    <a:lnTo>
                      <a:pt x="1598" y="3155"/>
                    </a:lnTo>
                    <a:lnTo>
                      <a:pt x="1599" y="3162"/>
                    </a:lnTo>
                    <a:lnTo>
                      <a:pt x="1600" y="3170"/>
                    </a:lnTo>
                    <a:lnTo>
                      <a:pt x="1600" y="3177"/>
                    </a:lnTo>
                    <a:lnTo>
                      <a:pt x="1598" y="3182"/>
                    </a:lnTo>
                    <a:lnTo>
                      <a:pt x="1595" y="3186"/>
                    </a:lnTo>
                    <a:lnTo>
                      <a:pt x="1592" y="3191"/>
                    </a:lnTo>
                    <a:lnTo>
                      <a:pt x="1584" y="3174"/>
                    </a:lnTo>
                    <a:lnTo>
                      <a:pt x="1579" y="3160"/>
                    </a:lnTo>
                    <a:lnTo>
                      <a:pt x="1574" y="3144"/>
                    </a:lnTo>
                    <a:lnTo>
                      <a:pt x="1569" y="3127"/>
                    </a:lnTo>
                    <a:lnTo>
                      <a:pt x="1567" y="3132"/>
                    </a:lnTo>
                    <a:lnTo>
                      <a:pt x="1573" y="3197"/>
                    </a:lnTo>
                    <a:lnTo>
                      <a:pt x="1573" y="3203"/>
                    </a:lnTo>
                    <a:lnTo>
                      <a:pt x="1574" y="3207"/>
                    </a:lnTo>
                    <a:lnTo>
                      <a:pt x="1576" y="3212"/>
                    </a:lnTo>
                    <a:lnTo>
                      <a:pt x="1577" y="3216"/>
                    </a:lnTo>
                    <a:lnTo>
                      <a:pt x="1579" y="3220"/>
                    </a:lnTo>
                    <a:lnTo>
                      <a:pt x="1580" y="3226"/>
                    </a:lnTo>
                    <a:lnTo>
                      <a:pt x="1581" y="3233"/>
                    </a:lnTo>
                    <a:lnTo>
                      <a:pt x="1581" y="3243"/>
                    </a:lnTo>
                    <a:lnTo>
                      <a:pt x="1575" y="3236"/>
                    </a:lnTo>
                    <a:lnTo>
                      <a:pt x="1571" y="3229"/>
                    </a:lnTo>
                    <a:lnTo>
                      <a:pt x="1567" y="3223"/>
                    </a:lnTo>
                    <a:lnTo>
                      <a:pt x="1562" y="3216"/>
                    </a:lnTo>
                    <a:lnTo>
                      <a:pt x="1558" y="3210"/>
                    </a:lnTo>
                    <a:lnTo>
                      <a:pt x="1554" y="3204"/>
                    </a:lnTo>
                    <a:lnTo>
                      <a:pt x="1551" y="3202"/>
                    </a:lnTo>
                    <a:lnTo>
                      <a:pt x="1548" y="3201"/>
                    </a:lnTo>
                    <a:lnTo>
                      <a:pt x="1545" y="3200"/>
                    </a:lnTo>
                    <a:lnTo>
                      <a:pt x="1541" y="3200"/>
                    </a:lnTo>
                    <a:lnTo>
                      <a:pt x="1529" y="3201"/>
                    </a:lnTo>
                    <a:lnTo>
                      <a:pt x="1520" y="3204"/>
                    </a:lnTo>
                    <a:lnTo>
                      <a:pt x="1512" y="3209"/>
                    </a:lnTo>
                    <a:lnTo>
                      <a:pt x="1504" y="3213"/>
                    </a:lnTo>
                    <a:lnTo>
                      <a:pt x="1495" y="3218"/>
                    </a:lnTo>
                    <a:lnTo>
                      <a:pt x="1486" y="3222"/>
                    </a:lnTo>
                    <a:lnTo>
                      <a:pt x="1477" y="3225"/>
                    </a:lnTo>
                    <a:lnTo>
                      <a:pt x="1467" y="3226"/>
                    </a:lnTo>
                    <a:lnTo>
                      <a:pt x="1459" y="3226"/>
                    </a:lnTo>
                    <a:lnTo>
                      <a:pt x="1452" y="3226"/>
                    </a:lnTo>
                    <a:lnTo>
                      <a:pt x="1451" y="3232"/>
                    </a:lnTo>
                    <a:lnTo>
                      <a:pt x="1452" y="3238"/>
                    </a:lnTo>
                    <a:lnTo>
                      <a:pt x="1452" y="3246"/>
                    </a:lnTo>
                    <a:lnTo>
                      <a:pt x="1453" y="3251"/>
                    </a:lnTo>
                    <a:lnTo>
                      <a:pt x="1455" y="3257"/>
                    </a:lnTo>
                    <a:lnTo>
                      <a:pt x="1457" y="3262"/>
                    </a:lnTo>
                    <a:lnTo>
                      <a:pt x="1460" y="3266"/>
                    </a:lnTo>
                    <a:lnTo>
                      <a:pt x="1463" y="3270"/>
                    </a:lnTo>
                    <a:lnTo>
                      <a:pt x="1468" y="3275"/>
                    </a:lnTo>
                    <a:lnTo>
                      <a:pt x="1472" y="3279"/>
                    </a:lnTo>
                    <a:lnTo>
                      <a:pt x="1481" y="3286"/>
                    </a:lnTo>
                    <a:lnTo>
                      <a:pt x="1492" y="3292"/>
                    </a:lnTo>
                    <a:lnTo>
                      <a:pt x="1504" y="3298"/>
                    </a:lnTo>
                    <a:lnTo>
                      <a:pt x="1516" y="3304"/>
                    </a:lnTo>
                    <a:lnTo>
                      <a:pt x="1508" y="3314"/>
                    </a:lnTo>
                    <a:lnTo>
                      <a:pt x="1499" y="3322"/>
                    </a:lnTo>
                    <a:lnTo>
                      <a:pt x="1490" y="3329"/>
                    </a:lnTo>
                    <a:lnTo>
                      <a:pt x="1482" y="3340"/>
                    </a:lnTo>
                    <a:lnTo>
                      <a:pt x="1495" y="3340"/>
                    </a:lnTo>
                    <a:lnTo>
                      <a:pt x="1508" y="3336"/>
                    </a:lnTo>
                    <a:lnTo>
                      <a:pt x="1519" y="3332"/>
                    </a:lnTo>
                    <a:lnTo>
                      <a:pt x="1521" y="3332"/>
                    </a:lnTo>
                    <a:lnTo>
                      <a:pt x="1521" y="3333"/>
                    </a:lnTo>
                    <a:lnTo>
                      <a:pt x="1520" y="3335"/>
                    </a:lnTo>
                    <a:lnTo>
                      <a:pt x="1518" y="3337"/>
                    </a:lnTo>
                    <a:lnTo>
                      <a:pt x="1510" y="3341"/>
                    </a:lnTo>
                    <a:lnTo>
                      <a:pt x="1501" y="3346"/>
                    </a:lnTo>
                    <a:lnTo>
                      <a:pt x="1480" y="3357"/>
                    </a:lnTo>
                    <a:lnTo>
                      <a:pt x="1468" y="3364"/>
                    </a:lnTo>
                    <a:lnTo>
                      <a:pt x="1450" y="3386"/>
                    </a:lnTo>
                    <a:lnTo>
                      <a:pt x="1431" y="3405"/>
                    </a:lnTo>
                    <a:lnTo>
                      <a:pt x="1427" y="3409"/>
                    </a:lnTo>
                    <a:lnTo>
                      <a:pt x="1422" y="3412"/>
                    </a:lnTo>
                    <a:lnTo>
                      <a:pt x="1417" y="3415"/>
                    </a:lnTo>
                    <a:lnTo>
                      <a:pt x="1412" y="3417"/>
                    </a:lnTo>
                    <a:lnTo>
                      <a:pt x="1406" y="3419"/>
                    </a:lnTo>
                    <a:lnTo>
                      <a:pt x="1400" y="3420"/>
                    </a:lnTo>
                    <a:lnTo>
                      <a:pt x="1393" y="3421"/>
                    </a:lnTo>
                    <a:lnTo>
                      <a:pt x="1386" y="3421"/>
                    </a:lnTo>
                    <a:lnTo>
                      <a:pt x="1389" y="3415"/>
                    </a:lnTo>
                    <a:lnTo>
                      <a:pt x="1392" y="3412"/>
                    </a:lnTo>
                    <a:lnTo>
                      <a:pt x="1396" y="3409"/>
                    </a:lnTo>
                    <a:lnTo>
                      <a:pt x="1402" y="3406"/>
                    </a:lnTo>
                    <a:lnTo>
                      <a:pt x="1412" y="3402"/>
                    </a:lnTo>
                    <a:lnTo>
                      <a:pt x="1423" y="3396"/>
                    </a:lnTo>
                    <a:lnTo>
                      <a:pt x="1436" y="3386"/>
                    </a:lnTo>
                    <a:lnTo>
                      <a:pt x="1447" y="3377"/>
                    </a:lnTo>
                    <a:lnTo>
                      <a:pt x="1452" y="3372"/>
                    </a:lnTo>
                    <a:lnTo>
                      <a:pt x="1456" y="3365"/>
                    </a:lnTo>
                    <a:lnTo>
                      <a:pt x="1460" y="3359"/>
                    </a:lnTo>
                    <a:lnTo>
                      <a:pt x="1462" y="3351"/>
                    </a:lnTo>
                    <a:lnTo>
                      <a:pt x="1460" y="3350"/>
                    </a:lnTo>
                    <a:lnTo>
                      <a:pt x="1458" y="3349"/>
                    </a:lnTo>
                    <a:lnTo>
                      <a:pt x="1454" y="3349"/>
                    </a:lnTo>
                    <a:lnTo>
                      <a:pt x="1450" y="3350"/>
                    </a:lnTo>
                    <a:lnTo>
                      <a:pt x="1447" y="3351"/>
                    </a:lnTo>
                    <a:lnTo>
                      <a:pt x="1444" y="3353"/>
                    </a:lnTo>
                    <a:lnTo>
                      <a:pt x="1438" y="3358"/>
                    </a:lnTo>
                    <a:lnTo>
                      <a:pt x="1433" y="3363"/>
                    </a:lnTo>
                    <a:lnTo>
                      <a:pt x="1427" y="3369"/>
                    </a:lnTo>
                    <a:lnTo>
                      <a:pt x="1421" y="3374"/>
                    </a:lnTo>
                    <a:lnTo>
                      <a:pt x="1418" y="3376"/>
                    </a:lnTo>
                    <a:lnTo>
                      <a:pt x="1415" y="3377"/>
                    </a:lnTo>
                    <a:lnTo>
                      <a:pt x="1411" y="3378"/>
                    </a:lnTo>
                    <a:lnTo>
                      <a:pt x="1407" y="3378"/>
                    </a:lnTo>
                    <a:lnTo>
                      <a:pt x="1402" y="3378"/>
                    </a:lnTo>
                    <a:lnTo>
                      <a:pt x="1395" y="3377"/>
                    </a:lnTo>
                    <a:lnTo>
                      <a:pt x="1393" y="3354"/>
                    </a:lnTo>
                    <a:lnTo>
                      <a:pt x="1390" y="3335"/>
                    </a:lnTo>
                    <a:lnTo>
                      <a:pt x="1387" y="3325"/>
                    </a:lnTo>
                    <a:lnTo>
                      <a:pt x="1384" y="3316"/>
                    </a:lnTo>
                    <a:lnTo>
                      <a:pt x="1380" y="3306"/>
                    </a:lnTo>
                    <a:lnTo>
                      <a:pt x="1375" y="3295"/>
                    </a:lnTo>
                    <a:lnTo>
                      <a:pt x="1371" y="3291"/>
                    </a:lnTo>
                    <a:lnTo>
                      <a:pt x="1368" y="3288"/>
                    </a:lnTo>
                    <a:lnTo>
                      <a:pt x="1362" y="3284"/>
                    </a:lnTo>
                    <a:lnTo>
                      <a:pt x="1358" y="3282"/>
                    </a:lnTo>
                    <a:lnTo>
                      <a:pt x="1355" y="3279"/>
                    </a:lnTo>
                    <a:lnTo>
                      <a:pt x="1351" y="3275"/>
                    </a:lnTo>
                    <a:lnTo>
                      <a:pt x="1349" y="3270"/>
                    </a:lnTo>
                    <a:lnTo>
                      <a:pt x="1349" y="3265"/>
                    </a:lnTo>
                    <a:lnTo>
                      <a:pt x="1353" y="3253"/>
                    </a:lnTo>
                    <a:lnTo>
                      <a:pt x="1357" y="3239"/>
                    </a:lnTo>
                    <a:lnTo>
                      <a:pt x="1355" y="3230"/>
                    </a:lnTo>
                    <a:lnTo>
                      <a:pt x="1353" y="3223"/>
                    </a:lnTo>
                    <a:lnTo>
                      <a:pt x="1350" y="3215"/>
                    </a:lnTo>
                    <a:lnTo>
                      <a:pt x="1349" y="3206"/>
                    </a:lnTo>
                    <a:lnTo>
                      <a:pt x="1350" y="3196"/>
                    </a:lnTo>
                    <a:lnTo>
                      <a:pt x="1353" y="3188"/>
                    </a:lnTo>
                    <a:lnTo>
                      <a:pt x="1355" y="3179"/>
                    </a:lnTo>
                    <a:lnTo>
                      <a:pt x="1357" y="3169"/>
                    </a:lnTo>
                    <a:lnTo>
                      <a:pt x="1356" y="3164"/>
                    </a:lnTo>
                    <a:lnTo>
                      <a:pt x="1355" y="3160"/>
                    </a:lnTo>
                    <a:lnTo>
                      <a:pt x="1354" y="3156"/>
                    </a:lnTo>
                    <a:lnTo>
                      <a:pt x="1352" y="3153"/>
                    </a:lnTo>
                    <a:lnTo>
                      <a:pt x="1348" y="3147"/>
                    </a:lnTo>
                    <a:lnTo>
                      <a:pt x="1342" y="3140"/>
                    </a:lnTo>
                    <a:lnTo>
                      <a:pt x="1335" y="3135"/>
                    </a:lnTo>
                    <a:lnTo>
                      <a:pt x="1328" y="3130"/>
                    </a:lnTo>
                    <a:lnTo>
                      <a:pt x="1321" y="3124"/>
                    </a:lnTo>
                    <a:lnTo>
                      <a:pt x="1315" y="3117"/>
                    </a:lnTo>
                    <a:lnTo>
                      <a:pt x="1315" y="3131"/>
                    </a:lnTo>
                    <a:lnTo>
                      <a:pt x="1316" y="3146"/>
                    </a:lnTo>
                    <a:lnTo>
                      <a:pt x="1316" y="3162"/>
                    </a:lnTo>
                    <a:lnTo>
                      <a:pt x="1316" y="3178"/>
                    </a:lnTo>
                    <a:lnTo>
                      <a:pt x="1315" y="3185"/>
                    </a:lnTo>
                    <a:lnTo>
                      <a:pt x="1314" y="3192"/>
                    </a:lnTo>
                    <a:lnTo>
                      <a:pt x="1311" y="3199"/>
                    </a:lnTo>
                    <a:lnTo>
                      <a:pt x="1308" y="3207"/>
                    </a:lnTo>
                    <a:lnTo>
                      <a:pt x="1303" y="3215"/>
                    </a:lnTo>
                    <a:lnTo>
                      <a:pt x="1298" y="3221"/>
                    </a:lnTo>
                    <a:lnTo>
                      <a:pt x="1296" y="3225"/>
                    </a:lnTo>
                    <a:lnTo>
                      <a:pt x="1294" y="3228"/>
                    </a:lnTo>
                    <a:lnTo>
                      <a:pt x="1293" y="3232"/>
                    </a:lnTo>
                    <a:lnTo>
                      <a:pt x="1293" y="3236"/>
                    </a:lnTo>
                    <a:lnTo>
                      <a:pt x="1294" y="3243"/>
                    </a:lnTo>
                    <a:lnTo>
                      <a:pt x="1296" y="3248"/>
                    </a:lnTo>
                    <a:lnTo>
                      <a:pt x="1299" y="3253"/>
                    </a:lnTo>
                    <a:lnTo>
                      <a:pt x="1304" y="3258"/>
                    </a:lnTo>
                    <a:lnTo>
                      <a:pt x="1293" y="3265"/>
                    </a:lnTo>
                    <a:lnTo>
                      <a:pt x="1286" y="3274"/>
                    </a:lnTo>
                    <a:lnTo>
                      <a:pt x="1279" y="3283"/>
                    </a:lnTo>
                    <a:lnTo>
                      <a:pt x="1275" y="3293"/>
                    </a:lnTo>
                    <a:lnTo>
                      <a:pt x="1271" y="3304"/>
                    </a:lnTo>
                    <a:lnTo>
                      <a:pt x="1269" y="3315"/>
                    </a:lnTo>
                    <a:lnTo>
                      <a:pt x="1268" y="3327"/>
                    </a:lnTo>
                    <a:lnTo>
                      <a:pt x="1268" y="3340"/>
                    </a:lnTo>
                    <a:lnTo>
                      <a:pt x="1268" y="3407"/>
                    </a:lnTo>
                    <a:lnTo>
                      <a:pt x="1266" y="3418"/>
                    </a:lnTo>
                    <a:lnTo>
                      <a:pt x="1264" y="3427"/>
                    </a:lnTo>
                    <a:lnTo>
                      <a:pt x="1262" y="3438"/>
                    </a:lnTo>
                    <a:lnTo>
                      <a:pt x="1261" y="3449"/>
                    </a:lnTo>
                    <a:lnTo>
                      <a:pt x="1261" y="3453"/>
                    </a:lnTo>
                    <a:lnTo>
                      <a:pt x="1262" y="3457"/>
                    </a:lnTo>
                    <a:lnTo>
                      <a:pt x="1264" y="3462"/>
                    </a:lnTo>
                    <a:lnTo>
                      <a:pt x="1268" y="3465"/>
                    </a:lnTo>
                    <a:lnTo>
                      <a:pt x="1270" y="3468"/>
                    </a:lnTo>
                    <a:lnTo>
                      <a:pt x="1274" y="3470"/>
                    </a:lnTo>
                    <a:lnTo>
                      <a:pt x="1278" y="3472"/>
                    </a:lnTo>
                    <a:lnTo>
                      <a:pt x="1282" y="3473"/>
                    </a:lnTo>
                    <a:lnTo>
                      <a:pt x="1291" y="3475"/>
                    </a:lnTo>
                    <a:lnTo>
                      <a:pt x="1302" y="3477"/>
                    </a:lnTo>
                    <a:lnTo>
                      <a:pt x="1312" y="3477"/>
                    </a:lnTo>
                    <a:lnTo>
                      <a:pt x="1321" y="3477"/>
                    </a:lnTo>
                    <a:lnTo>
                      <a:pt x="1320" y="3492"/>
                    </a:lnTo>
                    <a:lnTo>
                      <a:pt x="1318" y="3507"/>
                    </a:lnTo>
                    <a:lnTo>
                      <a:pt x="1311" y="3512"/>
                    </a:lnTo>
                    <a:lnTo>
                      <a:pt x="1304" y="3516"/>
                    </a:lnTo>
                    <a:lnTo>
                      <a:pt x="1297" y="3521"/>
                    </a:lnTo>
                    <a:lnTo>
                      <a:pt x="1292" y="3529"/>
                    </a:lnTo>
                    <a:lnTo>
                      <a:pt x="1287" y="3536"/>
                    </a:lnTo>
                    <a:lnTo>
                      <a:pt x="1283" y="3542"/>
                    </a:lnTo>
                    <a:lnTo>
                      <a:pt x="1281" y="3545"/>
                    </a:lnTo>
                    <a:lnTo>
                      <a:pt x="1278" y="3547"/>
                    </a:lnTo>
                    <a:lnTo>
                      <a:pt x="1275" y="3549"/>
                    </a:lnTo>
                    <a:lnTo>
                      <a:pt x="1271" y="3549"/>
                    </a:lnTo>
                    <a:lnTo>
                      <a:pt x="1261" y="3548"/>
                    </a:lnTo>
                    <a:lnTo>
                      <a:pt x="1252" y="3546"/>
                    </a:lnTo>
                    <a:lnTo>
                      <a:pt x="1257" y="3557"/>
                    </a:lnTo>
                    <a:lnTo>
                      <a:pt x="1263" y="3566"/>
                    </a:lnTo>
                    <a:lnTo>
                      <a:pt x="1270" y="3574"/>
                    </a:lnTo>
                    <a:lnTo>
                      <a:pt x="1277" y="3581"/>
                    </a:lnTo>
                    <a:lnTo>
                      <a:pt x="1290" y="3597"/>
                    </a:lnTo>
                    <a:lnTo>
                      <a:pt x="1304" y="3615"/>
                    </a:lnTo>
                    <a:lnTo>
                      <a:pt x="1308" y="3609"/>
                    </a:lnTo>
                    <a:lnTo>
                      <a:pt x="1311" y="3602"/>
                    </a:lnTo>
                    <a:lnTo>
                      <a:pt x="1312" y="3595"/>
                    </a:lnTo>
                    <a:lnTo>
                      <a:pt x="1314" y="3587"/>
                    </a:lnTo>
                    <a:lnTo>
                      <a:pt x="1315" y="3580"/>
                    </a:lnTo>
                    <a:lnTo>
                      <a:pt x="1317" y="3574"/>
                    </a:lnTo>
                    <a:lnTo>
                      <a:pt x="1319" y="3571"/>
                    </a:lnTo>
                    <a:lnTo>
                      <a:pt x="1321" y="3569"/>
                    </a:lnTo>
                    <a:lnTo>
                      <a:pt x="1324" y="3566"/>
                    </a:lnTo>
                    <a:lnTo>
                      <a:pt x="1327" y="3564"/>
                    </a:lnTo>
                    <a:lnTo>
                      <a:pt x="1332" y="3573"/>
                    </a:lnTo>
                    <a:lnTo>
                      <a:pt x="1336" y="3581"/>
                    </a:lnTo>
                    <a:lnTo>
                      <a:pt x="1338" y="3591"/>
                    </a:lnTo>
                    <a:lnTo>
                      <a:pt x="1341" y="3601"/>
                    </a:lnTo>
                    <a:lnTo>
                      <a:pt x="1345" y="3599"/>
                    </a:lnTo>
                    <a:lnTo>
                      <a:pt x="1349" y="3596"/>
                    </a:lnTo>
                    <a:lnTo>
                      <a:pt x="1353" y="3594"/>
                    </a:lnTo>
                    <a:lnTo>
                      <a:pt x="1358" y="3593"/>
                    </a:lnTo>
                    <a:lnTo>
                      <a:pt x="1360" y="3594"/>
                    </a:lnTo>
                    <a:lnTo>
                      <a:pt x="1362" y="3595"/>
                    </a:lnTo>
                    <a:lnTo>
                      <a:pt x="1364" y="3596"/>
                    </a:lnTo>
                    <a:lnTo>
                      <a:pt x="1367" y="3598"/>
                    </a:lnTo>
                    <a:lnTo>
                      <a:pt x="1370" y="3602"/>
                    </a:lnTo>
                    <a:lnTo>
                      <a:pt x="1372" y="3607"/>
                    </a:lnTo>
                    <a:lnTo>
                      <a:pt x="1377" y="3598"/>
                    </a:lnTo>
                    <a:lnTo>
                      <a:pt x="1381" y="3590"/>
                    </a:lnTo>
                    <a:lnTo>
                      <a:pt x="1386" y="3581"/>
                    </a:lnTo>
                    <a:lnTo>
                      <a:pt x="1392" y="3573"/>
                    </a:lnTo>
                    <a:lnTo>
                      <a:pt x="1397" y="3581"/>
                    </a:lnTo>
                    <a:lnTo>
                      <a:pt x="1401" y="3591"/>
                    </a:lnTo>
                    <a:lnTo>
                      <a:pt x="1403" y="3599"/>
                    </a:lnTo>
                    <a:lnTo>
                      <a:pt x="1404" y="3607"/>
                    </a:lnTo>
                    <a:lnTo>
                      <a:pt x="1406" y="3625"/>
                    </a:lnTo>
                    <a:lnTo>
                      <a:pt x="1408" y="3644"/>
                    </a:lnTo>
                    <a:lnTo>
                      <a:pt x="1403" y="3665"/>
                    </a:lnTo>
                    <a:lnTo>
                      <a:pt x="1403" y="3689"/>
                    </a:lnTo>
                    <a:lnTo>
                      <a:pt x="1404" y="3705"/>
                    </a:lnTo>
                    <a:lnTo>
                      <a:pt x="1407" y="3720"/>
                    </a:lnTo>
                    <a:lnTo>
                      <a:pt x="1410" y="3734"/>
                    </a:lnTo>
                    <a:lnTo>
                      <a:pt x="1411" y="3751"/>
                    </a:lnTo>
                    <a:lnTo>
                      <a:pt x="1411" y="3773"/>
                    </a:lnTo>
                    <a:lnTo>
                      <a:pt x="1410" y="3785"/>
                    </a:lnTo>
                    <a:lnTo>
                      <a:pt x="1408" y="3795"/>
                    </a:lnTo>
                    <a:lnTo>
                      <a:pt x="1405" y="3805"/>
                    </a:lnTo>
                    <a:lnTo>
                      <a:pt x="1401" y="3815"/>
                    </a:lnTo>
                    <a:lnTo>
                      <a:pt x="1396" y="3824"/>
                    </a:lnTo>
                    <a:lnTo>
                      <a:pt x="1393" y="3833"/>
                    </a:lnTo>
                    <a:lnTo>
                      <a:pt x="1390" y="3844"/>
                    </a:lnTo>
                    <a:lnTo>
                      <a:pt x="1390" y="3855"/>
                    </a:lnTo>
                    <a:lnTo>
                      <a:pt x="1390" y="3871"/>
                    </a:lnTo>
                    <a:lnTo>
                      <a:pt x="1389" y="3877"/>
                    </a:lnTo>
                    <a:lnTo>
                      <a:pt x="1387" y="3880"/>
                    </a:lnTo>
                    <a:lnTo>
                      <a:pt x="1385" y="3883"/>
                    </a:lnTo>
                    <a:lnTo>
                      <a:pt x="1381" y="3885"/>
                    </a:lnTo>
                    <a:lnTo>
                      <a:pt x="1372" y="3888"/>
                    </a:lnTo>
                    <a:lnTo>
                      <a:pt x="1361" y="3891"/>
                    </a:lnTo>
                    <a:lnTo>
                      <a:pt x="1361" y="3891"/>
                    </a:lnTo>
                    <a:lnTo>
                      <a:pt x="1350" y="3858"/>
                    </a:lnTo>
                    <a:lnTo>
                      <a:pt x="1339" y="3829"/>
                    </a:lnTo>
                    <a:lnTo>
                      <a:pt x="1332" y="3815"/>
                    </a:lnTo>
                    <a:lnTo>
                      <a:pt x="1325" y="3801"/>
                    </a:lnTo>
                    <a:lnTo>
                      <a:pt x="1318" y="3789"/>
                    </a:lnTo>
                    <a:lnTo>
                      <a:pt x="1311" y="3776"/>
                    </a:lnTo>
                    <a:lnTo>
                      <a:pt x="1303" y="3764"/>
                    </a:lnTo>
                    <a:lnTo>
                      <a:pt x="1294" y="3753"/>
                    </a:lnTo>
                    <a:lnTo>
                      <a:pt x="1285" y="3741"/>
                    </a:lnTo>
                    <a:lnTo>
                      <a:pt x="1275" y="3730"/>
                    </a:lnTo>
                    <a:lnTo>
                      <a:pt x="1263" y="3720"/>
                    </a:lnTo>
                    <a:lnTo>
                      <a:pt x="1252" y="3709"/>
                    </a:lnTo>
                    <a:lnTo>
                      <a:pt x="1240" y="3698"/>
                    </a:lnTo>
                    <a:lnTo>
                      <a:pt x="1226" y="3688"/>
                    </a:lnTo>
                    <a:lnTo>
                      <a:pt x="1194" y="3663"/>
                    </a:lnTo>
                    <a:lnTo>
                      <a:pt x="1164" y="3641"/>
                    </a:lnTo>
                    <a:lnTo>
                      <a:pt x="1157" y="3637"/>
                    </a:lnTo>
                    <a:lnTo>
                      <a:pt x="1149" y="3633"/>
                    </a:lnTo>
                    <a:lnTo>
                      <a:pt x="1141" y="3630"/>
                    </a:lnTo>
                    <a:lnTo>
                      <a:pt x="1132" y="3627"/>
                    </a:lnTo>
                    <a:lnTo>
                      <a:pt x="1123" y="3625"/>
                    </a:lnTo>
                    <a:lnTo>
                      <a:pt x="1114" y="3623"/>
                    </a:lnTo>
                    <a:lnTo>
                      <a:pt x="1105" y="3622"/>
                    </a:lnTo>
                    <a:lnTo>
                      <a:pt x="1094" y="3622"/>
                    </a:lnTo>
                    <a:lnTo>
                      <a:pt x="1068" y="3622"/>
                    </a:lnTo>
                    <a:lnTo>
                      <a:pt x="1045" y="3623"/>
                    </a:lnTo>
                    <a:lnTo>
                      <a:pt x="1023" y="3624"/>
                    </a:lnTo>
                    <a:lnTo>
                      <a:pt x="1001" y="3627"/>
                    </a:lnTo>
                    <a:lnTo>
                      <a:pt x="980" y="3630"/>
                    </a:lnTo>
                    <a:lnTo>
                      <a:pt x="959" y="3635"/>
                    </a:lnTo>
                    <a:lnTo>
                      <a:pt x="936" y="3641"/>
                    </a:lnTo>
                    <a:lnTo>
                      <a:pt x="913" y="3649"/>
                    </a:lnTo>
                    <a:lnTo>
                      <a:pt x="903" y="3655"/>
                    </a:lnTo>
                    <a:lnTo>
                      <a:pt x="896" y="3660"/>
                    </a:lnTo>
                    <a:lnTo>
                      <a:pt x="890" y="3666"/>
                    </a:lnTo>
                    <a:lnTo>
                      <a:pt x="884" y="3672"/>
                    </a:lnTo>
                    <a:lnTo>
                      <a:pt x="878" y="3678"/>
                    </a:lnTo>
                    <a:lnTo>
                      <a:pt x="870" y="3683"/>
                    </a:lnTo>
                    <a:lnTo>
                      <a:pt x="866" y="3685"/>
                    </a:lnTo>
                    <a:lnTo>
                      <a:pt x="862" y="3687"/>
                    </a:lnTo>
                    <a:lnTo>
                      <a:pt x="858" y="3688"/>
                    </a:lnTo>
                    <a:lnTo>
                      <a:pt x="853" y="3688"/>
                    </a:lnTo>
                    <a:lnTo>
                      <a:pt x="843" y="3687"/>
                    </a:lnTo>
                    <a:lnTo>
                      <a:pt x="833" y="3685"/>
                    </a:lnTo>
                    <a:lnTo>
                      <a:pt x="824" y="3681"/>
                    </a:lnTo>
                    <a:lnTo>
                      <a:pt x="816" y="3678"/>
                    </a:lnTo>
                    <a:lnTo>
                      <a:pt x="808" y="3674"/>
                    </a:lnTo>
                    <a:lnTo>
                      <a:pt x="798" y="3671"/>
                    </a:lnTo>
                    <a:lnTo>
                      <a:pt x="789" y="3669"/>
                    </a:lnTo>
                    <a:lnTo>
                      <a:pt x="778" y="3669"/>
                    </a:lnTo>
                    <a:lnTo>
                      <a:pt x="768" y="3669"/>
                    </a:lnTo>
                    <a:lnTo>
                      <a:pt x="760" y="3672"/>
                    </a:lnTo>
                    <a:lnTo>
                      <a:pt x="753" y="3676"/>
                    </a:lnTo>
                    <a:lnTo>
                      <a:pt x="746" y="3680"/>
                    </a:lnTo>
                    <a:lnTo>
                      <a:pt x="732" y="3693"/>
                    </a:lnTo>
                    <a:lnTo>
                      <a:pt x="719" y="3706"/>
                    </a:lnTo>
                    <a:lnTo>
                      <a:pt x="701" y="3724"/>
                    </a:lnTo>
                    <a:lnTo>
                      <a:pt x="686" y="3739"/>
                    </a:lnTo>
                    <a:lnTo>
                      <a:pt x="679" y="3748"/>
                    </a:lnTo>
                    <a:lnTo>
                      <a:pt x="672" y="3758"/>
                    </a:lnTo>
                    <a:lnTo>
                      <a:pt x="667" y="3768"/>
                    </a:lnTo>
                    <a:lnTo>
                      <a:pt x="662" y="3780"/>
                    </a:lnTo>
                    <a:lnTo>
                      <a:pt x="660" y="3787"/>
                    </a:lnTo>
                    <a:lnTo>
                      <a:pt x="657" y="3793"/>
                    </a:lnTo>
                    <a:lnTo>
                      <a:pt x="653" y="3798"/>
                    </a:lnTo>
                    <a:lnTo>
                      <a:pt x="649" y="3803"/>
                    </a:lnTo>
                    <a:lnTo>
                      <a:pt x="644" y="3807"/>
                    </a:lnTo>
                    <a:lnTo>
                      <a:pt x="637" y="3811"/>
                    </a:lnTo>
                    <a:lnTo>
                      <a:pt x="631" y="3812"/>
                    </a:lnTo>
                    <a:lnTo>
                      <a:pt x="625" y="3813"/>
                    </a:lnTo>
                    <a:lnTo>
                      <a:pt x="617" y="3813"/>
                    </a:lnTo>
                    <a:lnTo>
                      <a:pt x="610" y="3812"/>
                    </a:lnTo>
                    <a:lnTo>
                      <a:pt x="602" y="3810"/>
                    </a:lnTo>
                    <a:lnTo>
                      <a:pt x="596" y="3808"/>
                    </a:lnTo>
                    <a:lnTo>
                      <a:pt x="585" y="3802"/>
                    </a:lnTo>
                    <a:lnTo>
                      <a:pt x="573" y="3796"/>
                    </a:lnTo>
                    <a:lnTo>
                      <a:pt x="552" y="3780"/>
                    </a:lnTo>
                    <a:lnTo>
                      <a:pt x="528" y="3761"/>
                    </a:lnTo>
                    <a:lnTo>
                      <a:pt x="521" y="3770"/>
                    </a:lnTo>
                    <a:lnTo>
                      <a:pt x="514" y="3779"/>
                    </a:lnTo>
                    <a:lnTo>
                      <a:pt x="510" y="3783"/>
                    </a:lnTo>
                    <a:lnTo>
                      <a:pt x="507" y="3788"/>
                    </a:lnTo>
                    <a:lnTo>
                      <a:pt x="505" y="3793"/>
                    </a:lnTo>
                    <a:lnTo>
                      <a:pt x="504" y="3798"/>
                    </a:lnTo>
                    <a:lnTo>
                      <a:pt x="505" y="3807"/>
                    </a:lnTo>
                    <a:lnTo>
                      <a:pt x="507" y="3816"/>
                    </a:lnTo>
                    <a:lnTo>
                      <a:pt x="511" y="3823"/>
                    </a:lnTo>
                    <a:lnTo>
                      <a:pt x="515" y="3830"/>
                    </a:lnTo>
                    <a:lnTo>
                      <a:pt x="524" y="3844"/>
                    </a:lnTo>
                    <a:lnTo>
                      <a:pt x="533" y="3860"/>
                    </a:lnTo>
                    <a:lnTo>
                      <a:pt x="518" y="3858"/>
                    </a:lnTo>
                    <a:lnTo>
                      <a:pt x="504" y="3859"/>
                    </a:lnTo>
                    <a:lnTo>
                      <a:pt x="491" y="3861"/>
                    </a:lnTo>
                    <a:lnTo>
                      <a:pt x="479" y="3864"/>
                    </a:lnTo>
                    <a:lnTo>
                      <a:pt x="466" y="3867"/>
                    </a:lnTo>
                    <a:lnTo>
                      <a:pt x="453" y="3870"/>
                    </a:lnTo>
                    <a:lnTo>
                      <a:pt x="439" y="3874"/>
                    </a:lnTo>
                    <a:lnTo>
                      <a:pt x="424" y="3874"/>
                    </a:lnTo>
                    <a:lnTo>
                      <a:pt x="410" y="3874"/>
                    </a:lnTo>
                    <a:lnTo>
                      <a:pt x="396" y="3871"/>
                    </a:lnTo>
                    <a:lnTo>
                      <a:pt x="384" y="3868"/>
                    </a:lnTo>
                    <a:lnTo>
                      <a:pt x="371" y="3864"/>
                    </a:lnTo>
                    <a:lnTo>
                      <a:pt x="361" y="3859"/>
                    </a:lnTo>
                    <a:lnTo>
                      <a:pt x="350" y="3854"/>
                    </a:lnTo>
                    <a:lnTo>
                      <a:pt x="339" y="3848"/>
                    </a:lnTo>
                    <a:lnTo>
                      <a:pt x="329" y="3840"/>
                    </a:lnTo>
                    <a:lnTo>
                      <a:pt x="309" y="3825"/>
                    </a:lnTo>
                    <a:lnTo>
                      <a:pt x="289" y="3810"/>
                    </a:lnTo>
                    <a:lnTo>
                      <a:pt x="278" y="3801"/>
                    </a:lnTo>
                    <a:lnTo>
                      <a:pt x="266" y="3794"/>
                    </a:lnTo>
                    <a:lnTo>
                      <a:pt x="254" y="3787"/>
                    </a:lnTo>
                    <a:lnTo>
                      <a:pt x="240" y="3780"/>
                    </a:lnTo>
                    <a:lnTo>
                      <a:pt x="197" y="3759"/>
                    </a:lnTo>
                    <a:lnTo>
                      <a:pt x="158" y="3740"/>
                    </a:lnTo>
                    <a:lnTo>
                      <a:pt x="150" y="3735"/>
                    </a:lnTo>
                    <a:lnTo>
                      <a:pt x="140" y="3729"/>
                    </a:lnTo>
                    <a:lnTo>
                      <a:pt x="132" y="3723"/>
                    </a:lnTo>
                    <a:lnTo>
                      <a:pt x="124" y="3716"/>
                    </a:lnTo>
                    <a:lnTo>
                      <a:pt x="117" y="3708"/>
                    </a:lnTo>
                    <a:lnTo>
                      <a:pt x="108" y="3700"/>
                    </a:lnTo>
                    <a:lnTo>
                      <a:pt x="101" y="3691"/>
                    </a:lnTo>
                    <a:lnTo>
                      <a:pt x="94" y="3680"/>
                    </a:lnTo>
                    <a:lnTo>
                      <a:pt x="89" y="3670"/>
                    </a:lnTo>
                    <a:lnTo>
                      <a:pt x="85" y="3661"/>
                    </a:lnTo>
                    <a:lnTo>
                      <a:pt x="81" y="3652"/>
                    </a:lnTo>
                    <a:lnTo>
                      <a:pt x="77" y="3641"/>
                    </a:lnTo>
                    <a:lnTo>
                      <a:pt x="74" y="3632"/>
                    </a:lnTo>
                    <a:lnTo>
                      <a:pt x="70" y="3624"/>
                    </a:lnTo>
                    <a:lnTo>
                      <a:pt x="66" y="3614"/>
                    </a:lnTo>
                    <a:lnTo>
                      <a:pt x="59" y="3605"/>
                    </a:lnTo>
                    <a:lnTo>
                      <a:pt x="52" y="3598"/>
                    </a:lnTo>
                    <a:lnTo>
                      <a:pt x="44" y="3592"/>
                    </a:lnTo>
                    <a:lnTo>
                      <a:pt x="36" y="3586"/>
                    </a:lnTo>
                    <a:lnTo>
                      <a:pt x="29" y="3581"/>
                    </a:lnTo>
                    <a:lnTo>
                      <a:pt x="21" y="3576"/>
                    </a:lnTo>
                    <a:lnTo>
                      <a:pt x="14" y="3570"/>
                    </a:lnTo>
                    <a:lnTo>
                      <a:pt x="6" y="3564"/>
                    </a:lnTo>
                    <a:lnTo>
                      <a:pt x="0" y="3555"/>
                    </a:lnTo>
                    <a:lnTo>
                      <a:pt x="0" y="3555"/>
                    </a:lnTo>
                    <a:lnTo>
                      <a:pt x="12" y="3539"/>
                    </a:lnTo>
                    <a:lnTo>
                      <a:pt x="25" y="3523"/>
                    </a:lnTo>
                    <a:lnTo>
                      <a:pt x="31" y="3516"/>
                    </a:lnTo>
                    <a:lnTo>
                      <a:pt x="38" y="3510"/>
                    </a:lnTo>
                    <a:lnTo>
                      <a:pt x="45" y="3504"/>
                    </a:lnTo>
                    <a:lnTo>
                      <a:pt x="53" y="3499"/>
                    </a:lnTo>
                    <a:lnTo>
                      <a:pt x="61" y="3494"/>
                    </a:lnTo>
                    <a:lnTo>
                      <a:pt x="69" y="3489"/>
                    </a:lnTo>
                    <a:lnTo>
                      <a:pt x="77" y="3486"/>
                    </a:lnTo>
                    <a:lnTo>
                      <a:pt x="86" y="3483"/>
                    </a:lnTo>
                    <a:lnTo>
                      <a:pt x="95" y="3480"/>
                    </a:lnTo>
                    <a:lnTo>
                      <a:pt x="104" y="3479"/>
                    </a:lnTo>
                    <a:lnTo>
                      <a:pt x="115" y="3478"/>
                    </a:lnTo>
                    <a:lnTo>
                      <a:pt x="125" y="3477"/>
                    </a:lnTo>
                    <a:lnTo>
                      <a:pt x="138" y="3478"/>
                    </a:lnTo>
                    <a:lnTo>
                      <a:pt x="152" y="3480"/>
                    </a:lnTo>
                    <a:lnTo>
                      <a:pt x="163" y="3482"/>
                    </a:lnTo>
                    <a:lnTo>
                      <a:pt x="174" y="3484"/>
                    </a:lnTo>
                    <a:lnTo>
                      <a:pt x="186" y="3487"/>
                    </a:lnTo>
                    <a:lnTo>
                      <a:pt x="197" y="3489"/>
                    </a:lnTo>
                    <a:lnTo>
                      <a:pt x="210" y="3491"/>
                    </a:lnTo>
                    <a:lnTo>
                      <a:pt x="224" y="3491"/>
                    </a:lnTo>
                    <a:lnTo>
                      <a:pt x="227" y="3491"/>
                    </a:lnTo>
                    <a:lnTo>
                      <a:pt x="230" y="3490"/>
                    </a:lnTo>
                    <a:lnTo>
                      <a:pt x="232" y="3489"/>
                    </a:lnTo>
                    <a:lnTo>
                      <a:pt x="235" y="3487"/>
                    </a:lnTo>
                    <a:lnTo>
                      <a:pt x="239" y="3483"/>
                    </a:lnTo>
                    <a:lnTo>
                      <a:pt x="246" y="3480"/>
                    </a:lnTo>
                    <a:lnTo>
                      <a:pt x="249" y="3476"/>
                    </a:lnTo>
                    <a:lnTo>
                      <a:pt x="252" y="3472"/>
                    </a:lnTo>
                    <a:lnTo>
                      <a:pt x="256" y="3468"/>
                    </a:lnTo>
                    <a:lnTo>
                      <a:pt x="259" y="3466"/>
                    </a:lnTo>
                    <a:lnTo>
                      <a:pt x="265" y="3467"/>
                    </a:lnTo>
                    <a:lnTo>
                      <a:pt x="269" y="3470"/>
                    </a:lnTo>
                    <a:lnTo>
                      <a:pt x="273" y="3474"/>
                    </a:lnTo>
                    <a:lnTo>
                      <a:pt x="279" y="3477"/>
                    </a:lnTo>
                    <a:lnTo>
                      <a:pt x="289" y="3427"/>
                    </a:lnTo>
                    <a:lnTo>
                      <a:pt x="289" y="3315"/>
                    </a:lnTo>
                    <a:lnTo>
                      <a:pt x="279" y="3246"/>
                    </a:lnTo>
                    <a:lnTo>
                      <a:pt x="280" y="3237"/>
                    </a:lnTo>
                    <a:lnTo>
                      <a:pt x="282" y="3230"/>
                    </a:lnTo>
                    <a:lnTo>
                      <a:pt x="285" y="3223"/>
                    </a:lnTo>
                    <a:lnTo>
                      <a:pt x="289" y="3217"/>
                    </a:lnTo>
                    <a:lnTo>
                      <a:pt x="293" y="3211"/>
                    </a:lnTo>
                    <a:lnTo>
                      <a:pt x="298" y="3205"/>
                    </a:lnTo>
                    <a:lnTo>
                      <a:pt x="304" y="3200"/>
                    </a:lnTo>
                    <a:lnTo>
                      <a:pt x="311" y="3195"/>
                    </a:lnTo>
                    <a:lnTo>
                      <a:pt x="324" y="3187"/>
                    </a:lnTo>
                    <a:lnTo>
                      <a:pt x="338" y="3180"/>
                    </a:lnTo>
                    <a:lnTo>
                      <a:pt x="354" y="3172"/>
                    </a:lnTo>
                    <a:lnTo>
                      <a:pt x="370" y="3166"/>
                    </a:lnTo>
                    <a:lnTo>
                      <a:pt x="383" y="3160"/>
                    </a:lnTo>
                    <a:lnTo>
                      <a:pt x="394" y="3153"/>
                    </a:lnTo>
                    <a:lnTo>
                      <a:pt x="403" y="3147"/>
                    </a:lnTo>
                    <a:lnTo>
                      <a:pt x="413" y="3138"/>
                    </a:lnTo>
                    <a:lnTo>
                      <a:pt x="429" y="3122"/>
                    </a:lnTo>
                    <a:lnTo>
                      <a:pt x="448" y="3102"/>
                    </a:lnTo>
                    <a:lnTo>
                      <a:pt x="470" y="3083"/>
                    </a:lnTo>
                    <a:lnTo>
                      <a:pt x="491" y="3066"/>
                    </a:lnTo>
                    <a:lnTo>
                      <a:pt x="500" y="3058"/>
                    </a:lnTo>
                    <a:lnTo>
                      <a:pt x="509" y="3047"/>
                    </a:lnTo>
                    <a:lnTo>
                      <a:pt x="513" y="3042"/>
                    </a:lnTo>
                    <a:lnTo>
                      <a:pt x="516" y="3036"/>
                    </a:lnTo>
                    <a:lnTo>
                      <a:pt x="519" y="3029"/>
                    </a:lnTo>
                    <a:lnTo>
                      <a:pt x="521" y="3022"/>
                    </a:lnTo>
                    <a:lnTo>
                      <a:pt x="523" y="3014"/>
                    </a:lnTo>
                    <a:lnTo>
                      <a:pt x="524" y="3008"/>
                    </a:lnTo>
                    <a:lnTo>
                      <a:pt x="524" y="3001"/>
                    </a:lnTo>
                    <a:lnTo>
                      <a:pt x="523" y="2995"/>
                    </a:lnTo>
                    <a:lnTo>
                      <a:pt x="522" y="2981"/>
                    </a:lnTo>
                    <a:lnTo>
                      <a:pt x="519" y="2969"/>
                    </a:lnTo>
                    <a:lnTo>
                      <a:pt x="518" y="2957"/>
                    </a:lnTo>
                    <a:lnTo>
                      <a:pt x="517" y="2944"/>
                    </a:lnTo>
                    <a:lnTo>
                      <a:pt x="518" y="2938"/>
                    </a:lnTo>
                    <a:lnTo>
                      <a:pt x="520" y="2933"/>
                    </a:lnTo>
                    <a:lnTo>
                      <a:pt x="522" y="2927"/>
                    </a:lnTo>
                    <a:lnTo>
                      <a:pt x="526" y="2920"/>
                    </a:lnTo>
                    <a:lnTo>
                      <a:pt x="530" y="2914"/>
                    </a:lnTo>
                    <a:lnTo>
                      <a:pt x="535" y="2908"/>
                    </a:lnTo>
                    <a:lnTo>
                      <a:pt x="540" y="2903"/>
                    </a:lnTo>
                    <a:lnTo>
                      <a:pt x="547" y="2898"/>
                    </a:lnTo>
                    <a:lnTo>
                      <a:pt x="558" y="2889"/>
                    </a:lnTo>
                    <a:lnTo>
                      <a:pt x="571" y="2882"/>
                    </a:lnTo>
                    <a:lnTo>
                      <a:pt x="597" y="2870"/>
                    </a:lnTo>
                    <a:lnTo>
                      <a:pt x="624" y="2861"/>
                    </a:lnTo>
                    <a:lnTo>
                      <a:pt x="637" y="2855"/>
                    </a:lnTo>
                    <a:lnTo>
                      <a:pt x="651" y="2850"/>
                    </a:lnTo>
                    <a:lnTo>
                      <a:pt x="662" y="2844"/>
                    </a:lnTo>
                    <a:lnTo>
                      <a:pt x="674" y="2837"/>
                    </a:lnTo>
                    <a:lnTo>
                      <a:pt x="684" y="2829"/>
                    </a:lnTo>
                    <a:lnTo>
                      <a:pt x="693" y="2819"/>
                    </a:lnTo>
                    <a:lnTo>
                      <a:pt x="697" y="2813"/>
                    </a:lnTo>
                    <a:lnTo>
                      <a:pt x="701" y="2807"/>
                    </a:lnTo>
                    <a:lnTo>
                      <a:pt x="704" y="2801"/>
                    </a:lnTo>
                    <a:lnTo>
                      <a:pt x="708" y="2792"/>
                    </a:lnTo>
                    <a:lnTo>
                      <a:pt x="711" y="2780"/>
                    </a:lnTo>
                    <a:lnTo>
                      <a:pt x="713" y="2768"/>
                    </a:lnTo>
                    <a:lnTo>
                      <a:pt x="714" y="2756"/>
                    </a:lnTo>
                    <a:lnTo>
                      <a:pt x="715" y="2745"/>
                    </a:lnTo>
                    <a:lnTo>
                      <a:pt x="715" y="2734"/>
                    </a:lnTo>
                    <a:lnTo>
                      <a:pt x="716" y="2721"/>
                    </a:lnTo>
                    <a:lnTo>
                      <a:pt x="718" y="2709"/>
                    </a:lnTo>
                    <a:lnTo>
                      <a:pt x="721" y="2696"/>
                    </a:lnTo>
                    <a:lnTo>
                      <a:pt x="727" y="2681"/>
                    </a:lnTo>
                    <a:lnTo>
                      <a:pt x="734" y="2667"/>
                    </a:lnTo>
                    <a:lnTo>
                      <a:pt x="742" y="2656"/>
                    </a:lnTo>
                    <a:lnTo>
                      <a:pt x="750" y="2644"/>
                    </a:lnTo>
                    <a:lnTo>
                      <a:pt x="757" y="2632"/>
                    </a:lnTo>
                    <a:lnTo>
                      <a:pt x="763" y="2620"/>
                    </a:lnTo>
                    <a:lnTo>
                      <a:pt x="765" y="2613"/>
                    </a:lnTo>
                    <a:lnTo>
                      <a:pt x="767" y="2605"/>
                    </a:lnTo>
                    <a:lnTo>
                      <a:pt x="768" y="2598"/>
                    </a:lnTo>
                    <a:lnTo>
                      <a:pt x="768" y="2590"/>
                    </a:lnTo>
                    <a:lnTo>
                      <a:pt x="767" y="2582"/>
                    </a:lnTo>
                    <a:lnTo>
                      <a:pt x="765" y="2573"/>
                    </a:lnTo>
                    <a:lnTo>
                      <a:pt x="761" y="2567"/>
                    </a:lnTo>
                    <a:lnTo>
                      <a:pt x="756" y="2561"/>
                    </a:lnTo>
                    <a:lnTo>
                      <a:pt x="744" y="2551"/>
                    </a:lnTo>
                    <a:lnTo>
                      <a:pt x="728" y="2541"/>
                    </a:lnTo>
                    <a:lnTo>
                      <a:pt x="714" y="2532"/>
                    </a:lnTo>
                    <a:lnTo>
                      <a:pt x="701" y="2522"/>
                    </a:lnTo>
                    <a:lnTo>
                      <a:pt x="696" y="2516"/>
                    </a:lnTo>
                    <a:lnTo>
                      <a:pt x="692" y="2509"/>
                    </a:lnTo>
                    <a:lnTo>
                      <a:pt x="689" y="2502"/>
                    </a:lnTo>
                    <a:lnTo>
                      <a:pt x="688" y="2493"/>
                    </a:lnTo>
                    <a:lnTo>
                      <a:pt x="689" y="2488"/>
                    </a:lnTo>
                    <a:lnTo>
                      <a:pt x="690" y="2483"/>
                    </a:lnTo>
                    <a:lnTo>
                      <a:pt x="691" y="2478"/>
                    </a:lnTo>
                    <a:lnTo>
                      <a:pt x="692" y="2473"/>
                    </a:lnTo>
                    <a:lnTo>
                      <a:pt x="697" y="2465"/>
                    </a:lnTo>
                    <a:lnTo>
                      <a:pt x="702" y="2458"/>
                    </a:lnTo>
                    <a:lnTo>
                      <a:pt x="708" y="2450"/>
                    </a:lnTo>
                    <a:lnTo>
                      <a:pt x="713" y="2442"/>
                    </a:lnTo>
                    <a:lnTo>
                      <a:pt x="717" y="2433"/>
                    </a:lnTo>
                    <a:lnTo>
                      <a:pt x="719" y="2423"/>
                    </a:lnTo>
                    <a:lnTo>
                      <a:pt x="704" y="2328"/>
                    </a:lnTo>
                    <a:lnTo>
                      <a:pt x="707" y="2323"/>
                    </a:lnTo>
                    <a:lnTo>
                      <a:pt x="708" y="2318"/>
                    </a:lnTo>
                    <a:lnTo>
                      <a:pt x="711" y="2314"/>
                    </a:lnTo>
                    <a:lnTo>
                      <a:pt x="713" y="2310"/>
                    </a:lnTo>
                    <a:lnTo>
                      <a:pt x="720" y="2305"/>
                    </a:lnTo>
                    <a:lnTo>
                      <a:pt x="728" y="2300"/>
                    </a:lnTo>
                    <a:lnTo>
                      <a:pt x="747" y="2293"/>
                    </a:lnTo>
                    <a:lnTo>
                      <a:pt x="766" y="2283"/>
                    </a:lnTo>
                    <a:lnTo>
                      <a:pt x="779" y="2276"/>
                    </a:lnTo>
                    <a:lnTo>
                      <a:pt x="791" y="2270"/>
                    </a:lnTo>
                    <a:lnTo>
                      <a:pt x="804" y="2265"/>
                    </a:lnTo>
                    <a:lnTo>
                      <a:pt x="816" y="2260"/>
                    </a:lnTo>
                    <a:lnTo>
                      <a:pt x="841" y="2253"/>
                    </a:lnTo>
                    <a:lnTo>
                      <a:pt x="864" y="2246"/>
                    </a:lnTo>
                    <a:lnTo>
                      <a:pt x="876" y="2243"/>
                    </a:lnTo>
                    <a:lnTo>
                      <a:pt x="888" y="2239"/>
                    </a:lnTo>
                    <a:lnTo>
                      <a:pt x="899" y="2235"/>
                    </a:lnTo>
                    <a:lnTo>
                      <a:pt x="911" y="2230"/>
                    </a:lnTo>
                    <a:lnTo>
                      <a:pt x="922" y="2223"/>
                    </a:lnTo>
                    <a:lnTo>
                      <a:pt x="932" y="2217"/>
                    </a:lnTo>
                    <a:lnTo>
                      <a:pt x="944" y="2208"/>
                    </a:lnTo>
                    <a:lnTo>
                      <a:pt x="955" y="2198"/>
                    </a:lnTo>
                    <a:lnTo>
                      <a:pt x="966" y="2269"/>
                    </a:lnTo>
                    <a:lnTo>
                      <a:pt x="966" y="2313"/>
                    </a:lnTo>
                    <a:lnTo>
                      <a:pt x="966" y="2319"/>
                    </a:lnTo>
                    <a:lnTo>
                      <a:pt x="964" y="2325"/>
                    </a:lnTo>
                    <a:lnTo>
                      <a:pt x="963" y="2330"/>
                    </a:lnTo>
                    <a:lnTo>
                      <a:pt x="960" y="2335"/>
                    </a:lnTo>
                    <a:lnTo>
                      <a:pt x="958" y="2340"/>
                    </a:lnTo>
                    <a:lnTo>
                      <a:pt x="957" y="2345"/>
                    </a:lnTo>
                    <a:lnTo>
                      <a:pt x="955" y="2350"/>
                    </a:lnTo>
                    <a:lnTo>
                      <a:pt x="955" y="2357"/>
                    </a:lnTo>
                    <a:lnTo>
                      <a:pt x="956" y="2363"/>
                    </a:lnTo>
                    <a:lnTo>
                      <a:pt x="957" y="2368"/>
                    </a:lnTo>
                    <a:lnTo>
                      <a:pt x="964" y="2366"/>
                    </a:lnTo>
                    <a:lnTo>
                      <a:pt x="971" y="2363"/>
                    </a:lnTo>
                    <a:lnTo>
                      <a:pt x="977" y="2359"/>
                    </a:lnTo>
                    <a:lnTo>
                      <a:pt x="982" y="2356"/>
                    </a:lnTo>
                    <a:lnTo>
                      <a:pt x="987" y="2350"/>
                    </a:lnTo>
                    <a:lnTo>
                      <a:pt x="991" y="2345"/>
                    </a:lnTo>
                    <a:lnTo>
                      <a:pt x="994" y="2339"/>
                    </a:lnTo>
                    <a:lnTo>
                      <a:pt x="997" y="2333"/>
                    </a:lnTo>
                    <a:lnTo>
                      <a:pt x="999" y="2320"/>
                    </a:lnTo>
                    <a:lnTo>
                      <a:pt x="1002" y="2308"/>
                    </a:lnTo>
                    <a:lnTo>
                      <a:pt x="1005" y="2303"/>
                    </a:lnTo>
                    <a:lnTo>
                      <a:pt x="1007" y="2299"/>
                    </a:lnTo>
                    <a:lnTo>
                      <a:pt x="1009" y="2297"/>
                    </a:lnTo>
                    <a:lnTo>
                      <a:pt x="1011" y="2296"/>
                    </a:lnTo>
                    <a:lnTo>
                      <a:pt x="1013" y="2295"/>
                    </a:lnTo>
                    <a:lnTo>
                      <a:pt x="1016" y="2295"/>
                    </a:lnTo>
                    <a:lnTo>
                      <a:pt x="1022" y="2296"/>
                    </a:lnTo>
                    <a:lnTo>
                      <a:pt x="1028" y="2298"/>
                    </a:lnTo>
                    <a:lnTo>
                      <a:pt x="1033" y="2300"/>
                    </a:lnTo>
                    <a:lnTo>
                      <a:pt x="1040" y="2302"/>
                    </a:lnTo>
                    <a:lnTo>
                      <a:pt x="1078" y="2285"/>
                    </a:lnTo>
                    <a:lnTo>
                      <a:pt x="1086" y="2289"/>
                    </a:lnTo>
                    <a:lnTo>
                      <a:pt x="1093" y="2295"/>
                    </a:lnTo>
                    <a:lnTo>
                      <a:pt x="1099" y="2301"/>
                    </a:lnTo>
                    <a:lnTo>
                      <a:pt x="1104" y="2308"/>
                    </a:lnTo>
                    <a:lnTo>
                      <a:pt x="1112" y="2324"/>
                    </a:lnTo>
                    <a:lnTo>
                      <a:pt x="1120" y="2342"/>
                    </a:lnTo>
                    <a:lnTo>
                      <a:pt x="1130" y="2337"/>
                    </a:lnTo>
                    <a:lnTo>
                      <a:pt x="1141" y="2330"/>
                    </a:lnTo>
                    <a:lnTo>
                      <a:pt x="1145" y="2327"/>
                    </a:lnTo>
                    <a:lnTo>
                      <a:pt x="1148" y="2323"/>
                    </a:lnTo>
                    <a:lnTo>
                      <a:pt x="1150" y="2317"/>
                    </a:lnTo>
                    <a:lnTo>
                      <a:pt x="1150" y="2311"/>
                    </a:lnTo>
                    <a:lnTo>
                      <a:pt x="1146" y="2298"/>
                    </a:lnTo>
                    <a:lnTo>
                      <a:pt x="1141" y="2283"/>
                    </a:lnTo>
                    <a:lnTo>
                      <a:pt x="1141" y="2269"/>
                    </a:lnTo>
                    <a:lnTo>
                      <a:pt x="1160" y="2269"/>
                    </a:lnTo>
                    <a:lnTo>
                      <a:pt x="1210" y="2283"/>
                    </a:lnTo>
                    <a:lnTo>
                      <a:pt x="1218" y="2269"/>
                    </a:lnTo>
                    <a:lnTo>
                      <a:pt x="1226" y="2254"/>
                    </a:lnTo>
                    <a:lnTo>
                      <a:pt x="1229" y="2261"/>
                    </a:lnTo>
                    <a:lnTo>
                      <a:pt x="1232" y="2266"/>
                    </a:lnTo>
                    <a:lnTo>
                      <a:pt x="1233" y="2272"/>
                    </a:lnTo>
                    <a:lnTo>
                      <a:pt x="1236" y="2278"/>
                    </a:lnTo>
                    <a:lnTo>
                      <a:pt x="1237" y="2290"/>
                    </a:lnTo>
                    <a:lnTo>
                      <a:pt x="1237" y="2303"/>
                    </a:lnTo>
                    <a:lnTo>
                      <a:pt x="1238" y="2314"/>
                    </a:lnTo>
                    <a:lnTo>
                      <a:pt x="1241" y="2326"/>
                    </a:lnTo>
                    <a:lnTo>
                      <a:pt x="1243" y="2331"/>
                    </a:lnTo>
                    <a:lnTo>
                      <a:pt x="1246" y="2336"/>
                    </a:lnTo>
                    <a:lnTo>
                      <a:pt x="1249" y="2340"/>
                    </a:lnTo>
                    <a:lnTo>
                      <a:pt x="1254" y="2344"/>
                    </a:lnTo>
                    <a:lnTo>
                      <a:pt x="1259" y="2347"/>
                    </a:lnTo>
                    <a:lnTo>
                      <a:pt x="1263" y="2348"/>
                    </a:lnTo>
                    <a:lnTo>
                      <a:pt x="1269" y="2348"/>
                    </a:lnTo>
                    <a:lnTo>
                      <a:pt x="1274" y="2348"/>
                    </a:lnTo>
                    <a:lnTo>
                      <a:pt x="1278" y="2348"/>
                    </a:lnTo>
                    <a:lnTo>
                      <a:pt x="1283" y="2347"/>
                    </a:lnTo>
                    <a:lnTo>
                      <a:pt x="1289" y="2348"/>
                    </a:lnTo>
                    <a:lnTo>
                      <a:pt x="1294" y="2349"/>
                    </a:lnTo>
                    <a:lnTo>
                      <a:pt x="1303" y="2352"/>
                    </a:lnTo>
                    <a:lnTo>
                      <a:pt x="1311" y="2357"/>
                    </a:lnTo>
                    <a:lnTo>
                      <a:pt x="1318" y="2361"/>
                    </a:lnTo>
                    <a:lnTo>
                      <a:pt x="1324" y="2366"/>
                    </a:lnTo>
                    <a:lnTo>
                      <a:pt x="1331" y="2370"/>
                    </a:lnTo>
                    <a:lnTo>
                      <a:pt x="1339" y="2374"/>
                    </a:lnTo>
                    <a:lnTo>
                      <a:pt x="1347" y="2376"/>
                    </a:lnTo>
                    <a:lnTo>
                      <a:pt x="1355" y="2377"/>
                    </a:lnTo>
                    <a:lnTo>
                      <a:pt x="1360" y="2377"/>
                    </a:lnTo>
                    <a:lnTo>
                      <a:pt x="1365" y="2375"/>
                    </a:lnTo>
                    <a:lnTo>
                      <a:pt x="1369" y="2373"/>
                    </a:lnTo>
                    <a:lnTo>
                      <a:pt x="1372" y="2370"/>
                    </a:lnTo>
                    <a:lnTo>
                      <a:pt x="1375" y="2367"/>
                    </a:lnTo>
                    <a:lnTo>
                      <a:pt x="1377" y="2363"/>
                    </a:lnTo>
                    <a:lnTo>
                      <a:pt x="1379" y="2358"/>
                    </a:lnTo>
                    <a:lnTo>
                      <a:pt x="1380" y="2353"/>
                    </a:lnTo>
                    <a:lnTo>
                      <a:pt x="1383" y="2330"/>
                    </a:lnTo>
                    <a:lnTo>
                      <a:pt x="1386" y="2307"/>
                    </a:lnTo>
                    <a:lnTo>
                      <a:pt x="1382" y="2287"/>
                    </a:lnTo>
                    <a:lnTo>
                      <a:pt x="1384" y="2278"/>
                    </a:lnTo>
                    <a:lnTo>
                      <a:pt x="1394" y="2279"/>
                    </a:lnTo>
                    <a:lnTo>
                      <a:pt x="1405" y="2282"/>
                    </a:lnTo>
                    <a:lnTo>
                      <a:pt x="1413" y="2284"/>
                    </a:lnTo>
                    <a:lnTo>
                      <a:pt x="1422" y="2287"/>
                    </a:lnTo>
                    <a:lnTo>
                      <a:pt x="1430" y="2290"/>
                    </a:lnTo>
                    <a:lnTo>
                      <a:pt x="1440" y="2293"/>
                    </a:lnTo>
                    <a:lnTo>
                      <a:pt x="1450" y="2295"/>
                    </a:lnTo>
                    <a:lnTo>
                      <a:pt x="1460" y="2295"/>
                    </a:lnTo>
                    <a:lnTo>
                      <a:pt x="1470" y="2294"/>
                    </a:lnTo>
                    <a:lnTo>
                      <a:pt x="1478" y="2292"/>
                    </a:lnTo>
                    <a:lnTo>
                      <a:pt x="1486" y="2288"/>
                    </a:lnTo>
                    <a:lnTo>
                      <a:pt x="1494" y="2285"/>
                    </a:lnTo>
                    <a:lnTo>
                      <a:pt x="1500" y="2296"/>
                    </a:lnTo>
                    <a:lnTo>
                      <a:pt x="1504" y="2305"/>
                    </a:lnTo>
                    <a:lnTo>
                      <a:pt x="1507" y="2314"/>
                    </a:lnTo>
                    <a:lnTo>
                      <a:pt x="1509" y="2324"/>
                    </a:lnTo>
                    <a:lnTo>
                      <a:pt x="1511" y="2333"/>
                    </a:lnTo>
                    <a:lnTo>
                      <a:pt x="1512" y="2342"/>
                    </a:lnTo>
                    <a:lnTo>
                      <a:pt x="1512" y="2352"/>
                    </a:lnTo>
                    <a:lnTo>
                      <a:pt x="1512" y="2364"/>
                    </a:lnTo>
                    <a:lnTo>
                      <a:pt x="1512" y="2425"/>
                    </a:lnTo>
                    <a:lnTo>
                      <a:pt x="1519" y="2425"/>
                    </a:lnTo>
                    <a:lnTo>
                      <a:pt x="1525" y="2424"/>
                    </a:lnTo>
                    <a:lnTo>
                      <a:pt x="1532" y="2422"/>
                    </a:lnTo>
                    <a:lnTo>
                      <a:pt x="1537" y="2420"/>
                    </a:lnTo>
                    <a:lnTo>
                      <a:pt x="1547" y="2415"/>
                    </a:lnTo>
                    <a:lnTo>
                      <a:pt x="1556" y="2409"/>
                    </a:lnTo>
                    <a:lnTo>
                      <a:pt x="1566" y="2403"/>
                    </a:lnTo>
                    <a:lnTo>
                      <a:pt x="1576" y="2396"/>
                    </a:lnTo>
                    <a:lnTo>
                      <a:pt x="1586" y="2390"/>
                    </a:lnTo>
                    <a:lnTo>
                      <a:pt x="1599" y="2384"/>
                    </a:lnTo>
                    <a:lnTo>
                      <a:pt x="1619" y="2377"/>
                    </a:lnTo>
                    <a:lnTo>
                      <a:pt x="1638" y="2371"/>
                    </a:lnTo>
                    <a:lnTo>
                      <a:pt x="1656" y="2366"/>
                    </a:lnTo>
                    <a:lnTo>
                      <a:pt x="1674" y="2362"/>
                    </a:lnTo>
                    <a:lnTo>
                      <a:pt x="1691" y="2359"/>
                    </a:lnTo>
                    <a:lnTo>
                      <a:pt x="1710" y="2356"/>
                    </a:lnTo>
                    <a:lnTo>
                      <a:pt x="1730" y="2355"/>
                    </a:lnTo>
                    <a:lnTo>
                      <a:pt x="1751" y="2353"/>
                    </a:lnTo>
                    <a:lnTo>
                      <a:pt x="1745" y="2343"/>
                    </a:lnTo>
                    <a:lnTo>
                      <a:pt x="1738" y="2335"/>
                    </a:lnTo>
                    <a:lnTo>
                      <a:pt x="1730" y="2328"/>
                    </a:lnTo>
                    <a:lnTo>
                      <a:pt x="1721" y="2323"/>
                    </a:lnTo>
                    <a:lnTo>
                      <a:pt x="1702" y="2313"/>
                    </a:lnTo>
                    <a:lnTo>
                      <a:pt x="1681" y="2302"/>
                    </a:lnTo>
                    <a:lnTo>
                      <a:pt x="1674" y="2297"/>
                    </a:lnTo>
                    <a:lnTo>
                      <a:pt x="1668" y="2289"/>
                    </a:lnTo>
                    <a:lnTo>
                      <a:pt x="1664" y="2283"/>
                    </a:lnTo>
                    <a:lnTo>
                      <a:pt x="1659" y="2276"/>
                    </a:lnTo>
                    <a:lnTo>
                      <a:pt x="1655" y="2269"/>
                    </a:lnTo>
                    <a:lnTo>
                      <a:pt x="1651" y="2262"/>
                    </a:lnTo>
                    <a:lnTo>
                      <a:pt x="1645" y="2254"/>
                    </a:lnTo>
                    <a:lnTo>
                      <a:pt x="1639" y="2247"/>
                    </a:lnTo>
                    <a:lnTo>
                      <a:pt x="1626" y="2240"/>
                    </a:lnTo>
                    <a:lnTo>
                      <a:pt x="1614" y="2234"/>
                    </a:lnTo>
                    <a:lnTo>
                      <a:pt x="1601" y="2229"/>
                    </a:lnTo>
                    <a:lnTo>
                      <a:pt x="1588" y="2223"/>
                    </a:lnTo>
                    <a:lnTo>
                      <a:pt x="1583" y="2220"/>
                    </a:lnTo>
                    <a:lnTo>
                      <a:pt x="1578" y="2217"/>
                    </a:lnTo>
                    <a:lnTo>
                      <a:pt x="1573" y="2214"/>
                    </a:lnTo>
                    <a:lnTo>
                      <a:pt x="1569" y="2210"/>
                    </a:lnTo>
                    <a:lnTo>
                      <a:pt x="1566" y="2206"/>
                    </a:lnTo>
                    <a:lnTo>
                      <a:pt x="1562" y="2201"/>
                    </a:lnTo>
                    <a:lnTo>
                      <a:pt x="1561" y="2195"/>
                    </a:lnTo>
                    <a:lnTo>
                      <a:pt x="1560" y="2188"/>
                    </a:lnTo>
                    <a:lnTo>
                      <a:pt x="1561" y="2182"/>
                    </a:lnTo>
                    <a:lnTo>
                      <a:pt x="1562" y="2175"/>
                    </a:lnTo>
                    <a:lnTo>
                      <a:pt x="1565" y="2170"/>
                    </a:lnTo>
                    <a:lnTo>
                      <a:pt x="1568" y="2165"/>
                    </a:lnTo>
                    <a:lnTo>
                      <a:pt x="1575" y="2154"/>
                    </a:lnTo>
                    <a:lnTo>
                      <a:pt x="1584" y="2146"/>
                    </a:lnTo>
                    <a:lnTo>
                      <a:pt x="1593" y="2137"/>
                    </a:lnTo>
                    <a:lnTo>
                      <a:pt x="1602" y="2127"/>
                    </a:lnTo>
                    <a:lnTo>
                      <a:pt x="1605" y="2122"/>
                    </a:lnTo>
                    <a:lnTo>
                      <a:pt x="1608" y="2116"/>
                    </a:lnTo>
                    <a:lnTo>
                      <a:pt x="1611" y="2111"/>
                    </a:lnTo>
                    <a:lnTo>
                      <a:pt x="1613" y="2104"/>
                    </a:lnTo>
                    <a:lnTo>
                      <a:pt x="1617" y="2083"/>
                    </a:lnTo>
                    <a:lnTo>
                      <a:pt x="1620" y="2063"/>
                    </a:lnTo>
                    <a:lnTo>
                      <a:pt x="1623" y="2045"/>
                    </a:lnTo>
                    <a:lnTo>
                      <a:pt x="1624" y="2023"/>
                    </a:lnTo>
                    <a:lnTo>
                      <a:pt x="1623" y="2010"/>
                    </a:lnTo>
                    <a:lnTo>
                      <a:pt x="1622" y="1997"/>
                    </a:lnTo>
                    <a:lnTo>
                      <a:pt x="1619" y="1985"/>
                    </a:lnTo>
                    <a:lnTo>
                      <a:pt x="1617" y="1973"/>
                    </a:lnTo>
                    <a:lnTo>
                      <a:pt x="1614" y="1962"/>
                    </a:lnTo>
                    <a:lnTo>
                      <a:pt x="1611" y="1951"/>
                    </a:lnTo>
                    <a:lnTo>
                      <a:pt x="1610" y="1938"/>
                    </a:lnTo>
                    <a:lnTo>
                      <a:pt x="1609" y="1924"/>
                    </a:lnTo>
                    <a:lnTo>
                      <a:pt x="1609" y="1916"/>
                    </a:lnTo>
                    <a:lnTo>
                      <a:pt x="1608" y="1907"/>
                    </a:lnTo>
                    <a:lnTo>
                      <a:pt x="1608" y="1900"/>
                    </a:lnTo>
                    <a:lnTo>
                      <a:pt x="1610" y="1891"/>
                    </a:lnTo>
                    <a:lnTo>
                      <a:pt x="1614" y="1866"/>
                    </a:lnTo>
                    <a:lnTo>
                      <a:pt x="1618" y="1844"/>
                    </a:lnTo>
                    <a:lnTo>
                      <a:pt x="1620" y="1833"/>
                    </a:lnTo>
                    <a:lnTo>
                      <a:pt x="1622" y="1822"/>
                    </a:lnTo>
                    <a:lnTo>
                      <a:pt x="1624" y="1809"/>
                    </a:lnTo>
                    <a:lnTo>
                      <a:pt x="1624" y="1797"/>
                    </a:lnTo>
                    <a:lnTo>
                      <a:pt x="1624" y="1792"/>
                    </a:lnTo>
                    <a:lnTo>
                      <a:pt x="1622" y="1788"/>
                    </a:lnTo>
                    <a:lnTo>
                      <a:pt x="1620" y="1783"/>
                    </a:lnTo>
                    <a:lnTo>
                      <a:pt x="1617" y="1780"/>
                    </a:lnTo>
                    <a:lnTo>
                      <a:pt x="1609" y="1776"/>
                    </a:lnTo>
                    <a:lnTo>
                      <a:pt x="1600" y="1773"/>
                    </a:lnTo>
                    <a:lnTo>
                      <a:pt x="1589" y="1770"/>
                    </a:lnTo>
                    <a:lnTo>
                      <a:pt x="1578" y="1767"/>
                    </a:lnTo>
                    <a:lnTo>
                      <a:pt x="1573" y="1765"/>
                    </a:lnTo>
                    <a:lnTo>
                      <a:pt x="1568" y="1763"/>
                    </a:lnTo>
                    <a:lnTo>
                      <a:pt x="1562" y="1760"/>
                    </a:lnTo>
                    <a:lnTo>
                      <a:pt x="1558" y="1757"/>
                    </a:lnTo>
                    <a:lnTo>
                      <a:pt x="1551" y="1750"/>
                    </a:lnTo>
                    <a:lnTo>
                      <a:pt x="1545" y="1746"/>
                    </a:lnTo>
                    <a:lnTo>
                      <a:pt x="1538" y="1742"/>
                    </a:lnTo>
                    <a:lnTo>
                      <a:pt x="1530" y="1738"/>
                    </a:lnTo>
                    <a:lnTo>
                      <a:pt x="1517" y="1733"/>
                    </a:lnTo>
                    <a:lnTo>
                      <a:pt x="1503" y="1728"/>
                    </a:lnTo>
                    <a:lnTo>
                      <a:pt x="1488" y="1724"/>
                    </a:lnTo>
                    <a:lnTo>
                      <a:pt x="1474" y="1719"/>
                    </a:lnTo>
                    <a:lnTo>
                      <a:pt x="1458" y="1714"/>
                    </a:lnTo>
                    <a:lnTo>
                      <a:pt x="1443" y="1707"/>
                    </a:lnTo>
                    <a:lnTo>
                      <a:pt x="1430" y="1700"/>
                    </a:lnTo>
                    <a:lnTo>
                      <a:pt x="1419" y="1693"/>
                    </a:lnTo>
                    <a:lnTo>
                      <a:pt x="1410" y="1684"/>
                    </a:lnTo>
                    <a:lnTo>
                      <a:pt x="1402" y="1676"/>
                    </a:lnTo>
                    <a:lnTo>
                      <a:pt x="1392" y="1668"/>
                    </a:lnTo>
                    <a:lnTo>
                      <a:pt x="1383" y="1660"/>
                    </a:lnTo>
                    <a:lnTo>
                      <a:pt x="1373" y="1651"/>
                    </a:lnTo>
                    <a:lnTo>
                      <a:pt x="1360" y="1643"/>
                    </a:lnTo>
                    <a:lnTo>
                      <a:pt x="1349" y="1638"/>
                    </a:lnTo>
                    <a:lnTo>
                      <a:pt x="1338" y="1634"/>
                    </a:lnTo>
                    <a:lnTo>
                      <a:pt x="1325" y="1631"/>
                    </a:lnTo>
                    <a:lnTo>
                      <a:pt x="1315" y="1627"/>
                    </a:lnTo>
                    <a:lnTo>
                      <a:pt x="1310" y="1625"/>
                    </a:lnTo>
                    <a:lnTo>
                      <a:pt x="1305" y="1622"/>
                    </a:lnTo>
                    <a:lnTo>
                      <a:pt x="1301" y="1620"/>
                    </a:lnTo>
                    <a:lnTo>
                      <a:pt x="1296" y="1617"/>
                    </a:lnTo>
                    <a:lnTo>
                      <a:pt x="1293" y="1613"/>
                    </a:lnTo>
                    <a:lnTo>
                      <a:pt x="1291" y="1609"/>
                    </a:lnTo>
                    <a:lnTo>
                      <a:pt x="1290" y="1604"/>
                    </a:lnTo>
                    <a:lnTo>
                      <a:pt x="1289" y="1599"/>
                    </a:lnTo>
                    <a:lnTo>
                      <a:pt x="1290" y="1592"/>
                    </a:lnTo>
                    <a:lnTo>
                      <a:pt x="1292" y="1587"/>
                    </a:lnTo>
                    <a:lnTo>
                      <a:pt x="1296" y="1582"/>
                    </a:lnTo>
                    <a:lnTo>
                      <a:pt x="1301" y="1578"/>
                    </a:lnTo>
                    <a:lnTo>
                      <a:pt x="1305" y="1574"/>
                    </a:lnTo>
                    <a:lnTo>
                      <a:pt x="1309" y="1569"/>
                    </a:lnTo>
                    <a:lnTo>
                      <a:pt x="1313" y="1565"/>
                    </a:lnTo>
                    <a:lnTo>
                      <a:pt x="1316" y="1558"/>
                    </a:lnTo>
                    <a:lnTo>
                      <a:pt x="1323" y="1535"/>
                    </a:lnTo>
                    <a:lnTo>
                      <a:pt x="1328" y="1514"/>
                    </a:lnTo>
                    <a:lnTo>
                      <a:pt x="1332" y="1493"/>
                    </a:lnTo>
                    <a:lnTo>
                      <a:pt x="1337" y="1469"/>
                    </a:lnTo>
                    <a:lnTo>
                      <a:pt x="1327" y="1461"/>
                    </a:lnTo>
                    <a:lnTo>
                      <a:pt x="1285" y="1471"/>
                    </a:lnTo>
                    <a:lnTo>
                      <a:pt x="1275" y="1470"/>
                    </a:lnTo>
                    <a:lnTo>
                      <a:pt x="1264" y="1466"/>
                    </a:lnTo>
                    <a:lnTo>
                      <a:pt x="1256" y="1462"/>
                    </a:lnTo>
                    <a:lnTo>
                      <a:pt x="1248" y="1457"/>
                    </a:lnTo>
                    <a:lnTo>
                      <a:pt x="1241" y="1451"/>
                    </a:lnTo>
                    <a:lnTo>
                      <a:pt x="1236" y="1444"/>
                    </a:lnTo>
                    <a:lnTo>
                      <a:pt x="1233" y="1440"/>
                    </a:lnTo>
                    <a:lnTo>
                      <a:pt x="1231" y="1435"/>
                    </a:lnTo>
                    <a:lnTo>
                      <a:pt x="1231" y="1431"/>
                    </a:lnTo>
                    <a:lnTo>
                      <a:pt x="1230" y="1426"/>
                    </a:lnTo>
                    <a:lnTo>
                      <a:pt x="1230" y="1402"/>
                    </a:lnTo>
                    <a:lnTo>
                      <a:pt x="1231" y="1381"/>
                    </a:lnTo>
                    <a:lnTo>
                      <a:pt x="1232" y="1360"/>
                    </a:lnTo>
                    <a:lnTo>
                      <a:pt x="1235" y="1340"/>
                    </a:lnTo>
                    <a:lnTo>
                      <a:pt x="1238" y="1321"/>
                    </a:lnTo>
                    <a:lnTo>
                      <a:pt x="1244" y="1301"/>
                    </a:lnTo>
                    <a:lnTo>
                      <a:pt x="1251" y="1282"/>
                    </a:lnTo>
                    <a:lnTo>
                      <a:pt x="1261" y="1261"/>
                    </a:lnTo>
                    <a:lnTo>
                      <a:pt x="1268" y="1253"/>
                    </a:lnTo>
                    <a:lnTo>
                      <a:pt x="1274" y="1245"/>
                    </a:lnTo>
                    <a:lnTo>
                      <a:pt x="1281" y="1239"/>
                    </a:lnTo>
                    <a:lnTo>
                      <a:pt x="1289" y="1234"/>
                    </a:lnTo>
                    <a:lnTo>
                      <a:pt x="1295" y="1228"/>
                    </a:lnTo>
                    <a:lnTo>
                      <a:pt x="1301" y="1222"/>
                    </a:lnTo>
                    <a:lnTo>
                      <a:pt x="1303" y="1218"/>
                    </a:lnTo>
                    <a:lnTo>
                      <a:pt x="1305" y="1213"/>
                    </a:lnTo>
                    <a:lnTo>
                      <a:pt x="1306" y="1209"/>
                    </a:lnTo>
                    <a:lnTo>
                      <a:pt x="1306" y="1204"/>
                    </a:lnTo>
                    <a:lnTo>
                      <a:pt x="1306" y="1199"/>
                    </a:lnTo>
                    <a:lnTo>
                      <a:pt x="1305" y="1195"/>
                    </a:lnTo>
                    <a:lnTo>
                      <a:pt x="1304" y="1190"/>
                    </a:lnTo>
                    <a:lnTo>
                      <a:pt x="1302" y="1186"/>
                    </a:lnTo>
                    <a:lnTo>
                      <a:pt x="1296" y="1178"/>
                    </a:lnTo>
                    <a:lnTo>
                      <a:pt x="1289" y="1171"/>
                    </a:lnTo>
                    <a:lnTo>
                      <a:pt x="1281" y="1166"/>
                    </a:lnTo>
                    <a:lnTo>
                      <a:pt x="1272" y="1163"/>
                    </a:lnTo>
                    <a:lnTo>
                      <a:pt x="1262" y="1160"/>
                    </a:lnTo>
                    <a:lnTo>
                      <a:pt x="1252" y="1160"/>
                    </a:lnTo>
                    <a:lnTo>
                      <a:pt x="1247" y="1160"/>
                    </a:lnTo>
                    <a:lnTo>
                      <a:pt x="1242" y="1162"/>
                    </a:lnTo>
                    <a:lnTo>
                      <a:pt x="1238" y="1164"/>
                    </a:lnTo>
                    <a:lnTo>
                      <a:pt x="1233" y="1167"/>
                    </a:lnTo>
                    <a:lnTo>
                      <a:pt x="1227" y="1175"/>
                    </a:lnTo>
                    <a:lnTo>
                      <a:pt x="1222" y="1186"/>
                    </a:lnTo>
                    <a:lnTo>
                      <a:pt x="1217" y="1195"/>
                    </a:lnTo>
                    <a:lnTo>
                      <a:pt x="1211" y="1203"/>
                    </a:lnTo>
                    <a:lnTo>
                      <a:pt x="1207" y="1206"/>
                    </a:lnTo>
                    <a:lnTo>
                      <a:pt x="1203" y="1209"/>
                    </a:lnTo>
                    <a:lnTo>
                      <a:pt x="1198" y="1210"/>
                    </a:lnTo>
                    <a:lnTo>
                      <a:pt x="1193" y="1211"/>
                    </a:lnTo>
                    <a:lnTo>
                      <a:pt x="1188" y="1210"/>
                    </a:lnTo>
                    <a:lnTo>
                      <a:pt x="1184" y="1208"/>
                    </a:lnTo>
                    <a:lnTo>
                      <a:pt x="1180" y="1206"/>
                    </a:lnTo>
                    <a:lnTo>
                      <a:pt x="1177" y="1202"/>
                    </a:lnTo>
                    <a:lnTo>
                      <a:pt x="1171" y="1195"/>
                    </a:lnTo>
                    <a:lnTo>
                      <a:pt x="1162" y="1188"/>
                    </a:lnTo>
                    <a:lnTo>
                      <a:pt x="1156" y="1185"/>
                    </a:lnTo>
                    <a:lnTo>
                      <a:pt x="1149" y="1181"/>
                    </a:lnTo>
                    <a:lnTo>
                      <a:pt x="1143" y="1180"/>
                    </a:lnTo>
                    <a:lnTo>
                      <a:pt x="1136" y="1178"/>
                    </a:lnTo>
                    <a:lnTo>
                      <a:pt x="1129" y="1176"/>
                    </a:lnTo>
                    <a:lnTo>
                      <a:pt x="1124" y="1173"/>
                    </a:lnTo>
                    <a:lnTo>
                      <a:pt x="1119" y="1170"/>
                    </a:lnTo>
                    <a:lnTo>
                      <a:pt x="1115" y="1164"/>
                    </a:lnTo>
                    <a:lnTo>
                      <a:pt x="1109" y="1150"/>
                    </a:lnTo>
                    <a:lnTo>
                      <a:pt x="1105" y="1137"/>
                    </a:lnTo>
                    <a:lnTo>
                      <a:pt x="1103" y="1124"/>
                    </a:lnTo>
                    <a:lnTo>
                      <a:pt x="1100" y="1111"/>
                    </a:lnTo>
                    <a:lnTo>
                      <a:pt x="1099" y="1098"/>
                    </a:lnTo>
                    <a:lnTo>
                      <a:pt x="1098" y="1084"/>
                    </a:lnTo>
                    <a:lnTo>
                      <a:pt x="1095" y="1070"/>
                    </a:lnTo>
                    <a:lnTo>
                      <a:pt x="1091" y="1055"/>
                    </a:lnTo>
                    <a:lnTo>
                      <a:pt x="1089" y="1048"/>
                    </a:lnTo>
                    <a:lnTo>
                      <a:pt x="1085" y="1042"/>
                    </a:lnTo>
                    <a:lnTo>
                      <a:pt x="1081" y="1036"/>
                    </a:lnTo>
                    <a:lnTo>
                      <a:pt x="1077" y="1030"/>
                    </a:lnTo>
                    <a:lnTo>
                      <a:pt x="1072" y="1024"/>
                    </a:lnTo>
                    <a:lnTo>
                      <a:pt x="1066" y="1019"/>
                    </a:lnTo>
                    <a:lnTo>
                      <a:pt x="1061" y="1015"/>
                    </a:lnTo>
                    <a:lnTo>
                      <a:pt x="1055" y="1011"/>
                    </a:lnTo>
                    <a:lnTo>
                      <a:pt x="1042" y="1004"/>
                    </a:lnTo>
                    <a:lnTo>
                      <a:pt x="1028" y="997"/>
                    </a:lnTo>
                    <a:lnTo>
                      <a:pt x="1015" y="991"/>
                    </a:lnTo>
                    <a:lnTo>
                      <a:pt x="1000" y="985"/>
                    </a:lnTo>
                    <a:lnTo>
                      <a:pt x="986" y="979"/>
                    </a:lnTo>
                    <a:lnTo>
                      <a:pt x="974" y="973"/>
                    </a:lnTo>
                    <a:lnTo>
                      <a:pt x="961" y="967"/>
                    </a:lnTo>
                    <a:lnTo>
                      <a:pt x="951" y="958"/>
                    </a:lnTo>
                    <a:lnTo>
                      <a:pt x="946" y="954"/>
                    </a:lnTo>
                    <a:lnTo>
                      <a:pt x="942" y="949"/>
                    </a:lnTo>
                    <a:lnTo>
                      <a:pt x="938" y="944"/>
                    </a:lnTo>
                    <a:lnTo>
                      <a:pt x="934" y="939"/>
                    </a:lnTo>
                    <a:lnTo>
                      <a:pt x="932" y="933"/>
                    </a:lnTo>
                    <a:lnTo>
                      <a:pt x="930" y="926"/>
                    </a:lnTo>
                    <a:lnTo>
                      <a:pt x="929" y="919"/>
                    </a:lnTo>
                    <a:lnTo>
                      <a:pt x="929" y="912"/>
                    </a:lnTo>
                    <a:lnTo>
                      <a:pt x="929" y="902"/>
                    </a:lnTo>
                    <a:lnTo>
                      <a:pt x="932" y="893"/>
                    </a:lnTo>
                    <a:lnTo>
                      <a:pt x="935" y="885"/>
                    </a:lnTo>
                    <a:lnTo>
                      <a:pt x="941" y="878"/>
                    </a:lnTo>
                    <a:lnTo>
                      <a:pt x="945" y="871"/>
                    </a:lnTo>
                    <a:lnTo>
                      <a:pt x="950" y="863"/>
                    </a:lnTo>
                    <a:lnTo>
                      <a:pt x="954" y="855"/>
                    </a:lnTo>
                    <a:lnTo>
                      <a:pt x="957" y="846"/>
                    </a:lnTo>
                    <a:lnTo>
                      <a:pt x="966" y="808"/>
                    </a:lnTo>
                    <a:lnTo>
                      <a:pt x="973" y="775"/>
                    </a:lnTo>
                    <a:lnTo>
                      <a:pt x="976" y="758"/>
                    </a:lnTo>
                    <a:lnTo>
                      <a:pt x="981" y="742"/>
                    </a:lnTo>
                    <a:lnTo>
                      <a:pt x="987" y="724"/>
                    </a:lnTo>
                    <a:lnTo>
                      <a:pt x="995" y="706"/>
                    </a:lnTo>
                    <a:lnTo>
                      <a:pt x="1007" y="686"/>
                    </a:lnTo>
                    <a:lnTo>
                      <a:pt x="1018" y="667"/>
                    </a:lnTo>
                    <a:lnTo>
                      <a:pt x="1023" y="658"/>
                    </a:lnTo>
                    <a:lnTo>
                      <a:pt x="1027" y="649"/>
                    </a:lnTo>
                    <a:lnTo>
                      <a:pt x="1029" y="638"/>
                    </a:lnTo>
                    <a:lnTo>
                      <a:pt x="1030" y="626"/>
                    </a:lnTo>
                    <a:lnTo>
                      <a:pt x="1029" y="616"/>
                    </a:lnTo>
                    <a:lnTo>
                      <a:pt x="1028" y="605"/>
                    </a:lnTo>
                    <a:lnTo>
                      <a:pt x="1025" y="596"/>
                    </a:lnTo>
                    <a:lnTo>
                      <a:pt x="1021" y="588"/>
                    </a:lnTo>
                    <a:lnTo>
                      <a:pt x="1013" y="571"/>
                    </a:lnTo>
                    <a:lnTo>
                      <a:pt x="1001" y="556"/>
                    </a:lnTo>
                    <a:lnTo>
                      <a:pt x="991" y="541"/>
                    </a:lnTo>
                    <a:lnTo>
                      <a:pt x="983" y="525"/>
                    </a:lnTo>
                    <a:lnTo>
                      <a:pt x="979" y="516"/>
                    </a:lnTo>
                    <a:lnTo>
                      <a:pt x="976" y="507"/>
                    </a:lnTo>
                    <a:lnTo>
                      <a:pt x="975" y="497"/>
                    </a:lnTo>
                    <a:lnTo>
                      <a:pt x="974" y="486"/>
                    </a:lnTo>
                    <a:lnTo>
                      <a:pt x="975" y="479"/>
                    </a:lnTo>
                    <a:lnTo>
                      <a:pt x="978" y="472"/>
                    </a:lnTo>
                    <a:lnTo>
                      <a:pt x="982" y="466"/>
                    </a:lnTo>
                    <a:lnTo>
                      <a:pt x="987" y="461"/>
                    </a:lnTo>
                    <a:lnTo>
                      <a:pt x="991" y="454"/>
                    </a:lnTo>
                    <a:lnTo>
                      <a:pt x="995" y="449"/>
                    </a:lnTo>
                    <a:lnTo>
                      <a:pt x="998" y="442"/>
                    </a:lnTo>
                    <a:lnTo>
                      <a:pt x="999" y="435"/>
                    </a:lnTo>
                    <a:lnTo>
                      <a:pt x="998" y="423"/>
                    </a:lnTo>
                    <a:lnTo>
                      <a:pt x="996" y="414"/>
                    </a:lnTo>
                    <a:lnTo>
                      <a:pt x="993" y="405"/>
                    </a:lnTo>
                    <a:lnTo>
                      <a:pt x="988" y="397"/>
                    </a:lnTo>
                    <a:lnTo>
                      <a:pt x="983" y="389"/>
                    </a:lnTo>
                    <a:lnTo>
                      <a:pt x="976" y="382"/>
                    </a:lnTo>
                    <a:lnTo>
                      <a:pt x="969" y="375"/>
                    </a:lnTo>
                    <a:lnTo>
                      <a:pt x="962" y="369"/>
                    </a:lnTo>
                    <a:lnTo>
                      <a:pt x="948" y="355"/>
                    </a:lnTo>
                    <a:lnTo>
                      <a:pt x="934" y="340"/>
                    </a:lnTo>
                    <a:lnTo>
                      <a:pt x="928" y="332"/>
                    </a:lnTo>
                    <a:lnTo>
                      <a:pt x="923" y="323"/>
                    </a:lnTo>
                    <a:lnTo>
                      <a:pt x="920" y="313"/>
                    </a:lnTo>
                    <a:lnTo>
                      <a:pt x="917" y="303"/>
                    </a:lnTo>
                    <a:lnTo>
                      <a:pt x="903" y="309"/>
                    </a:lnTo>
                    <a:lnTo>
                      <a:pt x="892" y="317"/>
                    </a:lnTo>
                    <a:lnTo>
                      <a:pt x="881" y="325"/>
                    </a:lnTo>
                    <a:lnTo>
                      <a:pt x="870" y="335"/>
                    </a:lnTo>
                    <a:lnTo>
                      <a:pt x="860" y="342"/>
                    </a:lnTo>
                    <a:lnTo>
                      <a:pt x="849" y="348"/>
                    </a:lnTo>
                    <a:lnTo>
                      <a:pt x="844" y="351"/>
                    </a:lnTo>
                    <a:lnTo>
                      <a:pt x="836" y="353"/>
                    </a:lnTo>
                    <a:lnTo>
                      <a:pt x="829" y="354"/>
                    </a:lnTo>
                    <a:lnTo>
                      <a:pt x="822" y="354"/>
                    </a:lnTo>
                    <a:lnTo>
                      <a:pt x="807" y="354"/>
                    </a:lnTo>
                    <a:lnTo>
                      <a:pt x="794" y="356"/>
                    </a:lnTo>
                    <a:lnTo>
                      <a:pt x="783" y="358"/>
                    </a:lnTo>
                    <a:lnTo>
                      <a:pt x="773" y="358"/>
                    </a:lnTo>
                    <a:lnTo>
                      <a:pt x="759" y="359"/>
                    </a:lnTo>
                    <a:lnTo>
                      <a:pt x="754" y="358"/>
                    </a:lnTo>
                    <a:lnTo>
                      <a:pt x="749" y="356"/>
                    </a:lnTo>
                    <a:lnTo>
                      <a:pt x="746" y="352"/>
                    </a:lnTo>
                    <a:lnTo>
                      <a:pt x="743" y="348"/>
                    </a:lnTo>
                    <a:lnTo>
                      <a:pt x="736" y="339"/>
                    </a:lnTo>
                    <a:lnTo>
                      <a:pt x="731" y="328"/>
                    </a:lnTo>
                    <a:lnTo>
                      <a:pt x="719" y="314"/>
                    </a:lnTo>
                    <a:lnTo>
                      <a:pt x="709" y="302"/>
                    </a:lnTo>
                    <a:lnTo>
                      <a:pt x="704" y="295"/>
                    </a:lnTo>
                    <a:lnTo>
                      <a:pt x="700" y="288"/>
                    </a:lnTo>
                    <a:lnTo>
                      <a:pt x="696" y="280"/>
                    </a:lnTo>
                    <a:lnTo>
                      <a:pt x="693" y="272"/>
                    </a:lnTo>
                    <a:lnTo>
                      <a:pt x="686" y="251"/>
                    </a:lnTo>
                    <a:lnTo>
                      <a:pt x="679" y="232"/>
                    </a:lnTo>
                    <a:lnTo>
                      <a:pt x="671" y="216"/>
                    </a:lnTo>
                    <a:lnTo>
                      <a:pt x="663" y="198"/>
                    </a:lnTo>
                    <a:lnTo>
                      <a:pt x="663" y="198"/>
                    </a:lnTo>
                    <a:lnTo>
                      <a:pt x="690" y="196"/>
                    </a:lnTo>
                    <a:lnTo>
                      <a:pt x="713" y="193"/>
                    </a:lnTo>
                    <a:lnTo>
                      <a:pt x="724" y="191"/>
                    </a:lnTo>
                    <a:lnTo>
                      <a:pt x="735" y="189"/>
                    </a:lnTo>
                    <a:lnTo>
                      <a:pt x="747" y="185"/>
                    </a:lnTo>
                    <a:lnTo>
                      <a:pt x="759" y="180"/>
                    </a:lnTo>
                    <a:lnTo>
                      <a:pt x="764" y="177"/>
                    </a:lnTo>
                    <a:lnTo>
                      <a:pt x="768" y="173"/>
                    </a:lnTo>
                    <a:lnTo>
                      <a:pt x="771" y="168"/>
                    </a:lnTo>
                    <a:lnTo>
                      <a:pt x="774" y="164"/>
                    </a:lnTo>
                    <a:lnTo>
                      <a:pt x="776" y="154"/>
                    </a:lnTo>
                    <a:lnTo>
                      <a:pt x="778" y="144"/>
                    </a:lnTo>
                    <a:lnTo>
                      <a:pt x="779" y="132"/>
                    </a:lnTo>
                    <a:lnTo>
                      <a:pt x="781" y="121"/>
                    </a:lnTo>
                    <a:lnTo>
                      <a:pt x="783" y="116"/>
                    </a:lnTo>
                    <a:lnTo>
                      <a:pt x="785" y="111"/>
                    </a:lnTo>
                    <a:lnTo>
                      <a:pt x="788" y="106"/>
                    </a:lnTo>
                    <a:lnTo>
                      <a:pt x="792" y="101"/>
                    </a:lnTo>
                    <a:lnTo>
                      <a:pt x="819" y="79"/>
                    </a:lnTo>
                    <a:lnTo>
                      <a:pt x="842" y="56"/>
                    </a:lnTo>
                    <a:lnTo>
                      <a:pt x="852" y="44"/>
                    </a:lnTo>
                    <a:lnTo>
                      <a:pt x="861" y="31"/>
                    </a:lnTo>
                    <a:lnTo>
                      <a:pt x="869" y="17"/>
                    </a:lnTo>
                    <a:lnTo>
                      <a:pt x="877" y="0"/>
                    </a:lnTo>
                    <a:lnTo>
                      <a:pt x="896" y="21"/>
                    </a:lnTo>
                    <a:lnTo>
                      <a:pt x="916" y="40"/>
                    </a:lnTo>
                    <a:lnTo>
                      <a:pt x="935" y="58"/>
                    </a:lnTo>
                    <a:lnTo>
                      <a:pt x="955" y="74"/>
                    </a:lnTo>
                    <a:lnTo>
                      <a:pt x="975" y="90"/>
                    </a:lnTo>
                    <a:lnTo>
                      <a:pt x="994" y="103"/>
                    </a:lnTo>
                    <a:lnTo>
                      <a:pt x="1015" y="116"/>
                    </a:lnTo>
                    <a:lnTo>
                      <a:pt x="1037" y="127"/>
                    </a:lnTo>
                    <a:lnTo>
                      <a:pt x="1058" y="136"/>
                    </a:lnTo>
                    <a:lnTo>
                      <a:pt x="1080" y="145"/>
                    </a:lnTo>
                    <a:lnTo>
                      <a:pt x="1104" y="152"/>
                    </a:lnTo>
                    <a:lnTo>
                      <a:pt x="1127" y="158"/>
                    </a:lnTo>
                    <a:lnTo>
                      <a:pt x="1152" y="162"/>
                    </a:lnTo>
                    <a:lnTo>
                      <a:pt x="1178" y="165"/>
                    </a:lnTo>
                    <a:lnTo>
                      <a:pt x="1205" y="167"/>
                    </a:lnTo>
                    <a:lnTo>
                      <a:pt x="1233" y="167"/>
                    </a:lnTo>
                    <a:lnTo>
                      <a:pt x="1261" y="167"/>
                    </a:lnTo>
                    <a:lnTo>
                      <a:pt x="1286" y="166"/>
                    </a:lnTo>
                    <a:lnTo>
                      <a:pt x="1298" y="164"/>
                    </a:lnTo>
                    <a:lnTo>
                      <a:pt x="1311" y="161"/>
                    </a:lnTo>
                    <a:lnTo>
                      <a:pt x="1323" y="157"/>
                    </a:lnTo>
                    <a:lnTo>
                      <a:pt x="1337" y="151"/>
                    </a:lnTo>
                    <a:lnTo>
                      <a:pt x="1349" y="145"/>
                    </a:lnTo>
                    <a:lnTo>
                      <a:pt x="1359" y="137"/>
                    </a:lnTo>
                    <a:lnTo>
                      <a:pt x="1370" y="130"/>
                    </a:lnTo>
                    <a:lnTo>
                      <a:pt x="1379" y="123"/>
                    </a:lnTo>
                    <a:lnTo>
                      <a:pt x="1395" y="106"/>
                    </a:lnTo>
                    <a:lnTo>
                      <a:pt x="1411" y="90"/>
                    </a:lnTo>
                    <a:lnTo>
                      <a:pt x="1419" y="82"/>
                    </a:lnTo>
                    <a:lnTo>
                      <a:pt x="1427" y="74"/>
                    </a:lnTo>
                    <a:lnTo>
                      <a:pt x="1436" y="67"/>
                    </a:lnTo>
                    <a:lnTo>
                      <a:pt x="1445" y="61"/>
                    </a:lnTo>
                    <a:lnTo>
                      <a:pt x="1454" y="55"/>
                    </a:lnTo>
                    <a:lnTo>
                      <a:pt x="1466" y="49"/>
                    </a:lnTo>
                    <a:lnTo>
                      <a:pt x="1477" y="44"/>
                    </a:lnTo>
                    <a:lnTo>
                      <a:pt x="1490" y="40"/>
                    </a:lnTo>
                    <a:lnTo>
                      <a:pt x="1490" y="40"/>
                    </a:lnTo>
                    <a:lnTo>
                      <a:pt x="1508" y="34"/>
                    </a:lnTo>
                    <a:lnTo>
                      <a:pt x="1523" y="30"/>
                    </a:lnTo>
                    <a:lnTo>
                      <a:pt x="1532" y="29"/>
                    </a:lnTo>
                    <a:lnTo>
                      <a:pt x="1540" y="27"/>
                    </a:lnTo>
                    <a:lnTo>
                      <a:pt x="1548" y="27"/>
                    </a:lnTo>
                    <a:lnTo>
                      <a:pt x="1558" y="26"/>
                    </a:lnTo>
                    <a:lnTo>
                      <a:pt x="1569" y="27"/>
                    </a:lnTo>
                    <a:lnTo>
                      <a:pt x="1578" y="27"/>
                    </a:lnTo>
                    <a:lnTo>
                      <a:pt x="1587" y="29"/>
                    </a:lnTo>
                    <a:lnTo>
                      <a:pt x="1596" y="30"/>
                    </a:lnTo>
                    <a:lnTo>
                      <a:pt x="1613" y="35"/>
                    </a:lnTo>
                    <a:lnTo>
                      <a:pt x="1628" y="41"/>
                    </a:lnTo>
                    <a:lnTo>
                      <a:pt x="1660" y="56"/>
                    </a:lnTo>
                    <a:lnTo>
                      <a:pt x="1695" y="73"/>
                    </a:lnTo>
                    <a:lnTo>
                      <a:pt x="1722" y="86"/>
                    </a:lnTo>
                    <a:lnTo>
                      <a:pt x="1748" y="95"/>
                    </a:lnTo>
                    <a:lnTo>
                      <a:pt x="1772" y="104"/>
                    </a:lnTo>
                    <a:lnTo>
                      <a:pt x="1796" y="111"/>
                    </a:lnTo>
                    <a:lnTo>
                      <a:pt x="1820" y="117"/>
                    </a:lnTo>
                    <a:lnTo>
                      <a:pt x="1846" y="120"/>
                    </a:lnTo>
                    <a:lnTo>
                      <a:pt x="1873" y="122"/>
                    </a:lnTo>
                    <a:lnTo>
                      <a:pt x="1903" y="123"/>
                    </a:lnTo>
                    <a:lnTo>
                      <a:pt x="1913" y="123"/>
                    </a:lnTo>
                    <a:lnTo>
                      <a:pt x="1922" y="122"/>
                    </a:lnTo>
                    <a:lnTo>
                      <a:pt x="1932" y="120"/>
                    </a:lnTo>
                    <a:lnTo>
                      <a:pt x="1940" y="117"/>
                    </a:lnTo>
                    <a:lnTo>
                      <a:pt x="1947" y="113"/>
                    </a:lnTo>
                    <a:lnTo>
                      <a:pt x="1954" y="107"/>
                    </a:lnTo>
                    <a:lnTo>
                      <a:pt x="1962" y="100"/>
                    </a:lnTo>
                    <a:lnTo>
                      <a:pt x="1969" y="92"/>
                    </a:lnTo>
                    <a:lnTo>
                      <a:pt x="1969" y="92"/>
                    </a:lnTo>
                    <a:lnTo>
                      <a:pt x="1974" y="105"/>
                    </a:lnTo>
                    <a:lnTo>
                      <a:pt x="1978" y="118"/>
                    </a:lnTo>
                    <a:lnTo>
                      <a:pt x="1978" y="123"/>
                    </a:lnTo>
                    <a:lnTo>
                      <a:pt x="1977" y="127"/>
                    </a:lnTo>
                    <a:lnTo>
                      <a:pt x="1975" y="131"/>
                    </a:lnTo>
                    <a:lnTo>
                      <a:pt x="1974" y="135"/>
                    </a:lnTo>
                    <a:lnTo>
                      <a:pt x="1969" y="142"/>
                    </a:lnTo>
                    <a:lnTo>
                      <a:pt x="1963" y="148"/>
                    </a:lnTo>
                    <a:lnTo>
                      <a:pt x="1954" y="153"/>
                    </a:lnTo>
                    <a:lnTo>
                      <a:pt x="1946" y="157"/>
                    </a:lnTo>
                    <a:lnTo>
                      <a:pt x="1937" y="160"/>
                    </a:lnTo>
                    <a:lnTo>
                      <a:pt x="1928" y="164"/>
                    </a:lnTo>
                    <a:lnTo>
                      <a:pt x="1918" y="168"/>
                    </a:lnTo>
                    <a:lnTo>
                      <a:pt x="1909" y="172"/>
                    </a:lnTo>
                    <a:lnTo>
                      <a:pt x="1900" y="176"/>
                    </a:lnTo>
                    <a:lnTo>
                      <a:pt x="1892" y="181"/>
                    </a:lnTo>
                    <a:lnTo>
                      <a:pt x="1886" y="187"/>
                    </a:lnTo>
                    <a:lnTo>
                      <a:pt x="1881" y="193"/>
                    </a:lnTo>
                    <a:lnTo>
                      <a:pt x="1879" y="197"/>
                    </a:lnTo>
                    <a:lnTo>
                      <a:pt x="1878" y="201"/>
                    </a:lnTo>
                    <a:lnTo>
                      <a:pt x="1877" y="206"/>
                    </a:lnTo>
                    <a:lnTo>
                      <a:pt x="1877" y="211"/>
                    </a:lnTo>
                    <a:lnTo>
                      <a:pt x="1877" y="215"/>
                    </a:lnTo>
                    <a:lnTo>
                      <a:pt x="1879" y="219"/>
                    </a:lnTo>
                    <a:lnTo>
                      <a:pt x="1881" y="223"/>
                    </a:lnTo>
                    <a:lnTo>
                      <a:pt x="1883" y="227"/>
                    </a:lnTo>
                    <a:lnTo>
                      <a:pt x="1886" y="230"/>
                    </a:lnTo>
                    <a:lnTo>
                      <a:pt x="1888" y="234"/>
                    </a:lnTo>
                    <a:lnTo>
                      <a:pt x="1890" y="239"/>
                    </a:lnTo>
                    <a:lnTo>
                      <a:pt x="1890" y="244"/>
                    </a:lnTo>
                    <a:lnTo>
                      <a:pt x="1889" y="252"/>
                    </a:lnTo>
                    <a:lnTo>
                      <a:pt x="1887" y="260"/>
                    </a:lnTo>
                    <a:lnTo>
                      <a:pt x="1885" y="268"/>
                    </a:lnTo>
                    <a:lnTo>
                      <a:pt x="1883" y="277"/>
                    </a:lnTo>
                    <a:lnTo>
                      <a:pt x="1884" y="283"/>
                    </a:lnTo>
                    <a:lnTo>
                      <a:pt x="1885" y="289"/>
                    </a:lnTo>
                    <a:lnTo>
                      <a:pt x="1886" y="294"/>
                    </a:lnTo>
                    <a:lnTo>
                      <a:pt x="1888" y="301"/>
                    </a:lnTo>
                    <a:lnTo>
                      <a:pt x="1895" y="310"/>
                    </a:lnTo>
                    <a:lnTo>
                      <a:pt x="1902" y="319"/>
                    </a:lnTo>
                    <a:lnTo>
                      <a:pt x="1919" y="336"/>
                    </a:lnTo>
                    <a:lnTo>
                      <a:pt x="1938" y="354"/>
                    </a:lnTo>
                    <a:lnTo>
                      <a:pt x="1941" y="358"/>
                    </a:lnTo>
                    <a:lnTo>
                      <a:pt x="1944" y="364"/>
                    </a:lnTo>
                    <a:lnTo>
                      <a:pt x="1946" y="368"/>
                    </a:lnTo>
                    <a:lnTo>
                      <a:pt x="1948" y="372"/>
                    </a:lnTo>
                    <a:lnTo>
                      <a:pt x="1950" y="382"/>
                    </a:lnTo>
                    <a:lnTo>
                      <a:pt x="1950" y="391"/>
                    </a:lnTo>
                    <a:lnTo>
                      <a:pt x="1949" y="412"/>
                    </a:lnTo>
                    <a:lnTo>
                      <a:pt x="1947" y="434"/>
                    </a:lnTo>
                    <a:lnTo>
                      <a:pt x="1947" y="492"/>
                    </a:lnTo>
                    <a:lnTo>
                      <a:pt x="1971" y="506"/>
                    </a:lnTo>
                    <a:lnTo>
                      <a:pt x="1992" y="521"/>
                    </a:lnTo>
                    <a:lnTo>
                      <a:pt x="1998" y="524"/>
                    </a:lnTo>
                    <a:lnTo>
                      <a:pt x="2002" y="528"/>
                    </a:lnTo>
                    <a:lnTo>
                      <a:pt x="2006" y="533"/>
                    </a:lnTo>
                    <a:lnTo>
                      <a:pt x="2009" y="537"/>
                    </a:lnTo>
                    <a:lnTo>
                      <a:pt x="2012" y="542"/>
                    </a:lnTo>
                    <a:lnTo>
                      <a:pt x="2014" y="548"/>
                    </a:lnTo>
                    <a:lnTo>
                      <a:pt x="2015" y="555"/>
                    </a:lnTo>
                    <a:lnTo>
                      <a:pt x="2015" y="561"/>
                    </a:lnTo>
                    <a:lnTo>
                      <a:pt x="2015" y="574"/>
                    </a:lnTo>
                    <a:lnTo>
                      <a:pt x="2015" y="588"/>
                    </a:lnTo>
                    <a:lnTo>
                      <a:pt x="2014" y="600"/>
                    </a:lnTo>
                    <a:lnTo>
                      <a:pt x="2011" y="612"/>
                    </a:lnTo>
                    <a:lnTo>
                      <a:pt x="2010" y="618"/>
                    </a:lnTo>
                    <a:lnTo>
                      <a:pt x="2008" y="624"/>
                    </a:lnTo>
                    <a:lnTo>
                      <a:pt x="2005" y="628"/>
                    </a:lnTo>
                    <a:lnTo>
                      <a:pt x="2002" y="633"/>
                    </a:lnTo>
                    <a:lnTo>
                      <a:pt x="1998" y="637"/>
                    </a:lnTo>
                    <a:lnTo>
                      <a:pt x="1994" y="641"/>
                    </a:lnTo>
                    <a:lnTo>
                      <a:pt x="1988" y="644"/>
                    </a:lnTo>
                    <a:lnTo>
                      <a:pt x="1982" y="647"/>
                    </a:lnTo>
                    <a:lnTo>
                      <a:pt x="1986" y="661"/>
                    </a:lnTo>
                    <a:lnTo>
                      <a:pt x="1991" y="674"/>
                    </a:lnTo>
                    <a:lnTo>
                      <a:pt x="1997" y="687"/>
                    </a:lnTo>
                    <a:lnTo>
                      <a:pt x="2003" y="699"/>
                    </a:lnTo>
                    <a:lnTo>
                      <a:pt x="2009" y="711"/>
                    </a:lnTo>
                    <a:lnTo>
                      <a:pt x="2016" y="722"/>
                    </a:lnTo>
                    <a:lnTo>
                      <a:pt x="2024" y="732"/>
                    </a:lnTo>
                    <a:lnTo>
                      <a:pt x="2034" y="742"/>
                    </a:lnTo>
                    <a:lnTo>
                      <a:pt x="2043" y="750"/>
                    </a:lnTo>
                    <a:lnTo>
                      <a:pt x="2053" y="757"/>
                    </a:lnTo>
                    <a:lnTo>
                      <a:pt x="2065" y="763"/>
                    </a:lnTo>
                    <a:lnTo>
                      <a:pt x="2076" y="769"/>
                    </a:lnTo>
                    <a:lnTo>
                      <a:pt x="2088" y="774"/>
                    </a:lnTo>
                    <a:lnTo>
                      <a:pt x="2101" y="777"/>
                    </a:lnTo>
                    <a:lnTo>
                      <a:pt x="2115" y="779"/>
                    </a:lnTo>
                    <a:lnTo>
                      <a:pt x="2129" y="780"/>
                    </a:lnTo>
                    <a:lnTo>
                      <a:pt x="2148" y="779"/>
                    </a:lnTo>
                    <a:lnTo>
                      <a:pt x="2167" y="778"/>
                    </a:lnTo>
                    <a:lnTo>
                      <a:pt x="2183" y="777"/>
                    </a:lnTo>
                    <a:lnTo>
                      <a:pt x="2200" y="775"/>
                    </a:lnTo>
                    <a:lnTo>
                      <a:pt x="2216" y="773"/>
                    </a:lnTo>
                    <a:lnTo>
                      <a:pt x="2233" y="771"/>
                    </a:lnTo>
                    <a:lnTo>
                      <a:pt x="2250" y="770"/>
                    </a:lnTo>
                    <a:lnTo>
                      <a:pt x="2270" y="769"/>
                    </a:lnTo>
                    <a:lnTo>
                      <a:pt x="2276" y="770"/>
                    </a:lnTo>
                    <a:lnTo>
                      <a:pt x="2281" y="771"/>
                    </a:lnTo>
                    <a:lnTo>
                      <a:pt x="2285" y="774"/>
                    </a:lnTo>
                    <a:lnTo>
                      <a:pt x="2289" y="776"/>
                    </a:lnTo>
                    <a:lnTo>
                      <a:pt x="2297" y="783"/>
                    </a:lnTo>
                    <a:lnTo>
                      <a:pt x="2303" y="791"/>
                    </a:lnTo>
                    <a:lnTo>
                      <a:pt x="2309" y="799"/>
                    </a:lnTo>
                    <a:lnTo>
                      <a:pt x="2315" y="809"/>
                    </a:lnTo>
                    <a:lnTo>
                      <a:pt x="2322" y="818"/>
                    </a:lnTo>
                    <a:lnTo>
                      <a:pt x="2332" y="826"/>
                    </a:lnTo>
                    <a:lnTo>
                      <a:pt x="2348" y="839"/>
                    </a:lnTo>
                    <a:lnTo>
                      <a:pt x="2363" y="849"/>
                    </a:lnTo>
                    <a:lnTo>
                      <a:pt x="2378" y="858"/>
                    </a:lnTo>
                    <a:lnTo>
                      <a:pt x="2394" y="866"/>
                    </a:lnTo>
                    <a:lnTo>
                      <a:pt x="2409" y="873"/>
                    </a:lnTo>
                    <a:lnTo>
                      <a:pt x="2426" y="878"/>
                    </a:lnTo>
                    <a:lnTo>
                      <a:pt x="2443" y="882"/>
                    </a:lnTo>
                    <a:lnTo>
                      <a:pt x="2464" y="885"/>
                    </a:lnTo>
                    <a:lnTo>
                      <a:pt x="2463" y="900"/>
                    </a:lnTo>
                    <a:lnTo>
                      <a:pt x="2463" y="912"/>
                    </a:lnTo>
                    <a:lnTo>
                      <a:pt x="2464" y="925"/>
                    </a:lnTo>
                    <a:lnTo>
                      <a:pt x="2464" y="939"/>
                    </a:lnTo>
                    <a:lnTo>
                      <a:pt x="2463" y="950"/>
                    </a:lnTo>
                    <a:lnTo>
                      <a:pt x="2462" y="959"/>
                    </a:lnTo>
                    <a:lnTo>
                      <a:pt x="2460" y="969"/>
                    </a:lnTo>
                    <a:lnTo>
                      <a:pt x="2458" y="977"/>
                    </a:lnTo>
                    <a:lnTo>
                      <a:pt x="2456" y="985"/>
                    </a:lnTo>
                    <a:lnTo>
                      <a:pt x="2453" y="995"/>
                    </a:lnTo>
                    <a:lnTo>
                      <a:pt x="2452" y="1004"/>
                    </a:lnTo>
                    <a:lnTo>
                      <a:pt x="2451" y="1015"/>
                    </a:lnTo>
                    <a:lnTo>
                      <a:pt x="2451" y="1063"/>
                    </a:lnTo>
                    <a:lnTo>
                      <a:pt x="2452" y="1074"/>
                    </a:lnTo>
                    <a:lnTo>
                      <a:pt x="2453" y="1083"/>
                    </a:lnTo>
                    <a:lnTo>
                      <a:pt x="2456" y="1093"/>
                    </a:lnTo>
                    <a:lnTo>
                      <a:pt x="2458" y="1102"/>
                    </a:lnTo>
                    <a:lnTo>
                      <a:pt x="2460" y="1110"/>
                    </a:lnTo>
                    <a:lnTo>
                      <a:pt x="2462" y="1119"/>
                    </a:lnTo>
                    <a:lnTo>
                      <a:pt x="2463" y="1130"/>
                    </a:lnTo>
                    <a:lnTo>
                      <a:pt x="2464" y="1140"/>
                    </a:lnTo>
                    <a:lnTo>
                      <a:pt x="2462" y="1164"/>
                    </a:lnTo>
                    <a:lnTo>
                      <a:pt x="2461" y="1186"/>
                    </a:lnTo>
                    <a:lnTo>
                      <a:pt x="2462" y="1196"/>
                    </a:lnTo>
                    <a:lnTo>
                      <a:pt x="2465" y="1205"/>
                    </a:lnTo>
                    <a:lnTo>
                      <a:pt x="2467" y="1209"/>
                    </a:lnTo>
                    <a:lnTo>
                      <a:pt x="2470" y="1213"/>
                    </a:lnTo>
                    <a:lnTo>
                      <a:pt x="2473" y="1218"/>
                    </a:lnTo>
                    <a:lnTo>
                      <a:pt x="2478" y="1221"/>
                    </a:lnTo>
                    <a:lnTo>
                      <a:pt x="2502" y="1236"/>
                    </a:lnTo>
                    <a:lnTo>
                      <a:pt x="2526" y="1249"/>
                    </a:lnTo>
                    <a:lnTo>
                      <a:pt x="2548" y="1259"/>
                    </a:lnTo>
                    <a:lnTo>
                      <a:pt x="2572" y="1267"/>
                    </a:lnTo>
                    <a:lnTo>
                      <a:pt x="2595" y="1273"/>
                    </a:lnTo>
                    <a:lnTo>
                      <a:pt x="2621" y="1280"/>
                    </a:lnTo>
                    <a:lnTo>
                      <a:pt x="2646" y="1284"/>
                    </a:lnTo>
                    <a:lnTo>
                      <a:pt x="2676" y="1289"/>
                    </a:lnTo>
                    <a:lnTo>
                      <a:pt x="2677" y="1305"/>
                    </a:lnTo>
                    <a:lnTo>
                      <a:pt x="2679" y="1321"/>
                    </a:lnTo>
                    <a:lnTo>
                      <a:pt x="2681" y="1337"/>
                    </a:lnTo>
                    <a:lnTo>
                      <a:pt x="2687" y="1352"/>
                    </a:lnTo>
                    <a:lnTo>
                      <a:pt x="2689" y="1358"/>
                    </a:lnTo>
                    <a:lnTo>
                      <a:pt x="2693" y="1364"/>
                    </a:lnTo>
                    <a:lnTo>
                      <a:pt x="2696" y="1370"/>
                    </a:lnTo>
                    <a:lnTo>
                      <a:pt x="2701" y="1375"/>
                    </a:lnTo>
                    <a:lnTo>
                      <a:pt x="2706" y="1379"/>
                    </a:lnTo>
                    <a:lnTo>
                      <a:pt x="2711" y="1381"/>
                    </a:lnTo>
                    <a:lnTo>
                      <a:pt x="2717" y="1383"/>
                    </a:lnTo>
                    <a:lnTo>
                      <a:pt x="2726" y="1384"/>
                    </a:lnTo>
                    <a:lnTo>
                      <a:pt x="2732" y="1383"/>
                    </a:lnTo>
                    <a:lnTo>
                      <a:pt x="2737" y="1381"/>
                    </a:lnTo>
                    <a:lnTo>
                      <a:pt x="2743" y="1378"/>
                    </a:lnTo>
                    <a:lnTo>
                      <a:pt x="2747" y="1375"/>
                    </a:lnTo>
                    <a:lnTo>
                      <a:pt x="2753" y="1370"/>
                    </a:lnTo>
                    <a:lnTo>
                      <a:pt x="2758" y="1367"/>
                    </a:lnTo>
                    <a:lnTo>
                      <a:pt x="2764" y="1365"/>
                    </a:lnTo>
                    <a:lnTo>
                      <a:pt x="2770" y="1364"/>
                    </a:lnTo>
                    <a:lnTo>
                      <a:pt x="2775" y="1365"/>
                    </a:lnTo>
                    <a:lnTo>
                      <a:pt x="2779" y="1366"/>
                    </a:lnTo>
                    <a:lnTo>
                      <a:pt x="2783" y="1368"/>
                    </a:lnTo>
                    <a:lnTo>
                      <a:pt x="2787" y="1371"/>
                    </a:lnTo>
                    <a:lnTo>
                      <a:pt x="2790" y="1375"/>
                    </a:lnTo>
                    <a:lnTo>
                      <a:pt x="2792" y="1378"/>
                    </a:lnTo>
                    <a:lnTo>
                      <a:pt x="2794" y="1383"/>
                    </a:lnTo>
                    <a:lnTo>
                      <a:pt x="2796" y="1387"/>
                    </a:lnTo>
                    <a:lnTo>
                      <a:pt x="2800" y="1409"/>
                    </a:lnTo>
                    <a:lnTo>
                      <a:pt x="2805" y="1430"/>
                    </a:lnTo>
                    <a:lnTo>
                      <a:pt x="2814" y="1458"/>
                    </a:lnTo>
                    <a:lnTo>
                      <a:pt x="2823" y="1483"/>
                    </a:lnTo>
                    <a:lnTo>
                      <a:pt x="2827" y="1495"/>
                    </a:lnTo>
                    <a:lnTo>
                      <a:pt x="2829" y="1508"/>
                    </a:lnTo>
                    <a:lnTo>
                      <a:pt x="2831" y="1522"/>
                    </a:lnTo>
                    <a:lnTo>
                      <a:pt x="2831" y="1537"/>
                    </a:lnTo>
                    <a:lnTo>
                      <a:pt x="2831" y="1555"/>
                    </a:lnTo>
                    <a:lnTo>
                      <a:pt x="2828" y="1574"/>
                    </a:lnTo>
                    <a:lnTo>
                      <a:pt x="2826" y="1583"/>
                    </a:lnTo>
                    <a:lnTo>
                      <a:pt x="2823" y="1592"/>
                    </a:lnTo>
                    <a:lnTo>
                      <a:pt x="2820" y="1601"/>
                    </a:lnTo>
                    <a:lnTo>
                      <a:pt x="2816" y="1609"/>
                    </a:lnTo>
                    <a:lnTo>
                      <a:pt x="2812" y="1616"/>
                    </a:lnTo>
                    <a:lnTo>
                      <a:pt x="2807" y="1622"/>
                    </a:lnTo>
                    <a:lnTo>
                      <a:pt x="2802" y="1629"/>
                    </a:lnTo>
                    <a:lnTo>
                      <a:pt x="2796" y="1634"/>
                    </a:lnTo>
                    <a:lnTo>
                      <a:pt x="2789" y="1638"/>
                    </a:lnTo>
                    <a:lnTo>
                      <a:pt x="2781" y="1641"/>
                    </a:lnTo>
                    <a:lnTo>
                      <a:pt x="2773" y="1643"/>
                    </a:lnTo>
                    <a:lnTo>
                      <a:pt x="2765" y="1643"/>
                    </a:lnTo>
                    <a:lnTo>
                      <a:pt x="2716" y="1643"/>
                    </a:lnTo>
                    <a:lnTo>
                      <a:pt x="2708" y="1644"/>
                    </a:lnTo>
                    <a:lnTo>
                      <a:pt x="2701" y="1645"/>
                    </a:lnTo>
                    <a:lnTo>
                      <a:pt x="2695" y="1648"/>
                    </a:lnTo>
                    <a:lnTo>
                      <a:pt x="2689" y="1651"/>
                    </a:lnTo>
                    <a:lnTo>
                      <a:pt x="2676" y="1659"/>
                    </a:lnTo>
                    <a:lnTo>
                      <a:pt x="2662" y="1665"/>
                    </a:lnTo>
                    <a:lnTo>
                      <a:pt x="2662" y="1677"/>
                    </a:lnTo>
                    <a:lnTo>
                      <a:pt x="2664" y="1689"/>
                    </a:lnTo>
                    <a:lnTo>
                      <a:pt x="2666" y="1701"/>
                    </a:lnTo>
                    <a:lnTo>
                      <a:pt x="2669" y="1711"/>
                    </a:lnTo>
                    <a:lnTo>
                      <a:pt x="2676" y="1732"/>
                    </a:lnTo>
                    <a:lnTo>
                      <a:pt x="2685" y="1751"/>
                    </a:lnTo>
                    <a:lnTo>
                      <a:pt x="2694" y="1771"/>
                    </a:lnTo>
                    <a:lnTo>
                      <a:pt x="2701" y="1792"/>
                    </a:lnTo>
                    <a:lnTo>
                      <a:pt x="2704" y="1802"/>
                    </a:lnTo>
                    <a:lnTo>
                      <a:pt x="2707" y="1813"/>
                    </a:lnTo>
                    <a:lnTo>
                      <a:pt x="2708" y="1826"/>
                    </a:lnTo>
                    <a:lnTo>
                      <a:pt x="2709" y="1838"/>
                    </a:lnTo>
                    <a:lnTo>
                      <a:pt x="2709" y="1863"/>
                    </a:lnTo>
                    <a:lnTo>
                      <a:pt x="2710" y="1884"/>
                    </a:lnTo>
                    <a:lnTo>
                      <a:pt x="2710" y="1905"/>
                    </a:lnTo>
                    <a:lnTo>
                      <a:pt x="2711" y="1929"/>
                    </a:lnTo>
                    <a:lnTo>
                      <a:pt x="2710" y="1948"/>
                    </a:lnTo>
                    <a:lnTo>
                      <a:pt x="2708" y="1965"/>
                    </a:lnTo>
                    <a:lnTo>
                      <a:pt x="2706" y="1981"/>
                    </a:lnTo>
                    <a:lnTo>
                      <a:pt x="2703" y="1996"/>
                    </a:lnTo>
                    <a:lnTo>
                      <a:pt x="2700" y="2012"/>
                    </a:lnTo>
                    <a:lnTo>
                      <a:pt x="2697" y="2027"/>
                    </a:lnTo>
                    <a:lnTo>
                      <a:pt x="2696" y="2044"/>
                    </a:lnTo>
                    <a:lnTo>
                      <a:pt x="2695" y="2063"/>
                    </a:lnTo>
                    <a:lnTo>
                      <a:pt x="2695" y="2076"/>
                    </a:lnTo>
                    <a:lnTo>
                      <a:pt x="2697" y="2088"/>
                    </a:lnTo>
                    <a:lnTo>
                      <a:pt x="2697" y="2088"/>
                    </a:lnTo>
                  </a:path>
                </a:pathLst>
              </a:custGeom>
              <a:solidFill>
                <a:srgbClr val="67AF1E"/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5B5469B0-C045-4B2B-9AF7-5B805B8A3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1308" y="5429429"/>
                <a:ext cx="9869" cy="0"/>
              </a:xfrm>
              <a:custGeom>
                <a:avLst/>
                <a:gdLst>
                  <a:gd name="T0" fmla="*/ 0 w 13"/>
                  <a:gd name="T1" fmla="*/ 0 h 5"/>
                  <a:gd name="T2" fmla="*/ 7 w 13"/>
                  <a:gd name="T3" fmla="*/ 2 h 5"/>
                  <a:gd name="T4" fmla="*/ 13 w 13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5">
                    <a:moveTo>
                      <a:pt x="0" y="0"/>
                    </a:moveTo>
                    <a:lnTo>
                      <a:pt x="7" y="2"/>
                    </a:lnTo>
                    <a:lnTo>
                      <a:pt x="13" y="5"/>
                    </a:lnTo>
                  </a:path>
                </a:pathLst>
              </a:custGeom>
              <a:solidFill>
                <a:srgbClr val="DCDCDC"/>
              </a:solidFill>
              <a:ln w="12700">
                <a:solidFill>
                  <a:srgbClr val="7D7D7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8" name="Mykolayiv">
                <a:extLst>
                  <a:ext uri="{FF2B5EF4-FFF2-40B4-BE49-F238E27FC236}">
                    <a16:creationId xmlns:a16="http://schemas.microsoft.com/office/drawing/2014/main" id="{7BF9ECA1-07F1-467A-A512-89F75193A4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5379" y="4244649"/>
                <a:ext cx="1292959" cy="998036"/>
              </a:xfrm>
              <a:custGeom>
                <a:avLst/>
                <a:gdLst>
                  <a:gd name="T0" fmla="*/ 2547 w 2609"/>
                  <a:gd name="T1" fmla="*/ 1095 h 2125"/>
                  <a:gd name="T2" fmla="*/ 2609 w 2609"/>
                  <a:gd name="T3" fmla="*/ 1303 h 2125"/>
                  <a:gd name="T4" fmla="*/ 2470 w 2609"/>
                  <a:gd name="T5" fmla="*/ 1383 h 2125"/>
                  <a:gd name="T6" fmla="*/ 2403 w 2609"/>
                  <a:gd name="T7" fmla="*/ 1457 h 2125"/>
                  <a:gd name="T8" fmla="*/ 2491 w 2609"/>
                  <a:gd name="T9" fmla="*/ 1578 h 2125"/>
                  <a:gd name="T10" fmla="*/ 2448 w 2609"/>
                  <a:gd name="T11" fmla="*/ 1757 h 2125"/>
                  <a:gd name="T12" fmla="*/ 2297 w 2609"/>
                  <a:gd name="T13" fmla="*/ 1857 h 2125"/>
                  <a:gd name="T14" fmla="*/ 2113 w 2609"/>
                  <a:gd name="T15" fmla="*/ 1795 h 2125"/>
                  <a:gd name="T16" fmla="*/ 2033 w 2609"/>
                  <a:gd name="T17" fmla="*/ 1874 h 2125"/>
                  <a:gd name="T18" fmla="*/ 1969 w 2609"/>
                  <a:gd name="T19" fmla="*/ 1865 h 2125"/>
                  <a:gd name="T20" fmla="*/ 1853 w 2609"/>
                  <a:gd name="T21" fmla="*/ 1843 h 2125"/>
                  <a:gd name="T22" fmla="*/ 1769 w 2609"/>
                  <a:gd name="T23" fmla="*/ 1951 h 2125"/>
                  <a:gd name="T24" fmla="*/ 1566 w 2609"/>
                  <a:gd name="T25" fmla="*/ 2056 h 2125"/>
                  <a:gd name="T26" fmla="*/ 1505 w 2609"/>
                  <a:gd name="T27" fmla="*/ 1929 h 2125"/>
                  <a:gd name="T28" fmla="*/ 1553 w 2609"/>
                  <a:gd name="T29" fmla="*/ 1740 h 2125"/>
                  <a:gd name="T30" fmla="*/ 1499 w 2609"/>
                  <a:gd name="T31" fmla="*/ 1798 h 2125"/>
                  <a:gd name="T32" fmla="*/ 1434 w 2609"/>
                  <a:gd name="T33" fmla="*/ 1885 h 2125"/>
                  <a:gd name="T34" fmla="*/ 1479 w 2609"/>
                  <a:gd name="T35" fmla="*/ 2034 h 2125"/>
                  <a:gd name="T36" fmla="*/ 1385 w 2609"/>
                  <a:gd name="T37" fmla="*/ 2101 h 2125"/>
                  <a:gd name="T38" fmla="*/ 1208 w 2609"/>
                  <a:gd name="T39" fmla="*/ 2070 h 2125"/>
                  <a:gd name="T40" fmla="*/ 1128 w 2609"/>
                  <a:gd name="T41" fmla="*/ 2094 h 2125"/>
                  <a:gd name="T42" fmla="*/ 1154 w 2609"/>
                  <a:gd name="T43" fmla="*/ 1983 h 2125"/>
                  <a:gd name="T44" fmla="*/ 1209 w 2609"/>
                  <a:gd name="T45" fmla="*/ 1845 h 2125"/>
                  <a:gd name="T46" fmla="*/ 1140 w 2609"/>
                  <a:gd name="T47" fmla="*/ 1929 h 2125"/>
                  <a:gd name="T48" fmla="*/ 1075 w 2609"/>
                  <a:gd name="T49" fmla="*/ 1902 h 2125"/>
                  <a:gd name="T50" fmla="*/ 1083 w 2609"/>
                  <a:gd name="T51" fmla="*/ 1942 h 2125"/>
                  <a:gd name="T52" fmla="*/ 1057 w 2609"/>
                  <a:gd name="T53" fmla="*/ 2067 h 2125"/>
                  <a:gd name="T54" fmla="*/ 820 w 2609"/>
                  <a:gd name="T55" fmla="*/ 2041 h 2125"/>
                  <a:gd name="T56" fmla="*/ 817 w 2609"/>
                  <a:gd name="T57" fmla="*/ 1785 h 2125"/>
                  <a:gd name="T58" fmla="*/ 896 w 2609"/>
                  <a:gd name="T59" fmla="*/ 1657 h 2125"/>
                  <a:gd name="T60" fmla="*/ 952 w 2609"/>
                  <a:gd name="T61" fmla="*/ 1522 h 2125"/>
                  <a:gd name="T62" fmla="*/ 887 w 2609"/>
                  <a:gd name="T63" fmla="*/ 1379 h 2125"/>
                  <a:gd name="T64" fmla="*/ 810 w 2609"/>
                  <a:gd name="T65" fmla="*/ 1366 h 2125"/>
                  <a:gd name="T66" fmla="*/ 590 w 2609"/>
                  <a:gd name="T67" fmla="*/ 1223 h 2125"/>
                  <a:gd name="T68" fmla="*/ 575 w 2609"/>
                  <a:gd name="T69" fmla="*/ 1018 h 2125"/>
                  <a:gd name="T70" fmla="*/ 517 w 2609"/>
                  <a:gd name="T71" fmla="*/ 880 h 2125"/>
                  <a:gd name="T72" fmla="*/ 373 w 2609"/>
                  <a:gd name="T73" fmla="*/ 784 h 2125"/>
                  <a:gd name="T74" fmla="*/ 157 w 2609"/>
                  <a:gd name="T75" fmla="*/ 756 h 2125"/>
                  <a:gd name="T76" fmla="*/ 133 w 2609"/>
                  <a:gd name="T77" fmla="*/ 632 h 2125"/>
                  <a:gd name="T78" fmla="*/ 70 w 2609"/>
                  <a:gd name="T79" fmla="*/ 506 h 2125"/>
                  <a:gd name="T80" fmla="*/ 8 w 2609"/>
                  <a:gd name="T81" fmla="*/ 303 h 2125"/>
                  <a:gd name="T82" fmla="*/ 0 w 2609"/>
                  <a:gd name="T83" fmla="*/ 220 h 2125"/>
                  <a:gd name="T84" fmla="*/ 97 w 2609"/>
                  <a:gd name="T85" fmla="*/ 149 h 2125"/>
                  <a:gd name="T86" fmla="*/ 244 w 2609"/>
                  <a:gd name="T87" fmla="*/ 109 h 2125"/>
                  <a:gd name="T88" fmla="*/ 608 w 2609"/>
                  <a:gd name="T89" fmla="*/ 7 h 2125"/>
                  <a:gd name="T90" fmla="*/ 856 w 2609"/>
                  <a:gd name="T91" fmla="*/ 66 h 2125"/>
                  <a:gd name="T92" fmla="*/ 1108 w 2609"/>
                  <a:gd name="T93" fmla="*/ 192 h 2125"/>
                  <a:gd name="T94" fmla="*/ 1322 w 2609"/>
                  <a:gd name="T95" fmla="*/ 293 h 2125"/>
                  <a:gd name="T96" fmla="*/ 1393 w 2609"/>
                  <a:gd name="T97" fmla="*/ 345 h 2125"/>
                  <a:gd name="T98" fmla="*/ 1459 w 2609"/>
                  <a:gd name="T99" fmla="*/ 425 h 2125"/>
                  <a:gd name="T100" fmla="*/ 1516 w 2609"/>
                  <a:gd name="T101" fmla="*/ 541 h 2125"/>
                  <a:gd name="T102" fmla="*/ 1664 w 2609"/>
                  <a:gd name="T103" fmla="*/ 624 h 2125"/>
                  <a:gd name="T104" fmla="*/ 1807 w 2609"/>
                  <a:gd name="T105" fmla="*/ 531 h 2125"/>
                  <a:gd name="T106" fmla="*/ 2138 w 2609"/>
                  <a:gd name="T107" fmla="*/ 496 h 2125"/>
                  <a:gd name="T108" fmla="*/ 2152 w 2609"/>
                  <a:gd name="T109" fmla="*/ 386 h 2125"/>
                  <a:gd name="T110" fmla="*/ 2295 w 2609"/>
                  <a:gd name="T111" fmla="*/ 277 h 2125"/>
                  <a:gd name="T112" fmla="*/ 2413 w 2609"/>
                  <a:gd name="T113" fmla="*/ 242 h 2125"/>
                  <a:gd name="T114" fmla="*/ 2406 w 2609"/>
                  <a:gd name="T115" fmla="*/ 386 h 2125"/>
                  <a:gd name="T116" fmla="*/ 2503 w 2609"/>
                  <a:gd name="T117" fmla="*/ 638 h 2125"/>
                  <a:gd name="T118" fmla="*/ 2449 w 2609"/>
                  <a:gd name="T119" fmla="*/ 809 h 2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609" h="2125">
                    <a:moveTo>
                      <a:pt x="2522" y="847"/>
                    </a:moveTo>
                    <a:lnTo>
                      <a:pt x="2530" y="869"/>
                    </a:lnTo>
                    <a:lnTo>
                      <a:pt x="2536" y="888"/>
                    </a:lnTo>
                    <a:lnTo>
                      <a:pt x="2542" y="906"/>
                    </a:lnTo>
                    <a:lnTo>
                      <a:pt x="2548" y="924"/>
                    </a:lnTo>
                    <a:lnTo>
                      <a:pt x="2553" y="942"/>
                    </a:lnTo>
                    <a:lnTo>
                      <a:pt x="2556" y="961"/>
                    </a:lnTo>
                    <a:lnTo>
                      <a:pt x="2559" y="981"/>
                    </a:lnTo>
                    <a:lnTo>
                      <a:pt x="2560" y="1002"/>
                    </a:lnTo>
                    <a:lnTo>
                      <a:pt x="2560" y="1051"/>
                    </a:lnTo>
                    <a:lnTo>
                      <a:pt x="2559" y="1061"/>
                    </a:lnTo>
                    <a:lnTo>
                      <a:pt x="2556" y="1070"/>
                    </a:lnTo>
                    <a:lnTo>
                      <a:pt x="2553" y="1080"/>
                    </a:lnTo>
                    <a:lnTo>
                      <a:pt x="2550" y="1087"/>
                    </a:lnTo>
                    <a:lnTo>
                      <a:pt x="2547" y="1095"/>
                    </a:lnTo>
                    <a:lnTo>
                      <a:pt x="2544" y="1105"/>
                    </a:lnTo>
                    <a:lnTo>
                      <a:pt x="2542" y="1114"/>
                    </a:lnTo>
                    <a:lnTo>
                      <a:pt x="2541" y="1124"/>
                    </a:lnTo>
                    <a:lnTo>
                      <a:pt x="2542" y="1138"/>
                    </a:lnTo>
                    <a:lnTo>
                      <a:pt x="2544" y="1150"/>
                    </a:lnTo>
                    <a:lnTo>
                      <a:pt x="2547" y="1161"/>
                    </a:lnTo>
                    <a:lnTo>
                      <a:pt x="2550" y="1173"/>
                    </a:lnTo>
                    <a:lnTo>
                      <a:pt x="2561" y="1193"/>
                    </a:lnTo>
                    <a:lnTo>
                      <a:pt x="2573" y="1213"/>
                    </a:lnTo>
                    <a:lnTo>
                      <a:pt x="2585" y="1234"/>
                    </a:lnTo>
                    <a:lnTo>
                      <a:pt x="2596" y="1254"/>
                    </a:lnTo>
                    <a:lnTo>
                      <a:pt x="2601" y="1266"/>
                    </a:lnTo>
                    <a:lnTo>
                      <a:pt x="2605" y="1277"/>
                    </a:lnTo>
                    <a:lnTo>
                      <a:pt x="2608" y="1289"/>
                    </a:lnTo>
                    <a:lnTo>
                      <a:pt x="2609" y="1303"/>
                    </a:lnTo>
                    <a:lnTo>
                      <a:pt x="2596" y="1308"/>
                    </a:lnTo>
                    <a:lnTo>
                      <a:pt x="2584" y="1314"/>
                    </a:lnTo>
                    <a:lnTo>
                      <a:pt x="2574" y="1321"/>
                    </a:lnTo>
                    <a:lnTo>
                      <a:pt x="2564" y="1329"/>
                    </a:lnTo>
                    <a:lnTo>
                      <a:pt x="2554" y="1337"/>
                    </a:lnTo>
                    <a:lnTo>
                      <a:pt x="2544" y="1344"/>
                    </a:lnTo>
                    <a:lnTo>
                      <a:pt x="2533" y="1351"/>
                    </a:lnTo>
                    <a:lnTo>
                      <a:pt x="2519" y="1358"/>
                    </a:lnTo>
                    <a:lnTo>
                      <a:pt x="2507" y="1362"/>
                    </a:lnTo>
                    <a:lnTo>
                      <a:pt x="2496" y="1366"/>
                    </a:lnTo>
                    <a:lnTo>
                      <a:pt x="2490" y="1368"/>
                    </a:lnTo>
                    <a:lnTo>
                      <a:pt x="2485" y="1371"/>
                    </a:lnTo>
                    <a:lnTo>
                      <a:pt x="2480" y="1374"/>
                    </a:lnTo>
                    <a:lnTo>
                      <a:pt x="2475" y="1378"/>
                    </a:lnTo>
                    <a:lnTo>
                      <a:pt x="2470" y="1383"/>
                    </a:lnTo>
                    <a:lnTo>
                      <a:pt x="2464" y="1386"/>
                    </a:lnTo>
                    <a:lnTo>
                      <a:pt x="2457" y="1391"/>
                    </a:lnTo>
                    <a:lnTo>
                      <a:pt x="2451" y="1393"/>
                    </a:lnTo>
                    <a:lnTo>
                      <a:pt x="2439" y="1399"/>
                    </a:lnTo>
                    <a:lnTo>
                      <a:pt x="2427" y="1404"/>
                    </a:lnTo>
                    <a:lnTo>
                      <a:pt x="2421" y="1406"/>
                    </a:lnTo>
                    <a:lnTo>
                      <a:pt x="2416" y="1409"/>
                    </a:lnTo>
                    <a:lnTo>
                      <a:pt x="2411" y="1412"/>
                    </a:lnTo>
                    <a:lnTo>
                      <a:pt x="2407" y="1416"/>
                    </a:lnTo>
                    <a:lnTo>
                      <a:pt x="2404" y="1421"/>
                    </a:lnTo>
                    <a:lnTo>
                      <a:pt x="2402" y="1426"/>
                    </a:lnTo>
                    <a:lnTo>
                      <a:pt x="2400" y="1431"/>
                    </a:lnTo>
                    <a:lnTo>
                      <a:pt x="2400" y="1438"/>
                    </a:lnTo>
                    <a:lnTo>
                      <a:pt x="2401" y="1447"/>
                    </a:lnTo>
                    <a:lnTo>
                      <a:pt x="2403" y="1457"/>
                    </a:lnTo>
                    <a:lnTo>
                      <a:pt x="2407" y="1464"/>
                    </a:lnTo>
                    <a:lnTo>
                      <a:pt x="2411" y="1471"/>
                    </a:lnTo>
                    <a:lnTo>
                      <a:pt x="2416" y="1478"/>
                    </a:lnTo>
                    <a:lnTo>
                      <a:pt x="2421" y="1487"/>
                    </a:lnTo>
                    <a:lnTo>
                      <a:pt x="2427" y="1495"/>
                    </a:lnTo>
                    <a:lnTo>
                      <a:pt x="2430" y="1504"/>
                    </a:lnTo>
                    <a:lnTo>
                      <a:pt x="2434" y="1521"/>
                    </a:lnTo>
                    <a:lnTo>
                      <a:pt x="2437" y="1536"/>
                    </a:lnTo>
                    <a:lnTo>
                      <a:pt x="2439" y="1543"/>
                    </a:lnTo>
                    <a:lnTo>
                      <a:pt x="2442" y="1550"/>
                    </a:lnTo>
                    <a:lnTo>
                      <a:pt x="2447" y="1556"/>
                    </a:lnTo>
                    <a:lnTo>
                      <a:pt x="2453" y="1560"/>
                    </a:lnTo>
                    <a:lnTo>
                      <a:pt x="2469" y="1567"/>
                    </a:lnTo>
                    <a:lnTo>
                      <a:pt x="2484" y="1573"/>
                    </a:lnTo>
                    <a:lnTo>
                      <a:pt x="2491" y="1578"/>
                    </a:lnTo>
                    <a:lnTo>
                      <a:pt x="2497" y="1583"/>
                    </a:lnTo>
                    <a:lnTo>
                      <a:pt x="2498" y="1585"/>
                    </a:lnTo>
                    <a:lnTo>
                      <a:pt x="2500" y="1588"/>
                    </a:lnTo>
                    <a:lnTo>
                      <a:pt x="2501" y="1592"/>
                    </a:lnTo>
                    <a:lnTo>
                      <a:pt x="2501" y="1596"/>
                    </a:lnTo>
                    <a:lnTo>
                      <a:pt x="2501" y="1605"/>
                    </a:lnTo>
                    <a:lnTo>
                      <a:pt x="2500" y="1616"/>
                    </a:lnTo>
                    <a:lnTo>
                      <a:pt x="2499" y="1624"/>
                    </a:lnTo>
                    <a:lnTo>
                      <a:pt x="2497" y="1632"/>
                    </a:lnTo>
                    <a:lnTo>
                      <a:pt x="2493" y="1649"/>
                    </a:lnTo>
                    <a:lnTo>
                      <a:pt x="2486" y="1664"/>
                    </a:lnTo>
                    <a:lnTo>
                      <a:pt x="2473" y="1694"/>
                    </a:lnTo>
                    <a:lnTo>
                      <a:pt x="2458" y="1730"/>
                    </a:lnTo>
                    <a:lnTo>
                      <a:pt x="2453" y="1744"/>
                    </a:lnTo>
                    <a:lnTo>
                      <a:pt x="2448" y="1757"/>
                    </a:lnTo>
                    <a:lnTo>
                      <a:pt x="2442" y="1770"/>
                    </a:lnTo>
                    <a:lnTo>
                      <a:pt x="2436" y="1782"/>
                    </a:lnTo>
                    <a:lnTo>
                      <a:pt x="2429" y="1793"/>
                    </a:lnTo>
                    <a:lnTo>
                      <a:pt x="2420" y="1804"/>
                    </a:lnTo>
                    <a:lnTo>
                      <a:pt x="2412" y="1813"/>
                    </a:lnTo>
                    <a:lnTo>
                      <a:pt x="2403" y="1822"/>
                    </a:lnTo>
                    <a:lnTo>
                      <a:pt x="2394" y="1831"/>
                    </a:lnTo>
                    <a:lnTo>
                      <a:pt x="2383" y="1837"/>
                    </a:lnTo>
                    <a:lnTo>
                      <a:pt x="2373" y="1843"/>
                    </a:lnTo>
                    <a:lnTo>
                      <a:pt x="2361" y="1848"/>
                    </a:lnTo>
                    <a:lnTo>
                      <a:pt x="2349" y="1852"/>
                    </a:lnTo>
                    <a:lnTo>
                      <a:pt x="2336" y="1855"/>
                    </a:lnTo>
                    <a:lnTo>
                      <a:pt x="2322" y="1857"/>
                    </a:lnTo>
                    <a:lnTo>
                      <a:pt x="2309" y="1858"/>
                    </a:lnTo>
                    <a:lnTo>
                      <a:pt x="2297" y="1857"/>
                    </a:lnTo>
                    <a:lnTo>
                      <a:pt x="2284" y="1855"/>
                    </a:lnTo>
                    <a:lnTo>
                      <a:pt x="2274" y="1852"/>
                    </a:lnTo>
                    <a:lnTo>
                      <a:pt x="2264" y="1848"/>
                    </a:lnTo>
                    <a:lnTo>
                      <a:pt x="2245" y="1837"/>
                    </a:lnTo>
                    <a:lnTo>
                      <a:pt x="2226" y="1825"/>
                    </a:lnTo>
                    <a:lnTo>
                      <a:pt x="2209" y="1813"/>
                    </a:lnTo>
                    <a:lnTo>
                      <a:pt x="2189" y="1803"/>
                    </a:lnTo>
                    <a:lnTo>
                      <a:pt x="2180" y="1797"/>
                    </a:lnTo>
                    <a:lnTo>
                      <a:pt x="2169" y="1794"/>
                    </a:lnTo>
                    <a:lnTo>
                      <a:pt x="2157" y="1792"/>
                    </a:lnTo>
                    <a:lnTo>
                      <a:pt x="2145" y="1792"/>
                    </a:lnTo>
                    <a:lnTo>
                      <a:pt x="2137" y="1792"/>
                    </a:lnTo>
                    <a:lnTo>
                      <a:pt x="2128" y="1792"/>
                    </a:lnTo>
                    <a:lnTo>
                      <a:pt x="2120" y="1793"/>
                    </a:lnTo>
                    <a:lnTo>
                      <a:pt x="2113" y="1795"/>
                    </a:lnTo>
                    <a:lnTo>
                      <a:pt x="2107" y="1798"/>
                    </a:lnTo>
                    <a:lnTo>
                      <a:pt x="2101" y="1803"/>
                    </a:lnTo>
                    <a:lnTo>
                      <a:pt x="2094" y="1807"/>
                    </a:lnTo>
                    <a:lnTo>
                      <a:pt x="2088" y="1813"/>
                    </a:lnTo>
                    <a:lnTo>
                      <a:pt x="2082" y="1822"/>
                    </a:lnTo>
                    <a:lnTo>
                      <a:pt x="2076" y="1833"/>
                    </a:lnTo>
                    <a:lnTo>
                      <a:pt x="2072" y="1843"/>
                    </a:lnTo>
                    <a:lnTo>
                      <a:pt x="2068" y="1852"/>
                    </a:lnTo>
                    <a:lnTo>
                      <a:pt x="2062" y="1861"/>
                    </a:lnTo>
                    <a:lnTo>
                      <a:pt x="2056" y="1868"/>
                    </a:lnTo>
                    <a:lnTo>
                      <a:pt x="2053" y="1871"/>
                    </a:lnTo>
                    <a:lnTo>
                      <a:pt x="2049" y="1873"/>
                    </a:lnTo>
                    <a:lnTo>
                      <a:pt x="2044" y="1874"/>
                    </a:lnTo>
                    <a:lnTo>
                      <a:pt x="2039" y="1875"/>
                    </a:lnTo>
                    <a:lnTo>
                      <a:pt x="2033" y="1874"/>
                    </a:lnTo>
                    <a:lnTo>
                      <a:pt x="2027" y="1873"/>
                    </a:lnTo>
                    <a:lnTo>
                      <a:pt x="2022" y="1871"/>
                    </a:lnTo>
                    <a:lnTo>
                      <a:pt x="2018" y="1869"/>
                    </a:lnTo>
                    <a:lnTo>
                      <a:pt x="2010" y="1861"/>
                    </a:lnTo>
                    <a:lnTo>
                      <a:pt x="2003" y="1853"/>
                    </a:lnTo>
                    <a:lnTo>
                      <a:pt x="1995" y="1845"/>
                    </a:lnTo>
                    <a:lnTo>
                      <a:pt x="1988" y="1836"/>
                    </a:lnTo>
                    <a:lnTo>
                      <a:pt x="1980" y="1827"/>
                    </a:lnTo>
                    <a:lnTo>
                      <a:pt x="1971" y="1820"/>
                    </a:lnTo>
                    <a:lnTo>
                      <a:pt x="1968" y="1824"/>
                    </a:lnTo>
                    <a:lnTo>
                      <a:pt x="1966" y="1829"/>
                    </a:lnTo>
                    <a:lnTo>
                      <a:pt x="1968" y="1842"/>
                    </a:lnTo>
                    <a:lnTo>
                      <a:pt x="1971" y="1853"/>
                    </a:lnTo>
                    <a:lnTo>
                      <a:pt x="1970" y="1859"/>
                    </a:lnTo>
                    <a:lnTo>
                      <a:pt x="1969" y="1865"/>
                    </a:lnTo>
                    <a:lnTo>
                      <a:pt x="1968" y="1871"/>
                    </a:lnTo>
                    <a:lnTo>
                      <a:pt x="1965" y="1876"/>
                    </a:lnTo>
                    <a:lnTo>
                      <a:pt x="1961" y="1880"/>
                    </a:lnTo>
                    <a:lnTo>
                      <a:pt x="1957" y="1883"/>
                    </a:lnTo>
                    <a:lnTo>
                      <a:pt x="1952" y="1885"/>
                    </a:lnTo>
                    <a:lnTo>
                      <a:pt x="1947" y="1886"/>
                    </a:lnTo>
                    <a:lnTo>
                      <a:pt x="1938" y="1885"/>
                    </a:lnTo>
                    <a:lnTo>
                      <a:pt x="1929" y="1884"/>
                    </a:lnTo>
                    <a:lnTo>
                      <a:pt x="1922" y="1882"/>
                    </a:lnTo>
                    <a:lnTo>
                      <a:pt x="1914" y="1879"/>
                    </a:lnTo>
                    <a:lnTo>
                      <a:pt x="1901" y="1871"/>
                    </a:lnTo>
                    <a:lnTo>
                      <a:pt x="1887" y="1863"/>
                    </a:lnTo>
                    <a:lnTo>
                      <a:pt x="1875" y="1854"/>
                    </a:lnTo>
                    <a:lnTo>
                      <a:pt x="1860" y="1846"/>
                    </a:lnTo>
                    <a:lnTo>
                      <a:pt x="1853" y="1843"/>
                    </a:lnTo>
                    <a:lnTo>
                      <a:pt x="1846" y="1841"/>
                    </a:lnTo>
                    <a:lnTo>
                      <a:pt x="1838" y="1840"/>
                    </a:lnTo>
                    <a:lnTo>
                      <a:pt x="1828" y="1839"/>
                    </a:lnTo>
                    <a:lnTo>
                      <a:pt x="1810" y="1839"/>
                    </a:lnTo>
                    <a:lnTo>
                      <a:pt x="1810" y="1857"/>
                    </a:lnTo>
                    <a:lnTo>
                      <a:pt x="1809" y="1876"/>
                    </a:lnTo>
                    <a:lnTo>
                      <a:pt x="1807" y="1894"/>
                    </a:lnTo>
                    <a:lnTo>
                      <a:pt x="1803" y="1910"/>
                    </a:lnTo>
                    <a:lnTo>
                      <a:pt x="1801" y="1918"/>
                    </a:lnTo>
                    <a:lnTo>
                      <a:pt x="1797" y="1926"/>
                    </a:lnTo>
                    <a:lnTo>
                      <a:pt x="1793" y="1932"/>
                    </a:lnTo>
                    <a:lnTo>
                      <a:pt x="1788" y="1938"/>
                    </a:lnTo>
                    <a:lnTo>
                      <a:pt x="1783" y="1943"/>
                    </a:lnTo>
                    <a:lnTo>
                      <a:pt x="1776" y="1948"/>
                    </a:lnTo>
                    <a:lnTo>
                      <a:pt x="1769" y="1951"/>
                    </a:lnTo>
                    <a:lnTo>
                      <a:pt x="1760" y="1954"/>
                    </a:lnTo>
                    <a:lnTo>
                      <a:pt x="1728" y="1964"/>
                    </a:lnTo>
                    <a:lnTo>
                      <a:pt x="1696" y="1971"/>
                    </a:lnTo>
                    <a:lnTo>
                      <a:pt x="1681" y="1975"/>
                    </a:lnTo>
                    <a:lnTo>
                      <a:pt x="1665" y="1979"/>
                    </a:lnTo>
                    <a:lnTo>
                      <a:pt x="1651" y="1984"/>
                    </a:lnTo>
                    <a:lnTo>
                      <a:pt x="1637" y="1990"/>
                    </a:lnTo>
                    <a:lnTo>
                      <a:pt x="1624" y="1996"/>
                    </a:lnTo>
                    <a:lnTo>
                      <a:pt x="1612" y="2003"/>
                    </a:lnTo>
                    <a:lnTo>
                      <a:pt x="1600" y="2010"/>
                    </a:lnTo>
                    <a:lnTo>
                      <a:pt x="1590" y="2019"/>
                    </a:lnTo>
                    <a:lnTo>
                      <a:pt x="1581" y="2030"/>
                    </a:lnTo>
                    <a:lnTo>
                      <a:pt x="1573" y="2042"/>
                    </a:lnTo>
                    <a:lnTo>
                      <a:pt x="1570" y="2048"/>
                    </a:lnTo>
                    <a:lnTo>
                      <a:pt x="1566" y="2056"/>
                    </a:lnTo>
                    <a:lnTo>
                      <a:pt x="1564" y="2063"/>
                    </a:lnTo>
                    <a:lnTo>
                      <a:pt x="1562" y="2071"/>
                    </a:lnTo>
                    <a:lnTo>
                      <a:pt x="1562" y="2071"/>
                    </a:lnTo>
                    <a:lnTo>
                      <a:pt x="1555" y="2062"/>
                    </a:lnTo>
                    <a:lnTo>
                      <a:pt x="1550" y="2053"/>
                    </a:lnTo>
                    <a:lnTo>
                      <a:pt x="1546" y="2042"/>
                    </a:lnTo>
                    <a:lnTo>
                      <a:pt x="1542" y="2031"/>
                    </a:lnTo>
                    <a:lnTo>
                      <a:pt x="1537" y="2008"/>
                    </a:lnTo>
                    <a:lnTo>
                      <a:pt x="1529" y="1983"/>
                    </a:lnTo>
                    <a:lnTo>
                      <a:pt x="1526" y="1972"/>
                    </a:lnTo>
                    <a:lnTo>
                      <a:pt x="1521" y="1963"/>
                    </a:lnTo>
                    <a:lnTo>
                      <a:pt x="1517" y="1954"/>
                    </a:lnTo>
                    <a:lnTo>
                      <a:pt x="1512" y="1946"/>
                    </a:lnTo>
                    <a:lnTo>
                      <a:pt x="1508" y="1938"/>
                    </a:lnTo>
                    <a:lnTo>
                      <a:pt x="1505" y="1929"/>
                    </a:lnTo>
                    <a:lnTo>
                      <a:pt x="1503" y="1919"/>
                    </a:lnTo>
                    <a:lnTo>
                      <a:pt x="1501" y="1909"/>
                    </a:lnTo>
                    <a:lnTo>
                      <a:pt x="1501" y="1881"/>
                    </a:lnTo>
                    <a:lnTo>
                      <a:pt x="1503" y="1855"/>
                    </a:lnTo>
                    <a:lnTo>
                      <a:pt x="1505" y="1844"/>
                    </a:lnTo>
                    <a:lnTo>
                      <a:pt x="1509" y="1833"/>
                    </a:lnTo>
                    <a:lnTo>
                      <a:pt x="1514" y="1820"/>
                    </a:lnTo>
                    <a:lnTo>
                      <a:pt x="1521" y="1809"/>
                    </a:lnTo>
                    <a:lnTo>
                      <a:pt x="1532" y="1795"/>
                    </a:lnTo>
                    <a:lnTo>
                      <a:pt x="1543" y="1785"/>
                    </a:lnTo>
                    <a:lnTo>
                      <a:pt x="1547" y="1779"/>
                    </a:lnTo>
                    <a:lnTo>
                      <a:pt x="1550" y="1773"/>
                    </a:lnTo>
                    <a:lnTo>
                      <a:pt x="1552" y="1765"/>
                    </a:lnTo>
                    <a:lnTo>
                      <a:pt x="1553" y="1757"/>
                    </a:lnTo>
                    <a:lnTo>
                      <a:pt x="1553" y="1740"/>
                    </a:lnTo>
                    <a:lnTo>
                      <a:pt x="1550" y="1723"/>
                    </a:lnTo>
                    <a:lnTo>
                      <a:pt x="1548" y="1715"/>
                    </a:lnTo>
                    <a:lnTo>
                      <a:pt x="1546" y="1708"/>
                    </a:lnTo>
                    <a:lnTo>
                      <a:pt x="1542" y="1699"/>
                    </a:lnTo>
                    <a:lnTo>
                      <a:pt x="1537" y="1691"/>
                    </a:lnTo>
                    <a:lnTo>
                      <a:pt x="1533" y="1699"/>
                    </a:lnTo>
                    <a:lnTo>
                      <a:pt x="1532" y="1708"/>
                    </a:lnTo>
                    <a:lnTo>
                      <a:pt x="1531" y="1721"/>
                    </a:lnTo>
                    <a:lnTo>
                      <a:pt x="1530" y="1733"/>
                    </a:lnTo>
                    <a:lnTo>
                      <a:pt x="1527" y="1746"/>
                    </a:lnTo>
                    <a:lnTo>
                      <a:pt x="1524" y="1756"/>
                    </a:lnTo>
                    <a:lnTo>
                      <a:pt x="1520" y="1766"/>
                    </a:lnTo>
                    <a:lnTo>
                      <a:pt x="1514" y="1778"/>
                    </a:lnTo>
                    <a:lnTo>
                      <a:pt x="1507" y="1788"/>
                    </a:lnTo>
                    <a:lnTo>
                      <a:pt x="1499" y="1798"/>
                    </a:lnTo>
                    <a:lnTo>
                      <a:pt x="1494" y="1804"/>
                    </a:lnTo>
                    <a:lnTo>
                      <a:pt x="1489" y="1808"/>
                    </a:lnTo>
                    <a:lnTo>
                      <a:pt x="1484" y="1812"/>
                    </a:lnTo>
                    <a:lnTo>
                      <a:pt x="1479" y="1815"/>
                    </a:lnTo>
                    <a:lnTo>
                      <a:pt x="1467" y="1821"/>
                    </a:lnTo>
                    <a:lnTo>
                      <a:pt x="1456" y="1827"/>
                    </a:lnTo>
                    <a:lnTo>
                      <a:pt x="1446" y="1834"/>
                    </a:lnTo>
                    <a:lnTo>
                      <a:pt x="1439" y="1841"/>
                    </a:lnTo>
                    <a:lnTo>
                      <a:pt x="1434" y="1845"/>
                    </a:lnTo>
                    <a:lnTo>
                      <a:pt x="1432" y="1849"/>
                    </a:lnTo>
                    <a:lnTo>
                      <a:pt x="1431" y="1855"/>
                    </a:lnTo>
                    <a:lnTo>
                      <a:pt x="1430" y="1861"/>
                    </a:lnTo>
                    <a:lnTo>
                      <a:pt x="1431" y="1870"/>
                    </a:lnTo>
                    <a:lnTo>
                      <a:pt x="1432" y="1878"/>
                    </a:lnTo>
                    <a:lnTo>
                      <a:pt x="1434" y="1885"/>
                    </a:lnTo>
                    <a:lnTo>
                      <a:pt x="1438" y="1891"/>
                    </a:lnTo>
                    <a:lnTo>
                      <a:pt x="1445" y="1905"/>
                    </a:lnTo>
                    <a:lnTo>
                      <a:pt x="1452" y="1920"/>
                    </a:lnTo>
                    <a:lnTo>
                      <a:pt x="1455" y="1931"/>
                    </a:lnTo>
                    <a:lnTo>
                      <a:pt x="1458" y="1940"/>
                    </a:lnTo>
                    <a:lnTo>
                      <a:pt x="1459" y="1949"/>
                    </a:lnTo>
                    <a:lnTo>
                      <a:pt x="1460" y="1958"/>
                    </a:lnTo>
                    <a:lnTo>
                      <a:pt x="1462" y="1976"/>
                    </a:lnTo>
                    <a:lnTo>
                      <a:pt x="1465" y="1996"/>
                    </a:lnTo>
                    <a:lnTo>
                      <a:pt x="1470" y="2006"/>
                    </a:lnTo>
                    <a:lnTo>
                      <a:pt x="1474" y="2014"/>
                    </a:lnTo>
                    <a:lnTo>
                      <a:pt x="1476" y="2018"/>
                    </a:lnTo>
                    <a:lnTo>
                      <a:pt x="1478" y="2024"/>
                    </a:lnTo>
                    <a:lnTo>
                      <a:pt x="1479" y="2029"/>
                    </a:lnTo>
                    <a:lnTo>
                      <a:pt x="1479" y="2034"/>
                    </a:lnTo>
                    <a:lnTo>
                      <a:pt x="1476" y="2044"/>
                    </a:lnTo>
                    <a:lnTo>
                      <a:pt x="1472" y="2054"/>
                    </a:lnTo>
                    <a:lnTo>
                      <a:pt x="1472" y="2064"/>
                    </a:lnTo>
                    <a:lnTo>
                      <a:pt x="1471" y="2073"/>
                    </a:lnTo>
                    <a:lnTo>
                      <a:pt x="1459" y="2076"/>
                    </a:lnTo>
                    <a:lnTo>
                      <a:pt x="1447" y="2079"/>
                    </a:lnTo>
                    <a:lnTo>
                      <a:pt x="1441" y="2082"/>
                    </a:lnTo>
                    <a:lnTo>
                      <a:pt x="1434" y="2086"/>
                    </a:lnTo>
                    <a:lnTo>
                      <a:pt x="1429" y="2090"/>
                    </a:lnTo>
                    <a:lnTo>
                      <a:pt x="1424" y="2094"/>
                    </a:lnTo>
                    <a:lnTo>
                      <a:pt x="1419" y="2097"/>
                    </a:lnTo>
                    <a:lnTo>
                      <a:pt x="1413" y="2100"/>
                    </a:lnTo>
                    <a:lnTo>
                      <a:pt x="1407" y="2101"/>
                    </a:lnTo>
                    <a:lnTo>
                      <a:pt x="1399" y="2102"/>
                    </a:lnTo>
                    <a:lnTo>
                      <a:pt x="1385" y="2101"/>
                    </a:lnTo>
                    <a:lnTo>
                      <a:pt x="1371" y="2099"/>
                    </a:lnTo>
                    <a:lnTo>
                      <a:pt x="1358" y="2096"/>
                    </a:lnTo>
                    <a:lnTo>
                      <a:pt x="1346" y="2092"/>
                    </a:lnTo>
                    <a:lnTo>
                      <a:pt x="1321" y="2082"/>
                    </a:lnTo>
                    <a:lnTo>
                      <a:pt x="1292" y="2074"/>
                    </a:lnTo>
                    <a:lnTo>
                      <a:pt x="1279" y="2071"/>
                    </a:lnTo>
                    <a:lnTo>
                      <a:pt x="1266" y="2070"/>
                    </a:lnTo>
                    <a:lnTo>
                      <a:pt x="1254" y="2070"/>
                    </a:lnTo>
                    <a:lnTo>
                      <a:pt x="1240" y="2068"/>
                    </a:lnTo>
                    <a:lnTo>
                      <a:pt x="1231" y="2064"/>
                    </a:lnTo>
                    <a:lnTo>
                      <a:pt x="1223" y="2061"/>
                    </a:lnTo>
                    <a:lnTo>
                      <a:pt x="1218" y="2062"/>
                    </a:lnTo>
                    <a:lnTo>
                      <a:pt x="1214" y="2064"/>
                    </a:lnTo>
                    <a:lnTo>
                      <a:pt x="1211" y="2066"/>
                    </a:lnTo>
                    <a:lnTo>
                      <a:pt x="1208" y="2070"/>
                    </a:lnTo>
                    <a:lnTo>
                      <a:pt x="1203" y="2079"/>
                    </a:lnTo>
                    <a:lnTo>
                      <a:pt x="1200" y="2091"/>
                    </a:lnTo>
                    <a:lnTo>
                      <a:pt x="1197" y="2101"/>
                    </a:lnTo>
                    <a:lnTo>
                      <a:pt x="1192" y="2110"/>
                    </a:lnTo>
                    <a:lnTo>
                      <a:pt x="1190" y="2114"/>
                    </a:lnTo>
                    <a:lnTo>
                      <a:pt x="1186" y="2118"/>
                    </a:lnTo>
                    <a:lnTo>
                      <a:pt x="1182" y="2120"/>
                    </a:lnTo>
                    <a:lnTo>
                      <a:pt x="1177" y="2120"/>
                    </a:lnTo>
                    <a:lnTo>
                      <a:pt x="1170" y="2120"/>
                    </a:lnTo>
                    <a:lnTo>
                      <a:pt x="1165" y="2119"/>
                    </a:lnTo>
                    <a:lnTo>
                      <a:pt x="1160" y="2117"/>
                    </a:lnTo>
                    <a:lnTo>
                      <a:pt x="1155" y="2114"/>
                    </a:lnTo>
                    <a:lnTo>
                      <a:pt x="1146" y="2108"/>
                    </a:lnTo>
                    <a:lnTo>
                      <a:pt x="1137" y="2101"/>
                    </a:lnTo>
                    <a:lnTo>
                      <a:pt x="1128" y="2094"/>
                    </a:lnTo>
                    <a:lnTo>
                      <a:pt x="1119" y="2088"/>
                    </a:lnTo>
                    <a:lnTo>
                      <a:pt x="1115" y="2085"/>
                    </a:lnTo>
                    <a:lnTo>
                      <a:pt x="1109" y="2082"/>
                    </a:lnTo>
                    <a:lnTo>
                      <a:pt x="1103" y="2080"/>
                    </a:lnTo>
                    <a:lnTo>
                      <a:pt x="1097" y="2078"/>
                    </a:lnTo>
                    <a:lnTo>
                      <a:pt x="1101" y="2067"/>
                    </a:lnTo>
                    <a:lnTo>
                      <a:pt x="1107" y="2058"/>
                    </a:lnTo>
                    <a:lnTo>
                      <a:pt x="1113" y="2048"/>
                    </a:lnTo>
                    <a:lnTo>
                      <a:pt x="1120" y="2040"/>
                    </a:lnTo>
                    <a:lnTo>
                      <a:pt x="1126" y="2032"/>
                    </a:lnTo>
                    <a:lnTo>
                      <a:pt x="1133" y="2024"/>
                    </a:lnTo>
                    <a:lnTo>
                      <a:pt x="1140" y="2014"/>
                    </a:lnTo>
                    <a:lnTo>
                      <a:pt x="1147" y="2004"/>
                    </a:lnTo>
                    <a:lnTo>
                      <a:pt x="1151" y="1994"/>
                    </a:lnTo>
                    <a:lnTo>
                      <a:pt x="1154" y="1983"/>
                    </a:lnTo>
                    <a:lnTo>
                      <a:pt x="1155" y="1974"/>
                    </a:lnTo>
                    <a:lnTo>
                      <a:pt x="1156" y="1964"/>
                    </a:lnTo>
                    <a:lnTo>
                      <a:pt x="1156" y="1954"/>
                    </a:lnTo>
                    <a:lnTo>
                      <a:pt x="1157" y="1944"/>
                    </a:lnTo>
                    <a:lnTo>
                      <a:pt x="1159" y="1934"/>
                    </a:lnTo>
                    <a:lnTo>
                      <a:pt x="1163" y="1922"/>
                    </a:lnTo>
                    <a:lnTo>
                      <a:pt x="1169" y="1911"/>
                    </a:lnTo>
                    <a:lnTo>
                      <a:pt x="1176" y="1902"/>
                    </a:lnTo>
                    <a:lnTo>
                      <a:pt x="1183" y="1895"/>
                    </a:lnTo>
                    <a:lnTo>
                      <a:pt x="1189" y="1887"/>
                    </a:lnTo>
                    <a:lnTo>
                      <a:pt x="1195" y="1879"/>
                    </a:lnTo>
                    <a:lnTo>
                      <a:pt x="1201" y="1868"/>
                    </a:lnTo>
                    <a:lnTo>
                      <a:pt x="1203" y="1861"/>
                    </a:lnTo>
                    <a:lnTo>
                      <a:pt x="1207" y="1853"/>
                    </a:lnTo>
                    <a:lnTo>
                      <a:pt x="1209" y="1845"/>
                    </a:lnTo>
                    <a:lnTo>
                      <a:pt x="1210" y="1835"/>
                    </a:lnTo>
                    <a:lnTo>
                      <a:pt x="1206" y="1837"/>
                    </a:lnTo>
                    <a:lnTo>
                      <a:pt x="1197" y="1854"/>
                    </a:lnTo>
                    <a:lnTo>
                      <a:pt x="1189" y="1869"/>
                    </a:lnTo>
                    <a:lnTo>
                      <a:pt x="1185" y="1876"/>
                    </a:lnTo>
                    <a:lnTo>
                      <a:pt x="1180" y="1882"/>
                    </a:lnTo>
                    <a:lnTo>
                      <a:pt x="1173" y="1887"/>
                    </a:lnTo>
                    <a:lnTo>
                      <a:pt x="1164" y="1891"/>
                    </a:lnTo>
                    <a:lnTo>
                      <a:pt x="1160" y="1894"/>
                    </a:lnTo>
                    <a:lnTo>
                      <a:pt x="1156" y="1896"/>
                    </a:lnTo>
                    <a:lnTo>
                      <a:pt x="1154" y="1899"/>
                    </a:lnTo>
                    <a:lnTo>
                      <a:pt x="1151" y="1903"/>
                    </a:lnTo>
                    <a:lnTo>
                      <a:pt x="1147" y="1911"/>
                    </a:lnTo>
                    <a:lnTo>
                      <a:pt x="1143" y="1920"/>
                    </a:lnTo>
                    <a:lnTo>
                      <a:pt x="1140" y="1929"/>
                    </a:lnTo>
                    <a:lnTo>
                      <a:pt x="1135" y="1935"/>
                    </a:lnTo>
                    <a:lnTo>
                      <a:pt x="1132" y="1938"/>
                    </a:lnTo>
                    <a:lnTo>
                      <a:pt x="1129" y="1940"/>
                    </a:lnTo>
                    <a:lnTo>
                      <a:pt x="1125" y="1941"/>
                    </a:lnTo>
                    <a:lnTo>
                      <a:pt x="1121" y="1942"/>
                    </a:lnTo>
                    <a:lnTo>
                      <a:pt x="1110" y="1941"/>
                    </a:lnTo>
                    <a:lnTo>
                      <a:pt x="1100" y="1939"/>
                    </a:lnTo>
                    <a:lnTo>
                      <a:pt x="1096" y="1937"/>
                    </a:lnTo>
                    <a:lnTo>
                      <a:pt x="1092" y="1934"/>
                    </a:lnTo>
                    <a:lnTo>
                      <a:pt x="1089" y="1931"/>
                    </a:lnTo>
                    <a:lnTo>
                      <a:pt x="1085" y="1927"/>
                    </a:lnTo>
                    <a:lnTo>
                      <a:pt x="1082" y="1920"/>
                    </a:lnTo>
                    <a:lnTo>
                      <a:pt x="1079" y="1914"/>
                    </a:lnTo>
                    <a:lnTo>
                      <a:pt x="1077" y="1908"/>
                    </a:lnTo>
                    <a:lnTo>
                      <a:pt x="1075" y="1902"/>
                    </a:lnTo>
                    <a:lnTo>
                      <a:pt x="1074" y="1896"/>
                    </a:lnTo>
                    <a:lnTo>
                      <a:pt x="1070" y="1889"/>
                    </a:lnTo>
                    <a:lnTo>
                      <a:pt x="1067" y="1883"/>
                    </a:lnTo>
                    <a:lnTo>
                      <a:pt x="1063" y="1878"/>
                    </a:lnTo>
                    <a:lnTo>
                      <a:pt x="1062" y="1887"/>
                    </a:lnTo>
                    <a:lnTo>
                      <a:pt x="1060" y="1896"/>
                    </a:lnTo>
                    <a:lnTo>
                      <a:pt x="1059" y="1904"/>
                    </a:lnTo>
                    <a:lnTo>
                      <a:pt x="1058" y="1913"/>
                    </a:lnTo>
                    <a:lnTo>
                      <a:pt x="1058" y="1917"/>
                    </a:lnTo>
                    <a:lnTo>
                      <a:pt x="1060" y="1919"/>
                    </a:lnTo>
                    <a:lnTo>
                      <a:pt x="1061" y="1922"/>
                    </a:lnTo>
                    <a:lnTo>
                      <a:pt x="1063" y="1924"/>
                    </a:lnTo>
                    <a:lnTo>
                      <a:pt x="1069" y="1929"/>
                    </a:lnTo>
                    <a:lnTo>
                      <a:pt x="1075" y="1934"/>
                    </a:lnTo>
                    <a:lnTo>
                      <a:pt x="1083" y="1942"/>
                    </a:lnTo>
                    <a:lnTo>
                      <a:pt x="1089" y="1951"/>
                    </a:lnTo>
                    <a:lnTo>
                      <a:pt x="1092" y="1954"/>
                    </a:lnTo>
                    <a:lnTo>
                      <a:pt x="1096" y="1958"/>
                    </a:lnTo>
                    <a:lnTo>
                      <a:pt x="1101" y="1960"/>
                    </a:lnTo>
                    <a:lnTo>
                      <a:pt x="1107" y="1961"/>
                    </a:lnTo>
                    <a:lnTo>
                      <a:pt x="1114" y="1961"/>
                    </a:lnTo>
                    <a:lnTo>
                      <a:pt x="1121" y="1961"/>
                    </a:lnTo>
                    <a:lnTo>
                      <a:pt x="1119" y="1975"/>
                    </a:lnTo>
                    <a:lnTo>
                      <a:pt x="1115" y="1986"/>
                    </a:lnTo>
                    <a:lnTo>
                      <a:pt x="1111" y="1998"/>
                    </a:lnTo>
                    <a:lnTo>
                      <a:pt x="1104" y="2008"/>
                    </a:lnTo>
                    <a:lnTo>
                      <a:pt x="1090" y="2028"/>
                    </a:lnTo>
                    <a:lnTo>
                      <a:pt x="1072" y="2049"/>
                    </a:lnTo>
                    <a:lnTo>
                      <a:pt x="1064" y="2059"/>
                    </a:lnTo>
                    <a:lnTo>
                      <a:pt x="1057" y="2067"/>
                    </a:lnTo>
                    <a:lnTo>
                      <a:pt x="1050" y="2075"/>
                    </a:lnTo>
                    <a:lnTo>
                      <a:pt x="1042" y="2081"/>
                    </a:lnTo>
                    <a:lnTo>
                      <a:pt x="1033" y="2089"/>
                    </a:lnTo>
                    <a:lnTo>
                      <a:pt x="1025" y="2095"/>
                    </a:lnTo>
                    <a:lnTo>
                      <a:pt x="1016" y="2101"/>
                    </a:lnTo>
                    <a:lnTo>
                      <a:pt x="1005" y="2107"/>
                    </a:lnTo>
                    <a:lnTo>
                      <a:pt x="994" y="2117"/>
                    </a:lnTo>
                    <a:lnTo>
                      <a:pt x="982" y="2125"/>
                    </a:lnTo>
                    <a:lnTo>
                      <a:pt x="837" y="2102"/>
                    </a:lnTo>
                    <a:lnTo>
                      <a:pt x="820" y="2102"/>
                    </a:lnTo>
                    <a:lnTo>
                      <a:pt x="820" y="2102"/>
                    </a:lnTo>
                    <a:lnTo>
                      <a:pt x="818" y="2090"/>
                    </a:lnTo>
                    <a:lnTo>
                      <a:pt x="818" y="2077"/>
                    </a:lnTo>
                    <a:lnTo>
                      <a:pt x="819" y="2058"/>
                    </a:lnTo>
                    <a:lnTo>
                      <a:pt x="820" y="2041"/>
                    </a:lnTo>
                    <a:lnTo>
                      <a:pt x="823" y="2026"/>
                    </a:lnTo>
                    <a:lnTo>
                      <a:pt x="826" y="2010"/>
                    </a:lnTo>
                    <a:lnTo>
                      <a:pt x="829" y="1995"/>
                    </a:lnTo>
                    <a:lnTo>
                      <a:pt x="831" y="1979"/>
                    </a:lnTo>
                    <a:lnTo>
                      <a:pt x="833" y="1962"/>
                    </a:lnTo>
                    <a:lnTo>
                      <a:pt x="834" y="1943"/>
                    </a:lnTo>
                    <a:lnTo>
                      <a:pt x="833" y="1919"/>
                    </a:lnTo>
                    <a:lnTo>
                      <a:pt x="833" y="1898"/>
                    </a:lnTo>
                    <a:lnTo>
                      <a:pt x="832" y="1877"/>
                    </a:lnTo>
                    <a:lnTo>
                      <a:pt x="832" y="1852"/>
                    </a:lnTo>
                    <a:lnTo>
                      <a:pt x="831" y="1840"/>
                    </a:lnTo>
                    <a:lnTo>
                      <a:pt x="830" y="1827"/>
                    </a:lnTo>
                    <a:lnTo>
                      <a:pt x="827" y="1816"/>
                    </a:lnTo>
                    <a:lnTo>
                      <a:pt x="824" y="1806"/>
                    </a:lnTo>
                    <a:lnTo>
                      <a:pt x="817" y="1785"/>
                    </a:lnTo>
                    <a:lnTo>
                      <a:pt x="808" y="1765"/>
                    </a:lnTo>
                    <a:lnTo>
                      <a:pt x="799" y="1746"/>
                    </a:lnTo>
                    <a:lnTo>
                      <a:pt x="792" y="1725"/>
                    </a:lnTo>
                    <a:lnTo>
                      <a:pt x="789" y="1715"/>
                    </a:lnTo>
                    <a:lnTo>
                      <a:pt x="787" y="1703"/>
                    </a:lnTo>
                    <a:lnTo>
                      <a:pt x="785" y="1691"/>
                    </a:lnTo>
                    <a:lnTo>
                      <a:pt x="785" y="1679"/>
                    </a:lnTo>
                    <a:lnTo>
                      <a:pt x="799" y="1673"/>
                    </a:lnTo>
                    <a:lnTo>
                      <a:pt x="812" y="1665"/>
                    </a:lnTo>
                    <a:lnTo>
                      <a:pt x="818" y="1662"/>
                    </a:lnTo>
                    <a:lnTo>
                      <a:pt x="824" y="1659"/>
                    </a:lnTo>
                    <a:lnTo>
                      <a:pt x="831" y="1658"/>
                    </a:lnTo>
                    <a:lnTo>
                      <a:pt x="839" y="1657"/>
                    </a:lnTo>
                    <a:lnTo>
                      <a:pt x="888" y="1657"/>
                    </a:lnTo>
                    <a:lnTo>
                      <a:pt x="896" y="1657"/>
                    </a:lnTo>
                    <a:lnTo>
                      <a:pt x="904" y="1655"/>
                    </a:lnTo>
                    <a:lnTo>
                      <a:pt x="912" y="1652"/>
                    </a:lnTo>
                    <a:lnTo>
                      <a:pt x="919" y="1648"/>
                    </a:lnTo>
                    <a:lnTo>
                      <a:pt x="925" y="1643"/>
                    </a:lnTo>
                    <a:lnTo>
                      <a:pt x="930" y="1636"/>
                    </a:lnTo>
                    <a:lnTo>
                      <a:pt x="935" y="1630"/>
                    </a:lnTo>
                    <a:lnTo>
                      <a:pt x="939" y="1623"/>
                    </a:lnTo>
                    <a:lnTo>
                      <a:pt x="943" y="1615"/>
                    </a:lnTo>
                    <a:lnTo>
                      <a:pt x="946" y="1606"/>
                    </a:lnTo>
                    <a:lnTo>
                      <a:pt x="949" y="1597"/>
                    </a:lnTo>
                    <a:lnTo>
                      <a:pt x="951" y="1588"/>
                    </a:lnTo>
                    <a:lnTo>
                      <a:pt x="954" y="1569"/>
                    </a:lnTo>
                    <a:lnTo>
                      <a:pt x="954" y="1551"/>
                    </a:lnTo>
                    <a:lnTo>
                      <a:pt x="954" y="1536"/>
                    </a:lnTo>
                    <a:lnTo>
                      <a:pt x="952" y="1522"/>
                    </a:lnTo>
                    <a:lnTo>
                      <a:pt x="950" y="1509"/>
                    </a:lnTo>
                    <a:lnTo>
                      <a:pt x="946" y="1497"/>
                    </a:lnTo>
                    <a:lnTo>
                      <a:pt x="937" y="1472"/>
                    </a:lnTo>
                    <a:lnTo>
                      <a:pt x="928" y="1444"/>
                    </a:lnTo>
                    <a:lnTo>
                      <a:pt x="923" y="1423"/>
                    </a:lnTo>
                    <a:lnTo>
                      <a:pt x="919" y="1401"/>
                    </a:lnTo>
                    <a:lnTo>
                      <a:pt x="917" y="1397"/>
                    </a:lnTo>
                    <a:lnTo>
                      <a:pt x="915" y="1392"/>
                    </a:lnTo>
                    <a:lnTo>
                      <a:pt x="913" y="1389"/>
                    </a:lnTo>
                    <a:lnTo>
                      <a:pt x="910" y="1385"/>
                    </a:lnTo>
                    <a:lnTo>
                      <a:pt x="906" y="1382"/>
                    </a:lnTo>
                    <a:lnTo>
                      <a:pt x="902" y="1380"/>
                    </a:lnTo>
                    <a:lnTo>
                      <a:pt x="898" y="1379"/>
                    </a:lnTo>
                    <a:lnTo>
                      <a:pt x="893" y="1378"/>
                    </a:lnTo>
                    <a:lnTo>
                      <a:pt x="887" y="1379"/>
                    </a:lnTo>
                    <a:lnTo>
                      <a:pt x="881" y="1381"/>
                    </a:lnTo>
                    <a:lnTo>
                      <a:pt x="876" y="1384"/>
                    </a:lnTo>
                    <a:lnTo>
                      <a:pt x="870" y="1389"/>
                    </a:lnTo>
                    <a:lnTo>
                      <a:pt x="866" y="1392"/>
                    </a:lnTo>
                    <a:lnTo>
                      <a:pt x="860" y="1395"/>
                    </a:lnTo>
                    <a:lnTo>
                      <a:pt x="855" y="1397"/>
                    </a:lnTo>
                    <a:lnTo>
                      <a:pt x="849" y="1398"/>
                    </a:lnTo>
                    <a:lnTo>
                      <a:pt x="840" y="1397"/>
                    </a:lnTo>
                    <a:lnTo>
                      <a:pt x="834" y="1395"/>
                    </a:lnTo>
                    <a:lnTo>
                      <a:pt x="829" y="1393"/>
                    </a:lnTo>
                    <a:lnTo>
                      <a:pt x="824" y="1389"/>
                    </a:lnTo>
                    <a:lnTo>
                      <a:pt x="819" y="1384"/>
                    </a:lnTo>
                    <a:lnTo>
                      <a:pt x="816" y="1378"/>
                    </a:lnTo>
                    <a:lnTo>
                      <a:pt x="812" y="1372"/>
                    </a:lnTo>
                    <a:lnTo>
                      <a:pt x="810" y="1366"/>
                    </a:lnTo>
                    <a:lnTo>
                      <a:pt x="804" y="1351"/>
                    </a:lnTo>
                    <a:lnTo>
                      <a:pt x="802" y="1335"/>
                    </a:lnTo>
                    <a:lnTo>
                      <a:pt x="800" y="1319"/>
                    </a:lnTo>
                    <a:lnTo>
                      <a:pt x="799" y="1303"/>
                    </a:lnTo>
                    <a:lnTo>
                      <a:pt x="769" y="1298"/>
                    </a:lnTo>
                    <a:lnTo>
                      <a:pt x="744" y="1294"/>
                    </a:lnTo>
                    <a:lnTo>
                      <a:pt x="718" y="1287"/>
                    </a:lnTo>
                    <a:lnTo>
                      <a:pt x="695" y="1281"/>
                    </a:lnTo>
                    <a:lnTo>
                      <a:pt x="671" y="1273"/>
                    </a:lnTo>
                    <a:lnTo>
                      <a:pt x="649" y="1263"/>
                    </a:lnTo>
                    <a:lnTo>
                      <a:pt x="625" y="1250"/>
                    </a:lnTo>
                    <a:lnTo>
                      <a:pt x="601" y="1235"/>
                    </a:lnTo>
                    <a:lnTo>
                      <a:pt x="596" y="1232"/>
                    </a:lnTo>
                    <a:lnTo>
                      <a:pt x="593" y="1227"/>
                    </a:lnTo>
                    <a:lnTo>
                      <a:pt x="590" y="1223"/>
                    </a:lnTo>
                    <a:lnTo>
                      <a:pt x="588" y="1219"/>
                    </a:lnTo>
                    <a:lnTo>
                      <a:pt x="585" y="1210"/>
                    </a:lnTo>
                    <a:lnTo>
                      <a:pt x="584" y="1200"/>
                    </a:lnTo>
                    <a:lnTo>
                      <a:pt x="585" y="1178"/>
                    </a:lnTo>
                    <a:lnTo>
                      <a:pt x="587" y="1154"/>
                    </a:lnTo>
                    <a:lnTo>
                      <a:pt x="586" y="1144"/>
                    </a:lnTo>
                    <a:lnTo>
                      <a:pt x="585" y="1133"/>
                    </a:lnTo>
                    <a:lnTo>
                      <a:pt x="583" y="1124"/>
                    </a:lnTo>
                    <a:lnTo>
                      <a:pt x="581" y="1116"/>
                    </a:lnTo>
                    <a:lnTo>
                      <a:pt x="579" y="1107"/>
                    </a:lnTo>
                    <a:lnTo>
                      <a:pt x="576" y="1097"/>
                    </a:lnTo>
                    <a:lnTo>
                      <a:pt x="575" y="1088"/>
                    </a:lnTo>
                    <a:lnTo>
                      <a:pt x="574" y="1077"/>
                    </a:lnTo>
                    <a:lnTo>
                      <a:pt x="574" y="1029"/>
                    </a:lnTo>
                    <a:lnTo>
                      <a:pt x="575" y="1018"/>
                    </a:lnTo>
                    <a:lnTo>
                      <a:pt x="576" y="1009"/>
                    </a:lnTo>
                    <a:lnTo>
                      <a:pt x="579" y="999"/>
                    </a:lnTo>
                    <a:lnTo>
                      <a:pt x="581" y="991"/>
                    </a:lnTo>
                    <a:lnTo>
                      <a:pt x="583" y="983"/>
                    </a:lnTo>
                    <a:lnTo>
                      <a:pt x="585" y="973"/>
                    </a:lnTo>
                    <a:lnTo>
                      <a:pt x="586" y="964"/>
                    </a:lnTo>
                    <a:lnTo>
                      <a:pt x="587" y="953"/>
                    </a:lnTo>
                    <a:lnTo>
                      <a:pt x="587" y="939"/>
                    </a:lnTo>
                    <a:lnTo>
                      <a:pt x="586" y="926"/>
                    </a:lnTo>
                    <a:lnTo>
                      <a:pt x="586" y="914"/>
                    </a:lnTo>
                    <a:lnTo>
                      <a:pt x="587" y="899"/>
                    </a:lnTo>
                    <a:lnTo>
                      <a:pt x="566" y="896"/>
                    </a:lnTo>
                    <a:lnTo>
                      <a:pt x="549" y="892"/>
                    </a:lnTo>
                    <a:lnTo>
                      <a:pt x="532" y="887"/>
                    </a:lnTo>
                    <a:lnTo>
                      <a:pt x="517" y="880"/>
                    </a:lnTo>
                    <a:lnTo>
                      <a:pt x="501" y="872"/>
                    </a:lnTo>
                    <a:lnTo>
                      <a:pt x="486" y="863"/>
                    </a:lnTo>
                    <a:lnTo>
                      <a:pt x="471" y="853"/>
                    </a:lnTo>
                    <a:lnTo>
                      <a:pt x="455" y="840"/>
                    </a:lnTo>
                    <a:lnTo>
                      <a:pt x="445" y="832"/>
                    </a:lnTo>
                    <a:lnTo>
                      <a:pt x="438" y="823"/>
                    </a:lnTo>
                    <a:lnTo>
                      <a:pt x="432" y="813"/>
                    </a:lnTo>
                    <a:lnTo>
                      <a:pt x="426" y="805"/>
                    </a:lnTo>
                    <a:lnTo>
                      <a:pt x="420" y="797"/>
                    </a:lnTo>
                    <a:lnTo>
                      <a:pt x="412" y="790"/>
                    </a:lnTo>
                    <a:lnTo>
                      <a:pt x="408" y="788"/>
                    </a:lnTo>
                    <a:lnTo>
                      <a:pt x="404" y="785"/>
                    </a:lnTo>
                    <a:lnTo>
                      <a:pt x="399" y="784"/>
                    </a:lnTo>
                    <a:lnTo>
                      <a:pt x="393" y="783"/>
                    </a:lnTo>
                    <a:lnTo>
                      <a:pt x="373" y="784"/>
                    </a:lnTo>
                    <a:lnTo>
                      <a:pt x="356" y="785"/>
                    </a:lnTo>
                    <a:lnTo>
                      <a:pt x="339" y="787"/>
                    </a:lnTo>
                    <a:lnTo>
                      <a:pt x="323" y="789"/>
                    </a:lnTo>
                    <a:lnTo>
                      <a:pt x="306" y="791"/>
                    </a:lnTo>
                    <a:lnTo>
                      <a:pt x="290" y="792"/>
                    </a:lnTo>
                    <a:lnTo>
                      <a:pt x="271" y="793"/>
                    </a:lnTo>
                    <a:lnTo>
                      <a:pt x="252" y="794"/>
                    </a:lnTo>
                    <a:lnTo>
                      <a:pt x="238" y="793"/>
                    </a:lnTo>
                    <a:lnTo>
                      <a:pt x="224" y="791"/>
                    </a:lnTo>
                    <a:lnTo>
                      <a:pt x="211" y="788"/>
                    </a:lnTo>
                    <a:lnTo>
                      <a:pt x="199" y="783"/>
                    </a:lnTo>
                    <a:lnTo>
                      <a:pt x="188" y="777"/>
                    </a:lnTo>
                    <a:lnTo>
                      <a:pt x="176" y="771"/>
                    </a:lnTo>
                    <a:lnTo>
                      <a:pt x="166" y="764"/>
                    </a:lnTo>
                    <a:lnTo>
                      <a:pt x="157" y="756"/>
                    </a:lnTo>
                    <a:lnTo>
                      <a:pt x="147" y="746"/>
                    </a:lnTo>
                    <a:lnTo>
                      <a:pt x="139" y="736"/>
                    </a:lnTo>
                    <a:lnTo>
                      <a:pt x="132" y="725"/>
                    </a:lnTo>
                    <a:lnTo>
                      <a:pt x="126" y="713"/>
                    </a:lnTo>
                    <a:lnTo>
                      <a:pt x="120" y="701"/>
                    </a:lnTo>
                    <a:lnTo>
                      <a:pt x="114" y="688"/>
                    </a:lnTo>
                    <a:lnTo>
                      <a:pt x="109" y="675"/>
                    </a:lnTo>
                    <a:lnTo>
                      <a:pt x="105" y="661"/>
                    </a:lnTo>
                    <a:lnTo>
                      <a:pt x="111" y="658"/>
                    </a:lnTo>
                    <a:lnTo>
                      <a:pt x="117" y="655"/>
                    </a:lnTo>
                    <a:lnTo>
                      <a:pt x="121" y="651"/>
                    </a:lnTo>
                    <a:lnTo>
                      <a:pt x="125" y="647"/>
                    </a:lnTo>
                    <a:lnTo>
                      <a:pt x="128" y="642"/>
                    </a:lnTo>
                    <a:lnTo>
                      <a:pt x="131" y="638"/>
                    </a:lnTo>
                    <a:lnTo>
                      <a:pt x="133" y="632"/>
                    </a:lnTo>
                    <a:lnTo>
                      <a:pt x="134" y="626"/>
                    </a:lnTo>
                    <a:lnTo>
                      <a:pt x="137" y="614"/>
                    </a:lnTo>
                    <a:lnTo>
                      <a:pt x="138" y="602"/>
                    </a:lnTo>
                    <a:lnTo>
                      <a:pt x="138" y="588"/>
                    </a:lnTo>
                    <a:lnTo>
                      <a:pt x="138" y="575"/>
                    </a:lnTo>
                    <a:lnTo>
                      <a:pt x="138" y="569"/>
                    </a:lnTo>
                    <a:lnTo>
                      <a:pt x="137" y="562"/>
                    </a:lnTo>
                    <a:lnTo>
                      <a:pt x="135" y="556"/>
                    </a:lnTo>
                    <a:lnTo>
                      <a:pt x="132" y="551"/>
                    </a:lnTo>
                    <a:lnTo>
                      <a:pt x="129" y="547"/>
                    </a:lnTo>
                    <a:lnTo>
                      <a:pt x="125" y="542"/>
                    </a:lnTo>
                    <a:lnTo>
                      <a:pt x="121" y="538"/>
                    </a:lnTo>
                    <a:lnTo>
                      <a:pt x="115" y="535"/>
                    </a:lnTo>
                    <a:lnTo>
                      <a:pt x="94" y="520"/>
                    </a:lnTo>
                    <a:lnTo>
                      <a:pt x="70" y="506"/>
                    </a:lnTo>
                    <a:lnTo>
                      <a:pt x="70" y="448"/>
                    </a:lnTo>
                    <a:lnTo>
                      <a:pt x="72" y="426"/>
                    </a:lnTo>
                    <a:lnTo>
                      <a:pt x="73" y="405"/>
                    </a:lnTo>
                    <a:lnTo>
                      <a:pt x="73" y="396"/>
                    </a:lnTo>
                    <a:lnTo>
                      <a:pt x="71" y="386"/>
                    </a:lnTo>
                    <a:lnTo>
                      <a:pt x="69" y="382"/>
                    </a:lnTo>
                    <a:lnTo>
                      <a:pt x="67" y="378"/>
                    </a:lnTo>
                    <a:lnTo>
                      <a:pt x="64" y="372"/>
                    </a:lnTo>
                    <a:lnTo>
                      <a:pt x="61" y="368"/>
                    </a:lnTo>
                    <a:lnTo>
                      <a:pt x="42" y="350"/>
                    </a:lnTo>
                    <a:lnTo>
                      <a:pt x="25" y="333"/>
                    </a:lnTo>
                    <a:lnTo>
                      <a:pt x="18" y="324"/>
                    </a:lnTo>
                    <a:lnTo>
                      <a:pt x="11" y="315"/>
                    </a:lnTo>
                    <a:lnTo>
                      <a:pt x="9" y="308"/>
                    </a:lnTo>
                    <a:lnTo>
                      <a:pt x="8" y="303"/>
                    </a:lnTo>
                    <a:lnTo>
                      <a:pt x="7" y="297"/>
                    </a:lnTo>
                    <a:lnTo>
                      <a:pt x="6" y="291"/>
                    </a:lnTo>
                    <a:lnTo>
                      <a:pt x="8" y="282"/>
                    </a:lnTo>
                    <a:lnTo>
                      <a:pt x="10" y="274"/>
                    </a:lnTo>
                    <a:lnTo>
                      <a:pt x="12" y="266"/>
                    </a:lnTo>
                    <a:lnTo>
                      <a:pt x="13" y="258"/>
                    </a:lnTo>
                    <a:lnTo>
                      <a:pt x="13" y="253"/>
                    </a:lnTo>
                    <a:lnTo>
                      <a:pt x="11" y="248"/>
                    </a:lnTo>
                    <a:lnTo>
                      <a:pt x="9" y="244"/>
                    </a:lnTo>
                    <a:lnTo>
                      <a:pt x="6" y="241"/>
                    </a:lnTo>
                    <a:lnTo>
                      <a:pt x="4" y="237"/>
                    </a:lnTo>
                    <a:lnTo>
                      <a:pt x="2" y="233"/>
                    </a:lnTo>
                    <a:lnTo>
                      <a:pt x="0" y="229"/>
                    </a:lnTo>
                    <a:lnTo>
                      <a:pt x="0" y="225"/>
                    </a:lnTo>
                    <a:lnTo>
                      <a:pt x="0" y="220"/>
                    </a:lnTo>
                    <a:lnTo>
                      <a:pt x="1" y="215"/>
                    </a:lnTo>
                    <a:lnTo>
                      <a:pt x="2" y="211"/>
                    </a:lnTo>
                    <a:lnTo>
                      <a:pt x="4" y="207"/>
                    </a:lnTo>
                    <a:lnTo>
                      <a:pt x="9" y="201"/>
                    </a:lnTo>
                    <a:lnTo>
                      <a:pt x="15" y="195"/>
                    </a:lnTo>
                    <a:lnTo>
                      <a:pt x="23" y="190"/>
                    </a:lnTo>
                    <a:lnTo>
                      <a:pt x="32" y="186"/>
                    </a:lnTo>
                    <a:lnTo>
                      <a:pt x="41" y="182"/>
                    </a:lnTo>
                    <a:lnTo>
                      <a:pt x="51" y="178"/>
                    </a:lnTo>
                    <a:lnTo>
                      <a:pt x="60" y="174"/>
                    </a:lnTo>
                    <a:lnTo>
                      <a:pt x="69" y="171"/>
                    </a:lnTo>
                    <a:lnTo>
                      <a:pt x="77" y="167"/>
                    </a:lnTo>
                    <a:lnTo>
                      <a:pt x="86" y="162"/>
                    </a:lnTo>
                    <a:lnTo>
                      <a:pt x="92" y="156"/>
                    </a:lnTo>
                    <a:lnTo>
                      <a:pt x="97" y="149"/>
                    </a:lnTo>
                    <a:lnTo>
                      <a:pt x="98" y="145"/>
                    </a:lnTo>
                    <a:lnTo>
                      <a:pt x="100" y="141"/>
                    </a:lnTo>
                    <a:lnTo>
                      <a:pt x="101" y="137"/>
                    </a:lnTo>
                    <a:lnTo>
                      <a:pt x="101" y="132"/>
                    </a:lnTo>
                    <a:lnTo>
                      <a:pt x="97" y="119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107" y="107"/>
                    </a:lnTo>
                    <a:lnTo>
                      <a:pt x="121" y="109"/>
                    </a:lnTo>
                    <a:lnTo>
                      <a:pt x="135" y="110"/>
                    </a:lnTo>
                    <a:lnTo>
                      <a:pt x="151" y="111"/>
                    </a:lnTo>
                    <a:lnTo>
                      <a:pt x="163" y="109"/>
                    </a:lnTo>
                    <a:lnTo>
                      <a:pt x="174" y="106"/>
                    </a:lnTo>
                    <a:lnTo>
                      <a:pt x="230" y="106"/>
                    </a:lnTo>
                    <a:lnTo>
                      <a:pt x="244" y="109"/>
                    </a:lnTo>
                    <a:lnTo>
                      <a:pt x="259" y="111"/>
                    </a:lnTo>
                    <a:lnTo>
                      <a:pt x="273" y="110"/>
                    </a:lnTo>
                    <a:lnTo>
                      <a:pt x="286" y="108"/>
                    </a:lnTo>
                    <a:lnTo>
                      <a:pt x="298" y="104"/>
                    </a:lnTo>
                    <a:lnTo>
                      <a:pt x="309" y="100"/>
                    </a:lnTo>
                    <a:lnTo>
                      <a:pt x="332" y="91"/>
                    </a:lnTo>
                    <a:lnTo>
                      <a:pt x="358" y="80"/>
                    </a:lnTo>
                    <a:lnTo>
                      <a:pt x="405" y="65"/>
                    </a:lnTo>
                    <a:lnTo>
                      <a:pt x="448" y="50"/>
                    </a:lnTo>
                    <a:lnTo>
                      <a:pt x="488" y="37"/>
                    </a:lnTo>
                    <a:lnTo>
                      <a:pt x="527" y="24"/>
                    </a:lnTo>
                    <a:lnTo>
                      <a:pt x="547" y="19"/>
                    </a:lnTo>
                    <a:lnTo>
                      <a:pt x="567" y="14"/>
                    </a:lnTo>
                    <a:lnTo>
                      <a:pt x="587" y="10"/>
                    </a:lnTo>
                    <a:lnTo>
                      <a:pt x="608" y="7"/>
                    </a:lnTo>
                    <a:lnTo>
                      <a:pt x="630" y="4"/>
                    </a:lnTo>
                    <a:lnTo>
                      <a:pt x="652" y="2"/>
                    </a:lnTo>
                    <a:lnTo>
                      <a:pt x="675" y="1"/>
                    </a:lnTo>
                    <a:lnTo>
                      <a:pt x="701" y="0"/>
                    </a:lnTo>
                    <a:lnTo>
                      <a:pt x="712" y="1"/>
                    </a:lnTo>
                    <a:lnTo>
                      <a:pt x="721" y="1"/>
                    </a:lnTo>
                    <a:lnTo>
                      <a:pt x="730" y="3"/>
                    </a:lnTo>
                    <a:lnTo>
                      <a:pt x="739" y="4"/>
                    </a:lnTo>
                    <a:lnTo>
                      <a:pt x="756" y="9"/>
                    </a:lnTo>
                    <a:lnTo>
                      <a:pt x="772" y="15"/>
                    </a:lnTo>
                    <a:lnTo>
                      <a:pt x="788" y="23"/>
                    </a:lnTo>
                    <a:lnTo>
                      <a:pt x="803" y="33"/>
                    </a:lnTo>
                    <a:lnTo>
                      <a:pt x="820" y="43"/>
                    </a:lnTo>
                    <a:lnTo>
                      <a:pt x="836" y="54"/>
                    </a:lnTo>
                    <a:lnTo>
                      <a:pt x="856" y="66"/>
                    </a:lnTo>
                    <a:lnTo>
                      <a:pt x="874" y="76"/>
                    </a:lnTo>
                    <a:lnTo>
                      <a:pt x="892" y="83"/>
                    </a:lnTo>
                    <a:lnTo>
                      <a:pt x="910" y="91"/>
                    </a:lnTo>
                    <a:lnTo>
                      <a:pt x="928" y="97"/>
                    </a:lnTo>
                    <a:lnTo>
                      <a:pt x="946" y="104"/>
                    </a:lnTo>
                    <a:lnTo>
                      <a:pt x="965" y="112"/>
                    </a:lnTo>
                    <a:lnTo>
                      <a:pt x="985" y="123"/>
                    </a:lnTo>
                    <a:lnTo>
                      <a:pt x="1008" y="136"/>
                    </a:lnTo>
                    <a:lnTo>
                      <a:pt x="1028" y="149"/>
                    </a:lnTo>
                    <a:lnTo>
                      <a:pt x="1048" y="162"/>
                    </a:lnTo>
                    <a:lnTo>
                      <a:pt x="1067" y="173"/>
                    </a:lnTo>
                    <a:lnTo>
                      <a:pt x="1077" y="178"/>
                    </a:lnTo>
                    <a:lnTo>
                      <a:pt x="1087" y="183"/>
                    </a:lnTo>
                    <a:lnTo>
                      <a:pt x="1096" y="188"/>
                    </a:lnTo>
                    <a:lnTo>
                      <a:pt x="1108" y="192"/>
                    </a:lnTo>
                    <a:lnTo>
                      <a:pt x="1119" y="195"/>
                    </a:lnTo>
                    <a:lnTo>
                      <a:pt x="1130" y="197"/>
                    </a:lnTo>
                    <a:lnTo>
                      <a:pt x="1143" y="199"/>
                    </a:lnTo>
                    <a:lnTo>
                      <a:pt x="1156" y="201"/>
                    </a:lnTo>
                    <a:lnTo>
                      <a:pt x="1329" y="175"/>
                    </a:lnTo>
                    <a:lnTo>
                      <a:pt x="1347" y="177"/>
                    </a:lnTo>
                    <a:lnTo>
                      <a:pt x="1347" y="229"/>
                    </a:lnTo>
                    <a:lnTo>
                      <a:pt x="1347" y="235"/>
                    </a:lnTo>
                    <a:lnTo>
                      <a:pt x="1346" y="241"/>
                    </a:lnTo>
                    <a:lnTo>
                      <a:pt x="1344" y="246"/>
                    </a:lnTo>
                    <a:lnTo>
                      <a:pt x="1343" y="253"/>
                    </a:lnTo>
                    <a:lnTo>
                      <a:pt x="1338" y="263"/>
                    </a:lnTo>
                    <a:lnTo>
                      <a:pt x="1332" y="272"/>
                    </a:lnTo>
                    <a:lnTo>
                      <a:pt x="1327" y="283"/>
                    </a:lnTo>
                    <a:lnTo>
                      <a:pt x="1322" y="293"/>
                    </a:lnTo>
                    <a:lnTo>
                      <a:pt x="1320" y="298"/>
                    </a:lnTo>
                    <a:lnTo>
                      <a:pt x="1319" y="304"/>
                    </a:lnTo>
                    <a:lnTo>
                      <a:pt x="1318" y="309"/>
                    </a:lnTo>
                    <a:lnTo>
                      <a:pt x="1317" y="317"/>
                    </a:lnTo>
                    <a:lnTo>
                      <a:pt x="1318" y="321"/>
                    </a:lnTo>
                    <a:lnTo>
                      <a:pt x="1319" y="325"/>
                    </a:lnTo>
                    <a:lnTo>
                      <a:pt x="1321" y="329"/>
                    </a:lnTo>
                    <a:lnTo>
                      <a:pt x="1324" y="332"/>
                    </a:lnTo>
                    <a:lnTo>
                      <a:pt x="1327" y="334"/>
                    </a:lnTo>
                    <a:lnTo>
                      <a:pt x="1331" y="335"/>
                    </a:lnTo>
                    <a:lnTo>
                      <a:pt x="1336" y="337"/>
                    </a:lnTo>
                    <a:lnTo>
                      <a:pt x="1342" y="338"/>
                    </a:lnTo>
                    <a:lnTo>
                      <a:pt x="1363" y="340"/>
                    </a:lnTo>
                    <a:lnTo>
                      <a:pt x="1386" y="342"/>
                    </a:lnTo>
                    <a:lnTo>
                      <a:pt x="1393" y="345"/>
                    </a:lnTo>
                    <a:lnTo>
                      <a:pt x="1401" y="347"/>
                    </a:lnTo>
                    <a:lnTo>
                      <a:pt x="1409" y="349"/>
                    </a:lnTo>
                    <a:lnTo>
                      <a:pt x="1415" y="353"/>
                    </a:lnTo>
                    <a:lnTo>
                      <a:pt x="1421" y="356"/>
                    </a:lnTo>
                    <a:lnTo>
                      <a:pt x="1427" y="360"/>
                    </a:lnTo>
                    <a:lnTo>
                      <a:pt x="1433" y="365"/>
                    </a:lnTo>
                    <a:lnTo>
                      <a:pt x="1439" y="370"/>
                    </a:lnTo>
                    <a:lnTo>
                      <a:pt x="1443" y="376"/>
                    </a:lnTo>
                    <a:lnTo>
                      <a:pt x="1447" y="382"/>
                    </a:lnTo>
                    <a:lnTo>
                      <a:pt x="1450" y="388"/>
                    </a:lnTo>
                    <a:lnTo>
                      <a:pt x="1453" y="395"/>
                    </a:lnTo>
                    <a:lnTo>
                      <a:pt x="1456" y="402"/>
                    </a:lnTo>
                    <a:lnTo>
                      <a:pt x="1457" y="410"/>
                    </a:lnTo>
                    <a:lnTo>
                      <a:pt x="1458" y="417"/>
                    </a:lnTo>
                    <a:lnTo>
                      <a:pt x="1459" y="425"/>
                    </a:lnTo>
                    <a:lnTo>
                      <a:pt x="1458" y="445"/>
                    </a:lnTo>
                    <a:lnTo>
                      <a:pt x="1455" y="462"/>
                    </a:lnTo>
                    <a:lnTo>
                      <a:pt x="1451" y="478"/>
                    </a:lnTo>
                    <a:lnTo>
                      <a:pt x="1446" y="494"/>
                    </a:lnTo>
                    <a:lnTo>
                      <a:pt x="1434" y="525"/>
                    </a:lnTo>
                    <a:lnTo>
                      <a:pt x="1423" y="561"/>
                    </a:lnTo>
                    <a:lnTo>
                      <a:pt x="1435" y="564"/>
                    </a:lnTo>
                    <a:lnTo>
                      <a:pt x="1446" y="558"/>
                    </a:lnTo>
                    <a:lnTo>
                      <a:pt x="1455" y="553"/>
                    </a:lnTo>
                    <a:lnTo>
                      <a:pt x="1464" y="550"/>
                    </a:lnTo>
                    <a:lnTo>
                      <a:pt x="1474" y="546"/>
                    </a:lnTo>
                    <a:lnTo>
                      <a:pt x="1484" y="544"/>
                    </a:lnTo>
                    <a:lnTo>
                      <a:pt x="1493" y="542"/>
                    </a:lnTo>
                    <a:lnTo>
                      <a:pt x="1505" y="541"/>
                    </a:lnTo>
                    <a:lnTo>
                      <a:pt x="1516" y="541"/>
                    </a:lnTo>
                    <a:lnTo>
                      <a:pt x="1572" y="541"/>
                    </a:lnTo>
                    <a:lnTo>
                      <a:pt x="1581" y="542"/>
                    </a:lnTo>
                    <a:lnTo>
                      <a:pt x="1590" y="545"/>
                    </a:lnTo>
                    <a:lnTo>
                      <a:pt x="1597" y="549"/>
                    </a:lnTo>
                    <a:lnTo>
                      <a:pt x="1605" y="554"/>
                    </a:lnTo>
                    <a:lnTo>
                      <a:pt x="1611" y="561"/>
                    </a:lnTo>
                    <a:lnTo>
                      <a:pt x="1616" y="569"/>
                    </a:lnTo>
                    <a:lnTo>
                      <a:pt x="1622" y="576"/>
                    </a:lnTo>
                    <a:lnTo>
                      <a:pt x="1627" y="584"/>
                    </a:lnTo>
                    <a:lnTo>
                      <a:pt x="1632" y="592"/>
                    </a:lnTo>
                    <a:lnTo>
                      <a:pt x="1638" y="601"/>
                    </a:lnTo>
                    <a:lnTo>
                      <a:pt x="1644" y="608"/>
                    </a:lnTo>
                    <a:lnTo>
                      <a:pt x="1650" y="614"/>
                    </a:lnTo>
                    <a:lnTo>
                      <a:pt x="1656" y="620"/>
                    </a:lnTo>
                    <a:lnTo>
                      <a:pt x="1664" y="624"/>
                    </a:lnTo>
                    <a:lnTo>
                      <a:pt x="1673" y="627"/>
                    </a:lnTo>
                    <a:lnTo>
                      <a:pt x="1683" y="627"/>
                    </a:lnTo>
                    <a:lnTo>
                      <a:pt x="1694" y="627"/>
                    </a:lnTo>
                    <a:lnTo>
                      <a:pt x="1705" y="624"/>
                    </a:lnTo>
                    <a:lnTo>
                      <a:pt x="1714" y="620"/>
                    </a:lnTo>
                    <a:lnTo>
                      <a:pt x="1723" y="615"/>
                    </a:lnTo>
                    <a:lnTo>
                      <a:pt x="1730" y="609"/>
                    </a:lnTo>
                    <a:lnTo>
                      <a:pt x="1738" y="602"/>
                    </a:lnTo>
                    <a:lnTo>
                      <a:pt x="1745" y="594"/>
                    </a:lnTo>
                    <a:lnTo>
                      <a:pt x="1751" y="586"/>
                    </a:lnTo>
                    <a:lnTo>
                      <a:pt x="1764" y="569"/>
                    </a:lnTo>
                    <a:lnTo>
                      <a:pt x="1780" y="552"/>
                    </a:lnTo>
                    <a:lnTo>
                      <a:pt x="1787" y="545"/>
                    </a:lnTo>
                    <a:lnTo>
                      <a:pt x="1796" y="538"/>
                    </a:lnTo>
                    <a:lnTo>
                      <a:pt x="1807" y="531"/>
                    </a:lnTo>
                    <a:lnTo>
                      <a:pt x="1817" y="526"/>
                    </a:lnTo>
                    <a:lnTo>
                      <a:pt x="1954" y="555"/>
                    </a:lnTo>
                    <a:lnTo>
                      <a:pt x="1978" y="555"/>
                    </a:lnTo>
                    <a:lnTo>
                      <a:pt x="2002" y="554"/>
                    </a:lnTo>
                    <a:lnTo>
                      <a:pt x="2023" y="552"/>
                    </a:lnTo>
                    <a:lnTo>
                      <a:pt x="2044" y="549"/>
                    </a:lnTo>
                    <a:lnTo>
                      <a:pt x="2054" y="547"/>
                    </a:lnTo>
                    <a:lnTo>
                      <a:pt x="2064" y="544"/>
                    </a:lnTo>
                    <a:lnTo>
                      <a:pt x="2074" y="540"/>
                    </a:lnTo>
                    <a:lnTo>
                      <a:pt x="2083" y="536"/>
                    </a:lnTo>
                    <a:lnTo>
                      <a:pt x="2092" y="530"/>
                    </a:lnTo>
                    <a:lnTo>
                      <a:pt x="2103" y="524"/>
                    </a:lnTo>
                    <a:lnTo>
                      <a:pt x="2112" y="518"/>
                    </a:lnTo>
                    <a:lnTo>
                      <a:pt x="2121" y="510"/>
                    </a:lnTo>
                    <a:lnTo>
                      <a:pt x="2138" y="496"/>
                    </a:lnTo>
                    <a:lnTo>
                      <a:pt x="2153" y="484"/>
                    </a:lnTo>
                    <a:lnTo>
                      <a:pt x="2159" y="478"/>
                    </a:lnTo>
                    <a:lnTo>
                      <a:pt x="2165" y="469"/>
                    </a:lnTo>
                    <a:lnTo>
                      <a:pt x="2166" y="465"/>
                    </a:lnTo>
                    <a:lnTo>
                      <a:pt x="2168" y="461"/>
                    </a:lnTo>
                    <a:lnTo>
                      <a:pt x="2168" y="456"/>
                    </a:lnTo>
                    <a:lnTo>
                      <a:pt x="2169" y="451"/>
                    </a:lnTo>
                    <a:lnTo>
                      <a:pt x="2168" y="442"/>
                    </a:lnTo>
                    <a:lnTo>
                      <a:pt x="2166" y="433"/>
                    </a:lnTo>
                    <a:lnTo>
                      <a:pt x="2164" y="426"/>
                    </a:lnTo>
                    <a:lnTo>
                      <a:pt x="2160" y="418"/>
                    </a:lnTo>
                    <a:lnTo>
                      <a:pt x="2157" y="411"/>
                    </a:lnTo>
                    <a:lnTo>
                      <a:pt x="2154" y="403"/>
                    </a:lnTo>
                    <a:lnTo>
                      <a:pt x="2152" y="395"/>
                    </a:lnTo>
                    <a:lnTo>
                      <a:pt x="2152" y="386"/>
                    </a:lnTo>
                    <a:lnTo>
                      <a:pt x="2152" y="376"/>
                    </a:lnTo>
                    <a:lnTo>
                      <a:pt x="2152" y="367"/>
                    </a:lnTo>
                    <a:lnTo>
                      <a:pt x="2153" y="359"/>
                    </a:lnTo>
                    <a:lnTo>
                      <a:pt x="2154" y="350"/>
                    </a:lnTo>
                    <a:lnTo>
                      <a:pt x="2176" y="348"/>
                    </a:lnTo>
                    <a:lnTo>
                      <a:pt x="2194" y="346"/>
                    </a:lnTo>
                    <a:lnTo>
                      <a:pt x="2204" y="345"/>
                    </a:lnTo>
                    <a:lnTo>
                      <a:pt x="2213" y="342"/>
                    </a:lnTo>
                    <a:lnTo>
                      <a:pt x="2222" y="338"/>
                    </a:lnTo>
                    <a:lnTo>
                      <a:pt x="2232" y="333"/>
                    </a:lnTo>
                    <a:lnTo>
                      <a:pt x="2246" y="323"/>
                    </a:lnTo>
                    <a:lnTo>
                      <a:pt x="2259" y="311"/>
                    </a:lnTo>
                    <a:lnTo>
                      <a:pt x="2271" y="300"/>
                    </a:lnTo>
                    <a:lnTo>
                      <a:pt x="2283" y="289"/>
                    </a:lnTo>
                    <a:lnTo>
                      <a:pt x="2295" y="277"/>
                    </a:lnTo>
                    <a:lnTo>
                      <a:pt x="2307" y="268"/>
                    </a:lnTo>
                    <a:lnTo>
                      <a:pt x="2314" y="264"/>
                    </a:lnTo>
                    <a:lnTo>
                      <a:pt x="2321" y="261"/>
                    </a:lnTo>
                    <a:lnTo>
                      <a:pt x="2330" y="258"/>
                    </a:lnTo>
                    <a:lnTo>
                      <a:pt x="2338" y="255"/>
                    </a:lnTo>
                    <a:lnTo>
                      <a:pt x="2352" y="250"/>
                    </a:lnTo>
                    <a:lnTo>
                      <a:pt x="2365" y="244"/>
                    </a:lnTo>
                    <a:lnTo>
                      <a:pt x="2371" y="242"/>
                    </a:lnTo>
                    <a:lnTo>
                      <a:pt x="2378" y="240"/>
                    </a:lnTo>
                    <a:lnTo>
                      <a:pt x="2384" y="239"/>
                    </a:lnTo>
                    <a:lnTo>
                      <a:pt x="2392" y="238"/>
                    </a:lnTo>
                    <a:lnTo>
                      <a:pt x="2398" y="239"/>
                    </a:lnTo>
                    <a:lnTo>
                      <a:pt x="2403" y="239"/>
                    </a:lnTo>
                    <a:lnTo>
                      <a:pt x="2408" y="241"/>
                    </a:lnTo>
                    <a:lnTo>
                      <a:pt x="2413" y="242"/>
                    </a:lnTo>
                    <a:lnTo>
                      <a:pt x="2421" y="247"/>
                    </a:lnTo>
                    <a:lnTo>
                      <a:pt x="2430" y="253"/>
                    </a:lnTo>
                    <a:lnTo>
                      <a:pt x="2445" y="266"/>
                    </a:lnTo>
                    <a:lnTo>
                      <a:pt x="2463" y="278"/>
                    </a:lnTo>
                    <a:lnTo>
                      <a:pt x="2463" y="278"/>
                    </a:lnTo>
                    <a:lnTo>
                      <a:pt x="2442" y="302"/>
                    </a:lnTo>
                    <a:lnTo>
                      <a:pt x="2423" y="323"/>
                    </a:lnTo>
                    <a:lnTo>
                      <a:pt x="2415" y="334"/>
                    </a:lnTo>
                    <a:lnTo>
                      <a:pt x="2409" y="347"/>
                    </a:lnTo>
                    <a:lnTo>
                      <a:pt x="2407" y="353"/>
                    </a:lnTo>
                    <a:lnTo>
                      <a:pt x="2406" y="360"/>
                    </a:lnTo>
                    <a:lnTo>
                      <a:pt x="2405" y="367"/>
                    </a:lnTo>
                    <a:lnTo>
                      <a:pt x="2404" y="376"/>
                    </a:lnTo>
                    <a:lnTo>
                      <a:pt x="2405" y="381"/>
                    </a:lnTo>
                    <a:lnTo>
                      <a:pt x="2406" y="386"/>
                    </a:lnTo>
                    <a:lnTo>
                      <a:pt x="2407" y="390"/>
                    </a:lnTo>
                    <a:lnTo>
                      <a:pt x="2409" y="394"/>
                    </a:lnTo>
                    <a:lnTo>
                      <a:pt x="2414" y="401"/>
                    </a:lnTo>
                    <a:lnTo>
                      <a:pt x="2421" y="408"/>
                    </a:lnTo>
                    <a:lnTo>
                      <a:pt x="2438" y="419"/>
                    </a:lnTo>
                    <a:lnTo>
                      <a:pt x="2456" y="429"/>
                    </a:lnTo>
                    <a:lnTo>
                      <a:pt x="2467" y="437"/>
                    </a:lnTo>
                    <a:lnTo>
                      <a:pt x="2476" y="446"/>
                    </a:lnTo>
                    <a:lnTo>
                      <a:pt x="2484" y="455"/>
                    </a:lnTo>
                    <a:lnTo>
                      <a:pt x="2491" y="465"/>
                    </a:lnTo>
                    <a:lnTo>
                      <a:pt x="2497" y="476"/>
                    </a:lnTo>
                    <a:lnTo>
                      <a:pt x="2500" y="487"/>
                    </a:lnTo>
                    <a:lnTo>
                      <a:pt x="2503" y="499"/>
                    </a:lnTo>
                    <a:lnTo>
                      <a:pt x="2503" y="513"/>
                    </a:lnTo>
                    <a:lnTo>
                      <a:pt x="2503" y="638"/>
                    </a:lnTo>
                    <a:lnTo>
                      <a:pt x="2503" y="648"/>
                    </a:lnTo>
                    <a:lnTo>
                      <a:pt x="2501" y="657"/>
                    </a:lnTo>
                    <a:lnTo>
                      <a:pt x="2498" y="666"/>
                    </a:lnTo>
                    <a:lnTo>
                      <a:pt x="2495" y="674"/>
                    </a:lnTo>
                    <a:lnTo>
                      <a:pt x="2486" y="689"/>
                    </a:lnTo>
                    <a:lnTo>
                      <a:pt x="2479" y="708"/>
                    </a:lnTo>
                    <a:lnTo>
                      <a:pt x="2474" y="735"/>
                    </a:lnTo>
                    <a:lnTo>
                      <a:pt x="2468" y="759"/>
                    </a:lnTo>
                    <a:lnTo>
                      <a:pt x="2465" y="769"/>
                    </a:lnTo>
                    <a:lnTo>
                      <a:pt x="2458" y="779"/>
                    </a:lnTo>
                    <a:lnTo>
                      <a:pt x="2455" y="784"/>
                    </a:lnTo>
                    <a:lnTo>
                      <a:pt x="2451" y="790"/>
                    </a:lnTo>
                    <a:lnTo>
                      <a:pt x="2447" y="794"/>
                    </a:lnTo>
                    <a:lnTo>
                      <a:pt x="2442" y="798"/>
                    </a:lnTo>
                    <a:lnTo>
                      <a:pt x="2449" y="809"/>
                    </a:lnTo>
                    <a:lnTo>
                      <a:pt x="2456" y="820"/>
                    </a:lnTo>
                    <a:lnTo>
                      <a:pt x="2465" y="828"/>
                    </a:lnTo>
                    <a:lnTo>
                      <a:pt x="2475" y="835"/>
                    </a:lnTo>
                    <a:lnTo>
                      <a:pt x="2485" y="840"/>
                    </a:lnTo>
                    <a:lnTo>
                      <a:pt x="2497" y="844"/>
                    </a:lnTo>
                    <a:lnTo>
                      <a:pt x="2509" y="846"/>
                    </a:lnTo>
                    <a:lnTo>
                      <a:pt x="2522" y="847"/>
                    </a:lnTo>
                    <a:lnTo>
                      <a:pt x="2522" y="847"/>
                    </a:lnTo>
                    <a:close/>
                  </a:path>
                </a:pathLst>
              </a:custGeom>
              <a:solidFill>
                <a:srgbClr val="67AF1E"/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" name="Kherson">
                <a:extLst>
                  <a:ext uri="{FF2B5EF4-FFF2-40B4-BE49-F238E27FC236}">
                    <a16:creationId xmlns:a16="http://schemas.microsoft.com/office/drawing/2014/main" id="{BBAB5215-7124-4CD0-9198-335A1D2C74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6406" y="4598204"/>
                <a:ext cx="1470617" cy="1007374"/>
              </a:xfrm>
              <a:custGeom>
                <a:avLst/>
                <a:gdLst>
                  <a:gd name="T0" fmla="*/ 1193 w 2988"/>
                  <a:gd name="T1" fmla="*/ 361 h 2164"/>
                  <a:gd name="T2" fmla="*/ 1170 w 2988"/>
                  <a:gd name="T3" fmla="*/ 581 h 2164"/>
                  <a:gd name="T4" fmla="*/ 1051 w 2988"/>
                  <a:gd name="T5" fmla="*/ 654 h 2164"/>
                  <a:gd name="T6" fmla="*/ 1148 w 2988"/>
                  <a:gd name="T7" fmla="*/ 806 h 2164"/>
                  <a:gd name="T8" fmla="*/ 1063 w 2988"/>
                  <a:gd name="T9" fmla="*/ 1036 h 2164"/>
                  <a:gd name="T10" fmla="*/ 820 w 2988"/>
                  <a:gd name="T11" fmla="*/ 1017 h 2164"/>
                  <a:gd name="T12" fmla="*/ 695 w 2988"/>
                  <a:gd name="T13" fmla="*/ 1097 h 2164"/>
                  <a:gd name="T14" fmla="*/ 616 w 2988"/>
                  <a:gd name="T15" fmla="*/ 1099 h 2164"/>
                  <a:gd name="T16" fmla="*/ 460 w 2988"/>
                  <a:gd name="T17" fmla="*/ 1099 h 2164"/>
                  <a:gd name="T18" fmla="*/ 251 w 2988"/>
                  <a:gd name="T19" fmla="*/ 1233 h 2164"/>
                  <a:gd name="T20" fmla="*/ 314 w 2988"/>
                  <a:gd name="T21" fmla="*/ 1361 h 2164"/>
                  <a:gd name="T22" fmla="*/ 427 w 2988"/>
                  <a:gd name="T23" fmla="*/ 1355 h 2164"/>
                  <a:gd name="T24" fmla="*/ 538 w 2988"/>
                  <a:gd name="T25" fmla="*/ 1398 h 2164"/>
                  <a:gd name="T26" fmla="*/ 744 w 2988"/>
                  <a:gd name="T27" fmla="*/ 1304 h 2164"/>
                  <a:gd name="T28" fmla="*/ 604 w 2988"/>
                  <a:gd name="T29" fmla="*/ 1418 h 2164"/>
                  <a:gd name="T30" fmla="*/ 574 w 2988"/>
                  <a:gd name="T31" fmla="*/ 1504 h 2164"/>
                  <a:gd name="T32" fmla="*/ 406 w 2988"/>
                  <a:gd name="T33" fmla="*/ 1476 h 2164"/>
                  <a:gd name="T34" fmla="*/ 267 w 2988"/>
                  <a:gd name="T35" fmla="*/ 1476 h 2164"/>
                  <a:gd name="T36" fmla="*/ 124 w 2988"/>
                  <a:gd name="T37" fmla="*/ 1547 h 2164"/>
                  <a:gd name="T38" fmla="*/ 233 w 2988"/>
                  <a:gd name="T39" fmla="*/ 1563 h 2164"/>
                  <a:gd name="T40" fmla="*/ 151 w 2988"/>
                  <a:gd name="T41" fmla="*/ 1682 h 2164"/>
                  <a:gd name="T42" fmla="*/ 4 w 2988"/>
                  <a:gd name="T43" fmla="*/ 1740 h 2164"/>
                  <a:gd name="T44" fmla="*/ 107 w 2988"/>
                  <a:gd name="T45" fmla="*/ 1760 h 2164"/>
                  <a:gd name="T46" fmla="*/ 166 w 2988"/>
                  <a:gd name="T47" fmla="*/ 1755 h 2164"/>
                  <a:gd name="T48" fmla="*/ 334 w 2988"/>
                  <a:gd name="T49" fmla="*/ 1861 h 2164"/>
                  <a:gd name="T50" fmla="*/ 451 w 2988"/>
                  <a:gd name="T51" fmla="*/ 1947 h 2164"/>
                  <a:gd name="T52" fmla="*/ 643 w 2988"/>
                  <a:gd name="T53" fmla="*/ 2022 h 2164"/>
                  <a:gd name="T54" fmla="*/ 798 w 2988"/>
                  <a:gd name="T55" fmla="*/ 1971 h 2164"/>
                  <a:gd name="T56" fmla="*/ 954 w 2988"/>
                  <a:gd name="T57" fmla="*/ 1936 h 2164"/>
                  <a:gd name="T58" fmla="*/ 1127 w 2988"/>
                  <a:gd name="T59" fmla="*/ 1943 h 2164"/>
                  <a:gd name="T60" fmla="*/ 1195 w 2988"/>
                  <a:gd name="T61" fmla="*/ 1932 h 2164"/>
                  <a:gd name="T62" fmla="*/ 1304 w 2988"/>
                  <a:gd name="T63" fmla="*/ 1847 h 2164"/>
                  <a:gd name="T64" fmla="*/ 1346 w 2988"/>
                  <a:gd name="T65" fmla="*/ 1922 h 2164"/>
                  <a:gd name="T66" fmla="*/ 1390 w 2988"/>
                  <a:gd name="T67" fmla="*/ 1981 h 2164"/>
                  <a:gd name="T68" fmla="*/ 1517 w 2988"/>
                  <a:gd name="T69" fmla="*/ 2040 h 2164"/>
                  <a:gd name="T70" fmla="*/ 1575 w 2988"/>
                  <a:gd name="T71" fmla="*/ 2020 h 2164"/>
                  <a:gd name="T72" fmla="*/ 1593 w 2988"/>
                  <a:gd name="T73" fmla="*/ 1969 h 2164"/>
                  <a:gd name="T74" fmla="*/ 1693 w 2988"/>
                  <a:gd name="T75" fmla="*/ 1832 h 2164"/>
                  <a:gd name="T76" fmla="*/ 1975 w 2988"/>
                  <a:gd name="T77" fmla="*/ 1881 h 2164"/>
                  <a:gd name="T78" fmla="*/ 2183 w 2988"/>
                  <a:gd name="T79" fmla="*/ 2009 h 2164"/>
                  <a:gd name="T80" fmla="*/ 2356 w 2988"/>
                  <a:gd name="T81" fmla="*/ 1993 h 2164"/>
                  <a:gd name="T82" fmla="*/ 2427 w 2988"/>
                  <a:gd name="T83" fmla="*/ 2114 h 2164"/>
                  <a:gd name="T84" fmla="*/ 2625 w 2988"/>
                  <a:gd name="T85" fmla="*/ 2109 h 2164"/>
                  <a:gd name="T86" fmla="*/ 2764 w 2988"/>
                  <a:gd name="T87" fmla="*/ 1991 h 2164"/>
                  <a:gd name="T88" fmla="*/ 2792 w 2988"/>
                  <a:gd name="T89" fmla="*/ 1775 h 2164"/>
                  <a:gd name="T90" fmla="*/ 2877 w 2988"/>
                  <a:gd name="T91" fmla="*/ 1731 h 2164"/>
                  <a:gd name="T92" fmla="*/ 2986 w 2988"/>
                  <a:gd name="T93" fmla="*/ 1564 h 2164"/>
                  <a:gd name="T94" fmla="*/ 2827 w 2988"/>
                  <a:gd name="T95" fmla="*/ 1393 h 2164"/>
                  <a:gd name="T96" fmla="*/ 2724 w 2988"/>
                  <a:gd name="T97" fmla="*/ 1263 h 2164"/>
                  <a:gd name="T98" fmla="*/ 2637 w 2988"/>
                  <a:gd name="T99" fmla="*/ 1133 h 2164"/>
                  <a:gd name="T100" fmla="*/ 2712 w 2988"/>
                  <a:gd name="T101" fmla="*/ 1027 h 2164"/>
                  <a:gd name="T102" fmla="*/ 2702 w 2988"/>
                  <a:gd name="T103" fmla="*/ 889 h 2164"/>
                  <a:gd name="T104" fmla="*/ 2501 w 2988"/>
                  <a:gd name="T105" fmla="*/ 645 h 2164"/>
                  <a:gd name="T106" fmla="*/ 2341 w 2988"/>
                  <a:gd name="T107" fmla="*/ 447 h 2164"/>
                  <a:gd name="T108" fmla="*/ 2254 w 2988"/>
                  <a:gd name="T109" fmla="*/ 380 h 2164"/>
                  <a:gd name="T110" fmla="*/ 2213 w 2988"/>
                  <a:gd name="T111" fmla="*/ 144 h 2164"/>
                  <a:gd name="T112" fmla="*/ 1882 w 2988"/>
                  <a:gd name="T113" fmla="*/ 119 h 2164"/>
                  <a:gd name="T114" fmla="*/ 1725 w 2988"/>
                  <a:gd name="T115" fmla="*/ 158 h 2164"/>
                  <a:gd name="T116" fmla="*/ 1511 w 2988"/>
                  <a:gd name="T117" fmla="*/ 98 h 2164"/>
                  <a:gd name="T118" fmla="*/ 1392 w 2988"/>
                  <a:gd name="T119" fmla="*/ 146 h 2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88" h="2164">
                    <a:moveTo>
                      <a:pt x="1173" y="70"/>
                    </a:moveTo>
                    <a:lnTo>
                      <a:pt x="1181" y="92"/>
                    </a:lnTo>
                    <a:lnTo>
                      <a:pt x="1187" y="111"/>
                    </a:lnTo>
                    <a:lnTo>
                      <a:pt x="1193" y="129"/>
                    </a:lnTo>
                    <a:lnTo>
                      <a:pt x="1199" y="147"/>
                    </a:lnTo>
                    <a:lnTo>
                      <a:pt x="1204" y="165"/>
                    </a:lnTo>
                    <a:lnTo>
                      <a:pt x="1207" y="184"/>
                    </a:lnTo>
                    <a:lnTo>
                      <a:pt x="1210" y="204"/>
                    </a:lnTo>
                    <a:lnTo>
                      <a:pt x="1211" y="225"/>
                    </a:lnTo>
                    <a:lnTo>
                      <a:pt x="1211" y="274"/>
                    </a:lnTo>
                    <a:lnTo>
                      <a:pt x="1210" y="284"/>
                    </a:lnTo>
                    <a:lnTo>
                      <a:pt x="1207" y="293"/>
                    </a:lnTo>
                    <a:lnTo>
                      <a:pt x="1204" y="303"/>
                    </a:lnTo>
                    <a:lnTo>
                      <a:pt x="1201" y="310"/>
                    </a:lnTo>
                    <a:lnTo>
                      <a:pt x="1198" y="318"/>
                    </a:lnTo>
                    <a:lnTo>
                      <a:pt x="1195" y="328"/>
                    </a:lnTo>
                    <a:lnTo>
                      <a:pt x="1193" y="337"/>
                    </a:lnTo>
                    <a:lnTo>
                      <a:pt x="1192" y="347"/>
                    </a:lnTo>
                    <a:lnTo>
                      <a:pt x="1193" y="361"/>
                    </a:lnTo>
                    <a:lnTo>
                      <a:pt x="1195" y="373"/>
                    </a:lnTo>
                    <a:lnTo>
                      <a:pt x="1198" y="384"/>
                    </a:lnTo>
                    <a:lnTo>
                      <a:pt x="1201" y="396"/>
                    </a:lnTo>
                    <a:lnTo>
                      <a:pt x="1212" y="416"/>
                    </a:lnTo>
                    <a:lnTo>
                      <a:pt x="1224" y="436"/>
                    </a:lnTo>
                    <a:lnTo>
                      <a:pt x="1236" y="457"/>
                    </a:lnTo>
                    <a:lnTo>
                      <a:pt x="1247" y="477"/>
                    </a:lnTo>
                    <a:lnTo>
                      <a:pt x="1252" y="489"/>
                    </a:lnTo>
                    <a:lnTo>
                      <a:pt x="1256" y="500"/>
                    </a:lnTo>
                    <a:lnTo>
                      <a:pt x="1259" y="512"/>
                    </a:lnTo>
                    <a:lnTo>
                      <a:pt x="1260" y="526"/>
                    </a:lnTo>
                    <a:lnTo>
                      <a:pt x="1247" y="531"/>
                    </a:lnTo>
                    <a:lnTo>
                      <a:pt x="1235" y="537"/>
                    </a:lnTo>
                    <a:lnTo>
                      <a:pt x="1225" y="544"/>
                    </a:lnTo>
                    <a:lnTo>
                      <a:pt x="1215" y="552"/>
                    </a:lnTo>
                    <a:lnTo>
                      <a:pt x="1205" y="560"/>
                    </a:lnTo>
                    <a:lnTo>
                      <a:pt x="1195" y="567"/>
                    </a:lnTo>
                    <a:lnTo>
                      <a:pt x="1184" y="574"/>
                    </a:lnTo>
                    <a:lnTo>
                      <a:pt x="1170" y="581"/>
                    </a:lnTo>
                    <a:lnTo>
                      <a:pt x="1158" y="585"/>
                    </a:lnTo>
                    <a:lnTo>
                      <a:pt x="1147" y="589"/>
                    </a:lnTo>
                    <a:lnTo>
                      <a:pt x="1141" y="591"/>
                    </a:lnTo>
                    <a:lnTo>
                      <a:pt x="1136" y="594"/>
                    </a:lnTo>
                    <a:lnTo>
                      <a:pt x="1131" y="597"/>
                    </a:lnTo>
                    <a:lnTo>
                      <a:pt x="1126" y="601"/>
                    </a:lnTo>
                    <a:lnTo>
                      <a:pt x="1121" y="606"/>
                    </a:lnTo>
                    <a:lnTo>
                      <a:pt x="1115" y="609"/>
                    </a:lnTo>
                    <a:lnTo>
                      <a:pt x="1108" y="614"/>
                    </a:lnTo>
                    <a:lnTo>
                      <a:pt x="1102" y="616"/>
                    </a:lnTo>
                    <a:lnTo>
                      <a:pt x="1090" y="622"/>
                    </a:lnTo>
                    <a:lnTo>
                      <a:pt x="1078" y="627"/>
                    </a:lnTo>
                    <a:lnTo>
                      <a:pt x="1072" y="629"/>
                    </a:lnTo>
                    <a:lnTo>
                      <a:pt x="1067" y="632"/>
                    </a:lnTo>
                    <a:lnTo>
                      <a:pt x="1062" y="635"/>
                    </a:lnTo>
                    <a:lnTo>
                      <a:pt x="1058" y="639"/>
                    </a:lnTo>
                    <a:lnTo>
                      <a:pt x="1055" y="644"/>
                    </a:lnTo>
                    <a:lnTo>
                      <a:pt x="1053" y="649"/>
                    </a:lnTo>
                    <a:lnTo>
                      <a:pt x="1051" y="654"/>
                    </a:lnTo>
                    <a:lnTo>
                      <a:pt x="1051" y="661"/>
                    </a:lnTo>
                    <a:lnTo>
                      <a:pt x="1052" y="670"/>
                    </a:lnTo>
                    <a:lnTo>
                      <a:pt x="1054" y="680"/>
                    </a:lnTo>
                    <a:lnTo>
                      <a:pt x="1058" y="687"/>
                    </a:lnTo>
                    <a:lnTo>
                      <a:pt x="1062" y="694"/>
                    </a:lnTo>
                    <a:lnTo>
                      <a:pt x="1067" y="701"/>
                    </a:lnTo>
                    <a:lnTo>
                      <a:pt x="1072" y="710"/>
                    </a:lnTo>
                    <a:lnTo>
                      <a:pt x="1078" y="718"/>
                    </a:lnTo>
                    <a:lnTo>
                      <a:pt x="1081" y="727"/>
                    </a:lnTo>
                    <a:lnTo>
                      <a:pt x="1085" y="744"/>
                    </a:lnTo>
                    <a:lnTo>
                      <a:pt x="1088" y="759"/>
                    </a:lnTo>
                    <a:lnTo>
                      <a:pt x="1090" y="766"/>
                    </a:lnTo>
                    <a:lnTo>
                      <a:pt x="1093" y="773"/>
                    </a:lnTo>
                    <a:lnTo>
                      <a:pt x="1098" y="779"/>
                    </a:lnTo>
                    <a:lnTo>
                      <a:pt x="1104" y="783"/>
                    </a:lnTo>
                    <a:lnTo>
                      <a:pt x="1120" y="790"/>
                    </a:lnTo>
                    <a:lnTo>
                      <a:pt x="1135" y="796"/>
                    </a:lnTo>
                    <a:lnTo>
                      <a:pt x="1142" y="801"/>
                    </a:lnTo>
                    <a:lnTo>
                      <a:pt x="1148" y="806"/>
                    </a:lnTo>
                    <a:lnTo>
                      <a:pt x="1149" y="808"/>
                    </a:lnTo>
                    <a:lnTo>
                      <a:pt x="1151" y="811"/>
                    </a:lnTo>
                    <a:lnTo>
                      <a:pt x="1152" y="815"/>
                    </a:lnTo>
                    <a:lnTo>
                      <a:pt x="1152" y="819"/>
                    </a:lnTo>
                    <a:lnTo>
                      <a:pt x="1152" y="828"/>
                    </a:lnTo>
                    <a:lnTo>
                      <a:pt x="1151" y="839"/>
                    </a:lnTo>
                    <a:lnTo>
                      <a:pt x="1150" y="847"/>
                    </a:lnTo>
                    <a:lnTo>
                      <a:pt x="1148" y="855"/>
                    </a:lnTo>
                    <a:lnTo>
                      <a:pt x="1144" y="872"/>
                    </a:lnTo>
                    <a:lnTo>
                      <a:pt x="1137" y="887"/>
                    </a:lnTo>
                    <a:lnTo>
                      <a:pt x="1124" y="917"/>
                    </a:lnTo>
                    <a:lnTo>
                      <a:pt x="1109" y="953"/>
                    </a:lnTo>
                    <a:lnTo>
                      <a:pt x="1104" y="967"/>
                    </a:lnTo>
                    <a:lnTo>
                      <a:pt x="1099" y="980"/>
                    </a:lnTo>
                    <a:lnTo>
                      <a:pt x="1093" y="993"/>
                    </a:lnTo>
                    <a:lnTo>
                      <a:pt x="1087" y="1005"/>
                    </a:lnTo>
                    <a:lnTo>
                      <a:pt x="1080" y="1016"/>
                    </a:lnTo>
                    <a:lnTo>
                      <a:pt x="1071" y="1027"/>
                    </a:lnTo>
                    <a:lnTo>
                      <a:pt x="1063" y="1036"/>
                    </a:lnTo>
                    <a:lnTo>
                      <a:pt x="1054" y="1045"/>
                    </a:lnTo>
                    <a:lnTo>
                      <a:pt x="1045" y="1054"/>
                    </a:lnTo>
                    <a:lnTo>
                      <a:pt x="1034" y="1060"/>
                    </a:lnTo>
                    <a:lnTo>
                      <a:pt x="1024" y="1066"/>
                    </a:lnTo>
                    <a:lnTo>
                      <a:pt x="1012" y="1071"/>
                    </a:lnTo>
                    <a:lnTo>
                      <a:pt x="1000" y="1075"/>
                    </a:lnTo>
                    <a:lnTo>
                      <a:pt x="987" y="1078"/>
                    </a:lnTo>
                    <a:lnTo>
                      <a:pt x="973" y="1080"/>
                    </a:lnTo>
                    <a:lnTo>
                      <a:pt x="960" y="1081"/>
                    </a:lnTo>
                    <a:lnTo>
                      <a:pt x="948" y="1080"/>
                    </a:lnTo>
                    <a:lnTo>
                      <a:pt x="935" y="1078"/>
                    </a:lnTo>
                    <a:lnTo>
                      <a:pt x="925" y="1075"/>
                    </a:lnTo>
                    <a:lnTo>
                      <a:pt x="915" y="1071"/>
                    </a:lnTo>
                    <a:lnTo>
                      <a:pt x="896" y="1060"/>
                    </a:lnTo>
                    <a:lnTo>
                      <a:pt x="877" y="1048"/>
                    </a:lnTo>
                    <a:lnTo>
                      <a:pt x="860" y="1036"/>
                    </a:lnTo>
                    <a:lnTo>
                      <a:pt x="840" y="1026"/>
                    </a:lnTo>
                    <a:lnTo>
                      <a:pt x="831" y="1020"/>
                    </a:lnTo>
                    <a:lnTo>
                      <a:pt x="820" y="1017"/>
                    </a:lnTo>
                    <a:lnTo>
                      <a:pt x="808" y="1015"/>
                    </a:lnTo>
                    <a:lnTo>
                      <a:pt x="796" y="1015"/>
                    </a:lnTo>
                    <a:lnTo>
                      <a:pt x="788" y="1015"/>
                    </a:lnTo>
                    <a:lnTo>
                      <a:pt x="779" y="1015"/>
                    </a:lnTo>
                    <a:lnTo>
                      <a:pt x="771" y="1016"/>
                    </a:lnTo>
                    <a:lnTo>
                      <a:pt x="764" y="1018"/>
                    </a:lnTo>
                    <a:lnTo>
                      <a:pt x="758" y="1021"/>
                    </a:lnTo>
                    <a:lnTo>
                      <a:pt x="752" y="1026"/>
                    </a:lnTo>
                    <a:lnTo>
                      <a:pt x="745" y="1030"/>
                    </a:lnTo>
                    <a:lnTo>
                      <a:pt x="739" y="1036"/>
                    </a:lnTo>
                    <a:lnTo>
                      <a:pt x="733" y="1045"/>
                    </a:lnTo>
                    <a:lnTo>
                      <a:pt x="727" y="1056"/>
                    </a:lnTo>
                    <a:lnTo>
                      <a:pt x="723" y="1066"/>
                    </a:lnTo>
                    <a:lnTo>
                      <a:pt x="719" y="1075"/>
                    </a:lnTo>
                    <a:lnTo>
                      <a:pt x="713" y="1084"/>
                    </a:lnTo>
                    <a:lnTo>
                      <a:pt x="707" y="1091"/>
                    </a:lnTo>
                    <a:lnTo>
                      <a:pt x="704" y="1094"/>
                    </a:lnTo>
                    <a:lnTo>
                      <a:pt x="700" y="1096"/>
                    </a:lnTo>
                    <a:lnTo>
                      <a:pt x="695" y="1097"/>
                    </a:lnTo>
                    <a:lnTo>
                      <a:pt x="690" y="1098"/>
                    </a:lnTo>
                    <a:lnTo>
                      <a:pt x="684" y="1097"/>
                    </a:lnTo>
                    <a:lnTo>
                      <a:pt x="678" y="1096"/>
                    </a:lnTo>
                    <a:lnTo>
                      <a:pt x="673" y="1094"/>
                    </a:lnTo>
                    <a:lnTo>
                      <a:pt x="669" y="1092"/>
                    </a:lnTo>
                    <a:lnTo>
                      <a:pt x="661" y="1084"/>
                    </a:lnTo>
                    <a:lnTo>
                      <a:pt x="654" y="1076"/>
                    </a:lnTo>
                    <a:lnTo>
                      <a:pt x="646" y="1068"/>
                    </a:lnTo>
                    <a:lnTo>
                      <a:pt x="639" y="1059"/>
                    </a:lnTo>
                    <a:lnTo>
                      <a:pt x="631" y="1050"/>
                    </a:lnTo>
                    <a:lnTo>
                      <a:pt x="622" y="1043"/>
                    </a:lnTo>
                    <a:lnTo>
                      <a:pt x="619" y="1047"/>
                    </a:lnTo>
                    <a:lnTo>
                      <a:pt x="617" y="1052"/>
                    </a:lnTo>
                    <a:lnTo>
                      <a:pt x="619" y="1065"/>
                    </a:lnTo>
                    <a:lnTo>
                      <a:pt x="622" y="1076"/>
                    </a:lnTo>
                    <a:lnTo>
                      <a:pt x="621" y="1082"/>
                    </a:lnTo>
                    <a:lnTo>
                      <a:pt x="620" y="1088"/>
                    </a:lnTo>
                    <a:lnTo>
                      <a:pt x="619" y="1094"/>
                    </a:lnTo>
                    <a:lnTo>
                      <a:pt x="616" y="1099"/>
                    </a:lnTo>
                    <a:lnTo>
                      <a:pt x="612" y="1103"/>
                    </a:lnTo>
                    <a:lnTo>
                      <a:pt x="608" y="1106"/>
                    </a:lnTo>
                    <a:lnTo>
                      <a:pt x="603" y="1108"/>
                    </a:lnTo>
                    <a:lnTo>
                      <a:pt x="598" y="1109"/>
                    </a:lnTo>
                    <a:lnTo>
                      <a:pt x="589" y="1108"/>
                    </a:lnTo>
                    <a:lnTo>
                      <a:pt x="580" y="1107"/>
                    </a:lnTo>
                    <a:lnTo>
                      <a:pt x="573" y="1105"/>
                    </a:lnTo>
                    <a:lnTo>
                      <a:pt x="565" y="1102"/>
                    </a:lnTo>
                    <a:lnTo>
                      <a:pt x="552" y="1094"/>
                    </a:lnTo>
                    <a:lnTo>
                      <a:pt x="538" y="1086"/>
                    </a:lnTo>
                    <a:lnTo>
                      <a:pt x="526" y="1077"/>
                    </a:lnTo>
                    <a:lnTo>
                      <a:pt x="511" y="1069"/>
                    </a:lnTo>
                    <a:lnTo>
                      <a:pt x="504" y="1066"/>
                    </a:lnTo>
                    <a:lnTo>
                      <a:pt x="497" y="1064"/>
                    </a:lnTo>
                    <a:lnTo>
                      <a:pt x="489" y="1063"/>
                    </a:lnTo>
                    <a:lnTo>
                      <a:pt x="479" y="1062"/>
                    </a:lnTo>
                    <a:lnTo>
                      <a:pt x="461" y="1062"/>
                    </a:lnTo>
                    <a:lnTo>
                      <a:pt x="461" y="1080"/>
                    </a:lnTo>
                    <a:lnTo>
                      <a:pt x="460" y="1099"/>
                    </a:lnTo>
                    <a:lnTo>
                      <a:pt x="458" y="1117"/>
                    </a:lnTo>
                    <a:lnTo>
                      <a:pt x="454" y="1133"/>
                    </a:lnTo>
                    <a:lnTo>
                      <a:pt x="452" y="1141"/>
                    </a:lnTo>
                    <a:lnTo>
                      <a:pt x="448" y="1149"/>
                    </a:lnTo>
                    <a:lnTo>
                      <a:pt x="444" y="1155"/>
                    </a:lnTo>
                    <a:lnTo>
                      <a:pt x="439" y="1161"/>
                    </a:lnTo>
                    <a:lnTo>
                      <a:pt x="434" y="1166"/>
                    </a:lnTo>
                    <a:lnTo>
                      <a:pt x="427" y="1171"/>
                    </a:lnTo>
                    <a:lnTo>
                      <a:pt x="420" y="1174"/>
                    </a:lnTo>
                    <a:lnTo>
                      <a:pt x="411" y="1177"/>
                    </a:lnTo>
                    <a:lnTo>
                      <a:pt x="379" y="1187"/>
                    </a:lnTo>
                    <a:lnTo>
                      <a:pt x="347" y="1194"/>
                    </a:lnTo>
                    <a:lnTo>
                      <a:pt x="332" y="1198"/>
                    </a:lnTo>
                    <a:lnTo>
                      <a:pt x="316" y="1202"/>
                    </a:lnTo>
                    <a:lnTo>
                      <a:pt x="302" y="1207"/>
                    </a:lnTo>
                    <a:lnTo>
                      <a:pt x="288" y="1213"/>
                    </a:lnTo>
                    <a:lnTo>
                      <a:pt x="275" y="1219"/>
                    </a:lnTo>
                    <a:lnTo>
                      <a:pt x="263" y="1226"/>
                    </a:lnTo>
                    <a:lnTo>
                      <a:pt x="251" y="1233"/>
                    </a:lnTo>
                    <a:lnTo>
                      <a:pt x="241" y="1242"/>
                    </a:lnTo>
                    <a:lnTo>
                      <a:pt x="232" y="1253"/>
                    </a:lnTo>
                    <a:lnTo>
                      <a:pt x="224" y="1265"/>
                    </a:lnTo>
                    <a:lnTo>
                      <a:pt x="221" y="1271"/>
                    </a:lnTo>
                    <a:lnTo>
                      <a:pt x="217" y="1279"/>
                    </a:lnTo>
                    <a:lnTo>
                      <a:pt x="215" y="1286"/>
                    </a:lnTo>
                    <a:lnTo>
                      <a:pt x="213" y="1294"/>
                    </a:lnTo>
                    <a:lnTo>
                      <a:pt x="213" y="1294"/>
                    </a:lnTo>
                    <a:lnTo>
                      <a:pt x="222" y="1302"/>
                    </a:lnTo>
                    <a:lnTo>
                      <a:pt x="231" y="1310"/>
                    </a:lnTo>
                    <a:lnTo>
                      <a:pt x="241" y="1316"/>
                    </a:lnTo>
                    <a:lnTo>
                      <a:pt x="250" y="1320"/>
                    </a:lnTo>
                    <a:lnTo>
                      <a:pt x="261" y="1323"/>
                    </a:lnTo>
                    <a:lnTo>
                      <a:pt x="270" y="1325"/>
                    </a:lnTo>
                    <a:lnTo>
                      <a:pt x="290" y="1328"/>
                    </a:lnTo>
                    <a:lnTo>
                      <a:pt x="312" y="1330"/>
                    </a:lnTo>
                    <a:lnTo>
                      <a:pt x="312" y="1341"/>
                    </a:lnTo>
                    <a:lnTo>
                      <a:pt x="313" y="1351"/>
                    </a:lnTo>
                    <a:lnTo>
                      <a:pt x="314" y="1361"/>
                    </a:lnTo>
                    <a:lnTo>
                      <a:pt x="316" y="1371"/>
                    </a:lnTo>
                    <a:lnTo>
                      <a:pt x="320" y="1380"/>
                    </a:lnTo>
                    <a:lnTo>
                      <a:pt x="324" y="1388"/>
                    </a:lnTo>
                    <a:lnTo>
                      <a:pt x="330" y="1395"/>
                    </a:lnTo>
                    <a:lnTo>
                      <a:pt x="337" y="1404"/>
                    </a:lnTo>
                    <a:lnTo>
                      <a:pt x="341" y="1398"/>
                    </a:lnTo>
                    <a:lnTo>
                      <a:pt x="346" y="1393"/>
                    </a:lnTo>
                    <a:lnTo>
                      <a:pt x="350" y="1389"/>
                    </a:lnTo>
                    <a:lnTo>
                      <a:pt x="356" y="1386"/>
                    </a:lnTo>
                    <a:lnTo>
                      <a:pt x="365" y="1380"/>
                    </a:lnTo>
                    <a:lnTo>
                      <a:pt x="375" y="1375"/>
                    </a:lnTo>
                    <a:lnTo>
                      <a:pt x="385" y="1370"/>
                    </a:lnTo>
                    <a:lnTo>
                      <a:pt x="395" y="1363"/>
                    </a:lnTo>
                    <a:lnTo>
                      <a:pt x="399" y="1359"/>
                    </a:lnTo>
                    <a:lnTo>
                      <a:pt x="403" y="1355"/>
                    </a:lnTo>
                    <a:lnTo>
                      <a:pt x="407" y="1351"/>
                    </a:lnTo>
                    <a:lnTo>
                      <a:pt x="411" y="1346"/>
                    </a:lnTo>
                    <a:lnTo>
                      <a:pt x="421" y="1350"/>
                    </a:lnTo>
                    <a:lnTo>
                      <a:pt x="427" y="1355"/>
                    </a:lnTo>
                    <a:lnTo>
                      <a:pt x="433" y="1361"/>
                    </a:lnTo>
                    <a:lnTo>
                      <a:pt x="438" y="1367"/>
                    </a:lnTo>
                    <a:lnTo>
                      <a:pt x="443" y="1374"/>
                    </a:lnTo>
                    <a:lnTo>
                      <a:pt x="449" y="1380"/>
                    </a:lnTo>
                    <a:lnTo>
                      <a:pt x="457" y="1386"/>
                    </a:lnTo>
                    <a:lnTo>
                      <a:pt x="465" y="1390"/>
                    </a:lnTo>
                    <a:lnTo>
                      <a:pt x="469" y="1389"/>
                    </a:lnTo>
                    <a:lnTo>
                      <a:pt x="474" y="1388"/>
                    </a:lnTo>
                    <a:lnTo>
                      <a:pt x="480" y="1388"/>
                    </a:lnTo>
                    <a:lnTo>
                      <a:pt x="487" y="1390"/>
                    </a:lnTo>
                    <a:lnTo>
                      <a:pt x="493" y="1392"/>
                    </a:lnTo>
                    <a:lnTo>
                      <a:pt x="498" y="1395"/>
                    </a:lnTo>
                    <a:lnTo>
                      <a:pt x="503" y="1398"/>
                    </a:lnTo>
                    <a:lnTo>
                      <a:pt x="508" y="1400"/>
                    </a:lnTo>
                    <a:lnTo>
                      <a:pt x="514" y="1403"/>
                    </a:lnTo>
                    <a:lnTo>
                      <a:pt x="522" y="1404"/>
                    </a:lnTo>
                    <a:lnTo>
                      <a:pt x="528" y="1403"/>
                    </a:lnTo>
                    <a:lnTo>
                      <a:pt x="533" y="1400"/>
                    </a:lnTo>
                    <a:lnTo>
                      <a:pt x="538" y="1398"/>
                    </a:lnTo>
                    <a:lnTo>
                      <a:pt x="543" y="1395"/>
                    </a:lnTo>
                    <a:lnTo>
                      <a:pt x="554" y="1388"/>
                    </a:lnTo>
                    <a:lnTo>
                      <a:pt x="565" y="1382"/>
                    </a:lnTo>
                    <a:lnTo>
                      <a:pt x="588" y="1373"/>
                    </a:lnTo>
                    <a:lnTo>
                      <a:pt x="608" y="1364"/>
                    </a:lnTo>
                    <a:lnTo>
                      <a:pt x="628" y="1355"/>
                    </a:lnTo>
                    <a:lnTo>
                      <a:pt x="650" y="1343"/>
                    </a:lnTo>
                    <a:lnTo>
                      <a:pt x="677" y="1329"/>
                    </a:lnTo>
                    <a:lnTo>
                      <a:pt x="703" y="1319"/>
                    </a:lnTo>
                    <a:lnTo>
                      <a:pt x="716" y="1313"/>
                    </a:lnTo>
                    <a:lnTo>
                      <a:pt x="728" y="1305"/>
                    </a:lnTo>
                    <a:lnTo>
                      <a:pt x="740" y="1297"/>
                    </a:lnTo>
                    <a:lnTo>
                      <a:pt x="753" y="1286"/>
                    </a:lnTo>
                    <a:lnTo>
                      <a:pt x="755" y="1282"/>
                    </a:lnTo>
                    <a:lnTo>
                      <a:pt x="754" y="1286"/>
                    </a:lnTo>
                    <a:lnTo>
                      <a:pt x="753" y="1290"/>
                    </a:lnTo>
                    <a:lnTo>
                      <a:pt x="751" y="1294"/>
                    </a:lnTo>
                    <a:lnTo>
                      <a:pt x="749" y="1297"/>
                    </a:lnTo>
                    <a:lnTo>
                      <a:pt x="744" y="1304"/>
                    </a:lnTo>
                    <a:lnTo>
                      <a:pt x="739" y="1313"/>
                    </a:lnTo>
                    <a:lnTo>
                      <a:pt x="734" y="1322"/>
                    </a:lnTo>
                    <a:lnTo>
                      <a:pt x="729" y="1330"/>
                    </a:lnTo>
                    <a:lnTo>
                      <a:pt x="727" y="1334"/>
                    </a:lnTo>
                    <a:lnTo>
                      <a:pt x="724" y="1339"/>
                    </a:lnTo>
                    <a:lnTo>
                      <a:pt x="720" y="1342"/>
                    </a:lnTo>
                    <a:lnTo>
                      <a:pt x="716" y="1346"/>
                    </a:lnTo>
                    <a:lnTo>
                      <a:pt x="701" y="1351"/>
                    </a:lnTo>
                    <a:lnTo>
                      <a:pt x="687" y="1356"/>
                    </a:lnTo>
                    <a:lnTo>
                      <a:pt x="671" y="1363"/>
                    </a:lnTo>
                    <a:lnTo>
                      <a:pt x="658" y="1370"/>
                    </a:lnTo>
                    <a:lnTo>
                      <a:pt x="652" y="1373"/>
                    </a:lnTo>
                    <a:lnTo>
                      <a:pt x="645" y="1376"/>
                    </a:lnTo>
                    <a:lnTo>
                      <a:pt x="639" y="1380"/>
                    </a:lnTo>
                    <a:lnTo>
                      <a:pt x="632" y="1385"/>
                    </a:lnTo>
                    <a:lnTo>
                      <a:pt x="622" y="1396"/>
                    </a:lnTo>
                    <a:lnTo>
                      <a:pt x="612" y="1408"/>
                    </a:lnTo>
                    <a:lnTo>
                      <a:pt x="608" y="1413"/>
                    </a:lnTo>
                    <a:lnTo>
                      <a:pt x="604" y="1418"/>
                    </a:lnTo>
                    <a:lnTo>
                      <a:pt x="599" y="1423"/>
                    </a:lnTo>
                    <a:lnTo>
                      <a:pt x="592" y="1428"/>
                    </a:lnTo>
                    <a:lnTo>
                      <a:pt x="586" y="1431"/>
                    </a:lnTo>
                    <a:lnTo>
                      <a:pt x="579" y="1435"/>
                    </a:lnTo>
                    <a:lnTo>
                      <a:pt x="573" y="1439"/>
                    </a:lnTo>
                    <a:lnTo>
                      <a:pt x="568" y="1443"/>
                    </a:lnTo>
                    <a:lnTo>
                      <a:pt x="572" y="1447"/>
                    </a:lnTo>
                    <a:lnTo>
                      <a:pt x="576" y="1450"/>
                    </a:lnTo>
                    <a:lnTo>
                      <a:pt x="578" y="1454"/>
                    </a:lnTo>
                    <a:lnTo>
                      <a:pt x="581" y="1458"/>
                    </a:lnTo>
                    <a:lnTo>
                      <a:pt x="583" y="1462"/>
                    </a:lnTo>
                    <a:lnTo>
                      <a:pt x="584" y="1468"/>
                    </a:lnTo>
                    <a:lnTo>
                      <a:pt x="585" y="1473"/>
                    </a:lnTo>
                    <a:lnTo>
                      <a:pt x="585" y="1478"/>
                    </a:lnTo>
                    <a:lnTo>
                      <a:pt x="585" y="1484"/>
                    </a:lnTo>
                    <a:lnTo>
                      <a:pt x="583" y="1490"/>
                    </a:lnTo>
                    <a:lnTo>
                      <a:pt x="580" y="1495"/>
                    </a:lnTo>
                    <a:lnTo>
                      <a:pt x="577" y="1500"/>
                    </a:lnTo>
                    <a:lnTo>
                      <a:pt x="574" y="1504"/>
                    </a:lnTo>
                    <a:lnTo>
                      <a:pt x="570" y="1507"/>
                    </a:lnTo>
                    <a:lnTo>
                      <a:pt x="565" y="1510"/>
                    </a:lnTo>
                    <a:lnTo>
                      <a:pt x="560" y="1513"/>
                    </a:lnTo>
                    <a:lnTo>
                      <a:pt x="547" y="1517"/>
                    </a:lnTo>
                    <a:lnTo>
                      <a:pt x="535" y="1520"/>
                    </a:lnTo>
                    <a:lnTo>
                      <a:pt x="522" y="1522"/>
                    </a:lnTo>
                    <a:lnTo>
                      <a:pt x="508" y="1522"/>
                    </a:lnTo>
                    <a:lnTo>
                      <a:pt x="496" y="1522"/>
                    </a:lnTo>
                    <a:lnTo>
                      <a:pt x="485" y="1521"/>
                    </a:lnTo>
                    <a:lnTo>
                      <a:pt x="473" y="1519"/>
                    </a:lnTo>
                    <a:lnTo>
                      <a:pt x="461" y="1515"/>
                    </a:lnTo>
                    <a:lnTo>
                      <a:pt x="452" y="1510"/>
                    </a:lnTo>
                    <a:lnTo>
                      <a:pt x="443" y="1504"/>
                    </a:lnTo>
                    <a:lnTo>
                      <a:pt x="436" y="1498"/>
                    </a:lnTo>
                    <a:lnTo>
                      <a:pt x="430" y="1490"/>
                    </a:lnTo>
                    <a:lnTo>
                      <a:pt x="423" y="1485"/>
                    </a:lnTo>
                    <a:lnTo>
                      <a:pt x="415" y="1480"/>
                    </a:lnTo>
                    <a:lnTo>
                      <a:pt x="411" y="1478"/>
                    </a:lnTo>
                    <a:lnTo>
                      <a:pt x="406" y="1476"/>
                    </a:lnTo>
                    <a:lnTo>
                      <a:pt x="402" y="1476"/>
                    </a:lnTo>
                    <a:lnTo>
                      <a:pt x="396" y="1475"/>
                    </a:lnTo>
                    <a:lnTo>
                      <a:pt x="382" y="1480"/>
                    </a:lnTo>
                    <a:lnTo>
                      <a:pt x="368" y="1486"/>
                    </a:lnTo>
                    <a:lnTo>
                      <a:pt x="359" y="1485"/>
                    </a:lnTo>
                    <a:lnTo>
                      <a:pt x="349" y="1482"/>
                    </a:lnTo>
                    <a:lnTo>
                      <a:pt x="342" y="1479"/>
                    </a:lnTo>
                    <a:lnTo>
                      <a:pt x="334" y="1475"/>
                    </a:lnTo>
                    <a:lnTo>
                      <a:pt x="327" y="1471"/>
                    </a:lnTo>
                    <a:lnTo>
                      <a:pt x="320" y="1467"/>
                    </a:lnTo>
                    <a:lnTo>
                      <a:pt x="310" y="1465"/>
                    </a:lnTo>
                    <a:lnTo>
                      <a:pt x="301" y="1463"/>
                    </a:lnTo>
                    <a:lnTo>
                      <a:pt x="295" y="1463"/>
                    </a:lnTo>
                    <a:lnTo>
                      <a:pt x="290" y="1466"/>
                    </a:lnTo>
                    <a:lnTo>
                      <a:pt x="286" y="1468"/>
                    </a:lnTo>
                    <a:lnTo>
                      <a:pt x="281" y="1470"/>
                    </a:lnTo>
                    <a:lnTo>
                      <a:pt x="277" y="1472"/>
                    </a:lnTo>
                    <a:lnTo>
                      <a:pt x="272" y="1474"/>
                    </a:lnTo>
                    <a:lnTo>
                      <a:pt x="267" y="1476"/>
                    </a:lnTo>
                    <a:lnTo>
                      <a:pt x="262" y="1476"/>
                    </a:lnTo>
                    <a:lnTo>
                      <a:pt x="239" y="1476"/>
                    </a:lnTo>
                    <a:lnTo>
                      <a:pt x="227" y="1476"/>
                    </a:lnTo>
                    <a:lnTo>
                      <a:pt x="216" y="1474"/>
                    </a:lnTo>
                    <a:lnTo>
                      <a:pt x="207" y="1472"/>
                    </a:lnTo>
                    <a:lnTo>
                      <a:pt x="198" y="1469"/>
                    </a:lnTo>
                    <a:lnTo>
                      <a:pt x="189" y="1466"/>
                    </a:lnTo>
                    <a:lnTo>
                      <a:pt x="178" y="1463"/>
                    </a:lnTo>
                    <a:lnTo>
                      <a:pt x="168" y="1461"/>
                    </a:lnTo>
                    <a:lnTo>
                      <a:pt x="157" y="1461"/>
                    </a:lnTo>
                    <a:lnTo>
                      <a:pt x="125" y="1461"/>
                    </a:lnTo>
                    <a:lnTo>
                      <a:pt x="125" y="1461"/>
                    </a:lnTo>
                    <a:lnTo>
                      <a:pt x="119" y="1482"/>
                    </a:lnTo>
                    <a:lnTo>
                      <a:pt x="114" y="1500"/>
                    </a:lnTo>
                    <a:lnTo>
                      <a:pt x="108" y="1517"/>
                    </a:lnTo>
                    <a:lnTo>
                      <a:pt x="104" y="1538"/>
                    </a:lnTo>
                    <a:lnTo>
                      <a:pt x="104" y="1538"/>
                    </a:lnTo>
                    <a:lnTo>
                      <a:pt x="113" y="1543"/>
                    </a:lnTo>
                    <a:lnTo>
                      <a:pt x="124" y="1547"/>
                    </a:lnTo>
                    <a:lnTo>
                      <a:pt x="134" y="1550"/>
                    </a:lnTo>
                    <a:lnTo>
                      <a:pt x="146" y="1550"/>
                    </a:lnTo>
                    <a:lnTo>
                      <a:pt x="151" y="1550"/>
                    </a:lnTo>
                    <a:lnTo>
                      <a:pt x="156" y="1549"/>
                    </a:lnTo>
                    <a:lnTo>
                      <a:pt x="160" y="1547"/>
                    </a:lnTo>
                    <a:lnTo>
                      <a:pt x="163" y="1545"/>
                    </a:lnTo>
                    <a:lnTo>
                      <a:pt x="167" y="1543"/>
                    </a:lnTo>
                    <a:lnTo>
                      <a:pt x="170" y="1541"/>
                    </a:lnTo>
                    <a:lnTo>
                      <a:pt x="174" y="1539"/>
                    </a:lnTo>
                    <a:lnTo>
                      <a:pt x="179" y="1539"/>
                    </a:lnTo>
                    <a:lnTo>
                      <a:pt x="187" y="1540"/>
                    </a:lnTo>
                    <a:lnTo>
                      <a:pt x="194" y="1541"/>
                    </a:lnTo>
                    <a:lnTo>
                      <a:pt x="201" y="1540"/>
                    </a:lnTo>
                    <a:lnTo>
                      <a:pt x="208" y="1539"/>
                    </a:lnTo>
                    <a:lnTo>
                      <a:pt x="214" y="1540"/>
                    </a:lnTo>
                    <a:lnTo>
                      <a:pt x="220" y="1542"/>
                    </a:lnTo>
                    <a:lnTo>
                      <a:pt x="224" y="1546"/>
                    </a:lnTo>
                    <a:lnTo>
                      <a:pt x="227" y="1551"/>
                    </a:lnTo>
                    <a:lnTo>
                      <a:pt x="233" y="1563"/>
                    </a:lnTo>
                    <a:lnTo>
                      <a:pt x="238" y="1575"/>
                    </a:lnTo>
                    <a:lnTo>
                      <a:pt x="245" y="1589"/>
                    </a:lnTo>
                    <a:lnTo>
                      <a:pt x="251" y="1603"/>
                    </a:lnTo>
                    <a:lnTo>
                      <a:pt x="257" y="1616"/>
                    </a:lnTo>
                    <a:lnTo>
                      <a:pt x="261" y="1632"/>
                    </a:lnTo>
                    <a:lnTo>
                      <a:pt x="259" y="1634"/>
                    </a:lnTo>
                    <a:lnTo>
                      <a:pt x="256" y="1635"/>
                    </a:lnTo>
                    <a:lnTo>
                      <a:pt x="247" y="1632"/>
                    </a:lnTo>
                    <a:lnTo>
                      <a:pt x="239" y="1630"/>
                    </a:lnTo>
                    <a:lnTo>
                      <a:pt x="232" y="1630"/>
                    </a:lnTo>
                    <a:lnTo>
                      <a:pt x="226" y="1631"/>
                    </a:lnTo>
                    <a:lnTo>
                      <a:pt x="224" y="1638"/>
                    </a:lnTo>
                    <a:lnTo>
                      <a:pt x="222" y="1644"/>
                    </a:lnTo>
                    <a:lnTo>
                      <a:pt x="216" y="1649"/>
                    </a:lnTo>
                    <a:lnTo>
                      <a:pt x="211" y="1653"/>
                    </a:lnTo>
                    <a:lnTo>
                      <a:pt x="199" y="1660"/>
                    </a:lnTo>
                    <a:lnTo>
                      <a:pt x="185" y="1666"/>
                    </a:lnTo>
                    <a:lnTo>
                      <a:pt x="168" y="1675"/>
                    </a:lnTo>
                    <a:lnTo>
                      <a:pt x="151" y="1682"/>
                    </a:lnTo>
                    <a:lnTo>
                      <a:pt x="143" y="1685"/>
                    </a:lnTo>
                    <a:lnTo>
                      <a:pt x="134" y="1688"/>
                    </a:lnTo>
                    <a:lnTo>
                      <a:pt x="125" y="1690"/>
                    </a:lnTo>
                    <a:lnTo>
                      <a:pt x="114" y="1690"/>
                    </a:lnTo>
                    <a:lnTo>
                      <a:pt x="96" y="1691"/>
                    </a:lnTo>
                    <a:lnTo>
                      <a:pt x="79" y="1693"/>
                    </a:lnTo>
                    <a:lnTo>
                      <a:pt x="63" y="1694"/>
                    </a:lnTo>
                    <a:lnTo>
                      <a:pt x="44" y="1696"/>
                    </a:lnTo>
                    <a:lnTo>
                      <a:pt x="29" y="1697"/>
                    </a:lnTo>
                    <a:lnTo>
                      <a:pt x="15" y="1700"/>
                    </a:lnTo>
                    <a:lnTo>
                      <a:pt x="9" y="1702"/>
                    </a:lnTo>
                    <a:lnTo>
                      <a:pt x="4" y="1706"/>
                    </a:lnTo>
                    <a:lnTo>
                      <a:pt x="3" y="1708"/>
                    </a:lnTo>
                    <a:lnTo>
                      <a:pt x="1" y="1711"/>
                    </a:lnTo>
                    <a:lnTo>
                      <a:pt x="1" y="1713"/>
                    </a:lnTo>
                    <a:lnTo>
                      <a:pt x="0" y="1718"/>
                    </a:lnTo>
                    <a:lnTo>
                      <a:pt x="1" y="1727"/>
                    </a:lnTo>
                    <a:lnTo>
                      <a:pt x="3" y="1736"/>
                    </a:lnTo>
                    <a:lnTo>
                      <a:pt x="4" y="1740"/>
                    </a:lnTo>
                    <a:lnTo>
                      <a:pt x="6" y="1743"/>
                    </a:lnTo>
                    <a:lnTo>
                      <a:pt x="9" y="1747"/>
                    </a:lnTo>
                    <a:lnTo>
                      <a:pt x="13" y="1751"/>
                    </a:lnTo>
                    <a:lnTo>
                      <a:pt x="16" y="1752"/>
                    </a:lnTo>
                    <a:lnTo>
                      <a:pt x="19" y="1753"/>
                    </a:lnTo>
                    <a:lnTo>
                      <a:pt x="23" y="1753"/>
                    </a:lnTo>
                    <a:lnTo>
                      <a:pt x="25" y="1753"/>
                    </a:lnTo>
                    <a:lnTo>
                      <a:pt x="32" y="1752"/>
                    </a:lnTo>
                    <a:lnTo>
                      <a:pt x="38" y="1753"/>
                    </a:lnTo>
                    <a:lnTo>
                      <a:pt x="48" y="1757"/>
                    </a:lnTo>
                    <a:lnTo>
                      <a:pt x="57" y="1763"/>
                    </a:lnTo>
                    <a:lnTo>
                      <a:pt x="61" y="1766"/>
                    </a:lnTo>
                    <a:lnTo>
                      <a:pt x="66" y="1768"/>
                    </a:lnTo>
                    <a:lnTo>
                      <a:pt x="70" y="1769"/>
                    </a:lnTo>
                    <a:lnTo>
                      <a:pt x="76" y="1770"/>
                    </a:lnTo>
                    <a:lnTo>
                      <a:pt x="86" y="1767"/>
                    </a:lnTo>
                    <a:lnTo>
                      <a:pt x="96" y="1762"/>
                    </a:lnTo>
                    <a:lnTo>
                      <a:pt x="102" y="1761"/>
                    </a:lnTo>
                    <a:lnTo>
                      <a:pt x="107" y="1760"/>
                    </a:lnTo>
                    <a:lnTo>
                      <a:pt x="110" y="1759"/>
                    </a:lnTo>
                    <a:lnTo>
                      <a:pt x="111" y="1757"/>
                    </a:lnTo>
                    <a:lnTo>
                      <a:pt x="113" y="1755"/>
                    </a:lnTo>
                    <a:lnTo>
                      <a:pt x="113" y="1753"/>
                    </a:lnTo>
                    <a:lnTo>
                      <a:pt x="112" y="1746"/>
                    </a:lnTo>
                    <a:lnTo>
                      <a:pt x="111" y="1740"/>
                    </a:lnTo>
                    <a:lnTo>
                      <a:pt x="111" y="1734"/>
                    </a:lnTo>
                    <a:lnTo>
                      <a:pt x="112" y="1727"/>
                    </a:lnTo>
                    <a:lnTo>
                      <a:pt x="112" y="1724"/>
                    </a:lnTo>
                    <a:lnTo>
                      <a:pt x="114" y="1722"/>
                    </a:lnTo>
                    <a:lnTo>
                      <a:pt x="116" y="1720"/>
                    </a:lnTo>
                    <a:lnTo>
                      <a:pt x="119" y="1720"/>
                    </a:lnTo>
                    <a:lnTo>
                      <a:pt x="125" y="1720"/>
                    </a:lnTo>
                    <a:lnTo>
                      <a:pt x="130" y="1721"/>
                    </a:lnTo>
                    <a:lnTo>
                      <a:pt x="135" y="1723"/>
                    </a:lnTo>
                    <a:lnTo>
                      <a:pt x="139" y="1725"/>
                    </a:lnTo>
                    <a:lnTo>
                      <a:pt x="147" y="1730"/>
                    </a:lnTo>
                    <a:lnTo>
                      <a:pt x="154" y="1737"/>
                    </a:lnTo>
                    <a:lnTo>
                      <a:pt x="166" y="1755"/>
                    </a:lnTo>
                    <a:lnTo>
                      <a:pt x="179" y="1773"/>
                    </a:lnTo>
                    <a:lnTo>
                      <a:pt x="183" y="1778"/>
                    </a:lnTo>
                    <a:lnTo>
                      <a:pt x="188" y="1782"/>
                    </a:lnTo>
                    <a:lnTo>
                      <a:pt x="192" y="1784"/>
                    </a:lnTo>
                    <a:lnTo>
                      <a:pt x="196" y="1786"/>
                    </a:lnTo>
                    <a:lnTo>
                      <a:pt x="205" y="1789"/>
                    </a:lnTo>
                    <a:lnTo>
                      <a:pt x="214" y="1790"/>
                    </a:lnTo>
                    <a:lnTo>
                      <a:pt x="236" y="1789"/>
                    </a:lnTo>
                    <a:lnTo>
                      <a:pt x="259" y="1789"/>
                    </a:lnTo>
                    <a:lnTo>
                      <a:pt x="264" y="1790"/>
                    </a:lnTo>
                    <a:lnTo>
                      <a:pt x="269" y="1791"/>
                    </a:lnTo>
                    <a:lnTo>
                      <a:pt x="273" y="1793"/>
                    </a:lnTo>
                    <a:lnTo>
                      <a:pt x="277" y="1795"/>
                    </a:lnTo>
                    <a:lnTo>
                      <a:pt x="284" y="1801"/>
                    </a:lnTo>
                    <a:lnTo>
                      <a:pt x="291" y="1808"/>
                    </a:lnTo>
                    <a:lnTo>
                      <a:pt x="302" y="1826"/>
                    </a:lnTo>
                    <a:lnTo>
                      <a:pt x="315" y="1845"/>
                    </a:lnTo>
                    <a:lnTo>
                      <a:pt x="324" y="1854"/>
                    </a:lnTo>
                    <a:lnTo>
                      <a:pt x="334" y="1861"/>
                    </a:lnTo>
                    <a:lnTo>
                      <a:pt x="344" y="1866"/>
                    </a:lnTo>
                    <a:lnTo>
                      <a:pt x="355" y="1870"/>
                    </a:lnTo>
                    <a:lnTo>
                      <a:pt x="366" y="1872"/>
                    </a:lnTo>
                    <a:lnTo>
                      <a:pt x="377" y="1874"/>
                    </a:lnTo>
                    <a:lnTo>
                      <a:pt x="391" y="1875"/>
                    </a:lnTo>
                    <a:lnTo>
                      <a:pt x="404" y="1875"/>
                    </a:lnTo>
                    <a:lnTo>
                      <a:pt x="413" y="1875"/>
                    </a:lnTo>
                    <a:lnTo>
                      <a:pt x="423" y="1875"/>
                    </a:lnTo>
                    <a:lnTo>
                      <a:pt x="432" y="1875"/>
                    </a:lnTo>
                    <a:lnTo>
                      <a:pt x="442" y="1874"/>
                    </a:lnTo>
                    <a:lnTo>
                      <a:pt x="442" y="1882"/>
                    </a:lnTo>
                    <a:lnTo>
                      <a:pt x="442" y="1889"/>
                    </a:lnTo>
                    <a:lnTo>
                      <a:pt x="443" y="1900"/>
                    </a:lnTo>
                    <a:lnTo>
                      <a:pt x="444" y="1910"/>
                    </a:lnTo>
                    <a:lnTo>
                      <a:pt x="446" y="1919"/>
                    </a:lnTo>
                    <a:lnTo>
                      <a:pt x="449" y="1929"/>
                    </a:lnTo>
                    <a:lnTo>
                      <a:pt x="451" y="1936"/>
                    </a:lnTo>
                    <a:lnTo>
                      <a:pt x="451" y="1944"/>
                    </a:lnTo>
                    <a:lnTo>
                      <a:pt x="451" y="1947"/>
                    </a:lnTo>
                    <a:lnTo>
                      <a:pt x="452" y="1950"/>
                    </a:lnTo>
                    <a:lnTo>
                      <a:pt x="453" y="1953"/>
                    </a:lnTo>
                    <a:lnTo>
                      <a:pt x="456" y="1955"/>
                    </a:lnTo>
                    <a:lnTo>
                      <a:pt x="460" y="1959"/>
                    </a:lnTo>
                    <a:lnTo>
                      <a:pt x="464" y="1962"/>
                    </a:lnTo>
                    <a:lnTo>
                      <a:pt x="469" y="1964"/>
                    </a:lnTo>
                    <a:lnTo>
                      <a:pt x="473" y="1965"/>
                    </a:lnTo>
                    <a:lnTo>
                      <a:pt x="484" y="1968"/>
                    </a:lnTo>
                    <a:lnTo>
                      <a:pt x="494" y="1974"/>
                    </a:lnTo>
                    <a:lnTo>
                      <a:pt x="503" y="1978"/>
                    </a:lnTo>
                    <a:lnTo>
                      <a:pt x="511" y="1981"/>
                    </a:lnTo>
                    <a:lnTo>
                      <a:pt x="519" y="1983"/>
                    </a:lnTo>
                    <a:lnTo>
                      <a:pt x="527" y="1984"/>
                    </a:lnTo>
                    <a:lnTo>
                      <a:pt x="543" y="1987"/>
                    </a:lnTo>
                    <a:lnTo>
                      <a:pt x="561" y="1992"/>
                    </a:lnTo>
                    <a:lnTo>
                      <a:pt x="591" y="2004"/>
                    </a:lnTo>
                    <a:lnTo>
                      <a:pt x="617" y="2015"/>
                    </a:lnTo>
                    <a:lnTo>
                      <a:pt x="630" y="2019"/>
                    </a:lnTo>
                    <a:lnTo>
                      <a:pt x="643" y="2022"/>
                    </a:lnTo>
                    <a:lnTo>
                      <a:pt x="659" y="2024"/>
                    </a:lnTo>
                    <a:lnTo>
                      <a:pt x="674" y="2025"/>
                    </a:lnTo>
                    <a:lnTo>
                      <a:pt x="702" y="2025"/>
                    </a:lnTo>
                    <a:lnTo>
                      <a:pt x="707" y="2024"/>
                    </a:lnTo>
                    <a:lnTo>
                      <a:pt x="710" y="2022"/>
                    </a:lnTo>
                    <a:lnTo>
                      <a:pt x="713" y="2018"/>
                    </a:lnTo>
                    <a:lnTo>
                      <a:pt x="715" y="2013"/>
                    </a:lnTo>
                    <a:lnTo>
                      <a:pt x="717" y="2009"/>
                    </a:lnTo>
                    <a:lnTo>
                      <a:pt x="719" y="2004"/>
                    </a:lnTo>
                    <a:lnTo>
                      <a:pt x="722" y="1998"/>
                    </a:lnTo>
                    <a:lnTo>
                      <a:pt x="725" y="1994"/>
                    </a:lnTo>
                    <a:lnTo>
                      <a:pt x="734" y="1988"/>
                    </a:lnTo>
                    <a:lnTo>
                      <a:pt x="742" y="1983"/>
                    </a:lnTo>
                    <a:lnTo>
                      <a:pt x="751" y="1979"/>
                    </a:lnTo>
                    <a:lnTo>
                      <a:pt x="759" y="1976"/>
                    </a:lnTo>
                    <a:lnTo>
                      <a:pt x="768" y="1974"/>
                    </a:lnTo>
                    <a:lnTo>
                      <a:pt x="777" y="1972"/>
                    </a:lnTo>
                    <a:lnTo>
                      <a:pt x="788" y="1972"/>
                    </a:lnTo>
                    <a:lnTo>
                      <a:pt x="798" y="1971"/>
                    </a:lnTo>
                    <a:lnTo>
                      <a:pt x="806" y="1972"/>
                    </a:lnTo>
                    <a:lnTo>
                      <a:pt x="814" y="1974"/>
                    </a:lnTo>
                    <a:lnTo>
                      <a:pt x="821" y="1975"/>
                    </a:lnTo>
                    <a:lnTo>
                      <a:pt x="829" y="1976"/>
                    </a:lnTo>
                    <a:lnTo>
                      <a:pt x="837" y="1975"/>
                    </a:lnTo>
                    <a:lnTo>
                      <a:pt x="843" y="1974"/>
                    </a:lnTo>
                    <a:lnTo>
                      <a:pt x="850" y="1972"/>
                    </a:lnTo>
                    <a:lnTo>
                      <a:pt x="855" y="1968"/>
                    </a:lnTo>
                    <a:lnTo>
                      <a:pt x="866" y="1961"/>
                    </a:lnTo>
                    <a:lnTo>
                      <a:pt x="878" y="1953"/>
                    </a:lnTo>
                    <a:lnTo>
                      <a:pt x="888" y="1949"/>
                    </a:lnTo>
                    <a:lnTo>
                      <a:pt x="896" y="1945"/>
                    </a:lnTo>
                    <a:lnTo>
                      <a:pt x="904" y="1943"/>
                    </a:lnTo>
                    <a:lnTo>
                      <a:pt x="911" y="1940"/>
                    </a:lnTo>
                    <a:lnTo>
                      <a:pt x="920" y="1938"/>
                    </a:lnTo>
                    <a:lnTo>
                      <a:pt x="928" y="1937"/>
                    </a:lnTo>
                    <a:lnTo>
                      <a:pt x="937" y="1936"/>
                    </a:lnTo>
                    <a:lnTo>
                      <a:pt x="948" y="1936"/>
                    </a:lnTo>
                    <a:lnTo>
                      <a:pt x="954" y="1936"/>
                    </a:lnTo>
                    <a:lnTo>
                      <a:pt x="960" y="1937"/>
                    </a:lnTo>
                    <a:lnTo>
                      <a:pt x="965" y="1940"/>
                    </a:lnTo>
                    <a:lnTo>
                      <a:pt x="971" y="1941"/>
                    </a:lnTo>
                    <a:lnTo>
                      <a:pt x="981" y="1946"/>
                    </a:lnTo>
                    <a:lnTo>
                      <a:pt x="991" y="1950"/>
                    </a:lnTo>
                    <a:lnTo>
                      <a:pt x="1000" y="1955"/>
                    </a:lnTo>
                    <a:lnTo>
                      <a:pt x="1010" y="1959"/>
                    </a:lnTo>
                    <a:lnTo>
                      <a:pt x="1016" y="1961"/>
                    </a:lnTo>
                    <a:lnTo>
                      <a:pt x="1022" y="1962"/>
                    </a:lnTo>
                    <a:lnTo>
                      <a:pt x="1028" y="1963"/>
                    </a:lnTo>
                    <a:lnTo>
                      <a:pt x="1034" y="1963"/>
                    </a:lnTo>
                    <a:lnTo>
                      <a:pt x="1049" y="1960"/>
                    </a:lnTo>
                    <a:lnTo>
                      <a:pt x="1063" y="1954"/>
                    </a:lnTo>
                    <a:lnTo>
                      <a:pt x="1075" y="1953"/>
                    </a:lnTo>
                    <a:lnTo>
                      <a:pt x="1086" y="1953"/>
                    </a:lnTo>
                    <a:lnTo>
                      <a:pt x="1096" y="1952"/>
                    </a:lnTo>
                    <a:lnTo>
                      <a:pt x="1108" y="1950"/>
                    </a:lnTo>
                    <a:lnTo>
                      <a:pt x="1118" y="1947"/>
                    </a:lnTo>
                    <a:lnTo>
                      <a:pt x="1127" y="1943"/>
                    </a:lnTo>
                    <a:lnTo>
                      <a:pt x="1130" y="1940"/>
                    </a:lnTo>
                    <a:lnTo>
                      <a:pt x="1133" y="1936"/>
                    </a:lnTo>
                    <a:lnTo>
                      <a:pt x="1136" y="1932"/>
                    </a:lnTo>
                    <a:lnTo>
                      <a:pt x="1137" y="1927"/>
                    </a:lnTo>
                    <a:lnTo>
                      <a:pt x="1138" y="1918"/>
                    </a:lnTo>
                    <a:lnTo>
                      <a:pt x="1138" y="1909"/>
                    </a:lnTo>
                    <a:lnTo>
                      <a:pt x="1139" y="1905"/>
                    </a:lnTo>
                    <a:lnTo>
                      <a:pt x="1140" y="1901"/>
                    </a:lnTo>
                    <a:lnTo>
                      <a:pt x="1142" y="1899"/>
                    </a:lnTo>
                    <a:lnTo>
                      <a:pt x="1146" y="1899"/>
                    </a:lnTo>
                    <a:lnTo>
                      <a:pt x="1151" y="1899"/>
                    </a:lnTo>
                    <a:lnTo>
                      <a:pt x="1156" y="1900"/>
                    </a:lnTo>
                    <a:lnTo>
                      <a:pt x="1160" y="1902"/>
                    </a:lnTo>
                    <a:lnTo>
                      <a:pt x="1164" y="1904"/>
                    </a:lnTo>
                    <a:lnTo>
                      <a:pt x="1171" y="1911"/>
                    </a:lnTo>
                    <a:lnTo>
                      <a:pt x="1178" y="1917"/>
                    </a:lnTo>
                    <a:lnTo>
                      <a:pt x="1185" y="1924"/>
                    </a:lnTo>
                    <a:lnTo>
                      <a:pt x="1192" y="1930"/>
                    </a:lnTo>
                    <a:lnTo>
                      <a:pt x="1195" y="1932"/>
                    </a:lnTo>
                    <a:lnTo>
                      <a:pt x="1200" y="1934"/>
                    </a:lnTo>
                    <a:lnTo>
                      <a:pt x="1204" y="1935"/>
                    </a:lnTo>
                    <a:lnTo>
                      <a:pt x="1210" y="1935"/>
                    </a:lnTo>
                    <a:lnTo>
                      <a:pt x="1216" y="1935"/>
                    </a:lnTo>
                    <a:lnTo>
                      <a:pt x="1222" y="1933"/>
                    </a:lnTo>
                    <a:lnTo>
                      <a:pt x="1227" y="1931"/>
                    </a:lnTo>
                    <a:lnTo>
                      <a:pt x="1231" y="1929"/>
                    </a:lnTo>
                    <a:lnTo>
                      <a:pt x="1241" y="1923"/>
                    </a:lnTo>
                    <a:lnTo>
                      <a:pt x="1252" y="1917"/>
                    </a:lnTo>
                    <a:lnTo>
                      <a:pt x="1264" y="1911"/>
                    </a:lnTo>
                    <a:lnTo>
                      <a:pt x="1276" y="1903"/>
                    </a:lnTo>
                    <a:lnTo>
                      <a:pt x="1280" y="1899"/>
                    </a:lnTo>
                    <a:lnTo>
                      <a:pt x="1284" y="1894"/>
                    </a:lnTo>
                    <a:lnTo>
                      <a:pt x="1286" y="1889"/>
                    </a:lnTo>
                    <a:lnTo>
                      <a:pt x="1286" y="1883"/>
                    </a:lnTo>
                    <a:lnTo>
                      <a:pt x="1288" y="1877"/>
                    </a:lnTo>
                    <a:lnTo>
                      <a:pt x="1292" y="1868"/>
                    </a:lnTo>
                    <a:lnTo>
                      <a:pt x="1298" y="1858"/>
                    </a:lnTo>
                    <a:lnTo>
                      <a:pt x="1304" y="1847"/>
                    </a:lnTo>
                    <a:lnTo>
                      <a:pt x="1312" y="1837"/>
                    </a:lnTo>
                    <a:lnTo>
                      <a:pt x="1317" y="1830"/>
                    </a:lnTo>
                    <a:lnTo>
                      <a:pt x="1320" y="1828"/>
                    </a:lnTo>
                    <a:lnTo>
                      <a:pt x="1321" y="1827"/>
                    </a:lnTo>
                    <a:lnTo>
                      <a:pt x="1322" y="1828"/>
                    </a:lnTo>
                    <a:lnTo>
                      <a:pt x="1323" y="1829"/>
                    </a:lnTo>
                    <a:lnTo>
                      <a:pt x="1322" y="1839"/>
                    </a:lnTo>
                    <a:lnTo>
                      <a:pt x="1320" y="1849"/>
                    </a:lnTo>
                    <a:lnTo>
                      <a:pt x="1318" y="1858"/>
                    </a:lnTo>
                    <a:lnTo>
                      <a:pt x="1317" y="1868"/>
                    </a:lnTo>
                    <a:lnTo>
                      <a:pt x="1317" y="1885"/>
                    </a:lnTo>
                    <a:lnTo>
                      <a:pt x="1317" y="1897"/>
                    </a:lnTo>
                    <a:lnTo>
                      <a:pt x="1316" y="1909"/>
                    </a:lnTo>
                    <a:lnTo>
                      <a:pt x="1314" y="1920"/>
                    </a:lnTo>
                    <a:lnTo>
                      <a:pt x="1311" y="1932"/>
                    </a:lnTo>
                    <a:lnTo>
                      <a:pt x="1314" y="1933"/>
                    </a:lnTo>
                    <a:lnTo>
                      <a:pt x="1316" y="1934"/>
                    </a:lnTo>
                    <a:lnTo>
                      <a:pt x="1330" y="1928"/>
                    </a:lnTo>
                    <a:lnTo>
                      <a:pt x="1346" y="1922"/>
                    </a:lnTo>
                    <a:lnTo>
                      <a:pt x="1351" y="1923"/>
                    </a:lnTo>
                    <a:lnTo>
                      <a:pt x="1356" y="1924"/>
                    </a:lnTo>
                    <a:lnTo>
                      <a:pt x="1360" y="1926"/>
                    </a:lnTo>
                    <a:lnTo>
                      <a:pt x="1365" y="1929"/>
                    </a:lnTo>
                    <a:lnTo>
                      <a:pt x="1373" y="1935"/>
                    </a:lnTo>
                    <a:lnTo>
                      <a:pt x="1383" y="1942"/>
                    </a:lnTo>
                    <a:lnTo>
                      <a:pt x="1391" y="1945"/>
                    </a:lnTo>
                    <a:lnTo>
                      <a:pt x="1399" y="1949"/>
                    </a:lnTo>
                    <a:lnTo>
                      <a:pt x="1402" y="1951"/>
                    </a:lnTo>
                    <a:lnTo>
                      <a:pt x="1405" y="1953"/>
                    </a:lnTo>
                    <a:lnTo>
                      <a:pt x="1406" y="1956"/>
                    </a:lnTo>
                    <a:lnTo>
                      <a:pt x="1408" y="1960"/>
                    </a:lnTo>
                    <a:lnTo>
                      <a:pt x="1406" y="1964"/>
                    </a:lnTo>
                    <a:lnTo>
                      <a:pt x="1405" y="1967"/>
                    </a:lnTo>
                    <a:lnTo>
                      <a:pt x="1402" y="1971"/>
                    </a:lnTo>
                    <a:lnTo>
                      <a:pt x="1399" y="1973"/>
                    </a:lnTo>
                    <a:lnTo>
                      <a:pt x="1396" y="1976"/>
                    </a:lnTo>
                    <a:lnTo>
                      <a:pt x="1393" y="1978"/>
                    </a:lnTo>
                    <a:lnTo>
                      <a:pt x="1390" y="1981"/>
                    </a:lnTo>
                    <a:lnTo>
                      <a:pt x="1388" y="1985"/>
                    </a:lnTo>
                    <a:lnTo>
                      <a:pt x="1390" y="1990"/>
                    </a:lnTo>
                    <a:lnTo>
                      <a:pt x="1399" y="1984"/>
                    </a:lnTo>
                    <a:lnTo>
                      <a:pt x="1406" y="1978"/>
                    </a:lnTo>
                    <a:lnTo>
                      <a:pt x="1411" y="1976"/>
                    </a:lnTo>
                    <a:lnTo>
                      <a:pt x="1415" y="1973"/>
                    </a:lnTo>
                    <a:lnTo>
                      <a:pt x="1419" y="1972"/>
                    </a:lnTo>
                    <a:lnTo>
                      <a:pt x="1424" y="1971"/>
                    </a:lnTo>
                    <a:lnTo>
                      <a:pt x="1432" y="1972"/>
                    </a:lnTo>
                    <a:lnTo>
                      <a:pt x="1441" y="1974"/>
                    </a:lnTo>
                    <a:lnTo>
                      <a:pt x="1447" y="1978"/>
                    </a:lnTo>
                    <a:lnTo>
                      <a:pt x="1453" y="1982"/>
                    </a:lnTo>
                    <a:lnTo>
                      <a:pt x="1464" y="1993"/>
                    </a:lnTo>
                    <a:lnTo>
                      <a:pt x="1475" y="2006"/>
                    </a:lnTo>
                    <a:lnTo>
                      <a:pt x="1485" y="2018"/>
                    </a:lnTo>
                    <a:lnTo>
                      <a:pt x="1496" y="2029"/>
                    </a:lnTo>
                    <a:lnTo>
                      <a:pt x="1502" y="2035"/>
                    </a:lnTo>
                    <a:lnTo>
                      <a:pt x="1509" y="2038"/>
                    </a:lnTo>
                    <a:lnTo>
                      <a:pt x="1517" y="2040"/>
                    </a:lnTo>
                    <a:lnTo>
                      <a:pt x="1525" y="2041"/>
                    </a:lnTo>
                    <a:lnTo>
                      <a:pt x="1528" y="2040"/>
                    </a:lnTo>
                    <a:lnTo>
                      <a:pt x="1530" y="2039"/>
                    </a:lnTo>
                    <a:lnTo>
                      <a:pt x="1532" y="2037"/>
                    </a:lnTo>
                    <a:lnTo>
                      <a:pt x="1534" y="2035"/>
                    </a:lnTo>
                    <a:lnTo>
                      <a:pt x="1538" y="2029"/>
                    </a:lnTo>
                    <a:lnTo>
                      <a:pt x="1544" y="2025"/>
                    </a:lnTo>
                    <a:lnTo>
                      <a:pt x="1549" y="2030"/>
                    </a:lnTo>
                    <a:lnTo>
                      <a:pt x="1554" y="2036"/>
                    </a:lnTo>
                    <a:lnTo>
                      <a:pt x="1557" y="2037"/>
                    </a:lnTo>
                    <a:lnTo>
                      <a:pt x="1560" y="2039"/>
                    </a:lnTo>
                    <a:lnTo>
                      <a:pt x="1563" y="2039"/>
                    </a:lnTo>
                    <a:lnTo>
                      <a:pt x="1567" y="2040"/>
                    </a:lnTo>
                    <a:lnTo>
                      <a:pt x="1577" y="2040"/>
                    </a:lnTo>
                    <a:lnTo>
                      <a:pt x="1578" y="2037"/>
                    </a:lnTo>
                    <a:lnTo>
                      <a:pt x="1579" y="2035"/>
                    </a:lnTo>
                    <a:lnTo>
                      <a:pt x="1578" y="2029"/>
                    </a:lnTo>
                    <a:lnTo>
                      <a:pt x="1577" y="2024"/>
                    </a:lnTo>
                    <a:lnTo>
                      <a:pt x="1575" y="2020"/>
                    </a:lnTo>
                    <a:lnTo>
                      <a:pt x="1573" y="2016"/>
                    </a:lnTo>
                    <a:lnTo>
                      <a:pt x="1570" y="2012"/>
                    </a:lnTo>
                    <a:lnTo>
                      <a:pt x="1568" y="2008"/>
                    </a:lnTo>
                    <a:lnTo>
                      <a:pt x="1567" y="2004"/>
                    </a:lnTo>
                    <a:lnTo>
                      <a:pt x="1566" y="1998"/>
                    </a:lnTo>
                    <a:lnTo>
                      <a:pt x="1567" y="1995"/>
                    </a:lnTo>
                    <a:lnTo>
                      <a:pt x="1567" y="1993"/>
                    </a:lnTo>
                    <a:lnTo>
                      <a:pt x="1569" y="1991"/>
                    </a:lnTo>
                    <a:lnTo>
                      <a:pt x="1570" y="1989"/>
                    </a:lnTo>
                    <a:lnTo>
                      <a:pt x="1575" y="1987"/>
                    </a:lnTo>
                    <a:lnTo>
                      <a:pt x="1580" y="1986"/>
                    </a:lnTo>
                    <a:lnTo>
                      <a:pt x="1594" y="1987"/>
                    </a:lnTo>
                    <a:lnTo>
                      <a:pt x="1608" y="1987"/>
                    </a:lnTo>
                    <a:lnTo>
                      <a:pt x="1613" y="1986"/>
                    </a:lnTo>
                    <a:lnTo>
                      <a:pt x="1618" y="1983"/>
                    </a:lnTo>
                    <a:lnTo>
                      <a:pt x="1609" y="1978"/>
                    </a:lnTo>
                    <a:lnTo>
                      <a:pt x="1599" y="1975"/>
                    </a:lnTo>
                    <a:lnTo>
                      <a:pt x="1596" y="1973"/>
                    </a:lnTo>
                    <a:lnTo>
                      <a:pt x="1593" y="1969"/>
                    </a:lnTo>
                    <a:lnTo>
                      <a:pt x="1591" y="1965"/>
                    </a:lnTo>
                    <a:lnTo>
                      <a:pt x="1590" y="1961"/>
                    </a:lnTo>
                    <a:lnTo>
                      <a:pt x="1591" y="1955"/>
                    </a:lnTo>
                    <a:lnTo>
                      <a:pt x="1592" y="1950"/>
                    </a:lnTo>
                    <a:lnTo>
                      <a:pt x="1593" y="1945"/>
                    </a:lnTo>
                    <a:lnTo>
                      <a:pt x="1595" y="1940"/>
                    </a:lnTo>
                    <a:lnTo>
                      <a:pt x="1601" y="1931"/>
                    </a:lnTo>
                    <a:lnTo>
                      <a:pt x="1609" y="1924"/>
                    </a:lnTo>
                    <a:lnTo>
                      <a:pt x="1626" y="1910"/>
                    </a:lnTo>
                    <a:lnTo>
                      <a:pt x="1646" y="1893"/>
                    </a:lnTo>
                    <a:lnTo>
                      <a:pt x="1652" y="1898"/>
                    </a:lnTo>
                    <a:lnTo>
                      <a:pt x="1657" y="1903"/>
                    </a:lnTo>
                    <a:lnTo>
                      <a:pt x="1652" y="1904"/>
                    </a:lnTo>
                    <a:lnTo>
                      <a:pt x="1659" y="1889"/>
                    </a:lnTo>
                    <a:lnTo>
                      <a:pt x="1666" y="1873"/>
                    </a:lnTo>
                    <a:lnTo>
                      <a:pt x="1675" y="1858"/>
                    </a:lnTo>
                    <a:lnTo>
                      <a:pt x="1683" y="1845"/>
                    </a:lnTo>
                    <a:lnTo>
                      <a:pt x="1688" y="1838"/>
                    </a:lnTo>
                    <a:lnTo>
                      <a:pt x="1693" y="1832"/>
                    </a:lnTo>
                    <a:lnTo>
                      <a:pt x="1698" y="1827"/>
                    </a:lnTo>
                    <a:lnTo>
                      <a:pt x="1705" y="1823"/>
                    </a:lnTo>
                    <a:lnTo>
                      <a:pt x="1711" y="1820"/>
                    </a:lnTo>
                    <a:lnTo>
                      <a:pt x="1718" y="1818"/>
                    </a:lnTo>
                    <a:lnTo>
                      <a:pt x="1726" y="1816"/>
                    </a:lnTo>
                    <a:lnTo>
                      <a:pt x="1734" y="1815"/>
                    </a:lnTo>
                    <a:lnTo>
                      <a:pt x="1767" y="1816"/>
                    </a:lnTo>
                    <a:lnTo>
                      <a:pt x="1797" y="1818"/>
                    </a:lnTo>
                    <a:lnTo>
                      <a:pt x="1812" y="1820"/>
                    </a:lnTo>
                    <a:lnTo>
                      <a:pt x="1826" y="1822"/>
                    </a:lnTo>
                    <a:lnTo>
                      <a:pt x="1840" y="1824"/>
                    </a:lnTo>
                    <a:lnTo>
                      <a:pt x="1853" y="1827"/>
                    </a:lnTo>
                    <a:lnTo>
                      <a:pt x="1866" y="1831"/>
                    </a:lnTo>
                    <a:lnTo>
                      <a:pt x="1880" y="1835"/>
                    </a:lnTo>
                    <a:lnTo>
                      <a:pt x="1893" y="1840"/>
                    </a:lnTo>
                    <a:lnTo>
                      <a:pt x="1907" y="1846"/>
                    </a:lnTo>
                    <a:lnTo>
                      <a:pt x="1934" y="1858"/>
                    </a:lnTo>
                    <a:lnTo>
                      <a:pt x="1962" y="1874"/>
                    </a:lnTo>
                    <a:lnTo>
                      <a:pt x="1975" y="1881"/>
                    </a:lnTo>
                    <a:lnTo>
                      <a:pt x="1986" y="1885"/>
                    </a:lnTo>
                    <a:lnTo>
                      <a:pt x="1997" y="1889"/>
                    </a:lnTo>
                    <a:lnTo>
                      <a:pt x="2009" y="1892"/>
                    </a:lnTo>
                    <a:lnTo>
                      <a:pt x="2019" y="1896"/>
                    </a:lnTo>
                    <a:lnTo>
                      <a:pt x="2030" y="1900"/>
                    </a:lnTo>
                    <a:lnTo>
                      <a:pt x="2041" y="1906"/>
                    </a:lnTo>
                    <a:lnTo>
                      <a:pt x="2052" y="1914"/>
                    </a:lnTo>
                    <a:lnTo>
                      <a:pt x="2070" y="1929"/>
                    </a:lnTo>
                    <a:lnTo>
                      <a:pt x="2085" y="1945"/>
                    </a:lnTo>
                    <a:lnTo>
                      <a:pt x="2098" y="1961"/>
                    </a:lnTo>
                    <a:lnTo>
                      <a:pt x="2113" y="1976"/>
                    </a:lnTo>
                    <a:lnTo>
                      <a:pt x="2120" y="1983"/>
                    </a:lnTo>
                    <a:lnTo>
                      <a:pt x="2127" y="1989"/>
                    </a:lnTo>
                    <a:lnTo>
                      <a:pt x="2135" y="1994"/>
                    </a:lnTo>
                    <a:lnTo>
                      <a:pt x="2143" y="1999"/>
                    </a:lnTo>
                    <a:lnTo>
                      <a:pt x="2152" y="2004"/>
                    </a:lnTo>
                    <a:lnTo>
                      <a:pt x="2161" y="2007"/>
                    </a:lnTo>
                    <a:lnTo>
                      <a:pt x="2172" y="2008"/>
                    </a:lnTo>
                    <a:lnTo>
                      <a:pt x="2183" y="2009"/>
                    </a:lnTo>
                    <a:lnTo>
                      <a:pt x="2230" y="2009"/>
                    </a:lnTo>
                    <a:lnTo>
                      <a:pt x="2239" y="2009"/>
                    </a:lnTo>
                    <a:lnTo>
                      <a:pt x="2245" y="2008"/>
                    </a:lnTo>
                    <a:lnTo>
                      <a:pt x="2252" y="2006"/>
                    </a:lnTo>
                    <a:lnTo>
                      <a:pt x="2258" y="2005"/>
                    </a:lnTo>
                    <a:lnTo>
                      <a:pt x="2270" y="1999"/>
                    </a:lnTo>
                    <a:lnTo>
                      <a:pt x="2281" y="1994"/>
                    </a:lnTo>
                    <a:lnTo>
                      <a:pt x="2292" y="1989"/>
                    </a:lnTo>
                    <a:lnTo>
                      <a:pt x="2304" y="1985"/>
                    </a:lnTo>
                    <a:lnTo>
                      <a:pt x="2310" y="1983"/>
                    </a:lnTo>
                    <a:lnTo>
                      <a:pt x="2316" y="1982"/>
                    </a:lnTo>
                    <a:lnTo>
                      <a:pt x="2323" y="1981"/>
                    </a:lnTo>
                    <a:lnTo>
                      <a:pt x="2330" y="1980"/>
                    </a:lnTo>
                    <a:lnTo>
                      <a:pt x="2336" y="1981"/>
                    </a:lnTo>
                    <a:lnTo>
                      <a:pt x="2341" y="1982"/>
                    </a:lnTo>
                    <a:lnTo>
                      <a:pt x="2346" y="1984"/>
                    </a:lnTo>
                    <a:lnTo>
                      <a:pt x="2350" y="1986"/>
                    </a:lnTo>
                    <a:lnTo>
                      <a:pt x="2353" y="1989"/>
                    </a:lnTo>
                    <a:lnTo>
                      <a:pt x="2356" y="1993"/>
                    </a:lnTo>
                    <a:lnTo>
                      <a:pt x="2359" y="1996"/>
                    </a:lnTo>
                    <a:lnTo>
                      <a:pt x="2361" y="2001"/>
                    </a:lnTo>
                    <a:lnTo>
                      <a:pt x="2366" y="2012"/>
                    </a:lnTo>
                    <a:lnTo>
                      <a:pt x="2369" y="2023"/>
                    </a:lnTo>
                    <a:lnTo>
                      <a:pt x="2372" y="2035"/>
                    </a:lnTo>
                    <a:lnTo>
                      <a:pt x="2374" y="2048"/>
                    </a:lnTo>
                    <a:lnTo>
                      <a:pt x="2377" y="2060"/>
                    </a:lnTo>
                    <a:lnTo>
                      <a:pt x="2379" y="2073"/>
                    </a:lnTo>
                    <a:lnTo>
                      <a:pt x="2382" y="2084"/>
                    </a:lnTo>
                    <a:lnTo>
                      <a:pt x="2386" y="2093"/>
                    </a:lnTo>
                    <a:lnTo>
                      <a:pt x="2389" y="2099"/>
                    </a:lnTo>
                    <a:lnTo>
                      <a:pt x="2392" y="2103"/>
                    </a:lnTo>
                    <a:lnTo>
                      <a:pt x="2395" y="2106"/>
                    </a:lnTo>
                    <a:lnTo>
                      <a:pt x="2399" y="2109"/>
                    </a:lnTo>
                    <a:lnTo>
                      <a:pt x="2403" y="2112"/>
                    </a:lnTo>
                    <a:lnTo>
                      <a:pt x="2407" y="2113"/>
                    </a:lnTo>
                    <a:lnTo>
                      <a:pt x="2412" y="2114"/>
                    </a:lnTo>
                    <a:lnTo>
                      <a:pt x="2418" y="2115"/>
                    </a:lnTo>
                    <a:lnTo>
                      <a:pt x="2427" y="2114"/>
                    </a:lnTo>
                    <a:lnTo>
                      <a:pt x="2437" y="2113"/>
                    </a:lnTo>
                    <a:lnTo>
                      <a:pt x="2445" y="2111"/>
                    </a:lnTo>
                    <a:lnTo>
                      <a:pt x="2453" y="2108"/>
                    </a:lnTo>
                    <a:lnTo>
                      <a:pt x="2469" y="2100"/>
                    </a:lnTo>
                    <a:lnTo>
                      <a:pt x="2483" y="2091"/>
                    </a:lnTo>
                    <a:lnTo>
                      <a:pt x="2497" y="2083"/>
                    </a:lnTo>
                    <a:lnTo>
                      <a:pt x="2512" y="2075"/>
                    </a:lnTo>
                    <a:lnTo>
                      <a:pt x="2520" y="2072"/>
                    </a:lnTo>
                    <a:lnTo>
                      <a:pt x="2528" y="2070"/>
                    </a:lnTo>
                    <a:lnTo>
                      <a:pt x="2538" y="2069"/>
                    </a:lnTo>
                    <a:lnTo>
                      <a:pt x="2547" y="2068"/>
                    </a:lnTo>
                    <a:lnTo>
                      <a:pt x="2560" y="2069"/>
                    </a:lnTo>
                    <a:lnTo>
                      <a:pt x="2572" y="2071"/>
                    </a:lnTo>
                    <a:lnTo>
                      <a:pt x="2582" y="2075"/>
                    </a:lnTo>
                    <a:lnTo>
                      <a:pt x="2592" y="2080"/>
                    </a:lnTo>
                    <a:lnTo>
                      <a:pt x="2602" y="2086"/>
                    </a:lnTo>
                    <a:lnTo>
                      <a:pt x="2610" y="2093"/>
                    </a:lnTo>
                    <a:lnTo>
                      <a:pt x="2617" y="2101"/>
                    </a:lnTo>
                    <a:lnTo>
                      <a:pt x="2625" y="2109"/>
                    </a:lnTo>
                    <a:lnTo>
                      <a:pt x="2641" y="2125"/>
                    </a:lnTo>
                    <a:lnTo>
                      <a:pt x="2658" y="2141"/>
                    </a:lnTo>
                    <a:lnTo>
                      <a:pt x="2668" y="2148"/>
                    </a:lnTo>
                    <a:lnTo>
                      <a:pt x="2678" y="2154"/>
                    </a:lnTo>
                    <a:lnTo>
                      <a:pt x="2689" y="2159"/>
                    </a:lnTo>
                    <a:lnTo>
                      <a:pt x="2702" y="2164"/>
                    </a:lnTo>
                    <a:lnTo>
                      <a:pt x="2818" y="2135"/>
                    </a:lnTo>
                    <a:lnTo>
                      <a:pt x="2818" y="2135"/>
                    </a:lnTo>
                    <a:lnTo>
                      <a:pt x="2815" y="2122"/>
                    </a:lnTo>
                    <a:lnTo>
                      <a:pt x="2812" y="2110"/>
                    </a:lnTo>
                    <a:lnTo>
                      <a:pt x="2809" y="2096"/>
                    </a:lnTo>
                    <a:lnTo>
                      <a:pt x="2806" y="2083"/>
                    </a:lnTo>
                    <a:lnTo>
                      <a:pt x="2802" y="2073"/>
                    </a:lnTo>
                    <a:lnTo>
                      <a:pt x="2798" y="2063"/>
                    </a:lnTo>
                    <a:lnTo>
                      <a:pt x="2794" y="2054"/>
                    </a:lnTo>
                    <a:lnTo>
                      <a:pt x="2789" y="2046"/>
                    </a:lnTo>
                    <a:lnTo>
                      <a:pt x="2779" y="2029"/>
                    </a:lnTo>
                    <a:lnTo>
                      <a:pt x="2770" y="2010"/>
                    </a:lnTo>
                    <a:lnTo>
                      <a:pt x="2764" y="1991"/>
                    </a:lnTo>
                    <a:lnTo>
                      <a:pt x="2759" y="1975"/>
                    </a:lnTo>
                    <a:lnTo>
                      <a:pt x="2756" y="1958"/>
                    </a:lnTo>
                    <a:lnTo>
                      <a:pt x="2754" y="1942"/>
                    </a:lnTo>
                    <a:lnTo>
                      <a:pt x="2752" y="1909"/>
                    </a:lnTo>
                    <a:lnTo>
                      <a:pt x="2748" y="1870"/>
                    </a:lnTo>
                    <a:lnTo>
                      <a:pt x="2746" y="1853"/>
                    </a:lnTo>
                    <a:lnTo>
                      <a:pt x="2743" y="1836"/>
                    </a:lnTo>
                    <a:lnTo>
                      <a:pt x="2742" y="1821"/>
                    </a:lnTo>
                    <a:lnTo>
                      <a:pt x="2741" y="1802"/>
                    </a:lnTo>
                    <a:lnTo>
                      <a:pt x="2741" y="1799"/>
                    </a:lnTo>
                    <a:lnTo>
                      <a:pt x="2742" y="1796"/>
                    </a:lnTo>
                    <a:lnTo>
                      <a:pt x="2743" y="1794"/>
                    </a:lnTo>
                    <a:lnTo>
                      <a:pt x="2745" y="1792"/>
                    </a:lnTo>
                    <a:lnTo>
                      <a:pt x="2750" y="1790"/>
                    </a:lnTo>
                    <a:lnTo>
                      <a:pt x="2756" y="1788"/>
                    </a:lnTo>
                    <a:lnTo>
                      <a:pt x="2771" y="1785"/>
                    </a:lnTo>
                    <a:lnTo>
                      <a:pt x="2784" y="1780"/>
                    </a:lnTo>
                    <a:lnTo>
                      <a:pt x="2788" y="1778"/>
                    </a:lnTo>
                    <a:lnTo>
                      <a:pt x="2792" y="1775"/>
                    </a:lnTo>
                    <a:lnTo>
                      <a:pt x="2796" y="1772"/>
                    </a:lnTo>
                    <a:lnTo>
                      <a:pt x="2798" y="1769"/>
                    </a:lnTo>
                    <a:lnTo>
                      <a:pt x="2802" y="1762"/>
                    </a:lnTo>
                    <a:lnTo>
                      <a:pt x="2805" y="1754"/>
                    </a:lnTo>
                    <a:lnTo>
                      <a:pt x="2808" y="1736"/>
                    </a:lnTo>
                    <a:lnTo>
                      <a:pt x="2809" y="1715"/>
                    </a:lnTo>
                    <a:lnTo>
                      <a:pt x="2814" y="1719"/>
                    </a:lnTo>
                    <a:lnTo>
                      <a:pt x="2818" y="1723"/>
                    </a:lnTo>
                    <a:lnTo>
                      <a:pt x="2821" y="1728"/>
                    </a:lnTo>
                    <a:lnTo>
                      <a:pt x="2824" y="1733"/>
                    </a:lnTo>
                    <a:lnTo>
                      <a:pt x="2828" y="1738"/>
                    </a:lnTo>
                    <a:lnTo>
                      <a:pt x="2831" y="1741"/>
                    </a:lnTo>
                    <a:lnTo>
                      <a:pt x="2836" y="1744"/>
                    </a:lnTo>
                    <a:lnTo>
                      <a:pt x="2841" y="1745"/>
                    </a:lnTo>
                    <a:lnTo>
                      <a:pt x="2848" y="1744"/>
                    </a:lnTo>
                    <a:lnTo>
                      <a:pt x="2854" y="1743"/>
                    </a:lnTo>
                    <a:lnTo>
                      <a:pt x="2861" y="1741"/>
                    </a:lnTo>
                    <a:lnTo>
                      <a:pt x="2866" y="1738"/>
                    </a:lnTo>
                    <a:lnTo>
                      <a:pt x="2877" y="1731"/>
                    </a:lnTo>
                    <a:lnTo>
                      <a:pt x="2889" y="1723"/>
                    </a:lnTo>
                    <a:lnTo>
                      <a:pt x="2916" y="1708"/>
                    </a:lnTo>
                    <a:lnTo>
                      <a:pt x="2941" y="1695"/>
                    </a:lnTo>
                    <a:lnTo>
                      <a:pt x="2952" y="1688"/>
                    </a:lnTo>
                    <a:lnTo>
                      <a:pt x="2963" y="1679"/>
                    </a:lnTo>
                    <a:lnTo>
                      <a:pt x="2974" y="1671"/>
                    </a:lnTo>
                    <a:lnTo>
                      <a:pt x="2984" y="1661"/>
                    </a:lnTo>
                    <a:lnTo>
                      <a:pt x="2984" y="1661"/>
                    </a:lnTo>
                    <a:lnTo>
                      <a:pt x="2981" y="1656"/>
                    </a:lnTo>
                    <a:lnTo>
                      <a:pt x="2980" y="1640"/>
                    </a:lnTo>
                    <a:lnTo>
                      <a:pt x="2977" y="1627"/>
                    </a:lnTo>
                    <a:lnTo>
                      <a:pt x="2975" y="1613"/>
                    </a:lnTo>
                    <a:lnTo>
                      <a:pt x="2974" y="1598"/>
                    </a:lnTo>
                    <a:lnTo>
                      <a:pt x="2975" y="1592"/>
                    </a:lnTo>
                    <a:lnTo>
                      <a:pt x="2976" y="1585"/>
                    </a:lnTo>
                    <a:lnTo>
                      <a:pt x="2979" y="1579"/>
                    </a:lnTo>
                    <a:lnTo>
                      <a:pt x="2981" y="1574"/>
                    </a:lnTo>
                    <a:lnTo>
                      <a:pt x="2984" y="1569"/>
                    </a:lnTo>
                    <a:lnTo>
                      <a:pt x="2986" y="1564"/>
                    </a:lnTo>
                    <a:lnTo>
                      <a:pt x="2987" y="1557"/>
                    </a:lnTo>
                    <a:lnTo>
                      <a:pt x="2988" y="1550"/>
                    </a:lnTo>
                    <a:lnTo>
                      <a:pt x="2987" y="1533"/>
                    </a:lnTo>
                    <a:lnTo>
                      <a:pt x="2984" y="1517"/>
                    </a:lnTo>
                    <a:lnTo>
                      <a:pt x="2981" y="1503"/>
                    </a:lnTo>
                    <a:lnTo>
                      <a:pt x="2979" y="1484"/>
                    </a:lnTo>
                    <a:lnTo>
                      <a:pt x="2978" y="1473"/>
                    </a:lnTo>
                    <a:lnTo>
                      <a:pt x="2978" y="1460"/>
                    </a:lnTo>
                    <a:lnTo>
                      <a:pt x="2978" y="1455"/>
                    </a:lnTo>
                    <a:lnTo>
                      <a:pt x="2976" y="1450"/>
                    </a:lnTo>
                    <a:lnTo>
                      <a:pt x="2974" y="1446"/>
                    </a:lnTo>
                    <a:lnTo>
                      <a:pt x="2970" y="1442"/>
                    </a:lnTo>
                    <a:lnTo>
                      <a:pt x="2954" y="1432"/>
                    </a:lnTo>
                    <a:lnTo>
                      <a:pt x="2940" y="1425"/>
                    </a:lnTo>
                    <a:lnTo>
                      <a:pt x="2927" y="1420"/>
                    </a:lnTo>
                    <a:lnTo>
                      <a:pt x="2912" y="1415"/>
                    </a:lnTo>
                    <a:lnTo>
                      <a:pt x="2882" y="1408"/>
                    </a:lnTo>
                    <a:lnTo>
                      <a:pt x="2849" y="1399"/>
                    </a:lnTo>
                    <a:lnTo>
                      <a:pt x="2827" y="1393"/>
                    </a:lnTo>
                    <a:lnTo>
                      <a:pt x="2807" y="1387"/>
                    </a:lnTo>
                    <a:lnTo>
                      <a:pt x="2787" y="1381"/>
                    </a:lnTo>
                    <a:lnTo>
                      <a:pt x="2765" y="1374"/>
                    </a:lnTo>
                    <a:lnTo>
                      <a:pt x="2745" y="1367"/>
                    </a:lnTo>
                    <a:lnTo>
                      <a:pt x="2726" y="1361"/>
                    </a:lnTo>
                    <a:lnTo>
                      <a:pt x="2719" y="1356"/>
                    </a:lnTo>
                    <a:lnTo>
                      <a:pt x="2713" y="1350"/>
                    </a:lnTo>
                    <a:lnTo>
                      <a:pt x="2711" y="1347"/>
                    </a:lnTo>
                    <a:lnTo>
                      <a:pt x="2709" y="1343"/>
                    </a:lnTo>
                    <a:lnTo>
                      <a:pt x="2708" y="1339"/>
                    </a:lnTo>
                    <a:lnTo>
                      <a:pt x="2708" y="1333"/>
                    </a:lnTo>
                    <a:lnTo>
                      <a:pt x="2709" y="1323"/>
                    </a:lnTo>
                    <a:lnTo>
                      <a:pt x="2710" y="1315"/>
                    </a:lnTo>
                    <a:lnTo>
                      <a:pt x="2713" y="1307"/>
                    </a:lnTo>
                    <a:lnTo>
                      <a:pt x="2716" y="1298"/>
                    </a:lnTo>
                    <a:lnTo>
                      <a:pt x="2719" y="1290"/>
                    </a:lnTo>
                    <a:lnTo>
                      <a:pt x="2721" y="1282"/>
                    </a:lnTo>
                    <a:lnTo>
                      <a:pt x="2723" y="1272"/>
                    </a:lnTo>
                    <a:lnTo>
                      <a:pt x="2724" y="1263"/>
                    </a:lnTo>
                    <a:lnTo>
                      <a:pt x="2723" y="1251"/>
                    </a:lnTo>
                    <a:lnTo>
                      <a:pt x="2721" y="1239"/>
                    </a:lnTo>
                    <a:lnTo>
                      <a:pt x="2717" y="1229"/>
                    </a:lnTo>
                    <a:lnTo>
                      <a:pt x="2713" y="1220"/>
                    </a:lnTo>
                    <a:lnTo>
                      <a:pt x="2707" y="1210"/>
                    </a:lnTo>
                    <a:lnTo>
                      <a:pt x="2700" y="1202"/>
                    </a:lnTo>
                    <a:lnTo>
                      <a:pt x="2691" y="1195"/>
                    </a:lnTo>
                    <a:lnTo>
                      <a:pt x="2682" y="1189"/>
                    </a:lnTo>
                    <a:lnTo>
                      <a:pt x="2673" y="1183"/>
                    </a:lnTo>
                    <a:lnTo>
                      <a:pt x="2663" y="1176"/>
                    </a:lnTo>
                    <a:lnTo>
                      <a:pt x="2652" y="1171"/>
                    </a:lnTo>
                    <a:lnTo>
                      <a:pt x="2641" y="1165"/>
                    </a:lnTo>
                    <a:lnTo>
                      <a:pt x="2618" y="1155"/>
                    </a:lnTo>
                    <a:lnTo>
                      <a:pt x="2594" y="1144"/>
                    </a:lnTo>
                    <a:lnTo>
                      <a:pt x="2602" y="1141"/>
                    </a:lnTo>
                    <a:lnTo>
                      <a:pt x="2609" y="1138"/>
                    </a:lnTo>
                    <a:lnTo>
                      <a:pt x="2616" y="1136"/>
                    </a:lnTo>
                    <a:lnTo>
                      <a:pt x="2623" y="1135"/>
                    </a:lnTo>
                    <a:lnTo>
                      <a:pt x="2637" y="1133"/>
                    </a:lnTo>
                    <a:lnTo>
                      <a:pt x="2651" y="1132"/>
                    </a:lnTo>
                    <a:lnTo>
                      <a:pt x="2665" y="1131"/>
                    </a:lnTo>
                    <a:lnTo>
                      <a:pt x="2678" y="1128"/>
                    </a:lnTo>
                    <a:lnTo>
                      <a:pt x="2684" y="1126"/>
                    </a:lnTo>
                    <a:lnTo>
                      <a:pt x="2690" y="1123"/>
                    </a:lnTo>
                    <a:lnTo>
                      <a:pt x="2697" y="1119"/>
                    </a:lnTo>
                    <a:lnTo>
                      <a:pt x="2703" y="1114"/>
                    </a:lnTo>
                    <a:lnTo>
                      <a:pt x="2709" y="1108"/>
                    </a:lnTo>
                    <a:lnTo>
                      <a:pt x="2714" y="1102"/>
                    </a:lnTo>
                    <a:lnTo>
                      <a:pt x="2717" y="1095"/>
                    </a:lnTo>
                    <a:lnTo>
                      <a:pt x="2720" y="1088"/>
                    </a:lnTo>
                    <a:lnTo>
                      <a:pt x="2722" y="1080"/>
                    </a:lnTo>
                    <a:lnTo>
                      <a:pt x="2723" y="1072"/>
                    </a:lnTo>
                    <a:lnTo>
                      <a:pt x="2724" y="1064"/>
                    </a:lnTo>
                    <a:lnTo>
                      <a:pt x="2724" y="1055"/>
                    </a:lnTo>
                    <a:lnTo>
                      <a:pt x="2723" y="1047"/>
                    </a:lnTo>
                    <a:lnTo>
                      <a:pt x="2720" y="1040"/>
                    </a:lnTo>
                    <a:lnTo>
                      <a:pt x="2716" y="1034"/>
                    </a:lnTo>
                    <a:lnTo>
                      <a:pt x="2712" y="1027"/>
                    </a:lnTo>
                    <a:lnTo>
                      <a:pt x="2720" y="1021"/>
                    </a:lnTo>
                    <a:lnTo>
                      <a:pt x="2728" y="1018"/>
                    </a:lnTo>
                    <a:lnTo>
                      <a:pt x="2735" y="1015"/>
                    </a:lnTo>
                    <a:lnTo>
                      <a:pt x="2742" y="1013"/>
                    </a:lnTo>
                    <a:lnTo>
                      <a:pt x="2758" y="1011"/>
                    </a:lnTo>
                    <a:lnTo>
                      <a:pt x="2776" y="1010"/>
                    </a:lnTo>
                    <a:lnTo>
                      <a:pt x="2777" y="998"/>
                    </a:lnTo>
                    <a:lnTo>
                      <a:pt x="2778" y="986"/>
                    </a:lnTo>
                    <a:lnTo>
                      <a:pt x="2778" y="976"/>
                    </a:lnTo>
                    <a:lnTo>
                      <a:pt x="2776" y="967"/>
                    </a:lnTo>
                    <a:lnTo>
                      <a:pt x="2774" y="957"/>
                    </a:lnTo>
                    <a:lnTo>
                      <a:pt x="2770" y="950"/>
                    </a:lnTo>
                    <a:lnTo>
                      <a:pt x="2766" y="942"/>
                    </a:lnTo>
                    <a:lnTo>
                      <a:pt x="2761" y="936"/>
                    </a:lnTo>
                    <a:lnTo>
                      <a:pt x="2754" y="929"/>
                    </a:lnTo>
                    <a:lnTo>
                      <a:pt x="2748" y="922"/>
                    </a:lnTo>
                    <a:lnTo>
                      <a:pt x="2734" y="911"/>
                    </a:lnTo>
                    <a:lnTo>
                      <a:pt x="2718" y="901"/>
                    </a:lnTo>
                    <a:lnTo>
                      <a:pt x="2702" y="889"/>
                    </a:lnTo>
                    <a:lnTo>
                      <a:pt x="2684" y="878"/>
                    </a:lnTo>
                    <a:lnTo>
                      <a:pt x="2656" y="858"/>
                    </a:lnTo>
                    <a:lnTo>
                      <a:pt x="2631" y="840"/>
                    </a:lnTo>
                    <a:lnTo>
                      <a:pt x="2618" y="830"/>
                    </a:lnTo>
                    <a:lnTo>
                      <a:pt x="2607" y="821"/>
                    </a:lnTo>
                    <a:lnTo>
                      <a:pt x="2596" y="811"/>
                    </a:lnTo>
                    <a:lnTo>
                      <a:pt x="2585" y="801"/>
                    </a:lnTo>
                    <a:lnTo>
                      <a:pt x="2576" y="790"/>
                    </a:lnTo>
                    <a:lnTo>
                      <a:pt x="2567" y="780"/>
                    </a:lnTo>
                    <a:lnTo>
                      <a:pt x="2558" y="767"/>
                    </a:lnTo>
                    <a:lnTo>
                      <a:pt x="2550" y="755"/>
                    </a:lnTo>
                    <a:lnTo>
                      <a:pt x="2543" y="742"/>
                    </a:lnTo>
                    <a:lnTo>
                      <a:pt x="2537" y="728"/>
                    </a:lnTo>
                    <a:lnTo>
                      <a:pt x="2532" y="713"/>
                    </a:lnTo>
                    <a:lnTo>
                      <a:pt x="2526" y="696"/>
                    </a:lnTo>
                    <a:lnTo>
                      <a:pt x="2521" y="681"/>
                    </a:lnTo>
                    <a:lnTo>
                      <a:pt x="2515" y="667"/>
                    </a:lnTo>
                    <a:lnTo>
                      <a:pt x="2508" y="656"/>
                    </a:lnTo>
                    <a:lnTo>
                      <a:pt x="2501" y="645"/>
                    </a:lnTo>
                    <a:lnTo>
                      <a:pt x="2492" y="633"/>
                    </a:lnTo>
                    <a:lnTo>
                      <a:pt x="2484" y="622"/>
                    </a:lnTo>
                    <a:lnTo>
                      <a:pt x="2477" y="608"/>
                    </a:lnTo>
                    <a:lnTo>
                      <a:pt x="2470" y="595"/>
                    </a:lnTo>
                    <a:lnTo>
                      <a:pt x="2456" y="564"/>
                    </a:lnTo>
                    <a:lnTo>
                      <a:pt x="2444" y="536"/>
                    </a:lnTo>
                    <a:lnTo>
                      <a:pt x="2434" y="509"/>
                    </a:lnTo>
                    <a:lnTo>
                      <a:pt x="2424" y="483"/>
                    </a:lnTo>
                    <a:lnTo>
                      <a:pt x="2416" y="457"/>
                    </a:lnTo>
                    <a:lnTo>
                      <a:pt x="2409" y="429"/>
                    </a:lnTo>
                    <a:lnTo>
                      <a:pt x="2403" y="399"/>
                    </a:lnTo>
                    <a:lnTo>
                      <a:pt x="2396" y="366"/>
                    </a:lnTo>
                    <a:lnTo>
                      <a:pt x="2382" y="380"/>
                    </a:lnTo>
                    <a:lnTo>
                      <a:pt x="2370" y="395"/>
                    </a:lnTo>
                    <a:lnTo>
                      <a:pt x="2359" y="409"/>
                    </a:lnTo>
                    <a:lnTo>
                      <a:pt x="2349" y="427"/>
                    </a:lnTo>
                    <a:lnTo>
                      <a:pt x="2346" y="436"/>
                    </a:lnTo>
                    <a:lnTo>
                      <a:pt x="2343" y="444"/>
                    </a:lnTo>
                    <a:lnTo>
                      <a:pt x="2341" y="447"/>
                    </a:lnTo>
                    <a:lnTo>
                      <a:pt x="2338" y="450"/>
                    </a:lnTo>
                    <a:lnTo>
                      <a:pt x="2335" y="453"/>
                    </a:lnTo>
                    <a:lnTo>
                      <a:pt x="2330" y="453"/>
                    </a:lnTo>
                    <a:lnTo>
                      <a:pt x="2325" y="453"/>
                    </a:lnTo>
                    <a:lnTo>
                      <a:pt x="2320" y="451"/>
                    </a:lnTo>
                    <a:lnTo>
                      <a:pt x="2315" y="449"/>
                    </a:lnTo>
                    <a:lnTo>
                      <a:pt x="2312" y="446"/>
                    </a:lnTo>
                    <a:lnTo>
                      <a:pt x="2305" y="440"/>
                    </a:lnTo>
                    <a:lnTo>
                      <a:pt x="2299" y="431"/>
                    </a:lnTo>
                    <a:lnTo>
                      <a:pt x="2293" y="422"/>
                    </a:lnTo>
                    <a:lnTo>
                      <a:pt x="2287" y="412"/>
                    </a:lnTo>
                    <a:lnTo>
                      <a:pt x="2284" y="408"/>
                    </a:lnTo>
                    <a:lnTo>
                      <a:pt x="2280" y="404"/>
                    </a:lnTo>
                    <a:lnTo>
                      <a:pt x="2276" y="400"/>
                    </a:lnTo>
                    <a:lnTo>
                      <a:pt x="2272" y="397"/>
                    </a:lnTo>
                    <a:lnTo>
                      <a:pt x="2267" y="393"/>
                    </a:lnTo>
                    <a:lnTo>
                      <a:pt x="2262" y="388"/>
                    </a:lnTo>
                    <a:lnTo>
                      <a:pt x="2258" y="384"/>
                    </a:lnTo>
                    <a:lnTo>
                      <a:pt x="2254" y="380"/>
                    </a:lnTo>
                    <a:lnTo>
                      <a:pt x="2249" y="370"/>
                    </a:lnTo>
                    <a:lnTo>
                      <a:pt x="2245" y="360"/>
                    </a:lnTo>
                    <a:lnTo>
                      <a:pt x="2243" y="348"/>
                    </a:lnTo>
                    <a:lnTo>
                      <a:pt x="2241" y="337"/>
                    </a:lnTo>
                    <a:lnTo>
                      <a:pt x="2240" y="324"/>
                    </a:lnTo>
                    <a:lnTo>
                      <a:pt x="2239" y="311"/>
                    </a:lnTo>
                    <a:lnTo>
                      <a:pt x="2236" y="290"/>
                    </a:lnTo>
                    <a:lnTo>
                      <a:pt x="2231" y="272"/>
                    </a:lnTo>
                    <a:lnTo>
                      <a:pt x="2229" y="263"/>
                    </a:lnTo>
                    <a:lnTo>
                      <a:pt x="2227" y="253"/>
                    </a:lnTo>
                    <a:lnTo>
                      <a:pt x="2226" y="243"/>
                    </a:lnTo>
                    <a:lnTo>
                      <a:pt x="2225" y="232"/>
                    </a:lnTo>
                    <a:lnTo>
                      <a:pt x="2225" y="179"/>
                    </a:lnTo>
                    <a:lnTo>
                      <a:pt x="2225" y="169"/>
                    </a:lnTo>
                    <a:lnTo>
                      <a:pt x="2225" y="160"/>
                    </a:lnTo>
                    <a:lnTo>
                      <a:pt x="2225" y="151"/>
                    </a:lnTo>
                    <a:lnTo>
                      <a:pt x="2224" y="142"/>
                    </a:lnTo>
                    <a:lnTo>
                      <a:pt x="2224" y="142"/>
                    </a:lnTo>
                    <a:lnTo>
                      <a:pt x="2213" y="144"/>
                    </a:lnTo>
                    <a:lnTo>
                      <a:pt x="2201" y="146"/>
                    </a:lnTo>
                    <a:lnTo>
                      <a:pt x="2173" y="139"/>
                    </a:lnTo>
                    <a:lnTo>
                      <a:pt x="2156" y="143"/>
                    </a:lnTo>
                    <a:lnTo>
                      <a:pt x="2142" y="145"/>
                    </a:lnTo>
                    <a:lnTo>
                      <a:pt x="2127" y="146"/>
                    </a:lnTo>
                    <a:lnTo>
                      <a:pt x="2111" y="146"/>
                    </a:lnTo>
                    <a:lnTo>
                      <a:pt x="2094" y="146"/>
                    </a:lnTo>
                    <a:lnTo>
                      <a:pt x="2080" y="145"/>
                    </a:lnTo>
                    <a:lnTo>
                      <a:pt x="2064" y="144"/>
                    </a:lnTo>
                    <a:lnTo>
                      <a:pt x="2048" y="144"/>
                    </a:lnTo>
                    <a:lnTo>
                      <a:pt x="2026" y="144"/>
                    </a:lnTo>
                    <a:lnTo>
                      <a:pt x="2006" y="144"/>
                    </a:lnTo>
                    <a:lnTo>
                      <a:pt x="1986" y="143"/>
                    </a:lnTo>
                    <a:lnTo>
                      <a:pt x="1967" y="141"/>
                    </a:lnTo>
                    <a:lnTo>
                      <a:pt x="1949" y="139"/>
                    </a:lnTo>
                    <a:lnTo>
                      <a:pt x="1930" y="134"/>
                    </a:lnTo>
                    <a:lnTo>
                      <a:pt x="1911" y="129"/>
                    </a:lnTo>
                    <a:lnTo>
                      <a:pt x="1890" y="122"/>
                    </a:lnTo>
                    <a:lnTo>
                      <a:pt x="1882" y="119"/>
                    </a:lnTo>
                    <a:lnTo>
                      <a:pt x="1876" y="114"/>
                    </a:lnTo>
                    <a:lnTo>
                      <a:pt x="1873" y="112"/>
                    </a:lnTo>
                    <a:lnTo>
                      <a:pt x="1870" y="110"/>
                    </a:lnTo>
                    <a:lnTo>
                      <a:pt x="1865" y="109"/>
                    </a:lnTo>
                    <a:lnTo>
                      <a:pt x="1861" y="109"/>
                    </a:lnTo>
                    <a:lnTo>
                      <a:pt x="1852" y="109"/>
                    </a:lnTo>
                    <a:lnTo>
                      <a:pt x="1844" y="111"/>
                    </a:lnTo>
                    <a:lnTo>
                      <a:pt x="1835" y="113"/>
                    </a:lnTo>
                    <a:lnTo>
                      <a:pt x="1827" y="117"/>
                    </a:lnTo>
                    <a:lnTo>
                      <a:pt x="1814" y="125"/>
                    </a:lnTo>
                    <a:lnTo>
                      <a:pt x="1800" y="134"/>
                    </a:lnTo>
                    <a:lnTo>
                      <a:pt x="1787" y="144"/>
                    </a:lnTo>
                    <a:lnTo>
                      <a:pt x="1773" y="152"/>
                    </a:lnTo>
                    <a:lnTo>
                      <a:pt x="1765" y="155"/>
                    </a:lnTo>
                    <a:lnTo>
                      <a:pt x="1757" y="158"/>
                    </a:lnTo>
                    <a:lnTo>
                      <a:pt x="1748" y="159"/>
                    </a:lnTo>
                    <a:lnTo>
                      <a:pt x="1739" y="160"/>
                    </a:lnTo>
                    <a:lnTo>
                      <a:pt x="1731" y="160"/>
                    </a:lnTo>
                    <a:lnTo>
                      <a:pt x="1725" y="158"/>
                    </a:lnTo>
                    <a:lnTo>
                      <a:pt x="1719" y="156"/>
                    </a:lnTo>
                    <a:lnTo>
                      <a:pt x="1713" y="154"/>
                    </a:lnTo>
                    <a:lnTo>
                      <a:pt x="1702" y="147"/>
                    </a:lnTo>
                    <a:lnTo>
                      <a:pt x="1694" y="139"/>
                    </a:lnTo>
                    <a:lnTo>
                      <a:pt x="1677" y="118"/>
                    </a:lnTo>
                    <a:lnTo>
                      <a:pt x="1656" y="96"/>
                    </a:lnTo>
                    <a:lnTo>
                      <a:pt x="1629" y="72"/>
                    </a:lnTo>
                    <a:lnTo>
                      <a:pt x="1608" y="50"/>
                    </a:lnTo>
                    <a:lnTo>
                      <a:pt x="1585" y="26"/>
                    </a:lnTo>
                    <a:lnTo>
                      <a:pt x="1560" y="0"/>
                    </a:lnTo>
                    <a:lnTo>
                      <a:pt x="1554" y="4"/>
                    </a:lnTo>
                    <a:lnTo>
                      <a:pt x="1549" y="10"/>
                    </a:lnTo>
                    <a:lnTo>
                      <a:pt x="1545" y="14"/>
                    </a:lnTo>
                    <a:lnTo>
                      <a:pt x="1541" y="19"/>
                    </a:lnTo>
                    <a:lnTo>
                      <a:pt x="1533" y="30"/>
                    </a:lnTo>
                    <a:lnTo>
                      <a:pt x="1528" y="42"/>
                    </a:lnTo>
                    <a:lnTo>
                      <a:pt x="1520" y="66"/>
                    </a:lnTo>
                    <a:lnTo>
                      <a:pt x="1513" y="94"/>
                    </a:lnTo>
                    <a:lnTo>
                      <a:pt x="1511" y="98"/>
                    </a:lnTo>
                    <a:lnTo>
                      <a:pt x="1509" y="102"/>
                    </a:lnTo>
                    <a:lnTo>
                      <a:pt x="1507" y="106"/>
                    </a:lnTo>
                    <a:lnTo>
                      <a:pt x="1503" y="109"/>
                    </a:lnTo>
                    <a:lnTo>
                      <a:pt x="1497" y="113"/>
                    </a:lnTo>
                    <a:lnTo>
                      <a:pt x="1490" y="117"/>
                    </a:lnTo>
                    <a:lnTo>
                      <a:pt x="1474" y="122"/>
                    </a:lnTo>
                    <a:lnTo>
                      <a:pt x="1456" y="129"/>
                    </a:lnTo>
                    <a:lnTo>
                      <a:pt x="1450" y="133"/>
                    </a:lnTo>
                    <a:lnTo>
                      <a:pt x="1445" y="138"/>
                    </a:lnTo>
                    <a:lnTo>
                      <a:pt x="1441" y="143"/>
                    </a:lnTo>
                    <a:lnTo>
                      <a:pt x="1435" y="147"/>
                    </a:lnTo>
                    <a:lnTo>
                      <a:pt x="1431" y="151"/>
                    </a:lnTo>
                    <a:lnTo>
                      <a:pt x="1426" y="155"/>
                    </a:lnTo>
                    <a:lnTo>
                      <a:pt x="1420" y="157"/>
                    </a:lnTo>
                    <a:lnTo>
                      <a:pt x="1414" y="158"/>
                    </a:lnTo>
                    <a:lnTo>
                      <a:pt x="1406" y="157"/>
                    </a:lnTo>
                    <a:lnTo>
                      <a:pt x="1401" y="155"/>
                    </a:lnTo>
                    <a:lnTo>
                      <a:pt x="1396" y="151"/>
                    </a:lnTo>
                    <a:lnTo>
                      <a:pt x="1392" y="146"/>
                    </a:lnTo>
                    <a:lnTo>
                      <a:pt x="1386" y="134"/>
                    </a:lnTo>
                    <a:lnTo>
                      <a:pt x="1381" y="120"/>
                    </a:lnTo>
                    <a:lnTo>
                      <a:pt x="1375" y="107"/>
                    </a:lnTo>
                    <a:lnTo>
                      <a:pt x="1368" y="94"/>
                    </a:lnTo>
                    <a:lnTo>
                      <a:pt x="1364" y="89"/>
                    </a:lnTo>
                    <a:lnTo>
                      <a:pt x="1359" y="86"/>
                    </a:lnTo>
                    <a:lnTo>
                      <a:pt x="1354" y="83"/>
                    </a:lnTo>
                    <a:lnTo>
                      <a:pt x="1347" y="83"/>
                    </a:lnTo>
                    <a:lnTo>
                      <a:pt x="1292" y="83"/>
                    </a:lnTo>
                    <a:lnTo>
                      <a:pt x="1260" y="82"/>
                    </a:lnTo>
                    <a:lnTo>
                      <a:pt x="1232" y="81"/>
                    </a:lnTo>
                    <a:lnTo>
                      <a:pt x="1219" y="79"/>
                    </a:lnTo>
                    <a:lnTo>
                      <a:pt x="1204" y="77"/>
                    </a:lnTo>
                    <a:lnTo>
                      <a:pt x="1190" y="75"/>
                    </a:lnTo>
                    <a:lnTo>
                      <a:pt x="1173" y="70"/>
                    </a:lnTo>
                    <a:lnTo>
                      <a:pt x="1173" y="70"/>
                    </a:lnTo>
                    <a:close/>
                  </a:path>
                </a:pathLst>
              </a:custGeom>
              <a:solidFill>
                <a:srgbClr val="67AF1E"/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Crimea">
                <a:extLst>
                  <a:ext uri="{FF2B5EF4-FFF2-40B4-BE49-F238E27FC236}">
                    <a16:creationId xmlns:a16="http://schemas.microsoft.com/office/drawing/2014/main" id="{88A4F09A-9C2D-4184-BBE8-2B2603D4D1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2111" y="5429429"/>
                <a:ext cx="1865414" cy="1100745"/>
              </a:xfrm>
              <a:custGeom>
                <a:avLst/>
                <a:gdLst>
                  <a:gd name="T0" fmla="*/ 2314 w 3784"/>
                  <a:gd name="T1" fmla="*/ 667 h 2362"/>
                  <a:gd name="T2" fmla="*/ 2585 w 3784"/>
                  <a:gd name="T3" fmla="*/ 1001 h 2362"/>
                  <a:gd name="T4" fmla="*/ 2759 w 3784"/>
                  <a:gd name="T5" fmla="*/ 1121 h 2362"/>
                  <a:gd name="T6" fmla="*/ 3002 w 3784"/>
                  <a:gd name="T7" fmla="*/ 945 h 2362"/>
                  <a:gd name="T8" fmla="*/ 3059 w 3784"/>
                  <a:gd name="T9" fmla="*/ 910 h 2362"/>
                  <a:gd name="T10" fmla="*/ 3033 w 3784"/>
                  <a:gd name="T11" fmla="*/ 1036 h 2362"/>
                  <a:gd name="T12" fmla="*/ 3182 w 3784"/>
                  <a:gd name="T13" fmla="*/ 1000 h 2362"/>
                  <a:gd name="T14" fmla="*/ 3333 w 3784"/>
                  <a:gd name="T15" fmla="*/ 865 h 2362"/>
                  <a:gd name="T16" fmla="*/ 3532 w 3784"/>
                  <a:gd name="T17" fmla="*/ 859 h 2362"/>
                  <a:gd name="T18" fmla="*/ 3689 w 3784"/>
                  <a:gd name="T19" fmla="*/ 902 h 2362"/>
                  <a:gd name="T20" fmla="*/ 3784 w 3784"/>
                  <a:gd name="T21" fmla="*/ 981 h 2362"/>
                  <a:gd name="T22" fmla="*/ 3651 w 3784"/>
                  <a:gd name="T23" fmla="*/ 1075 h 2362"/>
                  <a:gd name="T24" fmla="*/ 3552 w 3784"/>
                  <a:gd name="T25" fmla="*/ 1230 h 2362"/>
                  <a:gd name="T26" fmla="*/ 3585 w 3784"/>
                  <a:gd name="T27" fmla="*/ 1243 h 2362"/>
                  <a:gd name="T28" fmla="*/ 3578 w 3784"/>
                  <a:gd name="T29" fmla="*/ 1378 h 2362"/>
                  <a:gd name="T30" fmla="*/ 3415 w 3784"/>
                  <a:gd name="T31" fmla="*/ 1413 h 2362"/>
                  <a:gd name="T32" fmla="*/ 3363 w 3784"/>
                  <a:gd name="T33" fmla="*/ 1435 h 2362"/>
                  <a:gd name="T34" fmla="*/ 3358 w 3784"/>
                  <a:gd name="T35" fmla="*/ 1379 h 2362"/>
                  <a:gd name="T36" fmla="*/ 3313 w 3784"/>
                  <a:gd name="T37" fmla="*/ 1355 h 2362"/>
                  <a:gd name="T38" fmla="*/ 3233 w 3784"/>
                  <a:gd name="T39" fmla="*/ 1455 h 2362"/>
                  <a:gd name="T40" fmla="*/ 3124 w 3784"/>
                  <a:gd name="T41" fmla="*/ 1467 h 2362"/>
                  <a:gd name="T42" fmla="*/ 3016 w 3784"/>
                  <a:gd name="T43" fmla="*/ 1399 h 2362"/>
                  <a:gd name="T44" fmla="*/ 2706 w 3784"/>
                  <a:gd name="T45" fmla="*/ 1417 h 2362"/>
                  <a:gd name="T46" fmla="*/ 2652 w 3784"/>
                  <a:gd name="T47" fmla="*/ 1528 h 2362"/>
                  <a:gd name="T48" fmla="*/ 2561 w 3784"/>
                  <a:gd name="T49" fmla="*/ 1567 h 2362"/>
                  <a:gd name="T50" fmla="*/ 2460 w 3784"/>
                  <a:gd name="T51" fmla="*/ 1657 h 2362"/>
                  <a:gd name="T52" fmla="*/ 2321 w 3784"/>
                  <a:gd name="T53" fmla="*/ 1724 h 2362"/>
                  <a:gd name="T54" fmla="*/ 2193 w 3784"/>
                  <a:gd name="T55" fmla="*/ 1752 h 2362"/>
                  <a:gd name="T56" fmla="*/ 2013 w 3784"/>
                  <a:gd name="T57" fmla="*/ 1833 h 2362"/>
                  <a:gd name="T58" fmla="*/ 1763 w 3784"/>
                  <a:gd name="T59" fmla="*/ 2058 h 2362"/>
                  <a:gd name="T60" fmla="*/ 1656 w 3784"/>
                  <a:gd name="T61" fmla="*/ 2196 h 2362"/>
                  <a:gd name="T62" fmla="*/ 1417 w 3784"/>
                  <a:gd name="T63" fmla="*/ 2354 h 2362"/>
                  <a:gd name="T64" fmla="*/ 1172 w 3784"/>
                  <a:gd name="T65" fmla="*/ 2360 h 2362"/>
                  <a:gd name="T66" fmla="*/ 1045 w 3784"/>
                  <a:gd name="T67" fmla="*/ 2239 h 2362"/>
                  <a:gd name="T68" fmla="*/ 851 w 3784"/>
                  <a:gd name="T69" fmla="*/ 2144 h 2362"/>
                  <a:gd name="T70" fmla="*/ 917 w 3784"/>
                  <a:gd name="T71" fmla="*/ 2088 h 2362"/>
                  <a:gd name="T72" fmla="*/ 978 w 3784"/>
                  <a:gd name="T73" fmla="*/ 1827 h 2362"/>
                  <a:gd name="T74" fmla="*/ 1021 w 3784"/>
                  <a:gd name="T75" fmla="*/ 1583 h 2362"/>
                  <a:gd name="T76" fmla="*/ 885 w 3784"/>
                  <a:gd name="T77" fmla="*/ 1370 h 2362"/>
                  <a:gd name="T78" fmla="*/ 715 w 3784"/>
                  <a:gd name="T79" fmla="*/ 1376 h 2362"/>
                  <a:gd name="T80" fmla="*/ 553 w 3784"/>
                  <a:gd name="T81" fmla="*/ 1258 h 2362"/>
                  <a:gd name="T82" fmla="*/ 515 w 3784"/>
                  <a:gd name="T83" fmla="*/ 1131 h 2362"/>
                  <a:gd name="T84" fmla="*/ 576 w 3784"/>
                  <a:gd name="T85" fmla="*/ 1061 h 2362"/>
                  <a:gd name="T86" fmla="*/ 463 w 3784"/>
                  <a:gd name="T87" fmla="*/ 1175 h 2362"/>
                  <a:gd name="T88" fmla="*/ 177 w 3784"/>
                  <a:gd name="T89" fmla="*/ 1165 h 2362"/>
                  <a:gd name="T90" fmla="*/ 70 w 3784"/>
                  <a:gd name="T91" fmla="*/ 1193 h 2362"/>
                  <a:gd name="T92" fmla="*/ 0 w 3784"/>
                  <a:gd name="T93" fmla="*/ 1093 h 2362"/>
                  <a:gd name="T94" fmla="*/ 192 w 3784"/>
                  <a:gd name="T95" fmla="*/ 921 h 2362"/>
                  <a:gd name="T96" fmla="*/ 296 w 3784"/>
                  <a:gd name="T97" fmla="*/ 873 h 2362"/>
                  <a:gd name="T98" fmla="*/ 410 w 3784"/>
                  <a:gd name="T99" fmla="*/ 739 h 2362"/>
                  <a:gd name="T100" fmla="*/ 609 w 3784"/>
                  <a:gd name="T101" fmla="*/ 576 h 2362"/>
                  <a:gd name="T102" fmla="*/ 772 w 3784"/>
                  <a:gd name="T103" fmla="*/ 580 h 2362"/>
                  <a:gd name="T104" fmla="*/ 943 w 3784"/>
                  <a:gd name="T105" fmla="*/ 492 h 2362"/>
                  <a:gd name="T106" fmla="*/ 1030 w 3784"/>
                  <a:gd name="T107" fmla="*/ 438 h 2362"/>
                  <a:gd name="T108" fmla="*/ 1120 w 3784"/>
                  <a:gd name="T109" fmla="*/ 379 h 2362"/>
                  <a:gd name="T110" fmla="*/ 1019 w 3784"/>
                  <a:gd name="T111" fmla="*/ 358 h 2362"/>
                  <a:gd name="T112" fmla="*/ 1007 w 3784"/>
                  <a:gd name="T113" fmla="*/ 205 h 2362"/>
                  <a:gd name="T114" fmla="*/ 1021 w 3784"/>
                  <a:gd name="T115" fmla="*/ 17 h 2362"/>
                  <a:gd name="T116" fmla="*/ 1347 w 3784"/>
                  <a:gd name="T117" fmla="*/ 81 h 2362"/>
                  <a:gd name="T118" fmla="*/ 1620 w 3784"/>
                  <a:gd name="T119" fmla="*/ 174 h 2362"/>
                  <a:gd name="T120" fmla="*/ 1720 w 3784"/>
                  <a:gd name="T121" fmla="*/ 288 h 2362"/>
                  <a:gd name="T122" fmla="*/ 1930 w 3784"/>
                  <a:gd name="T123" fmla="*/ 271 h 2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84" h="2362">
                    <a:moveTo>
                      <a:pt x="2146" y="320"/>
                    </a:moveTo>
                    <a:lnTo>
                      <a:pt x="2150" y="335"/>
                    </a:lnTo>
                    <a:lnTo>
                      <a:pt x="2157" y="350"/>
                    </a:lnTo>
                    <a:lnTo>
                      <a:pt x="2161" y="358"/>
                    </a:lnTo>
                    <a:lnTo>
                      <a:pt x="2165" y="365"/>
                    </a:lnTo>
                    <a:lnTo>
                      <a:pt x="2169" y="373"/>
                    </a:lnTo>
                    <a:lnTo>
                      <a:pt x="2175" y="382"/>
                    </a:lnTo>
                    <a:lnTo>
                      <a:pt x="2183" y="393"/>
                    </a:lnTo>
                    <a:lnTo>
                      <a:pt x="2190" y="404"/>
                    </a:lnTo>
                    <a:lnTo>
                      <a:pt x="2196" y="416"/>
                    </a:lnTo>
                    <a:lnTo>
                      <a:pt x="2201" y="427"/>
                    </a:lnTo>
                    <a:lnTo>
                      <a:pt x="2210" y="451"/>
                    </a:lnTo>
                    <a:lnTo>
                      <a:pt x="2221" y="477"/>
                    </a:lnTo>
                    <a:lnTo>
                      <a:pt x="2230" y="495"/>
                    </a:lnTo>
                    <a:lnTo>
                      <a:pt x="2239" y="512"/>
                    </a:lnTo>
                    <a:lnTo>
                      <a:pt x="2248" y="527"/>
                    </a:lnTo>
                    <a:lnTo>
                      <a:pt x="2257" y="543"/>
                    </a:lnTo>
                    <a:lnTo>
                      <a:pt x="2266" y="557"/>
                    </a:lnTo>
                    <a:lnTo>
                      <a:pt x="2274" y="573"/>
                    </a:lnTo>
                    <a:lnTo>
                      <a:pt x="2283" y="589"/>
                    </a:lnTo>
                    <a:lnTo>
                      <a:pt x="2292" y="608"/>
                    </a:lnTo>
                    <a:lnTo>
                      <a:pt x="2303" y="639"/>
                    </a:lnTo>
                    <a:lnTo>
                      <a:pt x="2314" y="667"/>
                    </a:lnTo>
                    <a:lnTo>
                      <a:pt x="2321" y="679"/>
                    </a:lnTo>
                    <a:lnTo>
                      <a:pt x="2330" y="690"/>
                    </a:lnTo>
                    <a:lnTo>
                      <a:pt x="2335" y="696"/>
                    </a:lnTo>
                    <a:lnTo>
                      <a:pt x="2340" y="701"/>
                    </a:lnTo>
                    <a:lnTo>
                      <a:pt x="2346" y="706"/>
                    </a:lnTo>
                    <a:lnTo>
                      <a:pt x="2354" y="711"/>
                    </a:lnTo>
                    <a:lnTo>
                      <a:pt x="2370" y="728"/>
                    </a:lnTo>
                    <a:lnTo>
                      <a:pt x="2382" y="744"/>
                    </a:lnTo>
                    <a:lnTo>
                      <a:pt x="2394" y="760"/>
                    </a:lnTo>
                    <a:lnTo>
                      <a:pt x="2403" y="775"/>
                    </a:lnTo>
                    <a:lnTo>
                      <a:pt x="2413" y="791"/>
                    </a:lnTo>
                    <a:lnTo>
                      <a:pt x="2424" y="807"/>
                    </a:lnTo>
                    <a:lnTo>
                      <a:pt x="2435" y="824"/>
                    </a:lnTo>
                    <a:lnTo>
                      <a:pt x="2448" y="841"/>
                    </a:lnTo>
                    <a:lnTo>
                      <a:pt x="2471" y="869"/>
                    </a:lnTo>
                    <a:lnTo>
                      <a:pt x="2492" y="893"/>
                    </a:lnTo>
                    <a:lnTo>
                      <a:pt x="2512" y="918"/>
                    </a:lnTo>
                    <a:lnTo>
                      <a:pt x="2533" y="947"/>
                    </a:lnTo>
                    <a:lnTo>
                      <a:pt x="2544" y="961"/>
                    </a:lnTo>
                    <a:lnTo>
                      <a:pt x="2555" y="972"/>
                    </a:lnTo>
                    <a:lnTo>
                      <a:pt x="2566" y="983"/>
                    </a:lnTo>
                    <a:lnTo>
                      <a:pt x="2579" y="995"/>
                    </a:lnTo>
                    <a:lnTo>
                      <a:pt x="2585" y="1001"/>
                    </a:lnTo>
                    <a:lnTo>
                      <a:pt x="2589" y="1007"/>
                    </a:lnTo>
                    <a:lnTo>
                      <a:pt x="2592" y="1014"/>
                    </a:lnTo>
                    <a:lnTo>
                      <a:pt x="2595" y="1020"/>
                    </a:lnTo>
                    <a:lnTo>
                      <a:pt x="2597" y="1026"/>
                    </a:lnTo>
                    <a:lnTo>
                      <a:pt x="2601" y="1032"/>
                    </a:lnTo>
                    <a:lnTo>
                      <a:pt x="2605" y="1038"/>
                    </a:lnTo>
                    <a:lnTo>
                      <a:pt x="2611" y="1044"/>
                    </a:lnTo>
                    <a:lnTo>
                      <a:pt x="2623" y="1052"/>
                    </a:lnTo>
                    <a:lnTo>
                      <a:pt x="2633" y="1058"/>
                    </a:lnTo>
                    <a:lnTo>
                      <a:pt x="2643" y="1063"/>
                    </a:lnTo>
                    <a:lnTo>
                      <a:pt x="2654" y="1068"/>
                    </a:lnTo>
                    <a:lnTo>
                      <a:pt x="2676" y="1078"/>
                    </a:lnTo>
                    <a:lnTo>
                      <a:pt x="2701" y="1087"/>
                    </a:lnTo>
                    <a:lnTo>
                      <a:pt x="2709" y="1091"/>
                    </a:lnTo>
                    <a:lnTo>
                      <a:pt x="2717" y="1096"/>
                    </a:lnTo>
                    <a:lnTo>
                      <a:pt x="2723" y="1102"/>
                    </a:lnTo>
                    <a:lnTo>
                      <a:pt x="2729" y="1108"/>
                    </a:lnTo>
                    <a:lnTo>
                      <a:pt x="2735" y="1113"/>
                    </a:lnTo>
                    <a:lnTo>
                      <a:pt x="2741" y="1118"/>
                    </a:lnTo>
                    <a:lnTo>
                      <a:pt x="2745" y="1119"/>
                    </a:lnTo>
                    <a:lnTo>
                      <a:pt x="2750" y="1120"/>
                    </a:lnTo>
                    <a:lnTo>
                      <a:pt x="2754" y="1121"/>
                    </a:lnTo>
                    <a:lnTo>
                      <a:pt x="2759" y="1121"/>
                    </a:lnTo>
                    <a:lnTo>
                      <a:pt x="2768" y="1120"/>
                    </a:lnTo>
                    <a:lnTo>
                      <a:pt x="2776" y="1118"/>
                    </a:lnTo>
                    <a:lnTo>
                      <a:pt x="2784" y="1115"/>
                    </a:lnTo>
                    <a:lnTo>
                      <a:pt x="2791" y="1111"/>
                    </a:lnTo>
                    <a:lnTo>
                      <a:pt x="2797" y="1106"/>
                    </a:lnTo>
                    <a:lnTo>
                      <a:pt x="2805" y="1101"/>
                    </a:lnTo>
                    <a:lnTo>
                      <a:pt x="2812" y="1097"/>
                    </a:lnTo>
                    <a:lnTo>
                      <a:pt x="2822" y="1094"/>
                    </a:lnTo>
                    <a:lnTo>
                      <a:pt x="2857" y="1088"/>
                    </a:lnTo>
                    <a:lnTo>
                      <a:pt x="2889" y="1083"/>
                    </a:lnTo>
                    <a:lnTo>
                      <a:pt x="2903" y="1079"/>
                    </a:lnTo>
                    <a:lnTo>
                      <a:pt x="2917" y="1074"/>
                    </a:lnTo>
                    <a:lnTo>
                      <a:pt x="2924" y="1069"/>
                    </a:lnTo>
                    <a:lnTo>
                      <a:pt x="2930" y="1064"/>
                    </a:lnTo>
                    <a:lnTo>
                      <a:pt x="2937" y="1059"/>
                    </a:lnTo>
                    <a:lnTo>
                      <a:pt x="2943" y="1053"/>
                    </a:lnTo>
                    <a:lnTo>
                      <a:pt x="2953" y="1043"/>
                    </a:lnTo>
                    <a:lnTo>
                      <a:pt x="2961" y="1031"/>
                    </a:lnTo>
                    <a:lnTo>
                      <a:pt x="2967" y="1021"/>
                    </a:lnTo>
                    <a:lnTo>
                      <a:pt x="2973" y="1011"/>
                    </a:lnTo>
                    <a:lnTo>
                      <a:pt x="2984" y="989"/>
                    </a:lnTo>
                    <a:lnTo>
                      <a:pt x="2995" y="963"/>
                    </a:lnTo>
                    <a:lnTo>
                      <a:pt x="3002" y="945"/>
                    </a:lnTo>
                    <a:lnTo>
                      <a:pt x="3006" y="930"/>
                    </a:lnTo>
                    <a:lnTo>
                      <a:pt x="3011" y="914"/>
                    </a:lnTo>
                    <a:lnTo>
                      <a:pt x="3019" y="897"/>
                    </a:lnTo>
                    <a:lnTo>
                      <a:pt x="3023" y="888"/>
                    </a:lnTo>
                    <a:lnTo>
                      <a:pt x="3027" y="878"/>
                    </a:lnTo>
                    <a:lnTo>
                      <a:pt x="3029" y="874"/>
                    </a:lnTo>
                    <a:lnTo>
                      <a:pt x="3032" y="871"/>
                    </a:lnTo>
                    <a:lnTo>
                      <a:pt x="3035" y="869"/>
                    </a:lnTo>
                    <a:lnTo>
                      <a:pt x="3040" y="869"/>
                    </a:lnTo>
                    <a:lnTo>
                      <a:pt x="3046" y="869"/>
                    </a:lnTo>
                    <a:lnTo>
                      <a:pt x="3051" y="870"/>
                    </a:lnTo>
                    <a:lnTo>
                      <a:pt x="3056" y="871"/>
                    </a:lnTo>
                    <a:lnTo>
                      <a:pt x="3061" y="872"/>
                    </a:lnTo>
                    <a:lnTo>
                      <a:pt x="3065" y="875"/>
                    </a:lnTo>
                    <a:lnTo>
                      <a:pt x="3068" y="878"/>
                    </a:lnTo>
                    <a:lnTo>
                      <a:pt x="3070" y="881"/>
                    </a:lnTo>
                    <a:lnTo>
                      <a:pt x="3070" y="887"/>
                    </a:lnTo>
                    <a:lnTo>
                      <a:pt x="3070" y="892"/>
                    </a:lnTo>
                    <a:lnTo>
                      <a:pt x="3068" y="896"/>
                    </a:lnTo>
                    <a:lnTo>
                      <a:pt x="3066" y="899"/>
                    </a:lnTo>
                    <a:lnTo>
                      <a:pt x="3064" y="903"/>
                    </a:lnTo>
                    <a:lnTo>
                      <a:pt x="3061" y="907"/>
                    </a:lnTo>
                    <a:lnTo>
                      <a:pt x="3059" y="910"/>
                    </a:lnTo>
                    <a:lnTo>
                      <a:pt x="3057" y="914"/>
                    </a:lnTo>
                    <a:lnTo>
                      <a:pt x="3057" y="920"/>
                    </a:lnTo>
                    <a:lnTo>
                      <a:pt x="3057" y="933"/>
                    </a:lnTo>
                    <a:lnTo>
                      <a:pt x="3052" y="941"/>
                    </a:lnTo>
                    <a:lnTo>
                      <a:pt x="3046" y="951"/>
                    </a:lnTo>
                    <a:lnTo>
                      <a:pt x="3050" y="959"/>
                    </a:lnTo>
                    <a:lnTo>
                      <a:pt x="3053" y="967"/>
                    </a:lnTo>
                    <a:lnTo>
                      <a:pt x="3053" y="971"/>
                    </a:lnTo>
                    <a:lnTo>
                      <a:pt x="3052" y="975"/>
                    </a:lnTo>
                    <a:lnTo>
                      <a:pt x="3051" y="979"/>
                    </a:lnTo>
                    <a:lnTo>
                      <a:pt x="3049" y="982"/>
                    </a:lnTo>
                    <a:lnTo>
                      <a:pt x="3043" y="987"/>
                    </a:lnTo>
                    <a:lnTo>
                      <a:pt x="3037" y="991"/>
                    </a:lnTo>
                    <a:lnTo>
                      <a:pt x="3022" y="998"/>
                    </a:lnTo>
                    <a:lnTo>
                      <a:pt x="3004" y="1005"/>
                    </a:lnTo>
                    <a:lnTo>
                      <a:pt x="3007" y="1017"/>
                    </a:lnTo>
                    <a:lnTo>
                      <a:pt x="3010" y="1028"/>
                    </a:lnTo>
                    <a:lnTo>
                      <a:pt x="3013" y="1032"/>
                    </a:lnTo>
                    <a:lnTo>
                      <a:pt x="3016" y="1035"/>
                    </a:lnTo>
                    <a:lnTo>
                      <a:pt x="3020" y="1038"/>
                    </a:lnTo>
                    <a:lnTo>
                      <a:pt x="3025" y="1038"/>
                    </a:lnTo>
                    <a:lnTo>
                      <a:pt x="3029" y="1038"/>
                    </a:lnTo>
                    <a:lnTo>
                      <a:pt x="3033" y="1036"/>
                    </a:lnTo>
                    <a:lnTo>
                      <a:pt x="3037" y="1034"/>
                    </a:lnTo>
                    <a:lnTo>
                      <a:pt x="3040" y="1031"/>
                    </a:lnTo>
                    <a:lnTo>
                      <a:pt x="3047" y="1025"/>
                    </a:lnTo>
                    <a:lnTo>
                      <a:pt x="3053" y="1018"/>
                    </a:lnTo>
                    <a:lnTo>
                      <a:pt x="3062" y="1009"/>
                    </a:lnTo>
                    <a:lnTo>
                      <a:pt x="3070" y="1002"/>
                    </a:lnTo>
                    <a:lnTo>
                      <a:pt x="3073" y="998"/>
                    </a:lnTo>
                    <a:lnTo>
                      <a:pt x="3075" y="994"/>
                    </a:lnTo>
                    <a:lnTo>
                      <a:pt x="3077" y="989"/>
                    </a:lnTo>
                    <a:lnTo>
                      <a:pt x="3077" y="984"/>
                    </a:lnTo>
                    <a:lnTo>
                      <a:pt x="3075" y="972"/>
                    </a:lnTo>
                    <a:lnTo>
                      <a:pt x="3073" y="962"/>
                    </a:lnTo>
                    <a:lnTo>
                      <a:pt x="3073" y="959"/>
                    </a:lnTo>
                    <a:lnTo>
                      <a:pt x="3074" y="955"/>
                    </a:lnTo>
                    <a:lnTo>
                      <a:pt x="3083" y="961"/>
                    </a:lnTo>
                    <a:lnTo>
                      <a:pt x="3090" y="967"/>
                    </a:lnTo>
                    <a:lnTo>
                      <a:pt x="3097" y="972"/>
                    </a:lnTo>
                    <a:lnTo>
                      <a:pt x="3106" y="976"/>
                    </a:lnTo>
                    <a:lnTo>
                      <a:pt x="3128" y="986"/>
                    </a:lnTo>
                    <a:lnTo>
                      <a:pt x="3150" y="994"/>
                    </a:lnTo>
                    <a:lnTo>
                      <a:pt x="3160" y="997"/>
                    </a:lnTo>
                    <a:lnTo>
                      <a:pt x="3170" y="999"/>
                    </a:lnTo>
                    <a:lnTo>
                      <a:pt x="3182" y="1000"/>
                    </a:lnTo>
                    <a:lnTo>
                      <a:pt x="3194" y="1001"/>
                    </a:lnTo>
                    <a:lnTo>
                      <a:pt x="3201" y="1000"/>
                    </a:lnTo>
                    <a:lnTo>
                      <a:pt x="3207" y="1000"/>
                    </a:lnTo>
                    <a:lnTo>
                      <a:pt x="3213" y="998"/>
                    </a:lnTo>
                    <a:lnTo>
                      <a:pt x="3219" y="997"/>
                    </a:lnTo>
                    <a:lnTo>
                      <a:pt x="3229" y="992"/>
                    </a:lnTo>
                    <a:lnTo>
                      <a:pt x="3238" y="985"/>
                    </a:lnTo>
                    <a:lnTo>
                      <a:pt x="3247" y="976"/>
                    </a:lnTo>
                    <a:lnTo>
                      <a:pt x="3254" y="967"/>
                    </a:lnTo>
                    <a:lnTo>
                      <a:pt x="3260" y="956"/>
                    </a:lnTo>
                    <a:lnTo>
                      <a:pt x="3265" y="944"/>
                    </a:lnTo>
                    <a:lnTo>
                      <a:pt x="3272" y="922"/>
                    </a:lnTo>
                    <a:lnTo>
                      <a:pt x="3280" y="900"/>
                    </a:lnTo>
                    <a:lnTo>
                      <a:pt x="3284" y="891"/>
                    </a:lnTo>
                    <a:lnTo>
                      <a:pt x="3290" y="882"/>
                    </a:lnTo>
                    <a:lnTo>
                      <a:pt x="3293" y="879"/>
                    </a:lnTo>
                    <a:lnTo>
                      <a:pt x="3297" y="875"/>
                    </a:lnTo>
                    <a:lnTo>
                      <a:pt x="3302" y="872"/>
                    </a:lnTo>
                    <a:lnTo>
                      <a:pt x="3307" y="870"/>
                    </a:lnTo>
                    <a:lnTo>
                      <a:pt x="3315" y="868"/>
                    </a:lnTo>
                    <a:lnTo>
                      <a:pt x="3321" y="866"/>
                    </a:lnTo>
                    <a:lnTo>
                      <a:pt x="3327" y="865"/>
                    </a:lnTo>
                    <a:lnTo>
                      <a:pt x="3333" y="865"/>
                    </a:lnTo>
                    <a:lnTo>
                      <a:pt x="3346" y="865"/>
                    </a:lnTo>
                    <a:lnTo>
                      <a:pt x="3359" y="863"/>
                    </a:lnTo>
                    <a:lnTo>
                      <a:pt x="3390" y="857"/>
                    </a:lnTo>
                    <a:lnTo>
                      <a:pt x="3417" y="852"/>
                    </a:lnTo>
                    <a:lnTo>
                      <a:pt x="3430" y="850"/>
                    </a:lnTo>
                    <a:lnTo>
                      <a:pt x="3445" y="848"/>
                    </a:lnTo>
                    <a:lnTo>
                      <a:pt x="3459" y="847"/>
                    </a:lnTo>
                    <a:lnTo>
                      <a:pt x="3476" y="847"/>
                    </a:lnTo>
                    <a:lnTo>
                      <a:pt x="3481" y="848"/>
                    </a:lnTo>
                    <a:lnTo>
                      <a:pt x="3484" y="850"/>
                    </a:lnTo>
                    <a:lnTo>
                      <a:pt x="3487" y="855"/>
                    </a:lnTo>
                    <a:lnTo>
                      <a:pt x="3489" y="859"/>
                    </a:lnTo>
                    <a:lnTo>
                      <a:pt x="3492" y="869"/>
                    </a:lnTo>
                    <a:lnTo>
                      <a:pt x="3495" y="879"/>
                    </a:lnTo>
                    <a:lnTo>
                      <a:pt x="3500" y="877"/>
                    </a:lnTo>
                    <a:lnTo>
                      <a:pt x="3504" y="875"/>
                    </a:lnTo>
                    <a:lnTo>
                      <a:pt x="3509" y="871"/>
                    </a:lnTo>
                    <a:lnTo>
                      <a:pt x="3512" y="868"/>
                    </a:lnTo>
                    <a:lnTo>
                      <a:pt x="3515" y="864"/>
                    </a:lnTo>
                    <a:lnTo>
                      <a:pt x="3519" y="861"/>
                    </a:lnTo>
                    <a:lnTo>
                      <a:pt x="3523" y="859"/>
                    </a:lnTo>
                    <a:lnTo>
                      <a:pt x="3528" y="858"/>
                    </a:lnTo>
                    <a:lnTo>
                      <a:pt x="3532" y="859"/>
                    </a:lnTo>
                    <a:lnTo>
                      <a:pt x="3536" y="861"/>
                    </a:lnTo>
                    <a:lnTo>
                      <a:pt x="3541" y="863"/>
                    </a:lnTo>
                    <a:lnTo>
                      <a:pt x="3544" y="865"/>
                    </a:lnTo>
                    <a:lnTo>
                      <a:pt x="3548" y="868"/>
                    </a:lnTo>
                    <a:lnTo>
                      <a:pt x="3551" y="870"/>
                    </a:lnTo>
                    <a:lnTo>
                      <a:pt x="3555" y="872"/>
                    </a:lnTo>
                    <a:lnTo>
                      <a:pt x="3560" y="872"/>
                    </a:lnTo>
                    <a:lnTo>
                      <a:pt x="3584" y="872"/>
                    </a:lnTo>
                    <a:lnTo>
                      <a:pt x="3591" y="873"/>
                    </a:lnTo>
                    <a:lnTo>
                      <a:pt x="3598" y="874"/>
                    </a:lnTo>
                    <a:lnTo>
                      <a:pt x="3613" y="870"/>
                    </a:lnTo>
                    <a:lnTo>
                      <a:pt x="3627" y="866"/>
                    </a:lnTo>
                    <a:lnTo>
                      <a:pt x="3632" y="867"/>
                    </a:lnTo>
                    <a:lnTo>
                      <a:pt x="3637" y="868"/>
                    </a:lnTo>
                    <a:lnTo>
                      <a:pt x="3642" y="870"/>
                    </a:lnTo>
                    <a:lnTo>
                      <a:pt x="3646" y="872"/>
                    </a:lnTo>
                    <a:lnTo>
                      <a:pt x="3654" y="878"/>
                    </a:lnTo>
                    <a:lnTo>
                      <a:pt x="3660" y="885"/>
                    </a:lnTo>
                    <a:lnTo>
                      <a:pt x="3667" y="892"/>
                    </a:lnTo>
                    <a:lnTo>
                      <a:pt x="3676" y="897"/>
                    </a:lnTo>
                    <a:lnTo>
                      <a:pt x="3680" y="900"/>
                    </a:lnTo>
                    <a:lnTo>
                      <a:pt x="3684" y="901"/>
                    </a:lnTo>
                    <a:lnTo>
                      <a:pt x="3689" y="902"/>
                    </a:lnTo>
                    <a:lnTo>
                      <a:pt x="3694" y="903"/>
                    </a:lnTo>
                    <a:lnTo>
                      <a:pt x="3702" y="902"/>
                    </a:lnTo>
                    <a:lnTo>
                      <a:pt x="3709" y="899"/>
                    </a:lnTo>
                    <a:lnTo>
                      <a:pt x="3715" y="896"/>
                    </a:lnTo>
                    <a:lnTo>
                      <a:pt x="3721" y="891"/>
                    </a:lnTo>
                    <a:lnTo>
                      <a:pt x="3726" y="887"/>
                    </a:lnTo>
                    <a:lnTo>
                      <a:pt x="3732" y="884"/>
                    </a:lnTo>
                    <a:lnTo>
                      <a:pt x="3740" y="880"/>
                    </a:lnTo>
                    <a:lnTo>
                      <a:pt x="3748" y="879"/>
                    </a:lnTo>
                    <a:lnTo>
                      <a:pt x="3751" y="879"/>
                    </a:lnTo>
                    <a:lnTo>
                      <a:pt x="3753" y="880"/>
                    </a:lnTo>
                    <a:lnTo>
                      <a:pt x="3756" y="881"/>
                    </a:lnTo>
                    <a:lnTo>
                      <a:pt x="3758" y="884"/>
                    </a:lnTo>
                    <a:lnTo>
                      <a:pt x="3761" y="888"/>
                    </a:lnTo>
                    <a:lnTo>
                      <a:pt x="3763" y="893"/>
                    </a:lnTo>
                    <a:lnTo>
                      <a:pt x="3766" y="906"/>
                    </a:lnTo>
                    <a:lnTo>
                      <a:pt x="3769" y="920"/>
                    </a:lnTo>
                    <a:lnTo>
                      <a:pt x="3775" y="935"/>
                    </a:lnTo>
                    <a:lnTo>
                      <a:pt x="3779" y="950"/>
                    </a:lnTo>
                    <a:lnTo>
                      <a:pt x="3781" y="957"/>
                    </a:lnTo>
                    <a:lnTo>
                      <a:pt x="3783" y="964"/>
                    </a:lnTo>
                    <a:lnTo>
                      <a:pt x="3784" y="972"/>
                    </a:lnTo>
                    <a:lnTo>
                      <a:pt x="3784" y="981"/>
                    </a:lnTo>
                    <a:lnTo>
                      <a:pt x="3783" y="984"/>
                    </a:lnTo>
                    <a:lnTo>
                      <a:pt x="3782" y="987"/>
                    </a:lnTo>
                    <a:lnTo>
                      <a:pt x="3780" y="989"/>
                    </a:lnTo>
                    <a:lnTo>
                      <a:pt x="3778" y="991"/>
                    </a:lnTo>
                    <a:lnTo>
                      <a:pt x="3772" y="993"/>
                    </a:lnTo>
                    <a:lnTo>
                      <a:pt x="3764" y="994"/>
                    </a:lnTo>
                    <a:lnTo>
                      <a:pt x="3716" y="994"/>
                    </a:lnTo>
                    <a:lnTo>
                      <a:pt x="3702" y="995"/>
                    </a:lnTo>
                    <a:lnTo>
                      <a:pt x="3689" y="996"/>
                    </a:lnTo>
                    <a:lnTo>
                      <a:pt x="3680" y="995"/>
                    </a:lnTo>
                    <a:lnTo>
                      <a:pt x="3671" y="993"/>
                    </a:lnTo>
                    <a:lnTo>
                      <a:pt x="3664" y="989"/>
                    </a:lnTo>
                    <a:lnTo>
                      <a:pt x="3656" y="982"/>
                    </a:lnTo>
                    <a:lnTo>
                      <a:pt x="3652" y="987"/>
                    </a:lnTo>
                    <a:lnTo>
                      <a:pt x="3648" y="993"/>
                    </a:lnTo>
                    <a:lnTo>
                      <a:pt x="3647" y="999"/>
                    </a:lnTo>
                    <a:lnTo>
                      <a:pt x="3646" y="1006"/>
                    </a:lnTo>
                    <a:lnTo>
                      <a:pt x="3647" y="1023"/>
                    </a:lnTo>
                    <a:lnTo>
                      <a:pt x="3650" y="1036"/>
                    </a:lnTo>
                    <a:lnTo>
                      <a:pt x="3652" y="1051"/>
                    </a:lnTo>
                    <a:lnTo>
                      <a:pt x="3653" y="1066"/>
                    </a:lnTo>
                    <a:lnTo>
                      <a:pt x="3652" y="1071"/>
                    </a:lnTo>
                    <a:lnTo>
                      <a:pt x="3651" y="1075"/>
                    </a:lnTo>
                    <a:lnTo>
                      <a:pt x="3648" y="1079"/>
                    </a:lnTo>
                    <a:lnTo>
                      <a:pt x="3645" y="1081"/>
                    </a:lnTo>
                    <a:lnTo>
                      <a:pt x="3635" y="1085"/>
                    </a:lnTo>
                    <a:lnTo>
                      <a:pt x="3626" y="1088"/>
                    </a:lnTo>
                    <a:lnTo>
                      <a:pt x="3616" y="1091"/>
                    </a:lnTo>
                    <a:lnTo>
                      <a:pt x="3608" y="1095"/>
                    </a:lnTo>
                    <a:lnTo>
                      <a:pt x="3603" y="1098"/>
                    </a:lnTo>
                    <a:lnTo>
                      <a:pt x="3601" y="1101"/>
                    </a:lnTo>
                    <a:lnTo>
                      <a:pt x="3599" y="1106"/>
                    </a:lnTo>
                    <a:lnTo>
                      <a:pt x="3598" y="1110"/>
                    </a:lnTo>
                    <a:lnTo>
                      <a:pt x="3598" y="1144"/>
                    </a:lnTo>
                    <a:lnTo>
                      <a:pt x="3597" y="1155"/>
                    </a:lnTo>
                    <a:lnTo>
                      <a:pt x="3596" y="1165"/>
                    </a:lnTo>
                    <a:lnTo>
                      <a:pt x="3594" y="1175"/>
                    </a:lnTo>
                    <a:lnTo>
                      <a:pt x="3594" y="1186"/>
                    </a:lnTo>
                    <a:lnTo>
                      <a:pt x="3595" y="1200"/>
                    </a:lnTo>
                    <a:lnTo>
                      <a:pt x="3597" y="1211"/>
                    </a:lnTo>
                    <a:lnTo>
                      <a:pt x="3599" y="1222"/>
                    </a:lnTo>
                    <a:lnTo>
                      <a:pt x="3600" y="1235"/>
                    </a:lnTo>
                    <a:lnTo>
                      <a:pt x="3571" y="1235"/>
                    </a:lnTo>
                    <a:lnTo>
                      <a:pt x="3564" y="1234"/>
                    </a:lnTo>
                    <a:lnTo>
                      <a:pt x="3558" y="1233"/>
                    </a:lnTo>
                    <a:lnTo>
                      <a:pt x="3552" y="1230"/>
                    </a:lnTo>
                    <a:lnTo>
                      <a:pt x="3546" y="1227"/>
                    </a:lnTo>
                    <a:lnTo>
                      <a:pt x="3541" y="1225"/>
                    </a:lnTo>
                    <a:lnTo>
                      <a:pt x="3534" y="1222"/>
                    </a:lnTo>
                    <a:lnTo>
                      <a:pt x="3528" y="1221"/>
                    </a:lnTo>
                    <a:lnTo>
                      <a:pt x="3520" y="1220"/>
                    </a:lnTo>
                    <a:lnTo>
                      <a:pt x="3515" y="1220"/>
                    </a:lnTo>
                    <a:lnTo>
                      <a:pt x="3510" y="1221"/>
                    </a:lnTo>
                    <a:lnTo>
                      <a:pt x="3506" y="1221"/>
                    </a:lnTo>
                    <a:lnTo>
                      <a:pt x="3505" y="1222"/>
                    </a:lnTo>
                    <a:lnTo>
                      <a:pt x="3503" y="1224"/>
                    </a:lnTo>
                    <a:lnTo>
                      <a:pt x="3503" y="1226"/>
                    </a:lnTo>
                    <a:lnTo>
                      <a:pt x="3504" y="1230"/>
                    </a:lnTo>
                    <a:lnTo>
                      <a:pt x="3506" y="1235"/>
                    </a:lnTo>
                    <a:lnTo>
                      <a:pt x="3510" y="1237"/>
                    </a:lnTo>
                    <a:lnTo>
                      <a:pt x="3514" y="1239"/>
                    </a:lnTo>
                    <a:lnTo>
                      <a:pt x="3524" y="1241"/>
                    </a:lnTo>
                    <a:lnTo>
                      <a:pt x="3534" y="1243"/>
                    </a:lnTo>
                    <a:lnTo>
                      <a:pt x="3548" y="1249"/>
                    </a:lnTo>
                    <a:lnTo>
                      <a:pt x="3562" y="1253"/>
                    </a:lnTo>
                    <a:lnTo>
                      <a:pt x="3568" y="1253"/>
                    </a:lnTo>
                    <a:lnTo>
                      <a:pt x="3575" y="1250"/>
                    </a:lnTo>
                    <a:lnTo>
                      <a:pt x="3580" y="1247"/>
                    </a:lnTo>
                    <a:lnTo>
                      <a:pt x="3585" y="1243"/>
                    </a:lnTo>
                    <a:lnTo>
                      <a:pt x="3585" y="1255"/>
                    </a:lnTo>
                    <a:lnTo>
                      <a:pt x="3585" y="1268"/>
                    </a:lnTo>
                    <a:lnTo>
                      <a:pt x="3585" y="1274"/>
                    </a:lnTo>
                    <a:lnTo>
                      <a:pt x="3586" y="1279"/>
                    </a:lnTo>
                    <a:lnTo>
                      <a:pt x="3588" y="1283"/>
                    </a:lnTo>
                    <a:lnTo>
                      <a:pt x="3590" y="1288"/>
                    </a:lnTo>
                    <a:lnTo>
                      <a:pt x="3596" y="1296"/>
                    </a:lnTo>
                    <a:lnTo>
                      <a:pt x="3604" y="1303"/>
                    </a:lnTo>
                    <a:lnTo>
                      <a:pt x="3622" y="1315"/>
                    </a:lnTo>
                    <a:lnTo>
                      <a:pt x="3642" y="1331"/>
                    </a:lnTo>
                    <a:lnTo>
                      <a:pt x="3645" y="1333"/>
                    </a:lnTo>
                    <a:lnTo>
                      <a:pt x="3648" y="1335"/>
                    </a:lnTo>
                    <a:lnTo>
                      <a:pt x="3651" y="1337"/>
                    </a:lnTo>
                    <a:lnTo>
                      <a:pt x="3652" y="1341"/>
                    </a:lnTo>
                    <a:lnTo>
                      <a:pt x="3651" y="1346"/>
                    </a:lnTo>
                    <a:lnTo>
                      <a:pt x="3649" y="1349"/>
                    </a:lnTo>
                    <a:lnTo>
                      <a:pt x="3646" y="1352"/>
                    </a:lnTo>
                    <a:lnTo>
                      <a:pt x="3641" y="1354"/>
                    </a:lnTo>
                    <a:lnTo>
                      <a:pt x="3630" y="1358"/>
                    </a:lnTo>
                    <a:lnTo>
                      <a:pt x="3620" y="1361"/>
                    </a:lnTo>
                    <a:lnTo>
                      <a:pt x="3602" y="1369"/>
                    </a:lnTo>
                    <a:lnTo>
                      <a:pt x="3586" y="1375"/>
                    </a:lnTo>
                    <a:lnTo>
                      <a:pt x="3578" y="1378"/>
                    </a:lnTo>
                    <a:lnTo>
                      <a:pt x="3568" y="1379"/>
                    </a:lnTo>
                    <a:lnTo>
                      <a:pt x="3559" y="1380"/>
                    </a:lnTo>
                    <a:lnTo>
                      <a:pt x="3549" y="1381"/>
                    </a:lnTo>
                    <a:lnTo>
                      <a:pt x="3518" y="1381"/>
                    </a:lnTo>
                    <a:lnTo>
                      <a:pt x="3505" y="1380"/>
                    </a:lnTo>
                    <a:lnTo>
                      <a:pt x="3493" y="1381"/>
                    </a:lnTo>
                    <a:lnTo>
                      <a:pt x="3488" y="1382"/>
                    </a:lnTo>
                    <a:lnTo>
                      <a:pt x="3483" y="1384"/>
                    </a:lnTo>
                    <a:lnTo>
                      <a:pt x="3479" y="1387"/>
                    </a:lnTo>
                    <a:lnTo>
                      <a:pt x="3475" y="1392"/>
                    </a:lnTo>
                    <a:lnTo>
                      <a:pt x="3466" y="1407"/>
                    </a:lnTo>
                    <a:lnTo>
                      <a:pt x="3458" y="1422"/>
                    </a:lnTo>
                    <a:lnTo>
                      <a:pt x="3453" y="1428"/>
                    </a:lnTo>
                    <a:lnTo>
                      <a:pt x="3447" y="1433"/>
                    </a:lnTo>
                    <a:lnTo>
                      <a:pt x="3439" y="1437"/>
                    </a:lnTo>
                    <a:lnTo>
                      <a:pt x="3431" y="1439"/>
                    </a:lnTo>
                    <a:lnTo>
                      <a:pt x="3422" y="1437"/>
                    </a:lnTo>
                    <a:lnTo>
                      <a:pt x="3417" y="1438"/>
                    </a:lnTo>
                    <a:lnTo>
                      <a:pt x="3412" y="1439"/>
                    </a:lnTo>
                    <a:lnTo>
                      <a:pt x="3410" y="1435"/>
                    </a:lnTo>
                    <a:lnTo>
                      <a:pt x="3409" y="1432"/>
                    </a:lnTo>
                    <a:lnTo>
                      <a:pt x="3412" y="1423"/>
                    </a:lnTo>
                    <a:lnTo>
                      <a:pt x="3415" y="1413"/>
                    </a:lnTo>
                    <a:lnTo>
                      <a:pt x="3415" y="1407"/>
                    </a:lnTo>
                    <a:lnTo>
                      <a:pt x="3413" y="1401"/>
                    </a:lnTo>
                    <a:lnTo>
                      <a:pt x="3412" y="1399"/>
                    </a:lnTo>
                    <a:lnTo>
                      <a:pt x="3410" y="1397"/>
                    </a:lnTo>
                    <a:lnTo>
                      <a:pt x="3407" y="1396"/>
                    </a:lnTo>
                    <a:lnTo>
                      <a:pt x="3404" y="1396"/>
                    </a:lnTo>
                    <a:lnTo>
                      <a:pt x="3402" y="1397"/>
                    </a:lnTo>
                    <a:lnTo>
                      <a:pt x="3399" y="1398"/>
                    </a:lnTo>
                    <a:lnTo>
                      <a:pt x="3398" y="1411"/>
                    </a:lnTo>
                    <a:lnTo>
                      <a:pt x="3398" y="1425"/>
                    </a:lnTo>
                    <a:lnTo>
                      <a:pt x="3397" y="1431"/>
                    </a:lnTo>
                    <a:lnTo>
                      <a:pt x="3395" y="1436"/>
                    </a:lnTo>
                    <a:lnTo>
                      <a:pt x="3394" y="1438"/>
                    </a:lnTo>
                    <a:lnTo>
                      <a:pt x="3392" y="1439"/>
                    </a:lnTo>
                    <a:lnTo>
                      <a:pt x="3390" y="1440"/>
                    </a:lnTo>
                    <a:lnTo>
                      <a:pt x="3387" y="1440"/>
                    </a:lnTo>
                    <a:lnTo>
                      <a:pt x="3382" y="1438"/>
                    </a:lnTo>
                    <a:lnTo>
                      <a:pt x="3378" y="1435"/>
                    </a:lnTo>
                    <a:lnTo>
                      <a:pt x="3373" y="1437"/>
                    </a:lnTo>
                    <a:lnTo>
                      <a:pt x="3370" y="1438"/>
                    </a:lnTo>
                    <a:lnTo>
                      <a:pt x="3367" y="1437"/>
                    </a:lnTo>
                    <a:lnTo>
                      <a:pt x="3365" y="1436"/>
                    </a:lnTo>
                    <a:lnTo>
                      <a:pt x="3363" y="1435"/>
                    </a:lnTo>
                    <a:lnTo>
                      <a:pt x="3361" y="1433"/>
                    </a:lnTo>
                    <a:lnTo>
                      <a:pt x="3359" y="1427"/>
                    </a:lnTo>
                    <a:lnTo>
                      <a:pt x="3358" y="1422"/>
                    </a:lnTo>
                    <a:lnTo>
                      <a:pt x="3359" y="1418"/>
                    </a:lnTo>
                    <a:lnTo>
                      <a:pt x="3359" y="1415"/>
                    </a:lnTo>
                    <a:lnTo>
                      <a:pt x="3361" y="1413"/>
                    </a:lnTo>
                    <a:lnTo>
                      <a:pt x="3363" y="1410"/>
                    </a:lnTo>
                    <a:lnTo>
                      <a:pt x="3367" y="1407"/>
                    </a:lnTo>
                    <a:lnTo>
                      <a:pt x="3372" y="1404"/>
                    </a:lnTo>
                    <a:lnTo>
                      <a:pt x="3378" y="1400"/>
                    </a:lnTo>
                    <a:lnTo>
                      <a:pt x="3382" y="1397"/>
                    </a:lnTo>
                    <a:lnTo>
                      <a:pt x="3384" y="1394"/>
                    </a:lnTo>
                    <a:lnTo>
                      <a:pt x="3386" y="1392"/>
                    </a:lnTo>
                    <a:lnTo>
                      <a:pt x="3386" y="1388"/>
                    </a:lnTo>
                    <a:lnTo>
                      <a:pt x="3387" y="1385"/>
                    </a:lnTo>
                    <a:lnTo>
                      <a:pt x="3386" y="1383"/>
                    </a:lnTo>
                    <a:lnTo>
                      <a:pt x="3385" y="1381"/>
                    </a:lnTo>
                    <a:lnTo>
                      <a:pt x="3384" y="1379"/>
                    </a:lnTo>
                    <a:lnTo>
                      <a:pt x="3382" y="1378"/>
                    </a:lnTo>
                    <a:lnTo>
                      <a:pt x="3377" y="1377"/>
                    </a:lnTo>
                    <a:lnTo>
                      <a:pt x="3370" y="1376"/>
                    </a:lnTo>
                    <a:lnTo>
                      <a:pt x="3364" y="1377"/>
                    </a:lnTo>
                    <a:lnTo>
                      <a:pt x="3358" y="1379"/>
                    </a:lnTo>
                    <a:lnTo>
                      <a:pt x="3354" y="1378"/>
                    </a:lnTo>
                    <a:lnTo>
                      <a:pt x="3351" y="1377"/>
                    </a:lnTo>
                    <a:lnTo>
                      <a:pt x="3347" y="1375"/>
                    </a:lnTo>
                    <a:lnTo>
                      <a:pt x="3344" y="1372"/>
                    </a:lnTo>
                    <a:lnTo>
                      <a:pt x="3341" y="1369"/>
                    </a:lnTo>
                    <a:lnTo>
                      <a:pt x="3339" y="1365"/>
                    </a:lnTo>
                    <a:lnTo>
                      <a:pt x="3338" y="1361"/>
                    </a:lnTo>
                    <a:lnTo>
                      <a:pt x="3338" y="1356"/>
                    </a:lnTo>
                    <a:lnTo>
                      <a:pt x="3338" y="1350"/>
                    </a:lnTo>
                    <a:lnTo>
                      <a:pt x="3340" y="1345"/>
                    </a:lnTo>
                    <a:lnTo>
                      <a:pt x="3343" y="1341"/>
                    </a:lnTo>
                    <a:lnTo>
                      <a:pt x="3345" y="1336"/>
                    </a:lnTo>
                    <a:lnTo>
                      <a:pt x="3351" y="1328"/>
                    </a:lnTo>
                    <a:lnTo>
                      <a:pt x="3356" y="1317"/>
                    </a:lnTo>
                    <a:lnTo>
                      <a:pt x="3347" y="1315"/>
                    </a:lnTo>
                    <a:lnTo>
                      <a:pt x="3338" y="1313"/>
                    </a:lnTo>
                    <a:lnTo>
                      <a:pt x="3331" y="1312"/>
                    </a:lnTo>
                    <a:lnTo>
                      <a:pt x="3322" y="1311"/>
                    </a:lnTo>
                    <a:lnTo>
                      <a:pt x="3313" y="1311"/>
                    </a:lnTo>
                    <a:lnTo>
                      <a:pt x="3313" y="1323"/>
                    </a:lnTo>
                    <a:lnTo>
                      <a:pt x="3313" y="1334"/>
                    </a:lnTo>
                    <a:lnTo>
                      <a:pt x="3313" y="1343"/>
                    </a:lnTo>
                    <a:lnTo>
                      <a:pt x="3313" y="1355"/>
                    </a:lnTo>
                    <a:lnTo>
                      <a:pt x="3313" y="1365"/>
                    </a:lnTo>
                    <a:lnTo>
                      <a:pt x="3315" y="1374"/>
                    </a:lnTo>
                    <a:lnTo>
                      <a:pt x="3316" y="1382"/>
                    </a:lnTo>
                    <a:lnTo>
                      <a:pt x="3319" y="1391"/>
                    </a:lnTo>
                    <a:lnTo>
                      <a:pt x="3326" y="1406"/>
                    </a:lnTo>
                    <a:lnTo>
                      <a:pt x="3334" y="1423"/>
                    </a:lnTo>
                    <a:lnTo>
                      <a:pt x="3328" y="1418"/>
                    </a:lnTo>
                    <a:lnTo>
                      <a:pt x="3322" y="1415"/>
                    </a:lnTo>
                    <a:lnTo>
                      <a:pt x="3316" y="1412"/>
                    </a:lnTo>
                    <a:lnTo>
                      <a:pt x="3308" y="1409"/>
                    </a:lnTo>
                    <a:lnTo>
                      <a:pt x="3301" y="1410"/>
                    </a:lnTo>
                    <a:lnTo>
                      <a:pt x="3294" y="1410"/>
                    </a:lnTo>
                    <a:lnTo>
                      <a:pt x="3287" y="1412"/>
                    </a:lnTo>
                    <a:lnTo>
                      <a:pt x="3280" y="1414"/>
                    </a:lnTo>
                    <a:lnTo>
                      <a:pt x="3272" y="1416"/>
                    </a:lnTo>
                    <a:lnTo>
                      <a:pt x="3266" y="1419"/>
                    </a:lnTo>
                    <a:lnTo>
                      <a:pt x="3260" y="1424"/>
                    </a:lnTo>
                    <a:lnTo>
                      <a:pt x="3254" y="1428"/>
                    </a:lnTo>
                    <a:lnTo>
                      <a:pt x="3249" y="1432"/>
                    </a:lnTo>
                    <a:lnTo>
                      <a:pt x="3245" y="1437"/>
                    </a:lnTo>
                    <a:lnTo>
                      <a:pt x="3240" y="1442"/>
                    </a:lnTo>
                    <a:lnTo>
                      <a:pt x="3236" y="1448"/>
                    </a:lnTo>
                    <a:lnTo>
                      <a:pt x="3233" y="1455"/>
                    </a:lnTo>
                    <a:lnTo>
                      <a:pt x="3231" y="1461"/>
                    </a:lnTo>
                    <a:lnTo>
                      <a:pt x="3230" y="1468"/>
                    </a:lnTo>
                    <a:lnTo>
                      <a:pt x="3230" y="1475"/>
                    </a:lnTo>
                    <a:lnTo>
                      <a:pt x="3217" y="1475"/>
                    </a:lnTo>
                    <a:lnTo>
                      <a:pt x="3203" y="1475"/>
                    </a:lnTo>
                    <a:lnTo>
                      <a:pt x="3191" y="1474"/>
                    </a:lnTo>
                    <a:lnTo>
                      <a:pt x="3185" y="1473"/>
                    </a:lnTo>
                    <a:lnTo>
                      <a:pt x="3180" y="1470"/>
                    </a:lnTo>
                    <a:lnTo>
                      <a:pt x="3175" y="1466"/>
                    </a:lnTo>
                    <a:lnTo>
                      <a:pt x="3171" y="1462"/>
                    </a:lnTo>
                    <a:lnTo>
                      <a:pt x="3167" y="1453"/>
                    </a:lnTo>
                    <a:lnTo>
                      <a:pt x="3166" y="1443"/>
                    </a:lnTo>
                    <a:lnTo>
                      <a:pt x="3165" y="1439"/>
                    </a:lnTo>
                    <a:lnTo>
                      <a:pt x="3163" y="1436"/>
                    </a:lnTo>
                    <a:lnTo>
                      <a:pt x="3161" y="1434"/>
                    </a:lnTo>
                    <a:lnTo>
                      <a:pt x="3157" y="1433"/>
                    </a:lnTo>
                    <a:lnTo>
                      <a:pt x="3150" y="1434"/>
                    </a:lnTo>
                    <a:lnTo>
                      <a:pt x="3142" y="1437"/>
                    </a:lnTo>
                    <a:lnTo>
                      <a:pt x="3137" y="1440"/>
                    </a:lnTo>
                    <a:lnTo>
                      <a:pt x="3132" y="1446"/>
                    </a:lnTo>
                    <a:lnTo>
                      <a:pt x="3129" y="1453"/>
                    </a:lnTo>
                    <a:lnTo>
                      <a:pt x="3126" y="1459"/>
                    </a:lnTo>
                    <a:lnTo>
                      <a:pt x="3124" y="1467"/>
                    </a:lnTo>
                    <a:lnTo>
                      <a:pt x="3124" y="1474"/>
                    </a:lnTo>
                    <a:lnTo>
                      <a:pt x="3124" y="1479"/>
                    </a:lnTo>
                    <a:lnTo>
                      <a:pt x="3126" y="1483"/>
                    </a:lnTo>
                    <a:lnTo>
                      <a:pt x="3129" y="1488"/>
                    </a:lnTo>
                    <a:lnTo>
                      <a:pt x="3132" y="1492"/>
                    </a:lnTo>
                    <a:lnTo>
                      <a:pt x="3121" y="1492"/>
                    </a:lnTo>
                    <a:lnTo>
                      <a:pt x="3110" y="1492"/>
                    </a:lnTo>
                    <a:lnTo>
                      <a:pt x="3101" y="1492"/>
                    </a:lnTo>
                    <a:lnTo>
                      <a:pt x="3090" y="1492"/>
                    </a:lnTo>
                    <a:lnTo>
                      <a:pt x="3086" y="1490"/>
                    </a:lnTo>
                    <a:lnTo>
                      <a:pt x="3082" y="1488"/>
                    </a:lnTo>
                    <a:lnTo>
                      <a:pt x="3080" y="1485"/>
                    </a:lnTo>
                    <a:lnTo>
                      <a:pt x="3076" y="1482"/>
                    </a:lnTo>
                    <a:lnTo>
                      <a:pt x="3072" y="1475"/>
                    </a:lnTo>
                    <a:lnTo>
                      <a:pt x="3070" y="1468"/>
                    </a:lnTo>
                    <a:lnTo>
                      <a:pt x="3067" y="1460"/>
                    </a:lnTo>
                    <a:lnTo>
                      <a:pt x="3064" y="1451"/>
                    </a:lnTo>
                    <a:lnTo>
                      <a:pt x="3061" y="1444"/>
                    </a:lnTo>
                    <a:lnTo>
                      <a:pt x="3056" y="1437"/>
                    </a:lnTo>
                    <a:lnTo>
                      <a:pt x="3046" y="1426"/>
                    </a:lnTo>
                    <a:lnTo>
                      <a:pt x="3035" y="1415"/>
                    </a:lnTo>
                    <a:lnTo>
                      <a:pt x="3026" y="1406"/>
                    </a:lnTo>
                    <a:lnTo>
                      <a:pt x="3016" y="1399"/>
                    </a:lnTo>
                    <a:lnTo>
                      <a:pt x="2995" y="1383"/>
                    </a:lnTo>
                    <a:lnTo>
                      <a:pt x="2970" y="1367"/>
                    </a:lnTo>
                    <a:lnTo>
                      <a:pt x="2952" y="1355"/>
                    </a:lnTo>
                    <a:lnTo>
                      <a:pt x="2933" y="1346"/>
                    </a:lnTo>
                    <a:lnTo>
                      <a:pt x="2916" y="1338"/>
                    </a:lnTo>
                    <a:lnTo>
                      <a:pt x="2898" y="1333"/>
                    </a:lnTo>
                    <a:lnTo>
                      <a:pt x="2879" y="1329"/>
                    </a:lnTo>
                    <a:lnTo>
                      <a:pt x="2860" y="1327"/>
                    </a:lnTo>
                    <a:lnTo>
                      <a:pt x="2839" y="1324"/>
                    </a:lnTo>
                    <a:lnTo>
                      <a:pt x="2818" y="1324"/>
                    </a:lnTo>
                    <a:lnTo>
                      <a:pt x="2811" y="1324"/>
                    </a:lnTo>
                    <a:lnTo>
                      <a:pt x="2806" y="1325"/>
                    </a:lnTo>
                    <a:lnTo>
                      <a:pt x="2801" y="1327"/>
                    </a:lnTo>
                    <a:lnTo>
                      <a:pt x="2797" y="1329"/>
                    </a:lnTo>
                    <a:lnTo>
                      <a:pt x="2789" y="1334"/>
                    </a:lnTo>
                    <a:lnTo>
                      <a:pt x="2780" y="1340"/>
                    </a:lnTo>
                    <a:lnTo>
                      <a:pt x="2767" y="1355"/>
                    </a:lnTo>
                    <a:lnTo>
                      <a:pt x="2753" y="1373"/>
                    </a:lnTo>
                    <a:lnTo>
                      <a:pt x="2742" y="1383"/>
                    </a:lnTo>
                    <a:lnTo>
                      <a:pt x="2733" y="1392"/>
                    </a:lnTo>
                    <a:lnTo>
                      <a:pt x="2724" y="1401"/>
                    </a:lnTo>
                    <a:lnTo>
                      <a:pt x="2713" y="1410"/>
                    </a:lnTo>
                    <a:lnTo>
                      <a:pt x="2706" y="1417"/>
                    </a:lnTo>
                    <a:lnTo>
                      <a:pt x="2699" y="1424"/>
                    </a:lnTo>
                    <a:lnTo>
                      <a:pt x="2696" y="1427"/>
                    </a:lnTo>
                    <a:lnTo>
                      <a:pt x="2694" y="1431"/>
                    </a:lnTo>
                    <a:lnTo>
                      <a:pt x="2693" y="1435"/>
                    </a:lnTo>
                    <a:lnTo>
                      <a:pt x="2693" y="1440"/>
                    </a:lnTo>
                    <a:lnTo>
                      <a:pt x="2692" y="1454"/>
                    </a:lnTo>
                    <a:lnTo>
                      <a:pt x="2693" y="1466"/>
                    </a:lnTo>
                    <a:lnTo>
                      <a:pt x="2694" y="1472"/>
                    </a:lnTo>
                    <a:lnTo>
                      <a:pt x="2696" y="1477"/>
                    </a:lnTo>
                    <a:lnTo>
                      <a:pt x="2699" y="1482"/>
                    </a:lnTo>
                    <a:lnTo>
                      <a:pt x="2703" y="1488"/>
                    </a:lnTo>
                    <a:lnTo>
                      <a:pt x="2711" y="1492"/>
                    </a:lnTo>
                    <a:lnTo>
                      <a:pt x="2720" y="1496"/>
                    </a:lnTo>
                    <a:lnTo>
                      <a:pt x="2711" y="1503"/>
                    </a:lnTo>
                    <a:lnTo>
                      <a:pt x="2703" y="1509"/>
                    </a:lnTo>
                    <a:lnTo>
                      <a:pt x="2698" y="1512"/>
                    </a:lnTo>
                    <a:lnTo>
                      <a:pt x="2694" y="1514"/>
                    </a:lnTo>
                    <a:lnTo>
                      <a:pt x="2689" y="1515"/>
                    </a:lnTo>
                    <a:lnTo>
                      <a:pt x="2683" y="1517"/>
                    </a:lnTo>
                    <a:lnTo>
                      <a:pt x="2671" y="1519"/>
                    </a:lnTo>
                    <a:lnTo>
                      <a:pt x="2660" y="1522"/>
                    </a:lnTo>
                    <a:lnTo>
                      <a:pt x="2656" y="1524"/>
                    </a:lnTo>
                    <a:lnTo>
                      <a:pt x="2652" y="1528"/>
                    </a:lnTo>
                    <a:lnTo>
                      <a:pt x="2650" y="1532"/>
                    </a:lnTo>
                    <a:lnTo>
                      <a:pt x="2647" y="1537"/>
                    </a:lnTo>
                    <a:lnTo>
                      <a:pt x="2651" y="1553"/>
                    </a:lnTo>
                    <a:lnTo>
                      <a:pt x="2652" y="1561"/>
                    </a:lnTo>
                    <a:lnTo>
                      <a:pt x="2652" y="1563"/>
                    </a:lnTo>
                    <a:lnTo>
                      <a:pt x="2651" y="1564"/>
                    </a:lnTo>
                    <a:lnTo>
                      <a:pt x="2650" y="1563"/>
                    </a:lnTo>
                    <a:lnTo>
                      <a:pt x="2648" y="1561"/>
                    </a:lnTo>
                    <a:lnTo>
                      <a:pt x="2644" y="1557"/>
                    </a:lnTo>
                    <a:lnTo>
                      <a:pt x="2638" y="1551"/>
                    </a:lnTo>
                    <a:lnTo>
                      <a:pt x="2634" y="1549"/>
                    </a:lnTo>
                    <a:lnTo>
                      <a:pt x="2629" y="1545"/>
                    </a:lnTo>
                    <a:lnTo>
                      <a:pt x="2624" y="1544"/>
                    </a:lnTo>
                    <a:lnTo>
                      <a:pt x="2618" y="1544"/>
                    </a:lnTo>
                    <a:lnTo>
                      <a:pt x="2612" y="1544"/>
                    </a:lnTo>
                    <a:lnTo>
                      <a:pt x="2607" y="1545"/>
                    </a:lnTo>
                    <a:lnTo>
                      <a:pt x="2603" y="1548"/>
                    </a:lnTo>
                    <a:lnTo>
                      <a:pt x="2599" y="1551"/>
                    </a:lnTo>
                    <a:lnTo>
                      <a:pt x="2590" y="1556"/>
                    </a:lnTo>
                    <a:lnTo>
                      <a:pt x="2580" y="1562"/>
                    </a:lnTo>
                    <a:lnTo>
                      <a:pt x="2572" y="1564"/>
                    </a:lnTo>
                    <a:lnTo>
                      <a:pt x="2564" y="1566"/>
                    </a:lnTo>
                    <a:lnTo>
                      <a:pt x="2561" y="1567"/>
                    </a:lnTo>
                    <a:lnTo>
                      <a:pt x="2558" y="1569"/>
                    </a:lnTo>
                    <a:lnTo>
                      <a:pt x="2555" y="1571"/>
                    </a:lnTo>
                    <a:lnTo>
                      <a:pt x="2552" y="1574"/>
                    </a:lnTo>
                    <a:lnTo>
                      <a:pt x="2549" y="1584"/>
                    </a:lnTo>
                    <a:lnTo>
                      <a:pt x="2548" y="1593"/>
                    </a:lnTo>
                    <a:lnTo>
                      <a:pt x="2547" y="1597"/>
                    </a:lnTo>
                    <a:lnTo>
                      <a:pt x="2546" y="1601"/>
                    </a:lnTo>
                    <a:lnTo>
                      <a:pt x="2544" y="1605"/>
                    </a:lnTo>
                    <a:lnTo>
                      <a:pt x="2541" y="1608"/>
                    </a:lnTo>
                    <a:lnTo>
                      <a:pt x="2534" y="1614"/>
                    </a:lnTo>
                    <a:lnTo>
                      <a:pt x="2527" y="1617"/>
                    </a:lnTo>
                    <a:lnTo>
                      <a:pt x="2520" y="1619"/>
                    </a:lnTo>
                    <a:lnTo>
                      <a:pt x="2511" y="1620"/>
                    </a:lnTo>
                    <a:lnTo>
                      <a:pt x="2504" y="1622"/>
                    </a:lnTo>
                    <a:lnTo>
                      <a:pt x="2496" y="1623"/>
                    </a:lnTo>
                    <a:lnTo>
                      <a:pt x="2489" y="1625"/>
                    </a:lnTo>
                    <a:lnTo>
                      <a:pt x="2480" y="1629"/>
                    </a:lnTo>
                    <a:lnTo>
                      <a:pt x="2476" y="1631"/>
                    </a:lnTo>
                    <a:lnTo>
                      <a:pt x="2472" y="1634"/>
                    </a:lnTo>
                    <a:lnTo>
                      <a:pt x="2469" y="1637"/>
                    </a:lnTo>
                    <a:lnTo>
                      <a:pt x="2467" y="1641"/>
                    </a:lnTo>
                    <a:lnTo>
                      <a:pt x="2463" y="1649"/>
                    </a:lnTo>
                    <a:lnTo>
                      <a:pt x="2460" y="1657"/>
                    </a:lnTo>
                    <a:lnTo>
                      <a:pt x="2456" y="1675"/>
                    </a:lnTo>
                    <a:lnTo>
                      <a:pt x="2450" y="1694"/>
                    </a:lnTo>
                    <a:lnTo>
                      <a:pt x="2444" y="1711"/>
                    </a:lnTo>
                    <a:lnTo>
                      <a:pt x="2438" y="1725"/>
                    </a:lnTo>
                    <a:lnTo>
                      <a:pt x="2431" y="1739"/>
                    </a:lnTo>
                    <a:lnTo>
                      <a:pt x="2424" y="1755"/>
                    </a:lnTo>
                    <a:lnTo>
                      <a:pt x="2419" y="1768"/>
                    </a:lnTo>
                    <a:lnTo>
                      <a:pt x="2412" y="1780"/>
                    </a:lnTo>
                    <a:lnTo>
                      <a:pt x="2409" y="1785"/>
                    </a:lnTo>
                    <a:lnTo>
                      <a:pt x="2404" y="1788"/>
                    </a:lnTo>
                    <a:lnTo>
                      <a:pt x="2399" y="1791"/>
                    </a:lnTo>
                    <a:lnTo>
                      <a:pt x="2393" y="1792"/>
                    </a:lnTo>
                    <a:lnTo>
                      <a:pt x="2383" y="1791"/>
                    </a:lnTo>
                    <a:lnTo>
                      <a:pt x="2376" y="1788"/>
                    </a:lnTo>
                    <a:lnTo>
                      <a:pt x="2369" y="1784"/>
                    </a:lnTo>
                    <a:lnTo>
                      <a:pt x="2363" y="1779"/>
                    </a:lnTo>
                    <a:lnTo>
                      <a:pt x="2351" y="1765"/>
                    </a:lnTo>
                    <a:lnTo>
                      <a:pt x="2340" y="1751"/>
                    </a:lnTo>
                    <a:lnTo>
                      <a:pt x="2335" y="1742"/>
                    </a:lnTo>
                    <a:lnTo>
                      <a:pt x="2330" y="1732"/>
                    </a:lnTo>
                    <a:lnTo>
                      <a:pt x="2328" y="1729"/>
                    </a:lnTo>
                    <a:lnTo>
                      <a:pt x="2325" y="1726"/>
                    </a:lnTo>
                    <a:lnTo>
                      <a:pt x="2321" y="1724"/>
                    </a:lnTo>
                    <a:lnTo>
                      <a:pt x="2316" y="1723"/>
                    </a:lnTo>
                    <a:lnTo>
                      <a:pt x="2300" y="1724"/>
                    </a:lnTo>
                    <a:lnTo>
                      <a:pt x="2285" y="1726"/>
                    </a:lnTo>
                    <a:lnTo>
                      <a:pt x="2279" y="1728"/>
                    </a:lnTo>
                    <a:lnTo>
                      <a:pt x="2272" y="1731"/>
                    </a:lnTo>
                    <a:lnTo>
                      <a:pt x="2266" y="1735"/>
                    </a:lnTo>
                    <a:lnTo>
                      <a:pt x="2260" y="1741"/>
                    </a:lnTo>
                    <a:lnTo>
                      <a:pt x="2257" y="1745"/>
                    </a:lnTo>
                    <a:lnTo>
                      <a:pt x="2255" y="1749"/>
                    </a:lnTo>
                    <a:lnTo>
                      <a:pt x="2254" y="1754"/>
                    </a:lnTo>
                    <a:lnTo>
                      <a:pt x="2251" y="1758"/>
                    </a:lnTo>
                    <a:lnTo>
                      <a:pt x="2250" y="1762"/>
                    </a:lnTo>
                    <a:lnTo>
                      <a:pt x="2248" y="1766"/>
                    </a:lnTo>
                    <a:lnTo>
                      <a:pt x="2245" y="1768"/>
                    </a:lnTo>
                    <a:lnTo>
                      <a:pt x="2241" y="1770"/>
                    </a:lnTo>
                    <a:lnTo>
                      <a:pt x="2234" y="1768"/>
                    </a:lnTo>
                    <a:lnTo>
                      <a:pt x="2228" y="1766"/>
                    </a:lnTo>
                    <a:lnTo>
                      <a:pt x="2222" y="1763"/>
                    </a:lnTo>
                    <a:lnTo>
                      <a:pt x="2216" y="1760"/>
                    </a:lnTo>
                    <a:lnTo>
                      <a:pt x="2211" y="1757"/>
                    </a:lnTo>
                    <a:lnTo>
                      <a:pt x="2206" y="1754"/>
                    </a:lnTo>
                    <a:lnTo>
                      <a:pt x="2200" y="1752"/>
                    </a:lnTo>
                    <a:lnTo>
                      <a:pt x="2193" y="1752"/>
                    </a:lnTo>
                    <a:lnTo>
                      <a:pt x="2179" y="1764"/>
                    </a:lnTo>
                    <a:lnTo>
                      <a:pt x="2167" y="1777"/>
                    </a:lnTo>
                    <a:lnTo>
                      <a:pt x="2157" y="1776"/>
                    </a:lnTo>
                    <a:lnTo>
                      <a:pt x="2147" y="1774"/>
                    </a:lnTo>
                    <a:lnTo>
                      <a:pt x="2138" y="1772"/>
                    </a:lnTo>
                    <a:lnTo>
                      <a:pt x="2128" y="1770"/>
                    </a:lnTo>
                    <a:lnTo>
                      <a:pt x="2108" y="1773"/>
                    </a:lnTo>
                    <a:lnTo>
                      <a:pt x="2091" y="1776"/>
                    </a:lnTo>
                    <a:lnTo>
                      <a:pt x="2083" y="1778"/>
                    </a:lnTo>
                    <a:lnTo>
                      <a:pt x="2075" y="1781"/>
                    </a:lnTo>
                    <a:lnTo>
                      <a:pt x="2067" y="1785"/>
                    </a:lnTo>
                    <a:lnTo>
                      <a:pt x="2059" y="1790"/>
                    </a:lnTo>
                    <a:lnTo>
                      <a:pt x="2053" y="1794"/>
                    </a:lnTo>
                    <a:lnTo>
                      <a:pt x="2050" y="1798"/>
                    </a:lnTo>
                    <a:lnTo>
                      <a:pt x="2047" y="1803"/>
                    </a:lnTo>
                    <a:lnTo>
                      <a:pt x="2044" y="1807"/>
                    </a:lnTo>
                    <a:lnTo>
                      <a:pt x="2042" y="1812"/>
                    </a:lnTo>
                    <a:lnTo>
                      <a:pt x="2039" y="1816"/>
                    </a:lnTo>
                    <a:lnTo>
                      <a:pt x="2036" y="1820"/>
                    </a:lnTo>
                    <a:lnTo>
                      <a:pt x="2031" y="1823"/>
                    </a:lnTo>
                    <a:lnTo>
                      <a:pt x="2025" y="1827"/>
                    </a:lnTo>
                    <a:lnTo>
                      <a:pt x="2018" y="1830"/>
                    </a:lnTo>
                    <a:lnTo>
                      <a:pt x="2013" y="1833"/>
                    </a:lnTo>
                    <a:lnTo>
                      <a:pt x="2007" y="1834"/>
                    </a:lnTo>
                    <a:lnTo>
                      <a:pt x="1994" y="1837"/>
                    </a:lnTo>
                    <a:lnTo>
                      <a:pt x="1980" y="1840"/>
                    </a:lnTo>
                    <a:lnTo>
                      <a:pt x="1961" y="1847"/>
                    </a:lnTo>
                    <a:lnTo>
                      <a:pt x="1943" y="1853"/>
                    </a:lnTo>
                    <a:lnTo>
                      <a:pt x="1925" y="1858"/>
                    </a:lnTo>
                    <a:lnTo>
                      <a:pt x="1905" y="1865"/>
                    </a:lnTo>
                    <a:lnTo>
                      <a:pt x="1896" y="1870"/>
                    </a:lnTo>
                    <a:lnTo>
                      <a:pt x="1888" y="1875"/>
                    </a:lnTo>
                    <a:lnTo>
                      <a:pt x="1880" y="1881"/>
                    </a:lnTo>
                    <a:lnTo>
                      <a:pt x="1872" y="1887"/>
                    </a:lnTo>
                    <a:lnTo>
                      <a:pt x="1854" y="1898"/>
                    </a:lnTo>
                    <a:lnTo>
                      <a:pt x="1840" y="1909"/>
                    </a:lnTo>
                    <a:lnTo>
                      <a:pt x="1827" y="1921"/>
                    </a:lnTo>
                    <a:lnTo>
                      <a:pt x="1815" y="1934"/>
                    </a:lnTo>
                    <a:lnTo>
                      <a:pt x="1806" y="1948"/>
                    </a:lnTo>
                    <a:lnTo>
                      <a:pt x="1797" y="1964"/>
                    </a:lnTo>
                    <a:lnTo>
                      <a:pt x="1788" y="1981"/>
                    </a:lnTo>
                    <a:lnTo>
                      <a:pt x="1781" y="2000"/>
                    </a:lnTo>
                    <a:lnTo>
                      <a:pt x="1774" y="2020"/>
                    </a:lnTo>
                    <a:lnTo>
                      <a:pt x="1769" y="2039"/>
                    </a:lnTo>
                    <a:lnTo>
                      <a:pt x="1766" y="2048"/>
                    </a:lnTo>
                    <a:lnTo>
                      <a:pt x="1763" y="2058"/>
                    </a:lnTo>
                    <a:lnTo>
                      <a:pt x="1759" y="2067"/>
                    </a:lnTo>
                    <a:lnTo>
                      <a:pt x="1753" y="2077"/>
                    </a:lnTo>
                    <a:lnTo>
                      <a:pt x="1744" y="2096"/>
                    </a:lnTo>
                    <a:lnTo>
                      <a:pt x="1737" y="2113"/>
                    </a:lnTo>
                    <a:lnTo>
                      <a:pt x="1732" y="2121"/>
                    </a:lnTo>
                    <a:lnTo>
                      <a:pt x="1728" y="2129"/>
                    </a:lnTo>
                    <a:lnTo>
                      <a:pt x="1720" y="2136"/>
                    </a:lnTo>
                    <a:lnTo>
                      <a:pt x="1713" y="2142"/>
                    </a:lnTo>
                    <a:lnTo>
                      <a:pt x="1707" y="2145"/>
                    </a:lnTo>
                    <a:lnTo>
                      <a:pt x="1701" y="2147"/>
                    </a:lnTo>
                    <a:lnTo>
                      <a:pt x="1694" y="2149"/>
                    </a:lnTo>
                    <a:lnTo>
                      <a:pt x="1687" y="2150"/>
                    </a:lnTo>
                    <a:lnTo>
                      <a:pt x="1681" y="2151"/>
                    </a:lnTo>
                    <a:lnTo>
                      <a:pt x="1676" y="2153"/>
                    </a:lnTo>
                    <a:lnTo>
                      <a:pt x="1674" y="2154"/>
                    </a:lnTo>
                    <a:lnTo>
                      <a:pt x="1673" y="2156"/>
                    </a:lnTo>
                    <a:lnTo>
                      <a:pt x="1671" y="2158"/>
                    </a:lnTo>
                    <a:lnTo>
                      <a:pt x="1671" y="2161"/>
                    </a:lnTo>
                    <a:lnTo>
                      <a:pt x="1669" y="2169"/>
                    </a:lnTo>
                    <a:lnTo>
                      <a:pt x="1667" y="2176"/>
                    </a:lnTo>
                    <a:lnTo>
                      <a:pt x="1664" y="2184"/>
                    </a:lnTo>
                    <a:lnTo>
                      <a:pt x="1661" y="2191"/>
                    </a:lnTo>
                    <a:lnTo>
                      <a:pt x="1656" y="2196"/>
                    </a:lnTo>
                    <a:lnTo>
                      <a:pt x="1651" y="2201"/>
                    </a:lnTo>
                    <a:lnTo>
                      <a:pt x="1645" y="2206"/>
                    </a:lnTo>
                    <a:lnTo>
                      <a:pt x="1639" y="2209"/>
                    </a:lnTo>
                    <a:lnTo>
                      <a:pt x="1621" y="2215"/>
                    </a:lnTo>
                    <a:lnTo>
                      <a:pt x="1606" y="2218"/>
                    </a:lnTo>
                    <a:lnTo>
                      <a:pt x="1599" y="2220"/>
                    </a:lnTo>
                    <a:lnTo>
                      <a:pt x="1592" y="2224"/>
                    </a:lnTo>
                    <a:lnTo>
                      <a:pt x="1589" y="2226"/>
                    </a:lnTo>
                    <a:lnTo>
                      <a:pt x="1587" y="2228"/>
                    </a:lnTo>
                    <a:lnTo>
                      <a:pt x="1585" y="2232"/>
                    </a:lnTo>
                    <a:lnTo>
                      <a:pt x="1583" y="2235"/>
                    </a:lnTo>
                    <a:lnTo>
                      <a:pt x="1579" y="2246"/>
                    </a:lnTo>
                    <a:lnTo>
                      <a:pt x="1574" y="2255"/>
                    </a:lnTo>
                    <a:lnTo>
                      <a:pt x="1569" y="2263"/>
                    </a:lnTo>
                    <a:lnTo>
                      <a:pt x="1564" y="2270"/>
                    </a:lnTo>
                    <a:lnTo>
                      <a:pt x="1557" y="2278"/>
                    </a:lnTo>
                    <a:lnTo>
                      <a:pt x="1550" y="2283"/>
                    </a:lnTo>
                    <a:lnTo>
                      <a:pt x="1543" y="2289"/>
                    </a:lnTo>
                    <a:lnTo>
                      <a:pt x="1536" y="2294"/>
                    </a:lnTo>
                    <a:lnTo>
                      <a:pt x="1502" y="2313"/>
                    </a:lnTo>
                    <a:lnTo>
                      <a:pt x="1464" y="2331"/>
                    </a:lnTo>
                    <a:lnTo>
                      <a:pt x="1440" y="2344"/>
                    </a:lnTo>
                    <a:lnTo>
                      <a:pt x="1417" y="2354"/>
                    </a:lnTo>
                    <a:lnTo>
                      <a:pt x="1407" y="2357"/>
                    </a:lnTo>
                    <a:lnTo>
                      <a:pt x="1394" y="2360"/>
                    </a:lnTo>
                    <a:lnTo>
                      <a:pt x="1382" y="2361"/>
                    </a:lnTo>
                    <a:lnTo>
                      <a:pt x="1368" y="2362"/>
                    </a:lnTo>
                    <a:lnTo>
                      <a:pt x="1356" y="2361"/>
                    </a:lnTo>
                    <a:lnTo>
                      <a:pt x="1346" y="2358"/>
                    </a:lnTo>
                    <a:lnTo>
                      <a:pt x="1336" y="2354"/>
                    </a:lnTo>
                    <a:lnTo>
                      <a:pt x="1326" y="2350"/>
                    </a:lnTo>
                    <a:lnTo>
                      <a:pt x="1317" y="2346"/>
                    </a:lnTo>
                    <a:lnTo>
                      <a:pt x="1307" y="2342"/>
                    </a:lnTo>
                    <a:lnTo>
                      <a:pt x="1297" y="2340"/>
                    </a:lnTo>
                    <a:lnTo>
                      <a:pt x="1285" y="2339"/>
                    </a:lnTo>
                    <a:lnTo>
                      <a:pt x="1275" y="2340"/>
                    </a:lnTo>
                    <a:lnTo>
                      <a:pt x="1266" y="2342"/>
                    </a:lnTo>
                    <a:lnTo>
                      <a:pt x="1257" y="2346"/>
                    </a:lnTo>
                    <a:lnTo>
                      <a:pt x="1250" y="2350"/>
                    </a:lnTo>
                    <a:lnTo>
                      <a:pt x="1242" y="2354"/>
                    </a:lnTo>
                    <a:lnTo>
                      <a:pt x="1234" y="2358"/>
                    </a:lnTo>
                    <a:lnTo>
                      <a:pt x="1225" y="2361"/>
                    </a:lnTo>
                    <a:lnTo>
                      <a:pt x="1215" y="2362"/>
                    </a:lnTo>
                    <a:lnTo>
                      <a:pt x="1200" y="2362"/>
                    </a:lnTo>
                    <a:lnTo>
                      <a:pt x="1185" y="2361"/>
                    </a:lnTo>
                    <a:lnTo>
                      <a:pt x="1172" y="2360"/>
                    </a:lnTo>
                    <a:lnTo>
                      <a:pt x="1157" y="2356"/>
                    </a:lnTo>
                    <a:lnTo>
                      <a:pt x="1149" y="2352"/>
                    </a:lnTo>
                    <a:lnTo>
                      <a:pt x="1141" y="2347"/>
                    </a:lnTo>
                    <a:lnTo>
                      <a:pt x="1135" y="2341"/>
                    </a:lnTo>
                    <a:lnTo>
                      <a:pt x="1128" y="2334"/>
                    </a:lnTo>
                    <a:lnTo>
                      <a:pt x="1121" y="2328"/>
                    </a:lnTo>
                    <a:lnTo>
                      <a:pt x="1115" y="2323"/>
                    </a:lnTo>
                    <a:lnTo>
                      <a:pt x="1107" y="2318"/>
                    </a:lnTo>
                    <a:lnTo>
                      <a:pt x="1097" y="2315"/>
                    </a:lnTo>
                    <a:lnTo>
                      <a:pt x="1088" y="2317"/>
                    </a:lnTo>
                    <a:lnTo>
                      <a:pt x="1084" y="2314"/>
                    </a:lnTo>
                    <a:lnTo>
                      <a:pt x="1080" y="2311"/>
                    </a:lnTo>
                    <a:lnTo>
                      <a:pt x="1077" y="2307"/>
                    </a:lnTo>
                    <a:lnTo>
                      <a:pt x="1076" y="2302"/>
                    </a:lnTo>
                    <a:lnTo>
                      <a:pt x="1076" y="2278"/>
                    </a:lnTo>
                    <a:lnTo>
                      <a:pt x="1076" y="2273"/>
                    </a:lnTo>
                    <a:lnTo>
                      <a:pt x="1074" y="2269"/>
                    </a:lnTo>
                    <a:lnTo>
                      <a:pt x="1071" y="2266"/>
                    </a:lnTo>
                    <a:lnTo>
                      <a:pt x="1068" y="2264"/>
                    </a:lnTo>
                    <a:lnTo>
                      <a:pt x="1060" y="2259"/>
                    </a:lnTo>
                    <a:lnTo>
                      <a:pt x="1053" y="2252"/>
                    </a:lnTo>
                    <a:lnTo>
                      <a:pt x="1048" y="2246"/>
                    </a:lnTo>
                    <a:lnTo>
                      <a:pt x="1045" y="2239"/>
                    </a:lnTo>
                    <a:lnTo>
                      <a:pt x="1043" y="2236"/>
                    </a:lnTo>
                    <a:lnTo>
                      <a:pt x="1041" y="2234"/>
                    </a:lnTo>
                    <a:lnTo>
                      <a:pt x="1038" y="2232"/>
                    </a:lnTo>
                    <a:lnTo>
                      <a:pt x="1034" y="2232"/>
                    </a:lnTo>
                    <a:lnTo>
                      <a:pt x="1021" y="2239"/>
                    </a:lnTo>
                    <a:lnTo>
                      <a:pt x="1008" y="2247"/>
                    </a:lnTo>
                    <a:lnTo>
                      <a:pt x="1001" y="2246"/>
                    </a:lnTo>
                    <a:lnTo>
                      <a:pt x="994" y="2245"/>
                    </a:lnTo>
                    <a:lnTo>
                      <a:pt x="988" y="2244"/>
                    </a:lnTo>
                    <a:lnTo>
                      <a:pt x="983" y="2241"/>
                    </a:lnTo>
                    <a:lnTo>
                      <a:pt x="972" y="2236"/>
                    </a:lnTo>
                    <a:lnTo>
                      <a:pt x="962" y="2229"/>
                    </a:lnTo>
                    <a:lnTo>
                      <a:pt x="953" y="2222"/>
                    </a:lnTo>
                    <a:lnTo>
                      <a:pt x="943" y="2214"/>
                    </a:lnTo>
                    <a:lnTo>
                      <a:pt x="932" y="2205"/>
                    </a:lnTo>
                    <a:lnTo>
                      <a:pt x="921" y="2198"/>
                    </a:lnTo>
                    <a:lnTo>
                      <a:pt x="912" y="2193"/>
                    </a:lnTo>
                    <a:lnTo>
                      <a:pt x="904" y="2187"/>
                    </a:lnTo>
                    <a:lnTo>
                      <a:pt x="897" y="2182"/>
                    </a:lnTo>
                    <a:lnTo>
                      <a:pt x="890" y="2175"/>
                    </a:lnTo>
                    <a:lnTo>
                      <a:pt x="877" y="2163"/>
                    </a:lnTo>
                    <a:lnTo>
                      <a:pt x="861" y="2151"/>
                    </a:lnTo>
                    <a:lnTo>
                      <a:pt x="851" y="2144"/>
                    </a:lnTo>
                    <a:lnTo>
                      <a:pt x="840" y="2140"/>
                    </a:lnTo>
                    <a:lnTo>
                      <a:pt x="835" y="2138"/>
                    </a:lnTo>
                    <a:lnTo>
                      <a:pt x="831" y="2134"/>
                    </a:lnTo>
                    <a:lnTo>
                      <a:pt x="828" y="2130"/>
                    </a:lnTo>
                    <a:lnTo>
                      <a:pt x="827" y="2125"/>
                    </a:lnTo>
                    <a:lnTo>
                      <a:pt x="828" y="2121"/>
                    </a:lnTo>
                    <a:lnTo>
                      <a:pt x="828" y="2118"/>
                    </a:lnTo>
                    <a:lnTo>
                      <a:pt x="833" y="2116"/>
                    </a:lnTo>
                    <a:lnTo>
                      <a:pt x="841" y="2121"/>
                    </a:lnTo>
                    <a:lnTo>
                      <a:pt x="846" y="2125"/>
                    </a:lnTo>
                    <a:lnTo>
                      <a:pt x="849" y="2127"/>
                    </a:lnTo>
                    <a:lnTo>
                      <a:pt x="852" y="2128"/>
                    </a:lnTo>
                    <a:lnTo>
                      <a:pt x="855" y="2129"/>
                    </a:lnTo>
                    <a:lnTo>
                      <a:pt x="859" y="2129"/>
                    </a:lnTo>
                    <a:lnTo>
                      <a:pt x="865" y="2129"/>
                    </a:lnTo>
                    <a:lnTo>
                      <a:pt x="871" y="2128"/>
                    </a:lnTo>
                    <a:lnTo>
                      <a:pt x="876" y="2127"/>
                    </a:lnTo>
                    <a:lnTo>
                      <a:pt x="880" y="2125"/>
                    </a:lnTo>
                    <a:lnTo>
                      <a:pt x="888" y="2119"/>
                    </a:lnTo>
                    <a:lnTo>
                      <a:pt x="895" y="2111"/>
                    </a:lnTo>
                    <a:lnTo>
                      <a:pt x="903" y="2104"/>
                    </a:lnTo>
                    <a:lnTo>
                      <a:pt x="910" y="2096"/>
                    </a:lnTo>
                    <a:lnTo>
                      <a:pt x="917" y="2088"/>
                    </a:lnTo>
                    <a:lnTo>
                      <a:pt x="926" y="2079"/>
                    </a:lnTo>
                    <a:lnTo>
                      <a:pt x="935" y="2073"/>
                    </a:lnTo>
                    <a:lnTo>
                      <a:pt x="942" y="2066"/>
                    </a:lnTo>
                    <a:lnTo>
                      <a:pt x="947" y="2059"/>
                    </a:lnTo>
                    <a:lnTo>
                      <a:pt x="952" y="2051"/>
                    </a:lnTo>
                    <a:lnTo>
                      <a:pt x="962" y="2036"/>
                    </a:lnTo>
                    <a:lnTo>
                      <a:pt x="974" y="2018"/>
                    </a:lnTo>
                    <a:lnTo>
                      <a:pt x="983" y="2006"/>
                    </a:lnTo>
                    <a:lnTo>
                      <a:pt x="989" y="1994"/>
                    </a:lnTo>
                    <a:lnTo>
                      <a:pt x="992" y="1986"/>
                    </a:lnTo>
                    <a:lnTo>
                      <a:pt x="993" y="1980"/>
                    </a:lnTo>
                    <a:lnTo>
                      <a:pt x="994" y="1973"/>
                    </a:lnTo>
                    <a:lnTo>
                      <a:pt x="995" y="1965"/>
                    </a:lnTo>
                    <a:lnTo>
                      <a:pt x="994" y="1949"/>
                    </a:lnTo>
                    <a:lnTo>
                      <a:pt x="991" y="1935"/>
                    </a:lnTo>
                    <a:lnTo>
                      <a:pt x="988" y="1922"/>
                    </a:lnTo>
                    <a:lnTo>
                      <a:pt x="984" y="1910"/>
                    </a:lnTo>
                    <a:lnTo>
                      <a:pt x="981" y="1897"/>
                    </a:lnTo>
                    <a:lnTo>
                      <a:pt x="977" y="1884"/>
                    </a:lnTo>
                    <a:lnTo>
                      <a:pt x="975" y="1870"/>
                    </a:lnTo>
                    <a:lnTo>
                      <a:pt x="974" y="1854"/>
                    </a:lnTo>
                    <a:lnTo>
                      <a:pt x="975" y="1840"/>
                    </a:lnTo>
                    <a:lnTo>
                      <a:pt x="978" y="1827"/>
                    </a:lnTo>
                    <a:lnTo>
                      <a:pt x="981" y="1815"/>
                    </a:lnTo>
                    <a:lnTo>
                      <a:pt x="985" y="1802"/>
                    </a:lnTo>
                    <a:lnTo>
                      <a:pt x="992" y="1791"/>
                    </a:lnTo>
                    <a:lnTo>
                      <a:pt x="1000" y="1783"/>
                    </a:lnTo>
                    <a:lnTo>
                      <a:pt x="1003" y="1780"/>
                    </a:lnTo>
                    <a:lnTo>
                      <a:pt x="1007" y="1777"/>
                    </a:lnTo>
                    <a:lnTo>
                      <a:pt x="1012" y="1774"/>
                    </a:lnTo>
                    <a:lnTo>
                      <a:pt x="1017" y="1771"/>
                    </a:lnTo>
                    <a:lnTo>
                      <a:pt x="1030" y="1764"/>
                    </a:lnTo>
                    <a:lnTo>
                      <a:pt x="1042" y="1758"/>
                    </a:lnTo>
                    <a:lnTo>
                      <a:pt x="1047" y="1754"/>
                    </a:lnTo>
                    <a:lnTo>
                      <a:pt x="1051" y="1750"/>
                    </a:lnTo>
                    <a:lnTo>
                      <a:pt x="1053" y="1744"/>
                    </a:lnTo>
                    <a:lnTo>
                      <a:pt x="1054" y="1738"/>
                    </a:lnTo>
                    <a:lnTo>
                      <a:pt x="1053" y="1721"/>
                    </a:lnTo>
                    <a:lnTo>
                      <a:pt x="1053" y="1706"/>
                    </a:lnTo>
                    <a:lnTo>
                      <a:pt x="1051" y="1692"/>
                    </a:lnTo>
                    <a:lnTo>
                      <a:pt x="1049" y="1678"/>
                    </a:lnTo>
                    <a:lnTo>
                      <a:pt x="1044" y="1651"/>
                    </a:lnTo>
                    <a:lnTo>
                      <a:pt x="1035" y="1620"/>
                    </a:lnTo>
                    <a:lnTo>
                      <a:pt x="1029" y="1603"/>
                    </a:lnTo>
                    <a:lnTo>
                      <a:pt x="1023" y="1589"/>
                    </a:lnTo>
                    <a:lnTo>
                      <a:pt x="1021" y="1583"/>
                    </a:lnTo>
                    <a:lnTo>
                      <a:pt x="1019" y="1575"/>
                    </a:lnTo>
                    <a:lnTo>
                      <a:pt x="1017" y="1567"/>
                    </a:lnTo>
                    <a:lnTo>
                      <a:pt x="1017" y="1559"/>
                    </a:lnTo>
                    <a:lnTo>
                      <a:pt x="1017" y="1548"/>
                    </a:lnTo>
                    <a:lnTo>
                      <a:pt x="1017" y="1537"/>
                    </a:lnTo>
                    <a:lnTo>
                      <a:pt x="1017" y="1528"/>
                    </a:lnTo>
                    <a:lnTo>
                      <a:pt x="1017" y="1517"/>
                    </a:lnTo>
                    <a:lnTo>
                      <a:pt x="1017" y="1507"/>
                    </a:lnTo>
                    <a:lnTo>
                      <a:pt x="1016" y="1499"/>
                    </a:lnTo>
                    <a:lnTo>
                      <a:pt x="1014" y="1491"/>
                    </a:lnTo>
                    <a:lnTo>
                      <a:pt x="1011" y="1482"/>
                    </a:lnTo>
                    <a:lnTo>
                      <a:pt x="1008" y="1475"/>
                    </a:lnTo>
                    <a:lnTo>
                      <a:pt x="1004" y="1469"/>
                    </a:lnTo>
                    <a:lnTo>
                      <a:pt x="1000" y="1462"/>
                    </a:lnTo>
                    <a:lnTo>
                      <a:pt x="994" y="1456"/>
                    </a:lnTo>
                    <a:lnTo>
                      <a:pt x="983" y="1444"/>
                    </a:lnTo>
                    <a:lnTo>
                      <a:pt x="970" y="1433"/>
                    </a:lnTo>
                    <a:lnTo>
                      <a:pt x="955" y="1423"/>
                    </a:lnTo>
                    <a:lnTo>
                      <a:pt x="940" y="1413"/>
                    </a:lnTo>
                    <a:lnTo>
                      <a:pt x="924" y="1402"/>
                    </a:lnTo>
                    <a:lnTo>
                      <a:pt x="910" y="1391"/>
                    </a:lnTo>
                    <a:lnTo>
                      <a:pt x="897" y="1380"/>
                    </a:lnTo>
                    <a:lnTo>
                      <a:pt x="885" y="1370"/>
                    </a:lnTo>
                    <a:lnTo>
                      <a:pt x="879" y="1365"/>
                    </a:lnTo>
                    <a:lnTo>
                      <a:pt x="872" y="1361"/>
                    </a:lnTo>
                    <a:lnTo>
                      <a:pt x="865" y="1356"/>
                    </a:lnTo>
                    <a:lnTo>
                      <a:pt x="858" y="1353"/>
                    </a:lnTo>
                    <a:lnTo>
                      <a:pt x="851" y="1350"/>
                    </a:lnTo>
                    <a:lnTo>
                      <a:pt x="843" y="1348"/>
                    </a:lnTo>
                    <a:lnTo>
                      <a:pt x="833" y="1347"/>
                    </a:lnTo>
                    <a:lnTo>
                      <a:pt x="824" y="1347"/>
                    </a:lnTo>
                    <a:lnTo>
                      <a:pt x="818" y="1347"/>
                    </a:lnTo>
                    <a:lnTo>
                      <a:pt x="812" y="1348"/>
                    </a:lnTo>
                    <a:lnTo>
                      <a:pt x="807" y="1350"/>
                    </a:lnTo>
                    <a:lnTo>
                      <a:pt x="800" y="1352"/>
                    </a:lnTo>
                    <a:lnTo>
                      <a:pt x="791" y="1358"/>
                    </a:lnTo>
                    <a:lnTo>
                      <a:pt x="781" y="1364"/>
                    </a:lnTo>
                    <a:lnTo>
                      <a:pt x="772" y="1370"/>
                    </a:lnTo>
                    <a:lnTo>
                      <a:pt x="761" y="1375"/>
                    </a:lnTo>
                    <a:lnTo>
                      <a:pt x="756" y="1377"/>
                    </a:lnTo>
                    <a:lnTo>
                      <a:pt x="751" y="1378"/>
                    </a:lnTo>
                    <a:lnTo>
                      <a:pt x="745" y="1379"/>
                    </a:lnTo>
                    <a:lnTo>
                      <a:pt x="738" y="1380"/>
                    </a:lnTo>
                    <a:lnTo>
                      <a:pt x="729" y="1379"/>
                    </a:lnTo>
                    <a:lnTo>
                      <a:pt x="722" y="1378"/>
                    </a:lnTo>
                    <a:lnTo>
                      <a:pt x="715" y="1376"/>
                    </a:lnTo>
                    <a:lnTo>
                      <a:pt x="708" y="1373"/>
                    </a:lnTo>
                    <a:lnTo>
                      <a:pt x="703" y="1370"/>
                    </a:lnTo>
                    <a:lnTo>
                      <a:pt x="698" y="1366"/>
                    </a:lnTo>
                    <a:lnTo>
                      <a:pt x="695" y="1361"/>
                    </a:lnTo>
                    <a:lnTo>
                      <a:pt x="692" y="1355"/>
                    </a:lnTo>
                    <a:lnTo>
                      <a:pt x="689" y="1351"/>
                    </a:lnTo>
                    <a:lnTo>
                      <a:pt x="685" y="1347"/>
                    </a:lnTo>
                    <a:lnTo>
                      <a:pt x="681" y="1344"/>
                    </a:lnTo>
                    <a:lnTo>
                      <a:pt x="676" y="1343"/>
                    </a:lnTo>
                    <a:lnTo>
                      <a:pt x="667" y="1344"/>
                    </a:lnTo>
                    <a:lnTo>
                      <a:pt x="659" y="1346"/>
                    </a:lnTo>
                    <a:lnTo>
                      <a:pt x="649" y="1345"/>
                    </a:lnTo>
                    <a:lnTo>
                      <a:pt x="640" y="1342"/>
                    </a:lnTo>
                    <a:lnTo>
                      <a:pt x="631" y="1338"/>
                    </a:lnTo>
                    <a:lnTo>
                      <a:pt x="623" y="1333"/>
                    </a:lnTo>
                    <a:lnTo>
                      <a:pt x="610" y="1319"/>
                    </a:lnTo>
                    <a:lnTo>
                      <a:pt x="594" y="1303"/>
                    </a:lnTo>
                    <a:lnTo>
                      <a:pt x="586" y="1297"/>
                    </a:lnTo>
                    <a:lnTo>
                      <a:pt x="579" y="1290"/>
                    </a:lnTo>
                    <a:lnTo>
                      <a:pt x="573" y="1284"/>
                    </a:lnTo>
                    <a:lnTo>
                      <a:pt x="566" y="1276"/>
                    </a:lnTo>
                    <a:lnTo>
                      <a:pt x="559" y="1267"/>
                    </a:lnTo>
                    <a:lnTo>
                      <a:pt x="553" y="1258"/>
                    </a:lnTo>
                    <a:lnTo>
                      <a:pt x="547" y="1251"/>
                    </a:lnTo>
                    <a:lnTo>
                      <a:pt x="540" y="1245"/>
                    </a:lnTo>
                    <a:lnTo>
                      <a:pt x="525" y="1233"/>
                    </a:lnTo>
                    <a:lnTo>
                      <a:pt x="508" y="1219"/>
                    </a:lnTo>
                    <a:lnTo>
                      <a:pt x="499" y="1213"/>
                    </a:lnTo>
                    <a:lnTo>
                      <a:pt x="491" y="1207"/>
                    </a:lnTo>
                    <a:lnTo>
                      <a:pt x="488" y="1204"/>
                    </a:lnTo>
                    <a:lnTo>
                      <a:pt x="486" y="1200"/>
                    </a:lnTo>
                    <a:lnTo>
                      <a:pt x="484" y="1195"/>
                    </a:lnTo>
                    <a:lnTo>
                      <a:pt x="483" y="1190"/>
                    </a:lnTo>
                    <a:lnTo>
                      <a:pt x="484" y="1183"/>
                    </a:lnTo>
                    <a:lnTo>
                      <a:pt x="486" y="1177"/>
                    </a:lnTo>
                    <a:lnTo>
                      <a:pt x="489" y="1172"/>
                    </a:lnTo>
                    <a:lnTo>
                      <a:pt x="492" y="1166"/>
                    </a:lnTo>
                    <a:lnTo>
                      <a:pt x="497" y="1162"/>
                    </a:lnTo>
                    <a:lnTo>
                      <a:pt x="502" y="1159"/>
                    </a:lnTo>
                    <a:lnTo>
                      <a:pt x="509" y="1157"/>
                    </a:lnTo>
                    <a:lnTo>
                      <a:pt x="515" y="1157"/>
                    </a:lnTo>
                    <a:lnTo>
                      <a:pt x="517" y="1154"/>
                    </a:lnTo>
                    <a:lnTo>
                      <a:pt x="518" y="1151"/>
                    </a:lnTo>
                    <a:lnTo>
                      <a:pt x="516" y="1145"/>
                    </a:lnTo>
                    <a:lnTo>
                      <a:pt x="514" y="1139"/>
                    </a:lnTo>
                    <a:lnTo>
                      <a:pt x="515" y="1131"/>
                    </a:lnTo>
                    <a:lnTo>
                      <a:pt x="518" y="1124"/>
                    </a:lnTo>
                    <a:lnTo>
                      <a:pt x="522" y="1119"/>
                    </a:lnTo>
                    <a:lnTo>
                      <a:pt x="527" y="1114"/>
                    </a:lnTo>
                    <a:lnTo>
                      <a:pt x="534" y="1110"/>
                    </a:lnTo>
                    <a:lnTo>
                      <a:pt x="542" y="1107"/>
                    </a:lnTo>
                    <a:lnTo>
                      <a:pt x="550" y="1103"/>
                    </a:lnTo>
                    <a:lnTo>
                      <a:pt x="558" y="1100"/>
                    </a:lnTo>
                    <a:lnTo>
                      <a:pt x="565" y="1097"/>
                    </a:lnTo>
                    <a:lnTo>
                      <a:pt x="574" y="1094"/>
                    </a:lnTo>
                    <a:lnTo>
                      <a:pt x="581" y="1090"/>
                    </a:lnTo>
                    <a:lnTo>
                      <a:pt x="588" y="1086"/>
                    </a:lnTo>
                    <a:lnTo>
                      <a:pt x="593" y="1082"/>
                    </a:lnTo>
                    <a:lnTo>
                      <a:pt x="597" y="1076"/>
                    </a:lnTo>
                    <a:lnTo>
                      <a:pt x="600" y="1069"/>
                    </a:lnTo>
                    <a:lnTo>
                      <a:pt x="601" y="1061"/>
                    </a:lnTo>
                    <a:lnTo>
                      <a:pt x="601" y="1058"/>
                    </a:lnTo>
                    <a:lnTo>
                      <a:pt x="600" y="1056"/>
                    </a:lnTo>
                    <a:lnTo>
                      <a:pt x="598" y="1054"/>
                    </a:lnTo>
                    <a:lnTo>
                      <a:pt x="596" y="1053"/>
                    </a:lnTo>
                    <a:lnTo>
                      <a:pt x="590" y="1054"/>
                    </a:lnTo>
                    <a:lnTo>
                      <a:pt x="585" y="1055"/>
                    </a:lnTo>
                    <a:lnTo>
                      <a:pt x="581" y="1058"/>
                    </a:lnTo>
                    <a:lnTo>
                      <a:pt x="576" y="1061"/>
                    </a:lnTo>
                    <a:lnTo>
                      <a:pt x="567" y="1068"/>
                    </a:lnTo>
                    <a:lnTo>
                      <a:pt x="558" y="1077"/>
                    </a:lnTo>
                    <a:lnTo>
                      <a:pt x="548" y="1082"/>
                    </a:lnTo>
                    <a:lnTo>
                      <a:pt x="538" y="1084"/>
                    </a:lnTo>
                    <a:lnTo>
                      <a:pt x="528" y="1087"/>
                    </a:lnTo>
                    <a:lnTo>
                      <a:pt x="518" y="1091"/>
                    </a:lnTo>
                    <a:lnTo>
                      <a:pt x="506" y="1098"/>
                    </a:lnTo>
                    <a:lnTo>
                      <a:pt x="496" y="1107"/>
                    </a:lnTo>
                    <a:lnTo>
                      <a:pt x="492" y="1111"/>
                    </a:lnTo>
                    <a:lnTo>
                      <a:pt x="487" y="1115"/>
                    </a:lnTo>
                    <a:lnTo>
                      <a:pt x="482" y="1118"/>
                    </a:lnTo>
                    <a:lnTo>
                      <a:pt x="475" y="1121"/>
                    </a:lnTo>
                    <a:lnTo>
                      <a:pt x="465" y="1124"/>
                    </a:lnTo>
                    <a:lnTo>
                      <a:pt x="456" y="1126"/>
                    </a:lnTo>
                    <a:lnTo>
                      <a:pt x="452" y="1127"/>
                    </a:lnTo>
                    <a:lnTo>
                      <a:pt x="449" y="1129"/>
                    </a:lnTo>
                    <a:lnTo>
                      <a:pt x="447" y="1132"/>
                    </a:lnTo>
                    <a:lnTo>
                      <a:pt x="446" y="1137"/>
                    </a:lnTo>
                    <a:lnTo>
                      <a:pt x="447" y="1145"/>
                    </a:lnTo>
                    <a:lnTo>
                      <a:pt x="448" y="1151"/>
                    </a:lnTo>
                    <a:lnTo>
                      <a:pt x="451" y="1157"/>
                    </a:lnTo>
                    <a:lnTo>
                      <a:pt x="455" y="1163"/>
                    </a:lnTo>
                    <a:lnTo>
                      <a:pt x="463" y="1175"/>
                    </a:lnTo>
                    <a:lnTo>
                      <a:pt x="472" y="1187"/>
                    </a:lnTo>
                    <a:lnTo>
                      <a:pt x="460" y="1184"/>
                    </a:lnTo>
                    <a:lnTo>
                      <a:pt x="450" y="1179"/>
                    </a:lnTo>
                    <a:lnTo>
                      <a:pt x="440" y="1175"/>
                    </a:lnTo>
                    <a:lnTo>
                      <a:pt x="429" y="1170"/>
                    </a:lnTo>
                    <a:lnTo>
                      <a:pt x="412" y="1159"/>
                    </a:lnTo>
                    <a:lnTo>
                      <a:pt x="394" y="1149"/>
                    </a:lnTo>
                    <a:lnTo>
                      <a:pt x="377" y="1140"/>
                    </a:lnTo>
                    <a:lnTo>
                      <a:pt x="358" y="1132"/>
                    </a:lnTo>
                    <a:lnTo>
                      <a:pt x="348" y="1129"/>
                    </a:lnTo>
                    <a:lnTo>
                      <a:pt x="337" y="1127"/>
                    </a:lnTo>
                    <a:lnTo>
                      <a:pt x="327" y="1125"/>
                    </a:lnTo>
                    <a:lnTo>
                      <a:pt x="315" y="1125"/>
                    </a:lnTo>
                    <a:lnTo>
                      <a:pt x="292" y="1126"/>
                    </a:lnTo>
                    <a:lnTo>
                      <a:pt x="271" y="1128"/>
                    </a:lnTo>
                    <a:lnTo>
                      <a:pt x="252" y="1132"/>
                    </a:lnTo>
                    <a:lnTo>
                      <a:pt x="230" y="1138"/>
                    </a:lnTo>
                    <a:lnTo>
                      <a:pt x="215" y="1142"/>
                    </a:lnTo>
                    <a:lnTo>
                      <a:pt x="200" y="1147"/>
                    </a:lnTo>
                    <a:lnTo>
                      <a:pt x="194" y="1150"/>
                    </a:lnTo>
                    <a:lnTo>
                      <a:pt x="189" y="1154"/>
                    </a:lnTo>
                    <a:lnTo>
                      <a:pt x="183" y="1159"/>
                    </a:lnTo>
                    <a:lnTo>
                      <a:pt x="177" y="1165"/>
                    </a:lnTo>
                    <a:lnTo>
                      <a:pt x="172" y="1174"/>
                    </a:lnTo>
                    <a:lnTo>
                      <a:pt x="168" y="1182"/>
                    </a:lnTo>
                    <a:lnTo>
                      <a:pt x="166" y="1185"/>
                    </a:lnTo>
                    <a:lnTo>
                      <a:pt x="164" y="1188"/>
                    </a:lnTo>
                    <a:lnTo>
                      <a:pt x="161" y="1190"/>
                    </a:lnTo>
                    <a:lnTo>
                      <a:pt x="157" y="1191"/>
                    </a:lnTo>
                    <a:lnTo>
                      <a:pt x="150" y="1190"/>
                    </a:lnTo>
                    <a:lnTo>
                      <a:pt x="144" y="1189"/>
                    </a:lnTo>
                    <a:lnTo>
                      <a:pt x="137" y="1188"/>
                    </a:lnTo>
                    <a:lnTo>
                      <a:pt x="132" y="1186"/>
                    </a:lnTo>
                    <a:lnTo>
                      <a:pt x="126" y="1185"/>
                    </a:lnTo>
                    <a:lnTo>
                      <a:pt x="121" y="1183"/>
                    </a:lnTo>
                    <a:lnTo>
                      <a:pt x="115" y="1182"/>
                    </a:lnTo>
                    <a:lnTo>
                      <a:pt x="107" y="1182"/>
                    </a:lnTo>
                    <a:lnTo>
                      <a:pt x="102" y="1182"/>
                    </a:lnTo>
                    <a:lnTo>
                      <a:pt x="98" y="1183"/>
                    </a:lnTo>
                    <a:lnTo>
                      <a:pt x="94" y="1185"/>
                    </a:lnTo>
                    <a:lnTo>
                      <a:pt x="90" y="1187"/>
                    </a:lnTo>
                    <a:lnTo>
                      <a:pt x="87" y="1189"/>
                    </a:lnTo>
                    <a:lnTo>
                      <a:pt x="83" y="1191"/>
                    </a:lnTo>
                    <a:lnTo>
                      <a:pt x="79" y="1193"/>
                    </a:lnTo>
                    <a:lnTo>
                      <a:pt x="73" y="1193"/>
                    </a:lnTo>
                    <a:lnTo>
                      <a:pt x="70" y="1193"/>
                    </a:lnTo>
                    <a:lnTo>
                      <a:pt x="67" y="1192"/>
                    </a:lnTo>
                    <a:lnTo>
                      <a:pt x="65" y="1191"/>
                    </a:lnTo>
                    <a:lnTo>
                      <a:pt x="63" y="1189"/>
                    </a:lnTo>
                    <a:lnTo>
                      <a:pt x="60" y="1185"/>
                    </a:lnTo>
                    <a:lnTo>
                      <a:pt x="57" y="1180"/>
                    </a:lnTo>
                    <a:lnTo>
                      <a:pt x="54" y="1175"/>
                    </a:lnTo>
                    <a:lnTo>
                      <a:pt x="50" y="1171"/>
                    </a:lnTo>
                    <a:lnTo>
                      <a:pt x="48" y="1169"/>
                    </a:lnTo>
                    <a:lnTo>
                      <a:pt x="46" y="1167"/>
                    </a:lnTo>
                    <a:lnTo>
                      <a:pt x="44" y="1166"/>
                    </a:lnTo>
                    <a:lnTo>
                      <a:pt x="40" y="1166"/>
                    </a:lnTo>
                    <a:lnTo>
                      <a:pt x="34" y="1167"/>
                    </a:lnTo>
                    <a:lnTo>
                      <a:pt x="28" y="1169"/>
                    </a:lnTo>
                    <a:lnTo>
                      <a:pt x="25" y="1169"/>
                    </a:lnTo>
                    <a:lnTo>
                      <a:pt x="22" y="1167"/>
                    </a:lnTo>
                    <a:lnTo>
                      <a:pt x="20" y="1165"/>
                    </a:lnTo>
                    <a:lnTo>
                      <a:pt x="19" y="1164"/>
                    </a:lnTo>
                    <a:lnTo>
                      <a:pt x="16" y="1158"/>
                    </a:lnTo>
                    <a:lnTo>
                      <a:pt x="15" y="1152"/>
                    </a:lnTo>
                    <a:lnTo>
                      <a:pt x="15" y="1137"/>
                    </a:lnTo>
                    <a:lnTo>
                      <a:pt x="15" y="1121"/>
                    </a:lnTo>
                    <a:lnTo>
                      <a:pt x="6" y="1108"/>
                    </a:lnTo>
                    <a:lnTo>
                      <a:pt x="0" y="1093"/>
                    </a:lnTo>
                    <a:lnTo>
                      <a:pt x="0" y="1082"/>
                    </a:lnTo>
                    <a:lnTo>
                      <a:pt x="2" y="1071"/>
                    </a:lnTo>
                    <a:lnTo>
                      <a:pt x="5" y="1062"/>
                    </a:lnTo>
                    <a:lnTo>
                      <a:pt x="10" y="1053"/>
                    </a:lnTo>
                    <a:lnTo>
                      <a:pt x="14" y="1044"/>
                    </a:lnTo>
                    <a:lnTo>
                      <a:pt x="20" y="1035"/>
                    </a:lnTo>
                    <a:lnTo>
                      <a:pt x="27" y="1027"/>
                    </a:lnTo>
                    <a:lnTo>
                      <a:pt x="34" y="1019"/>
                    </a:lnTo>
                    <a:lnTo>
                      <a:pt x="52" y="1000"/>
                    </a:lnTo>
                    <a:lnTo>
                      <a:pt x="68" y="984"/>
                    </a:lnTo>
                    <a:lnTo>
                      <a:pt x="78" y="976"/>
                    </a:lnTo>
                    <a:lnTo>
                      <a:pt x="87" y="969"/>
                    </a:lnTo>
                    <a:lnTo>
                      <a:pt x="97" y="963"/>
                    </a:lnTo>
                    <a:lnTo>
                      <a:pt x="109" y="956"/>
                    </a:lnTo>
                    <a:lnTo>
                      <a:pt x="119" y="945"/>
                    </a:lnTo>
                    <a:lnTo>
                      <a:pt x="130" y="935"/>
                    </a:lnTo>
                    <a:lnTo>
                      <a:pt x="136" y="931"/>
                    </a:lnTo>
                    <a:lnTo>
                      <a:pt x="144" y="929"/>
                    </a:lnTo>
                    <a:lnTo>
                      <a:pt x="150" y="927"/>
                    </a:lnTo>
                    <a:lnTo>
                      <a:pt x="156" y="927"/>
                    </a:lnTo>
                    <a:lnTo>
                      <a:pt x="170" y="926"/>
                    </a:lnTo>
                    <a:lnTo>
                      <a:pt x="185" y="923"/>
                    </a:lnTo>
                    <a:lnTo>
                      <a:pt x="192" y="921"/>
                    </a:lnTo>
                    <a:lnTo>
                      <a:pt x="199" y="919"/>
                    </a:lnTo>
                    <a:lnTo>
                      <a:pt x="205" y="917"/>
                    </a:lnTo>
                    <a:lnTo>
                      <a:pt x="211" y="913"/>
                    </a:lnTo>
                    <a:lnTo>
                      <a:pt x="216" y="909"/>
                    </a:lnTo>
                    <a:lnTo>
                      <a:pt x="221" y="905"/>
                    </a:lnTo>
                    <a:lnTo>
                      <a:pt x="225" y="900"/>
                    </a:lnTo>
                    <a:lnTo>
                      <a:pt x="229" y="894"/>
                    </a:lnTo>
                    <a:lnTo>
                      <a:pt x="233" y="882"/>
                    </a:lnTo>
                    <a:lnTo>
                      <a:pt x="235" y="871"/>
                    </a:lnTo>
                    <a:lnTo>
                      <a:pt x="237" y="866"/>
                    </a:lnTo>
                    <a:lnTo>
                      <a:pt x="241" y="862"/>
                    </a:lnTo>
                    <a:lnTo>
                      <a:pt x="242" y="860"/>
                    </a:lnTo>
                    <a:lnTo>
                      <a:pt x="244" y="859"/>
                    </a:lnTo>
                    <a:lnTo>
                      <a:pt x="246" y="859"/>
                    </a:lnTo>
                    <a:lnTo>
                      <a:pt x="249" y="858"/>
                    </a:lnTo>
                    <a:lnTo>
                      <a:pt x="256" y="859"/>
                    </a:lnTo>
                    <a:lnTo>
                      <a:pt x="261" y="861"/>
                    </a:lnTo>
                    <a:lnTo>
                      <a:pt x="267" y="863"/>
                    </a:lnTo>
                    <a:lnTo>
                      <a:pt x="272" y="866"/>
                    </a:lnTo>
                    <a:lnTo>
                      <a:pt x="278" y="869"/>
                    </a:lnTo>
                    <a:lnTo>
                      <a:pt x="283" y="871"/>
                    </a:lnTo>
                    <a:lnTo>
                      <a:pt x="289" y="873"/>
                    </a:lnTo>
                    <a:lnTo>
                      <a:pt x="296" y="873"/>
                    </a:lnTo>
                    <a:lnTo>
                      <a:pt x="304" y="871"/>
                    </a:lnTo>
                    <a:lnTo>
                      <a:pt x="313" y="868"/>
                    </a:lnTo>
                    <a:lnTo>
                      <a:pt x="314" y="858"/>
                    </a:lnTo>
                    <a:lnTo>
                      <a:pt x="313" y="853"/>
                    </a:lnTo>
                    <a:lnTo>
                      <a:pt x="311" y="846"/>
                    </a:lnTo>
                    <a:lnTo>
                      <a:pt x="309" y="841"/>
                    </a:lnTo>
                    <a:lnTo>
                      <a:pt x="307" y="837"/>
                    </a:lnTo>
                    <a:lnTo>
                      <a:pt x="303" y="832"/>
                    </a:lnTo>
                    <a:lnTo>
                      <a:pt x="301" y="827"/>
                    </a:lnTo>
                    <a:lnTo>
                      <a:pt x="300" y="822"/>
                    </a:lnTo>
                    <a:lnTo>
                      <a:pt x="299" y="815"/>
                    </a:lnTo>
                    <a:lnTo>
                      <a:pt x="300" y="811"/>
                    </a:lnTo>
                    <a:lnTo>
                      <a:pt x="301" y="808"/>
                    </a:lnTo>
                    <a:lnTo>
                      <a:pt x="302" y="805"/>
                    </a:lnTo>
                    <a:lnTo>
                      <a:pt x="305" y="802"/>
                    </a:lnTo>
                    <a:lnTo>
                      <a:pt x="312" y="797"/>
                    </a:lnTo>
                    <a:lnTo>
                      <a:pt x="318" y="792"/>
                    </a:lnTo>
                    <a:lnTo>
                      <a:pt x="329" y="785"/>
                    </a:lnTo>
                    <a:lnTo>
                      <a:pt x="338" y="779"/>
                    </a:lnTo>
                    <a:lnTo>
                      <a:pt x="349" y="773"/>
                    </a:lnTo>
                    <a:lnTo>
                      <a:pt x="359" y="766"/>
                    </a:lnTo>
                    <a:lnTo>
                      <a:pt x="386" y="751"/>
                    </a:lnTo>
                    <a:lnTo>
                      <a:pt x="410" y="739"/>
                    </a:lnTo>
                    <a:lnTo>
                      <a:pt x="433" y="728"/>
                    </a:lnTo>
                    <a:lnTo>
                      <a:pt x="460" y="713"/>
                    </a:lnTo>
                    <a:lnTo>
                      <a:pt x="482" y="701"/>
                    </a:lnTo>
                    <a:lnTo>
                      <a:pt x="501" y="689"/>
                    </a:lnTo>
                    <a:lnTo>
                      <a:pt x="520" y="678"/>
                    </a:lnTo>
                    <a:lnTo>
                      <a:pt x="543" y="666"/>
                    </a:lnTo>
                    <a:lnTo>
                      <a:pt x="558" y="658"/>
                    </a:lnTo>
                    <a:lnTo>
                      <a:pt x="574" y="654"/>
                    </a:lnTo>
                    <a:lnTo>
                      <a:pt x="581" y="651"/>
                    </a:lnTo>
                    <a:lnTo>
                      <a:pt x="588" y="648"/>
                    </a:lnTo>
                    <a:lnTo>
                      <a:pt x="595" y="644"/>
                    </a:lnTo>
                    <a:lnTo>
                      <a:pt x="602" y="639"/>
                    </a:lnTo>
                    <a:lnTo>
                      <a:pt x="609" y="634"/>
                    </a:lnTo>
                    <a:lnTo>
                      <a:pt x="614" y="629"/>
                    </a:lnTo>
                    <a:lnTo>
                      <a:pt x="616" y="627"/>
                    </a:lnTo>
                    <a:lnTo>
                      <a:pt x="617" y="624"/>
                    </a:lnTo>
                    <a:lnTo>
                      <a:pt x="619" y="621"/>
                    </a:lnTo>
                    <a:lnTo>
                      <a:pt x="619" y="617"/>
                    </a:lnTo>
                    <a:lnTo>
                      <a:pt x="618" y="607"/>
                    </a:lnTo>
                    <a:lnTo>
                      <a:pt x="616" y="599"/>
                    </a:lnTo>
                    <a:lnTo>
                      <a:pt x="612" y="590"/>
                    </a:lnTo>
                    <a:lnTo>
                      <a:pt x="608" y="581"/>
                    </a:lnTo>
                    <a:lnTo>
                      <a:pt x="609" y="576"/>
                    </a:lnTo>
                    <a:lnTo>
                      <a:pt x="614" y="578"/>
                    </a:lnTo>
                    <a:lnTo>
                      <a:pt x="619" y="580"/>
                    </a:lnTo>
                    <a:lnTo>
                      <a:pt x="624" y="582"/>
                    </a:lnTo>
                    <a:lnTo>
                      <a:pt x="628" y="586"/>
                    </a:lnTo>
                    <a:lnTo>
                      <a:pt x="637" y="593"/>
                    </a:lnTo>
                    <a:lnTo>
                      <a:pt x="643" y="602"/>
                    </a:lnTo>
                    <a:lnTo>
                      <a:pt x="650" y="610"/>
                    </a:lnTo>
                    <a:lnTo>
                      <a:pt x="658" y="617"/>
                    </a:lnTo>
                    <a:lnTo>
                      <a:pt x="662" y="619"/>
                    </a:lnTo>
                    <a:lnTo>
                      <a:pt x="666" y="621"/>
                    </a:lnTo>
                    <a:lnTo>
                      <a:pt x="672" y="623"/>
                    </a:lnTo>
                    <a:lnTo>
                      <a:pt x="678" y="623"/>
                    </a:lnTo>
                    <a:lnTo>
                      <a:pt x="688" y="622"/>
                    </a:lnTo>
                    <a:lnTo>
                      <a:pt x="697" y="621"/>
                    </a:lnTo>
                    <a:lnTo>
                      <a:pt x="706" y="619"/>
                    </a:lnTo>
                    <a:lnTo>
                      <a:pt x="714" y="616"/>
                    </a:lnTo>
                    <a:lnTo>
                      <a:pt x="721" y="612"/>
                    </a:lnTo>
                    <a:lnTo>
                      <a:pt x="729" y="607"/>
                    </a:lnTo>
                    <a:lnTo>
                      <a:pt x="737" y="602"/>
                    </a:lnTo>
                    <a:lnTo>
                      <a:pt x="745" y="595"/>
                    </a:lnTo>
                    <a:lnTo>
                      <a:pt x="756" y="588"/>
                    </a:lnTo>
                    <a:lnTo>
                      <a:pt x="766" y="582"/>
                    </a:lnTo>
                    <a:lnTo>
                      <a:pt x="772" y="580"/>
                    </a:lnTo>
                    <a:lnTo>
                      <a:pt x="776" y="576"/>
                    </a:lnTo>
                    <a:lnTo>
                      <a:pt x="780" y="572"/>
                    </a:lnTo>
                    <a:lnTo>
                      <a:pt x="784" y="566"/>
                    </a:lnTo>
                    <a:lnTo>
                      <a:pt x="790" y="556"/>
                    </a:lnTo>
                    <a:lnTo>
                      <a:pt x="797" y="548"/>
                    </a:lnTo>
                    <a:lnTo>
                      <a:pt x="804" y="540"/>
                    </a:lnTo>
                    <a:lnTo>
                      <a:pt x="811" y="532"/>
                    </a:lnTo>
                    <a:lnTo>
                      <a:pt x="818" y="525"/>
                    </a:lnTo>
                    <a:lnTo>
                      <a:pt x="826" y="519"/>
                    </a:lnTo>
                    <a:lnTo>
                      <a:pt x="836" y="513"/>
                    </a:lnTo>
                    <a:lnTo>
                      <a:pt x="845" y="507"/>
                    </a:lnTo>
                    <a:lnTo>
                      <a:pt x="854" y="500"/>
                    </a:lnTo>
                    <a:lnTo>
                      <a:pt x="862" y="494"/>
                    </a:lnTo>
                    <a:lnTo>
                      <a:pt x="866" y="491"/>
                    </a:lnTo>
                    <a:lnTo>
                      <a:pt x="871" y="489"/>
                    </a:lnTo>
                    <a:lnTo>
                      <a:pt x="875" y="487"/>
                    </a:lnTo>
                    <a:lnTo>
                      <a:pt x="881" y="485"/>
                    </a:lnTo>
                    <a:lnTo>
                      <a:pt x="905" y="491"/>
                    </a:lnTo>
                    <a:lnTo>
                      <a:pt x="913" y="491"/>
                    </a:lnTo>
                    <a:lnTo>
                      <a:pt x="921" y="491"/>
                    </a:lnTo>
                    <a:lnTo>
                      <a:pt x="929" y="492"/>
                    </a:lnTo>
                    <a:lnTo>
                      <a:pt x="939" y="492"/>
                    </a:lnTo>
                    <a:lnTo>
                      <a:pt x="943" y="492"/>
                    </a:lnTo>
                    <a:lnTo>
                      <a:pt x="948" y="491"/>
                    </a:lnTo>
                    <a:lnTo>
                      <a:pt x="952" y="490"/>
                    </a:lnTo>
                    <a:lnTo>
                      <a:pt x="955" y="488"/>
                    </a:lnTo>
                    <a:lnTo>
                      <a:pt x="959" y="486"/>
                    </a:lnTo>
                    <a:lnTo>
                      <a:pt x="961" y="483"/>
                    </a:lnTo>
                    <a:lnTo>
                      <a:pt x="964" y="479"/>
                    </a:lnTo>
                    <a:lnTo>
                      <a:pt x="965" y="475"/>
                    </a:lnTo>
                    <a:lnTo>
                      <a:pt x="967" y="467"/>
                    </a:lnTo>
                    <a:lnTo>
                      <a:pt x="965" y="461"/>
                    </a:lnTo>
                    <a:lnTo>
                      <a:pt x="965" y="458"/>
                    </a:lnTo>
                    <a:lnTo>
                      <a:pt x="965" y="455"/>
                    </a:lnTo>
                    <a:lnTo>
                      <a:pt x="967" y="452"/>
                    </a:lnTo>
                    <a:lnTo>
                      <a:pt x="969" y="450"/>
                    </a:lnTo>
                    <a:lnTo>
                      <a:pt x="973" y="448"/>
                    </a:lnTo>
                    <a:lnTo>
                      <a:pt x="976" y="446"/>
                    </a:lnTo>
                    <a:lnTo>
                      <a:pt x="980" y="445"/>
                    </a:lnTo>
                    <a:lnTo>
                      <a:pt x="984" y="445"/>
                    </a:lnTo>
                    <a:lnTo>
                      <a:pt x="992" y="445"/>
                    </a:lnTo>
                    <a:lnTo>
                      <a:pt x="1001" y="444"/>
                    </a:lnTo>
                    <a:lnTo>
                      <a:pt x="1012" y="439"/>
                    </a:lnTo>
                    <a:lnTo>
                      <a:pt x="1022" y="436"/>
                    </a:lnTo>
                    <a:lnTo>
                      <a:pt x="1026" y="437"/>
                    </a:lnTo>
                    <a:lnTo>
                      <a:pt x="1030" y="438"/>
                    </a:lnTo>
                    <a:lnTo>
                      <a:pt x="1033" y="441"/>
                    </a:lnTo>
                    <a:lnTo>
                      <a:pt x="1036" y="443"/>
                    </a:lnTo>
                    <a:lnTo>
                      <a:pt x="1040" y="449"/>
                    </a:lnTo>
                    <a:lnTo>
                      <a:pt x="1044" y="456"/>
                    </a:lnTo>
                    <a:lnTo>
                      <a:pt x="1048" y="462"/>
                    </a:lnTo>
                    <a:lnTo>
                      <a:pt x="1053" y="468"/>
                    </a:lnTo>
                    <a:lnTo>
                      <a:pt x="1055" y="471"/>
                    </a:lnTo>
                    <a:lnTo>
                      <a:pt x="1058" y="473"/>
                    </a:lnTo>
                    <a:lnTo>
                      <a:pt x="1061" y="475"/>
                    </a:lnTo>
                    <a:lnTo>
                      <a:pt x="1066" y="475"/>
                    </a:lnTo>
                    <a:lnTo>
                      <a:pt x="1070" y="474"/>
                    </a:lnTo>
                    <a:lnTo>
                      <a:pt x="1075" y="473"/>
                    </a:lnTo>
                    <a:lnTo>
                      <a:pt x="1075" y="438"/>
                    </a:lnTo>
                    <a:lnTo>
                      <a:pt x="1074" y="430"/>
                    </a:lnTo>
                    <a:lnTo>
                      <a:pt x="1072" y="423"/>
                    </a:lnTo>
                    <a:lnTo>
                      <a:pt x="1070" y="415"/>
                    </a:lnTo>
                    <a:lnTo>
                      <a:pt x="1070" y="406"/>
                    </a:lnTo>
                    <a:lnTo>
                      <a:pt x="1070" y="404"/>
                    </a:lnTo>
                    <a:lnTo>
                      <a:pt x="1071" y="401"/>
                    </a:lnTo>
                    <a:lnTo>
                      <a:pt x="1084" y="397"/>
                    </a:lnTo>
                    <a:lnTo>
                      <a:pt x="1095" y="392"/>
                    </a:lnTo>
                    <a:lnTo>
                      <a:pt x="1107" y="386"/>
                    </a:lnTo>
                    <a:lnTo>
                      <a:pt x="1120" y="379"/>
                    </a:lnTo>
                    <a:lnTo>
                      <a:pt x="1130" y="373"/>
                    </a:lnTo>
                    <a:lnTo>
                      <a:pt x="1141" y="369"/>
                    </a:lnTo>
                    <a:lnTo>
                      <a:pt x="1146" y="366"/>
                    </a:lnTo>
                    <a:lnTo>
                      <a:pt x="1150" y="363"/>
                    </a:lnTo>
                    <a:lnTo>
                      <a:pt x="1154" y="359"/>
                    </a:lnTo>
                    <a:lnTo>
                      <a:pt x="1157" y="354"/>
                    </a:lnTo>
                    <a:lnTo>
                      <a:pt x="1152" y="351"/>
                    </a:lnTo>
                    <a:lnTo>
                      <a:pt x="1147" y="348"/>
                    </a:lnTo>
                    <a:lnTo>
                      <a:pt x="1142" y="347"/>
                    </a:lnTo>
                    <a:lnTo>
                      <a:pt x="1137" y="346"/>
                    </a:lnTo>
                    <a:lnTo>
                      <a:pt x="1125" y="346"/>
                    </a:lnTo>
                    <a:lnTo>
                      <a:pt x="1113" y="344"/>
                    </a:lnTo>
                    <a:lnTo>
                      <a:pt x="1096" y="341"/>
                    </a:lnTo>
                    <a:lnTo>
                      <a:pt x="1082" y="337"/>
                    </a:lnTo>
                    <a:lnTo>
                      <a:pt x="1068" y="334"/>
                    </a:lnTo>
                    <a:lnTo>
                      <a:pt x="1050" y="331"/>
                    </a:lnTo>
                    <a:lnTo>
                      <a:pt x="1042" y="336"/>
                    </a:lnTo>
                    <a:lnTo>
                      <a:pt x="1034" y="342"/>
                    </a:lnTo>
                    <a:lnTo>
                      <a:pt x="1030" y="349"/>
                    </a:lnTo>
                    <a:lnTo>
                      <a:pt x="1028" y="354"/>
                    </a:lnTo>
                    <a:lnTo>
                      <a:pt x="1025" y="359"/>
                    </a:lnTo>
                    <a:lnTo>
                      <a:pt x="1021" y="362"/>
                    </a:lnTo>
                    <a:lnTo>
                      <a:pt x="1019" y="358"/>
                    </a:lnTo>
                    <a:lnTo>
                      <a:pt x="1017" y="354"/>
                    </a:lnTo>
                    <a:lnTo>
                      <a:pt x="1016" y="350"/>
                    </a:lnTo>
                    <a:lnTo>
                      <a:pt x="1016" y="346"/>
                    </a:lnTo>
                    <a:lnTo>
                      <a:pt x="1017" y="339"/>
                    </a:lnTo>
                    <a:lnTo>
                      <a:pt x="1018" y="334"/>
                    </a:lnTo>
                    <a:lnTo>
                      <a:pt x="1019" y="330"/>
                    </a:lnTo>
                    <a:lnTo>
                      <a:pt x="1021" y="325"/>
                    </a:lnTo>
                    <a:lnTo>
                      <a:pt x="1023" y="321"/>
                    </a:lnTo>
                    <a:lnTo>
                      <a:pt x="1025" y="316"/>
                    </a:lnTo>
                    <a:lnTo>
                      <a:pt x="1026" y="310"/>
                    </a:lnTo>
                    <a:lnTo>
                      <a:pt x="1026" y="304"/>
                    </a:lnTo>
                    <a:lnTo>
                      <a:pt x="1020" y="295"/>
                    </a:lnTo>
                    <a:lnTo>
                      <a:pt x="1014" y="285"/>
                    </a:lnTo>
                    <a:lnTo>
                      <a:pt x="1020" y="271"/>
                    </a:lnTo>
                    <a:lnTo>
                      <a:pt x="1026" y="259"/>
                    </a:lnTo>
                    <a:lnTo>
                      <a:pt x="1026" y="251"/>
                    </a:lnTo>
                    <a:lnTo>
                      <a:pt x="1023" y="244"/>
                    </a:lnTo>
                    <a:lnTo>
                      <a:pt x="1020" y="238"/>
                    </a:lnTo>
                    <a:lnTo>
                      <a:pt x="1017" y="232"/>
                    </a:lnTo>
                    <a:lnTo>
                      <a:pt x="1013" y="226"/>
                    </a:lnTo>
                    <a:lnTo>
                      <a:pt x="1010" y="220"/>
                    </a:lnTo>
                    <a:lnTo>
                      <a:pt x="1008" y="213"/>
                    </a:lnTo>
                    <a:lnTo>
                      <a:pt x="1007" y="205"/>
                    </a:lnTo>
                    <a:lnTo>
                      <a:pt x="1008" y="201"/>
                    </a:lnTo>
                    <a:lnTo>
                      <a:pt x="1010" y="197"/>
                    </a:lnTo>
                    <a:lnTo>
                      <a:pt x="1013" y="193"/>
                    </a:lnTo>
                    <a:lnTo>
                      <a:pt x="1017" y="190"/>
                    </a:lnTo>
                    <a:lnTo>
                      <a:pt x="1020" y="186"/>
                    </a:lnTo>
                    <a:lnTo>
                      <a:pt x="1023" y="182"/>
                    </a:lnTo>
                    <a:lnTo>
                      <a:pt x="1026" y="178"/>
                    </a:lnTo>
                    <a:lnTo>
                      <a:pt x="1026" y="173"/>
                    </a:lnTo>
                    <a:lnTo>
                      <a:pt x="1026" y="161"/>
                    </a:lnTo>
                    <a:lnTo>
                      <a:pt x="1024" y="148"/>
                    </a:lnTo>
                    <a:lnTo>
                      <a:pt x="1020" y="137"/>
                    </a:lnTo>
                    <a:lnTo>
                      <a:pt x="1015" y="127"/>
                    </a:lnTo>
                    <a:lnTo>
                      <a:pt x="1010" y="116"/>
                    </a:lnTo>
                    <a:lnTo>
                      <a:pt x="1003" y="107"/>
                    </a:lnTo>
                    <a:lnTo>
                      <a:pt x="994" y="98"/>
                    </a:lnTo>
                    <a:lnTo>
                      <a:pt x="985" y="88"/>
                    </a:lnTo>
                    <a:lnTo>
                      <a:pt x="980" y="89"/>
                    </a:lnTo>
                    <a:lnTo>
                      <a:pt x="987" y="74"/>
                    </a:lnTo>
                    <a:lnTo>
                      <a:pt x="994" y="58"/>
                    </a:lnTo>
                    <a:lnTo>
                      <a:pt x="1003" y="43"/>
                    </a:lnTo>
                    <a:lnTo>
                      <a:pt x="1011" y="30"/>
                    </a:lnTo>
                    <a:lnTo>
                      <a:pt x="1016" y="23"/>
                    </a:lnTo>
                    <a:lnTo>
                      <a:pt x="1021" y="17"/>
                    </a:lnTo>
                    <a:lnTo>
                      <a:pt x="1026" y="12"/>
                    </a:lnTo>
                    <a:lnTo>
                      <a:pt x="1033" y="8"/>
                    </a:lnTo>
                    <a:lnTo>
                      <a:pt x="1039" y="5"/>
                    </a:lnTo>
                    <a:lnTo>
                      <a:pt x="1046" y="3"/>
                    </a:lnTo>
                    <a:lnTo>
                      <a:pt x="1054" y="1"/>
                    </a:lnTo>
                    <a:lnTo>
                      <a:pt x="1062" y="0"/>
                    </a:lnTo>
                    <a:lnTo>
                      <a:pt x="1095" y="1"/>
                    </a:lnTo>
                    <a:lnTo>
                      <a:pt x="1125" y="3"/>
                    </a:lnTo>
                    <a:lnTo>
                      <a:pt x="1140" y="5"/>
                    </a:lnTo>
                    <a:lnTo>
                      <a:pt x="1154" y="7"/>
                    </a:lnTo>
                    <a:lnTo>
                      <a:pt x="1168" y="9"/>
                    </a:lnTo>
                    <a:lnTo>
                      <a:pt x="1181" y="12"/>
                    </a:lnTo>
                    <a:lnTo>
                      <a:pt x="1194" y="16"/>
                    </a:lnTo>
                    <a:lnTo>
                      <a:pt x="1208" y="20"/>
                    </a:lnTo>
                    <a:lnTo>
                      <a:pt x="1221" y="25"/>
                    </a:lnTo>
                    <a:lnTo>
                      <a:pt x="1235" y="31"/>
                    </a:lnTo>
                    <a:lnTo>
                      <a:pt x="1262" y="43"/>
                    </a:lnTo>
                    <a:lnTo>
                      <a:pt x="1290" y="59"/>
                    </a:lnTo>
                    <a:lnTo>
                      <a:pt x="1303" y="66"/>
                    </a:lnTo>
                    <a:lnTo>
                      <a:pt x="1314" y="70"/>
                    </a:lnTo>
                    <a:lnTo>
                      <a:pt x="1325" y="74"/>
                    </a:lnTo>
                    <a:lnTo>
                      <a:pt x="1337" y="77"/>
                    </a:lnTo>
                    <a:lnTo>
                      <a:pt x="1347" y="81"/>
                    </a:lnTo>
                    <a:lnTo>
                      <a:pt x="1358" y="85"/>
                    </a:lnTo>
                    <a:lnTo>
                      <a:pt x="1369" y="91"/>
                    </a:lnTo>
                    <a:lnTo>
                      <a:pt x="1380" y="99"/>
                    </a:lnTo>
                    <a:lnTo>
                      <a:pt x="1398" y="114"/>
                    </a:lnTo>
                    <a:lnTo>
                      <a:pt x="1413" y="130"/>
                    </a:lnTo>
                    <a:lnTo>
                      <a:pt x="1426" y="146"/>
                    </a:lnTo>
                    <a:lnTo>
                      <a:pt x="1441" y="161"/>
                    </a:lnTo>
                    <a:lnTo>
                      <a:pt x="1448" y="168"/>
                    </a:lnTo>
                    <a:lnTo>
                      <a:pt x="1455" y="174"/>
                    </a:lnTo>
                    <a:lnTo>
                      <a:pt x="1463" y="179"/>
                    </a:lnTo>
                    <a:lnTo>
                      <a:pt x="1471" y="184"/>
                    </a:lnTo>
                    <a:lnTo>
                      <a:pt x="1480" y="189"/>
                    </a:lnTo>
                    <a:lnTo>
                      <a:pt x="1489" y="192"/>
                    </a:lnTo>
                    <a:lnTo>
                      <a:pt x="1500" y="193"/>
                    </a:lnTo>
                    <a:lnTo>
                      <a:pt x="1511" y="194"/>
                    </a:lnTo>
                    <a:lnTo>
                      <a:pt x="1558" y="194"/>
                    </a:lnTo>
                    <a:lnTo>
                      <a:pt x="1567" y="194"/>
                    </a:lnTo>
                    <a:lnTo>
                      <a:pt x="1573" y="193"/>
                    </a:lnTo>
                    <a:lnTo>
                      <a:pt x="1580" y="191"/>
                    </a:lnTo>
                    <a:lnTo>
                      <a:pt x="1586" y="190"/>
                    </a:lnTo>
                    <a:lnTo>
                      <a:pt x="1598" y="184"/>
                    </a:lnTo>
                    <a:lnTo>
                      <a:pt x="1609" y="179"/>
                    </a:lnTo>
                    <a:lnTo>
                      <a:pt x="1620" y="174"/>
                    </a:lnTo>
                    <a:lnTo>
                      <a:pt x="1632" y="170"/>
                    </a:lnTo>
                    <a:lnTo>
                      <a:pt x="1638" y="168"/>
                    </a:lnTo>
                    <a:lnTo>
                      <a:pt x="1644" y="167"/>
                    </a:lnTo>
                    <a:lnTo>
                      <a:pt x="1651" y="166"/>
                    </a:lnTo>
                    <a:lnTo>
                      <a:pt x="1658" y="165"/>
                    </a:lnTo>
                    <a:lnTo>
                      <a:pt x="1664" y="166"/>
                    </a:lnTo>
                    <a:lnTo>
                      <a:pt x="1669" y="167"/>
                    </a:lnTo>
                    <a:lnTo>
                      <a:pt x="1674" y="169"/>
                    </a:lnTo>
                    <a:lnTo>
                      <a:pt x="1678" y="171"/>
                    </a:lnTo>
                    <a:lnTo>
                      <a:pt x="1681" y="174"/>
                    </a:lnTo>
                    <a:lnTo>
                      <a:pt x="1684" y="178"/>
                    </a:lnTo>
                    <a:lnTo>
                      <a:pt x="1687" y="181"/>
                    </a:lnTo>
                    <a:lnTo>
                      <a:pt x="1689" y="186"/>
                    </a:lnTo>
                    <a:lnTo>
                      <a:pt x="1694" y="197"/>
                    </a:lnTo>
                    <a:lnTo>
                      <a:pt x="1697" y="208"/>
                    </a:lnTo>
                    <a:lnTo>
                      <a:pt x="1700" y="220"/>
                    </a:lnTo>
                    <a:lnTo>
                      <a:pt x="1702" y="233"/>
                    </a:lnTo>
                    <a:lnTo>
                      <a:pt x="1705" y="245"/>
                    </a:lnTo>
                    <a:lnTo>
                      <a:pt x="1707" y="258"/>
                    </a:lnTo>
                    <a:lnTo>
                      <a:pt x="1710" y="269"/>
                    </a:lnTo>
                    <a:lnTo>
                      <a:pt x="1714" y="278"/>
                    </a:lnTo>
                    <a:lnTo>
                      <a:pt x="1717" y="284"/>
                    </a:lnTo>
                    <a:lnTo>
                      <a:pt x="1720" y="288"/>
                    </a:lnTo>
                    <a:lnTo>
                      <a:pt x="1723" y="291"/>
                    </a:lnTo>
                    <a:lnTo>
                      <a:pt x="1727" y="294"/>
                    </a:lnTo>
                    <a:lnTo>
                      <a:pt x="1731" y="297"/>
                    </a:lnTo>
                    <a:lnTo>
                      <a:pt x="1735" y="298"/>
                    </a:lnTo>
                    <a:lnTo>
                      <a:pt x="1740" y="299"/>
                    </a:lnTo>
                    <a:lnTo>
                      <a:pt x="1746" y="300"/>
                    </a:lnTo>
                    <a:lnTo>
                      <a:pt x="1755" y="299"/>
                    </a:lnTo>
                    <a:lnTo>
                      <a:pt x="1765" y="298"/>
                    </a:lnTo>
                    <a:lnTo>
                      <a:pt x="1773" y="296"/>
                    </a:lnTo>
                    <a:lnTo>
                      <a:pt x="1781" y="293"/>
                    </a:lnTo>
                    <a:lnTo>
                      <a:pt x="1797" y="285"/>
                    </a:lnTo>
                    <a:lnTo>
                      <a:pt x="1811" y="276"/>
                    </a:lnTo>
                    <a:lnTo>
                      <a:pt x="1825" y="268"/>
                    </a:lnTo>
                    <a:lnTo>
                      <a:pt x="1840" y="260"/>
                    </a:lnTo>
                    <a:lnTo>
                      <a:pt x="1848" y="257"/>
                    </a:lnTo>
                    <a:lnTo>
                      <a:pt x="1856" y="255"/>
                    </a:lnTo>
                    <a:lnTo>
                      <a:pt x="1866" y="254"/>
                    </a:lnTo>
                    <a:lnTo>
                      <a:pt x="1875" y="253"/>
                    </a:lnTo>
                    <a:lnTo>
                      <a:pt x="1888" y="254"/>
                    </a:lnTo>
                    <a:lnTo>
                      <a:pt x="1900" y="256"/>
                    </a:lnTo>
                    <a:lnTo>
                      <a:pt x="1910" y="260"/>
                    </a:lnTo>
                    <a:lnTo>
                      <a:pt x="1920" y="265"/>
                    </a:lnTo>
                    <a:lnTo>
                      <a:pt x="1930" y="271"/>
                    </a:lnTo>
                    <a:lnTo>
                      <a:pt x="1938" y="278"/>
                    </a:lnTo>
                    <a:lnTo>
                      <a:pt x="1945" y="286"/>
                    </a:lnTo>
                    <a:lnTo>
                      <a:pt x="1953" y="294"/>
                    </a:lnTo>
                    <a:lnTo>
                      <a:pt x="1969" y="310"/>
                    </a:lnTo>
                    <a:lnTo>
                      <a:pt x="1986" y="326"/>
                    </a:lnTo>
                    <a:lnTo>
                      <a:pt x="1996" y="333"/>
                    </a:lnTo>
                    <a:lnTo>
                      <a:pt x="2006" y="339"/>
                    </a:lnTo>
                    <a:lnTo>
                      <a:pt x="2017" y="344"/>
                    </a:lnTo>
                    <a:lnTo>
                      <a:pt x="2030" y="349"/>
                    </a:lnTo>
                    <a:lnTo>
                      <a:pt x="2146" y="320"/>
                    </a:lnTo>
                    <a:lnTo>
                      <a:pt x="2146" y="320"/>
                    </a:lnTo>
                    <a:close/>
                  </a:path>
                </a:pathLst>
              </a:custGeom>
              <a:solidFill>
                <a:srgbClr val="67AF1E"/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Kirovograd">
                <a:extLst>
                  <a:ext uri="{FF2B5EF4-FFF2-40B4-BE49-F238E27FC236}">
                    <a16:creationId xmlns:a16="http://schemas.microsoft.com/office/drawing/2014/main" id="{988E7A34-DE15-41BC-B237-33C47AE1CE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2608" y="3606084"/>
                <a:ext cx="1766716" cy="932998"/>
              </a:xfrm>
              <a:custGeom>
                <a:avLst/>
                <a:gdLst>
                  <a:gd name="T0" fmla="*/ 187 w 3570"/>
                  <a:gd name="T1" fmla="*/ 1411 h 1968"/>
                  <a:gd name="T2" fmla="*/ 474 w 3570"/>
                  <a:gd name="T3" fmla="*/ 1468 h 1968"/>
                  <a:gd name="T4" fmla="*/ 677 w 3570"/>
                  <a:gd name="T5" fmla="*/ 1451 h 1968"/>
                  <a:gd name="T6" fmla="*/ 1034 w 3570"/>
                  <a:gd name="T7" fmla="*/ 1345 h 1968"/>
                  <a:gd name="T8" fmla="*/ 1260 w 3570"/>
                  <a:gd name="T9" fmla="*/ 1407 h 1968"/>
                  <a:gd name="T10" fmla="*/ 1500 w 3570"/>
                  <a:gd name="T11" fmla="*/ 1529 h 1968"/>
                  <a:gd name="T12" fmla="*/ 1736 w 3570"/>
                  <a:gd name="T13" fmla="*/ 1613 h 1968"/>
                  <a:gd name="T14" fmla="*/ 1746 w 3570"/>
                  <a:gd name="T15" fmla="*/ 1679 h 1968"/>
                  <a:gd name="T16" fmla="*/ 1857 w 3570"/>
                  <a:gd name="T17" fmla="*/ 1736 h 1968"/>
                  <a:gd name="T18" fmla="*/ 1868 w 3570"/>
                  <a:gd name="T19" fmla="*/ 1891 h 1968"/>
                  <a:gd name="T20" fmla="*/ 2031 w 3570"/>
                  <a:gd name="T21" fmla="*/ 1925 h 1968"/>
                  <a:gd name="T22" fmla="*/ 2142 w 3570"/>
                  <a:gd name="T23" fmla="*/ 1943 h 1968"/>
                  <a:gd name="T24" fmla="*/ 2458 w 3570"/>
                  <a:gd name="T25" fmla="*/ 1888 h 1968"/>
                  <a:gd name="T26" fmla="*/ 2572 w 3570"/>
                  <a:gd name="T27" fmla="*/ 1797 h 1968"/>
                  <a:gd name="T28" fmla="*/ 2580 w 3570"/>
                  <a:gd name="T29" fmla="*/ 1689 h 1968"/>
                  <a:gd name="T30" fmla="*/ 2734 w 3570"/>
                  <a:gd name="T31" fmla="*/ 1599 h 1968"/>
                  <a:gd name="T32" fmla="*/ 2849 w 3570"/>
                  <a:gd name="T33" fmla="*/ 1607 h 1968"/>
                  <a:gd name="T34" fmla="*/ 2961 w 3570"/>
                  <a:gd name="T35" fmla="*/ 1557 h 1968"/>
                  <a:gd name="T36" fmla="*/ 3051 w 3570"/>
                  <a:gd name="T37" fmla="*/ 1414 h 1968"/>
                  <a:gd name="T38" fmla="*/ 3231 w 3570"/>
                  <a:gd name="T39" fmla="*/ 1355 h 1968"/>
                  <a:gd name="T40" fmla="*/ 3271 w 3570"/>
                  <a:gd name="T41" fmla="*/ 1276 h 1968"/>
                  <a:gd name="T42" fmla="*/ 3163 w 3570"/>
                  <a:gd name="T43" fmla="*/ 1180 h 1968"/>
                  <a:gd name="T44" fmla="*/ 3209 w 3570"/>
                  <a:gd name="T45" fmla="*/ 1058 h 1968"/>
                  <a:gd name="T46" fmla="*/ 3240 w 3570"/>
                  <a:gd name="T47" fmla="*/ 932 h 1968"/>
                  <a:gd name="T48" fmla="*/ 3374 w 3570"/>
                  <a:gd name="T49" fmla="*/ 874 h 1968"/>
                  <a:gd name="T50" fmla="*/ 3474 w 3570"/>
                  <a:gd name="T51" fmla="*/ 738 h 1968"/>
                  <a:gd name="T52" fmla="*/ 3369 w 3570"/>
                  <a:gd name="T53" fmla="*/ 661 h 1968"/>
                  <a:gd name="T54" fmla="*/ 3357 w 3570"/>
                  <a:gd name="T55" fmla="*/ 583 h 1968"/>
                  <a:gd name="T56" fmla="*/ 3536 w 3570"/>
                  <a:gd name="T57" fmla="*/ 536 h 1968"/>
                  <a:gd name="T58" fmla="*/ 3467 w 3570"/>
                  <a:gd name="T59" fmla="*/ 400 h 1968"/>
                  <a:gd name="T60" fmla="*/ 3280 w 3570"/>
                  <a:gd name="T61" fmla="*/ 473 h 1968"/>
                  <a:gd name="T62" fmla="*/ 3130 w 3570"/>
                  <a:gd name="T63" fmla="*/ 547 h 1968"/>
                  <a:gd name="T64" fmla="*/ 2987 w 3570"/>
                  <a:gd name="T65" fmla="*/ 369 h 1968"/>
                  <a:gd name="T66" fmla="*/ 2923 w 3570"/>
                  <a:gd name="T67" fmla="*/ 175 h 1968"/>
                  <a:gd name="T68" fmla="*/ 2728 w 3570"/>
                  <a:gd name="T69" fmla="*/ 105 h 1968"/>
                  <a:gd name="T70" fmla="*/ 2626 w 3570"/>
                  <a:gd name="T71" fmla="*/ 0 h 1968"/>
                  <a:gd name="T72" fmla="*/ 2630 w 3570"/>
                  <a:gd name="T73" fmla="*/ 141 h 1968"/>
                  <a:gd name="T74" fmla="*/ 2653 w 3570"/>
                  <a:gd name="T75" fmla="*/ 311 h 1968"/>
                  <a:gd name="T76" fmla="*/ 2461 w 3570"/>
                  <a:gd name="T77" fmla="*/ 408 h 1968"/>
                  <a:gd name="T78" fmla="*/ 2367 w 3570"/>
                  <a:gd name="T79" fmla="*/ 358 h 1968"/>
                  <a:gd name="T80" fmla="*/ 2194 w 3570"/>
                  <a:gd name="T81" fmla="*/ 224 h 1968"/>
                  <a:gd name="T82" fmla="*/ 2079 w 3570"/>
                  <a:gd name="T83" fmla="*/ 422 h 1968"/>
                  <a:gd name="T84" fmla="*/ 1925 w 3570"/>
                  <a:gd name="T85" fmla="*/ 461 h 1968"/>
                  <a:gd name="T86" fmla="*/ 1845 w 3570"/>
                  <a:gd name="T87" fmla="*/ 493 h 1968"/>
                  <a:gd name="T88" fmla="*/ 1737 w 3570"/>
                  <a:gd name="T89" fmla="*/ 429 h 1968"/>
                  <a:gd name="T90" fmla="*/ 1639 w 3570"/>
                  <a:gd name="T91" fmla="*/ 429 h 1968"/>
                  <a:gd name="T92" fmla="*/ 1439 w 3570"/>
                  <a:gd name="T93" fmla="*/ 606 h 1968"/>
                  <a:gd name="T94" fmla="*/ 1365 w 3570"/>
                  <a:gd name="T95" fmla="*/ 722 h 1968"/>
                  <a:gd name="T96" fmla="*/ 1268 w 3570"/>
                  <a:gd name="T97" fmla="*/ 629 h 1968"/>
                  <a:gd name="T98" fmla="*/ 1181 w 3570"/>
                  <a:gd name="T99" fmla="*/ 717 h 1968"/>
                  <a:gd name="T100" fmla="*/ 978 w 3570"/>
                  <a:gd name="T101" fmla="*/ 654 h 1968"/>
                  <a:gd name="T102" fmla="*/ 856 w 3570"/>
                  <a:gd name="T103" fmla="*/ 581 h 1968"/>
                  <a:gd name="T104" fmla="*/ 750 w 3570"/>
                  <a:gd name="T105" fmla="*/ 734 h 1968"/>
                  <a:gd name="T106" fmla="*/ 707 w 3570"/>
                  <a:gd name="T107" fmla="*/ 808 h 1968"/>
                  <a:gd name="T108" fmla="*/ 590 w 3570"/>
                  <a:gd name="T109" fmla="*/ 916 h 1968"/>
                  <a:gd name="T110" fmla="*/ 512 w 3570"/>
                  <a:gd name="T111" fmla="*/ 975 h 1968"/>
                  <a:gd name="T112" fmla="*/ 392 w 3570"/>
                  <a:gd name="T113" fmla="*/ 1034 h 1968"/>
                  <a:gd name="T114" fmla="*/ 267 w 3570"/>
                  <a:gd name="T115" fmla="*/ 1048 h 1968"/>
                  <a:gd name="T116" fmla="*/ 40 w 3570"/>
                  <a:gd name="T117" fmla="*/ 1181 h 1968"/>
                  <a:gd name="T118" fmla="*/ 3 w 3570"/>
                  <a:gd name="T119" fmla="*/ 1334 h 1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570" h="1968">
                    <a:moveTo>
                      <a:pt x="17" y="1395"/>
                    </a:moveTo>
                    <a:lnTo>
                      <a:pt x="35" y="1389"/>
                    </a:lnTo>
                    <a:lnTo>
                      <a:pt x="50" y="1385"/>
                    </a:lnTo>
                    <a:lnTo>
                      <a:pt x="59" y="1384"/>
                    </a:lnTo>
                    <a:lnTo>
                      <a:pt x="67" y="1382"/>
                    </a:lnTo>
                    <a:lnTo>
                      <a:pt x="75" y="1382"/>
                    </a:lnTo>
                    <a:lnTo>
                      <a:pt x="85" y="1381"/>
                    </a:lnTo>
                    <a:lnTo>
                      <a:pt x="96" y="1382"/>
                    </a:lnTo>
                    <a:lnTo>
                      <a:pt x="105" y="1382"/>
                    </a:lnTo>
                    <a:lnTo>
                      <a:pt x="114" y="1384"/>
                    </a:lnTo>
                    <a:lnTo>
                      <a:pt x="123" y="1385"/>
                    </a:lnTo>
                    <a:lnTo>
                      <a:pt x="140" y="1390"/>
                    </a:lnTo>
                    <a:lnTo>
                      <a:pt x="155" y="1396"/>
                    </a:lnTo>
                    <a:lnTo>
                      <a:pt x="187" y="1411"/>
                    </a:lnTo>
                    <a:lnTo>
                      <a:pt x="222" y="1428"/>
                    </a:lnTo>
                    <a:lnTo>
                      <a:pt x="249" y="1441"/>
                    </a:lnTo>
                    <a:lnTo>
                      <a:pt x="275" y="1450"/>
                    </a:lnTo>
                    <a:lnTo>
                      <a:pt x="299" y="1459"/>
                    </a:lnTo>
                    <a:lnTo>
                      <a:pt x="323" y="1466"/>
                    </a:lnTo>
                    <a:lnTo>
                      <a:pt x="347" y="1472"/>
                    </a:lnTo>
                    <a:lnTo>
                      <a:pt x="373" y="1475"/>
                    </a:lnTo>
                    <a:lnTo>
                      <a:pt x="400" y="1477"/>
                    </a:lnTo>
                    <a:lnTo>
                      <a:pt x="430" y="1478"/>
                    </a:lnTo>
                    <a:lnTo>
                      <a:pt x="440" y="1478"/>
                    </a:lnTo>
                    <a:lnTo>
                      <a:pt x="449" y="1477"/>
                    </a:lnTo>
                    <a:lnTo>
                      <a:pt x="459" y="1475"/>
                    </a:lnTo>
                    <a:lnTo>
                      <a:pt x="467" y="1472"/>
                    </a:lnTo>
                    <a:lnTo>
                      <a:pt x="474" y="1468"/>
                    </a:lnTo>
                    <a:lnTo>
                      <a:pt x="481" y="1462"/>
                    </a:lnTo>
                    <a:lnTo>
                      <a:pt x="489" y="1455"/>
                    </a:lnTo>
                    <a:lnTo>
                      <a:pt x="496" y="1447"/>
                    </a:lnTo>
                    <a:lnTo>
                      <a:pt x="496" y="1447"/>
                    </a:lnTo>
                    <a:lnTo>
                      <a:pt x="511" y="1448"/>
                    </a:lnTo>
                    <a:lnTo>
                      <a:pt x="525" y="1450"/>
                    </a:lnTo>
                    <a:lnTo>
                      <a:pt x="539" y="1451"/>
                    </a:lnTo>
                    <a:lnTo>
                      <a:pt x="555" y="1452"/>
                    </a:lnTo>
                    <a:lnTo>
                      <a:pt x="567" y="1450"/>
                    </a:lnTo>
                    <a:lnTo>
                      <a:pt x="578" y="1447"/>
                    </a:lnTo>
                    <a:lnTo>
                      <a:pt x="634" y="1447"/>
                    </a:lnTo>
                    <a:lnTo>
                      <a:pt x="648" y="1450"/>
                    </a:lnTo>
                    <a:lnTo>
                      <a:pt x="663" y="1452"/>
                    </a:lnTo>
                    <a:lnTo>
                      <a:pt x="677" y="1451"/>
                    </a:lnTo>
                    <a:lnTo>
                      <a:pt x="690" y="1449"/>
                    </a:lnTo>
                    <a:lnTo>
                      <a:pt x="702" y="1445"/>
                    </a:lnTo>
                    <a:lnTo>
                      <a:pt x="713" y="1441"/>
                    </a:lnTo>
                    <a:lnTo>
                      <a:pt x="736" y="1432"/>
                    </a:lnTo>
                    <a:lnTo>
                      <a:pt x="762" y="1421"/>
                    </a:lnTo>
                    <a:lnTo>
                      <a:pt x="809" y="1406"/>
                    </a:lnTo>
                    <a:lnTo>
                      <a:pt x="852" y="1391"/>
                    </a:lnTo>
                    <a:lnTo>
                      <a:pt x="892" y="1378"/>
                    </a:lnTo>
                    <a:lnTo>
                      <a:pt x="931" y="1365"/>
                    </a:lnTo>
                    <a:lnTo>
                      <a:pt x="951" y="1360"/>
                    </a:lnTo>
                    <a:lnTo>
                      <a:pt x="971" y="1355"/>
                    </a:lnTo>
                    <a:lnTo>
                      <a:pt x="991" y="1351"/>
                    </a:lnTo>
                    <a:lnTo>
                      <a:pt x="1012" y="1348"/>
                    </a:lnTo>
                    <a:lnTo>
                      <a:pt x="1034" y="1345"/>
                    </a:lnTo>
                    <a:lnTo>
                      <a:pt x="1056" y="1343"/>
                    </a:lnTo>
                    <a:lnTo>
                      <a:pt x="1079" y="1342"/>
                    </a:lnTo>
                    <a:lnTo>
                      <a:pt x="1105" y="1341"/>
                    </a:lnTo>
                    <a:lnTo>
                      <a:pt x="1116" y="1342"/>
                    </a:lnTo>
                    <a:lnTo>
                      <a:pt x="1125" y="1342"/>
                    </a:lnTo>
                    <a:lnTo>
                      <a:pt x="1134" y="1344"/>
                    </a:lnTo>
                    <a:lnTo>
                      <a:pt x="1143" y="1345"/>
                    </a:lnTo>
                    <a:lnTo>
                      <a:pt x="1160" y="1350"/>
                    </a:lnTo>
                    <a:lnTo>
                      <a:pt x="1176" y="1356"/>
                    </a:lnTo>
                    <a:lnTo>
                      <a:pt x="1192" y="1364"/>
                    </a:lnTo>
                    <a:lnTo>
                      <a:pt x="1207" y="1374"/>
                    </a:lnTo>
                    <a:lnTo>
                      <a:pt x="1224" y="1384"/>
                    </a:lnTo>
                    <a:lnTo>
                      <a:pt x="1240" y="1395"/>
                    </a:lnTo>
                    <a:lnTo>
                      <a:pt x="1260" y="1407"/>
                    </a:lnTo>
                    <a:lnTo>
                      <a:pt x="1278" y="1417"/>
                    </a:lnTo>
                    <a:lnTo>
                      <a:pt x="1296" y="1424"/>
                    </a:lnTo>
                    <a:lnTo>
                      <a:pt x="1314" y="1432"/>
                    </a:lnTo>
                    <a:lnTo>
                      <a:pt x="1332" y="1438"/>
                    </a:lnTo>
                    <a:lnTo>
                      <a:pt x="1350" y="1445"/>
                    </a:lnTo>
                    <a:lnTo>
                      <a:pt x="1369" y="1453"/>
                    </a:lnTo>
                    <a:lnTo>
                      <a:pt x="1389" y="1464"/>
                    </a:lnTo>
                    <a:lnTo>
                      <a:pt x="1412" y="1477"/>
                    </a:lnTo>
                    <a:lnTo>
                      <a:pt x="1432" y="1490"/>
                    </a:lnTo>
                    <a:lnTo>
                      <a:pt x="1452" y="1503"/>
                    </a:lnTo>
                    <a:lnTo>
                      <a:pt x="1471" y="1514"/>
                    </a:lnTo>
                    <a:lnTo>
                      <a:pt x="1481" y="1519"/>
                    </a:lnTo>
                    <a:lnTo>
                      <a:pt x="1491" y="1524"/>
                    </a:lnTo>
                    <a:lnTo>
                      <a:pt x="1500" y="1529"/>
                    </a:lnTo>
                    <a:lnTo>
                      <a:pt x="1512" y="1533"/>
                    </a:lnTo>
                    <a:lnTo>
                      <a:pt x="1523" y="1536"/>
                    </a:lnTo>
                    <a:lnTo>
                      <a:pt x="1534" y="1538"/>
                    </a:lnTo>
                    <a:lnTo>
                      <a:pt x="1547" y="1540"/>
                    </a:lnTo>
                    <a:lnTo>
                      <a:pt x="1560" y="1542"/>
                    </a:lnTo>
                    <a:lnTo>
                      <a:pt x="1733" y="1516"/>
                    </a:lnTo>
                    <a:lnTo>
                      <a:pt x="1751" y="1518"/>
                    </a:lnTo>
                    <a:lnTo>
                      <a:pt x="1751" y="1570"/>
                    </a:lnTo>
                    <a:lnTo>
                      <a:pt x="1751" y="1576"/>
                    </a:lnTo>
                    <a:lnTo>
                      <a:pt x="1750" y="1582"/>
                    </a:lnTo>
                    <a:lnTo>
                      <a:pt x="1748" y="1587"/>
                    </a:lnTo>
                    <a:lnTo>
                      <a:pt x="1747" y="1594"/>
                    </a:lnTo>
                    <a:lnTo>
                      <a:pt x="1742" y="1604"/>
                    </a:lnTo>
                    <a:lnTo>
                      <a:pt x="1736" y="1613"/>
                    </a:lnTo>
                    <a:lnTo>
                      <a:pt x="1731" y="1624"/>
                    </a:lnTo>
                    <a:lnTo>
                      <a:pt x="1726" y="1634"/>
                    </a:lnTo>
                    <a:lnTo>
                      <a:pt x="1724" y="1639"/>
                    </a:lnTo>
                    <a:lnTo>
                      <a:pt x="1723" y="1645"/>
                    </a:lnTo>
                    <a:lnTo>
                      <a:pt x="1722" y="1650"/>
                    </a:lnTo>
                    <a:lnTo>
                      <a:pt x="1721" y="1658"/>
                    </a:lnTo>
                    <a:lnTo>
                      <a:pt x="1722" y="1662"/>
                    </a:lnTo>
                    <a:lnTo>
                      <a:pt x="1723" y="1666"/>
                    </a:lnTo>
                    <a:lnTo>
                      <a:pt x="1725" y="1670"/>
                    </a:lnTo>
                    <a:lnTo>
                      <a:pt x="1728" y="1673"/>
                    </a:lnTo>
                    <a:lnTo>
                      <a:pt x="1731" y="1675"/>
                    </a:lnTo>
                    <a:lnTo>
                      <a:pt x="1735" y="1676"/>
                    </a:lnTo>
                    <a:lnTo>
                      <a:pt x="1740" y="1678"/>
                    </a:lnTo>
                    <a:lnTo>
                      <a:pt x="1746" y="1679"/>
                    </a:lnTo>
                    <a:lnTo>
                      <a:pt x="1767" y="1681"/>
                    </a:lnTo>
                    <a:lnTo>
                      <a:pt x="1790" y="1683"/>
                    </a:lnTo>
                    <a:lnTo>
                      <a:pt x="1797" y="1686"/>
                    </a:lnTo>
                    <a:lnTo>
                      <a:pt x="1805" y="1688"/>
                    </a:lnTo>
                    <a:lnTo>
                      <a:pt x="1813" y="1690"/>
                    </a:lnTo>
                    <a:lnTo>
                      <a:pt x="1819" y="1694"/>
                    </a:lnTo>
                    <a:lnTo>
                      <a:pt x="1825" y="1697"/>
                    </a:lnTo>
                    <a:lnTo>
                      <a:pt x="1831" y="1701"/>
                    </a:lnTo>
                    <a:lnTo>
                      <a:pt x="1837" y="1706"/>
                    </a:lnTo>
                    <a:lnTo>
                      <a:pt x="1843" y="1711"/>
                    </a:lnTo>
                    <a:lnTo>
                      <a:pt x="1847" y="1717"/>
                    </a:lnTo>
                    <a:lnTo>
                      <a:pt x="1851" y="1723"/>
                    </a:lnTo>
                    <a:lnTo>
                      <a:pt x="1854" y="1729"/>
                    </a:lnTo>
                    <a:lnTo>
                      <a:pt x="1857" y="1736"/>
                    </a:lnTo>
                    <a:lnTo>
                      <a:pt x="1860" y="1743"/>
                    </a:lnTo>
                    <a:lnTo>
                      <a:pt x="1861" y="1751"/>
                    </a:lnTo>
                    <a:lnTo>
                      <a:pt x="1862" y="1758"/>
                    </a:lnTo>
                    <a:lnTo>
                      <a:pt x="1863" y="1766"/>
                    </a:lnTo>
                    <a:lnTo>
                      <a:pt x="1862" y="1786"/>
                    </a:lnTo>
                    <a:lnTo>
                      <a:pt x="1859" y="1803"/>
                    </a:lnTo>
                    <a:lnTo>
                      <a:pt x="1855" y="1819"/>
                    </a:lnTo>
                    <a:lnTo>
                      <a:pt x="1850" y="1835"/>
                    </a:lnTo>
                    <a:lnTo>
                      <a:pt x="1838" y="1866"/>
                    </a:lnTo>
                    <a:lnTo>
                      <a:pt x="1827" y="1902"/>
                    </a:lnTo>
                    <a:lnTo>
                      <a:pt x="1839" y="1905"/>
                    </a:lnTo>
                    <a:lnTo>
                      <a:pt x="1850" y="1899"/>
                    </a:lnTo>
                    <a:lnTo>
                      <a:pt x="1859" y="1894"/>
                    </a:lnTo>
                    <a:lnTo>
                      <a:pt x="1868" y="1891"/>
                    </a:lnTo>
                    <a:lnTo>
                      <a:pt x="1878" y="1887"/>
                    </a:lnTo>
                    <a:lnTo>
                      <a:pt x="1888" y="1885"/>
                    </a:lnTo>
                    <a:lnTo>
                      <a:pt x="1897" y="1883"/>
                    </a:lnTo>
                    <a:lnTo>
                      <a:pt x="1909" y="1882"/>
                    </a:lnTo>
                    <a:lnTo>
                      <a:pt x="1920" y="1882"/>
                    </a:lnTo>
                    <a:lnTo>
                      <a:pt x="1976" y="1882"/>
                    </a:lnTo>
                    <a:lnTo>
                      <a:pt x="1985" y="1883"/>
                    </a:lnTo>
                    <a:lnTo>
                      <a:pt x="1994" y="1886"/>
                    </a:lnTo>
                    <a:lnTo>
                      <a:pt x="2001" y="1890"/>
                    </a:lnTo>
                    <a:lnTo>
                      <a:pt x="2009" y="1895"/>
                    </a:lnTo>
                    <a:lnTo>
                      <a:pt x="2015" y="1902"/>
                    </a:lnTo>
                    <a:lnTo>
                      <a:pt x="2020" y="1910"/>
                    </a:lnTo>
                    <a:lnTo>
                      <a:pt x="2026" y="1917"/>
                    </a:lnTo>
                    <a:lnTo>
                      <a:pt x="2031" y="1925"/>
                    </a:lnTo>
                    <a:lnTo>
                      <a:pt x="2036" y="1933"/>
                    </a:lnTo>
                    <a:lnTo>
                      <a:pt x="2042" y="1942"/>
                    </a:lnTo>
                    <a:lnTo>
                      <a:pt x="2048" y="1949"/>
                    </a:lnTo>
                    <a:lnTo>
                      <a:pt x="2054" y="1955"/>
                    </a:lnTo>
                    <a:lnTo>
                      <a:pt x="2060" y="1961"/>
                    </a:lnTo>
                    <a:lnTo>
                      <a:pt x="2068" y="1965"/>
                    </a:lnTo>
                    <a:lnTo>
                      <a:pt x="2077" y="1968"/>
                    </a:lnTo>
                    <a:lnTo>
                      <a:pt x="2087" y="1968"/>
                    </a:lnTo>
                    <a:lnTo>
                      <a:pt x="2098" y="1968"/>
                    </a:lnTo>
                    <a:lnTo>
                      <a:pt x="2109" y="1965"/>
                    </a:lnTo>
                    <a:lnTo>
                      <a:pt x="2118" y="1961"/>
                    </a:lnTo>
                    <a:lnTo>
                      <a:pt x="2127" y="1956"/>
                    </a:lnTo>
                    <a:lnTo>
                      <a:pt x="2134" y="1950"/>
                    </a:lnTo>
                    <a:lnTo>
                      <a:pt x="2142" y="1943"/>
                    </a:lnTo>
                    <a:lnTo>
                      <a:pt x="2149" y="1935"/>
                    </a:lnTo>
                    <a:lnTo>
                      <a:pt x="2155" y="1927"/>
                    </a:lnTo>
                    <a:lnTo>
                      <a:pt x="2168" y="1910"/>
                    </a:lnTo>
                    <a:lnTo>
                      <a:pt x="2184" y="1893"/>
                    </a:lnTo>
                    <a:lnTo>
                      <a:pt x="2191" y="1886"/>
                    </a:lnTo>
                    <a:lnTo>
                      <a:pt x="2200" y="1879"/>
                    </a:lnTo>
                    <a:lnTo>
                      <a:pt x="2211" y="1872"/>
                    </a:lnTo>
                    <a:lnTo>
                      <a:pt x="2221" y="1867"/>
                    </a:lnTo>
                    <a:lnTo>
                      <a:pt x="2358" y="1896"/>
                    </a:lnTo>
                    <a:lnTo>
                      <a:pt x="2382" y="1896"/>
                    </a:lnTo>
                    <a:lnTo>
                      <a:pt x="2406" y="1895"/>
                    </a:lnTo>
                    <a:lnTo>
                      <a:pt x="2427" y="1893"/>
                    </a:lnTo>
                    <a:lnTo>
                      <a:pt x="2448" y="1890"/>
                    </a:lnTo>
                    <a:lnTo>
                      <a:pt x="2458" y="1888"/>
                    </a:lnTo>
                    <a:lnTo>
                      <a:pt x="2468" y="1885"/>
                    </a:lnTo>
                    <a:lnTo>
                      <a:pt x="2478" y="1881"/>
                    </a:lnTo>
                    <a:lnTo>
                      <a:pt x="2487" y="1877"/>
                    </a:lnTo>
                    <a:lnTo>
                      <a:pt x="2496" y="1871"/>
                    </a:lnTo>
                    <a:lnTo>
                      <a:pt x="2507" y="1865"/>
                    </a:lnTo>
                    <a:lnTo>
                      <a:pt x="2516" y="1859"/>
                    </a:lnTo>
                    <a:lnTo>
                      <a:pt x="2525" y="1851"/>
                    </a:lnTo>
                    <a:lnTo>
                      <a:pt x="2542" y="1837"/>
                    </a:lnTo>
                    <a:lnTo>
                      <a:pt x="2557" y="1825"/>
                    </a:lnTo>
                    <a:lnTo>
                      <a:pt x="2563" y="1819"/>
                    </a:lnTo>
                    <a:lnTo>
                      <a:pt x="2569" y="1810"/>
                    </a:lnTo>
                    <a:lnTo>
                      <a:pt x="2570" y="1806"/>
                    </a:lnTo>
                    <a:lnTo>
                      <a:pt x="2572" y="1802"/>
                    </a:lnTo>
                    <a:lnTo>
                      <a:pt x="2572" y="1797"/>
                    </a:lnTo>
                    <a:lnTo>
                      <a:pt x="2573" y="1792"/>
                    </a:lnTo>
                    <a:lnTo>
                      <a:pt x="2572" y="1783"/>
                    </a:lnTo>
                    <a:lnTo>
                      <a:pt x="2570" y="1774"/>
                    </a:lnTo>
                    <a:lnTo>
                      <a:pt x="2568" y="1767"/>
                    </a:lnTo>
                    <a:lnTo>
                      <a:pt x="2564" y="1759"/>
                    </a:lnTo>
                    <a:lnTo>
                      <a:pt x="2561" y="1752"/>
                    </a:lnTo>
                    <a:lnTo>
                      <a:pt x="2558" y="1744"/>
                    </a:lnTo>
                    <a:lnTo>
                      <a:pt x="2556" y="1736"/>
                    </a:lnTo>
                    <a:lnTo>
                      <a:pt x="2556" y="1727"/>
                    </a:lnTo>
                    <a:lnTo>
                      <a:pt x="2556" y="1717"/>
                    </a:lnTo>
                    <a:lnTo>
                      <a:pt x="2556" y="1708"/>
                    </a:lnTo>
                    <a:lnTo>
                      <a:pt x="2557" y="1700"/>
                    </a:lnTo>
                    <a:lnTo>
                      <a:pt x="2558" y="1691"/>
                    </a:lnTo>
                    <a:lnTo>
                      <a:pt x="2580" y="1689"/>
                    </a:lnTo>
                    <a:lnTo>
                      <a:pt x="2598" y="1687"/>
                    </a:lnTo>
                    <a:lnTo>
                      <a:pt x="2608" y="1686"/>
                    </a:lnTo>
                    <a:lnTo>
                      <a:pt x="2617" y="1683"/>
                    </a:lnTo>
                    <a:lnTo>
                      <a:pt x="2626" y="1679"/>
                    </a:lnTo>
                    <a:lnTo>
                      <a:pt x="2636" y="1674"/>
                    </a:lnTo>
                    <a:lnTo>
                      <a:pt x="2650" y="1664"/>
                    </a:lnTo>
                    <a:lnTo>
                      <a:pt x="2663" y="1652"/>
                    </a:lnTo>
                    <a:lnTo>
                      <a:pt x="2675" y="1641"/>
                    </a:lnTo>
                    <a:lnTo>
                      <a:pt x="2687" y="1630"/>
                    </a:lnTo>
                    <a:lnTo>
                      <a:pt x="2699" y="1618"/>
                    </a:lnTo>
                    <a:lnTo>
                      <a:pt x="2711" y="1609"/>
                    </a:lnTo>
                    <a:lnTo>
                      <a:pt x="2718" y="1605"/>
                    </a:lnTo>
                    <a:lnTo>
                      <a:pt x="2725" y="1602"/>
                    </a:lnTo>
                    <a:lnTo>
                      <a:pt x="2734" y="1599"/>
                    </a:lnTo>
                    <a:lnTo>
                      <a:pt x="2742" y="1596"/>
                    </a:lnTo>
                    <a:lnTo>
                      <a:pt x="2756" y="1591"/>
                    </a:lnTo>
                    <a:lnTo>
                      <a:pt x="2769" y="1585"/>
                    </a:lnTo>
                    <a:lnTo>
                      <a:pt x="2775" y="1583"/>
                    </a:lnTo>
                    <a:lnTo>
                      <a:pt x="2782" y="1581"/>
                    </a:lnTo>
                    <a:lnTo>
                      <a:pt x="2788" y="1580"/>
                    </a:lnTo>
                    <a:lnTo>
                      <a:pt x="2796" y="1579"/>
                    </a:lnTo>
                    <a:lnTo>
                      <a:pt x="2802" y="1580"/>
                    </a:lnTo>
                    <a:lnTo>
                      <a:pt x="2807" y="1580"/>
                    </a:lnTo>
                    <a:lnTo>
                      <a:pt x="2812" y="1582"/>
                    </a:lnTo>
                    <a:lnTo>
                      <a:pt x="2817" y="1583"/>
                    </a:lnTo>
                    <a:lnTo>
                      <a:pt x="2825" y="1588"/>
                    </a:lnTo>
                    <a:lnTo>
                      <a:pt x="2834" y="1594"/>
                    </a:lnTo>
                    <a:lnTo>
                      <a:pt x="2849" y="1607"/>
                    </a:lnTo>
                    <a:lnTo>
                      <a:pt x="2867" y="1619"/>
                    </a:lnTo>
                    <a:lnTo>
                      <a:pt x="2867" y="1619"/>
                    </a:lnTo>
                    <a:lnTo>
                      <a:pt x="2877" y="1616"/>
                    </a:lnTo>
                    <a:lnTo>
                      <a:pt x="2887" y="1613"/>
                    </a:lnTo>
                    <a:lnTo>
                      <a:pt x="2897" y="1610"/>
                    </a:lnTo>
                    <a:lnTo>
                      <a:pt x="2905" y="1606"/>
                    </a:lnTo>
                    <a:lnTo>
                      <a:pt x="2913" y="1602"/>
                    </a:lnTo>
                    <a:lnTo>
                      <a:pt x="2921" y="1597"/>
                    </a:lnTo>
                    <a:lnTo>
                      <a:pt x="2930" y="1592"/>
                    </a:lnTo>
                    <a:lnTo>
                      <a:pt x="2937" y="1585"/>
                    </a:lnTo>
                    <a:lnTo>
                      <a:pt x="2943" y="1579"/>
                    </a:lnTo>
                    <a:lnTo>
                      <a:pt x="2949" y="1572"/>
                    </a:lnTo>
                    <a:lnTo>
                      <a:pt x="2955" y="1566"/>
                    </a:lnTo>
                    <a:lnTo>
                      <a:pt x="2961" y="1557"/>
                    </a:lnTo>
                    <a:lnTo>
                      <a:pt x="2967" y="1549"/>
                    </a:lnTo>
                    <a:lnTo>
                      <a:pt x="2972" y="1541"/>
                    </a:lnTo>
                    <a:lnTo>
                      <a:pt x="2976" y="1533"/>
                    </a:lnTo>
                    <a:lnTo>
                      <a:pt x="2980" y="1522"/>
                    </a:lnTo>
                    <a:lnTo>
                      <a:pt x="2992" y="1487"/>
                    </a:lnTo>
                    <a:lnTo>
                      <a:pt x="3004" y="1452"/>
                    </a:lnTo>
                    <a:lnTo>
                      <a:pt x="3008" y="1445"/>
                    </a:lnTo>
                    <a:lnTo>
                      <a:pt x="3012" y="1438"/>
                    </a:lnTo>
                    <a:lnTo>
                      <a:pt x="3016" y="1432"/>
                    </a:lnTo>
                    <a:lnTo>
                      <a:pt x="3021" y="1426"/>
                    </a:lnTo>
                    <a:lnTo>
                      <a:pt x="3027" y="1421"/>
                    </a:lnTo>
                    <a:lnTo>
                      <a:pt x="3035" y="1418"/>
                    </a:lnTo>
                    <a:lnTo>
                      <a:pt x="3042" y="1416"/>
                    </a:lnTo>
                    <a:lnTo>
                      <a:pt x="3051" y="1414"/>
                    </a:lnTo>
                    <a:lnTo>
                      <a:pt x="3065" y="1414"/>
                    </a:lnTo>
                    <a:lnTo>
                      <a:pt x="3076" y="1415"/>
                    </a:lnTo>
                    <a:lnTo>
                      <a:pt x="3087" y="1417"/>
                    </a:lnTo>
                    <a:lnTo>
                      <a:pt x="3099" y="1418"/>
                    </a:lnTo>
                    <a:lnTo>
                      <a:pt x="3110" y="1420"/>
                    </a:lnTo>
                    <a:lnTo>
                      <a:pt x="3121" y="1420"/>
                    </a:lnTo>
                    <a:lnTo>
                      <a:pt x="3133" y="1419"/>
                    </a:lnTo>
                    <a:lnTo>
                      <a:pt x="3145" y="1417"/>
                    </a:lnTo>
                    <a:lnTo>
                      <a:pt x="3158" y="1412"/>
                    </a:lnTo>
                    <a:lnTo>
                      <a:pt x="3171" y="1406"/>
                    </a:lnTo>
                    <a:lnTo>
                      <a:pt x="3181" y="1398"/>
                    </a:lnTo>
                    <a:lnTo>
                      <a:pt x="3190" y="1391"/>
                    </a:lnTo>
                    <a:lnTo>
                      <a:pt x="3209" y="1374"/>
                    </a:lnTo>
                    <a:lnTo>
                      <a:pt x="3231" y="1355"/>
                    </a:lnTo>
                    <a:lnTo>
                      <a:pt x="3247" y="1346"/>
                    </a:lnTo>
                    <a:lnTo>
                      <a:pt x="3264" y="1338"/>
                    </a:lnTo>
                    <a:lnTo>
                      <a:pt x="3271" y="1333"/>
                    </a:lnTo>
                    <a:lnTo>
                      <a:pt x="3277" y="1328"/>
                    </a:lnTo>
                    <a:lnTo>
                      <a:pt x="3279" y="1325"/>
                    </a:lnTo>
                    <a:lnTo>
                      <a:pt x="3280" y="1321"/>
                    </a:lnTo>
                    <a:lnTo>
                      <a:pt x="3281" y="1317"/>
                    </a:lnTo>
                    <a:lnTo>
                      <a:pt x="3282" y="1313"/>
                    </a:lnTo>
                    <a:lnTo>
                      <a:pt x="3281" y="1306"/>
                    </a:lnTo>
                    <a:lnTo>
                      <a:pt x="3280" y="1298"/>
                    </a:lnTo>
                    <a:lnTo>
                      <a:pt x="3279" y="1292"/>
                    </a:lnTo>
                    <a:lnTo>
                      <a:pt x="3277" y="1287"/>
                    </a:lnTo>
                    <a:lnTo>
                      <a:pt x="3274" y="1281"/>
                    </a:lnTo>
                    <a:lnTo>
                      <a:pt x="3271" y="1276"/>
                    </a:lnTo>
                    <a:lnTo>
                      <a:pt x="3267" y="1270"/>
                    </a:lnTo>
                    <a:lnTo>
                      <a:pt x="3263" y="1265"/>
                    </a:lnTo>
                    <a:lnTo>
                      <a:pt x="3253" y="1257"/>
                    </a:lnTo>
                    <a:lnTo>
                      <a:pt x="3242" y="1249"/>
                    </a:lnTo>
                    <a:lnTo>
                      <a:pt x="3232" y="1240"/>
                    </a:lnTo>
                    <a:lnTo>
                      <a:pt x="3219" y="1233"/>
                    </a:lnTo>
                    <a:lnTo>
                      <a:pt x="3208" y="1226"/>
                    </a:lnTo>
                    <a:lnTo>
                      <a:pt x="3197" y="1218"/>
                    </a:lnTo>
                    <a:lnTo>
                      <a:pt x="3186" y="1209"/>
                    </a:lnTo>
                    <a:lnTo>
                      <a:pt x="3177" y="1200"/>
                    </a:lnTo>
                    <a:lnTo>
                      <a:pt x="3173" y="1196"/>
                    </a:lnTo>
                    <a:lnTo>
                      <a:pt x="3169" y="1191"/>
                    </a:lnTo>
                    <a:lnTo>
                      <a:pt x="3166" y="1186"/>
                    </a:lnTo>
                    <a:lnTo>
                      <a:pt x="3163" y="1180"/>
                    </a:lnTo>
                    <a:lnTo>
                      <a:pt x="3161" y="1173"/>
                    </a:lnTo>
                    <a:lnTo>
                      <a:pt x="3158" y="1167"/>
                    </a:lnTo>
                    <a:lnTo>
                      <a:pt x="3157" y="1161"/>
                    </a:lnTo>
                    <a:lnTo>
                      <a:pt x="3157" y="1154"/>
                    </a:lnTo>
                    <a:lnTo>
                      <a:pt x="3157" y="1141"/>
                    </a:lnTo>
                    <a:lnTo>
                      <a:pt x="3161" y="1130"/>
                    </a:lnTo>
                    <a:lnTo>
                      <a:pt x="3164" y="1120"/>
                    </a:lnTo>
                    <a:lnTo>
                      <a:pt x="3169" y="1109"/>
                    </a:lnTo>
                    <a:lnTo>
                      <a:pt x="3175" y="1101"/>
                    </a:lnTo>
                    <a:lnTo>
                      <a:pt x="3181" y="1092"/>
                    </a:lnTo>
                    <a:lnTo>
                      <a:pt x="3187" y="1084"/>
                    </a:lnTo>
                    <a:lnTo>
                      <a:pt x="3195" y="1075"/>
                    </a:lnTo>
                    <a:lnTo>
                      <a:pt x="3202" y="1067"/>
                    </a:lnTo>
                    <a:lnTo>
                      <a:pt x="3209" y="1058"/>
                    </a:lnTo>
                    <a:lnTo>
                      <a:pt x="3215" y="1049"/>
                    </a:lnTo>
                    <a:lnTo>
                      <a:pt x="3220" y="1040"/>
                    </a:lnTo>
                    <a:lnTo>
                      <a:pt x="3225" y="1030"/>
                    </a:lnTo>
                    <a:lnTo>
                      <a:pt x="3230" y="1019"/>
                    </a:lnTo>
                    <a:lnTo>
                      <a:pt x="3232" y="1008"/>
                    </a:lnTo>
                    <a:lnTo>
                      <a:pt x="3233" y="997"/>
                    </a:lnTo>
                    <a:lnTo>
                      <a:pt x="3231" y="984"/>
                    </a:lnTo>
                    <a:lnTo>
                      <a:pt x="3228" y="973"/>
                    </a:lnTo>
                    <a:lnTo>
                      <a:pt x="3229" y="965"/>
                    </a:lnTo>
                    <a:lnTo>
                      <a:pt x="3230" y="958"/>
                    </a:lnTo>
                    <a:lnTo>
                      <a:pt x="3231" y="950"/>
                    </a:lnTo>
                    <a:lnTo>
                      <a:pt x="3234" y="944"/>
                    </a:lnTo>
                    <a:lnTo>
                      <a:pt x="3236" y="938"/>
                    </a:lnTo>
                    <a:lnTo>
                      <a:pt x="3240" y="932"/>
                    </a:lnTo>
                    <a:lnTo>
                      <a:pt x="3244" y="927"/>
                    </a:lnTo>
                    <a:lnTo>
                      <a:pt x="3248" y="920"/>
                    </a:lnTo>
                    <a:lnTo>
                      <a:pt x="3258" y="911"/>
                    </a:lnTo>
                    <a:lnTo>
                      <a:pt x="3271" y="903"/>
                    </a:lnTo>
                    <a:lnTo>
                      <a:pt x="3284" y="896"/>
                    </a:lnTo>
                    <a:lnTo>
                      <a:pt x="3299" y="890"/>
                    </a:lnTo>
                    <a:lnTo>
                      <a:pt x="3309" y="887"/>
                    </a:lnTo>
                    <a:lnTo>
                      <a:pt x="3318" y="885"/>
                    </a:lnTo>
                    <a:lnTo>
                      <a:pt x="3328" y="884"/>
                    </a:lnTo>
                    <a:lnTo>
                      <a:pt x="3337" y="883"/>
                    </a:lnTo>
                    <a:lnTo>
                      <a:pt x="3346" y="882"/>
                    </a:lnTo>
                    <a:lnTo>
                      <a:pt x="3355" y="881"/>
                    </a:lnTo>
                    <a:lnTo>
                      <a:pt x="3365" y="878"/>
                    </a:lnTo>
                    <a:lnTo>
                      <a:pt x="3374" y="874"/>
                    </a:lnTo>
                    <a:lnTo>
                      <a:pt x="3380" y="870"/>
                    </a:lnTo>
                    <a:lnTo>
                      <a:pt x="3385" y="866"/>
                    </a:lnTo>
                    <a:lnTo>
                      <a:pt x="3389" y="861"/>
                    </a:lnTo>
                    <a:lnTo>
                      <a:pt x="3395" y="857"/>
                    </a:lnTo>
                    <a:lnTo>
                      <a:pt x="3401" y="848"/>
                    </a:lnTo>
                    <a:lnTo>
                      <a:pt x="3407" y="838"/>
                    </a:lnTo>
                    <a:lnTo>
                      <a:pt x="3418" y="816"/>
                    </a:lnTo>
                    <a:lnTo>
                      <a:pt x="3433" y="793"/>
                    </a:lnTo>
                    <a:lnTo>
                      <a:pt x="3447" y="777"/>
                    </a:lnTo>
                    <a:lnTo>
                      <a:pt x="3461" y="762"/>
                    </a:lnTo>
                    <a:lnTo>
                      <a:pt x="3467" y="755"/>
                    </a:lnTo>
                    <a:lnTo>
                      <a:pt x="3471" y="747"/>
                    </a:lnTo>
                    <a:lnTo>
                      <a:pt x="3473" y="743"/>
                    </a:lnTo>
                    <a:lnTo>
                      <a:pt x="3474" y="738"/>
                    </a:lnTo>
                    <a:lnTo>
                      <a:pt x="3475" y="732"/>
                    </a:lnTo>
                    <a:lnTo>
                      <a:pt x="3475" y="727"/>
                    </a:lnTo>
                    <a:lnTo>
                      <a:pt x="3475" y="721"/>
                    </a:lnTo>
                    <a:lnTo>
                      <a:pt x="3474" y="716"/>
                    </a:lnTo>
                    <a:lnTo>
                      <a:pt x="3472" y="712"/>
                    </a:lnTo>
                    <a:lnTo>
                      <a:pt x="3469" y="708"/>
                    </a:lnTo>
                    <a:lnTo>
                      <a:pt x="3465" y="703"/>
                    </a:lnTo>
                    <a:lnTo>
                      <a:pt x="3461" y="700"/>
                    </a:lnTo>
                    <a:lnTo>
                      <a:pt x="3456" y="697"/>
                    </a:lnTo>
                    <a:lnTo>
                      <a:pt x="3451" y="695"/>
                    </a:lnTo>
                    <a:lnTo>
                      <a:pt x="3429" y="687"/>
                    </a:lnTo>
                    <a:lnTo>
                      <a:pt x="3405" y="678"/>
                    </a:lnTo>
                    <a:lnTo>
                      <a:pt x="3386" y="669"/>
                    </a:lnTo>
                    <a:lnTo>
                      <a:pt x="3369" y="661"/>
                    </a:lnTo>
                    <a:lnTo>
                      <a:pt x="3353" y="653"/>
                    </a:lnTo>
                    <a:lnTo>
                      <a:pt x="3339" y="644"/>
                    </a:lnTo>
                    <a:lnTo>
                      <a:pt x="3324" y="633"/>
                    </a:lnTo>
                    <a:lnTo>
                      <a:pt x="3312" y="622"/>
                    </a:lnTo>
                    <a:lnTo>
                      <a:pt x="3306" y="615"/>
                    </a:lnTo>
                    <a:lnTo>
                      <a:pt x="3300" y="607"/>
                    </a:lnTo>
                    <a:lnTo>
                      <a:pt x="3295" y="599"/>
                    </a:lnTo>
                    <a:lnTo>
                      <a:pt x="3289" y="590"/>
                    </a:lnTo>
                    <a:lnTo>
                      <a:pt x="3295" y="588"/>
                    </a:lnTo>
                    <a:lnTo>
                      <a:pt x="3300" y="586"/>
                    </a:lnTo>
                    <a:lnTo>
                      <a:pt x="3305" y="584"/>
                    </a:lnTo>
                    <a:lnTo>
                      <a:pt x="3311" y="584"/>
                    </a:lnTo>
                    <a:lnTo>
                      <a:pt x="3335" y="583"/>
                    </a:lnTo>
                    <a:lnTo>
                      <a:pt x="3357" y="583"/>
                    </a:lnTo>
                    <a:lnTo>
                      <a:pt x="3378" y="583"/>
                    </a:lnTo>
                    <a:lnTo>
                      <a:pt x="3399" y="582"/>
                    </a:lnTo>
                    <a:lnTo>
                      <a:pt x="3419" y="582"/>
                    </a:lnTo>
                    <a:lnTo>
                      <a:pt x="3440" y="582"/>
                    </a:lnTo>
                    <a:lnTo>
                      <a:pt x="3462" y="581"/>
                    </a:lnTo>
                    <a:lnTo>
                      <a:pt x="3486" y="581"/>
                    </a:lnTo>
                    <a:lnTo>
                      <a:pt x="3497" y="580"/>
                    </a:lnTo>
                    <a:lnTo>
                      <a:pt x="3505" y="578"/>
                    </a:lnTo>
                    <a:lnTo>
                      <a:pt x="3512" y="573"/>
                    </a:lnTo>
                    <a:lnTo>
                      <a:pt x="3518" y="568"/>
                    </a:lnTo>
                    <a:lnTo>
                      <a:pt x="3524" y="561"/>
                    </a:lnTo>
                    <a:lnTo>
                      <a:pt x="3528" y="554"/>
                    </a:lnTo>
                    <a:lnTo>
                      <a:pt x="3532" y="545"/>
                    </a:lnTo>
                    <a:lnTo>
                      <a:pt x="3536" y="536"/>
                    </a:lnTo>
                    <a:lnTo>
                      <a:pt x="3542" y="517"/>
                    </a:lnTo>
                    <a:lnTo>
                      <a:pt x="3548" y="496"/>
                    </a:lnTo>
                    <a:lnTo>
                      <a:pt x="3552" y="487"/>
                    </a:lnTo>
                    <a:lnTo>
                      <a:pt x="3558" y="476"/>
                    </a:lnTo>
                    <a:lnTo>
                      <a:pt x="3563" y="467"/>
                    </a:lnTo>
                    <a:lnTo>
                      <a:pt x="3570" y="458"/>
                    </a:lnTo>
                    <a:lnTo>
                      <a:pt x="3570" y="458"/>
                    </a:lnTo>
                    <a:lnTo>
                      <a:pt x="3541" y="438"/>
                    </a:lnTo>
                    <a:lnTo>
                      <a:pt x="3516" y="420"/>
                    </a:lnTo>
                    <a:lnTo>
                      <a:pt x="3504" y="411"/>
                    </a:lnTo>
                    <a:lnTo>
                      <a:pt x="3491" y="405"/>
                    </a:lnTo>
                    <a:lnTo>
                      <a:pt x="3483" y="402"/>
                    </a:lnTo>
                    <a:lnTo>
                      <a:pt x="3476" y="401"/>
                    </a:lnTo>
                    <a:lnTo>
                      <a:pt x="3467" y="400"/>
                    </a:lnTo>
                    <a:lnTo>
                      <a:pt x="3459" y="399"/>
                    </a:lnTo>
                    <a:lnTo>
                      <a:pt x="3412" y="399"/>
                    </a:lnTo>
                    <a:lnTo>
                      <a:pt x="3402" y="400"/>
                    </a:lnTo>
                    <a:lnTo>
                      <a:pt x="3392" y="401"/>
                    </a:lnTo>
                    <a:lnTo>
                      <a:pt x="3381" y="403"/>
                    </a:lnTo>
                    <a:lnTo>
                      <a:pt x="3372" y="405"/>
                    </a:lnTo>
                    <a:lnTo>
                      <a:pt x="3363" y="409"/>
                    </a:lnTo>
                    <a:lnTo>
                      <a:pt x="3354" y="413"/>
                    </a:lnTo>
                    <a:lnTo>
                      <a:pt x="3346" y="417"/>
                    </a:lnTo>
                    <a:lnTo>
                      <a:pt x="3338" y="423"/>
                    </a:lnTo>
                    <a:lnTo>
                      <a:pt x="3322" y="434"/>
                    </a:lnTo>
                    <a:lnTo>
                      <a:pt x="3308" y="446"/>
                    </a:lnTo>
                    <a:lnTo>
                      <a:pt x="3294" y="460"/>
                    </a:lnTo>
                    <a:lnTo>
                      <a:pt x="3280" y="473"/>
                    </a:lnTo>
                    <a:lnTo>
                      <a:pt x="3266" y="488"/>
                    </a:lnTo>
                    <a:lnTo>
                      <a:pt x="3252" y="501"/>
                    </a:lnTo>
                    <a:lnTo>
                      <a:pt x="3238" y="513"/>
                    </a:lnTo>
                    <a:lnTo>
                      <a:pt x="3222" y="525"/>
                    </a:lnTo>
                    <a:lnTo>
                      <a:pt x="3214" y="530"/>
                    </a:lnTo>
                    <a:lnTo>
                      <a:pt x="3206" y="534"/>
                    </a:lnTo>
                    <a:lnTo>
                      <a:pt x="3197" y="538"/>
                    </a:lnTo>
                    <a:lnTo>
                      <a:pt x="3188" y="541"/>
                    </a:lnTo>
                    <a:lnTo>
                      <a:pt x="3179" y="544"/>
                    </a:lnTo>
                    <a:lnTo>
                      <a:pt x="3169" y="547"/>
                    </a:lnTo>
                    <a:lnTo>
                      <a:pt x="3158" y="548"/>
                    </a:lnTo>
                    <a:lnTo>
                      <a:pt x="3148" y="548"/>
                    </a:lnTo>
                    <a:lnTo>
                      <a:pt x="3138" y="548"/>
                    </a:lnTo>
                    <a:lnTo>
                      <a:pt x="3130" y="547"/>
                    </a:lnTo>
                    <a:lnTo>
                      <a:pt x="3121" y="544"/>
                    </a:lnTo>
                    <a:lnTo>
                      <a:pt x="3113" y="541"/>
                    </a:lnTo>
                    <a:lnTo>
                      <a:pt x="3106" y="538"/>
                    </a:lnTo>
                    <a:lnTo>
                      <a:pt x="3099" y="534"/>
                    </a:lnTo>
                    <a:lnTo>
                      <a:pt x="3092" y="530"/>
                    </a:lnTo>
                    <a:lnTo>
                      <a:pt x="3086" y="525"/>
                    </a:lnTo>
                    <a:lnTo>
                      <a:pt x="3059" y="504"/>
                    </a:lnTo>
                    <a:lnTo>
                      <a:pt x="3030" y="481"/>
                    </a:lnTo>
                    <a:lnTo>
                      <a:pt x="3018" y="463"/>
                    </a:lnTo>
                    <a:lnTo>
                      <a:pt x="3009" y="444"/>
                    </a:lnTo>
                    <a:lnTo>
                      <a:pt x="3002" y="426"/>
                    </a:lnTo>
                    <a:lnTo>
                      <a:pt x="2996" y="408"/>
                    </a:lnTo>
                    <a:lnTo>
                      <a:pt x="2990" y="389"/>
                    </a:lnTo>
                    <a:lnTo>
                      <a:pt x="2987" y="369"/>
                    </a:lnTo>
                    <a:lnTo>
                      <a:pt x="2984" y="348"/>
                    </a:lnTo>
                    <a:lnTo>
                      <a:pt x="2983" y="326"/>
                    </a:lnTo>
                    <a:lnTo>
                      <a:pt x="2981" y="302"/>
                    </a:lnTo>
                    <a:lnTo>
                      <a:pt x="2980" y="278"/>
                    </a:lnTo>
                    <a:lnTo>
                      <a:pt x="2978" y="254"/>
                    </a:lnTo>
                    <a:lnTo>
                      <a:pt x="2975" y="233"/>
                    </a:lnTo>
                    <a:lnTo>
                      <a:pt x="2972" y="223"/>
                    </a:lnTo>
                    <a:lnTo>
                      <a:pt x="2969" y="213"/>
                    </a:lnTo>
                    <a:lnTo>
                      <a:pt x="2964" y="205"/>
                    </a:lnTo>
                    <a:lnTo>
                      <a:pt x="2958" y="196"/>
                    </a:lnTo>
                    <a:lnTo>
                      <a:pt x="2951" y="189"/>
                    </a:lnTo>
                    <a:lnTo>
                      <a:pt x="2944" y="183"/>
                    </a:lnTo>
                    <a:lnTo>
                      <a:pt x="2935" y="179"/>
                    </a:lnTo>
                    <a:lnTo>
                      <a:pt x="2923" y="175"/>
                    </a:lnTo>
                    <a:lnTo>
                      <a:pt x="2900" y="170"/>
                    </a:lnTo>
                    <a:lnTo>
                      <a:pt x="2877" y="164"/>
                    </a:lnTo>
                    <a:lnTo>
                      <a:pt x="2855" y="161"/>
                    </a:lnTo>
                    <a:lnTo>
                      <a:pt x="2835" y="157"/>
                    </a:lnTo>
                    <a:lnTo>
                      <a:pt x="2814" y="153"/>
                    </a:lnTo>
                    <a:lnTo>
                      <a:pt x="2793" y="146"/>
                    </a:lnTo>
                    <a:lnTo>
                      <a:pt x="2783" y="142"/>
                    </a:lnTo>
                    <a:lnTo>
                      <a:pt x="2773" y="138"/>
                    </a:lnTo>
                    <a:lnTo>
                      <a:pt x="2762" y="131"/>
                    </a:lnTo>
                    <a:lnTo>
                      <a:pt x="2751" y="125"/>
                    </a:lnTo>
                    <a:lnTo>
                      <a:pt x="2745" y="120"/>
                    </a:lnTo>
                    <a:lnTo>
                      <a:pt x="2739" y="115"/>
                    </a:lnTo>
                    <a:lnTo>
                      <a:pt x="2734" y="110"/>
                    </a:lnTo>
                    <a:lnTo>
                      <a:pt x="2728" y="105"/>
                    </a:lnTo>
                    <a:lnTo>
                      <a:pt x="2721" y="92"/>
                    </a:lnTo>
                    <a:lnTo>
                      <a:pt x="2714" y="80"/>
                    </a:lnTo>
                    <a:lnTo>
                      <a:pt x="2707" y="67"/>
                    </a:lnTo>
                    <a:lnTo>
                      <a:pt x="2699" y="55"/>
                    </a:lnTo>
                    <a:lnTo>
                      <a:pt x="2694" y="49"/>
                    </a:lnTo>
                    <a:lnTo>
                      <a:pt x="2689" y="44"/>
                    </a:lnTo>
                    <a:lnTo>
                      <a:pt x="2683" y="38"/>
                    </a:lnTo>
                    <a:lnTo>
                      <a:pt x="2676" y="33"/>
                    </a:lnTo>
                    <a:lnTo>
                      <a:pt x="2662" y="25"/>
                    </a:lnTo>
                    <a:lnTo>
                      <a:pt x="2650" y="19"/>
                    </a:lnTo>
                    <a:lnTo>
                      <a:pt x="2644" y="15"/>
                    </a:lnTo>
                    <a:lnTo>
                      <a:pt x="2638" y="12"/>
                    </a:lnTo>
                    <a:lnTo>
                      <a:pt x="2633" y="6"/>
                    </a:lnTo>
                    <a:lnTo>
                      <a:pt x="2626" y="0"/>
                    </a:lnTo>
                    <a:lnTo>
                      <a:pt x="2626" y="0"/>
                    </a:lnTo>
                    <a:lnTo>
                      <a:pt x="2617" y="16"/>
                    </a:lnTo>
                    <a:lnTo>
                      <a:pt x="2608" y="31"/>
                    </a:lnTo>
                    <a:lnTo>
                      <a:pt x="2604" y="38"/>
                    </a:lnTo>
                    <a:lnTo>
                      <a:pt x="2601" y="47"/>
                    </a:lnTo>
                    <a:lnTo>
                      <a:pt x="2600" y="55"/>
                    </a:lnTo>
                    <a:lnTo>
                      <a:pt x="2598" y="64"/>
                    </a:lnTo>
                    <a:lnTo>
                      <a:pt x="2600" y="78"/>
                    </a:lnTo>
                    <a:lnTo>
                      <a:pt x="2602" y="89"/>
                    </a:lnTo>
                    <a:lnTo>
                      <a:pt x="2606" y="100"/>
                    </a:lnTo>
                    <a:lnTo>
                      <a:pt x="2611" y="112"/>
                    </a:lnTo>
                    <a:lnTo>
                      <a:pt x="2616" y="122"/>
                    </a:lnTo>
                    <a:lnTo>
                      <a:pt x="2623" y="131"/>
                    </a:lnTo>
                    <a:lnTo>
                      <a:pt x="2630" y="141"/>
                    </a:lnTo>
                    <a:lnTo>
                      <a:pt x="2638" y="150"/>
                    </a:lnTo>
                    <a:lnTo>
                      <a:pt x="2645" y="159"/>
                    </a:lnTo>
                    <a:lnTo>
                      <a:pt x="2651" y="169"/>
                    </a:lnTo>
                    <a:lnTo>
                      <a:pt x="2658" y="179"/>
                    </a:lnTo>
                    <a:lnTo>
                      <a:pt x="2664" y="188"/>
                    </a:lnTo>
                    <a:lnTo>
                      <a:pt x="2669" y="200"/>
                    </a:lnTo>
                    <a:lnTo>
                      <a:pt x="2673" y="211"/>
                    </a:lnTo>
                    <a:lnTo>
                      <a:pt x="2675" y="223"/>
                    </a:lnTo>
                    <a:lnTo>
                      <a:pt x="2676" y="237"/>
                    </a:lnTo>
                    <a:lnTo>
                      <a:pt x="2675" y="253"/>
                    </a:lnTo>
                    <a:lnTo>
                      <a:pt x="2673" y="270"/>
                    </a:lnTo>
                    <a:lnTo>
                      <a:pt x="2668" y="284"/>
                    </a:lnTo>
                    <a:lnTo>
                      <a:pt x="2661" y="298"/>
                    </a:lnTo>
                    <a:lnTo>
                      <a:pt x="2653" y="311"/>
                    </a:lnTo>
                    <a:lnTo>
                      <a:pt x="2644" y="323"/>
                    </a:lnTo>
                    <a:lnTo>
                      <a:pt x="2633" y="334"/>
                    </a:lnTo>
                    <a:lnTo>
                      <a:pt x="2621" y="344"/>
                    </a:lnTo>
                    <a:lnTo>
                      <a:pt x="2608" y="353"/>
                    </a:lnTo>
                    <a:lnTo>
                      <a:pt x="2594" y="362"/>
                    </a:lnTo>
                    <a:lnTo>
                      <a:pt x="2579" y="370"/>
                    </a:lnTo>
                    <a:lnTo>
                      <a:pt x="2563" y="376"/>
                    </a:lnTo>
                    <a:lnTo>
                      <a:pt x="2548" y="382"/>
                    </a:lnTo>
                    <a:lnTo>
                      <a:pt x="2531" y="387"/>
                    </a:lnTo>
                    <a:lnTo>
                      <a:pt x="2514" y="393"/>
                    </a:lnTo>
                    <a:lnTo>
                      <a:pt x="2497" y="397"/>
                    </a:lnTo>
                    <a:lnTo>
                      <a:pt x="2484" y="400"/>
                    </a:lnTo>
                    <a:lnTo>
                      <a:pt x="2473" y="404"/>
                    </a:lnTo>
                    <a:lnTo>
                      <a:pt x="2461" y="408"/>
                    </a:lnTo>
                    <a:lnTo>
                      <a:pt x="2451" y="412"/>
                    </a:lnTo>
                    <a:lnTo>
                      <a:pt x="2441" y="416"/>
                    </a:lnTo>
                    <a:lnTo>
                      <a:pt x="2430" y="420"/>
                    </a:lnTo>
                    <a:lnTo>
                      <a:pt x="2418" y="422"/>
                    </a:lnTo>
                    <a:lnTo>
                      <a:pt x="2405" y="423"/>
                    </a:lnTo>
                    <a:lnTo>
                      <a:pt x="2400" y="423"/>
                    </a:lnTo>
                    <a:lnTo>
                      <a:pt x="2396" y="422"/>
                    </a:lnTo>
                    <a:lnTo>
                      <a:pt x="2393" y="420"/>
                    </a:lnTo>
                    <a:lnTo>
                      <a:pt x="2390" y="417"/>
                    </a:lnTo>
                    <a:lnTo>
                      <a:pt x="2386" y="412"/>
                    </a:lnTo>
                    <a:lnTo>
                      <a:pt x="2382" y="404"/>
                    </a:lnTo>
                    <a:lnTo>
                      <a:pt x="2377" y="386"/>
                    </a:lnTo>
                    <a:lnTo>
                      <a:pt x="2372" y="369"/>
                    </a:lnTo>
                    <a:lnTo>
                      <a:pt x="2367" y="358"/>
                    </a:lnTo>
                    <a:lnTo>
                      <a:pt x="2362" y="347"/>
                    </a:lnTo>
                    <a:lnTo>
                      <a:pt x="2355" y="339"/>
                    </a:lnTo>
                    <a:lnTo>
                      <a:pt x="2348" y="332"/>
                    </a:lnTo>
                    <a:lnTo>
                      <a:pt x="2332" y="317"/>
                    </a:lnTo>
                    <a:lnTo>
                      <a:pt x="2316" y="300"/>
                    </a:lnTo>
                    <a:lnTo>
                      <a:pt x="2308" y="291"/>
                    </a:lnTo>
                    <a:lnTo>
                      <a:pt x="2299" y="283"/>
                    </a:lnTo>
                    <a:lnTo>
                      <a:pt x="2291" y="277"/>
                    </a:lnTo>
                    <a:lnTo>
                      <a:pt x="2283" y="271"/>
                    </a:lnTo>
                    <a:lnTo>
                      <a:pt x="2266" y="260"/>
                    </a:lnTo>
                    <a:lnTo>
                      <a:pt x="2249" y="251"/>
                    </a:lnTo>
                    <a:lnTo>
                      <a:pt x="2231" y="243"/>
                    </a:lnTo>
                    <a:lnTo>
                      <a:pt x="2213" y="235"/>
                    </a:lnTo>
                    <a:lnTo>
                      <a:pt x="2194" y="224"/>
                    </a:lnTo>
                    <a:lnTo>
                      <a:pt x="2174" y="213"/>
                    </a:lnTo>
                    <a:lnTo>
                      <a:pt x="2159" y="230"/>
                    </a:lnTo>
                    <a:lnTo>
                      <a:pt x="2147" y="246"/>
                    </a:lnTo>
                    <a:lnTo>
                      <a:pt x="2138" y="263"/>
                    </a:lnTo>
                    <a:lnTo>
                      <a:pt x="2128" y="279"/>
                    </a:lnTo>
                    <a:lnTo>
                      <a:pt x="2121" y="296"/>
                    </a:lnTo>
                    <a:lnTo>
                      <a:pt x="2114" y="314"/>
                    </a:lnTo>
                    <a:lnTo>
                      <a:pt x="2107" y="333"/>
                    </a:lnTo>
                    <a:lnTo>
                      <a:pt x="2098" y="354"/>
                    </a:lnTo>
                    <a:lnTo>
                      <a:pt x="2093" y="377"/>
                    </a:lnTo>
                    <a:lnTo>
                      <a:pt x="2089" y="399"/>
                    </a:lnTo>
                    <a:lnTo>
                      <a:pt x="2086" y="409"/>
                    </a:lnTo>
                    <a:lnTo>
                      <a:pt x="2082" y="417"/>
                    </a:lnTo>
                    <a:lnTo>
                      <a:pt x="2079" y="422"/>
                    </a:lnTo>
                    <a:lnTo>
                      <a:pt x="2075" y="425"/>
                    </a:lnTo>
                    <a:lnTo>
                      <a:pt x="2070" y="428"/>
                    </a:lnTo>
                    <a:lnTo>
                      <a:pt x="2065" y="430"/>
                    </a:lnTo>
                    <a:lnTo>
                      <a:pt x="2055" y="433"/>
                    </a:lnTo>
                    <a:lnTo>
                      <a:pt x="2045" y="436"/>
                    </a:lnTo>
                    <a:lnTo>
                      <a:pt x="2035" y="438"/>
                    </a:lnTo>
                    <a:lnTo>
                      <a:pt x="2025" y="439"/>
                    </a:lnTo>
                    <a:lnTo>
                      <a:pt x="2006" y="441"/>
                    </a:lnTo>
                    <a:lnTo>
                      <a:pt x="1987" y="442"/>
                    </a:lnTo>
                    <a:lnTo>
                      <a:pt x="1969" y="444"/>
                    </a:lnTo>
                    <a:lnTo>
                      <a:pt x="1952" y="448"/>
                    </a:lnTo>
                    <a:lnTo>
                      <a:pt x="1943" y="452"/>
                    </a:lnTo>
                    <a:lnTo>
                      <a:pt x="1934" y="456"/>
                    </a:lnTo>
                    <a:lnTo>
                      <a:pt x="1925" y="461"/>
                    </a:lnTo>
                    <a:lnTo>
                      <a:pt x="1917" y="468"/>
                    </a:lnTo>
                    <a:lnTo>
                      <a:pt x="1910" y="475"/>
                    </a:lnTo>
                    <a:lnTo>
                      <a:pt x="1903" y="483"/>
                    </a:lnTo>
                    <a:lnTo>
                      <a:pt x="1899" y="491"/>
                    </a:lnTo>
                    <a:lnTo>
                      <a:pt x="1896" y="499"/>
                    </a:lnTo>
                    <a:lnTo>
                      <a:pt x="1890" y="517"/>
                    </a:lnTo>
                    <a:lnTo>
                      <a:pt x="1882" y="536"/>
                    </a:lnTo>
                    <a:lnTo>
                      <a:pt x="1876" y="533"/>
                    </a:lnTo>
                    <a:lnTo>
                      <a:pt x="1871" y="530"/>
                    </a:lnTo>
                    <a:lnTo>
                      <a:pt x="1866" y="526"/>
                    </a:lnTo>
                    <a:lnTo>
                      <a:pt x="1863" y="522"/>
                    </a:lnTo>
                    <a:lnTo>
                      <a:pt x="1856" y="512"/>
                    </a:lnTo>
                    <a:lnTo>
                      <a:pt x="1850" y="502"/>
                    </a:lnTo>
                    <a:lnTo>
                      <a:pt x="1845" y="493"/>
                    </a:lnTo>
                    <a:lnTo>
                      <a:pt x="1837" y="484"/>
                    </a:lnTo>
                    <a:lnTo>
                      <a:pt x="1833" y="479"/>
                    </a:lnTo>
                    <a:lnTo>
                      <a:pt x="1829" y="475"/>
                    </a:lnTo>
                    <a:lnTo>
                      <a:pt x="1824" y="472"/>
                    </a:lnTo>
                    <a:lnTo>
                      <a:pt x="1818" y="470"/>
                    </a:lnTo>
                    <a:lnTo>
                      <a:pt x="1801" y="466"/>
                    </a:lnTo>
                    <a:lnTo>
                      <a:pt x="1786" y="464"/>
                    </a:lnTo>
                    <a:lnTo>
                      <a:pt x="1779" y="462"/>
                    </a:lnTo>
                    <a:lnTo>
                      <a:pt x="1771" y="460"/>
                    </a:lnTo>
                    <a:lnTo>
                      <a:pt x="1764" y="456"/>
                    </a:lnTo>
                    <a:lnTo>
                      <a:pt x="1757" y="452"/>
                    </a:lnTo>
                    <a:lnTo>
                      <a:pt x="1750" y="444"/>
                    </a:lnTo>
                    <a:lnTo>
                      <a:pt x="1743" y="436"/>
                    </a:lnTo>
                    <a:lnTo>
                      <a:pt x="1737" y="429"/>
                    </a:lnTo>
                    <a:lnTo>
                      <a:pt x="1732" y="422"/>
                    </a:lnTo>
                    <a:lnTo>
                      <a:pt x="1726" y="414"/>
                    </a:lnTo>
                    <a:lnTo>
                      <a:pt x="1720" y="409"/>
                    </a:lnTo>
                    <a:lnTo>
                      <a:pt x="1716" y="407"/>
                    </a:lnTo>
                    <a:lnTo>
                      <a:pt x="1712" y="405"/>
                    </a:lnTo>
                    <a:lnTo>
                      <a:pt x="1707" y="404"/>
                    </a:lnTo>
                    <a:lnTo>
                      <a:pt x="1702" y="404"/>
                    </a:lnTo>
                    <a:lnTo>
                      <a:pt x="1694" y="404"/>
                    </a:lnTo>
                    <a:lnTo>
                      <a:pt x="1687" y="405"/>
                    </a:lnTo>
                    <a:lnTo>
                      <a:pt x="1680" y="406"/>
                    </a:lnTo>
                    <a:lnTo>
                      <a:pt x="1673" y="408"/>
                    </a:lnTo>
                    <a:lnTo>
                      <a:pt x="1661" y="413"/>
                    </a:lnTo>
                    <a:lnTo>
                      <a:pt x="1650" y="421"/>
                    </a:lnTo>
                    <a:lnTo>
                      <a:pt x="1639" y="429"/>
                    </a:lnTo>
                    <a:lnTo>
                      <a:pt x="1630" y="438"/>
                    </a:lnTo>
                    <a:lnTo>
                      <a:pt x="1621" y="448"/>
                    </a:lnTo>
                    <a:lnTo>
                      <a:pt x="1613" y="460"/>
                    </a:lnTo>
                    <a:lnTo>
                      <a:pt x="1596" y="484"/>
                    </a:lnTo>
                    <a:lnTo>
                      <a:pt x="1579" y="508"/>
                    </a:lnTo>
                    <a:lnTo>
                      <a:pt x="1568" y="520"/>
                    </a:lnTo>
                    <a:lnTo>
                      <a:pt x="1558" y="531"/>
                    </a:lnTo>
                    <a:lnTo>
                      <a:pt x="1546" y="541"/>
                    </a:lnTo>
                    <a:lnTo>
                      <a:pt x="1533" y="551"/>
                    </a:lnTo>
                    <a:lnTo>
                      <a:pt x="1501" y="567"/>
                    </a:lnTo>
                    <a:lnTo>
                      <a:pt x="1471" y="582"/>
                    </a:lnTo>
                    <a:lnTo>
                      <a:pt x="1458" y="591"/>
                    </a:lnTo>
                    <a:lnTo>
                      <a:pt x="1446" y="600"/>
                    </a:lnTo>
                    <a:lnTo>
                      <a:pt x="1439" y="606"/>
                    </a:lnTo>
                    <a:lnTo>
                      <a:pt x="1434" y="613"/>
                    </a:lnTo>
                    <a:lnTo>
                      <a:pt x="1429" y="620"/>
                    </a:lnTo>
                    <a:lnTo>
                      <a:pt x="1424" y="628"/>
                    </a:lnTo>
                    <a:lnTo>
                      <a:pt x="1417" y="644"/>
                    </a:lnTo>
                    <a:lnTo>
                      <a:pt x="1410" y="658"/>
                    </a:lnTo>
                    <a:lnTo>
                      <a:pt x="1404" y="673"/>
                    </a:lnTo>
                    <a:lnTo>
                      <a:pt x="1398" y="689"/>
                    </a:lnTo>
                    <a:lnTo>
                      <a:pt x="1395" y="700"/>
                    </a:lnTo>
                    <a:lnTo>
                      <a:pt x="1391" y="712"/>
                    </a:lnTo>
                    <a:lnTo>
                      <a:pt x="1388" y="716"/>
                    </a:lnTo>
                    <a:lnTo>
                      <a:pt x="1385" y="719"/>
                    </a:lnTo>
                    <a:lnTo>
                      <a:pt x="1381" y="722"/>
                    </a:lnTo>
                    <a:lnTo>
                      <a:pt x="1374" y="722"/>
                    </a:lnTo>
                    <a:lnTo>
                      <a:pt x="1365" y="722"/>
                    </a:lnTo>
                    <a:lnTo>
                      <a:pt x="1357" y="719"/>
                    </a:lnTo>
                    <a:lnTo>
                      <a:pt x="1350" y="715"/>
                    </a:lnTo>
                    <a:lnTo>
                      <a:pt x="1342" y="710"/>
                    </a:lnTo>
                    <a:lnTo>
                      <a:pt x="1337" y="702"/>
                    </a:lnTo>
                    <a:lnTo>
                      <a:pt x="1332" y="695"/>
                    </a:lnTo>
                    <a:lnTo>
                      <a:pt x="1328" y="687"/>
                    </a:lnTo>
                    <a:lnTo>
                      <a:pt x="1323" y="679"/>
                    </a:lnTo>
                    <a:lnTo>
                      <a:pt x="1315" y="661"/>
                    </a:lnTo>
                    <a:lnTo>
                      <a:pt x="1304" y="645"/>
                    </a:lnTo>
                    <a:lnTo>
                      <a:pt x="1298" y="637"/>
                    </a:lnTo>
                    <a:lnTo>
                      <a:pt x="1291" y="630"/>
                    </a:lnTo>
                    <a:lnTo>
                      <a:pt x="1283" y="625"/>
                    </a:lnTo>
                    <a:lnTo>
                      <a:pt x="1273" y="621"/>
                    </a:lnTo>
                    <a:lnTo>
                      <a:pt x="1268" y="629"/>
                    </a:lnTo>
                    <a:lnTo>
                      <a:pt x="1263" y="636"/>
                    </a:lnTo>
                    <a:lnTo>
                      <a:pt x="1257" y="643"/>
                    </a:lnTo>
                    <a:lnTo>
                      <a:pt x="1251" y="648"/>
                    </a:lnTo>
                    <a:lnTo>
                      <a:pt x="1238" y="659"/>
                    </a:lnTo>
                    <a:lnTo>
                      <a:pt x="1226" y="673"/>
                    </a:lnTo>
                    <a:lnTo>
                      <a:pt x="1218" y="687"/>
                    </a:lnTo>
                    <a:lnTo>
                      <a:pt x="1211" y="702"/>
                    </a:lnTo>
                    <a:lnTo>
                      <a:pt x="1207" y="709"/>
                    </a:lnTo>
                    <a:lnTo>
                      <a:pt x="1202" y="714"/>
                    </a:lnTo>
                    <a:lnTo>
                      <a:pt x="1199" y="715"/>
                    </a:lnTo>
                    <a:lnTo>
                      <a:pt x="1196" y="717"/>
                    </a:lnTo>
                    <a:lnTo>
                      <a:pt x="1193" y="718"/>
                    </a:lnTo>
                    <a:lnTo>
                      <a:pt x="1189" y="718"/>
                    </a:lnTo>
                    <a:lnTo>
                      <a:pt x="1181" y="717"/>
                    </a:lnTo>
                    <a:lnTo>
                      <a:pt x="1173" y="715"/>
                    </a:lnTo>
                    <a:lnTo>
                      <a:pt x="1166" y="712"/>
                    </a:lnTo>
                    <a:lnTo>
                      <a:pt x="1161" y="708"/>
                    </a:lnTo>
                    <a:lnTo>
                      <a:pt x="1157" y="702"/>
                    </a:lnTo>
                    <a:lnTo>
                      <a:pt x="1152" y="696"/>
                    </a:lnTo>
                    <a:lnTo>
                      <a:pt x="1149" y="689"/>
                    </a:lnTo>
                    <a:lnTo>
                      <a:pt x="1144" y="682"/>
                    </a:lnTo>
                    <a:lnTo>
                      <a:pt x="1138" y="666"/>
                    </a:lnTo>
                    <a:lnTo>
                      <a:pt x="1130" y="651"/>
                    </a:lnTo>
                    <a:lnTo>
                      <a:pt x="1126" y="644"/>
                    </a:lnTo>
                    <a:lnTo>
                      <a:pt x="1121" y="636"/>
                    </a:lnTo>
                    <a:lnTo>
                      <a:pt x="1116" y="629"/>
                    </a:lnTo>
                    <a:lnTo>
                      <a:pt x="1108" y="623"/>
                    </a:lnTo>
                    <a:lnTo>
                      <a:pt x="978" y="654"/>
                    </a:lnTo>
                    <a:lnTo>
                      <a:pt x="965" y="652"/>
                    </a:lnTo>
                    <a:lnTo>
                      <a:pt x="953" y="650"/>
                    </a:lnTo>
                    <a:lnTo>
                      <a:pt x="941" y="648"/>
                    </a:lnTo>
                    <a:lnTo>
                      <a:pt x="930" y="645"/>
                    </a:lnTo>
                    <a:lnTo>
                      <a:pt x="919" y="640"/>
                    </a:lnTo>
                    <a:lnTo>
                      <a:pt x="908" y="635"/>
                    </a:lnTo>
                    <a:lnTo>
                      <a:pt x="898" y="629"/>
                    </a:lnTo>
                    <a:lnTo>
                      <a:pt x="887" y="621"/>
                    </a:lnTo>
                    <a:lnTo>
                      <a:pt x="880" y="615"/>
                    </a:lnTo>
                    <a:lnTo>
                      <a:pt x="874" y="607"/>
                    </a:lnTo>
                    <a:lnTo>
                      <a:pt x="870" y="601"/>
                    </a:lnTo>
                    <a:lnTo>
                      <a:pt x="866" y="594"/>
                    </a:lnTo>
                    <a:lnTo>
                      <a:pt x="861" y="587"/>
                    </a:lnTo>
                    <a:lnTo>
                      <a:pt x="856" y="581"/>
                    </a:lnTo>
                    <a:lnTo>
                      <a:pt x="849" y="575"/>
                    </a:lnTo>
                    <a:lnTo>
                      <a:pt x="842" y="571"/>
                    </a:lnTo>
                    <a:lnTo>
                      <a:pt x="835" y="585"/>
                    </a:lnTo>
                    <a:lnTo>
                      <a:pt x="827" y="598"/>
                    </a:lnTo>
                    <a:lnTo>
                      <a:pt x="820" y="611"/>
                    </a:lnTo>
                    <a:lnTo>
                      <a:pt x="811" y="622"/>
                    </a:lnTo>
                    <a:lnTo>
                      <a:pt x="796" y="644"/>
                    </a:lnTo>
                    <a:lnTo>
                      <a:pt x="780" y="664"/>
                    </a:lnTo>
                    <a:lnTo>
                      <a:pt x="774" y="676"/>
                    </a:lnTo>
                    <a:lnTo>
                      <a:pt x="768" y="686"/>
                    </a:lnTo>
                    <a:lnTo>
                      <a:pt x="762" y="697"/>
                    </a:lnTo>
                    <a:lnTo>
                      <a:pt x="757" y="709"/>
                    </a:lnTo>
                    <a:lnTo>
                      <a:pt x="754" y="721"/>
                    </a:lnTo>
                    <a:lnTo>
                      <a:pt x="750" y="734"/>
                    </a:lnTo>
                    <a:lnTo>
                      <a:pt x="748" y="749"/>
                    </a:lnTo>
                    <a:lnTo>
                      <a:pt x="747" y="763"/>
                    </a:lnTo>
                    <a:lnTo>
                      <a:pt x="750" y="774"/>
                    </a:lnTo>
                    <a:lnTo>
                      <a:pt x="753" y="784"/>
                    </a:lnTo>
                    <a:lnTo>
                      <a:pt x="753" y="787"/>
                    </a:lnTo>
                    <a:lnTo>
                      <a:pt x="752" y="790"/>
                    </a:lnTo>
                    <a:lnTo>
                      <a:pt x="750" y="793"/>
                    </a:lnTo>
                    <a:lnTo>
                      <a:pt x="748" y="795"/>
                    </a:lnTo>
                    <a:lnTo>
                      <a:pt x="743" y="800"/>
                    </a:lnTo>
                    <a:lnTo>
                      <a:pt x="737" y="803"/>
                    </a:lnTo>
                    <a:lnTo>
                      <a:pt x="731" y="806"/>
                    </a:lnTo>
                    <a:lnTo>
                      <a:pt x="723" y="807"/>
                    </a:lnTo>
                    <a:lnTo>
                      <a:pt x="715" y="808"/>
                    </a:lnTo>
                    <a:lnTo>
                      <a:pt x="707" y="808"/>
                    </a:lnTo>
                    <a:lnTo>
                      <a:pt x="696" y="808"/>
                    </a:lnTo>
                    <a:lnTo>
                      <a:pt x="684" y="810"/>
                    </a:lnTo>
                    <a:lnTo>
                      <a:pt x="695" y="839"/>
                    </a:lnTo>
                    <a:lnTo>
                      <a:pt x="706" y="865"/>
                    </a:lnTo>
                    <a:lnTo>
                      <a:pt x="710" y="877"/>
                    </a:lnTo>
                    <a:lnTo>
                      <a:pt x="714" y="890"/>
                    </a:lnTo>
                    <a:lnTo>
                      <a:pt x="716" y="905"/>
                    </a:lnTo>
                    <a:lnTo>
                      <a:pt x="717" y="920"/>
                    </a:lnTo>
                    <a:lnTo>
                      <a:pt x="715" y="927"/>
                    </a:lnTo>
                    <a:lnTo>
                      <a:pt x="712" y="933"/>
                    </a:lnTo>
                    <a:lnTo>
                      <a:pt x="694" y="933"/>
                    </a:lnTo>
                    <a:lnTo>
                      <a:pt x="604" y="914"/>
                    </a:lnTo>
                    <a:lnTo>
                      <a:pt x="597" y="915"/>
                    </a:lnTo>
                    <a:lnTo>
                      <a:pt x="590" y="916"/>
                    </a:lnTo>
                    <a:lnTo>
                      <a:pt x="590" y="930"/>
                    </a:lnTo>
                    <a:lnTo>
                      <a:pt x="590" y="943"/>
                    </a:lnTo>
                    <a:lnTo>
                      <a:pt x="589" y="948"/>
                    </a:lnTo>
                    <a:lnTo>
                      <a:pt x="587" y="953"/>
                    </a:lnTo>
                    <a:lnTo>
                      <a:pt x="582" y="959"/>
                    </a:lnTo>
                    <a:lnTo>
                      <a:pt x="578" y="964"/>
                    </a:lnTo>
                    <a:lnTo>
                      <a:pt x="573" y="967"/>
                    </a:lnTo>
                    <a:lnTo>
                      <a:pt x="568" y="970"/>
                    </a:lnTo>
                    <a:lnTo>
                      <a:pt x="563" y="972"/>
                    </a:lnTo>
                    <a:lnTo>
                      <a:pt x="557" y="973"/>
                    </a:lnTo>
                    <a:lnTo>
                      <a:pt x="546" y="975"/>
                    </a:lnTo>
                    <a:lnTo>
                      <a:pt x="535" y="975"/>
                    </a:lnTo>
                    <a:lnTo>
                      <a:pt x="524" y="975"/>
                    </a:lnTo>
                    <a:lnTo>
                      <a:pt x="512" y="975"/>
                    </a:lnTo>
                    <a:lnTo>
                      <a:pt x="501" y="976"/>
                    </a:lnTo>
                    <a:lnTo>
                      <a:pt x="489" y="980"/>
                    </a:lnTo>
                    <a:lnTo>
                      <a:pt x="481" y="983"/>
                    </a:lnTo>
                    <a:lnTo>
                      <a:pt x="474" y="986"/>
                    </a:lnTo>
                    <a:lnTo>
                      <a:pt x="468" y="991"/>
                    </a:lnTo>
                    <a:lnTo>
                      <a:pt x="463" y="995"/>
                    </a:lnTo>
                    <a:lnTo>
                      <a:pt x="451" y="1004"/>
                    </a:lnTo>
                    <a:lnTo>
                      <a:pt x="441" y="1012"/>
                    </a:lnTo>
                    <a:lnTo>
                      <a:pt x="431" y="1021"/>
                    </a:lnTo>
                    <a:lnTo>
                      <a:pt x="419" y="1028"/>
                    </a:lnTo>
                    <a:lnTo>
                      <a:pt x="413" y="1031"/>
                    </a:lnTo>
                    <a:lnTo>
                      <a:pt x="407" y="1033"/>
                    </a:lnTo>
                    <a:lnTo>
                      <a:pt x="400" y="1034"/>
                    </a:lnTo>
                    <a:lnTo>
                      <a:pt x="392" y="1034"/>
                    </a:lnTo>
                    <a:lnTo>
                      <a:pt x="385" y="1033"/>
                    </a:lnTo>
                    <a:lnTo>
                      <a:pt x="379" y="1031"/>
                    </a:lnTo>
                    <a:lnTo>
                      <a:pt x="374" y="1028"/>
                    </a:lnTo>
                    <a:lnTo>
                      <a:pt x="370" y="1023"/>
                    </a:lnTo>
                    <a:lnTo>
                      <a:pt x="362" y="1013"/>
                    </a:lnTo>
                    <a:lnTo>
                      <a:pt x="351" y="1004"/>
                    </a:lnTo>
                    <a:lnTo>
                      <a:pt x="339" y="1026"/>
                    </a:lnTo>
                    <a:lnTo>
                      <a:pt x="327" y="1045"/>
                    </a:lnTo>
                    <a:lnTo>
                      <a:pt x="320" y="1054"/>
                    </a:lnTo>
                    <a:lnTo>
                      <a:pt x="313" y="1063"/>
                    </a:lnTo>
                    <a:lnTo>
                      <a:pt x="305" y="1071"/>
                    </a:lnTo>
                    <a:lnTo>
                      <a:pt x="295" y="1079"/>
                    </a:lnTo>
                    <a:lnTo>
                      <a:pt x="280" y="1063"/>
                    </a:lnTo>
                    <a:lnTo>
                      <a:pt x="267" y="1048"/>
                    </a:lnTo>
                    <a:lnTo>
                      <a:pt x="253" y="1033"/>
                    </a:lnTo>
                    <a:lnTo>
                      <a:pt x="241" y="1015"/>
                    </a:lnTo>
                    <a:lnTo>
                      <a:pt x="241" y="1015"/>
                    </a:lnTo>
                    <a:lnTo>
                      <a:pt x="217" y="1033"/>
                    </a:lnTo>
                    <a:lnTo>
                      <a:pt x="197" y="1048"/>
                    </a:lnTo>
                    <a:lnTo>
                      <a:pt x="176" y="1065"/>
                    </a:lnTo>
                    <a:lnTo>
                      <a:pt x="158" y="1080"/>
                    </a:lnTo>
                    <a:lnTo>
                      <a:pt x="138" y="1096"/>
                    </a:lnTo>
                    <a:lnTo>
                      <a:pt x="119" y="1113"/>
                    </a:lnTo>
                    <a:lnTo>
                      <a:pt x="100" y="1132"/>
                    </a:lnTo>
                    <a:lnTo>
                      <a:pt x="78" y="1153"/>
                    </a:lnTo>
                    <a:lnTo>
                      <a:pt x="66" y="1163"/>
                    </a:lnTo>
                    <a:lnTo>
                      <a:pt x="53" y="1172"/>
                    </a:lnTo>
                    <a:lnTo>
                      <a:pt x="40" y="1181"/>
                    </a:lnTo>
                    <a:lnTo>
                      <a:pt x="28" y="1188"/>
                    </a:lnTo>
                    <a:lnTo>
                      <a:pt x="22" y="1193"/>
                    </a:lnTo>
                    <a:lnTo>
                      <a:pt x="17" y="1197"/>
                    </a:lnTo>
                    <a:lnTo>
                      <a:pt x="12" y="1201"/>
                    </a:lnTo>
                    <a:lnTo>
                      <a:pt x="8" y="1206"/>
                    </a:lnTo>
                    <a:lnTo>
                      <a:pt x="5" y="1213"/>
                    </a:lnTo>
                    <a:lnTo>
                      <a:pt x="3" y="1219"/>
                    </a:lnTo>
                    <a:lnTo>
                      <a:pt x="1" y="1226"/>
                    </a:lnTo>
                    <a:lnTo>
                      <a:pt x="1" y="1233"/>
                    </a:lnTo>
                    <a:lnTo>
                      <a:pt x="1" y="1256"/>
                    </a:lnTo>
                    <a:lnTo>
                      <a:pt x="0" y="1277"/>
                    </a:lnTo>
                    <a:lnTo>
                      <a:pt x="1" y="1296"/>
                    </a:lnTo>
                    <a:lnTo>
                      <a:pt x="1" y="1316"/>
                    </a:lnTo>
                    <a:lnTo>
                      <a:pt x="3" y="1334"/>
                    </a:lnTo>
                    <a:lnTo>
                      <a:pt x="6" y="1354"/>
                    </a:lnTo>
                    <a:lnTo>
                      <a:pt x="10" y="1374"/>
                    </a:lnTo>
                    <a:lnTo>
                      <a:pt x="17" y="1395"/>
                    </a:lnTo>
                    <a:lnTo>
                      <a:pt x="17" y="1395"/>
                    </a:lnTo>
                    <a:close/>
                  </a:path>
                </a:pathLst>
              </a:custGeom>
              <a:solidFill>
                <a:srgbClr val="67AF1E"/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Dnipropetrovsk">
                <a:extLst>
                  <a:ext uri="{FF2B5EF4-FFF2-40B4-BE49-F238E27FC236}">
                    <a16:creationId xmlns:a16="http://schemas.microsoft.com/office/drawing/2014/main" id="{DB3DBFF0-3BC9-4887-BCF3-3BF640D20F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0914" y="3604727"/>
                <a:ext cx="1707495" cy="1063716"/>
              </a:xfrm>
              <a:custGeom>
                <a:avLst/>
                <a:gdLst>
                  <a:gd name="T0" fmla="*/ 34 w 3473"/>
                  <a:gd name="T1" fmla="*/ 1753 h 2271"/>
                  <a:gd name="T2" fmla="*/ 75 w 3473"/>
                  <a:gd name="T3" fmla="*/ 2042 h 2271"/>
                  <a:gd name="T4" fmla="*/ 118 w 3473"/>
                  <a:gd name="T5" fmla="*/ 2181 h 2271"/>
                  <a:gd name="T6" fmla="*/ 337 w 3473"/>
                  <a:gd name="T7" fmla="*/ 2257 h 2271"/>
                  <a:gd name="T8" fmla="*/ 448 w 3473"/>
                  <a:gd name="T9" fmla="*/ 2220 h 2271"/>
                  <a:gd name="T10" fmla="*/ 601 w 3473"/>
                  <a:gd name="T11" fmla="*/ 2207 h 2271"/>
                  <a:gd name="T12" fmla="*/ 772 w 3473"/>
                  <a:gd name="T13" fmla="*/ 2228 h 2271"/>
                  <a:gd name="T14" fmla="*/ 951 w 3473"/>
                  <a:gd name="T15" fmla="*/ 2255 h 2271"/>
                  <a:gd name="T16" fmla="*/ 1236 w 3473"/>
                  <a:gd name="T17" fmla="*/ 2211 h 2271"/>
                  <a:gd name="T18" fmla="*/ 1498 w 3473"/>
                  <a:gd name="T19" fmla="*/ 2159 h 2271"/>
                  <a:gd name="T20" fmla="*/ 1754 w 3473"/>
                  <a:gd name="T21" fmla="*/ 2206 h 2271"/>
                  <a:gd name="T22" fmla="*/ 1728 w 3473"/>
                  <a:gd name="T23" fmla="*/ 2023 h 2271"/>
                  <a:gd name="T24" fmla="*/ 1754 w 3473"/>
                  <a:gd name="T25" fmla="*/ 1865 h 2271"/>
                  <a:gd name="T26" fmla="*/ 1685 w 3473"/>
                  <a:gd name="T27" fmla="*/ 1728 h 2271"/>
                  <a:gd name="T28" fmla="*/ 1623 w 3473"/>
                  <a:gd name="T29" fmla="*/ 1665 h 2271"/>
                  <a:gd name="T30" fmla="*/ 1713 w 3473"/>
                  <a:gd name="T31" fmla="*/ 1627 h 2271"/>
                  <a:gd name="T32" fmla="*/ 1671 w 3473"/>
                  <a:gd name="T33" fmla="*/ 1353 h 2271"/>
                  <a:gd name="T34" fmla="*/ 1778 w 3473"/>
                  <a:gd name="T35" fmla="*/ 1438 h 2271"/>
                  <a:gd name="T36" fmla="*/ 1892 w 3473"/>
                  <a:gd name="T37" fmla="*/ 1348 h 2271"/>
                  <a:gd name="T38" fmla="*/ 2140 w 3473"/>
                  <a:gd name="T39" fmla="*/ 1342 h 2271"/>
                  <a:gd name="T40" fmla="*/ 2267 w 3473"/>
                  <a:gd name="T41" fmla="*/ 1391 h 2271"/>
                  <a:gd name="T42" fmla="*/ 2470 w 3473"/>
                  <a:gd name="T43" fmla="*/ 1354 h 2271"/>
                  <a:gd name="T44" fmla="*/ 2669 w 3473"/>
                  <a:gd name="T45" fmla="*/ 1363 h 2271"/>
                  <a:gd name="T46" fmla="*/ 2753 w 3473"/>
                  <a:gd name="T47" fmla="*/ 1485 h 2271"/>
                  <a:gd name="T48" fmla="*/ 2774 w 3473"/>
                  <a:gd name="T49" fmla="*/ 1629 h 2271"/>
                  <a:gd name="T50" fmla="*/ 3182 w 3473"/>
                  <a:gd name="T51" fmla="*/ 1671 h 2271"/>
                  <a:gd name="T52" fmla="*/ 3245 w 3473"/>
                  <a:gd name="T53" fmla="*/ 1518 h 2271"/>
                  <a:gd name="T54" fmla="*/ 3156 w 3473"/>
                  <a:gd name="T55" fmla="*/ 1422 h 2271"/>
                  <a:gd name="T56" fmla="*/ 3285 w 3473"/>
                  <a:gd name="T57" fmla="*/ 1317 h 2271"/>
                  <a:gd name="T58" fmla="*/ 3470 w 3473"/>
                  <a:gd name="T59" fmla="*/ 1130 h 2271"/>
                  <a:gd name="T60" fmla="*/ 3344 w 3473"/>
                  <a:gd name="T61" fmla="*/ 983 h 2271"/>
                  <a:gd name="T62" fmla="*/ 3378 w 3473"/>
                  <a:gd name="T63" fmla="*/ 806 h 2271"/>
                  <a:gd name="T64" fmla="*/ 3364 w 3473"/>
                  <a:gd name="T65" fmla="*/ 710 h 2271"/>
                  <a:gd name="T66" fmla="*/ 3145 w 3473"/>
                  <a:gd name="T67" fmla="*/ 643 h 2271"/>
                  <a:gd name="T68" fmla="*/ 3036 w 3473"/>
                  <a:gd name="T69" fmla="*/ 637 h 2271"/>
                  <a:gd name="T70" fmla="*/ 2891 w 3473"/>
                  <a:gd name="T71" fmla="*/ 673 h 2271"/>
                  <a:gd name="T72" fmla="*/ 2768 w 3473"/>
                  <a:gd name="T73" fmla="*/ 519 h 2271"/>
                  <a:gd name="T74" fmla="*/ 2711 w 3473"/>
                  <a:gd name="T75" fmla="*/ 397 h 2271"/>
                  <a:gd name="T76" fmla="*/ 2603 w 3473"/>
                  <a:gd name="T77" fmla="*/ 233 h 2271"/>
                  <a:gd name="T78" fmla="*/ 2452 w 3473"/>
                  <a:gd name="T79" fmla="*/ 252 h 2271"/>
                  <a:gd name="T80" fmla="*/ 2368 w 3473"/>
                  <a:gd name="T81" fmla="*/ 243 h 2271"/>
                  <a:gd name="T82" fmla="*/ 2088 w 3473"/>
                  <a:gd name="T83" fmla="*/ 190 h 2271"/>
                  <a:gd name="T84" fmla="*/ 1846 w 3473"/>
                  <a:gd name="T85" fmla="*/ 26 h 2271"/>
                  <a:gd name="T86" fmla="*/ 1654 w 3473"/>
                  <a:gd name="T87" fmla="*/ 32 h 2271"/>
                  <a:gd name="T88" fmla="*/ 1484 w 3473"/>
                  <a:gd name="T89" fmla="*/ 23 h 2271"/>
                  <a:gd name="T90" fmla="*/ 1179 w 3473"/>
                  <a:gd name="T91" fmla="*/ 241 h 2271"/>
                  <a:gd name="T92" fmla="*/ 1120 w 3473"/>
                  <a:gd name="T93" fmla="*/ 409 h 2271"/>
                  <a:gd name="T94" fmla="*/ 1122 w 3473"/>
                  <a:gd name="T95" fmla="*/ 573 h 2271"/>
                  <a:gd name="T96" fmla="*/ 883 w 3473"/>
                  <a:gd name="T97" fmla="*/ 547 h 2271"/>
                  <a:gd name="T98" fmla="*/ 740 w 3473"/>
                  <a:gd name="T99" fmla="*/ 489 h 2271"/>
                  <a:gd name="T100" fmla="*/ 549 w 3473"/>
                  <a:gd name="T101" fmla="*/ 576 h 2271"/>
                  <a:gd name="T102" fmla="*/ 597 w 3473"/>
                  <a:gd name="T103" fmla="*/ 671 h 2271"/>
                  <a:gd name="T104" fmla="*/ 653 w 3473"/>
                  <a:gd name="T105" fmla="*/ 755 h 2271"/>
                  <a:gd name="T106" fmla="*/ 510 w 3473"/>
                  <a:gd name="T107" fmla="*/ 878 h 2271"/>
                  <a:gd name="T108" fmla="*/ 425 w 3473"/>
                  <a:gd name="T109" fmla="*/ 990 h 2271"/>
                  <a:gd name="T110" fmla="*/ 349 w 3473"/>
                  <a:gd name="T111" fmla="*/ 1147 h 2271"/>
                  <a:gd name="T112" fmla="*/ 455 w 3473"/>
                  <a:gd name="T113" fmla="*/ 1258 h 2271"/>
                  <a:gd name="T114" fmla="*/ 423 w 3473"/>
                  <a:gd name="T115" fmla="*/ 1348 h 2271"/>
                  <a:gd name="T116" fmla="*/ 227 w 3473"/>
                  <a:gd name="T117" fmla="*/ 1411 h 2271"/>
                  <a:gd name="T118" fmla="*/ 129 w 3473"/>
                  <a:gd name="T119" fmla="*/ 1578 h 2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473" h="2271">
                    <a:moveTo>
                      <a:pt x="59" y="1612"/>
                    </a:moveTo>
                    <a:lnTo>
                      <a:pt x="38" y="1636"/>
                    </a:lnTo>
                    <a:lnTo>
                      <a:pt x="19" y="1657"/>
                    </a:lnTo>
                    <a:lnTo>
                      <a:pt x="11" y="1668"/>
                    </a:lnTo>
                    <a:lnTo>
                      <a:pt x="5" y="1681"/>
                    </a:lnTo>
                    <a:lnTo>
                      <a:pt x="3" y="1687"/>
                    </a:lnTo>
                    <a:lnTo>
                      <a:pt x="2" y="1694"/>
                    </a:lnTo>
                    <a:lnTo>
                      <a:pt x="1" y="1701"/>
                    </a:lnTo>
                    <a:lnTo>
                      <a:pt x="0" y="1710"/>
                    </a:lnTo>
                    <a:lnTo>
                      <a:pt x="1" y="1715"/>
                    </a:lnTo>
                    <a:lnTo>
                      <a:pt x="2" y="1720"/>
                    </a:lnTo>
                    <a:lnTo>
                      <a:pt x="3" y="1724"/>
                    </a:lnTo>
                    <a:lnTo>
                      <a:pt x="5" y="1728"/>
                    </a:lnTo>
                    <a:lnTo>
                      <a:pt x="10" y="1735"/>
                    </a:lnTo>
                    <a:lnTo>
                      <a:pt x="17" y="1742"/>
                    </a:lnTo>
                    <a:lnTo>
                      <a:pt x="34" y="1753"/>
                    </a:lnTo>
                    <a:lnTo>
                      <a:pt x="52" y="1763"/>
                    </a:lnTo>
                    <a:lnTo>
                      <a:pt x="63" y="1771"/>
                    </a:lnTo>
                    <a:lnTo>
                      <a:pt x="72" y="1780"/>
                    </a:lnTo>
                    <a:lnTo>
                      <a:pt x="80" y="1789"/>
                    </a:lnTo>
                    <a:lnTo>
                      <a:pt x="87" y="1799"/>
                    </a:lnTo>
                    <a:lnTo>
                      <a:pt x="93" y="1810"/>
                    </a:lnTo>
                    <a:lnTo>
                      <a:pt x="96" y="1821"/>
                    </a:lnTo>
                    <a:lnTo>
                      <a:pt x="99" y="1833"/>
                    </a:lnTo>
                    <a:lnTo>
                      <a:pt x="99" y="1847"/>
                    </a:lnTo>
                    <a:lnTo>
                      <a:pt x="99" y="1972"/>
                    </a:lnTo>
                    <a:lnTo>
                      <a:pt x="99" y="1982"/>
                    </a:lnTo>
                    <a:lnTo>
                      <a:pt x="97" y="1991"/>
                    </a:lnTo>
                    <a:lnTo>
                      <a:pt x="94" y="2000"/>
                    </a:lnTo>
                    <a:lnTo>
                      <a:pt x="91" y="2008"/>
                    </a:lnTo>
                    <a:lnTo>
                      <a:pt x="82" y="2023"/>
                    </a:lnTo>
                    <a:lnTo>
                      <a:pt x="75" y="2042"/>
                    </a:lnTo>
                    <a:lnTo>
                      <a:pt x="70" y="2069"/>
                    </a:lnTo>
                    <a:lnTo>
                      <a:pt x="64" y="2093"/>
                    </a:lnTo>
                    <a:lnTo>
                      <a:pt x="61" y="2103"/>
                    </a:lnTo>
                    <a:lnTo>
                      <a:pt x="54" y="2113"/>
                    </a:lnTo>
                    <a:lnTo>
                      <a:pt x="51" y="2118"/>
                    </a:lnTo>
                    <a:lnTo>
                      <a:pt x="47" y="2124"/>
                    </a:lnTo>
                    <a:lnTo>
                      <a:pt x="43" y="2128"/>
                    </a:lnTo>
                    <a:lnTo>
                      <a:pt x="38" y="2132"/>
                    </a:lnTo>
                    <a:lnTo>
                      <a:pt x="45" y="2143"/>
                    </a:lnTo>
                    <a:lnTo>
                      <a:pt x="52" y="2154"/>
                    </a:lnTo>
                    <a:lnTo>
                      <a:pt x="61" y="2162"/>
                    </a:lnTo>
                    <a:lnTo>
                      <a:pt x="71" y="2169"/>
                    </a:lnTo>
                    <a:lnTo>
                      <a:pt x="81" y="2174"/>
                    </a:lnTo>
                    <a:lnTo>
                      <a:pt x="93" y="2178"/>
                    </a:lnTo>
                    <a:lnTo>
                      <a:pt x="105" y="2180"/>
                    </a:lnTo>
                    <a:lnTo>
                      <a:pt x="118" y="2181"/>
                    </a:lnTo>
                    <a:lnTo>
                      <a:pt x="118" y="2181"/>
                    </a:lnTo>
                    <a:lnTo>
                      <a:pt x="135" y="2186"/>
                    </a:lnTo>
                    <a:lnTo>
                      <a:pt x="149" y="2188"/>
                    </a:lnTo>
                    <a:lnTo>
                      <a:pt x="164" y="2190"/>
                    </a:lnTo>
                    <a:lnTo>
                      <a:pt x="177" y="2192"/>
                    </a:lnTo>
                    <a:lnTo>
                      <a:pt x="205" y="2193"/>
                    </a:lnTo>
                    <a:lnTo>
                      <a:pt x="237" y="2194"/>
                    </a:lnTo>
                    <a:lnTo>
                      <a:pt x="292" y="2194"/>
                    </a:lnTo>
                    <a:lnTo>
                      <a:pt x="299" y="2194"/>
                    </a:lnTo>
                    <a:lnTo>
                      <a:pt x="304" y="2197"/>
                    </a:lnTo>
                    <a:lnTo>
                      <a:pt x="309" y="2200"/>
                    </a:lnTo>
                    <a:lnTo>
                      <a:pt x="313" y="2205"/>
                    </a:lnTo>
                    <a:lnTo>
                      <a:pt x="320" y="2218"/>
                    </a:lnTo>
                    <a:lnTo>
                      <a:pt x="326" y="2231"/>
                    </a:lnTo>
                    <a:lnTo>
                      <a:pt x="331" y="2245"/>
                    </a:lnTo>
                    <a:lnTo>
                      <a:pt x="337" y="2257"/>
                    </a:lnTo>
                    <a:lnTo>
                      <a:pt x="341" y="2262"/>
                    </a:lnTo>
                    <a:lnTo>
                      <a:pt x="346" y="2266"/>
                    </a:lnTo>
                    <a:lnTo>
                      <a:pt x="351" y="2268"/>
                    </a:lnTo>
                    <a:lnTo>
                      <a:pt x="359" y="2269"/>
                    </a:lnTo>
                    <a:lnTo>
                      <a:pt x="365" y="2268"/>
                    </a:lnTo>
                    <a:lnTo>
                      <a:pt x="371" y="2266"/>
                    </a:lnTo>
                    <a:lnTo>
                      <a:pt x="376" y="2262"/>
                    </a:lnTo>
                    <a:lnTo>
                      <a:pt x="380" y="2258"/>
                    </a:lnTo>
                    <a:lnTo>
                      <a:pt x="386" y="2254"/>
                    </a:lnTo>
                    <a:lnTo>
                      <a:pt x="390" y="2249"/>
                    </a:lnTo>
                    <a:lnTo>
                      <a:pt x="395" y="2244"/>
                    </a:lnTo>
                    <a:lnTo>
                      <a:pt x="401" y="2240"/>
                    </a:lnTo>
                    <a:lnTo>
                      <a:pt x="419" y="2233"/>
                    </a:lnTo>
                    <a:lnTo>
                      <a:pt x="435" y="2228"/>
                    </a:lnTo>
                    <a:lnTo>
                      <a:pt x="442" y="2224"/>
                    </a:lnTo>
                    <a:lnTo>
                      <a:pt x="448" y="2220"/>
                    </a:lnTo>
                    <a:lnTo>
                      <a:pt x="452" y="2217"/>
                    </a:lnTo>
                    <a:lnTo>
                      <a:pt x="454" y="2213"/>
                    </a:lnTo>
                    <a:lnTo>
                      <a:pt x="456" y="2209"/>
                    </a:lnTo>
                    <a:lnTo>
                      <a:pt x="458" y="2205"/>
                    </a:lnTo>
                    <a:lnTo>
                      <a:pt x="465" y="2177"/>
                    </a:lnTo>
                    <a:lnTo>
                      <a:pt x="473" y="2153"/>
                    </a:lnTo>
                    <a:lnTo>
                      <a:pt x="478" y="2141"/>
                    </a:lnTo>
                    <a:lnTo>
                      <a:pt x="486" y="2130"/>
                    </a:lnTo>
                    <a:lnTo>
                      <a:pt x="490" y="2125"/>
                    </a:lnTo>
                    <a:lnTo>
                      <a:pt x="494" y="2121"/>
                    </a:lnTo>
                    <a:lnTo>
                      <a:pt x="499" y="2115"/>
                    </a:lnTo>
                    <a:lnTo>
                      <a:pt x="505" y="2111"/>
                    </a:lnTo>
                    <a:lnTo>
                      <a:pt x="530" y="2137"/>
                    </a:lnTo>
                    <a:lnTo>
                      <a:pt x="553" y="2161"/>
                    </a:lnTo>
                    <a:lnTo>
                      <a:pt x="574" y="2183"/>
                    </a:lnTo>
                    <a:lnTo>
                      <a:pt x="601" y="2207"/>
                    </a:lnTo>
                    <a:lnTo>
                      <a:pt x="622" y="2229"/>
                    </a:lnTo>
                    <a:lnTo>
                      <a:pt x="639" y="2250"/>
                    </a:lnTo>
                    <a:lnTo>
                      <a:pt x="647" y="2258"/>
                    </a:lnTo>
                    <a:lnTo>
                      <a:pt x="658" y="2265"/>
                    </a:lnTo>
                    <a:lnTo>
                      <a:pt x="664" y="2267"/>
                    </a:lnTo>
                    <a:lnTo>
                      <a:pt x="670" y="2269"/>
                    </a:lnTo>
                    <a:lnTo>
                      <a:pt x="676" y="2271"/>
                    </a:lnTo>
                    <a:lnTo>
                      <a:pt x="684" y="2271"/>
                    </a:lnTo>
                    <a:lnTo>
                      <a:pt x="693" y="2270"/>
                    </a:lnTo>
                    <a:lnTo>
                      <a:pt x="702" y="2269"/>
                    </a:lnTo>
                    <a:lnTo>
                      <a:pt x="710" y="2266"/>
                    </a:lnTo>
                    <a:lnTo>
                      <a:pt x="718" y="2263"/>
                    </a:lnTo>
                    <a:lnTo>
                      <a:pt x="732" y="2255"/>
                    </a:lnTo>
                    <a:lnTo>
                      <a:pt x="745" y="2245"/>
                    </a:lnTo>
                    <a:lnTo>
                      <a:pt x="759" y="2236"/>
                    </a:lnTo>
                    <a:lnTo>
                      <a:pt x="772" y="2228"/>
                    </a:lnTo>
                    <a:lnTo>
                      <a:pt x="780" y="2224"/>
                    </a:lnTo>
                    <a:lnTo>
                      <a:pt x="789" y="2222"/>
                    </a:lnTo>
                    <a:lnTo>
                      <a:pt x="797" y="2220"/>
                    </a:lnTo>
                    <a:lnTo>
                      <a:pt x="806" y="2220"/>
                    </a:lnTo>
                    <a:lnTo>
                      <a:pt x="810" y="2220"/>
                    </a:lnTo>
                    <a:lnTo>
                      <a:pt x="815" y="2221"/>
                    </a:lnTo>
                    <a:lnTo>
                      <a:pt x="818" y="2223"/>
                    </a:lnTo>
                    <a:lnTo>
                      <a:pt x="821" y="2225"/>
                    </a:lnTo>
                    <a:lnTo>
                      <a:pt x="827" y="2230"/>
                    </a:lnTo>
                    <a:lnTo>
                      <a:pt x="835" y="2233"/>
                    </a:lnTo>
                    <a:lnTo>
                      <a:pt x="856" y="2240"/>
                    </a:lnTo>
                    <a:lnTo>
                      <a:pt x="875" y="2245"/>
                    </a:lnTo>
                    <a:lnTo>
                      <a:pt x="894" y="2250"/>
                    </a:lnTo>
                    <a:lnTo>
                      <a:pt x="912" y="2252"/>
                    </a:lnTo>
                    <a:lnTo>
                      <a:pt x="931" y="2254"/>
                    </a:lnTo>
                    <a:lnTo>
                      <a:pt x="951" y="2255"/>
                    </a:lnTo>
                    <a:lnTo>
                      <a:pt x="971" y="2255"/>
                    </a:lnTo>
                    <a:lnTo>
                      <a:pt x="993" y="2255"/>
                    </a:lnTo>
                    <a:lnTo>
                      <a:pt x="1009" y="2255"/>
                    </a:lnTo>
                    <a:lnTo>
                      <a:pt x="1025" y="2256"/>
                    </a:lnTo>
                    <a:lnTo>
                      <a:pt x="1039" y="2257"/>
                    </a:lnTo>
                    <a:lnTo>
                      <a:pt x="1056" y="2257"/>
                    </a:lnTo>
                    <a:lnTo>
                      <a:pt x="1072" y="2257"/>
                    </a:lnTo>
                    <a:lnTo>
                      <a:pt x="1087" y="2256"/>
                    </a:lnTo>
                    <a:lnTo>
                      <a:pt x="1101" y="2254"/>
                    </a:lnTo>
                    <a:lnTo>
                      <a:pt x="1118" y="2250"/>
                    </a:lnTo>
                    <a:lnTo>
                      <a:pt x="1146" y="2257"/>
                    </a:lnTo>
                    <a:lnTo>
                      <a:pt x="1158" y="2255"/>
                    </a:lnTo>
                    <a:lnTo>
                      <a:pt x="1169" y="2253"/>
                    </a:lnTo>
                    <a:lnTo>
                      <a:pt x="1169" y="2253"/>
                    </a:lnTo>
                    <a:lnTo>
                      <a:pt x="1204" y="2231"/>
                    </a:lnTo>
                    <a:lnTo>
                      <a:pt x="1236" y="2211"/>
                    </a:lnTo>
                    <a:lnTo>
                      <a:pt x="1267" y="2192"/>
                    </a:lnTo>
                    <a:lnTo>
                      <a:pt x="1297" y="2174"/>
                    </a:lnTo>
                    <a:lnTo>
                      <a:pt x="1313" y="2167"/>
                    </a:lnTo>
                    <a:lnTo>
                      <a:pt x="1328" y="2160"/>
                    </a:lnTo>
                    <a:lnTo>
                      <a:pt x="1344" y="2154"/>
                    </a:lnTo>
                    <a:lnTo>
                      <a:pt x="1361" y="2148"/>
                    </a:lnTo>
                    <a:lnTo>
                      <a:pt x="1378" y="2144"/>
                    </a:lnTo>
                    <a:lnTo>
                      <a:pt x="1396" y="2141"/>
                    </a:lnTo>
                    <a:lnTo>
                      <a:pt x="1416" y="2140"/>
                    </a:lnTo>
                    <a:lnTo>
                      <a:pt x="1436" y="2139"/>
                    </a:lnTo>
                    <a:lnTo>
                      <a:pt x="1446" y="2139"/>
                    </a:lnTo>
                    <a:lnTo>
                      <a:pt x="1454" y="2140"/>
                    </a:lnTo>
                    <a:lnTo>
                      <a:pt x="1462" y="2142"/>
                    </a:lnTo>
                    <a:lnTo>
                      <a:pt x="1470" y="2144"/>
                    </a:lnTo>
                    <a:lnTo>
                      <a:pt x="1485" y="2150"/>
                    </a:lnTo>
                    <a:lnTo>
                      <a:pt x="1498" y="2159"/>
                    </a:lnTo>
                    <a:lnTo>
                      <a:pt x="1512" y="2167"/>
                    </a:lnTo>
                    <a:lnTo>
                      <a:pt x="1526" y="2175"/>
                    </a:lnTo>
                    <a:lnTo>
                      <a:pt x="1542" y="2183"/>
                    </a:lnTo>
                    <a:lnTo>
                      <a:pt x="1558" y="2191"/>
                    </a:lnTo>
                    <a:lnTo>
                      <a:pt x="1579" y="2198"/>
                    </a:lnTo>
                    <a:lnTo>
                      <a:pt x="1596" y="2203"/>
                    </a:lnTo>
                    <a:lnTo>
                      <a:pt x="1614" y="2206"/>
                    </a:lnTo>
                    <a:lnTo>
                      <a:pt x="1631" y="2209"/>
                    </a:lnTo>
                    <a:lnTo>
                      <a:pt x="1649" y="2210"/>
                    </a:lnTo>
                    <a:lnTo>
                      <a:pt x="1667" y="2211"/>
                    </a:lnTo>
                    <a:lnTo>
                      <a:pt x="1686" y="2212"/>
                    </a:lnTo>
                    <a:lnTo>
                      <a:pt x="1707" y="2212"/>
                    </a:lnTo>
                    <a:lnTo>
                      <a:pt x="1719" y="2212"/>
                    </a:lnTo>
                    <a:lnTo>
                      <a:pt x="1731" y="2211"/>
                    </a:lnTo>
                    <a:lnTo>
                      <a:pt x="1743" y="2209"/>
                    </a:lnTo>
                    <a:lnTo>
                      <a:pt x="1754" y="2206"/>
                    </a:lnTo>
                    <a:lnTo>
                      <a:pt x="1759" y="2204"/>
                    </a:lnTo>
                    <a:lnTo>
                      <a:pt x="1763" y="2201"/>
                    </a:lnTo>
                    <a:lnTo>
                      <a:pt x="1767" y="2199"/>
                    </a:lnTo>
                    <a:lnTo>
                      <a:pt x="1770" y="2195"/>
                    </a:lnTo>
                    <a:lnTo>
                      <a:pt x="1774" y="2192"/>
                    </a:lnTo>
                    <a:lnTo>
                      <a:pt x="1776" y="2188"/>
                    </a:lnTo>
                    <a:lnTo>
                      <a:pt x="1778" y="2182"/>
                    </a:lnTo>
                    <a:lnTo>
                      <a:pt x="1778" y="2177"/>
                    </a:lnTo>
                    <a:lnTo>
                      <a:pt x="1777" y="2162"/>
                    </a:lnTo>
                    <a:lnTo>
                      <a:pt x="1776" y="2147"/>
                    </a:lnTo>
                    <a:lnTo>
                      <a:pt x="1773" y="2133"/>
                    </a:lnTo>
                    <a:lnTo>
                      <a:pt x="1768" y="2121"/>
                    </a:lnTo>
                    <a:lnTo>
                      <a:pt x="1759" y="2096"/>
                    </a:lnTo>
                    <a:lnTo>
                      <a:pt x="1748" y="2072"/>
                    </a:lnTo>
                    <a:lnTo>
                      <a:pt x="1737" y="2048"/>
                    </a:lnTo>
                    <a:lnTo>
                      <a:pt x="1728" y="2023"/>
                    </a:lnTo>
                    <a:lnTo>
                      <a:pt x="1724" y="2010"/>
                    </a:lnTo>
                    <a:lnTo>
                      <a:pt x="1721" y="1997"/>
                    </a:lnTo>
                    <a:lnTo>
                      <a:pt x="1719" y="1982"/>
                    </a:lnTo>
                    <a:lnTo>
                      <a:pt x="1719" y="1967"/>
                    </a:lnTo>
                    <a:lnTo>
                      <a:pt x="1719" y="1959"/>
                    </a:lnTo>
                    <a:lnTo>
                      <a:pt x="1720" y="1952"/>
                    </a:lnTo>
                    <a:lnTo>
                      <a:pt x="1722" y="1945"/>
                    </a:lnTo>
                    <a:lnTo>
                      <a:pt x="1724" y="1939"/>
                    </a:lnTo>
                    <a:lnTo>
                      <a:pt x="1730" y="1927"/>
                    </a:lnTo>
                    <a:lnTo>
                      <a:pt x="1736" y="1916"/>
                    </a:lnTo>
                    <a:lnTo>
                      <a:pt x="1743" y="1905"/>
                    </a:lnTo>
                    <a:lnTo>
                      <a:pt x="1749" y="1893"/>
                    </a:lnTo>
                    <a:lnTo>
                      <a:pt x="1751" y="1886"/>
                    </a:lnTo>
                    <a:lnTo>
                      <a:pt x="1753" y="1880"/>
                    </a:lnTo>
                    <a:lnTo>
                      <a:pt x="1754" y="1873"/>
                    </a:lnTo>
                    <a:lnTo>
                      <a:pt x="1754" y="1865"/>
                    </a:lnTo>
                    <a:lnTo>
                      <a:pt x="1753" y="1845"/>
                    </a:lnTo>
                    <a:lnTo>
                      <a:pt x="1751" y="1826"/>
                    </a:lnTo>
                    <a:lnTo>
                      <a:pt x="1748" y="1809"/>
                    </a:lnTo>
                    <a:lnTo>
                      <a:pt x="1745" y="1792"/>
                    </a:lnTo>
                    <a:lnTo>
                      <a:pt x="1742" y="1776"/>
                    </a:lnTo>
                    <a:lnTo>
                      <a:pt x="1739" y="1758"/>
                    </a:lnTo>
                    <a:lnTo>
                      <a:pt x="1736" y="1739"/>
                    </a:lnTo>
                    <a:lnTo>
                      <a:pt x="1735" y="1719"/>
                    </a:lnTo>
                    <a:lnTo>
                      <a:pt x="1730" y="1717"/>
                    </a:lnTo>
                    <a:lnTo>
                      <a:pt x="1726" y="1714"/>
                    </a:lnTo>
                    <a:lnTo>
                      <a:pt x="1718" y="1715"/>
                    </a:lnTo>
                    <a:lnTo>
                      <a:pt x="1711" y="1717"/>
                    </a:lnTo>
                    <a:lnTo>
                      <a:pt x="1703" y="1720"/>
                    </a:lnTo>
                    <a:lnTo>
                      <a:pt x="1697" y="1722"/>
                    </a:lnTo>
                    <a:lnTo>
                      <a:pt x="1691" y="1725"/>
                    </a:lnTo>
                    <a:lnTo>
                      <a:pt x="1685" y="1728"/>
                    </a:lnTo>
                    <a:lnTo>
                      <a:pt x="1678" y="1730"/>
                    </a:lnTo>
                    <a:lnTo>
                      <a:pt x="1669" y="1730"/>
                    </a:lnTo>
                    <a:lnTo>
                      <a:pt x="1664" y="1730"/>
                    </a:lnTo>
                    <a:lnTo>
                      <a:pt x="1659" y="1729"/>
                    </a:lnTo>
                    <a:lnTo>
                      <a:pt x="1654" y="1728"/>
                    </a:lnTo>
                    <a:lnTo>
                      <a:pt x="1650" y="1726"/>
                    </a:lnTo>
                    <a:lnTo>
                      <a:pt x="1646" y="1723"/>
                    </a:lnTo>
                    <a:lnTo>
                      <a:pt x="1642" y="1720"/>
                    </a:lnTo>
                    <a:lnTo>
                      <a:pt x="1637" y="1716"/>
                    </a:lnTo>
                    <a:lnTo>
                      <a:pt x="1634" y="1713"/>
                    </a:lnTo>
                    <a:lnTo>
                      <a:pt x="1629" y="1703"/>
                    </a:lnTo>
                    <a:lnTo>
                      <a:pt x="1625" y="1693"/>
                    </a:lnTo>
                    <a:lnTo>
                      <a:pt x="1623" y="1683"/>
                    </a:lnTo>
                    <a:lnTo>
                      <a:pt x="1622" y="1671"/>
                    </a:lnTo>
                    <a:lnTo>
                      <a:pt x="1622" y="1668"/>
                    </a:lnTo>
                    <a:lnTo>
                      <a:pt x="1623" y="1665"/>
                    </a:lnTo>
                    <a:lnTo>
                      <a:pt x="1624" y="1662"/>
                    </a:lnTo>
                    <a:lnTo>
                      <a:pt x="1626" y="1659"/>
                    </a:lnTo>
                    <a:lnTo>
                      <a:pt x="1630" y="1655"/>
                    </a:lnTo>
                    <a:lnTo>
                      <a:pt x="1636" y="1652"/>
                    </a:lnTo>
                    <a:lnTo>
                      <a:pt x="1644" y="1650"/>
                    </a:lnTo>
                    <a:lnTo>
                      <a:pt x="1651" y="1648"/>
                    </a:lnTo>
                    <a:lnTo>
                      <a:pt x="1659" y="1647"/>
                    </a:lnTo>
                    <a:lnTo>
                      <a:pt x="1668" y="1645"/>
                    </a:lnTo>
                    <a:lnTo>
                      <a:pt x="1677" y="1644"/>
                    </a:lnTo>
                    <a:lnTo>
                      <a:pt x="1685" y="1643"/>
                    </a:lnTo>
                    <a:lnTo>
                      <a:pt x="1693" y="1641"/>
                    </a:lnTo>
                    <a:lnTo>
                      <a:pt x="1699" y="1639"/>
                    </a:lnTo>
                    <a:lnTo>
                      <a:pt x="1706" y="1636"/>
                    </a:lnTo>
                    <a:lnTo>
                      <a:pt x="1710" y="1632"/>
                    </a:lnTo>
                    <a:lnTo>
                      <a:pt x="1712" y="1630"/>
                    </a:lnTo>
                    <a:lnTo>
                      <a:pt x="1713" y="1627"/>
                    </a:lnTo>
                    <a:lnTo>
                      <a:pt x="1714" y="1624"/>
                    </a:lnTo>
                    <a:lnTo>
                      <a:pt x="1714" y="1620"/>
                    </a:lnTo>
                    <a:lnTo>
                      <a:pt x="1713" y="1612"/>
                    </a:lnTo>
                    <a:lnTo>
                      <a:pt x="1711" y="1607"/>
                    </a:lnTo>
                    <a:lnTo>
                      <a:pt x="1707" y="1602"/>
                    </a:lnTo>
                    <a:lnTo>
                      <a:pt x="1702" y="1598"/>
                    </a:lnTo>
                    <a:lnTo>
                      <a:pt x="1691" y="1590"/>
                    </a:lnTo>
                    <a:lnTo>
                      <a:pt x="1681" y="1579"/>
                    </a:lnTo>
                    <a:lnTo>
                      <a:pt x="1661" y="1553"/>
                    </a:lnTo>
                    <a:lnTo>
                      <a:pt x="1645" y="1529"/>
                    </a:lnTo>
                    <a:lnTo>
                      <a:pt x="1637" y="1516"/>
                    </a:lnTo>
                    <a:lnTo>
                      <a:pt x="1631" y="1502"/>
                    </a:lnTo>
                    <a:lnTo>
                      <a:pt x="1626" y="1487"/>
                    </a:lnTo>
                    <a:lnTo>
                      <a:pt x="1622" y="1471"/>
                    </a:lnTo>
                    <a:lnTo>
                      <a:pt x="1662" y="1355"/>
                    </a:lnTo>
                    <a:lnTo>
                      <a:pt x="1671" y="1353"/>
                    </a:lnTo>
                    <a:lnTo>
                      <a:pt x="1682" y="1388"/>
                    </a:lnTo>
                    <a:lnTo>
                      <a:pt x="1693" y="1420"/>
                    </a:lnTo>
                    <a:lnTo>
                      <a:pt x="1697" y="1428"/>
                    </a:lnTo>
                    <a:lnTo>
                      <a:pt x="1701" y="1435"/>
                    </a:lnTo>
                    <a:lnTo>
                      <a:pt x="1706" y="1440"/>
                    </a:lnTo>
                    <a:lnTo>
                      <a:pt x="1712" y="1445"/>
                    </a:lnTo>
                    <a:lnTo>
                      <a:pt x="1717" y="1449"/>
                    </a:lnTo>
                    <a:lnTo>
                      <a:pt x="1724" y="1452"/>
                    </a:lnTo>
                    <a:lnTo>
                      <a:pt x="1731" y="1453"/>
                    </a:lnTo>
                    <a:lnTo>
                      <a:pt x="1740" y="1454"/>
                    </a:lnTo>
                    <a:lnTo>
                      <a:pt x="1746" y="1454"/>
                    </a:lnTo>
                    <a:lnTo>
                      <a:pt x="1751" y="1453"/>
                    </a:lnTo>
                    <a:lnTo>
                      <a:pt x="1756" y="1451"/>
                    </a:lnTo>
                    <a:lnTo>
                      <a:pt x="1761" y="1449"/>
                    </a:lnTo>
                    <a:lnTo>
                      <a:pt x="1770" y="1444"/>
                    </a:lnTo>
                    <a:lnTo>
                      <a:pt x="1778" y="1438"/>
                    </a:lnTo>
                    <a:lnTo>
                      <a:pt x="1785" y="1430"/>
                    </a:lnTo>
                    <a:lnTo>
                      <a:pt x="1792" y="1420"/>
                    </a:lnTo>
                    <a:lnTo>
                      <a:pt x="1797" y="1410"/>
                    </a:lnTo>
                    <a:lnTo>
                      <a:pt x="1803" y="1400"/>
                    </a:lnTo>
                    <a:lnTo>
                      <a:pt x="1810" y="1390"/>
                    </a:lnTo>
                    <a:lnTo>
                      <a:pt x="1816" y="1380"/>
                    </a:lnTo>
                    <a:lnTo>
                      <a:pt x="1822" y="1371"/>
                    </a:lnTo>
                    <a:lnTo>
                      <a:pt x="1829" y="1363"/>
                    </a:lnTo>
                    <a:lnTo>
                      <a:pt x="1838" y="1356"/>
                    </a:lnTo>
                    <a:lnTo>
                      <a:pt x="1846" y="1350"/>
                    </a:lnTo>
                    <a:lnTo>
                      <a:pt x="1851" y="1348"/>
                    </a:lnTo>
                    <a:lnTo>
                      <a:pt x="1856" y="1347"/>
                    </a:lnTo>
                    <a:lnTo>
                      <a:pt x="1861" y="1346"/>
                    </a:lnTo>
                    <a:lnTo>
                      <a:pt x="1867" y="1346"/>
                    </a:lnTo>
                    <a:lnTo>
                      <a:pt x="1881" y="1346"/>
                    </a:lnTo>
                    <a:lnTo>
                      <a:pt x="1892" y="1348"/>
                    </a:lnTo>
                    <a:lnTo>
                      <a:pt x="1904" y="1350"/>
                    </a:lnTo>
                    <a:lnTo>
                      <a:pt x="1915" y="1353"/>
                    </a:lnTo>
                    <a:lnTo>
                      <a:pt x="1925" y="1355"/>
                    </a:lnTo>
                    <a:lnTo>
                      <a:pt x="1937" y="1357"/>
                    </a:lnTo>
                    <a:lnTo>
                      <a:pt x="1949" y="1359"/>
                    </a:lnTo>
                    <a:lnTo>
                      <a:pt x="1961" y="1360"/>
                    </a:lnTo>
                    <a:lnTo>
                      <a:pt x="1984" y="1359"/>
                    </a:lnTo>
                    <a:lnTo>
                      <a:pt x="2005" y="1356"/>
                    </a:lnTo>
                    <a:lnTo>
                      <a:pt x="2023" y="1353"/>
                    </a:lnTo>
                    <a:lnTo>
                      <a:pt x="2042" y="1349"/>
                    </a:lnTo>
                    <a:lnTo>
                      <a:pt x="2060" y="1345"/>
                    </a:lnTo>
                    <a:lnTo>
                      <a:pt x="2079" y="1342"/>
                    </a:lnTo>
                    <a:lnTo>
                      <a:pt x="2099" y="1340"/>
                    </a:lnTo>
                    <a:lnTo>
                      <a:pt x="2122" y="1339"/>
                    </a:lnTo>
                    <a:lnTo>
                      <a:pt x="2131" y="1340"/>
                    </a:lnTo>
                    <a:lnTo>
                      <a:pt x="2140" y="1342"/>
                    </a:lnTo>
                    <a:lnTo>
                      <a:pt x="2147" y="1346"/>
                    </a:lnTo>
                    <a:lnTo>
                      <a:pt x="2154" y="1350"/>
                    </a:lnTo>
                    <a:lnTo>
                      <a:pt x="2166" y="1362"/>
                    </a:lnTo>
                    <a:lnTo>
                      <a:pt x="2179" y="1375"/>
                    </a:lnTo>
                    <a:lnTo>
                      <a:pt x="2190" y="1388"/>
                    </a:lnTo>
                    <a:lnTo>
                      <a:pt x="2203" y="1401"/>
                    </a:lnTo>
                    <a:lnTo>
                      <a:pt x="2210" y="1405"/>
                    </a:lnTo>
                    <a:lnTo>
                      <a:pt x="2217" y="1409"/>
                    </a:lnTo>
                    <a:lnTo>
                      <a:pt x="2225" y="1411"/>
                    </a:lnTo>
                    <a:lnTo>
                      <a:pt x="2235" y="1412"/>
                    </a:lnTo>
                    <a:lnTo>
                      <a:pt x="2242" y="1411"/>
                    </a:lnTo>
                    <a:lnTo>
                      <a:pt x="2248" y="1409"/>
                    </a:lnTo>
                    <a:lnTo>
                      <a:pt x="2253" y="1405"/>
                    </a:lnTo>
                    <a:lnTo>
                      <a:pt x="2257" y="1401"/>
                    </a:lnTo>
                    <a:lnTo>
                      <a:pt x="2261" y="1397"/>
                    </a:lnTo>
                    <a:lnTo>
                      <a:pt x="2267" y="1391"/>
                    </a:lnTo>
                    <a:lnTo>
                      <a:pt x="2272" y="1387"/>
                    </a:lnTo>
                    <a:lnTo>
                      <a:pt x="2278" y="1383"/>
                    </a:lnTo>
                    <a:lnTo>
                      <a:pt x="2312" y="1365"/>
                    </a:lnTo>
                    <a:lnTo>
                      <a:pt x="2342" y="1347"/>
                    </a:lnTo>
                    <a:lnTo>
                      <a:pt x="2356" y="1340"/>
                    </a:lnTo>
                    <a:lnTo>
                      <a:pt x="2373" y="1335"/>
                    </a:lnTo>
                    <a:lnTo>
                      <a:pt x="2381" y="1333"/>
                    </a:lnTo>
                    <a:lnTo>
                      <a:pt x="2390" y="1331"/>
                    </a:lnTo>
                    <a:lnTo>
                      <a:pt x="2400" y="1329"/>
                    </a:lnTo>
                    <a:lnTo>
                      <a:pt x="2410" y="1329"/>
                    </a:lnTo>
                    <a:lnTo>
                      <a:pt x="2419" y="1329"/>
                    </a:lnTo>
                    <a:lnTo>
                      <a:pt x="2427" y="1332"/>
                    </a:lnTo>
                    <a:lnTo>
                      <a:pt x="2435" y="1334"/>
                    </a:lnTo>
                    <a:lnTo>
                      <a:pt x="2443" y="1337"/>
                    </a:lnTo>
                    <a:lnTo>
                      <a:pt x="2456" y="1345"/>
                    </a:lnTo>
                    <a:lnTo>
                      <a:pt x="2470" y="1354"/>
                    </a:lnTo>
                    <a:lnTo>
                      <a:pt x="2483" y="1364"/>
                    </a:lnTo>
                    <a:lnTo>
                      <a:pt x="2496" y="1371"/>
                    </a:lnTo>
                    <a:lnTo>
                      <a:pt x="2504" y="1374"/>
                    </a:lnTo>
                    <a:lnTo>
                      <a:pt x="2512" y="1377"/>
                    </a:lnTo>
                    <a:lnTo>
                      <a:pt x="2520" y="1378"/>
                    </a:lnTo>
                    <a:lnTo>
                      <a:pt x="2529" y="1379"/>
                    </a:lnTo>
                    <a:lnTo>
                      <a:pt x="2547" y="1378"/>
                    </a:lnTo>
                    <a:lnTo>
                      <a:pt x="2562" y="1376"/>
                    </a:lnTo>
                    <a:lnTo>
                      <a:pt x="2577" y="1373"/>
                    </a:lnTo>
                    <a:lnTo>
                      <a:pt x="2591" y="1370"/>
                    </a:lnTo>
                    <a:lnTo>
                      <a:pt x="2605" y="1366"/>
                    </a:lnTo>
                    <a:lnTo>
                      <a:pt x="2619" y="1363"/>
                    </a:lnTo>
                    <a:lnTo>
                      <a:pt x="2635" y="1360"/>
                    </a:lnTo>
                    <a:lnTo>
                      <a:pt x="2652" y="1360"/>
                    </a:lnTo>
                    <a:lnTo>
                      <a:pt x="2660" y="1360"/>
                    </a:lnTo>
                    <a:lnTo>
                      <a:pt x="2669" y="1363"/>
                    </a:lnTo>
                    <a:lnTo>
                      <a:pt x="2676" y="1365"/>
                    </a:lnTo>
                    <a:lnTo>
                      <a:pt x="2683" y="1369"/>
                    </a:lnTo>
                    <a:lnTo>
                      <a:pt x="2688" y="1373"/>
                    </a:lnTo>
                    <a:lnTo>
                      <a:pt x="2693" y="1378"/>
                    </a:lnTo>
                    <a:lnTo>
                      <a:pt x="2694" y="1381"/>
                    </a:lnTo>
                    <a:lnTo>
                      <a:pt x="2697" y="1385"/>
                    </a:lnTo>
                    <a:lnTo>
                      <a:pt x="2697" y="1388"/>
                    </a:lnTo>
                    <a:lnTo>
                      <a:pt x="2698" y="1392"/>
                    </a:lnTo>
                    <a:lnTo>
                      <a:pt x="2698" y="1478"/>
                    </a:lnTo>
                    <a:lnTo>
                      <a:pt x="2711" y="1479"/>
                    </a:lnTo>
                    <a:lnTo>
                      <a:pt x="2724" y="1478"/>
                    </a:lnTo>
                    <a:lnTo>
                      <a:pt x="2731" y="1478"/>
                    </a:lnTo>
                    <a:lnTo>
                      <a:pt x="2737" y="1479"/>
                    </a:lnTo>
                    <a:lnTo>
                      <a:pt x="2743" y="1481"/>
                    </a:lnTo>
                    <a:lnTo>
                      <a:pt x="2748" y="1483"/>
                    </a:lnTo>
                    <a:lnTo>
                      <a:pt x="2753" y="1485"/>
                    </a:lnTo>
                    <a:lnTo>
                      <a:pt x="2758" y="1489"/>
                    </a:lnTo>
                    <a:lnTo>
                      <a:pt x="2763" y="1493"/>
                    </a:lnTo>
                    <a:lnTo>
                      <a:pt x="2767" y="1497"/>
                    </a:lnTo>
                    <a:lnTo>
                      <a:pt x="2771" y="1501"/>
                    </a:lnTo>
                    <a:lnTo>
                      <a:pt x="2774" y="1505"/>
                    </a:lnTo>
                    <a:lnTo>
                      <a:pt x="2777" y="1510"/>
                    </a:lnTo>
                    <a:lnTo>
                      <a:pt x="2780" y="1516"/>
                    </a:lnTo>
                    <a:lnTo>
                      <a:pt x="2782" y="1522"/>
                    </a:lnTo>
                    <a:lnTo>
                      <a:pt x="2783" y="1528"/>
                    </a:lnTo>
                    <a:lnTo>
                      <a:pt x="2784" y="1533"/>
                    </a:lnTo>
                    <a:lnTo>
                      <a:pt x="2784" y="1539"/>
                    </a:lnTo>
                    <a:lnTo>
                      <a:pt x="2784" y="1557"/>
                    </a:lnTo>
                    <a:lnTo>
                      <a:pt x="2783" y="1572"/>
                    </a:lnTo>
                    <a:lnTo>
                      <a:pt x="2781" y="1587"/>
                    </a:lnTo>
                    <a:lnTo>
                      <a:pt x="2779" y="1601"/>
                    </a:lnTo>
                    <a:lnTo>
                      <a:pt x="2774" y="1629"/>
                    </a:lnTo>
                    <a:lnTo>
                      <a:pt x="2768" y="1662"/>
                    </a:lnTo>
                    <a:lnTo>
                      <a:pt x="2775" y="1665"/>
                    </a:lnTo>
                    <a:lnTo>
                      <a:pt x="2782" y="1667"/>
                    </a:lnTo>
                    <a:lnTo>
                      <a:pt x="2834" y="1655"/>
                    </a:lnTo>
                    <a:lnTo>
                      <a:pt x="2872" y="1654"/>
                    </a:lnTo>
                    <a:lnTo>
                      <a:pt x="2905" y="1652"/>
                    </a:lnTo>
                    <a:lnTo>
                      <a:pt x="2938" y="1651"/>
                    </a:lnTo>
                    <a:lnTo>
                      <a:pt x="2975" y="1651"/>
                    </a:lnTo>
                    <a:lnTo>
                      <a:pt x="3004" y="1651"/>
                    </a:lnTo>
                    <a:lnTo>
                      <a:pt x="3031" y="1653"/>
                    </a:lnTo>
                    <a:lnTo>
                      <a:pt x="3055" y="1655"/>
                    </a:lnTo>
                    <a:lnTo>
                      <a:pt x="3079" y="1658"/>
                    </a:lnTo>
                    <a:lnTo>
                      <a:pt x="3104" y="1662"/>
                    </a:lnTo>
                    <a:lnTo>
                      <a:pt x="3129" y="1665"/>
                    </a:lnTo>
                    <a:lnTo>
                      <a:pt x="3154" y="1668"/>
                    </a:lnTo>
                    <a:lnTo>
                      <a:pt x="3182" y="1671"/>
                    </a:lnTo>
                    <a:lnTo>
                      <a:pt x="3182" y="1671"/>
                    </a:lnTo>
                    <a:lnTo>
                      <a:pt x="3186" y="1645"/>
                    </a:lnTo>
                    <a:lnTo>
                      <a:pt x="3188" y="1622"/>
                    </a:lnTo>
                    <a:lnTo>
                      <a:pt x="3189" y="1611"/>
                    </a:lnTo>
                    <a:lnTo>
                      <a:pt x="3192" y="1599"/>
                    </a:lnTo>
                    <a:lnTo>
                      <a:pt x="3195" y="1588"/>
                    </a:lnTo>
                    <a:lnTo>
                      <a:pt x="3199" y="1575"/>
                    </a:lnTo>
                    <a:lnTo>
                      <a:pt x="3202" y="1569"/>
                    </a:lnTo>
                    <a:lnTo>
                      <a:pt x="3205" y="1564"/>
                    </a:lnTo>
                    <a:lnTo>
                      <a:pt x="3208" y="1559"/>
                    </a:lnTo>
                    <a:lnTo>
                      <a:pt x="3212" y="1555"/>
                    </a:lnTo>
                    <a:lnTo>
                      <a:pt x="3220" y="1546"/>
                    </a:lnTo>
                    <a:lnTo>
                      <a:pt x="3229" y="1539"/>
                    </a:lnTo>
                    <a:lnTo>
                      <a:pt x="3236" y="1532"/>
                    </a:lnTo>
                    <a:lnTo>
                      <a:pt x="3243" y="1523"/>
                    </a:lnTo>
                    <a:lnTo>
                      <a:pt x="3245" y="1518"/>
                    </a:lnTo>
                    <a:lnTo>
                      <a:pt x="3247" y="1513"/>
                    </a:lnTo>
                    <a:lnTo>
                      <a:pt x="3248" y="1508"/>
                    </a:lnTo>
                    <a:lnTo>
                      <a:pt x="3248" y="1502"/>
                    </a:lnTo>
                    <a:lnTo>
                      <a:pt x="3248" y="1497"/>
                    </a:lnTo>
                    <a:lnTo>
                      <a:pt x="3247" y="1493"/>
                    </a:lnTo>
                    <a:lnTo>
                      <a:pt x="3246" y="1489"/>
                    </a:lnTo>
                    <a:lnTo>
                      <a:pt x="3244" y="1484"/>
                    </a:lnTo>
                    <a:lnTo>
                      <a:pt x="3238" y="1478"/>
                    </a:lnTo>
                    <a:lnTo>
                      <a:pt x="3232" y="1472"/>
                    </a:lnTo>
                    <a:lnTo>
                      <a:pt x="3214" y="1463"/>
                    </a:lnTo>
                    <a:lnTo>
                      <a:pt x="3197" y="1452"/>
                    </a:lnTo>
                    <a:lnTo>
                      <a:pt x="3184" y="1443"/>
                    </a:lnTo>
                    <a:lnTo>
                      <a:pt x="3174" y="1434"/>
                    </a:lnTo>
                    <a:lnTo>
                      <a:pt x="3169" y="1430"/>
                    </a:lnTo>
                    <a:lnTo>
                      <a:pt x="3164" y="1426"/>
                    </a:lnTo>
                    <a:lnTo>
                      <a:pt x="3156" y="1422"/>
                    </a:lnTo>
                    <a:lnTo>
                      <a:pt x="3149" y="1419"/>
                    </a:lnTo>
                    <a:lnTo>
                      <a:pt x="3155" y="1409"/>
                    </a:lnTo>
                    <a:lnTo>
                      <a:pt x="3162" y="1401"/>
                    </a:lnTo>
                    <a:lnTo>
                      <a:pt x="3168" y="1394"/>
                    </a:lnTo>
                    <a:lnTo>
                      <a:pt x="3175" y="1386"/>
                    </a:lnTo>
                    <a:lnTo>
                      <a:pt x="3188" y="1372"/>
                    </a:lnTo>
                    <a:lnTo>
                      <a:pt x="3202" y="1355"/>
                    </a:lnTo>
                    <a:lnTo>
                      <a:pt x="3213" y="1339"/>
                    </a:lnTo>
                    <a:lnTo>
                      <a:pt x="3226" y="1324"/>
                    </a:lnTo>
                    <a:lnTo>
                      <a:pt x="3232" y="1319"/>
                    </a:lnTo>
                    <a:lnTo>
                      <a:pt x="3240" y="1314"/>
                    </a:lnTo>
                    <a:lnTo>
                      <a:pt x="3248" y="1312"/>
                    </a:lnTo>
                    <a:lnTo>
                      <a:pt x="3259" y="1311"/>
                    </a:lnTo>
                    <a:lnTo>
                      <a:pt x="3268" y="1311"/>
                    </a:lnTo>
                    <a:lnTo>
                      <a:pt x="3277" y="1314"/>
                    </a:lnTo>
                    <a:lnTo>
                      <a:pt x="3285" y="1317"/>
                    </a:lnTo>
                    <a:lnTo>
                      <a:pt x="3293" y="1321"/>
                    </a:lnTo>
                    <a:lnTo>
                      <a:pt x="3301" y="1325"/>
                    </a:lnTo>
                    <a:lnTo>
                      <a:pt x="3309" y="1328"/>
                    </a:lnTo>
                    <a:lnTo>
                      <a:pt x="3317" y="1331"/>
                    </a:lnTo>
                    <a:lnTo>
                      <a:pt x="3328" y="1332"/>
                    </a:lnTo>
                    <a:lnTo>
                      <a:pt x="3347" y="1331"/>
                    </a:lnTo>
                    <a:lnTo>
                      <a:pt x="3364" y="1327"/>
                    </a:lnTo>
                    <a:lnTo>
                      <a:pt x="3381" y="1323"/>
                    </a:lnTo>
                    <a:lnTo>
                      <a:pt x="3400" y="1322"/>
                    </a:lnTo>
                    <a:lnTo>
                      <a:pt x="3449" y="1322"/>
                    </a:lnTo>
                    <a:lnTo>
                      <a:pt x="3452" y="1286"/>
                    </a:lnTo>
                    <a:lnTo>
                      <a:pt x="3457" y="1253"/>
                    </a:lnTo>
                    <a:lnTo>
                      <a:pt x="3461" y="1221"/>
                    </a:lnTo>
                    <a:lnTo>
                      <a:pt x="3464" y="1191"/>
                    </a:lnTo>
                    <a:lnTo>
                      <a:pt x="3468" y="1161"/>
                    </a:lnTo>
                    <a:lnTo>
                      <a:pt x="3470" y="1130"/>
                    </a:lnTo>
                    <a:lnTo>
                      <a:pt x="3472" y="1097"/>
                    </a:lnTo>
                    <a:lnTo>
                      <a:pt x="3473" y="1060"/>
                    </a:lnTo>
                    <a:lnTo>
                      <a:pt x="3472" y="1056"/>
                    </a:lnTo>
                    <a:lnTo>
                      <a:pt x="3472" y="1053"/>
                    </a:lnTo>
                    <a:lnTo>
                      <a:pt x="3470" y="1050"/>
                    </a:lnTo>
                    <a:lnTo>
                      <a:pt x="3469" y="1048"/>
                    </a:lnTo>
                    <a:lnTo>
                      <a:pt x="3464" y="1042"/>
                    </a:lnTo>
                    <a:lnTo>
                      <a:pt x="3458" y="1039"/>
                    </a:lnTo>
                    <a:lnTo>
                      <a:pt x="3443" y="1033"/>
                    </a:lnTo>
                    <a:lnTo>
                      <a:pt x="3428" y="1027"/>
                    </a:lnTo>
                    <a:lnTo>
                      <a:pt x="3397" y="1014"/>
                    </a:lnTo>
                    <a:lnTo>
                      <a:pt x="3367" y="1000"/>
                    </a:lnTo>
                    <a:lnTo>
                      <a:pt x="3361" y="997"/>
                    </a:lnTo>
                    <a:lnTo>
                      <a:pt x="3354" y="992"/>
                    </a:lnTo>
                    <a:lnTo>
                      <a:pt x="3349" y="988"/>
                    </a:lnTo>
                    <a:lnTo>
                      <a:pt x="3344" y="983"/>
                    </a:lnTo>
                    <a:lnTo>
                      <a:pt x="3341" y="976"/>
                    </a:lnTo>
                    <a:lnTo>
                      <a:pt x="3338" y="970"/>
                    </a:lnTo>
                    <a:lnTo>
                      <a:pt x="3337" y="963"/>
                    </a:lnTo>
                    <a:lnTo>
                      <a:pt x="3336" y="955"/>
                    </a:lnTo>
                    <a:lnTo>
                      <a:pt x="3336" y="878"/>
                    </a:lnTo>
                    <a:lnTo>
                      <a:pt x="3331" y="869"/>
                    </a:lnTo>
                    <a:lnTo>
                      <a:pt x="3327" y="860"/>
                    </a:lnTo>
                    <a:lnTo>
                      <a:pt x="3328" y="850"/>
                    </a:lnTo>
                    <a:lnTo>
                      <a:pt x="3331" y="843"/>
                    </a:lnTo>
                    <a:lnTo>
                      <a:pt x="3335" y="836"/>
                    </a:lnTo>
                    <a:lnTo>
                      <a:pt x="3340" y="830"/>
                    </a:lnTo>
                    <a:lnTo>
                      <a:pt x="3347" y="825"/>
                    </a:lnTo>
                    <a:lnTo>
                      <a:pt x="3354" y="819"/>
                    </a:lnTo>
                    <a:lnTo>
                      <a:pt x="3362" y="814"/>
                    </a:lnTo>
                    <a:lnTo>
                      <a:pt x="3370" y="810"/>
                    </a:lnTo>
                    <a:lnTo>
                      <a:pt x="3378" y="806"/>
                    </a:lnTo>
                    <a:lnTo>
                      <a:pt x="3386" y="801"/>
                    </a:lnTo>
                    <a:lnTo>
                      <a:pt x="3394" y="796"/>
                    </a:lnTo>
                    <a:lnTo>
                      <a:pt x="3400" y="790"/>
                    </a:lnTo>
                    <a:lnTo>
                      <a:pt x="3406" y="784"/>
                    </a:lnTo>
                    <a:lnTo>
                      <a:pt x="3410" y="777"/>
                    </a:lnTo>
                    <a:lnTo>
                      <a:pt x="3413" y="770"/>
                    </a:lnTo>
                    <a:lnTo>
                      <a:pt x="3414" y="761"/>
                    </a:lnTo>
                    <a:lnTo>
                      <a:pt x="3413" y="754"/>
                    </a:lnTo>
                    <a:lnTo>
                      <a:pt x="3412" y="749"/>
                    </a:lnTo>
                    <a:lnTo>
                      <a:pt x="3410" y="745"/>
                    </a:lnTo>
                    <a:lnTo>
                      <a:pt x="3407" y="741"/>
                    </a:lnTo>
                    <a:lnTo>
                      <a:pt x="3401" y="734"/>
                    </a:lnTo>
                    <a:lnTo>
                      <a:pt x="3393" y="728"/>
                    </a:lnTo>
                    <a:lnTo>
                      <a:pt x="3382" y="722"/>
                    </a:lnTo>
                    <a:lnTo>
                      <a:pt x="3373" y="716"/>
                    </a:lnTo>
                    <a:lnTo>
                      <a:pt x="3364" y="710"/>
                    </a:lnTo>
                    <a:lnTo>
                      <a:pt x="3354" y="702"/>
                    </a:lnTo>
                    <a:lnTo>
                      <a:pt x="3343" y="688"/>
                    </a:lnTo>
                    <a:lnTo>
                      <a:pt x="3333" y="677"/>
                    </a:lnTo>
                    <a:lnTo>
                      <a:pt x="3323" y="667"/>
                    </a:lnTo>
                    <a:lnTo>
                      <a:pt x="3312" y="657"/>
                    </a:lnTo>
                    <a:lnTo>
                      <a:pt x="3290" y="639"/>
                    </a:lnTo>
                    <a:lnTo>
                      <a:pt x="3263" y="619"/>
                    </a:lnTo>
                    <a:lnTo>
                      <a:pt x="3263" y="619"/>
                    </a:lnTo>
                    <a:lnTo>
                      <a:pt x="3236" y="624"/>
                    </a:lnTo>
                    <a:lnTo>
                      <a:pt x="3212" y="626"/>
                    </a:lnTo>
                    <a:lnTo>
                      <a:pt x="3201" y="627"/>
                    </a:lnTo>
                    <a:lnTo>
                      <a:pt x="3188" y="629"/>
                    </a:lnTo>
                    <a:lnTo>
                      <a:pt x="3175" y="631"/>
                    </a:lnTo>
                    <a:lnTo>
                      <a:pt x="3162" y="636"/>
                    </a:lnTo>
                    <a:lnTo>
                      <a:pt x="3152" y="639"/>
                    </a:lnTo>
                    <a:lnTo>
                      <a:pt x="3145" y="643"/>
                    </a:lnTo>
                    <a:lnTo>
                      <a:pt x="3137" y="647"/>
                    </a:lnTo>
                    <a:lnTo>
                      <a:pt x="3130" y="651"/>
                    </a:lnTo>
                    <a:lnTo>
                      <a:pt x="3123" y="655"/>
                    </a:lnTo>
                    <a:lnTo>
                      <a:pt x="3115" y="658"/>
                    </a:lnTo>
                    <a:lnTo>
                      <a:pt x="3107" y="660"/>
                    </a:lnTo>
                    <a:lnTo>
                      <a:pt x="3098" y="661"/>
                    </a:lnTo>
                    <a:lnTo>
                      <a:pt x="3090" y="660"/>
                    </a:lnTo>
                    <a:lnTo>
                      <a:pt x="3083" y="657"/>
                    </a:lnTo>
                    <a:lnTo>
                      <a:pt x="3077" y="653"/>
                    </a:lnTo>
                    <a:lnTo>
                      <a:pt x="3072" y="648"/>
                    </a:lnTo>
                    <a:lnTo>
                      <a:pt x="3067" y="644"/>
                    </a:lnTo>
                    <a:lnTo>
                      <a:pt x="3061" y="640"/>
                    </a:lnTo>
                    <a:lnTo>
                      <a:pt x="3053" y="637"/>
                    </a:lnTo>
                    <a:lnTo>
                      <a:pt x="3046" y="636"/>
                    </a:lnTo>
                    <a:lnTo>
                      <a:pt x="3041" y="636"/>
                    </a:lnTo>
                    <a:lnTo>
                      <a:pt x="3036" y="637"/>
                    </a:lnTo>
                    <a:lnTo>
                      <a:pt x="3032" y="638"/>
                    </a:lnTo>
                    <a:lnTo>
                      <a:pt x="3028" y="640"/>
                    </a:lnTo>
                    <a:lnTo>
                      <a:pt x="3020" y="645"/>
                    </a:lnTo>
                    <a:lnTo>
                      <a:pt x="3014" y="652"/>
                    </a:lnTo>
                    <a:lnTo>
                      <a:pt x="3003" y="668"/>
                    </a:lnTo>
                    <a:lnTo>
                      <a:pt x="2989" y="685"/>
                    </a:lnTo>
                    <a:lnTo>
                      <a:pt x="2976" y="701"/>
                    </a:lnTo>
                    <a:lnTo>
                      <a:pt x="2965" y="716"/>
                    </a:lnTo>
                    <a:lnTo>
                      <a:pt x="2955" y="732"/>
                    </a:lnTo>
                    <a:lnTo>
                      <a:pt x="2947" y="751"/>
                    </a:lnTo>
                    <a:lnTo>
                      <a:pt x="2938" y="741"/>
                    </a:lnTo>
                    <a:lnTo>
                      <a:pt x="2929" y="731"/>
                    </a:lnTo>
                    <a:lnTo>
                      <a:pt x="2921" y="721"/>
                    </a:lnTo>
                    <a:lnTo>
                      <a:pt x="2914" y="712"/>
                    </a:lnTo>
                    <a:lnTo>
                      <a:pt x="2903" y="692"/>
                    </a:lnTo>
                    <a:lnTo>
                      <a:pt x="2891" y="673"/>
                    </a:lnTo>
                    <a:lnTo>
                      <a:pt x="2881" y="653"/>
                    </a:lnTo>
                    <a:lnTo>
                      <a:pt x="2871" y="632"/>
                    </a:lnTo>
                    <a:lnTo>
                      <a:pt x="2858" y="612"/>
                    </a:lnTo>
                    <a:lnTo>
                      <a:pt x="2843" y="590"/>
                    </a:lnTo>
                    <a:lnTo>
                      <a:pt x="2838" y="584"/>
                    </a:lnTo>
                    <a:lnTo>
                      <a:pt x="2833" y="578"/>
                    </a:lnTo>
                    <a:lnTo>
                      <a:pt x="2826" y="573"/>
                    </a:lnTo>
                    <a:lnTo>
                      <a:pt x="2820" y="568"/>
                    </a:lnTo>
                    <a:lnTo>
                      <a:pt x="2807" y="559"/>
                    </a:lnTo>
                    <a:lnTo>
                      <a:pt x="2795" y="550"/>
                    </a:lnTo>
                    <a:lnTo>
                      <a:pt x="2788" y="546"/>
                    </a:lnTo>
                    <a:lnTo>
                      <a:pt x="2783" y="542"/>
                    </a:lnTo>
                    <a:lnTo>
                      <a:pt x="2778" y="536"/>
                    </a:lnTo>
                    <a:lnTo>
                      <a:pt x="2774" y="531"/>
                    </a:lnTo>
                    <a:lnTo>
                      <a:pt x="2771" y="525"/>
                    </a:lnTo>
                    <a:lnTo>
                      <a:pt x="2768" y="519"/>
                    </a:lnTo>
                    <a:lnTo>
                      <a:pt x="2766" y="512"/>
                    </a:lnTo>
                    <a:lnTo>
                      <a:pt x="2766" y="503"/>
                    </a:lnTo>
                    <a:lnTo>
                      <a:pt x="2767" y="492"/>
                    </a:lnTo>
                    <a:lnTo>
                      <a:pt x="2770" y="482"/>
                    </a:lnTo>
                    <a:lnTo>
                      <a:pt x="2774" y="472"/>
                    </a:lnTo>
                    <a:lnTo>
                      <a:pt x="2775" y="461"/>
                    </a:lnTo>
                    <a:lnTo>
                      <a:pt x="2775" y="455"/>
                    </a:lnTo>
                    <a:lnTo>
                      <a:pt x="2774" y="449"/>
                    </a:lnTo>
                    <a:lnTo>
                      <a:pt x="2772" y="443"/>
                    </a:lnTo>
                    <a:lnTo>
                      <a:pt x="2769" y="438"/>
                    </a:lnTo>
                    <a:lnTo>
                      <a:pt x="2766" y="434"/>
                    </a:lnTo>
                    <a:lnTo>
                      <a:pt x="2763" y="430"/>
                    </a:lnTo>
                    <a:lnTo>
                      <a:pt x="2758" y="426"/>
                    </a:lnTo>
                    <a:lnTo>
                      <a:pt x="2754" y="423"/>
                    </a:lnTo>
                    <a:lnTo>
                      <a:pt x="2734" y="409"/>
                    </a:lnTo>
                    <a:lnTo>
                      <a:pt x="2711" y="397"/>
                    </a:lnTo>
                    <a:lnTo>
                      <a:pt x="2697" y="388"/>
                    </a:lnTo>
                    <a:lnTo>
                      <a:pt x="2683" y="378"/>
                    </a:lnTo>
                    <a:lnTo>
                      <a:pt x="2671" y="368"/>
                    </a:lnTo>
                    <a:lnTo>
                      <a:pt x="2660" y="358"/>
                    </a:lnTo>
                    <a:lnTo>
                      <a:pt x="2650" y="347"/>
                    </a:lnTo>
                    <a:lnTo>
                      <a:pt x="2642" y="335"/>
                    </a:lnTo>
                    <a:lnTo>
                      <a:pt x="2634" y="321"/>
                    </a:lnTo>
                    <a:lnTo>
                      <a:pt x="2626" y="305"/>
                    </a:lnTo>
                    <a:lnTo>
                      <a:pt x="2622" y="294"/>
                    </a:lnTo>
                    <a:lnTo>
                      <a:pt x="2620" y="281"/>
                    </a:lnTo>
                    <a:lnTo>
                      <a:pt x="2618" y="270"/>
                    </a:lnTo>
                    <a:lnTo>
                      <a:pt x="2616" y="260"/>
                    </a:lnTo>
                    <a:lnTo>
                      <a:pt x="2614" y="249"/>
                    </a:lnTo>
                    <a:lnTo>
                      <a:pt x="2610" y="240"/>
                    </a:lnTo>
                    <a:lnTo>
                      <a:pt x="2607" y="236"/>
                    </a:lnTo>
                    <a:lnTo>
                      <a:pt x="2603" y="233"/>
                    </a:lnTo>
                    <a:lnTo>
                      <a:pt x="2599" y="230"/>
                    </a:lnTo>
                    <a:lnTo>
                      <a:pt x="2593" y="227"/>
                    </a:lnTo>
                    <a:lnTo>
                      <a:pt x="2579" y="221"/>
                    </a:lnTo>
                    <a:lnTo>
                      <a:pt x="2565" y="216"/>
                    </a:lnTo>
                    <a:lnTo>
                      <a:pt x="2551" y="213"/>
                    </a:lnTo>
                    <a:lnTo>
                      <a:pt x="2538" y="211"/>
                    </a:lnTo>
                    <a:lnTo>
                      <a:pt x="2511" y="208"/>
                    </a:lnTo>
                    <a:lnTo>
                      <a:pt x="2480" y="208"/>
                    </a:lnTo>
                    <a:lnTo>
                      <a:pt x="2477" y="208"/>
                    </a:lnTo>
                    <a:lnTo>
                      <a:pt x="2473" y="209"/>
                    </a:lnTo>
                    <a:lnTo>
                      <a:pt x="2471" y="210"/>
                    </a:lnTo>
                    <a:lnTo>
                      <a:pt x="2468" y="212"/>
                    </a:lnTo>
                    <a:lnTo>
                      <a:pt x="2463" y="216"/>
                    </a:lnTo>
                    <a:lnTo>
                      <a:pt x="2459" y="223"/>
                    </a:lnTo>
                    <a:lnTo>
                      <a:pt x="2455" y="236"/>
                    </a:lnTo>
                    <a:lnTo>
                      <a:pt x="2452" y="252"/>
                    </a:lnTo>
                    <a:lnTo>
                      <a:pt x="2449" y="269"/>
                    </a:lnTo>
                    <a:lnTo>
                      <a:pt x="2444" y="283"/>
                    </a:lnTo>
                    <a:lnTo>
                      <a:pt x="2441" y="290"/>
                    </a:lnTo>
                    <a:lnTo>
                      <a:pt x="2437" y="294"/>
                    </a:lnTo>
                    <a:lnTo>
                      <a:pt x="2434" y="296"/>
                    </a:lnTo>
                    <a:lnTo>
                      <a:pt x="2430" y="297"/>
                    </a:lnTo>
                    <a:lnTo>
                      <a:pt x="2427" y="298"/>
                    </a:lnTo>
                    <a:lnTo>
                      <a:pt x="2423" y="298"/>
                    </a:lnTo>
                    <a:lnTo>
                      <a:pt x="2418" y="297"/>
                    </a:lnTo>
                    <a:lnTo>
                      <a:pt x="2413" y="296"/>
                    </a:lnTo>
                    <a:lnTo>
                      <a:pt x="2409" y="295"/>
                    </a:lnTo>
                    <a:lnTo>
                      <a:pt x="2405" y="293"/>
                    </a:lnTo>
                    <a:lnTo>
                      <a:pt x="2397" y="287"/>
                    </a:lnTo>
                    <a:lnTo>
                      <a:pt x="2391" y="279"/>
                    </a:lnTo>
                    <a:lnTo>
                      <a:pt x="2380" y="262"/>
                    </a:lnTo>
                    <a:lnTo>
                      <a:pt x="2368" y="243"/>
                    </a:lnTo>
                    <a:lnTo>
                      <a:pt x="2358" y="235"/>
                    </a:lnTo>
                    <a:lnTo>
                      <a:pt x="2350" y="229"/>
                    </a:lnTo>
                    <a:lnTo>
                      <a:pt x="2340" y="225"/>
                    </a:lnTo>
                    <a:lnTo>
                      <a:pt x="2330" y="223"/>
                    </a:lnTo>
                    <a:lnTo>
                      <a:pt x="2309" y="219"/>
                    </a:lnTo>
                    <a:lnTo>
                      <a:pt x="2284" y="217"/>
                    </a:lnTo>
                    <a:lnTo>
                      <a:pt x="2262" y="215"/>
                    </a:lnTo>
                    <a:lnTo>
                      <a:pt x="2241" y="212"/>
                    </a:lnTo>
                    <a:lnTo>
                      <a:pt x="2222" y="210"/>
                    </a:lnTo>
                    <a:lnTo>
                      <a:pt x="2203" y="207"/>
                    </a:lnTo>
                    <a:lnTo>
                      <a:pt x="2184" y="205"/>
                    </a:lnTo>
                    <a:lnTo>
                      <a:pt x="2165" y="202"/>
                    </a:lnTo>
                    <a:lnTo>
                      <a:pt x="2145" y="200"/>
                    </a:lnTo>
                    <a:lnTo>
                      <a:pt x="2122" y="197"/>
                    </a:lnTo>
                    <a:lnTo>
                      <a:pt x="2105" y="194"/>
                    </a:lnTo>
                    <a:lnTo>
                      <a:pt x="2088" y="190"/>
                    </a:lnTo>
                    <a:lnTo>
                      <a:pt x="2073" y="186"/>
                    </a:lnTo>
                    <a:lnTo>
                      <a:pt x="2058" y="181"/>
                    </a:lnTo>
                    <a:lnTo>
                      <a:pt x="2044" y="176"/>
                    </a:lnTo>
                    <a:lnTo>
                      <a:pt x="2030" y="171"/>
                    </a:lnTo>
                    <a:lnTo>
                      <a:pt x="2017" y="165"/>
                    </a:lnTo>
                    <a:lnTo>
                      <a:pt x="2005" y="157"/>
                    </a:lnTo>
                    <a:lnTo>
                      <a:pt x="1991" y="150"/>
                    </a:lnTo>
                    <a:lnTo>
                      <a:pt x="1980" y="142"/>
                    </a:lnTo>
                    <a:lnTo>
                      <a:pt x="1967" y="134"/>
                    </a:lnTo>
                    <a:lnTo>
                      <a:pt x="1955" y="124"/>
                    </a:lnTo>
                    <a:lnTo>
                      <a:pt x="1930" y="104"/>
                    </a:lnTo>
                    <a:lnTo>
                      <a:pt x="1905" y="81"/>
                    </a:lnTo>
                    <a:lnTo>
                      <a:pt x="1883" y="62"/>
                    </a:lnTo>
                    <a:lnTo>
                      <a:pt x="1862" y="46"/>
                    </a:lnTo>
                    <a:lnTo>
                      <a:pt x="1853" y="37"/>
                    </a:lnTo>
                    <a:lnTo>
                      <a:pt x="1846" y="26"/>
                    </a:lnTo>
                    <a:lnTo>
                      <a:pt x="1843" y="20"/>
                    </a:lnTo>
                    <a:lnTo>
                      <a:pt x="1841" y="14"/>
                    </a:lnTo>
                    <a:lnTo>
                      <a:pt x="1839" y="8"/>
                    </a:lnTo>
                    <a:lnTo>
                      <a:pt x="1836" y="0"/>
                    </a:lnTo>
                    <a:lnTo>
                      <a:pt x="1824" y="7"/>
                    </a:lnTo>
                    <a:lnTo>
                      <a:pt x="1813" y="12"/>
                    </a:lnTo>
                    <a:lnTo>
                      <a:pt x="1801" y="16"/>
                    </a:lnTo>
                    <a:lnTo>
                      <a:pt x="1791" y="20"/>
                    </a:lnTo>
                    <a:lnTo>
                      <a:pt x="1780" y="22"/>
                    </a:lnTo>
                    <a:lnTo>
                      <a:pt x="1768" y="24"/>
                    </a:lnTo>
                    <a:lnTo>
                      <a:pt x="1755" y="26"/>
                    </a:lnTo>
                    <a:lnTo>
                      <a:pt x="1742" y="26"/>
                    </a:lnTo>
                    <a:lnTo>
                      <a:pt x="1723" y="24"/>
                    </a:lnTo>
                    <a:lnTo>
                      <a:pt x="1723" y="24"/>
                    </a:lnTo>
                    <a:lnTo>
                      <a:pt x="1686" y="28"/>
                    </a:lnTo>
                    <a:lnTo>
                      <a:pt x="1654" y="32"/>
                    </a:lnTo>
                    <a:lnTo>
                      <a:pt x="1637" y="35"/>
                    </a:lnTo>
                    <a:lnTo>
                      <a:pt x="1621" y="37"/>
                    </a:lnTo>
                    <a:lnTo>
                      <a:pt x="1603" y="38"/>
                    </a:lnTo>
                    <a:lnTo>
                      <a:pt x="1583" y="38"/>
                    </a:lnTo>
                    <a:lnTo>
                      <a:pt x="1574" y="38"/>
                    </a:lnTo>
                    <a:lnTo>
                      <a:pt x="1565" y="35"/>
                    </a:lnTo>
                    <a:lnTo>
                      <a:pt x="1557" y="31"/>
                    </a:lnTo>
                    <a:lnTo>
                      <a:pt x="1550" y="27"/>
                    </a:lnTo>
                    <a:lnTo>
                      <a:pt x="1542" y="23"/>
                    </a:lnTo>
                    <a:lnTo>
                      <a:pt x="1534" y="20"/>
                    </a:lnTo>
                    <a:lnTo>
                      <a:pt x="1526" y="18"/>
                    </a:lnTo>
                    <a:lnTo>
                      <a:pt x="1516" y="17"/>
                    </a:lnTo>
                    <a:lnTo>
                      <a:pt x="1506" y="17"/>
                    </a:lnTo>
                    <a:lnTo>
                      <a:pt x="1498" y="19"/>
                    </a:lnTo>
                    <a:lnTo>
                      <a:pt x="1491" y="21"/>
                    </a:lnTo>
                    <a:lnTo>
                      <a:pt x="1484" y="23"/>
                    </a:lnTo>
                    <a:lnTo>
                      <a:pt x="1477" y="27"/>
                    </a:lnTo>
                    <a:lnTo>
                      <a:pt x="1470" y="31"/>
                    </a:lnTo>
                    <a:lnTo>
                      <a:pt x="1464" y="36"/>
                    </a:lnTo>
                    <a:lnTo>
                      <a:pt x="1458" y="41"/>
                    </a:lnTo>
                    <a:lnTo>
                      <a:pt x="1434" y="63"/>
                    </a:lnTo>
                    <a:lnTo>
                      <a:pt x="1407" y="87"/>
                    </a:lnTo>
                    <a:lnTo>
                      <a:pt x="1382" y="107"/>
                    </a:lnTo>
                    <a:lnTo>
                      <a:pt x="1359" y="124"/>
                    </a:lnTo>
                    <a:lnTo>
                      <a:pt x="1335" y="142"/>
                    </a:lnTo>
                    <a:lnTo>
                      <a:pt x="1308" y="161"/>
                    </a:lnTo>
                    <a:lnTo>
                      <a:pt x="1274" y="182"/>
                    </a:lnTo>
                    <a:lnTo>
                      <a:pt x="1244" y="200"/>
                    </a:lnTo>
                    <a:lnTo>
                      <a:pt x="1228" y="209"/>
                    </a:lnTo>
                    <a:lnTo>
                      <a:pt x="1213" y="218"/>
                    </a:lnTo>
                    <a:lnTo>
                      <a:pt x="1196" y="229"/>
                    </a:lnTo>
                    <a:lnTo>
                      <a:pt x="1179" y="241"/>
                    </a:lnTo>
                    <a:lnTo>
                      <a:pt x="1166" y="250"/>
                    </a:lnTo>
                    <a:lnTo>
                      <a:pt x="1155" y="260"/>
                    </a:lnTo>
                    <a:lnTo>
                      <a:pt x="1145" y="269"/>
                    </a:lnTo>
                    <a:lnTo>
                      <a:pt x="1134" y="278"/>
                    </a:lnTo>
                    <a:lnTo>
                      <a:pt x="1130" y="283"/>
                    </a:lnTo>
                    <a:lnTo>
                      <a:pt x="1127" y="289"/>
                    </a:lnTo>
                    <a:lnTo>
                      <a:pt x="1123" y="295"/>
                    </a:lnTo>
                    <a:lnTo>
                      <a:pt x="1121" y="301"/>
                    </a:lnTo>
                    <a:lnTo>
                      <a:pt x="1119" y="307"/>
                    </a:lnTo>
                    <a:lnTo>
                      <a:pt x="1117" y="314"/>
                    </a:lnTo>
                    <a:lnTo>
                      <a:pt x="1116" y="322"/>
                    </a:lnTo>
                    <a:lnTo>
                      <a:pt x="1116" y="329"/>
                    </a:lnTo>
                    <a:lnTo>
                      <a:pt x="1116" y="383"/>
                    </a:lnTo>
                    <a:lnTo>
                      <a:pt x="1116" y="392"/>
                    </a:lnTo>
                    <a:lnTo>
                      <a:pt x="1117" y="401"/>
                    </a:lnTo>
                    <a:lnTo>
                      <a:pt x="1120" y="409"/>
                    </a:lnTo>
                    <a:lnTo>
                      <a:pt x="1122" y="418"/>
                    </a:lnTo>
                    <a:lnTo>
                      <a:pt x="1129" y="433"/>
                    </a:lnTo>
                    <a:lnTo>
                      <a:pt x="1137" y="449"/>
                    </a:lnTo>
                    <a:lnTo>
                      <a:pt x="1146" y="463"/>
                    </a:lnTo>
                    <a:lnTo>
                      <a:pt x="1153" y="479"/>
                    </a:lnTo>
                    <a:lnTo>
                      <a:pt x="1156" y="487"/>
                    </a:lnTo>
                    <a:lnTo>
                      <a:pt x="1158" y="496"/>
                    </a:lnTo>
                    <a:lnTo>
                      <a:pt x="1160" y="505"/>
                    </a:lnTo>
                    <a:lnTo>
                      <a:pt x="1160" y="515"/>
                    </a:lnTo>
                    <a:lnTo>
                      <a:pt x="1159" y="526"/>
                    </a:lnTo>
                    <a:lnTo>
                      <a:pt x="1157" y="536"/>
                    </a:lnTo>
                    <a:lnTo>
                      <a:pt x="1152" y="546"/>
                    </a:lnTo>
                    <a:lnTo>
                      <a:pt x="1147" y="554"/>
                    </a:lnTo>
                    <a:lnTo>
                      <a:pt x="1139" y="561"/>
                    </a:lnTo>
                    <a:lnTo>
                      <a:pt x="1131" y="567"/>
                    </a:lnTo>
                    <a:lnTo>
                      <a:pt x="1122" y="573"/>
                    </a:lnTo>
                    <a:lnTo>
                      <a:pt x="1112" y="577"/>
                    </a:lnTo>
                    <a:lnTo>
                      <a:pt x="1100" y="581"/>
                    </a:lnTo>
                    <a:lnTo>
                      <a:pt x="1089" y="584"/>
                    </a:lnTo>
                    <a:lnTo>
                      <a:pt x="1076" y="586"/>
                    </a:lnTo>
                    <a:lnTo>
                      <a:pt x="1064" y="588"/>
                    </a:lnTo>
                    <a:lnTo>
                      <a:pt x="1038" y="590"/>
                    </a:lnTo>
                    <a:lnTo>
                      <a:pt x="1014" y="590"/>
                    </a:lnTo>
                    <a:lnTo>
                      <a:pt x="998" y="590"/>
                    </a:lnTo>
                    <a:lnTo>
                      <a:pt x="983" y="588"/>
                    </a:lnTo>
                    <a:lnTo>
                      <a:pt x="968" y="586"/>
                    </a:lnTo>
                    <a:lnTo>
                      <a:pt x="955" y="582"/>
                    </a:lnTo>
                    <a:lnTo>
                      <a:pt x="941" y="578"/>
                    </a:lnTo>
                    <a:lnTo>
                      <a:pt x="929" y="573"/>
                    </a:lnTo>
                    <a:lnTo>
                      <a:pt x="918" y="567"/>
                    </a:lnTo>
                    <a:lnTo>
                      <a:pt x="905" y="561"/>
                    </a:lnTo>
                    <a:lnTo>
                      <a:pt x="883" y="547"/>
                    </a:lnTo>
                    <a:lnTo>
                      <a:pt x="859" y="530"/>
                    </a:lnTo>
                    <a:lnTo>
                      <a:pt x="835" y="513"/>
                    </a:lnTo>
                    <a:lnTo>
                      <a:pt x="808" y="494"/>
                    </a:lnTo>
                    <a:lnTo>
                      <a:pt x="802" y="488"/>
                    </a:lnTo>
                    <a:lnTo>
                      <a:pt x="796" y="483"/>
                    </a:lnTo>
                    <a:lnTo>
                      <a:pt x="791" y="478"/>
                    </a:lnTo>
                    <a:lnTo>
                      <a:pt x="786" y="471"/>
                    </a:lnTo>
                    <a:lnTo>
                      <a:pt x="782" y="466"/>
                    </a:lnTo>
                    <a:lnTo>
                      <a:pt x="775" y="461"/>
                    </a:lnTo>
                    <a:lnTo>
                      <a:pt x="769" y="456"/>
                    </a:lnTo>
                    <a:lnTo>
                      <a:pt x="762" y="451"/>
                    </a:lnTo>
                    <a:lnTo>
                      <a:pt x="762" y="451"/>
                    </a:lnTo>
                    <a:lnTo>
                      <a:pt x="755" y="460"/>
                    </a:lnTo>
                    <a:lnTo>
                      <a:pt x="750" y="469"/>
                    </a:lnTo>
                    <a:lnTo>
                      <a:pt x="744" y="480"/>
                    </a:lnTo>
                    <a:lnTo>
                      <a:pt x="740" y="489"/>
                    </a:lnTo>
                    <a:lnTo>
                      <a:pt x="734" y="510"/>
                    </a:lnTo>
                    <a:lnTo>
                      <a:pt x="728" y="529"/>
                    </a:lnTo>
                    <a:lnTo>
                      <a:pt x="724" y="538"/>
                    </a:lnTo>
                    <a:lnTo>
                      <a:pt x="720" y="547"/>
                    </a:lnTo>
                    <a:lnTo>
                      <a:pt x="716" y="554"/>
                    </a:lnTo>
                    <a:lnTo>
                      <a:pt x="710" y="561"/>
                    </a:lnTo>
                    <a:lnTo>
                      <a:pt x="704" y="566"/>
                    </a:lnTo>
                    <a:lnTo>
                      <a:pt x="697" y="571"/>
                    </a:lnTo>
                    <a:lnTo>
                      <a:pt x="689" y="573"/>
                    </a:lnTo>
                    <a:lnTo>
                      <a:pt x="678" y="574"/>
                    </a:lnTo>
                    <a:lnTo>
                      <a:pt x="654" y="574"/>
                    </a:lnTo>
                    <a:lnTo>
                      <a:pt x="632" y="575"/>
                    </a:lnTo>
                    <a:lnTo>
                      <a:pt x="611" y="575"/>
                    </a:lnTo>
                    <a:lnTo>
                      <a:pt x="591" y="575"/>
                    </a:lnTo>
                    <a:lnTo>
                      <a:pt x="570" y="576"/>
                    </a:lnTo>
                    <a:lnTo>
                      <a:pt x="549" y="576"/>
                    </a:lnTo>
                    <a:lnTo>
                      <a:pt x="527" y="576"/>
                    </a:lnTo>
                    <a:lnTo>
                      <a:pt x="503" y="577"/>
                    </a:lnTo>
                    <a:lnTo>
                      <a:pt x="497" y="577"/>
                    </a:lnTo>
                    <a:lnTo>
                      <a:pt x="492" y="579"/>
                    </a:lnTo>
                    <a:lnTo>
                      <a:pt x="487" y="581"/>
                    </a:lnTo>
                    <a:lnTo>
                      <a:pt x="481" y="583"/>
                    </a:lnTo>
                    <a:lnTo>
                      <a:pt x="487" y="592"/>
                    </a:lnTo>
                    <a:lnTo>
                      <a:pt x="492" y="600"/>
                    </a:lnTo>
                    <a:lnTo>
                      <a:pt x="498" y="608"/>
                    </a:lnTo>
                    <a:lnTo>
                      <a:pt x="504" y="615"/>
                    </a:lnTo>
                    <a:lnTo>
                      <a:pt x="516" y="626"/>
                    </a:lnTo>
                    <a:lnTo>
                      <a:pt x="531" y="637"/>
                    </a:lnTo>
                    <a:lnTo>
                      <a:pt x="545" y="646"/>
                    </a:lnTo>
                    <a:lnTo>
                      <a:pt x="561" y="654"/>
                    </a:lnTo>
                    <a:lnTo>
                      <a:pt x="578" y="662"/>
                    </a:lnTo>
                    <a:lnTo>
                      <a:pt x="597" y="671"/>
                    </a:lnTo>
                    <a:lnTo>
                      <a:pt x="621" y="680"/>
                    </a:lnTo>
                    <a:lnTo>
                      <a:pt x="643" y="688"/>
                    </a:lnTo>
                    <a:lnTo>
                      <a:pt x="648" y="690"/>
                    </a:lnTo>
                    <a:lnTo>
                      <a:pt x="653" y="693"/>
                    </a:lnTo>
                    <a:lnTo>
                      <a:pt x="657" y="696"/>
                    </a:lnTo>
                    <a:lnTo>
                      <a:pt x="661" y="701"/>
                    </a:lnTo>
                    <a:lnTo>
                      <a:pt x="664" y="705"/>
                    </a:lnTo>
                    <a:lnTo>
                      <a:pt x="666" y="709"/>
                    </a:lnTo>
                    <a:lnTo>
                      <a:pt x="667" y="714"/>
                    </a:lnTo>
                    <a:lnTo>
                      <a:pt x="667" y="720"/>
                    </a:lnTo>
                    <a:lnTo>
                      <a:pt x="667" y="725"/>
                    </a:lnTo>
                    <a:lnTo>
                      <a:pt x="666" y="731"/>
                    </a:lnTo>
                    <a:lnTo>
                      <a:pt x="665" y="736"/>
                    </a:lnTo>
                    <a:lnTo>
                      <a:pt x="663" y="740"/>
                    </a:lnTo>
                    <a:lnTo>
                      <a:pt x="659" y="748"/>
                    </a:lnTo>
                    <a:lnTo>
                      <a:pt x="653" y="755"/>
                    </a:lnTo>
                    <a:lnTo>
                      <a:pt x="639" y="770"/>
                    </a:lnTo>
                    <a:lnTo>
                      <a:pt x="625" y="786"/>
                    </a:lnTo>
                    <a:lnTo>
                      <a:pt x="610" y="809"/>
                    </a:lnTo>
                    <a:lnTo>
                      <a:pt x="599" y="831"/>
                    </a:lnTo>
                    <a:lnTo>
                      <a:pt x="593" y="841"/>
                    </a:lnTo>
                    <a:lnTo>
                      <a:pt x="587" y="850"/>
                    </a:lnTo>
                    <a:lnTo>
                      <a:pt x="581" y="854"/>
                    </a:lnTo>
                    <a:lnTo>
                      <a:pt x="577" y="859"/>
                    </a:lnTo>
                    <a:lnTo>
                      <a:pt x="572" y="863"/>
                    </a:lnTo>
                    <a:lnTo>
                      <a:pt x="566" y="867"/>
                    </a:lnTo>
                    <a:lnTo>
                      <a:pt x="557" y="871"/>
                    </a:lnTo>
                    <a:lnTo>
                      <a:pt x="547" y="874"/>
                    </a:lnTo>
                    <a:lnTo>
                      <a:pt x="538" y="875"/>
                    </a:lnTo>
                    <a:lnTo>
                      <a:pt x="529" y="876"/>
                    </a:lnTo>
                    <a:lnTo>
                      <a:pt x="520" y="877"/>
                    </a:lnTo>
                    <a:lnTo>
                      <a:pt x="510" y="878"/>
                    </a:lnTo>
                    <a:lnTo>
                      <a:pt x="501" y="880"/>
                    </a:lnTo>
                    <a:lnTo>
                      <a:pt x="491" y="883"/>
                    </a:lnTo>
                    <a:lnTo>
                      <a:pt x="476" y="889"/>
                    </a:lnTo>
                    <a:lnTo>
                      <a:pt x="463" y="896"/>
                    </a:lnTo>
                    <a:lnTo>
                      <a:pt x="450" y="904"/>
                    </a:lnTo>
                    <a:lnTo>
                      <a:pt x="440" y="913"/>
                    </a:lnTo>
                    <a:lnTo>
                      <a:pt x="436" y="920"/>
                    </a:lnTo>
                    <a:lnTo>
                      <a:pt x="432" y="925"/>
                    </a:lnTo>
                    <a:lnTo>
                      <a:pt x="428" y="931"/>
                    </a:lnTo>
                    <a:lnTo>
                      <a:pt x="426" y="937"/>
                    </a:lnTo>
                    <a:lnTo>
                      <a:pt x="423" y="943"/>
                    </a:lnTo>
                    <a:lnTo>
                      <a:pt x="422" y="951"/>
                    </a:lnTo>
                    <a:lnTo>
                      <a:pt x="421" y="958"/>
                    </a:lnTo>
                    <a:lnTo>
                      <a:pt x="420" y="966"/>
                    </a:lnTo>
                    <a:lnTo>
                      <a:pt x="423" y="977"/>
                    </a:lnTo>
                    <a:lnTo>
                      <a:pt x="425" y="990"/>
                    </a:lnTo>
                    <a:lnTo>
                      <a:pt x="424" y="1001"/>
                    </a:lnTo>
                    <a:lnTo>
                      <a:pt x="422" y="1012"/>
                    </a:lnTo>
                    <a:lnTo>
                      <a:pt x="417" y="1023"/>
                    </a:lnTo>
                    <a:lnTo>
                      <a:pt x="412" y="1033"/>
                    </a:lnTo>
                    <a:lnTo>
                      <a:pt x="407" y="1042"/>
                    </a:lnTo>
                    <a:lnTo>
                      <a:pt x="401" y="1051"/>
                    </a:lnTo>
                    <a:lnTo>
                      <a:pt x="394" y="1060"/>
                    </a:lnTo>
                    <a:lnTo>
                      <a:pt x="387" y="1068"/>
                    </a:lnTo>
                    <a:lnTo>
                      <a:pt x="379" y="1077"/>
                    </a:lnTo>
                    <a:lnTo>
                      <a:pt x="373" y="1085"/>
                    </a:lnTo>
                    <a:lnTo>
                      <a:pt x="367" y="1094"/>
                    </a:lnTo>
                    <a:lnTo>
                      <a:pt x="361" y="1102"/>
                    </a:lnTo>
                    <a:lnTo>
                      <a:pt x="356" y="1113"/>
                    </a:lnTo>
                    <a:lnTo>
                      <a:pt x="353" y="1123"/>
                    </a:lnTo>
                    <a:lnTo>
                      <a:pt x="349" y="1134"/>
                    </a:lnTo>
                    <a:lnTo>
                      <a:pt x="349" y="1147"/>
                    </a:lnTo>
                    <a:lnTo>
                      <a:pt x="349" y="1154"/>
                    </a:lnTo>
                    <a:lnTo>
                      <a:pt x="350" y="1160"/>
                    </a:lnTo>
                    <a:lnTo>
                      <a:pt x="353" y="1166"/>
                    </a:lnTo>
                    <a:lnTo>
                      <a:pt x="355" y="1173"/>
                    </a:lnTo>
                    <a:lnTo>
                      <a:pt x="358" y="1179"/>
                    </a:lnTo>
                    <a:lnTo>
                      <a:pt x="361" y="1184"/>
                    </a:lnTo>
                    <a:lnTo>
                      <a:pt x="365" y="1189"/>
                    </a:lnTo>
                    <a:lnTo>
                      <a:pt x="369" y="1193"/>
                    </a:lnTo>
                    <a:lnTo>
                      <a:pt x="378" y="1202"/>
                    </a:lnTo>
                    <a:lnTo>
                      <a:pt x="389" y="1211"/>
                    </a:lnTo>
                    <a:lnTo>
                      <a:pt x="400" y="1219"/>
                    </a:lnTo>
                    <a:lnTo>
                      <a:pt x="411" y="1226"/>
                    </a:lnTo>
                    <a:lnTo>
                      <a:pt x="424" y="1233"/>
                    </a:lnTo>
                    <a:lnTo>
                      <a:pt x="434" y="1242"/>
                    </a:lnTo>
                    <a:lnTo>
                      <a:pt x="445" y="1250"/>
                    </a:lnTo>
                    <a:lnTo>
                      <a:pt x="455" y="1258"/>
                    </a:lnTo>
                    <a:lnTo>
                      <a:pt x="459" y="1263"/>
                    </a:lnTo>
                    <a:lnTo>
                      <a:pt x="463" y="1269"/>
                    </a:lnTo>
                    <a:lnTo>
                      <a:pt x="466" y="1274"/>
                    </a:lnTo>
                    <a:lnTo>
                      <a:pt x="469" y="1280"/>
                    </a:lnTo>
                    <a:lnTo>
                      <a:pt x="471" y="1285"/>
                    </a:lnTo>
                    <a:lnTo>
                      <a:pt x="472" y="1291"/>
                    </a:lnTo>
                    <a:lnTo>
                      <a:pt x="473" y="1299"/>
                    </a:lnTo>
                    <a:lnTo>
                      <a:pt x="474" y="1306"/>
                    </a:lnTo>
                    <a:lnTo>
                      <a:pt x="473" y="1310"/>
                    </a:lnTo>
                    <a:lnTo>
                      <a:pt x="472" y="1314"/>
                    </a:lnTo>
                    <a:lnTo>
                      <a:pt x="471" y="1318"/>
                    </a:lnTo>
                    <a:lnTo>
                      <a:pt x="469" y="1321"/>
                    </a:lnTo>
                    <a:lnTo>
                      <a:pt x="463" y="1326"/>
                    </a:lnTo>
                    <a:lnTo>
                      <a:pt x="456" y="1331"/>
                    </a:lnTo>
                    <a:lnTo>
                      <a:pt x="439" y="1339"/>
                    </a:lnTo>
                    <a:lnTo>
                      <a:pt x="423" y="1348"/>
                    </a:lnTo>
                    <a:lnTo>
                      <a:pt x="401" y="1367"/>
                    </a:lnTo>
                    <a:lnTo>
                      <a:pt x="382" y="1384"/>
                    </a:lnTo>
                    <a:lnTo>
                      <a:pt x="373" y="1391"/>
                    </a:lnTo>
                    <a:lnTo>
                      <a:pt x="363" y="1399"/>
                    </a:lnTo>
                    <a:lnTo>
                      <a:pt x="350" y="1405"/>
                    </a:lnTo>
                    <a:lnTo>
                      <a:pt x="337" y="1410"/>
                    </a:lnTo>
                    <a:lnTo>
                      <a:pt x="325" y="1412"/>
                    </a:lnTo>
                    <a:lnTo>
                      <a:pt x="313" y="1413"/>
                    </a:lnTo>
                    <a:lnTo>
                      <a:pt x="302" y="1413"/>
                    </a:lnTo>
                    <a:lnTo>
                      <a:pt x="291" y="1411"/>
                    </a:lnTo>
                    <a:lnTo>
                      <a:pt x="279" y="1410"/>
                    </a:lnTo>
                    <a:lnTo>
                      <a:pt x="268" y="1408"/>
                    </a:lnTo>
                    <a:lnTo>
                      <a:pt x="257" y="1407"/>
                    </a:lnTo>
                    <a:lnTo>
                      <a:pt x="243" y="1407"/>
                    </a:lnTo>
                    <a:lnTo>
                      <a:pt x="234" y="1409"/>
                    </a:lnTo>
                    <a:lnTo>
                      <a:pt x="227" y="1411"/>
                    </a:lnTo>
                    <a:lnTo>
                      <a:pt x="219" y="1414"/>
                    </a:lnTo>
                    <a:lnTo>
                      <a:pt x="213" y="1419"/>
                    </a:lnTo>
                    <a:lnTo>
                      <a:pt x="208" y="1425"/>
                    </a:lnTo>
                    <a:lnTo>
                      <a:pt x="204" y="1431"/>
                    </a:lnTo>
                    <a:lnTo>
                      <a:pt x="200" y="1438"/>
                    </a:lnTo>
                    <a:lnTo>
                      <a:pt x="196" y="1445"/>
                    </a:lnTo>
                    <a:lnTo>
                      <a:pt x="184" y="1480"/>
                    </a:lnTo>
                    <a:lnTo>
                      <a:pt x="172" y="1515"/>
                    </a:lnTo>
                    <a:lnTo>
                      <a:pt x="168" y="1526"/>
                    </a:lnTo>
                    <a:lnTo>
                      <a:pt x="164" y="1534"/>
                    </a:lnTo>
                    <a:lnTo>
                      <a:pt x="159" y="1542"/>
                    </a:lnTo>
                    <a:lnTo>
                      <a:pt x="153" y="1550"/>
                    </a:lnTo>
                    <a:lnTo>
                      <a:pt x="147" y="1559"/>
                    </a:lnTo>
                    <a:lnTo>
                      <a:pt x="141" y="1565"/>
                    </a:lnTo>
                    <a:lnTo>
                      <a:pt x="135" y="1572"/>
                    </a:lnTo>
                    <a:lnTo>
                      <a:pt x="129" y="1578"/>
                    </a:lnTo>
                    <a:lnTo>
                      <a:pt x="122" y="1585"/>
                    </a:lnTo>
                    <a:lnTo>
                      <a:pt x="113" y="1590"/>
                    </a:lnTo>
                    <a:lnTo>
                      <a:pt x="105" y="1595"/>
                    </a:lnTo>
                    <a:lnTo>
                      <a:pt x="97" y="1599"/>
                    </a:lnTo>
                    <a:lnTo>
                      <a:pt x="89" y="1603"/>
                    </a:lnTo>
                    <a:lnTo>
                      <a:pt x="79" y="1606"/>
                    </a:lnTo>
                    <a:lnTo>
                      <a:pt x="69" y="1609"/>
                    </a:lnTo>
                    <a:lnTo>
                      <a:pt x="59" y="1612"/>
                    </a:lnTo>
                    <a:lnTo>
                      <a:pt x="59" y="1612"/>
                    </a:lnTo>
                    <a:close/>
                  </a:path>
                </a:pathLst>
              </a:custGeom>
              <a:solidFill>
                <a:srgbClr val="65AC1E">
                  <a:alpha val="69804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Zaporizhzhya">
                <a:extLst>
                  <a:ext uri="{FF2B5EF4-FFF2-40B4-BE49-F238E27FC236}">
                    <a16:creationId xmlns:a16="http://schemas.microsoft.com/office/drawing/2014/main" id="{933F5AE8-A6E9-482A-BE7F-F0FD8D1257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2494" y="4243713"/>
                <a:ext cx="1283090" cy="1259156"/>
              </a:xfrm>
              <a:custGeom>
                <a:avLst/>
                <a:gdLst>
                  <a:gd name="T0" fmla="*/ 19 w 2596"/>
                  <a:gd name="T1" fmla="*/ 1130 h 2716"/>
                  <a:gd name="T2" fmla="*/ 88 w 2596"/>
                  <a:gd name="T3" fmla="*/ 1228 h 2716"/>
                  <a:gd name="T4" fmla="*/ 179 w 2596"/>
                  <a:gd name="T5" fmla="*/ 1181 h 2716"/>
                  <a:gd name="T6" fmla="*/ 302 w 2596"/>
                  <a:gd name="T7" fmla="*/ 1478 h 2716"/>
                  <a:gd name="T8" fmla="*/ 478 w 2596"/>
                  <a:gd name="T9" fmla="*/ 1671 h 2716"/>
                  <a:gd name="T10" fmla="*/ 518 w 2596"/>
                  <a:gd name="T11" fmla="*/ 1795 h 2716"/>
                  <a:gd name="T12" fmla="*/ 485 w 2596"/>
                  <a:gd name="T13" fmla="*/ 1890 h 2716"/>
                  <a:gd name="T14" fmla="*/ 417 w 2596"/>
                  <a:gd name="T15" fmla="*/ 1947 h 2716"/>
                  <a:gd name="T16" fmla="*/ 495 w 2596"/>
                  <a:gd name="T17" fmla="*/ 2072 h 2716"/>
                  <a:gd name="T18" fmla="*/ 583 w 2596"/>
                  <a:gd name="T19" fmla="*/ 2169 h 2716"/>
                  <a:gd name="T20" fmla="*/ 757 w 2596"/>
                  <a:gd name="T21" fmla="*/ 2285 h 2716"/>
                  <a:gd name="T22" fmla="*/ 757 w 2596"/>
                  <a:gd name="T23" fmla="*/ 2438 h 2716"/>
                  <a:gd name="T24" fmla="*/ 856 w 2596"/>
                  <a:gd name="T25" fmla="*/ 2296 h 2716"/>
                  <a:gd name="T26" fmla="*/ 817 w 2596"/>
                  <a:gd name="T27" fmla="*/ 2181 h 2716"/>
                  <a:gd name="T28" fmla="*/ 893 w 2596"/>
                  <a:gd name="T29" fmla="*/ 2232 h 2716"/>
                  <a:gd name="T30" fmla="*/ 934 w 2596"/>
                  <a:gd name="T31" fmla="*/ 2369 h 2716"/>
                  <a:gd name="T32" fmla="*/ 971 w 2596"/>
                  <a:gd name="T33" fmla="*/ 2390 h 2716"/>
                  <a:gd name="T34" fmla="*/ 829 w 2596"/>
                  <a:gd name="T35" fmla="*/ 2602 h 2716"/>
                  <a:gd name="T36" fmla="*/ 726 w 2596"/>
                  <a:gd name="T37" fmla="*/ 2663 h 2716"/>
                  <a:gd name="T38" fmla="*/ 707 w 2596"/>
                  <a:gd name="T39" fmla="*/ 2711 h 2716"/>
                  <a:gd name="T40" fmla="*/ 877 w 2596"/>
                  <a:gd name="T41" fmla="*/ 2582 h 2716"/>
                  <a:gd name="T42" fmla="*/ 996 w 2596"/>
                  <a:gd name="T43" fmla="*/ 2363 h 2716"/>
                  <a:gd name="T44" fmla="*/ 1139 w 2596"/>
                  <a:gd name="T45" fmla="*/ 2208 h 2716"/>
                  <a:gd name="T46" fmla="*/ 1304 w 2596"/>
                  <a:gd name="T47" fmla="*/ 2060 h 2716"/>
                  <a:gd name="T48" fmla="*/ 1456 w 2596"/>
                  <a:gd name="T49" fmla="*/ 1941 h 2716"/>
                  <a:gd name="T50" fmla="*/ 1573 w 2596"/>
                  <a:gd name="T51" fmla="*/ 1904 h 2716"/>
                  <a:gd name="T52" fmla="*/ 1664 w 2596"/>
                  <a:gd name="T53" fmla="*/ 1909 h 2716"/>
                  <a:gd name="T54" fmla="*/ 1754 w 2596"/>
                  <a:gd name="T55" fmla="*/ 1946 h 2716"/>
                  <a:gd name="T56" fmla="*/ 1812 w 2596"/>
                  <a:gd name="T57" fmla="*/ 1902 h 2716"/>
                  <a:gd name="T58" fmla="*/ 1943 w 2596"/>
                  <a:gd name="T59" fmla="*/ 1788 h 2716"/>
                  <a:gd name="T60" fmla="*/ 2057 w 2596"/>
                  <a:gd name="T61" fmla="*/ 1757 h 2716"/>
                  <a:gd name="T62" fmla="*/ 2197 w 2596"/>
                  <a:gd name="T63" fmla="*/ 1721 h 2716"/>
                  <a:gd name="T64" fmla="*/ 2238 w 2596"/>
                  <a:gd name="T65" fmla="*/ 1861 h 2716"/>
                  <a:gd name="T66" fmla="*/ 2229 w 2596"/>
                  <a:gd name="T67" fmla="*/ 1903 h 2716"/>
                  <a:gd name="T68" fmla="*/ 2312 w 2596"/>
                  <a:gd name="T69" fmla="*/ 1676 h 2716"/>
                  <a:gd name="T70" fmla="*/ 2468 w 2596"/>
                  <a:gd name="T71" fmla="*/ 1561 h 2716"/>
                  <a:gd name="T72" fmla="*/ 2537 w 2596"/>
                  <a:gd name="T73" fmla="*/ 1434 h 2716"/>
                  <a:gd name="T74" fmla="*/ 2583 w 2596"/>
                  <a:gd name="T75" fmla="*/ 1306 h 2716"/>
                  <a:gd name="T76" fmla="*/ 2387 w 2596"/>
                  <a:gd name="T77" fmla="*/ 1150 h 2716"/>
                  <a:gd name="T78" fmla="*/ 2406 w 2596"/>
                  <a:gd name="T79" fmla="*/ 1005 h 2716"/>
                  <a:gd name="T80" fmla="*/ 2535 w 2596"/>
                  <a:gd name="T81" fmla="*/ 957 h 2716"/>
                  <a:gd name="T82" fmla="*/ 2559 w 2596"/>
                  <a:gd name="T83" fmla="*/ 743 h 2716"/>
                  <a:gd name="T84" fmla="*/ 2313 w 2596"/>
                  <a:gd name="T85" fmla="*/ 617 h 2716"/>
                  <a:gd name="T86" fmla="*/ 2139 w 2596"/>
                  <a:gd name="T87" fmla="*/ 439 h 2716"/>
                  <a:gd name="T88" fmla="*/ 1985 w 2596"/>
                  <a:gd name="T89" fmla="*/ 339 h 2716"/>
                  <a:gd name="T90" fmla="*/ 1605 w 2596"/>
                  <a:gd name="T91" fmla="*/ 300 h 2716"/>
                  <a:gd name="T92" fmla="*/ 1589 w 2596"/>
                  <a:gd name="T93" fmla="*/ 160 h 2716"/>
                  <a:gd name="T94" fmla="*/ 1514 w 2596"/>
                  <a:gd name="T95" fmla="*/ 40 h 2716"/>
                  <a:gd name="T96" fmla="*/ 1335 w 2596"/>
                  <a:gd name="T97" fmla="*/ 45 h 2716"/>
                  <a:gd name="T98" fmla="*/ 1173 w 2596"/>
                  <a:gd name="T99" fmla="*/ 18 h 2716"/>
                  <a:gd name="T100" fmla="*/ 1021 w 2596"/>
                  <a:gd name="T101" fmla="*/ 59 h 2716"/>
                  <a:gd name="T102" fmla="*/ 792 w 2596"/>
                  <a:gd name="T103" fmla="*/ 31 h 2716"/>
                  <a:gd name="T104" fmla="*/ 653 w 2596"/>
                  <a:gd name="T105" fmla="*/ 42 h 2716"/>
                  <a:gd name="T106" fmla="*/ 555 w 2596"/>
                  <a:gd name="T107" fmla="*/ 123 h 2716"/>
                  <a:gd name="T108" fmla="*/ 492 w 2596"/>
                  <a:gd name="T109" fmla="*/ 224 h 2716"/>
                  <a:gd name="T110" fmla="*/ 516 w 2596"/>
                  <a:gd name="T111" fmla="*/ 314 h 2716"/>
                  <a:gd name="T112" fmla="*/ 460 w 2596"/>
                  <a:gd name="T113" fmla="*/ 374 h 2716"/>
                  <a:gd name="T114" fmla="*/ 542 w 2596"/>
                  <a:gd name="T115" fmla="*/ 388 h 2716"/>
                  <a:gd name="T116" fmla="*/ 582 w 2596"/>
                  <a:gd name="T117" fmla="*/ 557 h 2716"/>
                  <a:gd name="T118" fmla="*/ 579 w 2596"/>
                  <a:gd name="T119" fmla="*/ 743 h 2716"/>
                  <a:gd name="T120" fmla="*/ 574 w 2596"/>
                  <a:gd name="T121" fmla="*/ 880 h 2716"/>
                  <a:gd name="T122" fmla="*/ 329 w 2596"/>
                  <a:gd name="T123" fmla="*/ 830 h 2716"/>
                  <a:gd name="T124" fmla="*/ 98 w 2596"/>
                  <a:gd name="T125" fmla="*/ 863 h 2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96" h="2716">
                    <a:moveTo>
                      <a:pt x="0" y="924"/>
                    </a:moveTo>
                    <a:lnTo>
                      <a:pt x="1" y="933"/>
                    </a:lnTo>
                    <a:lnTo>
                      <a:pt x="1" y="942"/>
                    </a:lnTo>
                    <a:lnTo>
                      <a:pt x="1" y="951"/>
                    </a:lnTo>
                    <a:lnTo>
                      <a:pt x="1" y="961"/>
                    </a:lnTo>
                    <a:lnTo>
                      <a:pt x="1" y="1014"/>
                    </a:lnTo>
                    <a:lnTo>
                      <a:pt x="2" y="1025"/>
                    </a:lnTo>
                    <a:lnTo>
                      <a:pt x="3" y="1035"/>
                    </a:lnTo>
                    <a:lnTo>
                      <a:pt x="5" y="1045"/>
                    </a:lnTo>
                    <a:lnTo>
                      <a:pt x="7" y="1054"/>
                    </a:lnTo>
                    <a:lnTo>
                      <a:pt x="12" y="1072"/>
                    </a:lnTo>
                    <a:lnTo>
                      <a:pt x="15" y="1093"/>
                    </a:lnTo>
                    <a:lnTo>
                      <a:pt x="16" y="1106"/>
                    </a:lnTo>
                    <a:lnTo>
                      <a:pt x="17" y="1119"/>
                    </a:lnTo>
                    <a:lnTo>
                      <a:pt x="19" y="1130"/>
                    </a:lnTo>
                    <a:lnTo>
                      <a:pt x="21" y="1142"/>
                    </a:lnTo>
                    <a:lnTo>
                      <a:pt x="25" y="1152"/>
                    </a:lnTo>
                    <a:lnTo>
                      <a:pt x="30" y="1162"/>
                    </a:lnTo>
                    <a:lnTo>
                      <a:pt x="34" y="1166"/>
                    </a:lnTo>
                    <a:lnTo>
                      <a:pt x="38" y="1170"/>
                    </a:lnTo>
                    <a:lnTo>
                      <a:pt x="43" y="1175"/>
                    </a:lnTo>
                    <a:lnTo>
                      <a:pt x="48" y="1179"/>
                    </a:lnTo>
                    <a:lnTo>
                      <a:pt x="52" y="1182"/>
                    </a:lnTo>
                    <a:lnTo>
                      <a:pt x="56" y="1186"/>
                    </a:lnTo>
                    <a:lnTo>
                      <a:pt x="60" y="1190"/>
                    </a:lnTo>
                    <a:lnTo>
                      <a:pt x="63" y="1194"/>
                    </a:lnTo>
                    <a:lnTo>
                      <a:pt x="69" y="1204"/>
                    </a:lnTo>
                    <a:lnTo>
                      <a:pt x="75" y="1213"/>
                    </a:lnTo>
                    <a:lnTo>
                      <a:pt x="81" y="1222"/>
                    </a:lnTo>
                    <a:lnTo>
                      <a:pt x="88" y="1228"/>
                    </a:lnTo>
                    <a:lnTo>
                      <a:pt x="91" y="1231"/>
                    </a:lnTo>
                    <a:lnTo>
                      <a:pt x="96" y="1233"/>
                    </a:lnTo>
                    <a:lnTo>
                      <a:pt x="101" y="1235"/>
                    </a:lnTo>
                    <a:lnTo>
                      <a:pt x="106" y="1235"/>
                    </a:lnTo>
                    <a:lnTo>
                      <a:pt x="111" y="1235"/>
                    </a:lnTo>
                    <a:lnTo>
                      <a:pt x="114" y="1232"/>
                    </a:lnTo>
                    <a:lnTo>
                      <a:pt x="117" y="1229"/>
                    </a:lnTo>
                    <a:lnTo>
                      <a:pt x="119" y="1226"/>
                    </a:lnTo>
                    <a:lnTo>
                      <a:pt x="122" y="1218"/>
                    </a:lnTo>
                    <a:lnTo>
                      <a:pt x="125" y="1209"/>
                    </a:lnTo>
                    <a:lnTo>
                      <a:pt x="135" y="1191"/>
                    </a:lnTo>
                    <a:lnTo>
                      <a:pt x="146" y="1177"/>
                    </a:lnTo>
                    <a:lnTo>
                      <a:pt x="158" y="1162"/>
                    </a:lnTo>
                    <a:lnTo>
                      <a:pt x="172" y="1148"/>
                    </a:lnTo>
                    <a:lnTo>
                      <a:pt x="179" y="1181"/>
                    </a:lnTo>
                    <a:lnTo>
                      <a:pt x="185" y="1211"/>
                    </a:lnTo>
                    <a:lnTo>
                      <a:pt x="192" y="1239"/>
                    </a:lnTo>
                    <a:lnTo>
                      <a:pt x="200" y="1265"/>
                    </a:lnTo>
                    <a:lnTo>
                      <a:pt x="210" y="1291"/>
                    </a:lnTo>
                    <a:lnTo>
                      <a:pt x="220" y="1318"/>
                    </a:lnTo>
                    <a:lnTo>
                      <a:pt x="232" y="1346"/>
                    </a:lnTo>
                    <a:lnTo>
                      <a:pt x="246" y="1377"/>
                    </a:lnTo>
                    <a:lnTo>
                      <a:pt x="253" y="1390"/>
                    </a:lnTo>
                    <a:lnTo>
                      <a:pt x="260" y="1404"/>
                    </a:lnTo>
                    <a:lnTo>
                      <a:pt x="268" y="1415"/>
                    </a:lnTo>
                    <a:lnTo>
                      <a:pt x="277" y="1427"/>
                    </a:lnTo>
                    <a:lnTo>
                      <a:pt x="284" y="1438"/>
                    </a:lnTo>
                    <a:lnTo>
                      <a:pt x="291" y="1449"/>
                    </a:lnTo>
                    <a:lnTo>
                      <a:pt x="297" y="1463"/>
                    </a:lnTo>
                    <a:lnTo>
                      <a:pt x="302" y="1478"/>
                    </a:lnTo>
                    <a:lnTo>
                      <a:pt x="308" y="1495"/>
                    </a:lnTo>
                    <a:lnTo>
                      <a:pt x="313" y="1510"/>
                    </a:lnTo>
                    <a:lnTo>
                      <a:pt x="319" y="1524"/>
                    </a:lnTo>
                    <a:lnTo>
                      <a:pt x="326" y="1537"/>
                    </a:lnTo>
                    <a:lnTo>
                      <a:pt x="334" y="1549"/>
                    </a:lnTo>
                    <a:lnTo>
                      <a:pt x="343" y="1562"/>
                    </a:lnTo>
                    <a:lnTo>
                      <a:pt x="352" y="1572"/>
                    </a:lnTo>
                    <a:lnTo>
                      <a:pt x="361" y="1583"/>
                    </a:lnTo>
                    <a:lnTo>
                      <a:pt x="372" y="1593"/>
                    </a:lnTo>
                    <a:lnTo>
                      <a:pt x="383" y="1603"/>
                    </a:lnTo>
                    <a:lnTo>
                      <a:pt x="394" y="1612"/>
                    </a:lnTo>
                    <a:lnTo>
                      <a:pt x="407" y="1622"/>
                    </a:lnTo>
                    <a:lnTo>
                      <a:pt x="432" y="1640"/>
                    </a:lnTo>
                    <a:lnTo>
                      <a:pt x="460" y="1660"/>
                    </a:lnTo>
                    <a:lnTo>
                      <a:pt x="478" y="1671"/>
                    </a:lnTo>
                    <a:lnTo>
                      <a:pt x="494" y="1683"/>
                    </a:lnTo>
                    <a:lnTo>
                      <a:pt x="510" y="1693"/>
                    </a:lnTo>
                    <a:lnTo>
                      <a:pt x="524" y="1704"/>
                    </a:lnTo>
                    <a:lnTo>
                      <a:pt x="530" y="1711"/>
                    </a:lnTo>
                    <a:lnTo>
                      <a:pt x="537" y="1718"/>
                    </a:lnTo>
                    <a:lnTo>
                      <a:pt x="542" y="1724"/>
                    </a:lnTo>
                    <a:lnTo>
                      <a:pt x="546" y="1732"/>
                    </a:lnTo>
                    <a:lnTo>
                      <a:pt x="550" y="1739"/>
                    </a:lnTo>
                    <a:lnTo>
                      <a:pt x="552" y="1749"/>
                    </a:lnTo>
                    <a:lnTo>
                      <a:pt x="554" y="1758"/>
                    </a:lnTo>
                    <a:lnTo>
                      <a:pt x="554" y="1768"/>
                    </a:lnTo>
                    <a:lnTo>
                      <a:pt x="553" y="1780"/>
                    </a:lnTo>
                    <a:lnTo>
                      <a:pt x="552" y="1792"/>
                    </a:lnTo>
                    <a:lnTo>
                      <a:pt x="534" y="1793"/>
                    </a:lnTo>
                    <a:lnTo>
                      <a:pt x="518" y="1795"/>
                    </a:lnTo>
                    <a:lnTo>
                      <a:pt x="511" y="1797"/>
                    </a:lnTo>
                    <a:lnTo>
                      <a:pt x="504" y="1800"/>
                    </a:lnTo>
                    <a:lnTo>
                      <a:pt x="496" y="1803"/>
                    </a:lnTo>
                    <a:lnTo>
                      <a:pt x="488" y="1809"/>
                    </a:lnTo>
                    <a:lnTo>
                      <a:pt x="492" y="1816"/>
                    </a:lnTo>
                    <a:lnTo>
                      <a:pt x="496" y="1822"/>
                    </a:lnTo>
                    <a:lnTo>
                      <a:pt x="499" y="1829"/>
                    </a:lnTo>
                    <a:lnTo>
                      <a:pt x="500" y="1837"/>
                    </a:lnTo>
                    <a:lnTo>
                      <a:pt x="500" y="1846"/>
                    </a:lnTo>
                    <a:lnTo>
                      <a:pt x="499" y="1854"/>
                    </a:lnTo>
                    <a:lnTo>
                      <a:pt x="498" y="1862"/>
                    </a:lnTo>
                    <a:lnTo>
                      <a:pt x="496" y="1870"/>
                    </a:lnTo>
                    <a:lnTo>
                      <a:pt x="493" y="1877"/>
                    </a:lnTo>
                    <a:lnTo>
                      <a:pt x="490" y="1884"/>
                    </a:lnTo>
                    <a:lnTo>
                      <a:pt x="485" y="1890"/>
                    </a:lnTo>
                    <a:lnTo>
                      <a:pt x="479" y="1896"/>
                    </a:lnTo>
                    <a:lnTo>
                      <a:pt x="473" y="1901"/>
                    </a:lnTo>
                    <a:lnTo>
                      <a:pt x="466" y="1905"/>
                    </a:lnTo>
                    <a:lnTo>
                      <a:pt x="460" y="1908"/>
                    </a:lnTo>
                    <a:lnTo>
                      <a:pt x="454" y="1910"/>
                    </a:lnTo>
                    <a:lnTo>
                      <a:pt x="441" y="1913"/>
                    </a:lnTo>
                    <a:lnTo>
                      <a:pt x="427" y="1914"/>
                    </a:lnTo>
                    <a:lnTo>
                      <a:pt x="413" y="1915"/>
                    </a:lnTo>
                    <a:lnTo>
                      <a:pt x="399" y="1917"/>
                    </a:lnTo>
                    <a:lnTo>
                      <a:pt x="392" y="1918"/>
                    </a:lnTo>
                    <a:lnTo>
                      <a:pt x="385" y="1920"/>
                    </a:lnTo>
                    <a:lnTo>
                      <a:pt x="378" y="1923"/>
                    </a:lnTo>
                    <a:lnTo>
                      <a:pt x="370" y="1926"/>
                    </a:lnTo>
                    <a:lnTo>
                      <a:pt x="394" y="1937"/>
                    </a:lnTo>
                    <a:lnTo>
                      <a:pt x="417" y="1947"/>
                    </a:lnTo>
                    <a:lnTo>
                      <a:pt x="428" y="1953"/>
                    </a:lnTo>
                    <a:lnTo>
                      <a:pt x="439" y="1958"/>
                    </a:lnTo>
                    <a:lnTo>
                      <a:pt x="449" y="1965"/>
                    </a:lnTo>
                    <a:lnTo>
                      <a:pt x="458" y="1971"/>
                    </a:lnTo>
                    <a:lnTo>
                      <a:pt x="467" y="1977"/>
                    </a:lnTo>
                    <a:lnTo>
                      <a:pt x="476" y="1984"/>
                    </a:lnTo>
                    <a:lnTo>
                      <a:pt x="483" y="1992"/>
                    </a:lnTo>
                    <a:lnTo>
                      <a:pt x="489" y="2002"/>
                    </a:lnTo>
                    <a:lnTo>
                      <a:pt x="493" y="2011"/>
                    </a:lnTo>
                    <a:lnTo>
                      <a:pt x="497" y="2021"/>
                    </a:lnTo>
                    <a:lnTo>
                      <a:pt x="499" y="2033"/>
                    </a:lnTo>
                    <a:lnTo>
                      <a:pt x="500" y="2045"/>
                    </a:lnTo>
                    <a:lnTo>
                      <a:pt x="499" y="2054"/>
                    </a:lnTo>
                    <a:lnTo>
                      <a:pt x="497" y="2064"/>
                    </a:lnTo>
                    <a:lnTo>
                      <a:pt x="495" y="2072"/>
                    </a:lnTo>
                    <a:lnTo>
                      <a:pt x="492" y="2080"/>
                    </a:lnTo>
                    <a:lnTo>
                      <a:pt x="489" y="2089"/>
                    </a:lnTo>
                    <a:lnTo>
                      <a:pt x="486" y="2097"/>
                    </a:lnTo>
                    <a:lnTo>
                      <a:pt x="485" y="2105"/>
                    </a:lnTo>
                    <a:lnTo>
                      <a:pt x="484" y="2115"/>
                    </a:lnTo>
                    <a:lnTo>
                      <a:pt x="484" y="2121"/>
                    </a:lnTo>
                    <a:lnTo>
                      <a:pt x="485" y="2125"/>
                    </a:lnTo>
                    <a:lnTo>
                      <a:pt x="487" y="2129"/>
                    </a:lnTo>
                    <a:lnTo>
                      <a:pt x="489" y="2132"/>
                    </a:lnTo>
                    <a:lnTo>
                      <a:pt x="495" y="2138"/>
                    </a:lnTo>
                    <a:lnTo>
                      <a:pt x="502" y="2143"/>
                    </a:lnTo>
                    <a:lnTo>
                      <a:pt x="521" y="2149"/>
                    </a:lnTo>
                    <a:lnTo>
                      <a:pt x="541" y="2156"/>
                    </a:lnTo>
                    <a:lnTo>
                      <a:pt x="563" y="2163"/>
                    </a:lnTo>
                    <a:lnTo>
                      <a:pt x="583" y="2169"/>
                    </a:lnTo>
                    <a:lnTo>
                      <a:pt x="603" y="2175"/>
                    </a:lnTo>
                    <a:lnTo>
                      <a:pt x="625" y="2181"/>
                    </a:lnTo>
                    <a:lnTo>
                      <a:pt x="658" y="2190"/>
                    </a:lnTo>
                    <a:lnTo>
                      <a:pt x="688" y="2197"/>
                    </a:lnTo>
                    <a:lnTo>
                      <a:pt x="703" y="2202"/>
                    </a:lnTo>
                    <a:lnTo>
                      <a:pt x="716" y="2207"/>
                    </a:lnTo>
                    <a:lnTo>
                      <a:pt x="730" y="2214"/>
                    </a:lnTo>
                    <a:lnTo>
                      <a:pt x="746" y="2224"/>
                    </a:lnTo>
                    <a:lnTo>
                      <a:pt x="750" y="2228"/>
                    </a:lnTo>
                    <a:lnTo>
                      <a:pt x="752" y="2232"/>
                    </a:lnTo>
                    <a:lnTo>
                      <a:pt x="754" y="2237"/>
                    </a:lnTo>
                    <a:lnTo>
                      <a:pt x="754" y="2242"/>
                    </a:lnTo>
                    <a:lnTo>
                      <a:pt x="754" y="2255"/>
                    </a:lnTo>
                    <a:lnTo>
                      <a:pt x="755" y="2266"/>
                    </a:lnTo>
                    <a:lnTo>
                      <a:pt x="757" y="2285"/>
                    </a:lnTo>
                    <a:lnTo>
                      <a:pt x="760" y="2299"/>
                    </a:lnTo>
                    <a:lnTo>
                      <a:pt x="763" y="2315"/>
                    </a:lnTo>
                    <a:lnTo>
                      <a:pt x="764" y="2332"/>
                    </a:lnTo>
                    <a:lnTo>
                      <a:pt x="763" y="2339"/>
                    </a:lnTo>
                    <a:lnTo>
                      <a:pt x="762" y="2346"/>
                    </a:lnTo>
                    <a:lnTo>
                      <a:pt x="760" y="2351"/>
                    </a:lnTo>
                    <a:lnTo>
                      <a:pt x="757" y="2356"/>
                    </a:lnTo>
                    <a:lnTo>
                      <a:pt x="755" y="2361"/>
                    </a:lnTo>
                    <a:lnTo>
                      <a:pt x="752" y="2367"/>
                    </a:lnTo>
                    <a:lnTo>
                      <a:pt x="751" y="2374"/>
                    </a:lnTo>
                    <a:lnTo>
                      <a:pt x="750" y="2380"/>
                    </a:lnTo>
                    <a:lnTo>
                      <a:pt x="751" y="2395"/>
                    </a:lnTo>
                    <a:lnTo>
                      <a:pt x="753" y="2409"/>
                    </a:lnTo>
                    <a:lnTo>
                      <a:pt x="756" y="2422"/>
                    </a:lnTo>
                    <a:lnTo>
                      <a:pt x="757" y="2438"/>
                    </a:lnTo>
                    <a:lnTo>
                      <a:pt x="760" y="2443"/>
                    </a:lnTo>
                    <a:lnTo>
                      <a:pt x="760" y="2443"/>
                    </a:lnTo>
                    <a:lnTo>
                      <a:pt x="766" y="2435"/>
                    </a:lnTo>
                    <a:lnTo>
                      <a:pt x="774" y="2428"/>
                    </a:lnTo>
                    <a:lnTo>
                      <a:pt x="783" y="2417"/>
                    </a:lnTo>
                    <a:lnTo>
                      <a:pt x="790" y="2407"/>
                    </a:lnTo>
                    <a:lnTo>
                      <a:pt x="797" y="2396"/>
                    </a:lnTo>
                    <a:lnTo>
                      <a:pt x="806" y="2385"/>
                    </a:lnTo>
                    <a:lnTo>
                      <a:pt x="816" y="2370"/>
                    </a:lnTo>
                    <a:lnTo>
                      <a:pt x="826" y="2357"/>
                    </a:lnTo>
                    <a:lnTo>
                      <a:pt x="836" y="2345"/>
                    </a:lnTo>
                    <a:lnTo>
                      <a:pt x="843" y="2331"/>
                    </a:lnTo>
                    <a:lnTo>
                      <a:pt x="850" y="2318"/>
                    </a:lnTo>
                    <a:lnTo>
                      <a:pt x="854" y="2304"/>
                    </a:lnTo>
                    <a:lnTo>
                      <a:pt x="856" y="2296"/>
                    </a:lnTo>
                    <a:lnTo>
                      <a:pt x="857" y="2289"/>
                    </a:lnTo>
                    <a:lnTo>
                      <a:pt x="858" y="2281"/>
                    </a:lnTo>
                    <a:lnTo>
                      <a:pt x="858" y="2271"/>
                    </a:lnTo>
                    <a:lnTo>
                      <a:pt x="858" y="2264"/>
                    </a:lnTo>
                    <a:lnTo>
                      <a:pt x="857" y="2258"/>
                    </a:lnTo>
                    <a:lnTo>
                      <a:pt x="855" y="2252"/>
                    </a:lnTo>
                    <a:lnTo>
                      <a:pt x="852" y="2247"/>
                    </a:lnTo>
                    <a:lnTo>
                      <a:pt x="846" y="2236"/>
                    </a:lnTo>
                    <a:lnTo>
                      <a:pt x="838" y="2227"/>
                    </a:lnTo>
                    <a:lnTo>
                      <a:pt x="830" y="2217"/>
                    </a:lnTo>
                    <a:lnTo>
                      <a:pt x="824" y="2206"/>
                    </a:lnTo>
                    <a:lnTo>
                      <a:pt x="821" y="2201"/>
                    </a:lnTo>
                    <a:lnTo>
                      <a:pt x="819" y="2195"/>
                    </a:lnTo>
                    <a:lnTo>
                      <a:pt x="818" y="2189"/>
                    </a:lnTo>
                    <a:lnTo>
                      <a:pt x="817" y="2181"/>
                    </a:lnTo>
                    <a:lnTo>
                      <a:pt x="818" y="2175"/>
                    </a:lnTo>
                    <a:lnTo>
                      <a:pt x="821" y="2170"/>
                    </a:lnTo>
                    <a:lnTo>
                      <a:pt x="825" y="2165"/>
                    </a:lnTo>
                    <a:lnTo>
                      <a:pt x="830" y="2162"/>
                    </a:lnTo>
                    <a:lnTo>
                      <a:pt x="837" y="2175"/>
                    </a:lnTo>
                    <a:lnTo>
                      <a:pt x="841" y="2189"/>
                    </a:lnTo>
                    <a:lnTo>
                      <a:pt x="843" y="2195"/>
                    </a:lnTo>
                    <a:lnTo>
                      <a:pt x="846" y="2201"/>
                    </a:lnTo>
                    <a:lnTo>
                      <a:pt x="849" y="2207"/>
                    </a:lnTo>
                    <a:lnTo>
                      <a:pt x="854" y="2213"/>
                    </a:lnTo>
                    <a:lnTo>
                      <a:pt x="859" y="2220"/>
                    </a:lnTo>
                    <a:lnTo>
                      <a:pt x="865" y="2224"/>
                    </a:lnTo>
                    <a:lnTo>
                      <a:pt x="872" y="2228"/>
                    </a:lnTo>
                    <a:lnTo>
                      <a:pt x="879" y="2230"/>
                    </a:lnTo>
                    <a:lnTo>
                      <a:pt x="893" y="2232"/>
                    </a:lnTo>
                    <a:lnTo>
                      <a:pt x="911" y="2232"/>
                    </a:lnTo>
                    <a:lnTo>
                      <a:pt x="911" y="2237"/>
                    </a:lnTo>
                    <a:lnTo>
                      <a:pt x="912" y="2243"/>
                    </a:lnTo>
                    <a:lnTo>
                      <a:pt x="906" y="2279"/>
                    </a:lnTo>
                    <a:lnTo>
                      <a:pt x="909" y="2293"/>
                    </a:lnTo>
                    <a:lnTo>
                      <a:pt x="911" y="2308"/>
                    </a:lnTo>
                    <a:lnTo>
                      <a:pt x="912" y="2324"/>
                    </a:lnTo>
                    <a:lnTo>
                      <a:pt x="913" y="2338"/>
                    </a:lnTo>
                    <a:lnTo>
                      <a:pt x="914" y="2345"/>
                    </a:lnTo>
                    <a:lnTo>
                      <a:pt x="916" y="2351"/>
                    </a:lnTo>
                    <a:lnTo>
                      <a:pt x="918" y="2356"/>
                    </a:lnTo>
                    <a:lnTo>
                      <a:pt x="920" y="2361"/>
                    </a:lnTo>
                    <a:lnTo>
                      <a:pt x="923" y="2365"/>
                    </a:lnTo>
                    <a:lnTo>
                      <a:pt x="928" y="2368"/>
                    </a:lnTo>
                    <a:lnTo>
                      <a:pt x="934" y="2369"/>
                    </a:lnTo>
                    <a:lnTo>
                      <a:pt x="940" y="2370"/>
                    </a:lnTo>
                    <a:lnTo>
                      <a:pt x="946" y="2370"/>
                    </a:lnTo>
                    <a:lnTo>
                      <a:pt x="951" y="2368"/>
                    </a:lnTo>
                    <a:lnTo>
                      <a:pt x="955" y="2367"/>
                    </a:lnTo>
                    <a:lnTo>
                      <a:pt x="960" y="2364"/>
                    </a:lnTo>
                    <a:lnTo>
                      <a:pt x="969" y="2357"/>
                    </a:lnTo>
                    <a:lnTo>
                      <a:pt x="977" y="2349"/>
                    </a:lnTo>
                    <a:lnTo>
                      <a:pt x="979" y="2351"/>
                    </a:lnTo>
                    <a:lnTo>
                      <a:pt x="981" y="2352"/>
                    </a:lnTo>
                    <a:lnTo>
                      <a:pt x="983" y="2354"/>
                    </a:lnTo>
                    <a:lnTo>
                      <a:pt x="983" y="2356"/>
                    </a:lnTo>
                    <a:lnTo>
                      <a:pt x="983" y="2366"/>
                    </a:lnTo>
                    <a:lnTo>
                      <a:pt x="980" y="2376"/>
                    </a:lnTo>
                    <a:lnTo>
                      <a:pt x="976" y="2383"/>
                    </a:lnTo>
                    <a:lnTo>
                      <a:pt x="971" y="2390"/>
                    </a:lnTo>
                    <a:lnTo>
                      <a:pt x="958" y="2404"/>
                    </a:lnTo>
                    <a:lnTo>
                      <a:pt x="947" y="2421"/>
                    </a:lnTo>
                    <a:lnTo>
                      <a:pt x="939" y="2437"/>
                    </a:lnTo>
                    <a:lnTo>
                      <a:pt x="933" y="2450"/>
                    </a:lnTo>
                    <a:lnTo>
                      <a:pt x="926" y="2464"/>
                    </a:lnTo>
                    <a:lnTo>
                      <a:pt x="921" y="2477"/>
                    </a:lnTo>
                    <a:lnTo>
                      <a:pt x="916" y="2490"/>
                    </a:lnTo>
                    <a:lnTo>
                      <a:pt x="910" y="2504"/>
                    </a:lnTo>
                    <a:lnTo>
                      <a:pt x="902" y="2518"/>
                    </a:lnTo>
                    <a:lnTo>
                      <a:pt x="892" y="2533"/>
                    </a:lnTo>
                    <a:lnTo>
                      <a:pt x="876" y="2556"/>
                    </a:lnTo>
                    <a:lnTo>
                      <a:pt x="860" y="2578"/>
                    </a:lnTo>
                    <a:lnTo>
                      <a:pt x="851" y="2587"/>
                    </a:lnTo>
                    <a:lnTo>
                      <a:pt x="842" y="2596"/>
                    </a:lnTo>
                    <a:lnTo>
                      <a:pt x="829" y="2602"/>
                    </a:lnTo>
                    <a:lnTo>
                      <a:pt x="816" y="2608"/>
                    </a:lnTo>
                    <a:lnTo>
                      <a:pt x="805" y="2612"/>
                    </a:lnTo>
                    <a:lnTo>
                      <a:pt x="795" y="2617"/>
                    </a:lnTo>
                    <a:lnTo>
                      <a:pt x="785" y="2622"/>
                    </a:lnTo>
                    <a:lnTo>
                      <a:pt x="774" y="2627"/>
                    </a:lnTo>
                    <a:lnTo>
                      <a:pt x="760" y="2631"/>
                    </a:lnTo>
                    <a:lnTo>
                      <a:pt x="749" y="2636"/>
                    </a:lnTo>
                    <a:lnTo>
                      <a:pt x="744" y="2639"/>
                    </a:lnTo>
                    <a:lnTo>
                      <a:pt x="740" y="2643"/>
                    </a:lnTo>
                    <a:lnTo>
                      <a:pt x="737" y="2647"/>
                    </a:lnTo>
                    <a:lnTo>
                      <a:pt x="736" y="2653"/>
                    </a:lnTo>
                    <a:lnTo>
                      <a:pt x="736" y="2657"/>
                    </a:lnTo>
                    <a:lnTo>
                      <a:pt x="733" y="2661"/>
                    </a:lnTo>
                    <a:lnTo>
                      <a:pt x="730" y="2662"/>
                    </a:lnTo>
                    <a:lnTo>
                      <a:pt x="726" y="2663"/>
                    </a:lnTo>
                    <a:lnTo>
                      <a:pt x="717" y="2665"/>
                    </a:lnTo>
                    <a:lnTo>
                      <a:pt x="709" y="2668"/>
                    </a:lnTo>
                    <a:lnTo>
                      <a:pt x="703" y="2672"/>
                    </a:lnTo>
                    <a:lnTo>
                      <a:pt x="697" y="2676"/>
                    </a:lnTo>
                    <a:lnTo>
                      <a:pt x="693" y="2681"/>
                    </a:lnTo>
                    <a:lnTo>
                      <a:pt x="690" y="2686"/>
                    </a:lnTo>
                    <a:lnTo>
                      <a:pt x="687" y="2693"/>
                    </a:lnTo>
                    <a:lnTo>
                      <a:pt x="685" y="2700"/>
                    </a:lnTo>
                    <a:lnTo>
                      <a:pt x="684" y="2706"/>
                    </a:lnTo>
                    <a:lnTo>
                      <a:pt x="683" y="2714"/>
                    </a:lnTo>
                    <a:lnTo>
                      <a:pt x="685" y="2715"/>
                    </a:lnTo>
                    <a:lnTo>
                      <a:pt x="688" y="2716"/>
                    </a:lnTo>
                    <a:lnTo>
                      <a:pt x="694" y="2715"/>
                    </a:lnTo>
                    <a:lnTo>
                      <a:pt x="700" y="2714"/>
                    </a:lnTo>
                    <a:lnTo>
                      <a:pt x="707" y="2711"/>
                    </a:lnTo>
                    <a:lnTo>
                      <a:pt x="712" y="2708"/>
                    </a:lnTo>
                    <a:lnTo>
                      <a:pt x="722" y="2702"/>
                    </a:lnTo>
                    <a:lnTo>
                      <a:pt x="735" y="2695"/>
                    </a:lnTo>
                    <a:lnTo>
                      <a:pt x="764" y="2683"/>
                    </a:lnTo>
                    <a:lnTo>
                      <a:pt x="791" y="2673"/>
                    </a:lnTo>
                    <a:lnTo>
                      <a:pt x="804" y="2667"/>
                    </a:lnTo>
                    <a:lnTo>
                      <a:pt x="816" y="2660"/>
                    </a:lnTo>
                    <a:lnTo>
                      <a:pt x="827" y="2650"/>
                    </a:lnTo>
                    <a:lnTo>
                      <a:pt x="840" y="2640"/>
                    </a:lnTo>
                    <a:lnTo>
                      <a:pt x="848" y="2630"/>
                    </a:lnTo>
                    <a:lnTo>
                      <a:pt x="855" y="2620"/>
                    </a:lnTo>
                    <a:lnTo>
                      <a:pt x="860" y="2611"/>
                    </a:lnTo>
                    <a:lnTo>
                      <a:pt x="865" y="2601"/>
                    </a:lnTo>
                    <a:lnTo>
                      <a:pt x="871" y="2591"/>
                    </a:lnTo>
                    <a:lnTo>
                      <a:pt x="877" y="2582"/>
                    </a:lnTo>
                    <a:lnTo>
                      <a:pt x="883" y="2573"/>
                    </a:lnTo>
                    <a:lnTo>
                      <a:pt x="891" y="2562"/>
                    </a:lnTo>
                    <a:lnTo>
                      <a:pt x="897" y="2556"/>
                    </a:lnTo>
                    <a:lnTo>
                      <a:pt x="902" y="2550"/>
                    </a:lnTo>
                    <a:lnTo>
                      <a:pt x="905" y="2544"/>
                    </a:lnTo>
                    <a:lnTo>
                      <a:pt x="908" y="2538"/>
                    </a:lnTo>
                    <a:lnTo>
                      <a:pt x="914" y="2525"/>
                    </a:lnTo>
                    <a:lnTo>
                      <a:pt x="921" y="2511"/>
                    </a:lnTo>
                    <a:lnTo>
                      <a:pt x="935" y="2487"/>
                    </a:lnTo>
                    <a:lnTo>
                      <a:pt x="946" y="2465"/>
                    </a:lnTo>
                    <a:lnTo>
                      <a:pt x="956" y="2446"/>
                    </a:lnTo>
                    <a:lnTo>
                      <a:pt x="967" y="2425"/>
                    </a:lnTo>
                    <a:lnTo>
                      <a:pt x="976" y="2406"/>
                    </a:lnTo>
                    <a:lnTo>
                      <a:pt x="986" y="2385"/>
                    </a:lnTo>
                    <a:lnTo>
                      <a:pt x="996" y="2363"/>
                    </a:lnTo>
                    <a:lnTo>
                      <a:pt x="1010" y="2339"/>
                    </a:lnTo>
                    <a:lnTo>
                      <a:pt x="1019" y="2324"/>
                    </a:lnTo>
                    <a:lnTo>
                      <a:pt x="1028" y="2312"/>
                    </a:lnTo>
                    <a:lnTo>
                      <a:pt x="1039" y="2299"/>
                    </a:lnTo>
                    <a:lnTo>
                      <a:pt x="1049" y="2288"/>
                    </a:lnTo>
                    <a:lnTo>
                      <a:pt x="1059" y="2277"/>
                    </a:lnTo>
                    <a:lnTo>
                      <a:pt x="1070" y="2265"/>
                    </a:lnTo>
                    <a:lnTo>
                      <a:pt x="1080" y="2253"/>
                    </a:lnTo>
                    <a:lnTo>
                      <a:pt x="1090" y="2237"/>
                    </a:lnTo>
                    <a:lnTo>
                      <a:pt x="1095" y="2230"/>
                    </a:lnTo>
                    <a:lnTo>
                      <a:pt x="1101" y="2225"/>
                    </a:lnTo>
                    <a:lnTo>
                      <a:pt x="1107" y="2221"/>
                    </a:lnTo>
                    <a:lnTo>
                      <a:pt x="1113" y="2217"/>
                    </a:lnTo>
                    <a:lnTo>
                      <a:pt x="1125" y="2211"/>
                    </a:lnTo>
                    <a:lnTo>
                      <a:pt x="1139" y="2208"/>
                    </a:lnTo>
                    <a:lnTo>
                      <a:pt x="1153" y="2204"/>
                    </a:lnTo>
                    <a:lnTo>
                      <a:pt x="1167" y="2200"/>
                    </a:lnTo>
                    <a:lnTo>
                      <a:pt x="1174" y="2196"/>
                    </a:lnTo>
                    <a:lnTo>
                      <a:pt x="1180" y="2193"/>
                    </a:lnTo>
                    <a:lnTo>
                      <a:pt x="1186" y="2188"/>
                    </a:lnTo>
                    <a:lnTo>
                      <a:pt x="1192" y="2181"/>
                    </a:lnTo>
                    <a:lnTo>
                      <a:pt x="1204" y="2169"/>
                    </a:lnTo>
                    <a:lnTo>
                      <a:pt x="1215" y="2158"/>
                    </a:lnTo>
                    <a:lnTo>
                      <a:pt x="1225" y="2147"/>
                    </a:lnTo>
                    <a:lnTo>
                      <a:pt x="1237" y="2137"/>
                    </a:lnTo>
                    <a:lnTo>
                      <a:pt x="1257" y="2117"/>
                    </a:lnTo>
                    <a:lnTo>
                      <a:pt x="1281" y="2095"/>
                    </a:lnTo>
                    <a:lnTo>
                      <a:pt x="1290" y="2082"/>
                    </a:lnTo>
                    <a:lnTo>
                      <a:pt x="1298" y="2071"/>
                    </a:lnTo>
                    <a:lnTo>
                      <a:pt x="1304" y="2060"/>
                    </a:lnTo>
                    <a:lnTo>
                      <a:pt x="1310" y="2048"/>
                    </a:lnTo>
                    <a:lnTo>
                      <a:pt x="1316" y="2038"/>
                    </a:lnTo>
                    <a:lnTo>
                      <a:pt x="1322" y="2027"/>
                    </a:lnTo>
                    <a:lnTo>
                      <a:pt x="1332" y="2016"/>
                    </a:lnTo>
                    <a:lnTo>
                      <a:pt x="1342" y="2006"/>
                    </a:lnTo>
                    <a:lnTo>
                      <a:pt x="1353" y="1997"/>
                    </a:lnTo>
                    <a:lnTo>
                      <a:pt x="1364" y="1990"/>
                    </a:lnTo>
                    <a:lnTo>
                      <a:pt x="1375" y="1983"/>
                    </a:lnTo>
                    <a:lnTo>
                      <a:pt x="1385" y="1974"/>
                    </a:lnTo>
                    <a:lnTo>
                      <a:pt x="1400" y="1967"/>
                    </a:lnTo>
                    <a:lnTo>
                      <a:pt x="1413" y="1960"/>
                    </a:lnTo>
                    <a:lnTo>
                      <a:pt x="1425" y="1954"/>
                    </a:lnTo>
                    <a:lnTo>
                      <a:pt x="1441" y="1949"/>
                    </a:lnTo>
                    <a:lnTo>
                      <a:pt x="1449" y="1945"/>
                    </a:lnTo>
                    <a:lnTo>
                      <a:pt x="1456" y="1941"/>
                    </a:lnTo>
                    <a:lnTo>
                      <a:pt x="1463" y="1936"/>
                    </a:lnTo>
                    <a:lnTo>
                      <a:pt x="1469" y="1932"/>
                    </a:lnTo>
                    <a:lnTo>
                      <a:pt x="1475" y="1926"/>
                    </a:lnTo>
                    <a:lnTo>
                      <a:pt x="1481" y="1923"/>
                    </a:lnTo>
                    <a:lnTo>
                      <a:pt x="1489" y="1920"/>
                    </a:lnTo>
                    <a:lnTo>
                      <a:pt x="1498" y="1919"/>
                    </a:lnTo>
                    <a:lnTo>
                      <a:pt x="1510" y="1923"/>
                    </a:lnTo>
                    <a:lnTo>
                      <a:pt x="1523" y="1926"/>
                    </a:lnTo>
                    <a:lnTo>
                      <a:pt x="1530" y="1926"/>
                    </a:lnTo>
                    <a:lnTo>
                      <a:pt x="1536" y="1925"/>
                    </a:lnTo>
                    <a:lnTo>
                      <a:pt x="1541" y="1923"/>
                    </a:lnTo>
                    <a:lnTo>
                      <a:pt x="1546" y="1921"/>
                    </a:lnTo>
                    <a:lnTo>
                      <a:pt x="1555" y="1916"/>
                    </a:lnTo>
                    <a:lnTo>
                      <a:pt x="1564" y="1910"/>
                    </a:lnTo>
                    <a:lnTo>
                      <a:pt x="1573" y="1904"/>
                    </a:lnTo>
                    <a:lnTo>
                      <a:pt x="1582" y="1897"/>
                    </a:lnTo>
                    <a:lnTo>
                      <a:pt x="1587" y="1895"/>
                    </a:lnTo>
                    <a:lnTo>
                      <a:pt x="1593" y="1894"/>
                    </a:lnTo>
                    <a:lnTo>
                      <a:pt x="1599" y="1892"/>
                    </a:lnTo>
                    <a:lnTo>
                      <a:pt x="1605" y="1892"/>
                    </a:lnTo>
                    <a:lnTo>
                      <a:pt x="1610" y="1893"/>
                    </a:lnTo>
                    <a:lnTo>
                      <a:pt x="1614" y="1895"/>
                    </a:lnTo>
                    <a:lnTo>
                      <a:pt x="1618" y="1899"/>
                    </a:lnTo>
                    <a:lnTo>
                      <a:pt x="1622" y="1903"/>
                    </a:lnTo>
                    <a:lnTo>
                      <a:pt x="1627" y="1906"/>
                    </a:lnTo>
                    <a:lnTo>
                      <a:pt x="1631" y="1909"/>
                    </a:lnTo>
                    <a:lnTo>
                      <a:pt x="1635" y="1912"/>
                    </a:lnTo>
                    <a:lnTo>
                      <a:pt x="1640" y="1913"/>
                    </a:lnTo>
                    <a:lnTo>
                      <a:pt x="1652" y="1912"/>
                    </a:lnTo>
                    <a:lnTo>
                      <a:pt x="1664" y="1909"/>
                    </a:lnTo>
                    <a:lnTo>
                      <a:pt x="1673" y="1905"/>
                    </a:lnTo>
                    <a:lnTo>
                      <a:pt x="1683" y="1901"/>
                    </a:lnTo>
                    <a:lnTo>
                      <a:pt x="1693" y="1896"/>
                    </a:lnTo>
                    <a:lnTo>
                      <a:pt x="1703" y="1892"/>
                    </a:lnTo>
                    <a:lnTo>
                      <a:pt x="1714" y="1890"/>
                    </a:lnTo>
                    <a:lnTo>
                      <a:pt x="1727" y="1889"/>
                    </a:lnTo>
                    <a:lnTo>
                      <a:pt x="1730" y="1889"/>
                    </a:lnTo>
                    <a:lnTo>
                      <a:pt x="1733" y="1891"/>
                    </a:lnTo>
                    <a:lnTo>
                      <a:pt x="1734" y="1894"/>
                    </a:lnTo>
                    <a:lnTo>
                      <a:pt x="1736" y="1897"/>
                    </a:lnTo>
                    <a:lnTo>
                      <a:pt x="1738" y="1905"/>
                    </a:lnTo>
                    <a:lnTo>
                      <a:pt x="1741" y="1913"/>
                    </a:lnTo>
                    <a:lnTo>
                      <a:pt x="1748" y="1926"/>
                    </a:lnTo>
                    <a:lnTo>
                      <a:pt x="1752" y="1940"/>
                    </a:lnTo>
                    <a:lnTo>
                      <a:pt x="1754" y="1946"/>
                    </a:lnTo>
                    <a:lnTo>
                      <a:pt x="1758" y="1952"/>
                    </a:lnTo>
                    <a:lnTo>
                      <a:pt x="1761" y="1958"/>
                    </a:lnTo>
                    <a:lnTo>
                      <a:pt x="1766" y="1965"/>
                    </a:lnTo>
                    <a:lnTo>
                      <a:pt x="1776" y="1954"/>
                    </a:lnTo>
                    <a:lnTo>
                      <a:pt x="1786" y="1946"/>
                    </a:lnTo>
                    <a:lnTo>
                      <a:pt x="1791" y="1955"/>
                    </a:lnTo>
                    <a:lnTo>
                      <a:pt x="1797" y="1965"/>
                    </a:lnTo>
                    <a:lnTo>
                      <a:pt x="1801" y="1956"/>
                    </a:lnTo>
                    <a:lnTo>
                      <a:pt x="1803" y="1949"/>
                    </a:lnTo>
                    <a:lnTo>
                      <a:pt x="1804" y="1941"/>
                    </a:lnTo>
                    <a:lnTo>
                      <a:pt x="1805" y="1934"/>
                    </a:lnTo>
                    <a:lnTo>
                      <a:pt x="1806" y="1925"/>
                    </a:lnTo>
                    <a:lnTo>
                      <a:pt x="1807" y="1918"/>
                    </a:lnTo>
                    <a:lnTo>
                      <a:pt x="1809" y="1910"/>
                    </a:lnTo>
                    <a:lnTo>
                      <a:pt x="1812" y="1902"/>
                    </a:lnTo>
                    <a:lnTo>
                      <a:pt x="1816" y="1894"/>
                    </a:lnTo>
                    <a:lnTo>
                      <a:pt x="1820" y="1889"/>
                    </a:lnTo>
                    <a:lnTo>
                      <a:pt x="1825" y="1883"/>
                    </a:lnTo>
                    <a:lnTo>
                      <a:pt x="1829" y="1879"/>
                    </a:lnTo>
                    <a:lnTo>
                      <a:pt x="1839" y="1869"/>
                    </a:lnTo>
                    <a:lnTo>
                      <a:pt x="1848" y="1857"/>
                    </a:lnTo>
                    <a:lnTo>
                      <a:pt x="1859" y="1845"/>
                    </a:lnTo>
                    <a:lnTo>
                      <a:pt x="1867" y="1834"/>
                    </a:lnTo>
                    <a:lnTo>
                      <a:pt x="1876" y="1825"/>
                    </a:lnTo>
                    <a:lnTo>
                      <a:pt x="1885" y="1817"/>
                    </a:lnTo>
                    <a:lnTo>
                      <a:pt x="1896" y="1810"/>
                    </a:lnTo>
                    <a:lnTo>
                      <a:pt x="1907" y="1802"/>
                    </a:lnTo>
                    <a:lnTo>
                      <a:pt x="1919" y="1797"/>
                    </a:lnTo>
                    <a:lnTo>
                      <a:pt x="1934" y="1792"/>
                    </a:lnTo>
                    <a:lnTo>
                      <a:pt x="1943" y="1788"/>
                    </a:lnTo>
                    <a:lnTo>
                      <a:pt x="1951" y="1783"/>
                    </a:lnTo>
                    <a:lnTo>
                      <a:pt x="1959" y="1778"/>
                    </a:lnTo>
                    <a:lnTo>
                      <a:pt x="1966" y="1773"/>
                    </a:lnTo>
                    <a:lnTo>
                      <a:pt x="1973" y="1767"/>
                    </a:lnTo>
                    <a:lnTo>
                      <a:pt x="1981" y="1763"/>
                    </a:lnTo>
                    <a:lnTo>
                      <a:pt x="1985" y="1761"/>
                    </a:lnTo>
                    <a:lnTo>
                      <a:pt x="1990" y="1760"/>
                    </a:lnTo>
                    <a:lnTo>
                      <a:pt x="1995" y="1759"/>
                    </a:lnTo>
                    <a:lnTo>
                      <a:pt x="2000" y="1759"/>
                    </a:lnTo>
                    <a:lnTo>
                      <a:pt x="2009" y="1761"/>
                    </a:lnTo>
                    <a:lnTo>
                      <a:pt x="2018" y="1762"/>
                    </a:lnTo>
                    <a:lnTo>
                      <a:pt x="2033" y="1762"/>
                    </a:lnTo>
                    <a:lnTo>
                      <a:pt x="2045" y="1760"/>
                    </a:lnTo>
                    <a:lnTo>
                      <a:pt x="2051" y="1759"/>
                    </a:lnTo>
                    <a:lnTo>
                      <a:pt x="2057" y="1757"/>
                    </a:lnTo>
                    <a:lnTo>
                      <a:pt x="2063" y="1754"/>
                    </a:lnTo>
                    <a:lnTo>
                      <a:pt x="2069" y="1751"/>
                    </a:lnTo>
                    <a:lnTo>
                      <a:pt x="2077" y="1741"/>
                    </a:lnTo>
                    <a:lnTo>
                      <a:pt x="2085" y="1732"/>
                    </a:lnTo>
                    <a:lnTo>
                      <a:pt x="2093" y="1729"/>
                    </a:lnTo>
                    <a:lnTo>
                      <a:pt x="2100" y="1729"/>
                    </a:lnTo>
                    <a:lnTo>
                      <a:pt x="2107" y="1729"/>
                    </a:lnTo>
                    <a:lnTo>
                      <a:pt x="2115" y="1728"/>
                    </a:lnTo>
                    <a:lnTo>
                      <a:pt x="2134" y="1725"/>
                    </a:lnTo>
                    <a:lnTo>
                      <a:pt x="2150" y="1722"/>
                    </a:lnTo>
                    <a:lnTo>
                      <a:pt x="2167" y="1719"/>
                    </a:lnTo>
                    <a:lnTo>
                      <a:pt x="2187" y="1718"/>
                    </a:lnTo>
                    <a:lnTo>
                      <a:pt x="2191" y="1718"/>
                    </a:lnTo>
                    <a:lnTo>
                      <a:pt x="2194" y="1719"/>
                    </a:lnTo>
                    <a:lnTo>
                      <a:pt x="2197" y="1721"/>
                    </a:lnTo>
                    <a:lnTo>
                      <a:pt x="2199" y="1723"/>
                    </a:lnTo>
                    <a:lnTo>
                      <a:pt x="2204" y="1729"/>
                    </a:lnTo>
                    <a:lnTo>
                      <a:pt x="2209" y="1734"/>
                    </a:lnTo>
                    <a:lnTo>
                      <a:pt x="2223" y="1745"/>
                    </a:lnTo>
                    <a:lnTo>
                      <a:pt x="2235" y="1754"/>
                    </a:lnTo>
                    <a:lnTo>
                      <a:pt x="2240" y="1758"/>
                    </a:lnTo>
                    <a:lnTo>
                      <a:pt x="2244" y="1764"/>
                    </a:lnTo>
                    <a:lnTo>
                      <a:pt x="2247" y="1770"/>
                    </a:lnTo>
                    <a:lnTo>
                      <a:pt x="2248" y="1779"/>
                    </a:lnTo>
                    <a:lnTo>
                      <a:pt x="2245" y="1793"/>
                    </a:lnTo>
                    <a:lnTo>
                      <a:pt x="2241" y="1809"/>
                    </a:lnTo>
                    <a:lnTo>
                      <a:pt x="2240" y="1827"/>
                    </a:lnTo>
                    <a:lnTo>
                      <a:pt x="2240" y="1845"/>
                    </a:lnTo>
                    <a:lnTo>
                      <a:pt x="2239" y="1853"/>
                    </a:lnTo>
                    <a:lnTo>
                      <a:pt x="2238" y="1861"/>
                    </a:lnTo>
                    <a:lnTo>
                      <a:pt x="2236" y="1870"/>
                    </a:lnTo>
                    <a:lnTo>
                      <a:pt x="2232" y="1878"/>
                    </a:lnTo>
                    <a:lnTo>
                      <a:pt x="2229" y="1882"/>
                    </a:lnTo>
                    <a:lnTo>
                      <a:pt x="2226" y="1885"/>
                    </a:lnTo>
                    <a:lnTo>
                      <a:pt x="2222" y="1888"/>
                    </a:lnTo>
                    <a:lnTo>
                      <a:pt x="2217" y="1890"/>
                    </a:lnTo>
                    <a:lnTo>
                      <a:pt x="2214" y="1893"/>
                    </a:lnTo>
                    <a:lnTo>
                      <a:pt x="2211" y="1896"/>
                    </a:lnTo>
                    <a:lnTo>
                      <a:pt x="2209" y="1900"/>
                    </a:lnTo>
                    <a:lnTo>
                      <a:pt x="2208" y="1905"/>
                    </a:lnTo>
                    <a:lnTo>
                      <a:pt x="2209" y="1909"/>
                    </a:lnTo>
                    <a:lnTo>
                      <a:pt x="2212" y="1914"/>
                    </a:lnTo>
                    <a:lnTo>
                      <a:pt x="2218" y="1910"/>
                    </a:lnTo>
                    <a:lnTo>
                      <a:pt x="2224" y="1907"/>
                    </a:lnTo>
                    <a:lnTo>
                      <a:pt x="2229" y="1903"/>
                    </a:lnTo>
                    <a:lnTo>
                      <a:pt x="2233" y="1897"/>
                    </a:lnTo>
                    <a:lnTo>
                      <a:pt x="2240" y="1888"/>
                    </a:lnTo>
                    <a:lnTo>
                      <a:pt x="2246" y="1878"/>
                    </a:lnTo>
                    <a:lnTo>
                      <a:pt x="2255" y="1855"/>
                    </a:lnTo>
                    <a:lnTo>
                      <a:pt x="2264" y="1830"/>
                    </a:lnTo>
                    <a:lnTo>
                      <a:pt x="2275" y="1799"/>
                    </a:lnTo>
                    <a:lnTo>
                      <a:pt x="2286" y="1771"/>
                    </a:lnTo>
                    <a:lnTo>
                      <a:pt x="2289" y="1757"/>
                    </a:lnTo>
                    <a:lnTo>
                      <a:pt x="2291" y="1743"/>
                    </a:lnTo>
                    <a:lnTo>
                      <a:pt x="2293" y="1727"/>
                    </a:lnTo>
                    <a:lnTo>
                      <a:pt x="2293" y="1711"/>
                    </a:lnTo>
                    <a:lnTo>
                      <a:pt x="2293" y="1680"/>
                    </a:lnTo>
                    <a:lnTo>
                      <a:pt x="2300" y="1680"/>
                    </a:lnTo>
                    <a:lnTo>
                      <a:pt x="2306" y="1678"/>
                    </a:lnTo>
                    <a:lnTo>
                      <a:pt x="2312" y="1676"/>
                    </a:lnTo>
                    <a:lnTo>
                      <a:pt x="2319" y="1673"/>
                    </a:lnTo>
                    <a:lnTo>
                      <a:pt x="2328" y="1667"/>
                    </a:lnTo>
                    <a:lnTo>
                      <a:pt x="2337" y="1660"/>
                    </a:lnTo>
                    <a:lnTo>
                      <a:pt x="2355" y="1641"/>
                    </a:lnTo>
                    <a:lnTo>
                      <a:pt x="2373" y="1621"/>
                    </a:lnTo>
                    <a:lnTo>
                      <a:pt x="2381" y="1613"/>
                    </a:lnTo>
                    <a:lnTo>
                      <a:pt x="2390" y="1607"/>
                    </a:lnTo>
                    <a:lnTo>
                      <a:pt x="2398" y="1601"/>
                    </a:lnTo>
                    <a:lnTo>
                      <a:pt x="2406" y="1596"/>
                    </a:lnTo>
                    <a:lnTo>
                      <a:pt x="2415" y="1591"/>
                    </a:lnTo>
                    <a:lnTo>
                      <a:pt x="2424" y="1586"/>
                    </a:lnTo>
                    <a:lnTo>
                      <a:pt x="2432" y="1579"/>
                    </a:lnTo>
                    <a:lnTo>
                      <a:pt x="2440" y="1571"/>
                    </a:lnTo>
                    <a:lnTo>
                      <a:pt x="2455" y="1566"/>
                    </a:lnTo>
                    <a:lnTo>
                      <a:pt x="2468" y="1561"/>
                    </a:lnTo>
                    <a:lnTo>
                      <a:pt x="2480" y="1555"/>
                    </a:lnTo>
                    <a:lnTo>
                      <a:pt x="2492" y="1549"/>
                    </a:lnTo>
                    <a:lnTo>
                      <a:pt x="2514" y="1536"/>
                    </a:lnTo>
                    <a:lnTo>
                      <a:pt x="2539" y="1521"/>
                    </a:lnTo>
                    <a:lnTo>
                      <a:pt x="2545" y="1516"/>
                    </a:lnTo>
                    <a:lnTo>
                      <a:pt x="2552" y="1513"/>
                    </a:lnTo>
                    <a:lnTo>
                      <a:pt x="2552" y="1513"/>
                    </a:lnTo>
                    <a:lnTo>
                      <a:pt x="2547" y="1496"/>
                    </a:lnTo>
                    <a:lnTo>
                      <a:pt x="2541" y="1481"/>
                    </a:lnTo>
                    <a:lnTo>
                      <a:pt x="2539" y="1474"/>
                    </a:lnTo>
                    <a:lnTo>
                      <a:pt x="2537" y="1467"/>
                    </a:lnTo>
                    <a:lnTo>
                      <a:pt x="2535" y="1459"/>
                    </a:lnTo>
                    <a:lnTo>
                      <a:pt x="2535" y="1449"/>
                    </a:lnTo>
                    <a:lnTo>
                      <a:pt x="2535" y="1441"/>
                    </a:lnTo>
                    <a:lnTo>
                      <a:pt x="2537" y="1434"/>
                    </a:lnTo>
                    <a:lnTo>
                      <a:pt x="2540" y="1427"/>
                    </a:lnTo>
                    <a:lnTo>
                      <a:pt x="2544" y="1419"/>
                    </a:lnTo>
                    <a:lnTo>
                      <a:pt x="2554" y="1408"/>
                    </a:lnTo>
                    <a:lnTo>
                      <a:pt x="2565" y="1397"/>
                    </a:lnTo>
                    <a:lnTo>
                      <a:pt x="2576" y="1385"/>
                    </a:lnTo>
                    <a:lnTo>
                      <a:pt x="2587" y="1374"/>
                    </a:lnTo>
                    <a:lnTo>
                      <a:pt x="2591" y="1367"/>
                    </a:lnTo>
                    <a:lnTo>
                      <a:pt x="2594" y="1359"/>
                    </a:lnTo>
                    <a:lnTo>
                      <a:pt x="2595" y="1352"/>
                    </a:lnTo>
                    <a:lnTo>
                      <a:pt x="2596" y="1344"/>
                    </a:lnTo>
                    <a:lnTo>
                      <a:pt x="2596" y="1336"/>
                    </a:lnTo>
                    <a:lnTo>
                      <a:pt x="2594" y="1328"/>
                    </a:lnTo>
                    <a:lnTo>
                      <a:pt x="2592" y="1322"/>
                    </a:lnTo>
                    <a:lnTo>
                      <a:pt x="2590" y="1316"/>
                    </a:lnTo>
                    <a:lnTo>
                      <a:pt x="2583" y="1306"/>
                    </a:lnTo>
                    <a:lnTo>
                      <a:pt x="2573" y="1295"/>
                    </a:lnTo>
                    <a:lnTo>
                      <a:pt x="2563" y="1286"/>
                    </a:lnTo>
                    <a:lnTo>
                      <a:pt x="2553" y="1277"/>
                    </a:lnTo>
                    <a:lnTo>
                      <a:pt x="2542" y="1267"/>
                    </a:lnTo>
                    <a:lnTo>
                      <a:pt x="2532" y="1254"/>
                    </a:lnTo>
                    <a:lnTo>
                      <a:pt x="2525" y="1244"/>
                    </a:lnTo>
                    <a:lnTo>
                      <a:pt x="2518" y="1233"/>
                    </a:lnTo>
                    <a:lnTo>
                      <a:pt x="2510" y="1225"/>
                    </a:lnTo>
                    <a:lnTo>
                      <a:pt x="2502" y="1217"/>
                    </a:lnTo>
                    <a:lnTo>
                      <a:pt x="2494" y="1210"/>
                    </a:lnTo>
                    <a:lnTo>
                      <a:pt x="2486" y="1204"/>
                    </a:lnTo>
                    <a:lnTo>
                      <a:pt x="2477" y="1197"/>
                    </a:lnTo>
                    <a:lnTo>
                      <a:pt x="2468" y="1192"/>
                    </a:lnTo>
                    <a:lnTo>
                      <a:pt x="2430" y="1172"/>
                    </a:lnTo>
                    <a:lnTo>
                      <a:pt x="2387" y="1150"/>
                    </a:lnTo>
                    <a:lnTo>
                      <a:pt x="2392" y="1134"/>
                    </a:lnTo>
                    <a:lnTo>
                      <a:pt x="2398" y="1121"/>
                    </a:lnTo>
                    <a:lnTo>
                      <a:pt x="2404" y="1106"/>
                    </a:lnTo>
                    <a:lnTo>
                      <a:pt x="2410" y="1091"/>
                    </a:lnTo>
                    <a:lnTo>
                      <a:pt x="2411" y="1083"/>
                    </a:lnTo>
                    <a:lnTo>
                      <a:pt x="2412" y="1074"/>
                    </a:lnTo>
                    <a:lnTo>
                      <a:pt x="2412" y="1066"/>
                    </a:lnTo>
                    <a:lnTo>
                      <a:pt x="2412" y="1057"/>
                    </a:lnTo>
                    <a:lnTo>
                      <a:pt x="2410" y="1047"/>
                    </a:lnTo>
                    <a:lnTo>
                      <a:pt x="2407" y="1036"/>
                    </a:lnTo>
                    <a:lnTo>
                      <a:pt x="2404" y="1027"/>
                    </a:lnTo>
                    <a:lnTo>
                      <a:pt x="2403" y="1016"/>
                    </a:lnTo>
                    <a:lnTo>
                      <a:pt x="2403" y="1011"/>
                    </a:lnTo>
                    <a:lnTo>
                      <a:pt x="2404" y="1008"/>
                    </a:lnTo>
                    <a:lnTo>
                      <a:pt x="2406" y="1005"/>
                    </a:lnTo>
                    <a:lnTo>
                      <a:pt x="2408" y="1003"/>
                    </a:lnTo>
                    <a:lnTo>
                      <a:pt x="2413" y="999"/>
                    </a:lnTo>
                    <a:lnTo>
                      <a:pt x="2421" y="996"/>
                    </a:lnTo>
                    <a:lnTo>
                      <a:pt x="2437" y="993"/>
                    </a:lnTo>
                    <a:lnTo>
                      <a:pt x="2455" y="992"/>
                    </a:lnTo>
                    <a:lnTo>
                      <a:pt x="2469" y="991"/>
                    </a:lnTo>
                    <a:lnTo>
                      <a:pt x="2482" y="989"/>
                    </a:lnTo>
                    <a:lnTo>
                      <a:pt x="2496" y="986"/>
                    </a:lnTo>
                    <a:lnTo>
                      <a:pt x="2508" y="982"/>
                    </a:lnTo>
                    <a:lnTo>
                      <a:pt x="2514" y="978"/>
                    </a:lnTo>
                    <a:lnTo>
                      <a:pt x="2520" y="975"/>
                    </a:lnTo>
                    <a:lnTo>
                      <a:pt x="2525" y="971"/>
                    </a:lnTo>
                    <a:lnTo>
                      <a:pt x="2529" y="967"/>
                    </a:lnTo>
                    <a:lnTo>
                      <a:pt x="2532" y="963"/>
                    </a:lnTo>
                    <a:lnTo>
                      <a:pt x="2535" y="957"/>
                    </a:lnTo>
                    <a:lnTo>
                      <a:pt x="2538" y="952"/>
                    </a:lnTo>
                    <a:lnTo>
                      <a:pt x="2539" y="944"/>
                    </a:lnTo>
                    <a:lnTo>
                      <a:pt x="2544" y="923"/>
                    </a:lnTo>
                    <a:lnTo>
                      <a:pt x="2550" y="902"/>
                    </a:lnTo>
                    <a:lnTo>
                      <a:pt x="2555" y="883"/>
                    </a:lnTo>
                    <a:lnTo>
                      <a:pt x="2560" y="865"/>
                    </a:lnTo>
                    <a:lnTo>
                      <a:pt x="2565" y="846"/>
                    </a:lnTo>
                    <a:lnTo>
                      <a:pt x="2569" y="828"/>
                    </a:lnTo>
                    <a:lnTo>
                      <a:pt x="2571" y="807"/>
                    </a:lnTo>
                    <a:lnTo>
                      <a:pt x="2572" y="784"/>
                    </a:lnTo>
                    <a:lnTo>
                      <a:pt x="2572" y="774"/>
                    </a:lnTo>
                    <a:lnTo>
                      <a:pt x="2570" y="766"/>
                    </a:lnTo>
                    <a:lnTo>
                      <a:pt x="2567" y="757"/>
                    </a:lnTo>
                    <a:lnTo>
                      <a:pt x="2564" y="750"/>
                    </a:lnTo>
                    <a:lnTo>
                      <a:pt x="2559" y="743"/>
                    </a:lnTo>
                    <a:lnTo>
                      <a:pt x="2554" y="737"/>
                    </a:lnTo>
                    <a:lnTo>
                      <a:pt x="2547" y="732"/>
                    </a:lnTo>
                    <a:lnTo>
                      <a:pt x="2541" y="725"/>
                    </a:lnTo>
                    <a:lnTo>
                      <a:pt x="2510" y="705"/>
                    </a:lnTo>
                    <a:lnTo>
                      <a:pt x="2478" y="682"/>
                    </a:lnTo>
                    <a:lnTo>
                      <a:pt x="2464" y="673"/>
                    </a:lnTo>
                    <a:lnTo>
                      <a:pt x="2451" y="663"/>
                    </a:lnTo>
                    <a:lnTo>
                      <a:pt x="2437" y="655"/>
                    </a:lnTo>
                    <a:lnTo>
                      <a:pt x="2424" y="649"/>
                    </a:lnTo>
                    <a:lnTo>
                      <a:pt x="2410" y="643"/>
                    </a:lnTo>
                    <a:lnTo>
                      <a:pt x="2397" y="639"/>
                    </a:lnTo>
                    <a:lnTo>
                      <a:pt x="2383" y="634"/>
                    </a:lnTo>
                    <a:lnTo>
                      <a:pt x="2370" y="630"/>
                    </a:lnTo>
                    <a:lnTo>
                      <a:pt x="2342" y="623"/>
                    </a:lnTo>
                    <a:lnTo>
                      <a:pt x="2313" y="617"/>
                    </a:lnTo>
                    <a:lnTo>
                      <a:pt x="2282" y="611"/>
                    </a:lnTo>
                    <a:lnTo>
                      <a:pt x="2249" y="603"/>
                    </a:lnTo>
                    <a:lnTo>
                      <a:pt x="2236" y="597"/>
                    </a:lnTo>
                    <a:lnTo>
                      <a:pt x="2224" y="591"/>
                    </a:lnTo>
                    <a:lnTo>
                      <a:pt x="2212" y="584"/>
                    </a:lnTo>
                    <a:lnTo>
                      <a:pt x="2203" y="576"/>
                    </a:lnTo>
                    <a:lnTo>
                      <a:pt x="2195" y="566"/>
                    </a:lnTo>
                    <a:lnTo>
                      <a:pt x="2188" y="556"/>
                    </a:lnTo>
                    <a:lnTo>
                      <a:pt x="2181" y="545"/>
                    </a:lnTo>
                    <a:lnTo>
                      <a:pt x="2176" y="532"/>
                    </a:lnTo>
                    <a:lnTo>
                      <a:pt x="2166" y="508"/>
                    </a:lnTo>
                    <a:lnTo>
                      <a:pt x="2156" y="481"/>
                    </a:lnTo>
                    <a:lnTo>
                      <a:pt x="2150" y="466"/>
                    </a:lnTo>
                    <a:lnTo>
                      <a:pt x="2145" y="453"/>
                    </a:lnTo>
                    <a:lnTo>
                      <a:pt x="2139" y="439"/>
                    </a:lnTo>
                    <a:lnTo>
                      <a:pt x="2132" y="425"/>
                    </a:lnTo>
                    <a:lnTo>
                      <a:pt x="2127" y="417"/>
                    </a:lnTo>
                    <a:lnTo>
                      <a:pt x="2122" y="408"/>
                    </a:lnTo>
                    <a:lnTo>
                      <a:pt x="2115" y="401"/>
                    </a:lnTo>
                    <a:lnTo>
                      <a:pt x="2109" y="394"/>
                    </a:lnTo>
                    <a:lnTo>
                      <a:pt x="2103" y="388"/>
                    </a:lnTo>
                    <a:lnTo>
                      <a:pt x="2097" y="382"/>
                    </a:lnTo>
                    <a:lnTo>
                      <a:pt x="2090" y="376"/>
                    </a:lnTo>
                    <a:lnTo>
                      <a:pt x="2082" y="371"/>
                    </a:lnTo>
                    <a:lnTo>
                      <a:pt x="2067" y="363"/>
                    </a:lnTo>
                    <a:lnTo>
                      <a:pt x="2050" y="355"/>
                    </a:lnTo>
                    <a:lnTo>
                      <a:pt x="2033" y="349"/>
                    </a:lnTo>
                    <a:lnTo>
                      <a:pt x="2013" y="342"/>
                    </a:lnTo>
                    <a:lnTo>
                      <a:pt x="2013" y="342"/>
                    </a:lnTo>
                    <a:lnTo>
                      <a:pt x="1985" y="339"/>
                    </a:lnTo>
                    <a:lnTo>
                      <a:pt x="1960" y="336"/>
                    </a:lnTo>
                    <a:lnTo>
                      <a:pt x="1935" y="333"/>
                    </a:lnTo>
                    <a:lnTo>
                      <a:pt x="1910" y="329"/>
                    </a:lnTo>
                    <a:lnTo>
                      <a:pt x="1886" y="326"/>
                    </a:lnTo>
                    <a:lnTo>
                      <a:pt x="1862" y="324"/>
                    </a:lnTo>
                    <a:lnTo>
                      <a:pt x="1835" y="322"/>
                    </a:lnTo>
                    <a:lnTo>
                      <a:pt x="1806" y="322"/>
                    </a:lnTo>
                    <a:lnTo>
                      <a:pt x="1769" y="322"/>
                    </a:lnTo>
                    <a:lnTo>
                      <a:pt x="1736" y="323"/>
                    </a:lnTo>
                    <a:lnTo>
                      <a:pt x="1703" y="325"/>
                    </a:lnTo>
                    <a:lnTo>
                      <a:pt x="1665" y="326"/>
                    </a:lnTo>
                    <a:lnTo>
                      <a:pt x="1613" y="338"/>
                    </a:lnTo>
                    <a:lnTo>
                      <a:pt x="1606" y="336"/>
                    </a:lnTo>
                    <a:lnTo>
                      <a:pt x="1599" y="333"/>
                    </a:lnTo>
                    <a:lnTo>
                      <a:pt x="1605" y="300"/>
                    </a:lnTo>
                    <a:lnTo>
                      <a:pt x="1610" y="272"/>
                    </a:lnTo>
                    <a:lnTo>
                      <a:pt x="1612" y="258"/>
                    </a:lnTo>
                    <a:lnTo>
                      <a:pt x="1614" y="243"/>
                    </a:lnTo>
                    <a:lnTo>
                      <a:pt x="1615" y="228"/>
                    </a:lnTo>
                    <a:lnTo>
                      <a:pt x="1615" y="210"/>
                    </a:lnTo>
                    <a:lnTo>
                      <a:pt x="1615" y="204"/>
                    </a:lnTo>
                    <a:lnTo>
                      <a:pt x="1614" y="199"/>
                    </a:lnTo>
                    <a:lnTo>
                      <a:pt x="1613" y="193"/>
                    </a:lnTo>
                    <a:lnTo>
                      <a:pt x="1611" y="187"/>
                    </a:lnTo>
                    <a:lnTo>
                      <a:pt x="1608" y="181"/>
                    </a:lnTo>
                    <a:lnTo>
                      <a:pt x="1605" y="176"/>
                    </a:lnTo>
                    <a:lnTo>
                      <a:pt x="1602" y="172"/>
                    </a:lnTo>
                    <a:lnTo>
                      <a:pt x="1598" y="168"/>
                    </a:lnTo>
                    <a:lnTo>
                      <a:pt x="1594" y="164"/>
                    </a:lnTo>
                    <a:lnTo>
                      <a:pt x="1589" y="160"/>
                    </a:lnTo>
                    <a:lnTo>
                      <a:pt x="1584" y="156"/>
                    </a:lnTo>
                    <a:lnTo>
                      <a:pt x="1579" y="154"/>
                    </a:lnTo>
                    <a:lnTo>
                      <a:pt x="1574" y="152"/>
                    </a:lnTo>
                    <a:lnTo>
                      <a:pt x="1568" y="150"/>
                    </a:lnTo>
                    <a:lnTo>
                      <a:pt x="1562" y="149"/>
                    </a:lnTo>
                    <a:lnTo>
                      <a:pt x="1555" y="149"/>
                    </a:lnTo>
                    <a:lnTo>
                      <a:pt x="1542" y="150"/>
                    </a:lnTo>
                    <a:lnTo>
                      <a:pt x="1529" y="149"/>
                    </a:lnTo>
                    <a:lnTo>
                      <a:pt x="1529" y="63"/>
                    </a:lnTo>
                    <a:lnTo>
                      <a:pt x="1528" y="59"/>
                    </a:lnTo>
                    <a:lnTo>
                      <a:pt x="1528" y="56"/>
                    </a:lnTo>
                    <a:lnTo>
                      <a:pt x="1525" y="52"/>
                    </a:lnTo>
                    <a:lnTo>
                      <a:pt x="1524" y="49"/>
                    </a:lnTo>
                    <a:lnTo>
                      <a:pt x="1519" y="44"/>
                    </a:lnTo>
                    <a:lnTo>
                      <a:pt x="1514" y="40"/>
                    </a:lnTo>
                    <a:lnTo>
                      <a:pt x="1507" y="36"/>
                    </a:lnTo>
                    <a:lnTo>
                      <a:pt x="1500" y="34"/>
                    </a:lnTo>
                    <a:lnTo>
                      <a:pt x="1491" y="31"/>
                    </a:lnTo>
                    <a:lnTo>
                      <a:pt x="1483" y="31"/>
                    </a:lnTo>
                    <a:lnTo>
                      <a:pt x="1466" y="31"/>
                    </a:lnTo>
                    <a:lnTo>
                      <a:pt x="1450" y="34"/>
                    </a:lnTo>
                    <a:lnTo>
                      <a:pt x="1436" y="37"/>
                    </a:lnTo>
                    <a:lnTo>
                      <a:pt x="1422" y="41"/>
                    </a:lnTo>
                    <a:lnTo>
                      <a:pt x="1408" y="44"/>
                    </a:lnTo>
                    <a:lnTo>
                      <a:pt x="1393" y="47"/>
                    </a:lnTo>
                    <a:lnTo>
                      <a:pt x="1378" y="49"/>
                    </a:lnTo>
                    <a:lnTo>
                      <a:pt x="1360" y="50"/>
                    </a:lnTo>
                    <a:lnTo>
                      <a:pt x="1351" y="49"/>
                    </a:lnTo>
                    <a:lnTo>
                      <a:pt x="1343" y="48"/>
                    </a:lnTo>
                    <a:lnTo>
                      <a:pt x="1335" y="45"/>
                    </a:lnTo>
                    <a:lnTo>
                      <a:pt x="1327" y="42"/>
                    </a:lnTo>
                    <a:lnTo>
                      <a:pt x="1314" y="35"/>
                    </a:lnTo>
                    <a:lnTo>
                      <a:pt x="1301" y="25"/>
                    </a:lnTo>
                    <a:lnTo>
                      <a:pt x="1287" y="16"/>
                    </a:lnTo>
                    <a:lnTo>
                      <a:pt x="1274" y="8"/>
                    </a:lnTo>
                    <a:lnTo>
                      <a:pt x="1266" y="5"/>
                    </a:lnTo>
                    <a:lnTo>
                      <a:pt x="1258" y="3"/>
                    </a:lnTo>
                    <a:lnTo>
                      <a:pt x="1250" y="0"/>
                    </a:lnTo>
                    <a:lnTo>
                      <a:pt x="1241" y="0"/>
                    </a:lnTo>
                    <a:lnTo>
                      <a:pt x="1231" y="0"/>
                    </a:lnTo>
                    <a:lnTo>
                      <a:pt x="1221" y="2"/>
                    </a:lnTo>
                    <a:lnTo>
                      <a:pt x="1212" y="4"/>
                    </a:lnTo>
                    <a:lnTo>
                      <a:pt x="1204" y="6"/>
                    </a:lnTo>
                    <a:lnTo>
                      <a:pt x="1187" y="11"/>
                    </a:lnTo>
                    <a:lnTo>
                      <a:pt x="1173" y="18"/>
                    </a:lnTo>
                    <a:lnTo>
                      <a:pt x="1143" y="36"/>
                    </a:lnTo>
                    <a:lnTo>
                      <a:pt x="1109" y="54"/>
                    </a:lnTo>
                    <a:lnTo>
                      <a:pt x="1103" y="58"/>
                    </a:lnTo>
                    <a:lnTo>
                      <a:pt x="1098" y="62"/>
                    </a:lnTo>
                    <a:lnTo>
                      <a:pt x="1092" y="68"/>
                    </a:lnTo>
                    <a:lnTo>
                      <a:pt x="1088" y="72"/>
                    </a:lnTo>
                    <a:lnTo>
                      <a:pt x="1084" y="76"/>
                    </a:lnTo>
                    <a:lnTo>
                      <a:pt x="1079" y="80"/>
                    </a:lnTo>
                    <a:lnTo>
                      <a:pt x="1073" y="82"/>
                    </a:lnTo>
                    <a:lnTo>
                      <a:pt x="1066" y="83"/>
                    </a:lnTo>
                    <a:lnTo>
                      <a:pt x="1056" y="82"/>
                    </a:lnTo>
                    <a:lnTo>
                      <a:pt x="1048" y="80"/>
                    </a:lnTo>
                    <a:lnTo>
                      <a:pt x="1041" y="76"/>
                    </a:lnTo>
                    <a:lnTo>
                      <a:pt x="1034" y="72"/>
                    </a:lnTo>
                    <a:lnTo>
                      <a:pt x="1021" y="59"/>
                    </a:lnTo>
                    <a:lnTo>
                      <a:pt x="1010" y="46"/>
                    </a:lnTo>
                    <a:lnTo>
                      <a:pt x="997" y="33"/>
                    </a:lnTo>
                    <a:lnTo>
                      <a:pt x="985" y="21"/>
                    </a:lnTo>
                    <a:lnTo>
                      <a:pt x="978" y="17"/>
                    </a:lnTo>
                    <a:lnTo>
                      <a:pt x="971" y="13"/>
                    </a:lnTo>
                    <a:lnTo>
                      <a:pt x="962" y="11"/>
                    </a:lnTo>
                    <a:lnTo>
                      <a:pt x="953" y="10"/>
                    </a:lnTo>
                    <a:lnTo>
                      <a:pt x="930" y="11"/>
                    </a:lnTo>
                    <a:lnTo>
                      <a:pt x="910" y="13"/>
                    </a:lnTo>
                    <a:lnTo>
                      <a:pt x="891" y="16"/>
                    </a:lnTo>
                    <a:lnTo>
                      <a:pt x="873" y="20"/>
                    </a:lnTo>
                    <a:lnTo>
                      <a:pt x="854" y="24"/>
                    </a:lnTo>
                    <a:lnTo>
                      <a:pt x="836" y="27"/>
                    </a:lnTo>
                    <a:lnTo>
                      <a:pt x="815" y="30"/>
                    </a:lnTo>
                    <a:lnTo>
                      <a:pt x="792" y="31"/>
                    </a:lnTo>
                    <a:lnTo>
                      <a:pt x="780" y="30"/>
                    </a:lnTo>
                    <a:lnTo>
                      <a:pt x="768" y="28"/>
                    </a:lnTo>
                    <a:lnTo>
                      <a:pt x="756" y="26"/>
                    </a:lnTo>
                    <a:lnTo>
                      <a:pt x="746" y="24"/>
                    </a:lnTo>
                    <a:lnTo>
                      <a:pt x="735" y="21"/>
                    </a:lnTo>
                    <a:lnTo>
                      <a:pt x="723" y="19"/>
                    </a:lnTo>
                    <a:lnTo>
                      <a:pt x="712" y="17"/>
                    </a:lnTo>
                    <a:lnTo>
                      <a:pt x="698" y="17"/>
                    </a:lnTo>
                    <a:lnTo>
                      <a:pt x="692" y="17"/>
                    </a:lnTo>
                    <a:lnTo>
                      <a:pt x="687" y="18"/>
                    </a:lnTo>
                    <a:lnTo>
                      <a:pt x="682" y="19"/>
                    </a:lnTo>
                    <a:lnTo>
                      <a:pt x="677" y="21"/>
                    </a:lnTo>
                    <a:lnTo>
                      <a:pt x="669" y="27"/>
                    </a:lnTo>
                    <a:lnTo>
                      <a:pt x="660" y="34"/>
                    </a:lnTo>
                    <a:lnTo>
                      <a:pt x="653" y="42"/>
                    </a:lnTo>
                    <a:lnTo>
                      <a:pt x="647" y="51"/>
                    </a:lnTo>
                    <a:lnTo>
                      <a:pt x="641" y="61"/>
                    </a:lnTo>
                    <a:lnTo>
                      <a:pt x="634" y="71"/>
                    </a:lnTo>
                    <a:lnTo>
                      <a:pt x="628" y="81"/>
                    </a:lnTo>
                    <a:lnTo>
                      <a:pt x="623" y="91"/>
                    </a:lnTo>
                    <a:lnTo>
                      <a:pt x="616" y="101"/>
                    </a:lnTo>
                    <a:lnTo>
                      <a:pt x="609" y="109"/>
                    </a:lnTo>
                    <a:lnTo>
                      <a:pt x="601" y="115"/>
                    </a:lnTo>
                    <a:lnTo>
                      <a:pt x="592" y="120"/>
                    </a:lnTo>
                    <a:lnTo>
                      <a:pt x="587" y="122"/>
                    </a:lnTo>
                    <a:lnTo>
                      <a:pt x="582" y="124"/>
                    </a:lnTo>
                    <a:lnTo>
                      <a:pt x="577" y="125"/>
                    </a:lnTo>
                    <a:lnTo>
                      <a:pt x="571" y="125"/>
                    </a:lnTo>
                    <a:lnTo>
                      <a:pt x="562" y="124"/>
                    </a:lnTo>
                    <a:lnTo>
                      <a:pt x="555" y="123"/>
                    </a:lnTo>
                    <a:lnTo>
                      <a:pt x="548" y="120"/>
                    </a:lnTo>
                    <a:lnTo>
                      <a:pt x="543" y="116"/>
                    </a:lnTo>
                    <a:lnTo>
                      <a:pt x="537" y="111"/>
                    </a:lnTo>
                    <a:lnTo>
                      <a:pt x="532" y="106"/>
                    </a:lnTo>
                    <a:lnTo>
                      <a:pt x="528" y="99"/>
                    </a:lnTo>
                    <a:lnTo>
                      <a:pt x="524" y="91"/>
                    </a:lnTo>
                    <a:lnTo>
                      <a:pt x="513" y="59"/>
                    </a:lnTo>
                    <a:lnTo>
                      <a:pt x="502" y="24"/>
                    </a:lnTo>
                    <a:lnTo>
                      <a:pt x="493" y="26"/>
                    </a:lnTo>
                    <a:lnTo>
                      <a:pt x="453" y="142"/>
                    </a:lnTo>
                    <a:lnTo>
                      <a:pt x="457" y="158"/>
                    </a:lnTo>
                    <a:lnTo>
                      <a:pt x="462" y="173"/>
                    </a:lnTo>
                    <a:lnTo>
                      <a:pt x="468" y="187"/>
                    </a:lnTo>
                    <a:lnTo>
                      <a:pt x="476" y="200"/>
                    </a:lnTo>
                    <a:lnTo>
                      <a:pt x="492" y="224"/>
                    </a:lnTo>
                    <a:lnTo>
                      <a:pt x="512" y="250"/>
                    </a:lnTo>
                    <a:lnTo>
                      <a:pt x="522" y="261"/>
                    </a:lnTo>
                    <a:lnTo>
                      <a:pt x="533" y="269"/>
                    </a:lnTo>
                    <a:lnTo>
                      <a:pt x="538" y="273"/>
                    </a:lnTo>
                    <a:lnTo>
                      <a:pt x="542" y="278"/>
                    </a:lnTo>
                    <a:lnTo>
                      <a:pt x="544" y="283"/>
                    </a:lnTo>
                    <a:lnTo>
                      <a:pt x="545" y="291"/>
                    </a:lnTo>
                    <a:lnTo>
                      <a:pt x="545" y="295"/>
                    </a:lnTo>
                    <a:lnTo>
                      <a:pt x="544" y="298"/>
                    </a:lnTo>
                    <a:lnTo>
                      <a:pt x="543" y="301"/>
                    </a:lnTo>
                    <a:lnTo>
                      <a:pt x="541" y="303"/>
                    </a:lnTo>
                    <a:lnTo>
                      <a:pt x="537" y="307"/>
                    </a:lnTo>
                    <a:lnTo>
                      <a:pt x="530" y="310"/>
                    </a:lnTo>
                    <a:lnTo>
                      <a:pt x="524" y="312"/>
                    </a:lnTo>
                    <a:lnTo>
                      <a:pt x="516" y="314"/>
                    </a:lnTo>
                    <a:lnTo>
                      <a:pt x="508" y="315"/>
                    </a:lnTo>
                    <a:lnTo>
                      <a:pt x="499" y="316"/>
                    </a:lnTo>
                    <a:lnTo>
                      <a:pt x="490" y="318"/>
                    </a:lnTo>
                    <a:lnTo>
                      <a:pt x="482" y="319"/>
                    </a:lnTo>
                    <a:lnTo>
                      <a:pt x="475" y="321"/>
                    </a:lnTo>
                    <a:lnTo>
                      <a:pt x="467" y="323"/>
                    </a:lnTo>
                    <a:lnTo>
                      <a:pt x="461" y="326"/>
                    </a:lnTo>
                    <a:lnTo>
                      <a:pt x="457" y="330"/>
                    </a:lnTo>
                    <a:lnTo>
                      <a:pt x="455" y="333"/>
                    </a:lnTo>
                    <a:lnTo>
                      <a:pt x="454" y="336"/>
                    </a:lnTo>
                    <a:lnTo>
                      <a:pt x="453" y="339"/>
                    </a:lnTo>
                    <a:lnTo>
                      <a:pt x="453" y="342"/>
                    </a:lnTo>
                    <a:lnTo>
                      <a:pt x="454" y="354"/>
                    </a:lnTo>
                    <a:lnTo>
                      <a:pt x="456" y="364"/>
                    </a:lnTo>
                    <a:lnTo>
                      <a:pt x="460" y="374"/>
                    </a:lnTo>
                    <a:lnTo>
                      <a:pt x="465" y="384"/>
                    </a:lnTo>
                    <a:lnTo>
                      <a:pt x="468" y="387"/>
                    </a:lnTo>
                    <a:lnTo>
                      <a:pt x="473" y="391"/>
                    </a:lnTo>
                    <a:lnTo>
                      <a:pt x="477" y="394"/>
                    </a:lnTo>
                    <a:lnTo>
                      <a:pt x="481" y="397"/>
                    </a:lnTo>
                    <a:lnTo>
                      <a:pt x="485" y="399"/>
                    </a:lnTo>
                    <a:lnTo>
                      <a:pt x="490" y="400"/>
                    </a:lnTo>
                    <a:lnTo>
                      <a:pt x="495" y="401"/>
                    </a:lnTo>
                    <a:lnTo>
                      <a:pt x="500" y="401"/>
                    </a:lnTo>
                    <a:lnTo>
                      <a:pt x="509" y="401"/>
                    </a:lnTo>
                    <a:lnTo>
                      <a:pt x="516" y="399"/>
                    </a:lnTo>
                    <a:lnTo>
                      <a:pt x="522" y="396"/>
                    </a:lnTo>
                    <a:lnTo>
                      <a:pt x="528" y="393"/>
                    </a:lnTo>
                    <a:lnTo>
                      <a:pt x="534" y="391"/>
                    </a:lnTo>
                    <a:lnTo>
                      <a:pt x="542" y="388"/>
                    </a:lnTo>
                    <a:lnTo>
                      <a:pt x="549" y="386"/>
                    </a:lnTo>
                    <a:lnTo>
                      <a:pt x="557" y="385"/>
                    </a:lnTo>
                    <a:lnTo>
                      <a:pt x="561" y="388"/>
                    </a:lnTo>
                    <a:lnTo>
                      <a:pt x="566" y="390"/>
                    </a:lnTo>
                    <a:lnTo>
                      <a:pt x="567" y="410"/>
                    </a:lnTo>
                    <a:lnTo>
                      <a:pt x="570" y="429"/>
                    </a:lnTo>
                    <a:lnTo>
                      <a:pt x="573" y="447"/>
                    </a:lnTo>
                    <a:lnTo>
                      <a:pt x="576" y="463"/>
                    </a:lnTo>
                    <a:lnTo>
                      <a:pt x="579" y="480"/>
                    </a:lnTo>
                    <a:lnTo>
                      <a:pt x="582" y="497"/>
                    </a:lnTo>
                    <a:lnTo>
                      <a:pt x="584" y="516"/>
                    </a:lnTo>
                    <a:lnTo>
                      <a:pt x="585" y="536"/>
                    </a:lnTo>
                    <a:lnTo>
                      <a:pt x="585" y="544"/>
                    </a:lnTo>
                    <a:lnTo>
                      <a:pt x="584" y="551"/>
                    </a:lnTo>
                    <a:lnTo>
                      <a:pt x="582" y="557"/>
                    </a:lnTo>
                    <a:lnTo>
                      <a:pt x="580" y="564"/>
                    </a:lnTo>
                    <a:lnTo>
                      <a:pt x="574" y="576"/>
                    </a:lnTo>
                    <a:lnTo>
                      <a:pt x="567" y="587"/>
                    </a:lnTo>
                    <a:lnTo>
                      <a:pt x="561" y="598"/>
                    </a:lnTo>
                    <a:lnTo>
                      <a:pt x="555" y="610"/>
                    </a:lnTo>
                    <a:lnTo>
                      <a:pt x="553" y="616"/>
                    </a:lnTo>
                    <a:lnTo>
                      <a:pt x="551" y="623"/>
                    </a:lnTo>
                    <a:lnTo>
                      <a:pt x="550" y="630"/>
                    </a:lnTo>
                    <a:lnTo>
                      <a:pt x="550" y="638"/>
                    </a:lnTo>
                    <a:lnTo>
                      <a:pt x="550" y="653"/>
                    </a:lnTo>
                    <a:lnTo>
                      <a:pt x="552" y="668"/>
                    </a:lnTo>
                    <a:lnTo>
                      <a:pt x="555" y="681"/>
                    </a:lnTo>
                    <a:lnTo>
                      <a:pt x="559" y="694"/>
                    </a:lnTo>
                    <a:lnTo>
                      <a:pt x="568" y="719"/>
                    </a:lnTo>
                    <a:lnTo>
                      <a:pt x="579" y="743"/>
                    </a:lnTo>
                    <a:lnTo>
                      <a:pt x="590" y="767"/>
                    </a:lnTo>
                    <a:lnTo>
                      <a:pt x="599" y="792"/>
                    </a:lnTo>
                    <a:lnTo>
                      <a:pt x="604" y="804"/>
                    </a:lnTo>
                    <a:lnTo>
                      <a:pt x="607" y="818"/>
                    </a:lnTo>
                    <a:lnTo>
                      <a:pt x="608" y="833"/>
                    </a:lnTo>
                    <a:lnTo>
                      <a:pt x="609" y="848"/>
                    </a:lnTo>
                    <a:lnTo>
                      <a:pt x="609" y="853"/>
                    </a:lnTo>
                    <a:lnTo>
                      <a:pt x="607" y="859"/>
                    </a:lnTo>
                    <a:lnTo>
                      <a:pt x="605" y="863"/>
                    </a:lnTo>
                    <a:lnTo>
                      <a:pt x="601" y="866"/>
                    </a:lnTo>
                    <a:lnTo>
                      <a:pt x="598" y="870"/>
                    </a:lnTo>
                    <a:lnTo>
                      <a:pt x="594" y="872"/>
                    </a:lnTo>
                    <a:lnTo>
                      <a:pt x="590" y="875"/>
                    </a:lnTo>
                    <a:lnTo>
                      <a:pt x="585" y="877"/>
                    </a:lnTo>
                    <a:lnTo>
                      <a:pt x="574" y="880"/>
                    </a:lnTo>
                    <a:lnTo>
                      <a:pt x="562" y="882"/>
                    </a:lnTo>
                    <a:lnTo>
                      <a:pt x="550" y="883"/>
                    </a:lnTo>
                    <a:lnTo>
                      <a:pt x="538" y="883"/>
                    </a:lnTo>
                    <a:lnTo>
                      <a:pt x="517" y="883"/>
                    </a:lnTo>
                    <a:lnTo>
                      <a:pt x="498" y="882"/>
                    </a:lnTo>
                    <a:lnTo>
                      <a:pt x="480" y="881"/>
                    </a:lnTo>
                    <a:lnTo>
                      <a:pt x="462" y="880"/>
                    </a:lnTo>
                    <a:lnTo>
                      <a:pt x="445" y="877"/>
                    </a:lnTo>
                    <a:lnTo>
                      <a:pt x="427" y="874"/>
                    </a:lnTo>
                    <a:lnTo>
                      <a:pt x="410" y="869"/>
                    </a:lnTo>
                    <a:lnTo>
                      <a:pt x="389" y="862"/>
                    </a:lnTo>
                    <a:lnTo>
                      <a:pt x="373" y="854"/>
                    </a:lnTo>
                    <a:lnTo>
                      <a:pt x="357" y="846"/>
                    </a:lnTo>
                    <a:lnTo>
                      <a:pt x="343" y="838"/>
                    </a:lnTo>
                    <a:lnTo>
                      <a:pt x="329" y="830"/>
                    </a:lnTo>
                    <a:lnTo>
                      <a:pt x="316" y="821"/>
                    </a:lnTo>
                    <a:lnTo>
                      <a:pt x="301" y="815"/>
                    </a:lnTo>
                    <a:lnTo>
                      <a:pt x="293" y="813"/>
                    </a:lnTo>
                    <a:lnTo>
                      <a:pt x="285" y="811"/>
                    </a:lnTo>
                    <a:lnTo>
                      <a:pt x="277" y="810"/>
                    </a:lnTo>
                    <a:lnTo>
                      <a:pt x="267" y="810"/>
                    </a:lnTo>
                    <a:lnTo>
                      <a:pt x="247" y="811"/>
                    </a:lnTo>
                    <a:lnTo>
                      <a:pt x="227" y="812"/>
                    </a:lnTo>
                    <a:lnTo>
                      <a:pt x="209" y="815"/>
                    </a:lnTo>
                    <a:lnTo>
                      <a:pt x="192" y="819"/>
                    </a:lnTo>
                    <a:lnTo>
                      <a:pt x="175" y="825"/>
                    </a:lnTo>
                    <a:lnTo>
                      <a:pt x="159" y="831"/>
                    </a:lnTo>
                    <a:lnTo>
                      <a:pt x="144" y="838"/>
                    </a:lnTo>
                    <a:lnTo>
                      <a:pt x="128" y="845"/>
                    </a:lnTo>
                    <a:lnTo>
                      <a:pt x="98" y="863"/>
                    </a:lnTo>
                    <a:lnTo>
                      <a:pt x="67" y="882"/>
                    </a:lnTo>
                    <a:lnTo>
                      <a:pt x="35" y="902"/>
                    </a:lnTo>
                    <a:lnTo>
                      <a:pt x="0" y="924"/>
                    </a:lnTo>
                    <a:lnTo>
                      <a:pt x="0" y="924"/>
                    </a:lnTo>
                    <a:close/>
                  </a:path>
                </a:pathLst>
              </a:custGeom>
              <a:solidFill>
                <a:srgbClr val="67AF1E"/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Donetsk">
                <a:extLst>
                  <a:ext uri="{FF2B5EF4-FFF2-40B4-BE49-F238E27FC236}">
                    <a16:creationId xmlns:a16="http://schemas.microsoft.com/office/drawing/2014/main" id="{31D0FB7D-99C7-4F17-B223-EA506093E5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14283" y="3526381"/>
                <a:ext cx="1065950" cy="1455211"/>
              </a:xfrm>
              <a:custGeom>
                <a:avLst/>
                <a:gdLst>
                  <a:gd name="T0" fmla="*/ 258 w 2161"/>
                  <a:gd name="T1" fmla="*/ 965 h 3113"/>
                  <a:gd name="T2" fmla="*/ 213 w 2161"/>
                  <a:gd name="T3" fmla="*/ 1038 h 3113"/>
                  <a:gd name="T4" fmla="*/ 192 w 2161"/>
                  <a:gd name="T5" fmla="*/ 1200 h 3113"/>
                  <a:gd name="T6" fmla="*/ 323 w 2161"/>
                  <a:gd name="T7" fmla="*/ 1277 h 3113"/>
                  <a:gd name="T8" fmla="*/ 215 w 2161"/>
                  <a:gd name="T9" fmla="*/ 1551 h 3113"/>
                  <a:gd name="T10" fmla="*/ 83 w 2161"/>
                  <a:gd name="T11" fmla="*/ 1543 h 3113"/>
                  <a:gd name="T12" fmla="*/ 25 w 2161"/>
                  <a:gd name="T13" fmla="*/ 1658 h 3113"/>
                  <a:gd name="T14" fmla="*/ 96 w 2161"/>
                  <a:gd name="T15" fmla="*/ 1742 h 3113"/>
                  <a:gd name="T16" fmla="*/ 39 w 2161"/>
                  <a:gd name="T17" fmla="*/ 1846 h 3113"/>
                  <a:gd name="T18" fmla="*/ 142 w 2161"/>
                  <a:gd name="T19" fmla="*/ 1961 h 3113"/>
                  <a:gd name="T20" fmla="*/ 232 w 2161"/>
                  <a:gd name="T21" fmla="*/ 2137 h 3113"/>
                  <a:gd name="T22" fmla="*/ 471 w 2161"/>
                  <a:gd name="T23" fmla="*/ 2216 h 3113"/>
                  <a:gd name="T24" fmla="*/ 591 w 2161"/>
                  <a:gd name="T25" fmla="*/ 2360 h 3113"/>
                  <a:gd name="T26" fmla="*/ 540 w 2161"/>
                  <a:gd name="T27" fmla="*/ 2528 h 3113"/>
                  <a:gd name="T28" fmla="*/ 423 w 2161"/>
                  <a:gd name="T29" fmla="*/ 2564 h 3113"/>
                  <a:gd name="T30" fmla="*/ 407 w 2161"/>
                  <a:gd name="T31" fmla="*/ 2703 h 3113"/>
                  <a:gd name="T32" fmla="*/ 583 w 2161"/>
                  <a:gd name="T33" fmla="*/ 2839 h 3113"/>
                  <a:gd name="T34" fmla="*/ 585 w 2161"/>
                  <a:gd name="T35" fmla="*/ 2950 h 3113"/>
                  <a:gd name="T36" fmla="*/ 572 w 2161"/>
                  <a:gd name="T37" fmla="*/ 3066 h 3113"/>
                  <a:gd name="T38" fmla="*/ 700 w 2161"/>
                  <a:gd name="T39" fmla="*/ 3059 h 3113"/>
                  <a:gd name="T40" fmla="*/ 731 w 2161"/>
                  <a:gd name="T41" fmla="*/ 3077 h 3113"/>
                  <a:gd name="T42" fmla="*/ 876 w 2161"/>
                  <a:gd name="T43" fmla="*/ 2848 h 3113"/>
                  <a:gd name="T44" fmla="*/ 1060 w 2161"/>
                  <a:gd name="T45" fmla="*/ 2827 h 3113"/>
                  <a:gd name="T46" fmla="*/ 1181 w 2161"/>
                  <a:gd name="T47" fmla="*/ 2771 h 3113"/>
                  <a:gd name="T48" fmla="*/ 1351 w 2161"/>
                  <a:gd name="T49" fmla="*/ 2765 h 3113"/>
                  <a:gd name="T50" fmla="*/ 1403 w 2161"/>
                  <a:gd name="T51" fmla="*/ 2845 h 3113"/>
                  <a:gd name="T52" fmla="*/ 1474 w 2161"/>
                  <a:gd name="T53" fmla="*/ 2745 h 3113"/>
                  <a:gd name="T54" fmla="*/ 1463 w 2161"/>
                  <a:gd name="T55" fmla="*/ 2436 h 3113"/>
                  <a:gd name="T56" fmla="*/ 1507 w 2161"/>
                  <a:gd name="T57" fmla="*/ 2235 h 3113"/>
                  <a:gd name="T58" fmla="*/ 1523 w 2161"/>
                  <a:gd name="T59" fmla="*/ 2102 h 3113"/>
                  <a:gd name="T60" fmla="*/ 1714 w 2161"/>
                  <a:gd name="T61" fmla="*/ 2025 h 3113"/>
                  <a:gd name="T62" fmla="*/ 1804 w 2161"/>
                  <a:gd name="T63" fmla="*/ 1954 h 3113"/>
                  <a:gd name="T64" fmla="*/ 1912 w 2161"/>
                  <a:gd name="T65" fmla="*/ 1811 h 3113"/>
                  <a:gd name="T66" fmla="*/ 1989 w 2161"/>
                  <a:gd name="T67" fmla="*/ 1687 h 3113"/>
                  <a:gd name="T68" fmla="*/ 2157 w 2161"/>
                  <a:gd name="T69" fmla="*/ 1672 h 3113"/>
                  <a:gd name="T70" fmla="*/ 2117 w 2161"/>
                  <a:gd name="T71" fmla="*/ 1515 h 3113"/>
                  <a:gd name="T72" fmla="*/ 1956 w 2161"/>
                  <a:gd name="T73" fmla="*/ 1436 h 3113"/>
                  <a:gd name="T74" fmla="*/ 1901 w 2161"/>
                  <a:gd name="T75" fmla="*/ 1272 h 3113"/>
                  <a:gd name="T76" fmla="*/ 1618 w 2161"/>
                  <a:gd name="T77" fmla="*/ 1164 h 3113"/>
                  <a:gd name="T78" fmla="*/ 1539 w 2161"/>
                  <a:gd name="T79" fmla="*/ 1034 h 3113"/>
                  <a:gd name="T80" fmla="*/ 1446 w 2161"/>
                  <a:gd name="T81" fmla="*/ 955 h 3113"/>
                  <a:gd name="T82" fmla="*/ 1357 w 2161"/>
                  <a:gd name="T83" fmla="*/ 735 h 3113"/>
                  <a:gd name="T84" fmla="*/ 1396 w 2161"/>
                  <a:gd name="T85" fmla="*/ 622 h 3113"/>
                  <a:gd name="T86" fmla="*/ 1288 w 2161"/>
                  <a:gd name="T87" fmla="*/ 394 h 3113"/>
                  <a:gd name="T88" fmla="*/ 1140 w 2161"/>
                  <a:gd name="T89" fmla="*/ 361 h 3113"/>
                  <a:gd name="T90" fmla="*/ 1167 w 2161"/>
                  <a:gd name="T91" fmla="*/ 198 h 3113"/>
                  <a:gd name="T92" fmla="*/ 1092 w 2161"/>
                  <a:gd name="T93" fmla="*/ 125 h 3113"/>
                  <a:gd name="T94" fmla="*/ 918 w 2161"/>
                  <a:gd name="T95" fmla="*/ 12 h 3113"/>
                  <a:gd name="T96" fmla="*/ 728 w 2161"/>
                  <a:gd name="T97" fmla="*/ 3 h 3113"/>
                  <a:gd name="T98" fmla="*/ 655 w 2161"/>
                  <a:gd name="T99" fmla="*/ 83 h 3113"/>
                  <a:gd name="T100" fmla="*/ 683 w 2161"/>
                  <a:gd name="T101" fmla="*/ 175 h 3113"/>
                  <a:gd name="T102" fmla="*/ 670 w 2161"/>
                  <a:gd name="T103" fmla="*/ 260 h 3113"/>
                  <a:gd name="T104" fmla="*/ 583 w 2161"/>
                  <a:gd name="T105" fmla="*/ 336 h 3113"/>
                  <a:gd name="T106" fmla="*/ 509 w 2161"/>
                  <a:gd name="T107" fmla="*/ 471 h 3113"/>
                  <a:gd name="T108" fmla="*/ 403 w 2161"/>
                  <a:gd name="T109" fmla="*/ 532 h 3113"/>
                  <a:gd name="T110" fmla="*/ 354 w 2161"/>
                  <a:gd name="T111" fmla="*/ 625 h 3113"/>
                  <a:gd name="T112" fmla="*/ 294 w 2161"/>
                  <a:gd name="T113" fmla="*/ 644 h 3113"/>
                  <a:gd name="T114" fmla="*/ 182 w 2161"/>
                  <a:gd name="T115" fmla="*/ 640 h 3113"/>
                  <a:gd name="T116" fmla="*/ 86 w 2161"/>
                  <a:gd name="T117" fmla="*/ 645 h 3113"/>
                  <a:gd name="T118" fmla="*/ 114 w 2161"/>
                  <a:gd name="T119" fmla="*/ 843 h 3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161" h="3113">
                    <a:moveTo>
                      <a:pt x="114" y="843"/>
                    </a:moveTo>
                    <a:lnTo>
                      <a:pt x="141" y="863"/>
                    </a:lnTo>
                    <a:lnTo>
                      <a:pt x="163" y="881"/>
                    </a:lnTo>
                    <a:lnTo>
                      <a:pt x="174" y="891"/>
                    </a:lnTo>
                    <a:lnTo>
                      <a:pt x="184" y="901"/>
                    </a:lnTo>
                    <a:lnTo>
                      <a:pt x="194" y="912"/>
                    </a:lnTo>
                    <a:lnTo>
                      <a:pt x="205" y="926"/>
                    </a:lnTo>
                    <a:lnTo>
                      <a:pt x="215" y="934"/>
                    </a:lnTo>
                    <a:lnTo>
                      <a:pt x="224" y="940"/>
                    </a:lnTo>
                    <a:lnTo>
                      <a:pt x="233" y="946"/>
                    </a:lnTo>
                    <a:lnTo>
                      <a:pt x="244" y="952"/>
                    </a:lnTo>
                    <a:lnTo>
                      <a:pt x="252" y="958"/>
                    </a:lnTo>
                    <a:lnTo>
                      <a:pt x="258" y="965"/>
                    </a:lnTo>
                    <a:lnTo>
                      <a:pt x="261" y="969"/>
                    </a:lnTo>
                    <a:lnTo>
                      <a:pt x="263" y="973"/>
                    </a:lnTo>
                    <a:lnTo>
                      <a:pt x="264" y="978"/>
                    </a:lnTo>
                    <a:lnTo>
                      <a:pt x="265" y="985"/>
                    </a:lnTo>
                    <a:lnTo>
                      <a:pt x="264" y="994"/>
                    </a:lnTo>
                    <a:lnTo>
                      <a:pt x="261" y="1001"/>
                    </a:lnTo>
                    <a:lnTo>
                      <a:pt x="257" y="1008"/>
                    </a:lnTo>
                    <a:lnTo>
                      <a:pt x="251" y="1014"/>
                    </a:lnTo>
                    <a:lnTo>
                      <a:pt x="245" y="1020"/>
                    </a:lnTo>
                    <a:lnTo>
                      <a:pt x="237" y="1025"/>
                    </a:lnTo>
                    <a:lnTo>
                      <a:pt x="229" y="1030"/>
                    </a:lnTo>
                    <a:lnTo>
                      <a:pt x="221" y="1034"/>
                    </a:lnTo>
                    <a:lnTo>
                      <a:pt x="213" y="1038"/>
                    </a:lnTo>
                    <a:lnTo>
                      <a:pt x="205" y="1043"/>
                    </a:lnTo>
                    <a:lnTo>
                      <a:pt x="198" y="1049"/>
                    </a:lnTo>
                    <a:lnTo>
                      <a:pt x="191" y="1054"/>
                    </a:lnTo>
                    <a:lnTo>
                      <a:pt x="186" y="1060"/>
                    </a:lnTo>
                    <a:lnTo>
                      <a:pt x="182" y="1067"/>
                    </a:lnTo>
                    <a:lnTo>
                      <a:pt x="179" y="1074"/>
                    </a:lnTo>
                    <a:lnTo>
                      <a:pt x="178" y="1084"/>
                    </a:lnTo>
                    <a:lnTo>
                      <a:pt x="182" y="1093"/>
                    </a:lnTo>
                    <a:lnTo>
                      <a:pt x="187" y="1102"/>
                    </a:lnTo>
                    <a:lnTo>
                      <a:pt x="187" y="1179"/>
                    </a:lnTo>
                    <a:lnTo>
                      <a:pt x="188" y="1187"/>
                    </a:lnTo>
                    <a:lnTo>
                      <a:pt x="189" y="1194"/>
                    </a:lnTo>
                    <a:lnTo>
                      <a:pt x="192" y="1200"/>
                    </a:lnTo>
                    <a:lnTo>
                      <a:pt x="195" y="1207"/>
                    </a:lnTo>
                    <a:lnTo>
                      <a:pt x="200" y="1212"/>
                    </a:lnTo>
                    <a:lnTo>
                      <a:pt x="205" y="1216"/>
                    </a:lnTo>
                    <a:lnTo>
                      <a:pt x="212" y="1221"/>
                    </a:lnTo>
                    <a:lnTo>
                      <a:pt x="218" y="1224"/>
                    </a:lnTo>
                    <a:lnTo>
                      <a:pt x="248" y="1238"/>
                    </a:lnTo>
                    <a:lnTo>
                      <a:pt x="279" y="1251"/>
                    </a:lnTo>
                    <a:lnTo>
                      <a:pt x="294" y="1257"/>
                    </a:lnTo>
                    <a:lnTo>
                      <a:pt x="309" y="1263"/>
                    </a:lnTo>
                    <a:lnTo>
                      <a:pt x="315" y="1266"/>
                    </a:lnTo>
                    <a:lnTo>
                      <a:pt x="320" y="1272"/>
                    </a:lnTo>
                    <a:lnTo>
                      <a:pt x="321" y="1274"/>
                    </a:lnTo>
                    <a:lnTo>
                      <a:pt x="323" y="1277"/>
                    </a:lnTo>
                    <a:lnTo>
                      <a:pt x="323" y="1280"/>
                    </a:lnTo>
                    <a:lnTo>
                      <a:pt x="324" y="1284"/>
                    </a:lnTo>
                    <a:lnTo>
                      <a:pt x="323" y="1321"/>
                    </a:lnTo>
                    <a:lnTo>
                      <a:pt x="321" y="1354"/>
                    </a:lnTo>
                    <a:lnTo>
                      <a:pt x="319" y="1385"/>
                    </a:lnTo>
                    <a:lnTo>
                      <a:pt x="315" y="1415"/>
                    </a:lnTo>
                    <a:lnTo>
                      <a:pt x="312" y="1445"/>
                    </a:lnTo>
                    <a:lnTo>
                      <a:pt x="308" y="1477"/>
                    </a:lnTo>
                    <a:lnTo>
                      <a:pt x="303" y="1510"/>
                    </a:lnTo>
                    <a:lnTo>
                      <a:pt x="300" y="1546"/>
                    </a:lnTo>
                    <a:lnTo>
                      <a:pt x="251" y="1546"/>
                    </a:lnTo>
                    <a:lnTo>
                      <a:pt x="232" y="1547"/>
                    </a:lnTo>
                    <a:lnTo>
                      <a:pt x="215" y="1551"/>
                    </a:lnTo>
                    <a:lnTo>
                      <a:pt x="198" y="1555"/>
                    </a:lnTo>
                    <a:lnTo>
                      <a:pt x="179" y="1556"/>
                    </a:lnTo>
                    <a:lnTo>
                      <a:pt x="168" y="1555"/>
                    </a:lnTo>
                    <a:lnTo>
                      <a:pt x="160" y="1552"/>
                    </a:lnTo>
                    <a:lnTo>
                      <a:pt x="152" y="1549"/>
                    </a:lnTo>
                    <a:lnTo>
                      <a:pt x="144" y="1545"/>
                    </a:lnTo>
                    <a:lnTo>
                      <a:pt x="136" y="1541"/>
                    </a:lnTo>
                    <a:lnTo>
                      <a:pt x="128" y="1538"/>
                    </a:lnTo>
                    <a:lnTo>
                      <a:pt x="119" y="1535"/>
                    </a:lnTo>
                    <a:lnTo>
                      <a:pt x="110" y="1535"/>
                    </a:lnTo>
                    <a:lnTo>
                      <a:pt x="99" y="1536"/>
                    </a:lnTo>
                    <a:lnTo>
                      <a:pt x="91" y="1538"/>
                    </a:lnTo>
                    <a:lnTo>
                      <a:pt x="83" y="1543"/>
                    </a:lnTo>
                    <a:lnTo>
                      <a:pt x="77" y="1548"/>
                    </a:lnTo>
                    <a:lnTo>
                      <a:pt x="64" y="1563"/>
                    </a:lnTo>
                    <a:lnTo>
                      <a:pt x="53" y="1579"/>
                    </a:lnTo>
                    <a:lnTo>
                      <a:pt x="39" y="1596"/>
                    </a:lnTo>
                    <a:lnTo>
                      <a:pt x="26" y="1610"/>
                    </a:lnTo>
                    <a:lnTo>
                      <a:pt x="19" y="1618"/>
                    </a:lnTo>
                    <a:lnTo>
                      <a:pt x="13" y="1625"/>
                    </a:lnTo>
                    <a:lnTo>
                      <a:pt x="6" y="1633"/>
                    </a:lnTo>
                    <a:lnTo>
                      <a:pt x="0" y="1643"/>
                    </a:lnTo>
                    <a:lnTo>
                      <a:pt x="7" y="1646"/>
                    </a:lnTo>
                    <a:lnTo>
                      <a:pt x="15" y="1650"/>
                    </a:lnTo>
                    <a:lnTo>
                      <a:pt x="20" y="1654"/>
                    </a:lnTo>
                    <a:lnTo>
                      <a:pt x="25" y="1658"/>
                    </a:lnTo>
                    <a:lnTo>
                      <a:pt x="35" y="1667"/>
                    </a:lnTo>
                    <a:lnTo>
                      <a:pt x="48" y="1676"/>
                    </a:lnTo>
                    <a:lnTo>
                      <a:pt x="65" y="1687"/>
                    </a:lnTo>
                    <a:lnTo>
                      <a:pt x="83" y="1696"/>
                    </a:lnTo>
                    <a:lnTo>
                      <a:pt x="89" y="1702"/>
                    </a:lnTo>
                    <a:lnTo>
                      <a:pt x="95" y="1708"/>
                    </a:lnTo>
                    <a:lnTo>
                      <a:pt x="97" y="1713"/>
                    </a:lnTo>
                    <a:lnTo>
                      <a:pt x="98" y="1717"/>
                    </a:lnTo>
                    <a:lnTo>
                      <a:pt x="99" y="1721"/>
                    </a:lnTo>
                    <a:lnTo>
                      <a:pt x="99" y="1726"/>
                    </a:lnTo>
                    <a:lnTo>
                      <a:pt x="99" y="1732"/>
                    </a:lnTo>
                    <a:lnTo>
                      <a:pt x="98" y="1737"/>
                    </a:lnTo>
                    <a:lnTo>
                      <a:pt x="96" y="1742"/>
                    </a:lnTo>
                    <a:lnTo>
                      <a:pt x="94" y="1747"/>
                    </a:lnTo>
                    <a:lnTo>
                      <a:pt x="87" y="1756"/>
                    </a:lnTo>
                    <a:lnTo>
                      <a:pt x="80" y="1763"/>
                    </a:lnTo>
                    <a:lnTo>
                      <a:pt x="71" y="1770"/>
                    </a:lnTo>
                    <a:lnTo>
                      <a:pt x="63" y="1779"/>
                    </a:lnTo>
                    <a:lnTo>
                      <a:pt x="59" y="1783"/>
                    </a:lnTo>
                    <a:lnTo>
                      <a:pt x="56" y="1788"/>
                    </a:lnTo>
                    <a:lnTo>
                      <a:pt x="53" y="1793"/>
                    </a:lnTo>
                    <a:lnTo>
                      <a:pt x="50" y="1799"/>
                    </a:lnTo>
                    <a:lnTo>
                      <a:pt x="46" y="1812"/>
                    </a:lnTo>
                    <a:lnTo>
                      <a:pt x="43" y="1823"/>
                    </a:lnTo>
                    <a:lnTo>
                      <a:pt x="40" y="1835"/>
                    </a:lnTo>
                    <a:lnTo>
                      <a:pt x="39" y="1846"/>
                    </a:lnTo>
                    <a:lnTo>
                      <a:pt x="37" y="1869"/>
                    </a:lnTo>
                    <a:lnTo>
                      <a:pt x="33" y="1895"/>
                    </a:lnTo>
                    <a:lnTo>
                      <a:pt x="33" y="1895"/>
                    </a:lnTo>
                    <a:lnTo>
                      <a:pt x="53" y="1902"/>
                    </a:lnTo>
                    <a:lnTo>
                      <a:pt x="70" y="1908"/>
                    </a:lnTo>
                    <a:lnTo>
                      <a:pt x="87" y="1916"/>
                    </a:lnTo>
                    <a:lnTo>
                      <a:pt x="102" y="1924"/>
                    </a:lnTo>
                    <a:lnTo>
                      <a:pt x="110" y="1929"/>
                    </a:lnTo>
                    <a:lnTo>
                      <a:pt x="117" y="1935"/>
                    </a:lnTo>
                    <a:lnTo>
                      <a:pt x="123" y="1941"/>
                    </a:lnTo>
                    <a:lnTo>
                      <a:pt x="129" y="1947"/>
                    </a:lnTo>
                    <a:lnTo>
                      <a:pt x="135" y="1954"/>
                    </a:lnTo>
                    <a:lnTo>
                      <a:pt x="142" y="1961"/>
                    </a:lnTo>
                    <a:lnTo>
                      <a:pt x="147" y="1970"/>
                    </a:lnTo>
                    <a:lnTo>
                      <a:pt x="152" y="1978"/>
                    </a:lnTo>
                    <a:lnTo>
                      <a:pt x="159" y="1992"/>
                    </a:lnTo>
                    <a:lnTo>
                      <a:pt x="165" y="2006"/>
                    </a:lnTo>
                    <a:lnTo>
                      <a:pt x="170" y="2019"/>
                    </a:lnTo>
                    <a:lnTo>
                      <a:pt x="176" y="2034"/>
                    </a:lnTo>
                    <a:lnTo>
                      <a:pt x="186" y="2061"/>
                    </a:lnTo>
                    <a:lnTo>
                      <a:pt x="196" y="2085"/>
                    </a:lnTo>
                    <a:lnTo>
                      <a:pt x="201" y="2098"/>
                    </a:lnTo>
                    <a:lnTo>
                      <a:pt x="208" y="2109"/>
                    </a:lnTo>
                    <a:lnTo>
                      <a:pt x="215" y="2119"/>
                    </a:lnTo>
                    <a:lnTo>
                      <a:pt x="223" y="2129"/>
                    </a:lnTo>
                    <a:lnTo>
                      <a:pt x="232" y="2137"/>
                    </a:lnTo>
                    <a:lnTo>
                      <a:pt x="244" y="2144"/>
                    </a:lnTo>
                    <a:lnTo>
                      <a:pt x="256" y="2150"/>
                    </a:lnTo>
                    <a:lnTo>
                      <a:pt x="269" y="2156"/>
                    </a:lnTo>
                    <a:lnTo>
                      <a:pt x="302" y="2164"/>
                    </a:lnTo>
                    <a:lnTo>
                      <a:pt x="333" y="2170"/>
                    </a:lnTo>
                    <a:lnTo>
                      <a:pt x="362" y="2176"/>
                    </a:lnTo>
                    <a:lnTo>
                      <a:pt x="390" y="2183"/>
                    </a:lnTo>
                    <a:lnTo>
                      <a:pt x="403" y="2187"/>
                    </a:lnTo>
                    <a:lnTo>
                      <a:pt x="417" y="2192"/>
                    </a:lnTo>
                    <a:lnTo>
                      <a:pt x="430" y="2196"/>
                    </a:lnTo>
                    <a:lnTo>
                      <a:pt x="444" y="2202"/>
                    </a:lnTo>
                    <a:lnTo>
                      <a:pt x="457" y="2208"/>
                    </a:lnTo>
                    <a:lnTo>
                      <a:pt x="471" y="2216"/>
                    </a:lnTo>
                    <a:lnTo>
                      <a:pt x="484" y="2226"/>
                    </a:lnTo>
                    <a:lnTo>
                      <a:pt x="498" y="2235"/>
                    </a:lnTo>
                    <a:lnTo>
                      <a:pt x="530" y="2258"/>
                    </a:lnTo>
                    <a:lnTo>
                      <a:pt x="561" y="2278"/>
                    </a:lnTo>
                    <a:lnTo>
                      <a:pt x="567" y="2285"/>
                    </a:lnTo>
                    <a:lnTo>
                      <a:pt x="574" y="2290"/>
                    </a:lnTo>
                    <a:lnTo>
                      <a:pt x="579" y="2296"/>
                    </a:lnTo>
                    <a:lnTo>
                      <a:pt x="584" y="2303"/>
                    </a:lnTo>
                    <a:lnTo>
                      <a:pt x="587" y="2310"/>
                    </a:lnTo>
                    <a:lnTo>
                      <a:pt x="590" y="2319"/>
                    </a:lnTo>
                    <a:lnTo>
                      <a:pt x="592" y="2327"/>
                    </a:lnTo>
                    <a:lnTo>
                      <a:pt x="592" y="2337"/>
                    </a:lnTo>
                    <a:lnTo>
                      <a:pt x="591" y="2360"/>
                    </a:lnTo>
                    <a:lnTo>
                      <a:pt x="589" y="2381"/>
                    </a:lnTo>
                    <a:lnTo>
                      <a:pt x="585" y="2399"/>
                    </a:lnTo>
                    <a:lnTo>
                      <a:pt x="580" y="2418"/>
                    </a:lnTo>
                    <a:lnTo>
                      <a:pt x="575" y="2436"/>
                    </a:lnTo>
                    <a:lnTo>
                      <a:pt x="570" y="2455"/>
                    </a:lnTo>
                    <a:lnTo>
                      <a:pt x="564" y="2476"/>
                    </a:lnTo>
                    <a:lnTo>
                      <a:pt x="559" y="2497"/>
                    </a:lnTo>
                    <a:lnTo>
                      <a:pt x="558" y="2505"/>
                    </a:lnTo>
                    <a:lnTo>
                      <a:pt x="555" y="2510"/>
                    </a:lnTo>
                    <a:lnTo>
                      <a:pt x="552" y="2516"/>
                    </a:lnTo>
                    <a:lnTo>
                      <a:pt x="549" y="2520"/>
                    </a:lnTo>
                    <a:lnTo>
                      <a:pt x="545" y="2524"/>
                    </a:lnTo>
                    <a:lnTo>
                      <a:pt x="540" y="2528"/>
                    </a:lnTo>
                    <a:lnTo>
                      <a:pt x="534" y="2531"/>
                    </a:lnTo>
                    <a:lnTo>
                      <a:pt x="528" y="2535"/>
                    </a:lnTo>
                    <a:lnTo>
                      <a:pt x="516" y="2539"/>
                    </a:lnTo>
                    <a:lnTo>
                      <a:pt x="502" y="2542"/>
                    </a:lnTo>
                    <a:lnTo>
                      <a:pt x="489" y="2544"/>
                    </a:lnTo>
                    <a:lnTo>
                      <a:pt x="475" y="2545"/>
                    </a:lnTo>
                    <a:lnTo>
                      <a:pt x="457" y="2546"/>
                    </a:lnTo>
                    <a:lnTo>
                      <a:pt x="441" y="2549"/>
                    </a:lnTo>
                    <a:lnTo>
                      <a:pt x="433" y="2552"/>
                    </a:lnTo>
                    <a:lnTo>
                      <a:pt x="428" y="2556"/>
                    </a:lnTo>
                    <a:lnTo>
                      <a:pt x="426" y="2558"/>
                    </a:lnTo>
                    <a:lnTo>
                      <a:pt x="424" y="2561"/>
                    </a:lnTo>
                    <a:lnTo>
                      <a:pt x="423" y="2564"/>
                    </a:lnTo>
                    <a:lnTo>
                      <a:pt x="423" y="2569"/>
                    </a:lnTo>
                    <a:lnTo>
                      <a:pt x="424" y="2580"/>
                    </a:lnTo>
                    <a:lnTo>
                      <a:pt x="427" y="2589"/>
                    </a:lnTo>
                    <a:lnTo>
                      <a:pt x="430" y="2600"/>
                    </a:lnTo>
                    <a:lnTo>
                      <a:pt x="432" y="2610"/>
                    </a:lnTo>
                    <a:lnTo>
                      <a:pt x="432" y="2619"/>
                    </a:lnTo>
                    <a:lnTo>
                      <a:pt x="432" y="2627"/>
                    </a:lnTo>
                    <a:lnTo>
                      <a:pt x="431" y="2636"/>
                    </a:lnTo>
                    <a:lnTo>
                      <a:pt x="430" y="2644"/>
                    </a:lnTo>
                    <a:lnTo>
                      <a:pt x="424" y="2659"/>
                    </a:lnTo>
                    <a:lnTo>
                      <a:pt x="418" y="2674"/>
                    </a:lnTo>
                    <a:lnTo>
                      <a:pt x="412" y="2687"/>
                    </a:lnTo>
                    <a:lnTo>
                      <a:pt x="407" y="2703"/>
                    </a:lnTo>
                    <a:lnTo>
                      <a:pt x="450" y="2725"/>
                    </a:lnTo>
                    <a:lnTo>
                      <a:pt x="488" y="2745"/>
                    </a:lnTo>
                    <a:lnTo>
                      <a:pt x="497" y="2750"/>
                    </a:lnTo>
                    <a:lnTo>
                      <a:pt x="506" y="2757"/>
                    </a:lnTo>
                    <a:lnTo>
                      <a:pt x="514" y="2763"/>
                    </a:lnTo>
                    <a:lnTo>
                      <a:pt x="522" y="2770"/>
                    </a:lnTo>
                    <a:lnTo>
                      <a:pt x="530" y="2778"/>
                    </a:lnTo>
                    <a:lnTo>
                      <a:pt x="538" y="2786"/>
                    </a:lnTo>
                    <a:lnTo>
                      <a:pt x="545" y="2797"/>
                    </a:lnTo>
                    <a:lnTo>
                      <a:pt x="552" y="2807"/>
                    </a:lnTo>
                    <a:lnTo>
                      <a:pt x="562" y="2820"/>
                    </a:lnTo>
                    <a:lnTo>
                      <a:pt x="573" y="2830"/>
                    </a:lnTo>
                    <a:lnTo>
                      <a:pt x="583" y="2839"/>
                    </a:lnTo>
                    <a:lnTo>
                      <a:pt x="593" y="2848"/>
                    </a:lnTo>
                    <a:lnTo>
                      <a:pt x="603" y="2859"/>
                    </a:lnTo>
                    <a:lnTo>
                      <a:pt x="610" y="2869"/>
                    </a:lnTo>
                    <a:lnTo>
                      <a:pt x="612" y="2875"/>
                    </a:lnTo>
                    <a:lnTo>
                      <a:pt x="614" y="2881"/>
                    </a:lnTo>
                    <a:lnTo>
                      <a:pt x="616" y="2889"/>
                    </a:lnTo>
                    <a:lnTo>
                      <a:pt x="616" y="2897"/>
                    </a:lnTo>
                    <a:lnTo>
                      <a:pt x="615" y="2905"/>
                    </a:lnTo>
                    <a:lnTo>
                      <a:pt x="614" y="2912"/>
                    </a:lnTo>
                    <a:lnTo>
                      <a:pt x="611" y="2920"/>
                    </a:lnTo>
                    <a:lnTo>
                      <a:pt x="607" y="2927"/>
                    </a:lnTo>
                    <a:lnTo>
                      <a:pt x="596" y="2938"/>
                    </a:lnTo>
                    <a:lnTo>
                      <a:pt x="585" y="2950"/>
                    </a:lnTo>
                    <a:lnTo>
                      <a:pt x="574" y="2961"/>
                    </a:lnTo>
                    <a:lnTo>
                      <a:pt x="564" y="2972"/>
                    </a:lnTo>
                    <a:lnTo>
                      <a:pt x="560" y="2980"/>
                    </a:lnTo>
                    <a:lnTo>
                      <a:pt x="557" y="2987"/>
                    </a:lnTo>
                    <a:lnTo>
                      <a:pt x="555" y="2994"/>
                    </a:lnTo>
                    <a:lnTo>
                      <a:pt x="555" y="3002"/>
                    </a:lnTo>
                    <a:lnTo>
                      <a:pt x="555" y="3012"/>
                    </a:lnTo>
                    <a:lnTo>
                      <a:pt x="557" y="3020"/>
                    </a:lnTo>
                    <a:lnTo>
                      <a:pt x="559" y="3027"/>
                    </a:lnTo>
                    <a:lnTo>
                      <a:pt x="561" y="3034"/>
                    </a:lnTo>
                    <a:lnTo>
                      <a:pt x="567" y="3049"/>
                    </a:lnTo>
                    <a:lnTo>
                      <a:pt x="572" y="3066"/>
                    </a:lnTo>
                    <a:lnTo>
                      <a:pt x="572" y="3066"/>
                    </a:lnTo>
                    <a:lnTo>
                      <a:pt x="586" y="3056"/>
                    </a:lnTo>
                    <a:lnTo>
                      <a:pt x="599" y="3048"/>
                    </a:lnTo>
                    <a:lnTo>
                      <a:pt x="607" y="3045"/>
                    </a:lnTo>
                    <a:lnTo>
                      <a:pt x="615" y="3042"/>
                    </a:lnTo>
                    <a:lnTo>
                      <a:pt x="623" y="3039"/>
                    </a:lnTo>
                    <a:lnTo>
                      <a:pt x="632" y="3039"/>
                    </a:lnTo>
                    <a:lnTo>
                      <a:pt x="644" y="3041"/>
                    </a:lnTo>
                    <a:lnTo>
                      <a:pt x="653" y="3044"/>
                    </a:lnTo>
                    <a:lnTo>
                      <a:pt x="663" y="3047"/>
                    </a:lnTo>
                    <a:lnTo>
                      <a:pt x="674" y="3050"/>
                    </a:lnTo>
                    <a:lnTo>
                      <a:pt x="685" y="3053"/>
                    </a:lnTo>
                    <a:lnTo>
                      <a:pt x="696" y="3057"/>
                    </a:lnTo>
                    <a:lnTo>
                      <a:pt x="700" y="3059"/>
                    </a:lnTo>
                    <a:lnTo>
                      <a:pt x="704" y="3063"/>
                    </a:lnTo>
                    <a:lnTo>
                      <a:pt x="706" y="3067"/>
                    </a:lnTo>
                    <a:lnTo>
                      <a:pt x="707" y="3073"/>
                    </a:lnTo>
                    <a:lnTo>
                      <a:pt x="707" y="3092"/>
                    </a:lnTo>
                    <a:lnTo>
                      <a:pt x="708" y="3098"/>
                    </a:lnTo>
                    <a:lnTo>
                      <a:pt x="709" y="3105"/>
                    </a:lnTo>
                    <a:lnTo>
                      <a:pt x="713" y="3109"/>
                    </a:lnTo>
                    <a:lnTo>
                      <a:pt x="717" y="3113"/>
                    </a:lnTo>
                    <a:lnTo>
                      <a:pt x="721" y="3107"/>
                    </a:lnTo>
                    <a:lnTo>
                      <a:pt x="724" y="3100"/>
                    </a:lnTo>
                    <a:lnTo>
                      <a:pt x="726" y="3094"/>
                    </a:lnTo>
                    <a:lnTo>
                      <a:pt x="727" y="3088"/>
                    </a:lnTo>
                    <a:lnTo>
                      <a:pt x="731" y="3077"/>
                    </a:lnTo>
                    <a:lnTo>
                      <a:pt x="737" y="3063"/>
                    </a:lnTo>
                    <a:lnTo>
                      <a:pt x="752" y="3028"/>
                    </a:lnTo>
                    <a:lnTo>
                      <a:pt x="766" y="2998"/>
                    </a:lnTo>
                    <a:lnTo>
                      <a:pt x="781" y="2968"/>
                    </a:lnTo>
                    <a:lnTo>
                      <a:pt x="799" y="2934"/>
                    </a:lnTo>
                    <a:lnTo>
                      <a:pt x="808" y="2921"/>
                    </a:lnTo>
                    <a:lnTo>
                      <a:pt x="817" y="2908"/>
                    </a:lnTo>
                    <a:lnTo>
                      <a:pt x="825" y="2896"/>
                    </a:lnTo>
                    <a:lnTo>
                      <a:pt x="835" y="2886"/>
                    </a:lnTo>
                    <a:lnTo>
                      <a:pt x="845" y="2875"/>
                    </a:lnTo>
                    <a:lnTo>
                      <a:pt x="854" y="2865"/>
                    </a:lnTo>
                    <a:lnTo>
                      <a:pt x="864" y="2857"/>
                    </a:lnTo>
                    <a:lnTo>
                      <a:pt x="876" y="2848"/>
                    </a:lnTo>
                    <a:lnTo>
                      <a:pt x="887" y="2842"/>
                    </a:lnTo>
                    <a:lnTo>
                      <a:pt x="900" y="2836"/>
                    </a:lnTo>
                    <a:lnTo>
                      <a:pt x="912" y="2831"/>
                    </a:lnTo>
                    <a:lnTo>
                      <a:pt x="924" y="2827"/>
                    </a:lnTo>
                    <a:lnTo>
                      <a:pt x="938" y="2823"/>
                    </a:lnTo>
                    <a:lnTo>
                      <a:pt x="952" y="2821"/>
                    </a:lnTo>
                    <a:lnTo>
                      <a:pt x="968" y="2820"/>
                    </a:lnTo>
                    <a:lnTo>
                      <a:pt x="983" y="2818"/>
                    </a:lnTo>
                    <a:lnTo>
                      <a:pt x="1002" y="2820"/>
                    </a:lnTo>
                    <a:lnTo>
                      <a:pt x="1017" y="2823"/>
                    </a:lnTo>
                    <a:lnTo>
                      <a:pt x="1034" y="2826"/>
                    </a:lnTo>
                    <a:lnTo>
                      <a:pt x="1052" y="2827"/>
                    </a:lnTo>
                    <a:lnTo>
                      <a:pt x="1060" y="2827"/>
                    </a:lnTo>
                    <a:lnTo>
                      <a:pt x="1068" y="2825"/>
                    </a:lnTo>
                    <a:lnTo>
                      <a:pt x="1075" y="2822"/>
                    </a:lnTo>
                    <a:lnTo>
                      <a:pt x="1081" y="2817"/>
                    </a:lnTo>
                    <a:lnTo>
                      <a:pt x="1093" y="2808"/>
                    </a:lnTo>
                    <a:lnTo>
                      <a:pt x="1105" y="2796"/>
                    </a:lnTo>
                    <a:lnTo>
                      <a:pt x="1114" y="2790"/>
                    </a:lnTo>
                    <a:lnTo>
                      <a:pt x="1122" y="2783"/>
                    </a:lnTo>
                    <a:lnTo>
                      <a:pt x="1131" y="2779"/>
                    </a:lnTo>
                    <a:lnTo>
                      <a:pt x="1140" y="2776"/>
                    </a:lnTo>
                    <a:lnTo>
                      <a:pt x="1149" y="2774"/>
                    </a:lnTo>
                    <a:lnTo>
                      <a:pt x="1159" y="2772"/>
                    </a:lnTo>
                    <a:lnTo>
                      <a:pt x="1170" y="2772"/>
                    </a:lnTo>
                    <a:lnTo>
                      <a:pt x="1181" y="2771"/>
                    </a:lnTo>
                    <a:lnTo>
                      <a:pt x="1206" y="2771"/>
                    </a:lnTo>
                    <a:lnTo>
                      <a:pt x="1218" y="2778"/>
                    </a:lnTo>
                    <a:lnTo>
                      <a:pt x="1231" y="2784"/>
                    </a:lnTo>
                    <a:lnTo>
                      <a:pt x="1243" y="2778"/>
                    </a:lnTo>
                    <a:lnTo>
                      <a:pt x="1256" y="2770"/>
                    </a:lnTo>
                    <a:lnTo>
                      <a:pt x="1312" y="2782"/>
                    </a:lnTo>
                    <a:lnTo>
                      <a:pt x="1320" y="2777"/>
                    </a:lnTo>
                    <a:lnTo>
                      <a:pt x="1327" y="2771"/>
                    </a:lnTo>
                    <a:lnTo>
                      <a:pt x="1331" y="2768"/>
                    </a:lnTo>
                    <a:lnTo>
                      <a:pt x="1334" y="2766"/>
                    </a:lnTo>
                    <a:lnTo>
                      <a:pt x="1339" y="2764"/>
                    </a:lnTo>
                    <a:lnTo>
                      <a:pt x="1343" y="2763"/>
                    </a:lnTo>
                    <a:lnTo>
                      <a:pt x="1351" y="2765"/>
                    </a:lnTo>
                    <a:lnTo>
                      <a:pt x="1358" y="2767"/>
                    </a:lnTo>
                    <a:lnTo>
                      <a:pt x="1366" y="2771"/>
                    </a:lnTo>
                    <a:lnTo>
                      <a:pt x="1373" y="2775"/>
                    </a:lnTo>
                    <a:lnTo>
                      <a:pt x="1384" y="2780"/>
                    </a:lnTo>
                    <a:lnTo>
                      <a:pt x="1395" y="2786"/>
                    </a:lnTo>
                    <a:lnTo>
                      <a:pt x="1399" y="2790"/>
                    </a:lnTo>
                    <a:lnTo>
                      <a:pt x="1402" y="2794"/>
                    </a:lnTo>
                    <a:lnTo>
                      <a:pt x="1404" y="2799"/>
                    </a:lnTo>
                    <a:lnTo>
                      <a:pt x="1405" y="2804"/>
                    </a:lnTo>
                    <a:lnTo>
                      <a:pt x="1404" y="2813"/>
                    </a:lnTo>
                    <a:lnTo>
                      <a:pt x="1403" y="2822"/>
                    </a:lnTo>
                    <a:lnTo>
                      <a:pt x="1403" y="2834"/>
                    </a:lnTo>
                    <a:lnTo>
                      <a:pt x="1403" y="2845"/>
                    </a:lnTo>
                    <a:lnTo>
                      <a:pt x="1405" y="2847"/>
                    </a:lnTo>
                    <a:lnTo>
                      <a:pt x="1408" y="2848"/>
                    </a:lnTo>
                    <a:lnTo>
                      <a:pt x="1413" y="2847"/>
                    </a:lnTo>
                    <a:lnTo>
                      <a:pt x="1417" y="2844"/>
                    </a:lnTo>
                    <a:lnTo>
                      <a:pt x="1420" y="2840"/>
                    </a:lnTo>
                    <a:lnTo>
                      <a:pt x="1422" y="2836"/>
                    </a:lnTo>
                    <a:lnTo>
                      <a:pt x="1426" y="2825"/>
                    </a:lnTo>
                    <a:lnTo>
                      <a:pt x="1431" y="2812"/>
                    </a:lnTo>
                    <a:lnTo>
                      <a:pt x="1440" y="2797"/>
                    </a:lnTo>
                    <a:lnTo>
                      <a:pt x="1449" y="2782"/>
                    </a:lnTo>
                    <a:lnTo>
                      <a:pt x="1457" y="2768"/>
                    </a:lnTo>
                    <a:lnTo>
                      <a:pt x="1469" y="2752"/>
                    </a:lnTo>
                    <a:lnTo>
                      <a:pt x="1474" y="2745"/>
                    </a:lnTo>
                    <a:lnTo>
                      <a:pt x="1480" y="2738"/>
                    </a:lnTo>
                    <a:lnTo>
                      <a:pt x="1486" y="2733"/>
                    </a:lnTo>
                    <a:lnTo>
                      <a:pt x="1494" y="2728"/>
                    </a:lnTo>
                    <a:lnTo>
                      <a:pt x="1494" y="2728"/>
                    </a:lnTo>
                    <a:lnTo>
                      <a:pt x="1488" y="2689"/>
                    </a:lnTo>
                    <a:lnTo>
                      <a:pt x="1483" y="2653"/>
                    </a:lnTo>
                    <a:lnTo>
                      <a:pt x="1478" y="2620"/>
                    </a:lnTo>
                    <a:lnTo>
                      <a:pt x="1473" y="2589"/>
                    </a:lnTo>
                    <a:lnTo>
                      <a:pt x="1469" y="2557"/>
                    </a:lnTo>
                    <a:lnTo>
                      <a:pt x="1466" y="2524"/>
                    </a:lnTo>
                    <a:lnTo>
                      <a:pt x="1464" y="2488"/>
                    </a:lnTo>
                    <a:lnTo>
                      <a:pt x="1463" y="2449"/>
                    </a:lnTo>
                    <a:lnTo>
                      <a:pt x="1463" y="2436"/>
                    </a:lnTo>
                    <a:lnTo>
                      <a:pt x="1465" y="2424"/>
                    </a:lnTo>
                    <a:lnTo>
                      <a:pt x="1467" y="2413"/>
                    </a:lnTo>
                    <a:lnTo>
                      <a:pt x="1470" y="2402"/>
                    </a:lnTo>
                    <a:lnTo>
                      <a:pt x="1477" y="2382"/>
                    </a:lnTo>
                    <a:lnTo>
                      <a:pt x="1486" y="2362"/>
                    </a:lnTo>
                    <a:lnTo>
                      <a:pt x="1495" y="2342"/>
                    </a:lnTo>
                    <a:lnTo>
                      <a:pt x="1502" y="2323"/>
                    </a:lnTo>
                    <a:lnTo>
                      <a:pt x="1505" y="2311"/>
                    </a:lnTo>
                    <a:lnTo>
                      <a:pt x="1508" y="2300"/>
                    </a:lnTo>
                    <a:lnTo>
                      <a:pt x="1509" y="2289"/>
                    </a:lnTo>
                    <a:lnTo>
                      <a:pt x="1510" y="2275"/>
                    </a:lnTo>
                    <a:lnTo>
                      <a:pt x="1509" y="2255"/>
                    </a:lnTo>
                    <a:lnTo>
                      <a:pt x="1507" y="2235"/>
                    </a:lnTo>
                    <a:lnTo>
                      <a:pt x="1505" y="2217"/>
                    </a:lnTo>
                    <a:lnTo>
                      <a:pt x="1503" y="2200"/>
                    </a:lnTo>
                    <a:lnTo>
                      <a:pt x="1500" y="2182"/>
                    </a:lnTo>
                    <a:lnTo>
                      <a:pt x="1498" y="2164"/>
                    </a:lnTo>
                    <a:lnTo>
                      <a:pt x="1496" y="2144"/>
                    </a:lnTo>
                    <a:lnTo>
                      <a:pt x="1496" y="2124"/>
                    </a:lnTo>
                    <a:lnTo>
                      <a:pt x="1496" y="2119"/>
                    </a:lnTo>
                    <a:lnTo>
                      <a:pt x="1497" y="2115"/>
                    </a:lnTo>
                    <a:lnTo>
                      <a:pt x="1499" y="2113"/>
                    </a:lnTo>
                    <a:lnTo>
                      <a:pt x="1501" y="2110"/>
                    </a:lnTo>
                    <a:lnTo>
                      <a:pt x="1507" y="2107"/>
                    </a:lnTo>
                    <a:lnTo>
                      <a:pt x="1515" y="2104"/>
                    </a:lnTo>
                    <a:lnTo>
                      <a:pt x="1523" y="2102"/>
                    </a:lnTo>
                    <a:lnTo>
                      <a:pt x="1533" y="2100"/>
                    </a:lnTo>
                    <a:lnTo>
                      <a:pt x="1541" y="2098"/>
                    </a:lnTo>
                    <a:lnTo>
                      <a:pt x="1549" y="2094"/>
                    </a:lnTo>
                    <a:lnTo>
                      <a:pt x="1572" y="2079"/>
                    </a:lnTo>
                    <a:lnTo>
                      <a:pt x="1591" y="2065"/>
                    </a:lnTo>
                    <a:lnTo>
                      <a:pt x="1601" y="2057"/>
                    </a:lnTo>
                    <a:lnTo>
                      <a:pt x="1611" y="2050"/>
                    </a:lnTo>
                    <a:lnTo>
                      <a:pt x="1621" y="2043"/>
                    </a:lnTo>
                    <a:lnTo>
                      <a:pt x="1635" y="2037"/>
                    </a:lnTo>
                    <a:lnTo>
                      <a:pt x="1656" y="2036"/>
                    </a:lnTo>
                    <a:lnTo>
                      <a:pt x="1676" y="2033"/>
                    </a:lnTo>
                    <a:lnTo>
                      <a:pt x="1696" y="2030"/>
                    </a:lnTo>
                    <a:lnTo>
                      <a:pt x="1714" y="2025"/>
                    </a:lnTo>
                    <a:lnTo>
                      <a:pt x="1722" y="2022"/>
                    </a:lnTo>
                    <a:lnTo>
                      <a:pt x="1731" y="2018"/>
                    </a:lnTo>
                    <a:lnTo>
                      <a:pt x="1740" y="2015"/>
                    </a:lnTo>
                    <a:lnTo>
                      <a:pt x="1748" y="2010"/>
                    </a:lnTo>
                    <a:lnTo>
                      <a:pt x="1756" y="2005"/>
                    </a:lnTo>
                    <a:lnTo>
                      <a:pt x="1765" y="2000"/>
                    </a:lnTo>
                    <a:lnTo>
                      <a:pt x="1773" y="1992"/>
                    </a:lnTo>
                    <a:lnTo>
                      <a:pt x="1780" y="1985"/>
                    </a:lnTo>
                    <a:lnTo>
                      <a:pt x="1788" y="1977"/>
                    </a:lnTo>
                    <a:lnTo>
                      <a:pt x="1794" y="1967"/>
                    </a:lnTo>
                    <a:lnTo>
                      <a:pt x="1797" y="1962"/>
                    </a:lnTo>
                    <a:lnTo>
                      <a:pt x="1800" y="1958"/>
                    </a:lnTo>
                    <a:lnTo>
                      <a:pt x="1804" y="1954"/>
                    </a:lnTo>
                    <a:lnTo>
                      <a:pt x="1809" y="1950"/>
                    </a:lnTo>
                    <a:lnTo>
                      <a:pt x="1834" y="1935"/>
                    </a:lnTo>
                    <a:lnTo>
                      <a:pt x="1857" y="1919"/>
                    </a:lnTo>
                    <a:lnTo>
                      <a:pt x="1867" y="1912"/>
                    </a:lnTo>
                    <a:lnTo>
                      <a:pt x="1876" y="1903"/>
                    </a:lnTo>
                    <a:lnTo>
                      <a:pt x="1885" y="1891"/>
                    </a:lnTo>
                    <a:lnTo>
                      <a:pt x="1894" y="1879"/>
                    </a:lnTo>
                    <a:lnTo>
                      <a:pt x="1899" y="1871"/>
                    </a:lnTo>
                    <a:lnTo>
                      <a:pt x="1903" y="1861"/>
                    </a:lnTo>
                    <a:lnTo>
                      <a:pt x="1906" y="1853"/>
                    </a:lnTo>
                    <a:lnTo>
                      <a:pt x="1908" y="1845"/>
                    </a:lnTo>
                    <a:lnTo>
                      <a:pt x="1911" y="1827"/>
                    </a:lnTo>
                    <a:lnTo>
                      <a:pt x="1912" y="1811"/>
                    </a:lnTo>
                    <a:lnTo>
                      <a:pt x="1913" y="1793"/>
                    </a:lnTo>
                    <a:lnTo>
                      <a:pt x="1915" y="1776"/>
                    </a:lnTo>
                    <a:lnTo>
                      <a:pt x="1917" y="1767"/>
                    </a:lnTo>
                    <a:lnTo>
                      <a:pt x="1919" y="1758"/>
                    </a:lnTo>
                    <a:lnTo>
                      <a:pt x="1923" y="1749"/>
                    </a:lnTo>
                    <a:lnTo>
                      <a:pt x="1927" y="1739"/>
                    </a:lnTo>
                    <a:lnTo>
                      <a:pt x="1933" y="1728"/>
                    </a:lnTo>
                    <a:lnTo>
                      <a:pt x="1941" y="1719"/>
                    </a:lnTo>
                    <a:lnTo>
                      <a:pt x="1949" y="1709"/>
                    </a:lnTo>
                    <a:lnTo>
                      <a:pt x="1958" y="1702"/>
                    </a:lnTo>
                    <a:lnTo>
                      <a:pt x="1968" y="1696"/>
                    </a:lnTo>
                    <a:lnTo>
                      <a:pt x="1978" y="1691"/>
                    </a:lnTo>
                    <a:lnTo>
                      <a:pt x="1989" y="1687"/>
                    </a:lnTo>
                    <a:lnTo>
                      <a:pt x="2000" y="1684"/>
                    </a:lnTo>
                    <a:lnTo>
                      <a:pt x="2012" y="1681"/>
                    </a:lnTo>
                    <a:lnTo>
                      <a:pt x="2025" y="1679"/>
                    </a:lnTo>
                    <a:lnTo>
                      <a:pt x="2037" y="1677"/>
                    </a:lnTo>
                    <a:lnTo>
                      <a:pt x="2049" y="1676"/>
                    </a:lnTo>
                    <a:lnTo>
                      <a:pt x="2076" y="1676"/>
                    </a:lnTo>
                    <a:lnTo>
                      <a:pt x="2104" y="1676"/>
                    </a:lnTo>
                    <a:lnTo>
                      <a:pt x="2119" y="1676"/>
                    </a:lnTo>
                    <a:lnTo>
                      <a:pt x="2134" y="1678"/>
                    </a:lnTo>
                    <a:lnTo>
                      <a:pt x="2147" y="1681"/>
                    </a:lnTo>
                    <a:lnTo>
                      <a:pt x="2161" y="1684"/>
                    </a:lnTo>
                    <a:lnTo>
                      <a:pt x="2161" y="1684"/>
                    </a:lnTo>
                    <a:lnTo>
                      <a:pt x="2157" y="1672"/>
                    </a:lnTo>
                    <a:lnTo>
                      <a:pt x="2154" y="1662"/>
                    </a:lnTo>
                    <a:lnTo>
                      <a:pt x="2151" y="1652"/>
                    </a:lnTo>
                    <a:lnTo>
                      <a:pt x="2149" y="1641"/>
                    </a:lnTo>
                    <a:lnTo>
                      <a:pt x="2147" y="1621"/>
                    </a:lnTo>
                    <a:lnTo>
                      <a:pt x="2146" y="1601"/>
                    </a:lnTo>
                    <a:lnTo>
                      <a:pt x="2144" y="1581"/>
                    </a:lnTo>
                    <a:lnTo>
                      <a:pt x="2141" y="1562"/>
                    </a:lnTo>
                    <a:lnTo>
                      <a:pt x="2139" y="1552"/>
                    </a:lnTo>
                    <a:lnTo>
                      <a:pt x="2135" y="1542"/>
                    </a:lnTo>
                    <a:lnTo>
                      <a:pt x="2131" y="1533"/>
                    </a:lnTo>
                    <a:lnTo>
                      <a:pt x="2125" y="1523"/>
                    </a:lnTo>
                    <a:lnTo>
                      <a:pt x="2122" y="1518"/>
                    </a:lnTo>
                    <a:lnTo>
                      <a:pt x="2117" y="1515"/>
                    </a:lnTo>
                    <a:lnTo>
                      <a:pt x="2112" y="1513"/>
                    </a:lnTo>
                    <a:lnTo>
                      <a:pt x="2107" y="1511"/>
                    </a:lnTo>
                    <a:lnTo>
                      <a:pt x="2096" y="1509"/>
                    </a:lnTo>
                    <a:lnTo>
                      <a:pt x="2084" y="1506"/>
                    </a:lnTo>
                    <a:lnTo>
                      <a:pt x="2063" y="1496"/>
                    </a:lnTo>
                    <a:lnTo>
                      <a:pt x="2043" y="1485"/>
                    </a:lnTo>
                    <a:lnTo>
                      <a:pt x="2025" y="1475"/>
                    </a:lnTo>
                    <a:lnTo>
                      <a:pt x="2002" y="1464"/>
                    </a:lnTo>
                    <a:lnTo>
                      <a:pt x="1985" y="1456"/>
                    </a:lnTo>
                    <a:lnTo>
                      <a:pt x="1970" y="1449"/>
                    </a:lnTo>
                    <a:lnTo>
                      <a:pt x="1963" y="1445"/>
                    </a:lnTo>
                    <a:lnTo>
                      <a:pt x="1958" y="1439"/>
                    </a:lnTo>
                    <a:lnTo>
                      <a:pt x="1956" y="1436"/>
                    </a:lnTo>
                    <a:lnTo>
                      <a:pt x="1954" y="1433"/>
                    </a:lnTo>
                    <a:lnTo>
                      <a:pt x="1953" y="1429"/>
                    </a:lnTo>
                    <a:lnTo>
                      <a:pt x="1953" y="1424"/>
                    </a:lnTo>
                    <a:lnTo>
                      <a:pt x="1953" y="1303"/>
                    </a:lnTo>
                    <a:lnTo>
                      <a:pt x="1952" y="1296"/>
                    </a:lnTo>
                    <a:lnTo>
                      <a:pt x="1951" y="1291"/>
                    </a:lnTo>
                    <a:lnTo>
                      <a:pt x="1949" y="1287"/>
                    </a:lnTo>
                    <a:lnTo>
                      <a:pt x="1945" y="1284"/>
                    </a:lnTo>
                    <a:lnTo>
                      <a:pt x="1942" y="1281"/>
                    </a:lnTo>
                    <a:lnTo>
                      <a:pt x="1937" y="1279"/>
                    </a:lnTo>
                    <a:lnTo>
                      <a:pt x="1932" y="1277"/>
                    </a:lnTo>
                    <a:lnTo>
                      <a:pt x="1927" y="1275"/>
                    </a:lnTo>
                    <a:lnTo>
                      <a:pt x="1901" y="1272"/>
                    </a:lnTo>
                    <a:lnTo>
                      <a:pt x="1875" y="1267"/>
                    </a:lnTo>
                    <a:lnTo>
                      <a:pt x="1839" y="1261"/>
                    </a:lnTo>
                    <a:lnTo>
                      <a:pt x="1807" y="1258"/>
                    </a:lnTo>
                    <a:lnTo>
                      <a:pt x="1792" y="1256"/>
                    </a:lnTo>
                    <a:lnTo>
                      <a:pt x="1775" y="1253"/>
                    </a:lnTo>
                    <a:lnTo>
                      <a:pt x="1759" y="1250"/>
                    </a:lnTo>
                    <a:lnTo>
                      <a:pt x="1741" y="1244"/>
                    </a:lnTo>
                    <a:lnTo>
                      <a:pt x="1721" y="1236"/>
                    </a:lnTo>
                    <a:lnTo>
                      <a:pt x="1705" y="1229"/>
                    </a:lnTo>
                    <a:lnTo>
                      <a:pt x="1689" y="1220"/>
                    </a:lnTo>
                    <a:lnTo>
                      <a:pt x="1676" y="1211"/>
                    </a:lnTo>
                    <a:lnTo>
                      <a:pt x="1648" y="1189"/>
                    </a:lnTo>
                    <a:lnTo>
                      <a:pt x="1618" y="1164"/>
                    </a:lnTo>
                    <a:lnTo>
                      <a:pt x="1589" y="1144"/>
                    </a:lnTo>
                    <a:lnTo>
                      <a:pt x="1564" y="1124"/>
                    </a:lnTo>
                    <a:lnTo>
                      <a:pt x="1558" y="1119"/>
                    </a:lnTo>
                    <a:lnTo>
                      <a:pt x="1553" y="1113"/>
                    </a:lnTo>
                    <a:lnTo>
                      <a:pt x="1549" y="1106"/>
                    </a:lnTo>
                    <a:lnTo>
                      <a:pt x="1545" y="1100"/>
                    </a:lnTo>
                    <a:lnTo>
                      <a:pt x="1542" y="1094"/>
                    </a:lnTo>
                    <a:lnTo>
                      <a:pt x="1540" y="1086"/>
                    </a:lnTo>
                    <a:lnTo>
                      <a:pt x="1538" y="1078"/>
                    </a:lnTo>
                    <a:lnTo>
                      <a:pt x="1538" y="1069"/>
                    </a:lnTo>
                    <a:lnTo>
                      <a:pt x="1538" y="1057"/>
                    </a:lnTo>
                    <a:lnTo>
                      <a:pt x="1538" y="1045"/>
                    </a:lnTo>
                    <a:lnTo>
                      <a:pt x="1539" y="1034"/>
                    </a:lnTo>
                    <a:lnTo>
                      <a:pt x="1541" y="1024"/>
                    </a:lnTo>
                    <a:lnTo>
                      <a:pt x="1543" y="1013"/>
                    </a:lnTo>
                    <a:lnTo>
                      <a:pt x="1546" y="1003"/>
                    </a:lnTo>
                    <a:lnTo>
                      <a:pt x="1551" y="993"/>
                    </a:lnTo>
                    <a:lnTo>
                      <a:pt x="1556" y="982"/>
                    </a:lnTo>
                    <a:lnTo>
                      <a:pt x="1554" y="972"/>
                    </a:lnTo>
                    <a:lnTo>
                      <a:pt x="1541" y="977"/>
                    </a:lnTo>
                    <a:lnTo>
                      <a:pt x="1528" y="980"/>
                    </a:lnTo>
                    <a:lnTo>
                      <a:pt x="1515" y="982"/>
                    </a:lnTo>
                    <a:lnTo>
                      <a:pt x="1504" y="983"/>
                    </a:lnTo>
                    <a:lnTo>
                      <a:pt x="1479" y="985"/>
                    </a:lnTo>
                    <a:lnTo>
                      <a:pt x="1450" y="985"/>
                    </a:lnTo>
                    <a:lnTo>
                      <a:pt x="1446" y="955"/>
                    </a:lnTo>
                    <a:lnTo>
                      <a:pt x="1441" y="928"/>
                    </a:lnTo>
                    <a:lnTo>
                      <a:pt x="1435" y="902"/>
                    </a:lnTo>
                    <a:lnTo>
                      <a:pt x="1428" y="878"/>
                    </a:lnTo>
                    <a:lnTo>
                      <a:pt x="1419" y="854"/>
                    </a:lnTo>
                    <a:lnTo>
                      <a:pt x="1409" y="831"/>
                    </a:lnTo>
                    <a:lnTo>
                      <a:pt x="1399" y="805"/>
                    </a:lnTo>
                    <a:lnTo>
                      <a:pt x="1387" y="777"/>
                    </a:lnTo>
                    <a:lnTo>
                      <a:pt x="1383" y="769"/>
                    </a:lnTo>
                    <a:lnTo>
                      <a:pt x="1378" y="761"/>
                    </a:lnTo>
                    <a:lnTo>
                      <a:pt x="1373" y="754"/>
                    </a:lnTo>
                    <a:lnTo>
                      <a:pt x="1367" y="748"/>
                    </a:lnTo>
                    <a:lnTo>
                      <a:pt x="1362" y="742"/>
                    </a:lnTo>
                    <a:lnTo>
                      <a:pt x="1357" y="735"/>
                    </a:lnTo>
                    <a:lnTo>
                      <a:pt x="1355" y="726"/>
                    </a:lnTo>
                    <a:lnTo>
                      <a:pt x="1354" y="718"/>
                    </a:lnTo>
                    <a:lnTo>
                      <a:pt x="1354" y="710"/>
                    </a:lnTo>
                    <a:lnTo>
                      <a:pt x="1355" y="703"/>
                    </a:lnTo>
                    <a:lnTo>
                      <a:pt x="1357" y="695"/>
                    </a:lnTo>
                    <a:lnTo>
                      <a:pt x="1360" y="689"/>
                    </a:lnTo>
                    <a:lnTo>
                      <a:pt x="1368" y="678"/>
                    </a:lnTo>
                    <a:lnTo>
                      <a:pt x="1375" y="666"/>
                    </a:lnTo>
                    <a:lnTo>
                      <a:pt x="1383" y="655"/>
                    </a:lnTo>
                    <a:lnTo>
                      <a:pt x="1389" y="643"/>
                    </a:lnTo>
                    <a:lnTo>
                      <a:pt x="1392" y="637"/>
                    </a:lnTo>
                    <a:lnTo>
                      <a:pt x="1395" y="629"/>
                    </a:lnTo>
                    <a:lnTo>
                      <a:pt x="1396" y="622"/>
                    </a:lnTo>
                    <a:lnTo>
                      <a:pt x="1397" y="615"/>
                    </a:lnTo>
                    <a:lnTo>
                      <a:pt x="1397" y="600"/>
                    </a:lnTo>
                    <a:lnTo>
                      <a:pt x="1397" y="586"/>
                    </a:lnTo>
                    <a:lnTo>
                      <a:pt x="1388" y="563"/>
                    </a:lnTo>
                    <a:lnTo>
                      <a:pt x="1380" y="544"/>
                    </a:lnTo>
                    <a:lnTo>
                      <a:pt x="1372" y="526"/>
                    </a:lnTo>
                    <a:lnTo>
                      <a:pt x="1362" y="508"/>
                    </a:lnTo>
                    <a:lnTo>
                      <a:pt x="1351" y="492"/>
                    </a:lnTo>
                    <a:lnTo>
                      <a:pt x="1340" y="475"/>
                    </a:lnTo>
                    <a:lnTo>
                      <a:pt x="1327" y="458"/>
                    </a:lnTo>
                    <a:lnTo>
                      <a:pt x="1314" y="439"/>
                    </a:lnTo>
                    <a:lnTo>
                      <a:pt x="1301" y="417"/>
                    </a:lnTo>
                    <a:lnTo>
                      <a:pt x="1288" y="394"/>
                    </a:lnTo>
                    <a:lnTo>
                      <a:pt x="1285" y="390"/>
                    </a:lnTo>
                    <a:lnTo>
                      <a:pt x="1282" y="385"/>
                    </a:lnTo>
                    <a:lnTo>
                      <a:pt x="1278" y="380"/>
                    </a:lnTo>
                    <a:lnTo>
                      <a:pt x="1274" y="377"/>
                    </a:lnTo>
                    <a:lnTo>
                      <a:pt x="1270" y="374"/>
                    </a:lnTo>
                    <a:lnTo>
                      <a:pt x="1265" y="372"/>
                    </a:lnTo>
                    <a:lnTo>
                      <a:pt x="1258" y="371"/>
                    </a:lnTo>
                    <a:lnTo>
                      <a:pt x="1252" y="371"/>
                    </a:lnTo>
                    <a:lnTo>
                      <a:pt x="1206" y="371"/>
                    </a:lnTo>
                    <a:lnTo>
                      <a:pt x="1188" y="370"/>
                    </a:lnTo>
                    <a:lnTo>
                      <a:pt x="1173" y="368"/>
                    </a:lnTo>
                    <a:lnTo>
                      <a:pt x="1157" y="365"/>
                    </a:lnTo>
                    <a:lnTo>
                      <a:pt x="1140" y="361"/>
                    </a:lnTo>
                    <a:lnTo>
                      <a:pt x="1120" y="366"/>
                    </a:lnTo>
                    <a:lnTo>
                      <a:pt x="1111" y="361"/>
                    </a:lnTo>
                    <a:lnTo>
                      <a:pt x="1113" y="341"/>
                    </a:lnTo>
                    <a:lnTo>
                      <a:pt x="1116" y="323"/>
                    </a:lnTo>
                    <a:lnTo>
                      <a:pt x="1119" y="306"/>
                    </a:lnTo>
                    <a:lnTo>
                      <a:pt x="1123" y="290"/>
                    </a:lnTo>
                    <a:lnTo>
                      <a:pt x="1135" y="258"/>
                    </a:lnTo>
                    <a:lnTo>
                      <a:pt x="1149" y="222"/>
                    </a:lnTo>
                    <a:lnTo>
                      <a:pt x="1151" y="216"/>
                    </a:lnTo>
                    <a:lnTo>
                      <a:pt x="1155" y="211"/>
                    </a:lnTo>
                    <a:lnTo>
                      <a:pt x="1159" y="207"/>
                    </a:lnTo>
                    <a:lnTo>
                      <a:pt x="1162" y="203"/>
                    </a:lnTo>
                    <a:lnTo>
                      <a:pt x="1167" y="198"/>
                    </a:lnTo>
                    <a:lnTo>
                      <a:pt x="1170" y="194"/>
                    </a:lnTo>
                    <a:lnTo>
                      <a:pt x="1172" y="188"/>
                    </a:lnTo>
                    <a:lnTo>
                      <a:pt x="1173" y="182"/>
                    </a:lnTo>
                    <a:lnTo>
                      <a:pt x="1172" y="175"/>
                    </a:lnTo>
                    <a:lnTo>
                      <a:pt x="1171" y="169"/>
                    </a:lnTo>
                    <a:lnTo>
                      <a:pt x="1168" y="164"/>
                    </a:lnTo>
                    <a:lnTo>
                      <a:pt x="1165" y="159"/>
                    </a:lnTo>
                    <a:lnTo>
                      <a:pt x="1160" y="155"/>
                    </a:lnTo>
                    <a:lnTo>
                      <a:pt x="1156" y="152"/>
                    </a:lnTo>
                    <a:lnTo>
                      <a:pt x="1151" y="149"/>
                    </a:lnTo>
                    <a:lnTo>
                      <a:pt x="1145" y="146"/>
                    </a:lnTo>
                    <a:lnTo>
                      <a:pt x="1119" y="137"/>
                    </a:lnTo>
                    <a:lnTo>
                      <a:pt x="1092" y="125"/>
                    </a:lnTo>
                    <a:lnTo>
                      <a:pt x="1082" y="119"/>
                    </a:lnTo>
                    <a:lnTo>
                      <a:pt x="1073" y="113"/>
                    </a:lnTo>
                    <a:lnTo>
                      <a:pt x="1065" y="107"/>
                    </a:lnTo>
                    <a:lnTo>
                      <a:pt x="1056" y="101"/>
                    </a:lnTo>
                    <a:lnTo>
                      <a:pt x="1042" y="87"/>
                    </a:lnTo>
                    <a:lnTo>
                      <a:pt x="1028" y="73"/>
                    </a:lnTo>
                    <a:lnTo>
                      <a:pt x="1015" y="58"/>
                    </a:lnTo>
                    <a:lnTo>
                      <a:pt x="1002" y="43"/>
                    </a:lnTo>
                    <a:lnTo>
                      <a:pt x="987" y="27"/>
                    </a:lnTo>
                    <a:lnTo>
                      <a:pt x="970" y="12"/>
                    </a:lnTo>
                    <a:lnTo>
                      <a:pt x="970" y="12"/>
                    </a:lnTo>
                    <a:lnTo>
                      <a:pt x="942" y="12"/>
                    </a:lnTo>
                    <a:lnTo>
                      <a:pt x="918" y="12"/>
                    </a:lnTo>
                    <a:lnTo>
                      <a:pt x="894" y="12"/>
                    </a:lnTo>
                    <a:lnTo>
                      <a:pt x="867" y="12"/>
                    </a:lnTo>
                    <a:lnTo>
                      <a:pt x="853" y="11"/>
                    </a:lnTo>
                    <a:lnTo>
                      <a:pt x="841" y="7"/>
                    </a:lnTo>
                    <a:lnTo>
                      <a:pt x="829" y="3"/>
                    </a:lnTo>
                    <a:lnTo>
                      <a:pt x="816" y="2"/>
                    </a:lnTo>
                    <a:lnTo>
                      <a:pt x="799" y="2"/>
                    </a:lnTo>
                    <a:lnTo>
                      <a:pt x="785" y="1"/>
                    </a:lnTo>
                    <a:lnTo>
                      <a:pt x="770" y="0"/>
                    </a:lnTo>
                    <a:lnTo>
                      <a:pt x="753" y="0"/>
                    </a:lnTo>
                    <a:lnTo>
                      <a:pt x="745" y="0"/>
                    </a:lnTo>
                    <a:lnTo>
                      <a:pt x="736" y="1"/>
                    </a:lnTo>
                    <a:lnTo>
                      <a:pt x="728" y="3"/>
                    </a:lnTo>
                    <a:lnTo>
                      <a:pt x="721" y="7"/>
                    </a:lnTo>
                    <a:lnTo>
                      <a:pt x="708" y="14"/>
                    </a:lnTo>
                    <a:lnTo>
                      <a:pt x="695" y="23"/>
                    </a:lnTo>
                    <a:lnTo>
                      <a:pt x="683" y="32"/>
                    </a:lnTo>
                    <a:lnTo>
                      <a:pt x="671" y="43"/>
                    </a:lnTo>
                    <a:lnTo>
                      <a:pt x="663" y="47"/>
                    </a:lnTo>
                    <a:lnTo>
                      <a:pt x="656" y="51"/>
                    </a:lnTo>
                    <a:lnTo>
                      <a:pt x="648" y="55"/>
                    </a:lnTo>
                    <a:lnTo>
                      <a:pt x="640" y="59"/>
                    </a:lnTo>
                    <a:lnTo>
                      <a:pt x="643" y="65"/>
                    </a:lnTo>
                    <a:lnTo>
                      <a:pt x="647" y="73"/>
                    </a:lnTo>
                    <a:lnTo>
                      <a:pt x="651" y="78"/>
                    </a:lnTo>
                    <a:lnTo>
                      <a:pt x="655" y="83"/>
                    </a:lnTo>
                    <a:lnTo>
                      <a:pt x="664" y="93"/>
                    </a:lnTo>
                    <a:lnTo>
                      <a:pt x="674" y="103"/>
                    </a:lnTo>
                    <a:lnTo>
                      <a:pt x="682" y="112"/>
                    </a:lnTo>
                    <a:lnTo>
                      <a:pt x="689" y="122"/>
                    </a:lnTo>
                    <a:lnTo>
                      <a:pt x="692" y="128"/>
                    </a:lnTo>
                    <a:lnTo>
                      <a:pt x="694" y="135"/>
                    </a:lnTo>
                    <a:lnTo>
                      <a:pt x="695" y="141"/>
                    </a:lnTo>
                    <a:lnTo>
                      <a:pt x="696" y="149"/>
                    </a:lnTo>
                    <a:lnTo>
                      <a:pt x="695" y="154"/>
                    </a:lnTo>
                    <a:lnTo>
                      <a:pt x="694" y="159"/>
                    </a:lnTo>
                    <a:lnTo>
                      <a:pt x="692" y="164"/>
                    </a:lnTo>
                    <a:lnTo>
                      <a:pt x="689" y="168"/>
                    </a:lnTo>
                    <a:lnTo>
                      <a:pt x="683" y="175"/>
                    </a:lnTo>
                    <a:lnTo>
                      <a:pt x="675" y="182"/>
                    </a:lnTo>
                    <a:lnTo>
                      <a:pt x="667" y="188"/>
                    </a:lnTo>
                    <a:lnTo>
                      <a:pt x="660" y="196"/>
                    </a:lnTo>
                    <a:lnTo>
                      <a:pt x="658" y="200"/>
                    </a:lnTo>
                    <a:lnTo>
                      <a:pt x="655" y="205"/>
                    </a:lnTo>
                    <a:lnTo>
                      <a:pt x="654" y="209"/>
                    </a:lnTo>
                    <a:lnTo>
                      <a:pt x="654" y="215"/>
                    </a:lnTo>
                    <a:lnTo>
                      <a:pt x="654" y="223"/>
                    </a:lnTo>
                    <a:lnTo>
                      <a:pt x="657" y="232"/>
                    </a:lnTo>
                    <a:lnTo>
                      <a:pt x="659" y="239"/>
                    </a:lnTo>
                    <a:lnTo>
                      <a:pt x="663" y="245"/>
                    </a:lnTo>
                    <a:lnTo>
                      <a:pt x="666" y="252"/>
                    </a:lnTo>
                    <a:lnTo>
                      <a:pt x="670" y="260"/>
                    </a:lnTo>
                    <a:lnTo>
                      <a:pt x="672" y="268"/>
                    </a:lnTo>
                    <a:lnTo>
                      <a:pt x="673" y="276"/>
                    </a:lnTo>
                    <a:lnTo>
                      <a:pt x="672" y="285"/>
                    </a:lnTo>
                    <a:lnTo>
                      <a:pt x="670" y="293"/>
                    </a:lnTo>
                    <a:lnTo>
                      <a:pt x="665" y="300"/>
                    </a:lnTo>
                    <a:lnTo>
                      <a:pt x="660" y="305"/>
                    </a:lnTo>
                    <a:lnTo>
                      <a:pt x="653" y="309"/>
                    </a:lnTo>
                    <a:lnTo>
                      <a:pt x="646" y="313"/>
                    </a:lnTo>
                    <a:lnTo>
                      <a:pt x="638" y="316"/>
                    </a:lnTo>
                    <a:lnTo>
                      <a:pt x="629" y="319"/>
                    </a:lnTo>
                    <a:lnTo>
                      <a:pt x="611" y="326"/>
                    </a:lnTo>
                    <a:lnTo>
                      <a:pt x="592" y="332"/>
                    </a:lnTo>
                    <a:lnTo>
                      <a:pt x="583" y="336"/>
                    </a:lnTo>
                    <a:lnTo>
                      <a:pt x="575" y="341"/>
                    </a:lnTo>
                    <a:lnTo>
                      <a:pt x="566" y="347"/>
                    </a:lnTo>
                    <a:lnTo>
                      <a:pt x="559" y="355"/>
                    </a:lnTo>
                    <a:lnTo>
                      <a:pt x="553" y="363"/>
                    </a:lnTo>
                    <a:lnTo>
                      <a:pt x="547" y="371"/>
                    </a:lnTo>
                    <a:lnTo>
                      <a:pt x="543" y="379"/>
                    </a:lnTo>
                    <a:lnTo>
                      <a:pt x="539" y="388"/>
                    </a:lnTo>
                    <a:lnTo>
                      <a:pt x="531" y="404"/>
                    </a:lnTo>
                    <a:lnTo>
                      <a:pt x="526" y="421"/>
                    </a:lnTo>
                    <a:lnTo>
                      <a:pt x="522" y="437"/>
                    </a:lnTo>
                    <a:lnTo>
                      <a:pt x="516" y="454"/>
                    </a:lnTo>
                    <a:lnTo>
                      <a:pt x="513" y="462"/>
                    </a:lnTo>
                    <a:lnTo>
                      <a:pt x="509" y="471"/>
                    </a:lnTo>
                    <a:lnTo>
                      <a:pt x="504" y="480"/>
                    </a:lnTo>
                    <a:lnTo>
                      <a:pt x="498" y="489"/>
                    </a:lnTo>
                    <a:lnTo>
                      <a:pt x="492" y="496"/>
                    </a:lnTo>
                    <a:lnTo>
                      <a:pt x="487" y="502"/>
                    </a:lnTo>
                    <a:lnTo>
                      <a:pt x="480" y="507"/>
                    </a:lnTo>
                    <a:lnTo>
                      <a:pt x="474" y="512"/>
                    </a:lnTo>
                    <a:lnTo>
                      <a:pt x="466" y="515"/>
                    </a:lnTo>
                    <a:lnTo>
                      <a:pt x="459" y="518"/>
                    </a:lnTo>
                    <a:lnTo>
                      <a:pt x="452" y="521"/>
                    </a:lnTo>
                    <a:lnTo>
                      <a:pt x="444" y="523"/>
                    </a:lnTo>
                    <a:lnTo>
                      <a:pt x="428" y="526"/>
                    </a:lnTo>
                    <a:lnTo>
                      <a:pt x="412" y="530"/>
                    </a:lnTo>
                    <a:lnTo>
                      <a:pt x="403" y="532"/>
                    </a:lnTo>
                    <a:lnTo>
                      <a:pt x="395" y="535"/>
                    </a:lnTo>
                    <a:lnTo>
                      <a:pt x="386" y="538"/>
                    </a:lnTo>
                    <a:lnTo>
                      <a:pt x="378" y="543"/>
                    </a:lnTo>
                    <a:lnTo>
                      <a:pt x="375" y="546"/>
                    </a:lnTo>
                    <a:lnTo>
                      <a:pt x="372" y="548"/>
                    </a:lnTo>
                    <a:lnTo>
                      <a:pt x="368" y="551"/>
                    </a:lnTo>
                    <a:lnTo>
                      <a:pt x="366" y="554"/>
                    </a:lnTo>
                    <a:lnTo>
                      <a:pt x="362" y="562"/>
                    </a:lnTo>
                    <a:lnTo>
                      <a:pt x="359" y="570"/>
                    </a:lnTo>
                    <a:lnTo>
                      <a:pt x="357" y="588"/>
                    </a:lnTo>
                    <a:lnTo>
                      <a:pt x="355" y="608"/>
                    </a:lnTo>
                    <a:lnTo>
                      <a:pt x="355" y="616"/>
                    </a:lnTo>
                    <a:lnTo>
                      <a:pt x="354" y="625"/>
                    </a:lnTo>
                    <a:lnTo>
                      <a:pt x="353" y="632"/>
                    </a:lnTo>
                    <a:lnTo>
                      <a:pt x="350" y="640"/>
                    </a:lnTo>
                    <a:lnTo>
                      <a:pt x="347" y="646"/>
                    </a:lnTo>
                    <a:lnTo>
                      <a:pt x="343" y="650"/>
                    </a:lnTo>
                    <a:lnTo>
                      <a:pt x="340" y="652"/>
                    </a:lnTo>
                    <a:lnTo>
                      <a:pt x="336" y="653"/>
                    </a:lnTo>
                    <a:lnTo>
                      <a:pt x="332" y="654"/>
                    </a:lnTo>
                    <a:lnTo>
                      <a:pt x="328" y="654"/>
                    </a:lnTo>
                    <a:lnTo>
                      <a:pt x="322" y="654"/>
                    </a:lnTo>
                    <a:lnTo>
                      <a:pt x="316" y="653"/>
                    </a:lnTo>
                    <a:lnTo>
                      <a:pt x="310" y="651"/>
                    </a:lnTo>
                    <a:lnTo>
                      <a:pt x="304" y="649"/>
                    </a:lnTo>
                    <a:lnTo>
                      <a:pt x="294" y="644"/>
                    </a:lnTo>
                    <a:lnTo>
                      <a:pt x="285" y="639"/>
                    </a:lnTo>
                    <a:lnTo>
                      <a:pt x="276" y="633"/>
                    </a:lnTo>
                    <a:lnTo>
                      <a:pt x="265" y="628"/>
                    </a:lnTo>
                    <a:lnTo>
                      <a:pt x="259" y="626"/>
                    </a:lnTo>
                    <a:lnTo>
                      <a:pt x="254" y="624"/>
                    </a:lnTo>
                    <a:lnTo>
                      <a:pt x="248" y="623"/>
                    </a:lnTo>
                    <a:lnTo>
                      <a:pt x="242" y="623"/>
                    </a:lnTo>
                    <a:lnTo>
                      <a:pt x="232" y="624"/>
                    </a:lnTo>
                    <a:lnTo>
                      <a:pt x="224" y="625"/>
                    </a:lnTo>
                    <a:lnTo>
                      <a:pt x="217" y="626"/>
                    </a:lnTo>
                    <a:lnTo>
                      <a:pt x="210" y="628"/>
                    </a:lnTo>
                    <a:lnTo>
                      <a:pt x="195" y="633"/>
                    </a:lnTo>
                    <a:lnTo>
                      <a:pt x="182" y="640"/>
                    </a:lnTo>
                    <a:lnTo>
                      <a:pt x="169" y="646"/>
                    </a:lnTo>
                    <a:lnTo>
                      <a:pt x="155" y="651"/>
                    </a:lnTo>
                    <a:lnTo>
                      <a:pt x="148" y="653"/>
                    </a:lnTo>
                    <a:lnTo>
                      <a:pt x="141" y="655"/>
                    </a:lnTo>
                    <a:lnTo>
                      <a:pt x="132" y="656"/>
                    </a:lnTo>
                    <a:lnTo>
                      <a:pt x="123" y="656"/>
                    </a:lnTo>
                    <a:lnTo>
                      <a:pt x="117" y="656"/>
                    </a:lnTo>
                    <a:lnTo>
                      <a:pt x="112" y="654"/>
                    </a:lnTo>
                    <a:lnTo>
                      <a:pt x="106" y="653"/>
                    </a:lnTo>
                    <a:lnTo>
                      <a:pt x="101" y="650"/>
                    </a:lnTo>
                    <a:lnTo>
                      <a:pt x="97" y="648"/>
                    </a:lnTo>
                    <a:lnTo>
                      <a:pt x="92" y="647"/>
                    </a:lnTo>
                    <a:lnTo>
                      <a:pt x="86" y="645"/>
                    </a:lnTo>
                    <a:lnTo>
                      <a:pt x="81" y="645"/>
                    </a:lnTo>
                    <a:lnTo>
                      <a:pt x="67" y="646"/>
                    </a:lnTo>
                    <a:lnTo>
                      <a:pt x="55" y="647"/>
                    </a:lnTo>
                    <a:lnTo>
                      <a:pt x="55" y="733"/>
                    </a:lnTo>
                    <a:lnTo>
                      <a:pt x="55" y="742"/>
                    </a:lnTo>
                    <a:lnTo>
                      <a:pt x="56" y="750"/>
                    </a:lnTo>
                    <a:lnTo>
                      <a:pt x="58" y="757"/>
                    </a:lnTo>
                    <a:lnTo>
                      <a:pt x="60" y="765"/>
                    </a:lnTo>
                    <a:lnTo>
                      <a:pt x="66" y="779"/>
                    </a:lnTo>
                    <a:lnTo>
                      <a:pt x="73" y="791"/>
                    </a:lnTo>
                    <a:lnTo>
                      <a:pt x="92" y="816"/>
                    </a:lnTo>
                    <a:lnTo>
                      <a:pt x="114" y="843"/>
                    </a:lnTo>
                    <a:lnTo>
                      <a:pt x="114" y="843"/>
                    </a:lnTo>
                    <a:close/>
                  </a:path>
                </a:pathLst>
              </a:custGeom>
              <a:solidFill>
                <a:srgbClr val="65AC1E">
                  <a:alpha val="69804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Lugansk">
                <a:extLst>
                  <a:ext uri="{FF2B5EF4-FFF2-40B4-BE49-F238E27FC236}">
                    <a16:creationId xmlns:a16="http://schemas.microsoft.com/office/drawing/2014/main" id="{76F150B3-8C11-40F7-B01A-088C7ABC92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68299" y="3013183"/>
                <a:ext cx="977121" cy="1306161"/>
              </a:xfrm>
              <a:custGeom>
                <a:avLst/>
                <a:gdLst>
                  <a:gd name="T0" fmla="*/ 226 w 1975"/>
                  <a:gd name="T1" fmla="*/ 1263 h 2811"/>
                  <a:gd name="T2" fmla="*/ 226 w 1975"/>
                  <a:gd name="T3" fmla="*/ 1330 h 2811"/>
                  <a:gd name="T4" fmla="*/ 327 w 1975"/>
                  <a:gd name="T5" fmla="*/ 1485 h 2811"/>
                  <a:gd name="T6" fmla="*/ 437 w 1975"/>
                  <a:gd name="T7" fmla="*/ 1622 h 2811"/>
                  <a:gd name="T8" fmla="*/ 435 w 1975"/>
                  <a:gd name="T9" fmla="*/ 1803 h 2811"/>
                  <a:gd name="T10" fmla="*/ 484 w 1975"/>
                  <a:gd name="T11" fmla="*/ 1945 h 2811"/>
                  <a:gd name="T12" fmla="*/ 626 w 1975"/>
                  <a:gd name="T13" fmla="*/ 2107 h 2811"/>
                  <a:gd name="T14" fmla="*/ 633 w 1975"/>
                  <a:gd name="T15" fmla="*/ 2233 h 2811"/>
                  <a:gd name="T16" fmla="*/ 914 w 1975"/>
                  <a:gd name="T17" fmla="*/ 2375 h 2811"/>
                  <a:gd name="T18" fmla="*/ 1029 w 1975"/>
                  <a:gd name="T19" fmla="*/ 2547 h 2811"/>
                  <a:gd name="T20" fmla="*/ 1192 w 1975"/>
                  <a:gd name="T21" fmla="*/ 2629 h 2811"/>
                  <a:gd name="T22" fmla="*/ 1236 w 1975"/>
                  <a:gd name="T23" fmla="*/ 2798 h 2811"/>
                  <a:gd name="T24" fmla="*/ 1395 w 1975"/>
                  <a:gd name="T25" fmla="*/ 2779 h 2811"/>
                  <a:gd name="T26" fmla="*/ 1465 w 1975"/>
                  <a:gd name="T27" fmla="*/ 2811 h 2811"/>
                  <a:gd name="T28" fmla="*/ 1666 w 1975"/>
                  <a:gd name="T29" fmla="*/ 2756 h 2811"/>
                  <a:gd name="T30" fmla="*/ 1821 w 1975"/>
                  <a:gd name="T31" fmla="*/ 2591 h 2811"/>
                  <a:gd name="T32" fmla="*/ 1838 w 1975"/>
                  <a:gd name="T33" fmla="*/ 2492 h 2811"/>
                  <a:gd name="T34" fmla="*/ 1852 w 1975"/>
                  <a:gd name="T35" fmla="*/ 2344 h 2811"/>
                  <a:gd name="T36" fmla="*/ 1949 w 1975"/>
                  <a:gd name="T37" fmla="*/ 2204 h 2811"/>
                  <a:gd name="T38" fmla="*/ 1858 w 1975"/>
                  <a:gd name="T39" fmla="*/ 2167 h 2811"/>
                  <a:gd name="T40" fmla="*/ 1833 w 1975"/>
                  <a:gd name="T41" fmla="*/ 2087 h 2811"/>
                  <a:gd name="T42" fmla="*/ 1847 w 1975"/>
                  <a:gd name="T43" fmla="*/ 1996 h 2811"/>
                  <a:gd name="T44" fmla="*/ 1784 w 1975"/>
                  <a:gd name="T45" fmla="*/ 1808 h 2811"/>
                  <a:gd name="T46" fmla="*/ 1771 w 1975"/>
                  <a:gd name="T47" fmla="*/ 1734 h 2811"/>
                  <a:gd name="T48" fmla="*/ 1780 w 1975"/>
                  <a:gd name="T49" fmla="*/ 1648 h 2811"/>
                  <a:gd name="T50" fmla="*/ 1683 w 1975"/>
                  <a:gd name="T51" fmla="*/ 1704 h 2811"/>
                  <a:gd name="T52" fmla="*/ 1617 w 1975"/>
                  <a:gd name="T53" fmla="*/ 1746 h 2811"/>
                  <a:gd name="T54" fmla="*/ 1698 w 1975"/>
                  <a:gd name="T55" fmla="*/ 1523 h 2811"/>
                  <a:gd name="T56" fmla="*/ 1843 w 1975"/>
                  <a:gd name="T57" fmla="*/ 1499 h 2811"/>
                  <a:gd name="T58" fmla="*/ 1906 w 1975"/>
                  <a:gd name="T59" fmla="*/ 1446 h 2811"/>
                  <a:gd name="T60" fmla="*/ 1727 w 1975"/>
                  <a:gd name="T61" fmla="*/ 1394 h 2811"/>
                  <a:gd name="T62" fmla="*/ 1659 w 1975"/>
                  <a:gd name="T63" fmla="*/ 1327 h 2811"/>
                  <a:gd name="T64" fmla="*/ 1574 w 1975"/>
                  <a:gd name="T65" fmla="*/ 1232 h 2811"/>
                  <a:gd name="T66" fmla="*/ 1727 w 1975"/>
                  <a:gd name="T67" fmla="*/ 1164 h 2811"/>
                  <a:gd name="T68" fmla="*/ 1786 w 1975"/>
                  <a:gd name="T69" fmla="*/ 1073 h 2811"/>
                  <a:gd name="T70" fmla="*/ 1926 w 1975"/>
                  <a:gd name="T71" fmla="*/ 859 h 2811"/>
                  <a:gd name="T72" fmla="*/ 1971 w 1975"/>
                  <a:gd name="T73" fmla="*/ 787 h 2811"/>
                  <a:gd name="T74" fmla="*/ 1815 w 1975"/>
                  <a:gd name="T75" fmla="*/ 644 h 2811"/>
                  <a:gd name="T76" fmla="*/ 1816 w 1975"/>
                  <a:gd name="T77" fmla="*/ 541 h 2811"/>
                  <a:gd name="T78" fmla="*/ 1724 w 1975"/>
                  <a:gd name="T79" fmla="*/ 466 h 2811"/>
                  <a:gd name="T80" fmla="*/ 1589 w 1975"/>
                  <a:gd name="T81" fmla="*/ 540 h 2811"/>
                  <a:gd name="T82" fmla="*/ 1425 w 1975"/>
                  <a:gd name="T83" fmla="*/ 469 h 2811"/>
                  <a:gd name="T84" fmla="*/ 1395 w 1975"/>
                  <a:gd name="T85" fmla="*/ 357 h 2811"/>
                  <a:gd name="T86" fmla="*/ 1235 w 1975"/>
                  <a:gd name="T87" fmla="*/ 355 h 2811"/>
                  <a:gd name="T88" fmla="*/ 1109 w 1975"/>
                  <a:gd name="T89" fmla="*/ 324 h 2811"/>
                  <a:gd name="T90" fmla="*/ 1023 w 1975"/>
                  <a:gd name="T91" fmla="*/ 185 h 2811"/>
                  <a:gd name="T92" fmla="*/ 948 w 1975"/>
                  <a:gd name="T93" fmla="*/ 256 h 2811"/>
                  <a:gd name="T94" fmla="*/ 825 w 1975"/>
                  <a:gd name="T95" fmla="*/ 283 h 2811"/>
                  <a:gd name="T96" fmla="*/ 741 w 1975"/>
                  <a:gd name="T97" fmla="*/ 158 h 2811"/>
                  <a:gd name="T98" fmla="*/ 573 w 1975"/>
                  <a:gd name="T99" fmla="*/ 90 h 2811"/>
                  <a:gd name="T100" fmla="*/ 491 w 1975"/>
                  <a:gd name="T101" fmla="*/ 132 h 2811"/>
                  <a:gd name="T102" fmla="*/ 392 w 1975"/>
                  <a:gd name="T103" fmla="*/ 90 h 2811"/>
                  <a:gd name="T104" fmla="*/ 279 w 1975"/>
                  <a:gd name="T105" fmla="*/ 0 h 2811"/>
                  <a:gd name="T106" fmla="*/ 148 w 1975"/>
                  <a:gd name="T107" fmla="*/ 65 h 2811"/>
                  <a:gd name="T108" fmla="*/ 194 w 1975"/>
                  <a:gd name="T109" fmla="*/ 160 h 2811"/>
                  <a:gd name="T110" fmla="*/ 75 w 1975"/>
                  <a:gd name="T111" fmla="*/ 285 h 2811"/>
                  <a:gd name="T112" fmla="*/ 55 w 1975"/>
                  <a:gd name="T113" fmla="*/ 374 h 2811"/>
                  <a:gd name="T114" fmla="*/ 113 w 1975"/>
                  <a:gd name="T115" fmla="*/ 564 h 2811"/>
                  <a:gd name="T116" fmla="*/ 21 w 1975"/>
                  <a:gd name="T117" fmla="*/ 641 h 2811"/>
                  <a:gd name="T118" fmla="*/ 19 w 1975"/>
                  <a:gd name="T119" fmla="*/ 699 h 2811"/>
                  <a:gd name="T120" fmla="*/ 58 w 1975"/>
                  <a:gd name="T121" fmla="*/ 856 h 2811"/>
                  <a:gd name="T122" fmla="*/ 49 w 1975"/>
                  <a:gd name="T123" fmla="*/ 981 h 2811"/>
                  <a:gd name="T124" fmla="*/ 58 w 1975"/>
                  <a:gd name="T125" fmla="*/ 1084 h 2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975" h="2811">
                    <a:moveTo>
                      <a:pt x="45" y="1126"/>
                    </a:moveTo>
                    <a:lnTo>
                      <a:pt x="62" y="1141"/>
                    </a:lnTo>
                    <a:lnTo>
                      <a:pt x="77" y="1157"/>
                    </a:lnTo>
                    <a:lnTo>
                      <a:pt x="90" y="1172"/>
                    </a:lnTo>
                    <a:lnTo>
                      <a:pt x="103" y="1187"/>
                    </a:lnTo>
                    <a:lnTo>
                      <a:pt x="117" y="1201"/>
                    </a:lnTo>
                    <a:lnTo>
                      <a:pt x="131" y="1215"/>
                    </a:lnTo>
                    <a:lnTo>
                      <a:pt x="140" y="1221"/>
                    </a:lnTo>
                    <a:lnTo>
                      <a:pt x="148" y="1227"/>
                    </a:lnTo>
                    <a:lnTo>
                      <a:pt x="157" y="1233"/>
                    </a:lnTo>
                    <a:lnTo>
                      <a:pt x="167" y="1239"/>
                    </a:lnTo>
                    <a:lnTo>
                      <a:pt x="194" y="1251"/>
                    </a:lnTo>
                    <a:lnTo>
                      <a:pt x="220" y="1260"/>
                    </a:lnTo>
                    <a:lnTo>
                      <a:pt x="226" y="1263"/>
                    </a:lnTo>
                    <a:lnTo>
                      <a:pt x="231" y="1266"/>
                    </a:lnTo>
                    <a:lnTo>
                      <a:pt x="235" y="1269"/>
                    </a:lnTo>
                    <a:lnTo>
                      <a:pt x="240" y="1273"/>
                    </a:lnTo>
                    <a:lnTo>
                      <a:pt x="243" y="1278"/>
                    </a:lnTo>
                    <a:lnTo>
                      <a:pt x="246" y="1283"/>
                    </a:lnTo>
                    <a:lnTo>
                      <a:pt x="247" y="1289"/>
                    </a:lnTo>
                    <a:lnTo>
                      <a:pt x="248" y="1296"/>
                    </a:lnTo>
                    <a:lnTo>
                      <a:pt x="247" y="1302"/>
                    </a:lnTo>
                    <a:lnTo>
                      <a:pt x="245" y="1308"/>
                    </a:lnTo>
                    <a:lnTo>
                      <a:pt x="242" y="1312"/>
                    </a:lnTo>
                    <a:lnTo>
                      <a:pt x="237" y="1317"/>
                    </a:lnTo>
                    <a:lnTo>
                      <a:pt x="234" y="1321"/>
                    </a:lnTo>
                    <a:lnTo>
                      <a:pt x="230" y="1325"/>
                    </a:lnTo>
                    <a:lnTo>
                      <a:pt x="226" y="1330"/>
                    </a:lnTo>
                    <a:lnTo>
                      <a:pt x="224" y="1336"/>
                    </a:lnTo>
                    <a:lnTo>
                      <a:pt x="210" y="1372"/>
                    </a:lnTo>
                    <a:lnTo>
                      <a:pt x="198" y="1404"/>
                    </a:lnTo>
                    <a:lnTo>
                      <a:pt x="194" y="1420"/>
                    </a:lnTo>
                    <a:lnTo>
                      <a:pt x="191" y="1437"/>
                    </a:lnTo>
                    <a:lnTo>
                      <a:pt x="188" y="1455"/>
                    </a:lnTo>
                    <a:lnTo>
                      <a:pt x="186" y="1475"/>
                    </a:lnTo>
                    <a:lnTo>
                      <a:pt x="195" y="1480"/>
                    </a:lnTo>
                    <a:lnTo>
                      <a:pt x="215" y="1475"/>
                    </a:lnTo>
                    <a:lnTo>
                      <a:pt x="232" y="1479"/>
                    </a:lnTo>
                    <a:lnTo>
                      <a:pt x="248" y="1482"/>
                    </a:lnTo>
                    <a:lnTo>
                      <a:pt x="263" y="1484"/>
                    </a:lnTo>
                    <a:lnTo>
                      <a:pt x="281" y="1485"/>
                    </a:lnTo>
                    <a:lnTo>
                      <a:pt x="327" y="1485"/>
                    </a:lnTo>
                    <a:lnTo>
                      <a:pt x="333" y="1485"/>
                    </a:lnTo>
                    <a:lnTo>
                      <a:pt x="340" y="1486"/>
                    </a:lnTo>
                    <a:lnTo>
                      <a:pt x="345" y="1488"/>
                    </a:lnTo>
                    <a:lnTo>
                      <a:pt x="349" y="1491"/>
                    </a:lnTo>
                    <a:lnTo>
                      <a:pt x="353" y="1494"/>
                    </a:lnTo>
                    <a:lnTo>
                      <a:pt x="357" y="1499"/>
                    </a:lnTo>
                    <a:lnTo>
                      <a:pt x="360" y="1504"/>
                    </a:lnTo>
                    <a:lnTo>
                      <a:pt x="363" y="1508"/>
                    </a:lnTo>
                    <a:lnTo>
                      <a:pt x="376" y="1531"/>
                    </a:lnTo>
                    <a:lnTo>
                      <a:pt x="389" y="1553"/>
                    </a:lnTo>
                    <a:lnTo>
                      <a:pt x="402" y="1572"/>
                    </a:lnTo>
                    <a:lnTo>
                      <a:pt x="415" y="1589"/>
                    </a:lnTo>
                    <a:lnTo>
                      <a:pt x="426" y="1606"/>
                    </a:lnTo>
                    <a:lnTo>
                      <a:pt x="437" y="1622"/>
                    </a:lnTo>
                    <a:lnTo>
                      <a:pt x="447" y="1640"/>
                    </a:lnTo>
                    <a:lnTo>
                      <a:pt x="455" y="1658"/>
                    </a:lnTo>
                    <a:lnTo>
                      <a:pt x="463" y="1677"/>
                    </a:lnTo>
                    <a:lnTo>
                      <a:pt x="472" y="1700"/>
                    </a:lnTo>
                    <a:lnTo>
                      <a:pt x="472" y="1714"/>
                    </a:lnTo>
                    <a:lnTo>
                      <a:pt x="472" y="1729"/>
                    </a:lnTo>
                    <a:lnTo>
                      <a:pt x="471" y="1736"/>
                    </a:lnTo>
                    <a:lnTo>
                      <a:pt x="470" y="1743"/>
                    </a:lnTo>
                    <a:lnTo>
                      <a:pt x="467" y="1751"/>
                    </a:lnTo>
                    <a:lnTo>
                      <a:pt x="464" y="1757"/>
                    </a:lnTo>
                    <a:lnTo>
                      <a:pt x="458" y="1769"/>
                    </a:lnTo>
                    <a:lnTo>
                      <a:pt x="450" y="1780"/>
                    </a:lnTo>
                    <a:lnTo>
                      <a:pt x="443" y="1792"/>
                    </a:lnTo>
                    <a:lnTo>
                      <a:pt x="435" y="1803"/>
                    </a:lnTo>
                    <a:lnTo>
                      <a:pt x="432" y="1809"/>
                    </a:lnTo>
                    <a:lnTo>
                      <a:pt x="430" y="1817"/>
                    </a:lnTo>
                    <a:lnTo>
                      <a:pt x="429" y="1824"/>
                    </a:lnTo>
                    <a:lnTo>
                      <a:pt x="429" y="1832"/>
                    </a:lnTo>
                    <a:lnTo>
                      <a:pt x="430" y="1840"/>
                    </a:lnTo>
                    <a:lnTo>
                      <a:pt x="432" y="1849"/>
                    </a:lnTo>
                    <a:lnTo>
                      <a:pt x="437" y="1856"/>
                    </a:lnTo>
                    <a:lnTo>
                      <a:pt x="442" y="1862"/>
                    </a:lnTo>
                    <a:lnTo>
                      <a:pt x="448" y="1868"/>
                    </a:lnTo>
                    <a:lnTo>
                      <a:pt x="453" y="1875"/>
                    </a:lnTo>
                    <a:lnTo>
                      <a:pt x="458" y="1883"/>
                    </a:lnTo>
                    <a:lnTo>
                      <a:pt x="462" y="1891"/>
                    </a:lnTo>
                    <a:lnTo>
                      <a:pt x="474" y="1919"/>
                    </a:lnTo>
                    <a:lnTo>
                      <a:pt x="484" y="1945"/>
                    </a:lnTo>
                    <a:lnTo>
                      <a:pt x="494" y="1968"/>
                    </a:lnTo>
                    <a:lnTo>
                      <a:pt x="503" y="1992"/>
                    </a:lnTo>
                    <a:lnTo>
                      <a:pt x="510" y="2016"/>
                    </a:lnTo>
                    <a:lnTo>
                      <a:pt x="516" y="2042"/>
                    </a:lnTo>
                    <a:lnTo>
                      <a:pt x="521" y="2069"/>
                    </a:lnTo>
                    <a:lnTo>
                      <a:pt x="525" y="2099"/>
                    </a:lnTo>
                    <a:lnTo>
                      <a:pt x="554" y="2099"/>
                    </a:lnTo>
                    <a:lnTo>
                      <a:pt x="579" y="2097"/>
                    </a:lnTo>
                    <a:lnTo>
                      <a:pt x="590" y="2096"/>
                    </a:lnTo>
                    <a:lnTo>
                      <a:pt x="603" y="2094"/>
                    </a:lnTo>
                    <a:lnTo>
                      <a:pt x="616" y="2091"/>
                    </a:lnTo>
                    <a:lnTo>
                      <a:pt x="629" y="2086"/>
                    </a:lnTo>
                    <a:lnTo>
                      <a:pt x="631" y="2096"/>
                    </a:lnTo>
                    <a:lnTo>
                      <a:pt x="626" y="2107"/>
                    </a:lnTo>
                    <a:lnTo>
                      <a:pt x="621" y="2117"/>
                    </a:lnTo>
                    <a:lnTo>
                      <a:pt x="618" y="2127"/>
                    </a:lnTo>
                    <a:lnTo>
                      <a:pt x="616" y="2138"/>
                    </a:lnTo>
                    <a:lnTo>
                      <a:pt x="614" y="2148"/>
                    </a:lnTo>
                    <a:lnTo>
                      <a:pt x="613" y="2159"/>
                    </a:lnTo>
                    <a:lnTo>
                      <a:pt x="613" y="2171"/>
                    </a:lnTo>
                    <a:lnTo>
                      <a:pt x="613" y="2183"/>
                    </a:lnTo>
                    <a:lnTo>
                      <a:pt x="613" y="2192"/>
                    </a:lnTo>
                    <a:lnTo>
                      <a:pt x="615" y="2200"/>
                    </a:lnTo>
                    <a:lnTo>
                      <a:pt x="617" y="2208"/>
                    </a:lnTo>
                    <a:lnTo>
                      <a:pt x="620" y="2214"/>
                    </a:lnTo>
                    <a:lnTo>
                      <a:pt x="624" y="2220"/>
                    </a:lnTo>
                    <a:lnTo>
                      <a:pt x="628" y="2227"/>
                    </a:lnTo>
                    <a:lnTo>
                      <a:pt x="633" y="2233"/>
                    </a:lnTo>
                    <a:lnTo>
                      <a:pt x="639" y="2238"/>
                    </a:lnTo>
                    <a:lnTo>
                      <a:pt x="664" y="2258"/>
                    </a:lnTo>
                    <a:lnTo>
                      <a:pt x="693" y="2278"/>
                    </a:lnTo>
                    <a:lnTo>
                      <a:pt x="723" y="2303"/>
                    </a:lnTo>
                    <a:lnTo>
                      <a:pt x="751" y="2325"/>
                    </a:lnTo>
                    <a:lnTo>
                      <a:pt x="764" y="2334"/>
                    </a:lnTo>
                    <a:lnTo>
                      <a:pt x="780" y="2343"/>
                    </a:lnTo>
                    <a:lnTo>
                      <a:pt x="796" y="2350"/>
                    </a:lnTo>
                    <a:lnTo>
                      <a:pt x="816" y="2358"/>
                    </a:lnTo>
                    <a:lnTo>
                      <a:pt x="834" y="2364"/>
                    </a:lnTo>
                    <a:lnTo>
                      <a:pt x="850" y="2367"/>
                    </a:lnTo>
                    <a:lnTo>
                      <a:pt x="867" y="2370"/>
                    </a:lnTo>
                    <a:lnTo>
                      <a:pt x="882" y="2372"/>
                    </a:lnTo>
                    <a:lnTo>
                      <a:pt x="914" y="2375"/>
                    </a:lnTo>
                    <a:lnTo>
                      <a:pt x="950" y="2381"/>
                    </a:lnTo>
                    <a:lnTo>
                      <a:pt x="976" y="2386"/>
                    </a:lnTo>
                    <a:lnTo>
                      <a:pt x="1002" y="2389"/>
                    </a:lnTo>
                    <a:lnTo>
                      <a:pt x="1007" y="2391"/>
                    </a:lnTo>
                    <a:lnTo>
                      <a:pt x="1012" y="2393"/>
                    </a:lnTo>
                    <a:lnTo>
                      <a:pt x="1017" y="2395"/>
                    </a:lnTo>
                    <a:lnTo>
                      <a:pt x="1020" y="2398"/>
                    </a:lnTo>
                    <a:lnTo>
                      <a:pt x="1024" y="2401"/>
                    </a:lnTo>
                    <a:lnTo>
                      <a:pt x="1026" y="2405"/>
                    </a:lnTo>
                    <a:lnTo>
                      <a:pt x="1027" y="2410"/>
                    </a:lnTo>
                    <a:lnTo>
                      <a:pt x="1028" y="2417"/>
                    </a:lnTo>
                    <a:lnTo>
                      <a:pt x="1028" y="2538"/>
                    </a:lnTo>
                    <a:lnTo>
                      <a:pt x="1028" y="2543"/>
                    </a:lnTo>
                    <a:lnTo>
                      <a:pt x="1029" y="2547"/>
                    </a:lnTo>
                    <a:lnTo>
                      <a:pt x="1031" y="2550"/>
                    </a:lnTo>
                    <a:lnTo>
                      <a:pt x="1033" y="2553"/>
                    </a:lnTo>
                    <a:lnTo>
                      <a:pt x="1038" y="2559"/>
                    </a:lnTo>
                    <a:lnTo>
                      <a:pt x="1045" y="2563"/>
                    </a:lnTo>
                    <a:lnTo>
                      <a:pt x="1060" y="2570"/>
                    </a:lnTo>
                    <a:lnTo>
                      <a:pt x="1077" y="2578"/>
                    </a:lnTo>
                    <a:lnTo>
                      <a:pt x="1100" y="2589"/>
                    </a:lnTo>
                    <a:lnTo>
                      <a:pt x="1118" y="2599"/>
                    </a:lnTo>
                    <a:lnTo>
                      <a:pt x="1138" y="2610"/>
                    </a:lnTo>
                    <a:lnTo>
                      <a:pt x="1159" y="2620"/>
                    </a:lnTo>
                    <a:lnTo>
                      <a:pt x="1171" y="2623"/>
                    </a:lnTo>
                    <a:lnTo>
                      <a:pt x="1182" y="2625"/>
                    </a:lnTo>
                    <a:lnTo>
                      <a:pt x="1187" y="2627"/>
                    </a:lnTo>
                    <a:lnTo>
                      <a:pt x="1192" y="2629"/>
                    </a:lnTo>
                    <a:lnTo>
                      <a:pt x="1197" y="2632"/>
                    </a:lnTo>
                    <a:lnTo>
                      <a:pt x="1200" y="2637"/>
                    </a:lnTo>
                    <a:lnTo>
                      <a:pt x="1206" y="2647"/>
                    </a:lnTo>
                    <a:lnTo>
                      <a:pt x="1210" y="2656"/>
                    </a:lnTo>
                    <a:lnTo>
                      <a:pt x="1214" y="2666"/>
                    </a:lnTo>
                    <a:lnTo>
                      <a:pt x="1216" y="2676"/>
                    </a:lnTo>
                    <a:lnTo>
                      <a:pt x="1219" y="2695"/>
                    </a:lnTo>
                    <a:lnTo>
                      <a:pt x="1221" y="2715"/>
                    </a:lnTo>
                    <a:lnTo>
                      <a:pt x="1222" y="2735"/>
                    </a:lnTo>
                    <a:lnTo>
                      <a:pt x="1224" y="2755"/>
                    </a:lnTo>
                    <a:lnTo>
                      <a:pt x="1226" y="2766"/>
                    </a:lnTo>
                    <a:lnTo>
                      <a:pt x="1229" y="2776"/>
                    </a:lnTo>
                    <a:lnTo>
                      <a:pt x="1232" y="2786"/>
                    </a:lnTo>
                    <a:lnTo>
                      <a:pt x="1236" y="2798"/>
                    </a:lnTo>
                    <a:lnTo>
                      <a:pt x="1236" y="2798"/>
                    </a:lnTo>
                    <a:lnTo>
                      <a:pt x="1248" y="2800"/>
                    </a:lnTo>
                    <a:lnTo>
                      <a:pt x="1260" y="2802"/>
                    </a:lnTo>
                    <a:lnTo>
                      <a:pt x="1274" y="2804"/>
                    </a:lnTo>
                    <a:lnTo>
                      <a:pt x="1289" y="2804"/>
                    </a:lnTo>
                    <a:lnTo>
                      <a:pt x="1299" y="2804"/>
                    </a:lnTo>
                    <a:lnTo>
                      <a:pt x="1308" y="2803"/>
                    </a:lnTo>
                    <a:lnTo>
                      <a:pt x="1316" y="2802"/>
                    </a:lnTo>
                    <a:lnTo>
                      <a:pt x="1324" y="2800"/>
                    </a:lnTo>
                    <a:lnTo>
                      <a:pt x="1341" y="2796"/>
                    </a:lnTo>
                    <a:lnTo>
                      <a:pt x="1355" y="2790"/>
                    </a:lnTo>
                    <a:lnTo>
                      <a:pt x="1371" y="2785"/>
                    </a:lnTo>
                    <a:lnTo>
                      <a:pt x="1386" y="2780"/>
                    </a:lnTo>
                    <a:lnTo>
                      <a:pt x="1395" y="2779"/>
                    </a:lnTo>
                    <a:lnTo>
                      <a:pt x="1403" y="2777"/>
                    </a:lnTo>
                    <a:lnTo>
                      <a:pt x="1412" y="2776"/>
                    </a:lnTo>
                    <a:lnTo>
                      <a:pt x="1421" y="2776"/>
                    </a:lnTo>
                    <a:lnTo>
                      <a:pt x="1425" y="2776"/>
                    </a:lnTo>
                    <a:lnTo>
                      <a:pt x="1430" y="2777"/>
                    </a:lnTo>
                    <a:lnTo>
                      <a:pt x="1433" y="2779"/>
                    </a:lnTo>
                    <a:lnTo>
                      <a:pt x="1435" y="2781"/>
                    </a:lnTo>
                    <a:lnTo>
                      <a:pt x="1440" y="2787"/>
                    </a:lnTo>
                    <a:lnTo>
                      <a:pt x="1445" y="2793"/>
                    </a:lnTo>
                    <a:lnTo>
                      <a:pt x="1449" y="2800"/>
                    </a:lnTo>
                    <a:lnTo>
                      <a:pt x="1454" y="2806"/>
                    </a:lnTo>
                    <a:lnTo>
                      <a:pt x="1457" y="2808"/>
                    </a:lnTo>
                    <a:lnTo>
                      <a:pt x="1461" y="2810"/>
                    </a:lnTo>
                    <a:lnTo>
                      <a:pt x="1465" y="2811"/>
                    </a:lnTo>
                    <a:lnTo>
                      <a:pt x="1469" y="2811"/>
                    </a:lnTo>
                    <a:lnTo>
                      <a:pt x="1479" y="2811"/>
                    </a:lnTo>
                    <a:lnTo>
                      <a:pt x="1488" y="2810"/>
                    </a:lnTo>
                    <a:lnTo>
                      <a:pt x="1498" y="2809"/>
                    </a:lnTo>
                    <a:lnTo>
                      <a:pt x="1507" y="2807"/>
                    </a:lnTo>
                    <a:lnTo>
                      <a:pt x="1522" y="2802"/>
                    </a:lnTo>
                    <a:lnTo>
                      <a:pt x="1539" y="2796"/>
                    </a:lnTo>
                    <a:lnTo>
                      <a:pt x="1570" y="2780"/>
                    </a:lnTo>
                    <a:lnTo>
                      <a:pt x="1605" y="2765"/>
                    </a:lnTo>
                    <a:lnTo>
                      <a:pt x="1616" y="2760"/>
                    </a:lnTo>
                    <a:lnTo>
                      <a:pt x="1627" y="2758"/>
                    </a:lnTo>
                    <a:lnTo>
                      <a:pt x="1636" y="2756"/>
                    </a:lnTo>
                    <a:lnTo>
                      <a:pt x="1646" y="2756"/>
                    </a:lnTo>
                    <a:lnTo>
                      <a:pt x="1666" y="2756"/>
                    </a:lnTo>
                    <a:lnTo>
                      <a:pt x="1687" y="2754"/>
                    </a:lnTo>
                    <a:lnTo>
                      <a:pt x="1718" y="2750"/>
                    </a:lnTo>
                    <a:lnTo>
                      <a:pt x="1746" y="2746"/>
                    </a:lnTo>
                    <a:lnTo>
                      <a:pt x="1760" y="2744"/>
                    </a:lnTo>
                    <a:lnTo>
                      <a:pt x="1773" y="2742"/>
                    </a:lnTo>
                    <a:lnTo>
                      <a:pt x="1787" y="2741"/>
                    </a:lnTo>
                    <a:lnTo>
                      <a:pt x="1804" y="2741"/>
                    </a:lnTo>
                    <a:lnTo>
                      <a:pt x="1813" y="2742"/>
                    </a:lnTo>
                    <a:lnTo>
                      <a:pt x="1824" y="2743"/>
                    </a:lnTo>
                    <a:lnTo>
                      <a:pt x="1824" y="2678"/>
                    </a:lnTo>
                    <a:lnTo>
                      <a:pt x="1824" y="2654"/>
                    </a:lnTo>
                    <a:lnTo>
                      <a:pt x="1824" y="2632"/>
                    </a:lnTo>
                    <a:lnTo>
                      <a:pt x="1824" y="2612"/>
                    </a:lnTo>
                    <a:lnTo>
                      <a:pt x="1821" y="2591"/>
                    </a:lnTo>
                    <a:lnTo>
                      <a:pt x="1819" y="2582"/>
                    </a:lnTo>
                    <a:lnTo>
                      <a:pt x="1817" y="2572"/>
                    </a:lnTo>
                    <a:lnTo>
                      <a:pt x="1814" y="2563"/>
                    </a:lnTo>
                    <a:lnTo>
                      <a:pt x="1810" y="2554"/>
                    </a:lnTo>
                    <a:lnTo>
                      <a:pt x="1805" y="2545"/>
                    </a:lnTo>
                    <a:lnTo>
                      <a:pt x="1800" y="2536"/>
                    </a:lnTo>
                    <a:lnTo>
                      <a:pt x="1793" y="2527"/>
                    </a:lnTo>
                    <a:lnTo>
                      <a:pt x="1784" y="2519"/>
                    </a:lnTo>
                    <a:lnTo>
                      <a:pt x="1797" y="2515"/>
                    </a:lnTo>
                    <a:lnTo>
                      <a:pt x="1808" y="2511"/>
                    </a:lnTo>
                    <a:lnTo>
                      <a:pt x="1819" y="2505"/>
                    </a:lnTo>
                    <a:lnTo>
                      <a:pt x="1830" y="2499"/>
                    </a:lnTo>
                    <a:lnTo>
                      <a:pt x="1834" y="2496"/>
                    </a:lnTo>
                    <a:lnTo>
                      <a:pt x="1838" y="2492"/>
                    </a:lnTo>
                    <a:lnTo>
                      <a:pt x="1841" y="2488"/>
                    </a:lnTo>
                    <a:lnTo>
                      <a:pt x="1844" y="2484"/>
                    </a:lnTo>
                    <a:lnTo>
                      <a:pt x="1847" y="2479"/>
                    </a:lnTo>
                    <a:lnTo>
                      <a:pt x="1849" y="2473"/>
                    </a:lnTo>
                    <a:lnTo>
                      <a:pt x="1850" y="2468"/>
                    </a:lnTo>
                    <a:lnTo>
                      <a:pt x="1850" y="2462"/>
                    </a:lnTo>
                    <a:lnTo>
                      <a:pt x="1849" y="2453"/>
                    </a:lnTo>
                    <a:lnTo>
                      <a:pt x="1847" y="2444"/>
                    </a:lnTo>
                    <a:lnTo>
                      <a:pt x="1844" y="2436"/>
                    </a:lnTo>
                    <a:lnTo>
                      <a:pt x="1843" y="2427"/>
                    </a:lnTo>
                    <a:lnTo>
                      <a:pt x="1844" y="2404"/>
                    </a:lnTo>
                    <a:lnTo>
                      <a:pt x="1845" y="2382"/>
                    </a:lnTo>
                    <a:lnTo>
                      <a:pt x="1848" y="2363"/>
                    </a:lnTo>
                    <a:lnTo>
                      <a:pt x="1852" y="2344"/>
                    </a:lnTo>
                    <a:lnTo>
                      <a:pt x="1858" y="2326"/>
                    </a:lnTo>
                    <a:lnTo>
                      <a:pt x="1865" y="2307"/>
                    </a:lnTo>
                    <a:lnTo>
                      <a:pt x="1873" y="2289"/>
                    </a:lnTo>
                    <a:lnTo>
                      <a:pt x="1883" y="2269"/>
                    </a:lnTo>
                    <a:lnTo>
                      <a:pt x="1887" y="2263"/>
                    </a:lnTo>
                    <a:lnTo>
                      <a:pt x="1893" y="2258"/>
                    </a:lnTo>
                    <a:lnTo>
                      <a:pt x="1898" y="2254"/>
                    </a:lnTo>
                    <a:lnTo>
                      <a:pt x="1903" y="2251"/>
                    </a:lnTo>
                    <a:lnTo>
                      <a:pt x="1915" y="2245"/>
                    </a:lnTo>
                    <a:lnTo>
                      <a:pt x="1929" y="2238"/>
                    </a:lnTo>
                    <a:lnTo>
                      <a:pt x="1936" y="2231"/>
                    </a:lnTo>
                    <a:lnTo>
                      <a:pt x="1942" y="2222"/>
                    </a:lnTo>
                    <a:lnTo>
                      <a:pt x="1946" y="2213"/>
                    </a:lnTo>
                    <a:lnTo>
                      <a:pt x="1949" y="2204"/>
                    </a:lnTo>
                    <a:lnTo>
                      <a:pt x="1950" y="2194"/>
                    </a:lnTo>
                    <a:lnTo>
                      <a:pt x="1951" y="2183"/>
                    </a:lnTo>
                    <a:lnTo>
                      <a:pt x="1951" y="2172"/>
                    </a:lnTo>
                    <a:lnTo>
                      <a:pt x="1951" y="2160"/>
                    </a:lnTo>
                    <a:lnTo>
                      <a:pt x="1951" y="2150"/>
                    </a:lnTo>
                    <a:lnTo>
                      <a:pt x="1949" y="2141"/>
                    </a:lnTo>
                    <a:lnTo>
                      <a:pt x="1936" y="2144"/>
                    </a:lnTo>
                    <a:lnTo>
                      <a:pt x="1925" y="2147"/>
                    </a:lnTo>
                    <a:lnTo>
                      <a:pt x="1914" y="2152"/>
                    </a:lnTo>
                    <a:lnTo>
                      <a:pt x="1904" y="2156"/>
                    </a:lnTo>
                    <a:lnTo>
                      <a:pt x="1894" y="2160"/>
                    </a:lnTo>
                    <a:lnTo>
                      <a:pt x="1882" y="2164"/>
                    </a:lnTo>
                    <a:lnTo>
                      <a:pt x="1871" y="2166"/>
                    </a:lnTo>
                    <a:lnTo>
                      <a:pt x="1858" y="2167"/>
                    </a:lnTo>
                    <a:lnTo>
                      <a:pt x="1850" y="2167"/>
                    </a:lnTo>
                    <a:lnTo>
                      <a:pt x="1843" y="2165"/>
                    </a:lnTo>
                    <a:lnTo>
                      <a:pt x="1836" y="2163"/>
                    </a:lnTo>
                    <a:lnTo>
                      <a:pt x="1830" y="2158"/>
                    </a:lnTo>
                    <a:lnTo>
                      <a:pt x="1825" y="2154"/>
                    </a:lnTo>
                    <a:lnTo>
                      <a:pt x="1821" y="2149"/>
                    </a:lnTo>
                    <a:lnTo>
                      <a:pt x="1818" y="2143"/>
                    </a:lnTo>
                    <a:lnTo>
                      <a:pt x="1817" y="2136"/>
                    </a:lnTo>
                    <a:lnTo>
                      <a:pt x="1817" y="2126"/>
                    </a:lnTo>
                    <a:lnTo>
                      <a:pt x="1819" y="2118"/>
                    </a:lnTo>
                    <a:lnTo>
                      <a:pt x="1821" y="2110"/>
                    </a:lnTo>
                    <a:lnTo>
                      <a:pt x="1824" y="2102"/>
                    </a:lnTo>
                    <a:lnTo>
                      <a:pt x="1828" y="2094"/>
                    </a:lnTo>
                    <a:lnTo>
                      <a:pt x="1833" y="2087"/>
                    </a:lnTo>
                    <a:lnTo>
                      <a:pt x="1839" y="2081"/>
                    </a:lnTo>
                    <a:lnTo>
                      <a:pt x="1846" y="2075"/>
                    </a:lnTo>
                    <a:lnTo>
                      <a:pt x="1853" y="2071"/>
                    </a:lnTo>
                    <a:lnTo>
                      <a:pt x="1861" y="2066"/>
                    </a:lnTo>
                    <a:lnTo>
                      <a:pt x="1865" y="2063"/>
                    </a:lnTo>
                    <a:lnTo>
                      <a:pt x="1867" y="2061"/>
                    </a:lnTo>
                    <a:lnTo>
                      <a:pt x="1869" y="2058"/>
                    </a:lnTo>
                    <a:lnTo>
                      <a:pt x="1869" y="2053"/>
                    </a:lnTo>
                    <a:lnTo>
                      <a:pt x="1869" y="2042"/>
                    </a:lnTo>
                    <a:lnTo>
                      <a:pt x="1866" y="2032"/>
                    </a:lnTo>
                    <a:lnTo>
                      <a:pt x="1862" y="2023"/>
                    </a:lnTo>
                    <a:lnTo>
                      <a:pt x="1858" y="2014"/>
                    </a:lnTo>
                    <a:lnTo>
                      <a:pt x="1852" y="2006"/>
                    </a:lnTo>
                    <a:lnTo>
                      <a:pt x="1847" y="1996"/>
                    </a:lnTo>
                    <a:lnTo>
                      <a:pt x="1843" y="1987"/>
                    </a:lnTo>
                    <a:lnTo>
                      <a:pt x="1839" y="1976"/>
                    </a:lnTo>
                    <a:lnTo>
                      <a:pt x="1833" y="1955"/>
                    </a:lnTo>
                    <a:lnTo>
                      <a:pt x="1829" y="1935"/>
                    </a:lnTo>
                    <a:lnTo>
                      <a:pt x="1825" y="1917"/>
                    </a:lnTo>
                    <a:lnTo>
                      <a:pt x="1821" y="1899"/>
                    </a:lnTo>
                    <a:lnTo>
                      <a:pt x="1817" y="1881"/>
                    </a:lnTo>
                    <a:lnTo>
                      <a:pt x="1813" y="1863"/>
                    </a:lnTo>
                    <a:lnTo>
                      <a:pt x="1807" y="1844"/>
                    </a:lnTo>
                    <a:lnTo>
                      <a:pt x="1799" y="1825"/>
                    </a:lnTo>
                    <a:lnTo>
                      <a:pt x="1796" y="1820"/>
                    </a:lnTo>
                    <a:lnTo>
                      <a:pt x="1793" y="1815"/>
                    </a:lnTo>
                    <a:lnTo>
                      <a:pt x="1788" y="1811"/>
                    </a:lnTo>
                    <a:lnTo>
                      <a:pt x="1784" y="1808"/>
                    </a:lnTo>
                    <a:lnTo>
                      <a:pt x="1774" y="1803"/>
                    </a:lnTo>
                    <a:lnTo>
                      <a:pt x="1764" y="1800"/>
                    </a:lnTo>
                    <a:lnTo>
                      <a:pt x="1752" y="1798"/>
                    </a:lnTo>
                    <a:lnTo>
                      <a:pt x="1741" y="1795"/>
                    </a:lnTo>
                    <a:lnTo>
                      <a:pt x="1735" y="1793"/>
                    </a:lnTo>
                    <a:lnTo>
                      <a:pt x="1730" y="1791"/>
                    </a:lnTo>
                    <a:lnTo>
                      <a:pt x="1724" y="1788"/>
                    </a:lnTo>
                    <a:lnTo>
                      <a:pt x="1718" y="1785"/>
                    </a:lnTo>
                    <a:lnTo>
                      <a:pt x="1722" y="1775"/>
                    </a:lnTo>
                    <a:lnTo>
                      <a:pt x="1729" y="1768"/>
                    </a:lnTo>
                    <a:lnTo>
                      <a:pt x="1735" y="1761"/>
                    </a:lnTo>
                    <a:lnTo>
                      <a:pt x="1741" y="1755"/>
                    </a:lnTo>
                    <a:lnTo>
                      <a:pt x="1755" y="1743"/>
                    </a:lnTo>
                    <a:lnTo>
                      <a:pt x="1771" y="1734"/>
                    </a:lnTo>
                    <a:lnTo>
                      <a:pt x="1778" y="1729"/>
                    </a:lnTo>
                    <a:lnTo>
                      <a:pt x="1785" y="1724"/>
                    </a:lnTo>
                    <a:lnTo>
                      <a:pt x="1792" y="1717"/>
                    </a:lnTo>
                    <a:lnTo>
                      <a:pt x="1797" y="1711"/>
                    </a:lnTo>
                    <a:lnTo>
                      <a:pt x="1802" y="1705"/>
                    </a:lnTo>
                    <a:lnTo>
                      <a:pt x="1805" y="1697"/>
                    </a:lnTo>
                    <a:lnTo>
                      <a:pt x="1807" y="1689"/>
                    </a:lnTo>
                    <a:lnTo>
                      <a:pt x="1808" y="1679"/>
                    </a:lnTo>
                    <a:lnTo>
                      <a:pt x="1807" y="1671"/>
                    </a:lnTo>
                    <a:lnTo>
                      <a:pt x="1806" y="1663"/>
                    </a:lnTo>
                    <a:lnTo>
                      <a:pt x="1804" y="1656"/>
                    </a:lnTo>
                    <a:lnTo>
                      <a:pt x="1801" y="1647"/>
                    </a:lnTo>
                    <a:lnTo>
                      <a:pt x="1791" y="1647"/>
                    </a:lnTo>
                    <a:lnTo>
                      <a:pt x="1780" y="1648"/>
                    </a:lnTo>
                    <a:lnTo>
                      <a:pt x="1771" y="1649"/>
                    </a:lnTo>
                    <a:lnTo>
                      <a:pt x="1761" y="1650"/>
                    </a:lnTo>
                    <a:lnTo>
                      <a:pt x="1749" y="1648"/>
                    </a:lnTo>
                    <a:lnTo>
                      <a:pt x="1739" y="1646"/>
                    </a:lnTo>
                    <a:lnTo>
                      <a:pt x="1730" y="1644"/>
                    </a:lnTo>
                    <a:lnTo>
                      <a:pt x="1718" y="1643"/>
                    </a:lnTo>
                    <a:lnTo>
                      <a:pt x="1713" y="1643"/>
                    </a:lnTo>
                    <a:lnTo>
                      <a:pt x="1709" y="1644"/>
                    </a:lnTo>
                    <a:lnTo>
                      <a:pt x="1706" y="1646"/>
                    </a:lnTo>
                    <a:lnTo>
                      <a:pt x="1703" y="1649"/>
                    </a:lnTo>
                    <a:lnTo>
                      <a:pt x="1698" y="1656"/>
                    </a:lnTo>
                    <a:lnTo>
                      <a:pt x="1695" y="1664"/>
                    </a:lnTo>
                    <a:lnTo>
                      <a:pt x="1689" y="1683"/>
                    </a:lnTo>
                    <a:lnTo>
                      <a:pt x="1683" y="1704"/>
                    </a:lnTo>
                    <a:lnTo>
                      <a:pt x="1672" y="1732"/>
                    </a:lnTo>
                    <a:lnTo>
                      <a:pt x="1662" y="1757"/>
                    </a:lnTo>
                    <a:lnTo>
                      <a:pt x="1655" y="1768"/>
                    </a:lnTo>
                    <a:lnTo>
                      <a:pt x="1648" y="1779"/>
                    </a:lnTo>
                    <a:lnTo>
                      <a:pt x="1639" y="1789"/>
                    </a:lnTo>
                    <a:lnTo>
                      <a:pt x="1627" y="1799"/>
                    </a:lnTo>
                    <a:lnTo>
                      <a:pt x="1621" y="1794"/>
                    </a:lnTo>
                    <a:lnTo>
                      <a:pt x="1618" y="1790"/>
                    </a:lnTo>
                    <a:lnTo>
                      <a:pt x="1615" y="1784"/>
                    </a:lnTo>
                    <a:lnTo>
                      <a:pt x="1615" y="1777"/>
                    </a:lnTo>
                    <a:lnTo>
                      <a:pt x="1615" y="1769"/>
                    </a:lnTo>
                    <a:lnTo>
                      <a:pt x="1616" y="1762"/>
                    </a:lnTo>
                    <a:lnTo>
                      <a:pt x="1616" y="1755"/>
                    </a:lnTo>
                    <a:lnTo>
                      <a:pt x="1617" y="1746"/>
                    </a:lnTo>
                    <a:lnTo>
                      <a:pt x="1613" y="1732"/>
                    </a:lnTo>
                    <a:lnTo>
                      <a:pt x="1610" y="1718"/>
                    </a:lnTo>
                    <a:lnTo>
                      <a:pt x="1611" y="1698"/>
                    </a:lnTo>
                    <a:lnTo>
                      <a:pt x="1613" y="1676"/>
                    </a:lnTo>
                    <a:lnTo>
                      <a:pt x="1617" y="1656"/>
                    </a:lnTo>
                    <a:lnTo>
                      <a:pt x="1622" y="1636"/>
                    </a:lnTo>
                    <a:lnTo>
                      <a:pt x="1629" y="1616"/>
                    </a:lnTo>
                    <a:lnTo>
                      <a:pt x="1637" y="1598"/>
                    </a:lnTo>
                    <a:lnTo>
                      <a:pt x="1647" y="1580"/>
                    </a:lnTo>
                    <a:lnTo>
                      <a:pt x="1658" y="1565"/>
                    </a:lnTo>
                    <a:lnTo>
                      <a:pt x="1670" y="1549"/>
                    </a:lnTo>
                    <a:lnTo>
                      <a:pt x="1683" y="1536"/>
                    </a:lnTo>
                    <a:lnTo>
                      <a:pt x="1691" y="1530"/>
                    </a:lnTo>
                    <a:lnTo>
                      <a:pt x="1698" y="1523"/>
                    </a:lnTo>
                    <a:lnTo>
                      <a:pt x="1706" y="1518"/>
                    </a:lnTo>
                    <a:lnTo>
                      <a:pt x="1714" y="1513"/>
                    </a:lnTo>
                    <a:lnTo>
                      <a:pt x="1722" y="1509"/>
                    </a:lnTo>
                    <a:lnTo>
                      <a:pt x="1731" y="1505"/>
                    </a:lnTo>
                    <a:lnTo>
                      <a:pt x="1740" y="1502"/>
                    </a:lnTo>
                    <a:lnTo>
                      <a:pt x="1749" y="1500"/>
                    </a:lnTo>
                    <a:lnTo>
                      <a:pt x="1759" y="1496"/>
                    </a:lnTo>
                    <a:lnTo>
                      <a:pt x="1769" y="1495"/>
                    </a:lnTo>
                    <a:lnTo>
                      <a:pt x="1779" y="1494"/>
                    </a:lnTo>
                    <a:lnTo>
                      <a:pt x="1790" y="1494"/>
                    </a:lnTo>
                    <a:lnTo>
                      <a:pt x="1804" y="1494"/>
                    </a:lnTo>
                    <a:lnTo>
                      <a:pt x="1816" y="1496"/>
                    </a:lnTo>
                    <a:lnTo>
                      <a:pt x="1829" y="1499"/>
                    </a:lnTo>
                    <a:lnTo>
                      <a:pt x="1843" y="1499"/>
                    </a:lnTo>
                    <a:lnTo>
                      <a:pt x="1850" y="1499"/>
                    </a:lnTo>
                    <a:lnTo>
                      <a:pt x="1857" y="1498"/>
                    </a:lnTo>
                    <a:lnTo>
                      <a:pt x="1863" y="1495"/>
                    </a:lnTo>
                    <a:lnTo>
                      <a:pt x="1868" y="1493"/>
                    </a:lnTo>
                    <a:lnTo>
                      <a:pt x="1874" y="1490"/>
                    </a:lnTo>
                    <a:lnTo>
                      <a:pt x="1879" y="1487"/>
                    </a:lnTo>
                    <a:lnTo>
                      <a:pt x="1884" y="1484"/>
                    </a:lnTo>
                    <a:lnTo>
                      <a:pt x="1889" y="1479"/>
                    </a:lnTo>
                    <a:lnTo>
                      <a:pt x="1893" y="1475"/>
                    </a:lnTo>
                    <a:lnTo>
                      <a:pt x="1897" y="1470"/>
                    </a:lnTo>
                    <a:lnTo>
                      <a:pt x="1900" y="1464"/>
                    </a:lnTo>
                    <a:lnTo>
                      <a:pt x="1902" y="1458"/>
                    </a:lnTo>
                    <a:lnTo>
                      <a:pt x="1904" y="1452"/>
                    </a:lnTo>
                    <a:lnTo>
                      <a:pt x="1906" y="1446"/>
                    </a:lnTo>
                    <a:lnTo>
                      <a:pt x="1907" y="1440"/>
                    </a:lnTo>
                    <a:lnTo>
                      <a:pt x="1907" y="1433"/>
                    </a:lnTo>
                    <a:lnTo>
                      <a:pt x="1906" y="1420"/>
                    </a:lnTo>
                    <a:lnTo>
                      <a:pt x="1905" y="1407"/>
                    </a:lnTo>
                    <a:lnTo>
                      <a:pt x="1900" y="1364"/>
                    </a:lnTo>
                    <a:lnTo>
                      <a:pt x="1878" y="1368"/>
                    </a:lnTo>
                    <a:lnTo>
                      <a:pt x="1858" y="1374"/>
                    </a:lnTo>
                    <a:lnTo>
                      <a:pt x="1839" y="1379"/>
                    </a:lnTo>
                    <a:lnTo>
                      <a:pt x="1821" y="1383"/>
                    </a:lnTo>
                    <a:lnTo>
                      <a:pt x="1803" y="1388"/>
                    </a:lnTo>
                    <a:lnTo>
                      <a:pt x="1784" y="1391"/>
                    </a:lnTo>
                    <a:lnTo>
                      <a:pt x="1764" y="1394"/>
                    </a:lnTo>
                    <a:lnTo>
                      <a:pt x="1742" y="1395"/>
                    </a:lnTo>
                    <a:lnTo>
                      <a:pt x="1727" y="1394"/>
                    </a:lnTo>
                    <a:lnTo>
                      <a:pt x="1712" y="1393"/>
                    </a:lnTo>
                    <a:lnTo>
                      <a:pt x="1706" y="1391"/>
                    </a:lnTo>
                    <a:lnTo>
                      <a:pt x="1700" y="1389"/>
                    </a:lnTo>
                    <a:lnTo>
                      <a:pt x="1694" y="1385"/>
                    </a:lnTo>
                    <a:lnTo>
                      <a:pt x="1687" y="1381"/>
                    </a:lnTo>
                    <a:lnTo>
                      <a:pt x="1682" y="1374"/>
                    </a:lnTo>
                    <a:lnTo>
                      <a:pt x="1678" y="1366"/>
                    </a:lnTo>
                    <a:lnTo>
                      <a:pt x="1675" y="1359"/>
                    </a:lnTo>
                    <a:lnTo>
                      <a:pt x="1672" y="1351"/>
                    </a:lnTo>
                    <a:lnTo>
                      <a:pt x="1670" y="1344"/>
                    </a:lnTo>
                    <a:lnTo>
                      <a:pt x="1667" y="1336"/>
                    </a:lnTo>
                    <a:lnTo>
                      <a:pt x="1664" y="1332"/>
                    </a:lnTo>
                    <a:lnTo>
                      <a:pt x="1662" y="1329"/>
                    </a:lnTo>
                    <a:lnTo>
                      <a:pt x="1659" y="1327"/>
                    </a:lnTo>
                    <a:lnTo>
                      <a:pt x="1654" y="1324"/>
                    </a:lnTo>
                    <a:lnTo>
                      <a:pt x="1626" y="1308"/>
                    </a:lnTo>
                    <a:lnTo>
                      <a:pt x="1598" y="1292"/>
                    </a:lnTo>
                    <a:lnTo>
                      <a:pt x="1593" y="1288"/>
                    </a:lnTo>
                    <a:lnTo>
                      <a:pt x="1586" y="1283"/>
                    </a:lnTo>
                    <a:lnTo>
                      <a:pt x="1582" y="1278"/>
                    </a:lnTo>
                    <a:lnTo>
                      <a:pt x="1578" y="1272"/>
                    </a:lnTo>
                    <a:lnTo>
                      <a:pt x="1575" y="1266"/>
                    </a:lnTo>
                    <a:lnTo>
                      <a:pt x="1572" y="1259"/>
                    </a:lnTo>
                    <a:lnTo>
                      <a:pt x="1571" y="1252"/>
                    </a:lnTo>
                    <a:lnTo>
                      <a:pt x="1570" y="1243"/>
                    </a:lnTo>
                    <a:lnTo>
                      <a:pt x="1570" y="1239"/>
                    </a:lnTo>
                    <a:lnTo>
                      <a:pt x="1572" y="1235"/>
                    </a:lnTo>
                    <a:lnTo>
                      <a:pt x="1574" y="1232"/>
                    </a:lnTo>
                    <a:lnTo>
                      <a:pt x="1576" y="1230"/>
                    </a:lnTo>
                    <a:lnTo>
                      <a:pt x="1582" y="1226"/>
                    </a:lnTo>
                    <a:lnTo>
                      <a:pt x="1592" y="1224"/>
                    </a:lnTo>
                    <a:lnTo>
                      <a:pt x="1601" y="1222"/>
                    </a:lnTo>
                    <a:lnTo>
                      <a:pt x="1610" y="1220"/>
                    </a:lnTo>
                    <a:lnTo>
                      <a:pt x="1620" y="1218"/>
                    </a:lnTo>
                    <a:lnTo>
                      <a:pt x="1629" y="1214"/>
                    </a:lnTo>
                    <a:lnTo>
                      <a:pt x="1655" y="1196"/>
                    </a:lnTo>
                    <a:lnTo>
                      <a:pt x="1680" y="1179"/>
                    </a:lnTo>
                    <a:lnTo>
                      <a:pt x="1692" y="1173"/>
                    </a:lnTo>
                    <a:lnTo>
                      <a:pt x="1705" y="1168"/>
                    </a:lnTo>
                    <a:lnTo>
                      <a:pt x="1712" y="1166"/>
                    </a:lnTo>
                    <a:lnTo>
                      <a:pt x="1719" y="1165"/>
                    </a:lnTo>
                    <a:lnTo>
                      <a:pt x="1727" y="1164"/>
                    </a:lnTo>
                    <a:lnTo>
                      <a:pt x="1735" y="1164"/>
                    </a:lnTo>
                    <a:lnTo>
                      <a:pt x="1750" y="1168"/>
                    </a:lnTo>
                    <a:lnTo>
                      <a:pt x="1766" y="1173"/>
                    </a:lnTo>
                    <a:lnTo>
                      <a:pt x="1771" y="1172"/>
                    </a:lnTo>
                    <a:lnTo>
                      <a:pt x="1775" y="1169"/>
                    </a:lnTo>
                    <a:lnTo>
                      <a:pt x="1778" y="1165"/>
                    </a:lnTo>
                    <a:lnTo>
                      <a:pt x="1781" y="1161"/>
                    </a:lnTo>
                    <a:lnTo>
                      <a:pt x="1782" y="1155"/>
                    </a:lnTo>
                    <a:lnTo>
                      <a:pt x="1783" y="1148"/>
                    </a:lnTo>
                    <a:lnTo>
                      <a:pt x="1784" y="1142"/>
                    </a:lnTo>
                    <a:lnTo>
                      <a:pt x="1784" y="1136"/>
                    </a:lnTo>
                    <a:lnTo>
                      <a:pt x="1784" y="1085"/>
                    </a:lnTo>
                    <a:lnTo>
                      <a:pt x="1784" y="1078"/>
                    </a:lnTo>
                    <a:lnTo>
                      <a:pt x="1786" y="1073"/>
                    </a:lnTo>
                    <a:lnTo>
                      <a:pt x="1787" y="1068"/>
                    </a:lnTo>
                    <a:lnTo>
                      <a:pt x="1790" y="1063"/>
                    </a:lnTo>
                    <a:lnTo>
                      <a:pt x="1796" y="1053"/>
                    </a:lnTo>
                    <a:lnTo>
                      <a:pt x="1804" y="1045"/>
                    </a:lnTo>
                    <a:lnTo>
                      <a:pt x="1812" y="1038"/>
                    </a:lnTo>
                    <a:lnTo>
                      <a:pt x="1820" y="1030"/>
                    </a:lnTo>
                    <a:lnTo>
                      <a:pt x="1829" y="1020"/>
                    </a:lnTo>
                    <a:lnTo>
                      <a:pt x="1836" y="1010"/>
                    </a:lnTo>
                    <a:lnTo>
                      <a:pt x="1859" y="973"/>
                    </a:lnTo>
                    <a:lnTo>
                      <a:pt x="1878" y="940"/>
                    </a:lnTo>
                    <a:lnTo>
                      <a:pt x="1898" y="907"/>
                    </a:lnTo>
                    <a:lnTo>
                      <a:pt x="1918" y="869"/>
                    </a:lnTo>
                    <a:lnTo>
                      <a:pt x="1923" y="863"/>
                    </a:lnTo>
                    <a:lnTo>
                      <a:pt x="1926" y="859"/>
                    </a:lnTo>
                    <a:lnTo>
                      <a:pt x="1930" y="855"/>
                    </a:lnTo>
                    <a:lnTo>
                      <a:pt x="1935" y="851"/>
                    </a:lnTo>
                    <a:lnTo>
                      <a:pt x="1944" y="844"/>
                    </a:lnTo>
                    <a:lnTo>
                      <a:pt x="1953" y="839"/>
                    </a:lnTo>
                    <a:lnTo>
                      <a:pt x="1962" y="831"/>
                    </a:lnTo>
                    <a:lnTo>
                      <a:pt x="1969" y="824"/>
                    </a:lnTo>
                    <a:lnTo>
                      <a:pt x="1972" y="820"/>
                    </a:lnTo>
                    <a:lnTo>
                      <a:pt x="1974" y="816"/>
                    </a:lnTo>
                    <a:lnTo>
                      <a:pt x="1975" y="811"/>
                    </a:lnTo>
                    <a:lnTo>
                      <a:pt x="1975" y="805"/>
                    </a:lnTo>
                    <a:lnTo>
                      <a:pt x="1975" y="799"/>
                    </a:lnTo>
                    <a:lnTo>
                      <a:pt x="1974" y="795"/>
                    </a:lnTo>
                    <a:lnTo>
                      <a:pt x="1973" y="790"/>
                    </a:lnTo>
                    <a:lnTo>
                      <a:pt x="1971" y="787"/>
                    </a:lnTo>
                    <a:lnTo>
                      <a:pt x="1966" y="779"/>
                    </a:lnTo>
                    <a:lnTo>
                      <a:pt x="1960" y="773"/>
                    </a:lnTo>
                    <a:lnTo>
                      <a:pt x="1944" y="760"/>
                    </a:lnTo>
                    <a:lnTo>
                      <a:pt x="1929" y="748"/>
                    </a:lnTo>
                    <a:lnTo>
                      <a:pt x="1910" y="730"/>
                    </a:lnTo>
                    <a:lnTo>
                      <a:pt x="1895" y="713"/>
                    </a:lnTo>
                    <a:lnTo>
                      <a:pt x="1887" y="704"/>
                    </a:lnTo>
                    <a:lnTo>
                      <a:pt x="1879" y="696"/>
                    </a:lnTo>
                    <a:lnTo>
                      <a:pt x="1870" y="688"/>
                    </a:lnTo>
                    <a:lnTo>
                      <a:pt x="1860" y="680"/>
                    </a:lnTo>
                    <a:lnTo>
                      <a:pt x="1847" y="670"/>
                    </a:lnTo>
                    <a:lnTo>
                      <a:pt x="1836" y="662"/>
                    </a:lnTo>
                    <a:lnTo>
                      <a:pt x="1826" y="653"/>
                    </a:lnTo>
                    <a:lnTo>
                      <a:pt x="1815" y="644"/>
                    </a:lnTo>
                    <a:lnTo>
                      <a:pt x="1811" y="638"/>
                    </a:lnTo>
                    <a:lnTo>
                      <a:pt x="1808" y="633"/>
                    </a:lnTo>
                    <a:lnTo>
                      <a:pt x="1804" y="628"/>
                    </a:lnTo>
                    <a:lnTo>
                      <a:pt x="1802" y="622"/>
                    </a:lnTo>
                    <a:lnTo>
                      <a:pt x="1800" y="616"/>
                    </a:lnTo>
                    <a:lnTo>
                      <a:pt x="1798" y="609"/>
                    </a:lnTo>
                    <a:lnTo>
                      <a:pt x="1797" y="602"/>
                    </a:lnTo>
                    <a:lnTo>
                      <a:pt x="1797" y="595"/>
                    </a:lnTo>
                    <a:lnTo>
                      <a:pt x="1797" y="584"/>
                    </a:lnTo>
                    <a:lnTo>
                      <a:pt x="1799" y="574"/>
                    </a:lnTo>
                    <a:lnTo>
                      <a:pt x="1802" y="565"/>
                    </a:lnTo>
                    <a:lnTo>
                      <a:pt x="1806" y="557"/>
                    </a:lnTo>
                    <a:lnTo>
                      <a:pt x="1810" y="549"/>
                    </a:lnTo>
                    <a:lnTo>
                      <a:pt x="1816" y="541"/>
                    </a:lnTo>
                    <a:lnTo>
                      <a:pt x="1823" y="534"/>
                    </a:lnTo>
                    <a:lnTo>
                      <a:pt x="1830" y="528"/>
                    </a:lnTo>
                    <a:lnTo>
                      <a:pt x="1862" y="503"/>
                    </a:lnTo>
                    <a:lnTo>
                      <a:pt x="1896" y="474"/>
                    </a:lnTo>
                    <a:lnTo>
                      <a:pt x="1898" y="463"/>
                    </a:lnTo>
                    <a:lnTo>
                      <a:pt x="1870" y="461"/>
                    </a:lnTo>
                    <a:lnTo>
                      <a:pt x="1844" y="458"/>
                    </a:lnTo>
                    <a:lnTo>
                      <a:pt x="1819" y="457"/>
                    </a:lnTo>
                    <a:lnTo>
                      <a:pt x="1792" y="456"/>
                    </a:lnTo>
                    <a:lnTo>
                      <a:pt x="1778" y="456"/>
                    </a:lnTo>
                    <a:lnTo>
                      <a:pt x="1767" y="457"/>
                    </a:lnTo>
                    <a:lnTo>
                      <a:pt x="1755" y="458"/>
                    </a:lnTo>
                    <a:lnTo>
                      <a:pt x="1745" y="460"/>
                    </a:lnTo>
                    <a:lnTo>
                      <a:pt x="1724" y="466"/>
                    </a:lnTo>
                    <a:lnTo>
                      <a:pt x="1700" y="474"/>
                    </a:lnTo>
                    <a:lnTo>
                      <a:pt x="1688" y="489"/>
                    </a:lnTo>
                    <a:lnTo>
                      <a:pt x="1678" y="501"/>
                    </a:lnTo>
                    <a:lnTo>
                      <a:pt x="1668" y="512"/>
                    </a:lnTo>
                    <a:lnTo>
                      <a:pt x="1655" y="522"/>
                    </a:lnTo>
                    <a:lnTo>
                      <a:pt x="1649" y="526"/>
                    </a:lnTo>
                    <a:lnTo>
                      <a:pt x="1643" y="530"/>
                    </a:lnTo>
                    <a:lnTo>
                      <a:pt x="1637" y="533"/>
                    </a:lnTo>
                    <a:lnTo>
                      <a:pt x="1630" y="535"/>
                    </a:lnTo>
                    <a:lnTo>
                      <a:pt x="1622" y="537"/>
                    </a:lnTo>
                    <a:lnTo>
                      <a:pt x="1614" y="539"/>
                    </a:lnTo>
                    <a:lnTo>
                      <a:pt x="1606" y="540"/>
                    </a:lnTo>
                    <a:lnTo>
                      <a:pt x="1597" y="540"/>
                    </a:lnTo>
                    <a:lnTo>
                      <a:pt x="1589" y="540"/>
                    </a:lnTo>
                    <a:lnTo>
                      <a:pt x="1583" y="539"/>
                    </a:lnTo>
                    <a:lnTo>
                      <a:pt x="1576" y="538"/>
                    </a:lnTo>
                    <a:lnTo>
                      <a:pt x="1570" y="536"/>
                    </a:lnTo>
                    <a:lnTo>
                      <a:pt x="1559" y="531"/>
                    </a:lnTo>
                    <a:lnTo>
                      <a:pt x="1548" y="525"/>
                    </a:lnTo>
                    <a:lnTo>
                      <a:pt x="1538" y="518"/>
                    </a:lnTo>
                    <a:lnTo>
                      <a:pt x="1527" y="510"/>
                    </a:lnTo>
                    <a:lnTo>
                      <a:pt x="1515" y="504"/>
                    </a:lnTo>
                    <a:lnTo>
                      <a:pt x="1502" y="498"/>
                    </a:lnTo>
                    <a:lnTo>
                      <a:pt x="1475" y="491"/>
                    </a:lnTo>
                    <a:lnTo>
                      <a:pt x="1450" y="483"/>
                    </a:lnTo>
                    <a:lnTo>
                      <a:pt x="1440" y="479"/>
                    </a:lnTo>
                    <a:lnTo>
                      <a:pt x="1430" y="473"/>
                    </a:lnTo>
                    <a:lnTo>
                      <a:pt x="1425" y="469"/>
                    </a:lnTo>
                    <a:lnTo>
                      <a:pt x="1421" y="464"/>
                    </a:lnTo>
                    <a:lnTo>
                      <a:pt x="1417" y="459"/>
                    </a:lnTo>
                    <a:lnTo>
                      <a:pt x="1414" y="454"/>
                    </a:lnTo>
                    <a:lnTo>
                      <a:pt x="1411" y="446"/>
                    </a:lnTo>
                    <a:lnTo>
                      <a:pt x="1409" y="439"/>
                    </a:lnTo>
                    <a:lnTo>
                      <a:pt x="1408" y="433"/>
                    </a:lnTo>
                    <a:lnTo>
                      <a:pt x="1407" y="426"/>
                    </a:lnTo>
                    <a:lnTo>
                      <a:pt x="1406" y="413"/>
                    </a:lnTo>
                    <a:lnTo>
                      <a:pt x="1406" y="400"/>
                    </a:lnTo>
                    <a:lnTo>
                      <a:pt x="1405" y="387"/>
                    </a:lnTo>
                    <a:lnTo>
                      <a:pt x="1403" y="375"/>
                    </a:lnTo>
                    <a:lnTo>
                      <a:pt x="1401" y="369"/>
                    </a:lnTo>
                    <a:lnTo>
                      <a:pt x="1399" y="364"/>
                    </a:lnTo>
                    <a:lnTo>
                      <a:pt x="1395" y="357"/>
                    </a:lnTo>
                    <a:lnTo>
                      <a:pt x="1390" y="351"/>
                    </a:lnTo>
                    <a:lnTo>
                      <a:pt x="1385" y="346"/>
                    </a:lnTo>
                    <a:lnTo>
                      <a:pt x="1378" y="342"/>
                    </a:lnTo>
                    <a:lnTo>
                      <a:pt x="1372" y="339"/>
                    </a:lnTo>
                    <a:lnTo>
                      <a:pt x="1364" y="338"/>
                    </a:lnTo>
                    <a:lnTo>
                      <a:pt x="1348" y="337"/>
                    </a:lnTo>
                    <a:lnTo>
                      <a:pt x="1331" y="338"/>
                    </a:lnTo>
                    <a:lnTo>
                      <a:pt x="1315" y="338"/>
                    </a:lnTo>
                    <a:lnTo>
                      <a:pt x="1301" y="340"/>
                    </a:lnTo>
                    <a:lnTo>
                      <a:pt x="1287" y="343"/>
                    </a:lnTo>
                    <a:lnTo>
                      <a:pt x="1275" y="347"/>
                    </a:lnTo>
                    <a:lnTo>
                      <a:pt x="1262" y="350"/>
                    </a:lnTo>
                    <a:lnTo>
                      <a:pt x="1248" y="353"/>
                    </a:lnTo>
                    <a:lnTo>
                      <a:pt x="1235" y="355"/>
                    </a:lnTo>
                    <a:lnTo>
                      <a:pt x="1218" y="356"/>
                    </a:lnTo>
                    <a:lnTo>
                      <a:pt x="1210" y="355"/>
                    </a:lnTo>
                    <a:lnTo>
                      <a:pt x="1203" y="353"/>
                    </a:lnTo>
                    <a:lnTo>
                      <a:pt x="1197" y="351"/>
                    </a:lnTo>
                    <a:lnTo>
                      <a:pt x="1189" y="347"/>
                    </a:lnTo>
                    <a:lnTo>
                      <a:pt x="1177" y="340"/>
                    </a:lnTo>
                    <a:lnTo>
                      <a:pt x="1163" y="333"/>
                    </a:lnTo>
                    <a:lnTo>
                      <a:pt x="1154" y="331"/>
                    </a:lnTo>
                    <a:lnTo>
                      <a:pt x="1146" y="329"/>
                    </a:lnTo>
                    <a:lnTo>
                      <a:pt x="1139" y="329"/>
                    </a:lnTo>
                    <a:lnTo>
                      <a:pt x="1131" y="328"/>
                    </a:lnTo>
                    <a:lnTo>
                      <a:pt x="1123" y="328"/>
                    </a:lnTo>
                    <a:lnTo>
                      <a:pt x="1116" y="326"/>
                    </a:lnTo>
                    <a:lnTo>
                      <a:pt x="1109" y="324"/>
                    </a:lnTo>
                    <a:lnTo>
                      <a:pt x="1101" y="321"/>
                    </a:lnTo>
                    <a:lnTo>
                      <a:pt x="1093" y="316"/>
                    </a:lnTo>
                    <a:lnTo>
                      <a:pt x="1088" y="310"/>
                    </a:lnTo>
                    <a:lnTo>
                      <a:pt x="1083" y="304"/>
                    </a:lnTo>
                    <a:lnTo>
                      <a:pt x="1080" y="297"/>
                    </a:lnTo>
                    <a:lnTo>
                      <a:pt x="1074" y="281"/>
                    </a:lnTo>
                    <a:lnTo>
                      <a:pt x="1068" y="265"/>
                    </a:lnTo>
                    <a:lnTo>
                      <a:pt x="1058" y="244"/>
                    </a:lnTo>
                    <a:lnTo>
                      <a:pt x="1050" y="226"/>
                    </a:lnTo>
                    <a:lnTo>
                      <a:pt x="1047" y="217"/>
                    </a:lnTo>
                    <a:lnTo>
                      <a:pt x="1044" y="208"/>
                    </a:lnTo>
                    <a:lnTo>
                      <a:pt x="1043" y="197"/>
                    </a:lnTo>
                    <a:lnTo>
                      <a:pt x="1042" y="186"/>
                    </a:lnTo>
                    <a:lnTo>
                      <a:pt x="1023" y="185"/>
                    </a:lnTo>
                    <a:lnTo>
                      <a:pt x="1008" y="184"/>
                    </a:lnTo>
                    <a:lnTo>
                      <a:pt x="991" y="183"/>
                    </a:lnTo>
                    <a:lnTo>
                      <a:pt x="974" y="179"/>
                    </a:lnTo>
                    <a:lnTo>
                      <a:pt x="970" y="195"/>
                    </a:lnTo>
                    <a:lnTo>
                      <a:pt x="966" y="209"/>
                    </a:lnTo>
                    <a:lnTo>
                      <a:pt x="962" y="215"/>
                    </a:lnTo>
                    <a:lnTo>
                      <a:pt x="961" y="222"/>
                    </a:lnTo>
                    <a:lnTo>
                      <a:pt x="959" y="229"/>
                    </a:lnTo>
                    <a:lnTo>
                      <a:pt x="959" y="239"/>
                    </a:lnTo>
                    <a:lnTo>
                      <a:pt x="959" y="243"/>
                    </a:lnTo>
                    <a:lnTo>
                      <a:pt x="958" y="246"/>
                    </a:lnTo>
                    <a:lnTo>
                      <a:pt x="956" y="249"/>
                    </a:lnTo>
                    <a:lnTo>
                      <a:pt x="954" y="252"/>
                    </a:lnTo>
                    <a:lnTo>
                      <a:pt x="948" y="256"/>
                    </a:lnTo>
                    <a:lnTo>
                      <a:pt x="940" y="259"/>
                    </a:lnTo>
                    <a:lnTo>
                      <a:pt x="922" y="262"/>
                    </a:lnTo>
                    <a:lnTo>
                      <a:pt x="903" y="265"/>
                    </a:lnTo>
                    <a:lnTo>
                      <a:pt x="893" y="267"/>
                    </a:lnTo>
                    <a:lnTo>
                      <a:pt x="886" y="270"/>
                    </a:lnTo>
                    <a:lnTo>
                      <a:pt x="879" y="274"/>
                    </a:lnTo>
                    <a:lnTo>
                      <a:pt x="872" y="278"/>
                    </a:lnTo>
                    <a:lnTo>
                      <a:pt x="866" y="283"/>
                    </a:lnTo>
                    <a:lnTo>
                      <a:pt x="858" y="286"/>
                    </a:lnTo>
                    <a:lnTo>
                      <a:pt x="850" y="289"/>
                    </a:lnTo>
                    <a:lnTo>
                      <a:pt x="842" y="290"/>
                    </a:lnTo>
                    <a:lnTo>
                      <a:pt x="835" y="289"/>
                    </a:lnTo>
                    <a:lnTo>
                      <a:pt x="829" y="287"/>
                    </a:lnTo>
                    <a:lnTo>
                      <a:pt x="825" y="283"/>
                    </a:lnTo>
                    <a:lnTo>
                      <a:pt x="821" y="278"/>
                    </a:lnTo>
                    <a:lnTo>
                      <a:pt x="815" y="267"/>
                    </a:lnTo>
                    <a:lnTo>
                      <a:pt x="809" y="255"/>
                    </a:lnTo>
                    <a:lnTo>
                      <a:pt x="800" y="239"/>
                    </a:lnTo>
                    <a:lnTo>
                      <a:pt x="792" y="224"/>
                    </a:lnTo>
                    <a:lnTo>
                      <a:pt x="786" y="209"/>
                    </a:lnTo>
                    <a:lnTo>
                      <a:pt x="780" y="191"/>
                    </a:lnTo>
                    <a:lnTo>
                      <a:pt x="778" y="180"/>
                    </a:lnTo>
                    <a:lnTo>
                      <a:pt x="775" y="170"/>
                    </a:lnTo>
                    <a:lnTo>
                      <a:pt x="773" y="164"/>
                    </a:lnTo>
                    <a:lnTo>
                      <a:pt x="770" y="161"/>
                    </a:lnTo>
                    <a:lnTo>
                      <a:pt x="767" y="159"/>
                    </a:lnTo>
                    <a:lnTo>
                      <a:pt x="761" y="158"/>
                    </a:lnTo>
                    <a:lnTo>
                      <a:pt x="741" y="158"/>
                    </a:lnTo>
                    <a:lnTo>
                      <a:pt x="722" y="159"/>
                    </a:lnTo>
                    <a:lnTo>
                      <a:pt x="704" y="160"/>
                    </a:lnTo>
                    <a:lnTo>
                      <a:pt x="683" y="160"/>
                    </a:lnTo>
                    <a:lnTo>
                      <a:pt x="659" y="160"/>
                    </a:lnTo>
                    <a:lnTo>
                      <a:pt x="637" y="158"/>
                    </a:lnTo>
                    <a:lnTo>
                      <a:pt x="627" y="156"/>
                    </a:lnTo>
                    <a:lnTo>
                      <a:pt x="617" y="152"/>
                    </a:lnTo>
                    <a:lnTo>
                      <a:pt x="608" y="147"/>
                    </a:lnTo>
                    <a:lnTo>
                      <a:pt x="598" y="140"/>
                    </a:lnTo>
                    <a:lnTo>
                      <a:pt x="590" y="129"/>
                    </a:lnTo>
                    <a:lnTo>
                      <a:pt x="585" y="120"/>
                    </a:lnTo>
                    <a:lnTo>
                      <a:pt x="580" y="111"/>
                    </a:lnTo>
                    <a:lnTo>
                      <a:pt x="576" y="100"/>
                    </a:lnTo>
                    <a:lnTo>
                      <a:pt x="573" y="90"/>
                    </a:lnTo>
                    <a:lnTo>
                      <a:pt x="569" y="80"/>
                    </a:lnTo>
                    <a:lnTo>
                      <a:pt x="563" y="69"/>
                    </a:lnTo>
                    <a:lnTo>
                      <a:pt x="556" y="59"/>
                    </a:lnTo>
                    <a:lnTo>
                      <a:pt x="550" y="64"/>
                    </a:lnTo>
                    <a:lnTo>
                      <a:pt x="544" y="70"/>
                    </a:lnTo>
                    <a:lnTo>
                      <a:pt x="539" y="77"/>
                    </a:lnTo>
                    <a:lnTo>
                      <a:pt x="534" y="83"/>
                    </a:lnTo>
                    <a:lnTo>
                      <a:pt x="525" y="96"/>
                    </a:lnTo>
                    <a:lnTo>
                      <a:pt x="516" y="109"/>
                    </a:lnTo>
                    <a:lnTo>
                      <a:pt x="512" y="114"/>
                    </a:lnTo>
                    <a:lnTo>
                      <a:pt x="508" y="120"/>
                    </a:lnTo>
                    <a:lnTo>
                      <a:pt x="503" y="124"/>
                    </a:lnTo>
                    <a:lnTo>
                      <a:pt x="496" y="128"/>
                    </a:lnTo>
                    <a:lnTo>
                      <a:pt x="491" y="132"/>
                    </a:lnTo>
                    <a:lnTo>
                      <a:pt x="484" y="134"/>
                    </a:lnTo>
                    <a:lnTo>
                      <a:pt x="477" y="136"/>
                    </a:lnTo>
                    <a:lnTo>
                      <a:pt x="470" y="136"/>
                    </a:lnTo>
                    <a:lnTo>
                      <a:pt x="463" y="135"/>
                    </a:lnTo>
                    <a:lnTo>
                      <a:pt x="458" y="133"/>
                    </a:lnTo>
                    <a:lnTo>
                      <a:pt x="454" y="130"/>
                    </a:lnTo>
                    <a:lnTo>
                      <a:pt x="450" y="126"/>
                    </a:lnTo>
                    <a:lnTo>
                      <a:pt x="447" y="121"/>
                    </a:lnTo>
                    <a:lnTo>
                      <a:pt x="443" y="117"/>
                    </a:lnTo>
                    <a:lnTo>
                      <a:pt x="439" y="112"/>
                    </a:lnTo>
                    <a:lnTo>
                      <a:pt x="433" y="109"/>
                    </a:lnTo>
                    <a:lnTo>
                      <a:pt x="419" y="100"/>
                    </a:lnTo>
                    <a:lnTo>
                      <a:pt x="406" y="95"/>
                    </a:lnTo>
                    <a:lnTo>
                      <a:pt x="392" y="90"/>
                    </a:lnTo>
                    <a:lnTo>
                      <a:pt x="379" y="85"/>
                    </a:lnTo>
                    <a:lnTo>
                      <a:pt x="366" y="79"/>
                    </a:lnTo>
                    <a:lnTo>
                      <a:pt x="354" y="72"/>
                    </a:lnTo>
                    <a:lnTo>
                      <a:pt x="348" y="68"/>
                    </a:lnTo>
                    <a:lnTo>
                      <a:pt x="343" y="63"/>
                    </a:lnTo>
                    <a:lnTo>
                      <a:pt x="338" y="58"/>
                    </a:lnTo>
                    <a:lnTo>
                      <a:pt x="332" y="52"/>
                    </a:lnTo>
                    <a:lnTo>
                      <a:pt x="320" y="33"/>
                    </a:lnTo>
                    <a:lnTo>
                      <a:pt x="308" y="17"/>
                    </a:lnTo>
                    <a:lnTo>
                      <a:pt x="300" y="9"/>
                    </a:lnTo>
                    <a:lnTo>
                      <a:pt x="293" y="4"/>
                    </a:lnTo>
                    <a:lnTo>
                      <a:pt x="289" y="2"/>
                    </a:lnTo>
                    <a:lnTo>
                      <a:pt x="284" y="1"/>
                    </a:lnTo>
                    <a:lnTo>
                      <a:pt x="279" y="0"/>
                    </a:lnTo>
                    <a:lnTo>
                      <a:pt x="274" y="0"/>
                    </a:lnTo>
                    <a:lnTo>
                      <a:pt x="259" y="1"/>
                    </a:lnTo>
                    <a:lnTo>
                      <a:pt x="246" y="3"/>
                    </a:lnTo>
                    <a:lnTo>
                      <a:pt x="233" y="6"/>
                    </a:lnTo>
                    <a:lnTo>
                      <a:pt x="222" y="11"/>
                    </a:lnTo>
                    <a:lnTo>
                      <a:pt x="210" y="15"/>
                    </a:lnTo>
                    <a:lnTo>
                      <a:pt x="197" y="18"/>
                    </a:lnTo>
                    <a:lnTo>
                      <a:pt x="185" y="20"/>
                    </a:lnTo>
                    <a:lnTo>
                      <a:pt x="170" y="21"/>
                    </a:lnTo>
                    <a:lnTo>
                      <a:pt x="158" y="20"/>
                    </a:lnTo>
                    <a:lnTo>
                      <a:pt x="146" y="19"/>
                    </a:lnTo>
                    <a:lnTo>
                      <a:pt x="146" y="47"/>
                    </a:lnTo>
                    <a:lnTo>
                      <a:pt x="147" y="57"/>
                    </a:lnTo>
                    <a:lnTo>
                      <a:pt x="148" y="65"/>
                    </a:lnTo>
                    <a:lnTo>
                      <a:pt x="150" y="75"/>
                    </a:lnTo>
                    <a:lnTo>
                      <a:pt x="152" y="82"/>
                    </a:lnTo>
                    <a:lnTo>
                      <a:pt x="159" y="98"/>
                    </a:lnTo>
                    <a:lnTo>
                      <a:pt x="167" y="116"/>
                    </a:lnTo>
                    <a:lnTo>
                      <a:pt x="170" y="121"/>
                    </a:lnTo>
                    <a:lnTo>
                      <a:pt x="175" y="125"/>
                    </a:lnTo>
                    <a:lnTo>
                      <a:pt x="180" y="129"/>
                    </a:lnTo>
                    <a:lnTo>
                      <a:pt x="184" y="133"/>
                    </a:lnTo>
                    <a:lnTo>
                      <a:pt x="189" y="138"/>
                    </a:lnTo>
                    <a:lnTo>
                      <a:pt x="192" y="142"/>
                    </a:lnTo>
                    <a:lnTo>
                      <a:pt x="194" y="147"/>
                    </a:lnTo>
                    <a:lnTo>
                      <a:pt x="195" y="153"/>
                    </a:lnTo>
                    <a:lnTo>
                      <a:pt x="195" y="157"/>
                    </a:lnTo>
                    <a:lnTo>
                      <a:pt x="194" y="160"/>
                    </a:lnTo>
                    <a:lnTo>
                      <a:pt x="193" y="163"/>
                    </a:lnTo>
                    <a:lnTo>
                      <a:pt x="191" y="166"/>
                    </a:lnTo>
                    <a:lnTo>
                      <a:pt x="186" y="171"/>
                    </a:lnTo>
                    <a:lnTo>
                      <a:pt x="180" y="174"/>
                    </a:lnTo>
                    <a:lnTo>
                      <a:pt x="165" y="179"/>
                    </a:lnTo>
                    <a:lnTo>
                      <a:pt x="151" y="186"/>
                    </a:lnTo>
                    <a:lnTo>
                      <a:pt x="127" y="202"/>
                    </a:lnTo>
                    <a:lnTo>
                      <a:pt x="107" y="214"/>
                    </a:lnTo>
                    <a:lnTo>
                      <a:pt x="85" y="226"/>
                    </a:lnTo>
                    <a:lnTo>
                      <a:pt x="61" y="241"/>
                    </a:lnTo>
                    <a:lnTo>
                      <a:pt x="61" y="241"/>
                    </a:lnTo>
                    <a:lnTo>
                      <a:pt x="67" y="259"/>
                    </a:lnTo>
                    <a:lnTo>
                      <a:pt x="72" y="277"/>
                    </a:lnTo>
                    <a:lnTo>
                      <a:pt x="75" y="285"/>
                    </a:lnTo>
                    <a:lnTo>
                      <a:pt x="77" y="294"/>
                    </a:lnTo>
                    <a:lnTo>
                      <a:pt x="78" y="304"/>
                    </a:lnTo>
                    <a:lnTo>
                      <a:pt x="78" y="314"/>
                    </a:lnTo>
                    <a:lnTo>
                      <a:pt x="78" y="317"/>
                    </a:lnTo>
                    <a:lnTo>
                      <a:pt x="77" y="320"/>
                    </a:lnTo>
                    <a:lnTo>
                      <a:pt x="76" y="323"/>
                    </a:lnTo>
                    <a:lnTo>
                      <a:pt x="74" y="325"/>
                    </a:lnTo>
                    <a:lnTo>
                      <a:pt x="69" y="331"/>
                    </a:lnTo>
                    <a:lnTo>
                      <a:pt x="63" y="334"/>
                    </a:lnTo>
                    <a:lnTo>
                      <a:pt x="57" y="337"/>
                    </a:lnTo>
                    <a:lnTo>
                      <a:pt x="50" y="340"/>
                    </a:lnTo>
                    <a:lnTo>
                      <a:pt x="44" y="344"/>
                    </a:lnTo>
                    <a:lnTo>
                      <a:pt x="37" y="349"/>
                    </a:lnTo>
                    <a:lnTo>
                      <a:pt x="55" y="374"/>
                    </a:lnTo>
                    <a:lnTo>
                      <a:pt x="70" y="398"/>
                    </a:lnTo>
                    <a:lnTo>
                      <a:pt x="78" y="409"/>
                    </a:lnTo>
                    <a:lnTo>
                      <a:pt x="84" y="420"/>
                    </a:lnTo>
                    <a:lnTo>
                      <a:pt x="89" y="433"/>
                    </a:lnTo>
                    <a:lnTo>
                      <a:pt x="94" y="444"/>
                    </a:lnTo>
                    <a:lnTo>
                      <a:pt x="98" y="457"/>
                    </a:lnTo>
                    <a:lnTo>
                      <a:pt x="102" y="469"/>
                    </a:lnTo>
                    <a:lnTo>
                      <a:pt x="105" y="481"/>
                    </a:lnTo>
                    <a:lnTo>
                      <a:pt x="109" y="495"/>
                    </a:lnTo>
                    <a:lnTo>
                      <a:pt x="111" y="508"/>
                    </a:lnTo>
                    <a:lnTo>
                      <a:pt x="112" y="522"/>
                    </a:lnTo>
                    <a:lnTo>
                      <a:pt x="113" y="537"/>
                    </a:lnTo>
                    <a:lnTo>
                      <a:pt x="113" y="553"/>
                    </a:lnTo>
                    <a:lnTo>
                      <a:pt x="113" y="564"/>
                    </a:lnTo>
                    <a:lnTo>
                      <a:pt x="112" y="576"/>
                    </a:lnTo>
                    <a:lnTo>
                      <a:pt x="109" y="587"/>
                    </a:lnTo>
                    <a:lnTo>
                      <a:pt x="105" y="597"/>
                    </a:lnTo>
                    <a:lnTo>
                      <a:pt x="100" y="606"/>
                    </a:lnTo>
                    <a:lnTo>
                      <a:pt x="94" y="615"/>
                    </a:lnTo>
                    <a:lnTo>
                      <a:pt x="90" y="619"/>
                    </a:lnTo>
                    <a:lnTo>
                      <a:pt x="86" y="622"/>
                    </a:lnTo>
                    <a:lnTo>
                      <a:pt x="81" y="625"/>
                    </a:lnTo>
                    <a:lnTo>
                      <a:pt x="76" y="628"/>
                    </a:lnTo>
                    <a:lnTo>
                      <a:pt x="63" y="632"/>
                    </a:lnTo>
                    <a:lnTo>
                      <a:pt x="51" y="635"/>
                    </a:lnTo>
                    <a:lnTo>
                      <a:pt x="38" y="637"/>
                    </a:lnTo>
                    <a:lnTo>
                      <a:pt x="26" y="639"/>
                    </a:lnTo>
                    <a:lnTo>
                      <a:pt x="21" y="641"/>
                    </a:lnTo>
                    <a:lnTo>
                      <a:pt x="16" y="642"/>
                    </a:lnTo>
                    <a:lnTo>
                      <a:pt x="12" y="645"/>
                    </a:lnTo>
                    <a:lnTo>
                      <a:pt x="8" y="648"/>
                    </a:lnTo>
                    <a:lnTo>
                      <a:pt x="4" y="651"/>
                    </a:lnTo>
                    <a:lnTo>
                      <a:pt x="2" y="655"/>
                    </a:lnTo>
                    <a:lnTo>
                      <a:pt x="0" y="660"/>
                    </a:lnTo>
                    <a:lnTo>
                      <a:pt x="0" y="665"/>
                    </a:lnTo>
                    <a:lnTo>
                      <a:pt x="0" y="668"/>
                    </a:lnTo>
                    <a:lnTo>
                      <a:pt x="1" y="671"/>
                    </a:lnTo>
                    <a:lnTo>
                      <a:pt x="3" y="673"/>
                    </a:lnTo>
                    <a:lnTo>
                      <a:pt x="5" y="676"/>
                    </a:lnTo>
                    <a:lnTo>
                      <a:pt x="11" y="680"/>
                    </a:lnTo>
                    <a:lnTo>
                      <a:pt x="14" y="685"/>
                    </a:lnTo>
                    <a:lnTo>
                      <a:pt x="19" y="699"/>
                    </a:lnTo>
                    <a:lnTo>
                      <a:pt x="23" y="713"/>
                    </a:lnTo>
                    <a:lnTo>
                      <a:pt x="24" y="726"/>
                    </a:lnTo>
                    <a:lnTo>
                      <a:pt x="25" y="739"/>
                    </a:lnTo>
                    <a:lnTo>
                      <a:pt x="25" y="752"/>
                    </a:lnTo>
                    <a:lnTo>
                      <a:pt x="26" y="765"/>
                    </a:lnTo>
                    <a:lnTo>
                      <a:pt x="27" y="780"/>
                    </a:lnTo>
                    <a:lnTo>
                      <a:pt x="30" y="795"/>
                    </a:lnTo>
                    <a:lnTo>
                      <a:pt x="33" y="806"/>
                    </a:lnTo>
                    <a:lnTo>
                      <a:pt x="37" y="814"/>
                    </a:lnTo>
                    <a:lnTo>
                      <a:pt x="43" y="822"/>
                    </a:lnTo>
                    <a:lnTo>
                      <a:pt x="48" y="830"/>
                    </a:lnTo>
                    <a:lnTo>
                      <a:pt x="52" y="839"/>
                    </a:lnTo>
                    <a:lnTo>
                      <a:pt x="55" y="847"/>
                    </a:lnTo>
                    <a:lnTo>
                      <a:pt x="58" y="856"/>
                    </a:lnTo>
                    <a:lnTo>
                      <a:pt x="59" y="867"/>
                    </a:lnTo>
                    <a:lnTo>
                      <a:pt x="58" y="879"/>
                    </a:lnTo>
                    <a:lnTo>
                      <a:pt x="55" y="890"/>
                    </a:lnTo>
                    <a:lnTo>
                      <a:pt x="51" y="901"/>
                    </a:lnTo>
                    <a:lnTo>
                      <a:pt x="46" y="911"/>
                    </a:lnTo>
                    <a:lnTo>
                      <a:pt x="42" y="921"/>
                    </a:lnTo>
                    <a:lnTo>
                      <a:pt x="37" y="932"/>
                    </a:lnTo>
                    <a:lnTo>
                      <a:pt x="34" y="943"/>
                    </a:lnTo>
                    <a:lnTo>
                      <a:pt x="33" y="955"/>
                    </a:lnTo>
                    <a:lnTo>
                      <a:pt x="33" y="962"/>
                    </a:lnTo>
                    <a:lnTo>
                      <a:pt x="35" y="967"/>
                    </a:lnTo>
                    <a:lnTo>
                      <a:pt x="37" y="971"/>
                    </a:lnTo>
                    <a:lnTo>
                      <a:pt x="41" y="975"/>
                    </a:lnTo>
                    <a:lnTo>
                      <a:pt x="49" y="981"/>
                    </a:lnTo>
                    <a:lnTo>
                      <a:pt x="58" y="987"/>
                    </a:lnTo>
                    <a:lnTo>
                      <a:pt x="66" y="994"/>
                    </a:lnTo>
                    <a:lnTo>
                      <a:pt x="75" y="1001"/>
                    </a:lnTo>
                    <a:lnTo>
                      <a:pt x="78" y="1005"/>
                    </a:lnTo>
                    <a:lnTo>
                      <a:pt x="81" y="1009"/>
                    </a:lnTo>
                    <a:lnTo>
                      <a:pt x="82" y="1014"/>
                    </a:lnTo>
                    <a:lnTo>
                      <a:pt x="83" y="1019"/>
                    </a:lnTo>
                    <a:lnTo>
                      <a:pt x="82" y="1028"/>
                    </a:lnTo>
                    <a:lnTo>
                      <a:pt x="81" y="1035"/>
                    </a:lnTo>
                    <a:lnTo>
                      <a:pt x="80" y="1042"/>
                    </a:lnTo>
                    <a:lnTo>
                      <a:pt x="77" y="1048"/>
                    </a:lnTo>
                    <a:lnTo>
                      <a:pt x="71" y="1061"/>
                    </a:lnTo>
                    <a:lnTo>
                      <a:pt x="65" y="1073"/>
                    </a:lnTo>
                    <a:lnTo>
                      <a:pt x="58" y="1084"/>
                    </a:lnTo>
                    <a:lnTo>
                      <a:pt x="52" y="1097"/>
                    </a:lnTo>
                    <a:lnTo>
                      <a:pt x="50" y="1103"/>
                    </a:lnTo>
                    <a:lnTo>
                      <a:pt x="48" y="1110"/>
                    </a:lnTo>
                    <a:lnTo>
                      <a:pt x="46" y="1117"/>
                    </a:lnTo>
                    <a:lnTo>
                      <a:pt x="45" y="1126"/>
                    </a:lnTo>
                    <a:lnTo>
                      <a:pt x="45" y="1126"/>
                    </a:lnTo>
                    <a:close/>
                  </a:path>
                </a:pathLst>
              </a:custGeom>
              <a:solidFill>
                <a:srgbClr val="65AC1E">
                  <a:alpha val="69804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Kharkiv">
                <a:extLst>
                  <a:ext uri="{FF2B5EF4-FFF2-40B4-BE49-F238E27FC236}">
                    <a16:creationId xmlns:a16="http://schemas.microsoft.com/office/drawing/2014/main" id="{9B088C9C-E5A2-40CD-8CDF-72470B6B44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4819" y="2807791"/>
                <a:ext cx="1312698" cy="1166105"/>
              </a:xfrm>
              <a:custGeom>
                <a:avLst/>
                <a:gdLst>
                  <a:gd name="T0" fmla="*/ 66 w 2666"/>
                  <a:gd name="T1" fmla="*/ 563 h 2496"/>
                  <a:gd name="T2" fmla="*/ 14 w 2666"/>
                  <a:gd name="T3" fmla="*/ 768 h 2496"/>
                  <a:gd name="T4" fmla="*/ 170 w 2666"/>
                  <a:gd name="T5" fmla="*/ 854 h 2496"/>
                  <a:gd name="T6" fmla="*/ 331 w 2666"/>
                  <a:gd name="T7" fmla="*/ 947 h 2496"/>
                  <a:gd name="T8" fmla="*/ 385 w 2666"/>
                  <a:gd name="T9" fmla="*/ 1085 h 2496"/>
                  <a:gd name="T10" fmla="*/ 532 w 2666"/>
                  <a:gd name="T11" fmla="*/ 1186 h 2496"/>
                  <a:gd name="T12" fmla="*/ 474 w 2666"/>
                  <a:gd name="T13" fmla="*/ 1307 h 2496"/>
                  <a:gd name="T14" fmla="*/ 460 w 2666"/>
                  <a:gd name="T15" fmla="*/ 1382 h 2496"/>
                  <a:gd name="T16" fmla="*/ 423 w 2666"/>
                  <a:gd name="T17" fmla="*/ 1538 h 2496"/>
                  <a:gd name="T18" fmla="*/ 205 w 2666"/>
                  <a:gd name="T19" fmla="*/ 1598 h 2496"/>
                  <a:gd name="T20" fmla="*/ 171 w 2666"/>
                  <a:gd name="T21" fmla="*/ 1726 h 2496"/>
                  <a:gd name="T22" fmla="*/ 280 w 2666"/>
                  <a:gd name="T23" fmla="*/ 1761 h 2496"/>
                  <a:gd name="T24" fmla="*/ 446 w 2666"/>
                  <a:gd name="T25" fmla="*/ 1879 h 2496"/>
                  <a:gd name="T26" fmla="*/ 663 w 2666"/>
                  <a:gd name="T27" fmla="*/ 1950 h 2496"/>
                  <a:gd name="T28" fmla="*/ 876 w 2666"/>
                  <a:gd name="T29" fmla="*/ 2032 h 2496"/>
                  <a:gd name="T30" fmla="*/ 934 w 2666"/>
                  <a:gd name="T31" fmla="*/ 1981 h 2496"/>
                  <a:gd name="T32" fmla="*/ 1078 w 2666"/>
                  <a:gd name="T33" fmla="*/ 1975 h 2496"/>
                  <a:gd name="T34" fmla="*/ 1150 w 2666"/>
                  <a:gd name="T35" fmla="*/ 2113 h 2496"/>
                  <a:gd name="T36" fmla="*/ 1253 w 2666"/>
                  <a:gd name="T37" fmla="*/ 2217 h 2496"/>
                  <a:gd name="T38" fmla="*/ 1305 w 2666"/>
                  <a:gd name="T39" fmla="*/ 2318 h 2496"/>
                  <a:gd name="T40" fmla="*/ 1434 w 2666"/>
                  <a:gd name="T41" fmla="*/ 2477 h 2496"/>
                  <a:gd name="T42" fmla="*/ 1546 w 2666"/>
                  <a:gd name="T43" fmla="*/ 2389 h 2496"/>
                  <a:gd name="T44" fmla="*/ 1654 w 2666"/>
                  <a:gd name="T45" fmla="*/ 2376 h 2496"/>
                  <a:gd name="T46" fmla="*/ 1683 w 2666"/>
                  <a:gd name="T47" fmla="*/ 2254 h 2496"/>
                  <a:gd name="T48" fmla="*/ 1776 w 2666"/>
                  <a:gd name="T49" fmla="*/ 2174 h 2496"/>
                  <a:gd name="T50" fmla="*/ 1904 w 2666"/>
                  <a:gd name="T51" fmla="*/ 2154 h 2496"/>
                  <a:gd name="T52" fmla="*/ 1981 w 2666"/>
                  <a:gd name="T53" fmla="*/ 2153 h 2496"/>
                  <a:gd name="T54" fmla="*/ 2031 w 2666"/>
                  <a:gd name="T55" fmla="*/ 2053 h 2496"/>
                  <a:gd name="T56" fmla="*/ 2141 w 2666"/>
                  <a:gd name="T57" fmla="*/ 1983 h 2496"/>
                  <a:gd name="T58" fmla="*/ 2239 w 2666"/>
                  <a:gd name="T59" fmla="*/ 1847 h 2496"/>
                  <a:gd name="T60" fmla="*/ 2287 w 2666"/>
                  <a:gd name="T61" fmla="*/ 1760 h 2496"/>
                  <a:gd name="T62" fmla="*/ 2323 w 2666"/>
                  <a:gd name="T63" fmla="*/ 1675 h 2496"/>
                  <a:gd name="T64" fmla="*/ 2276 w 2666"/>
                  <a:gd name="T65" fmla="*/ 1576 h 2496"/>
                  <a:gd name="T66" fmla="*/ 2427 w 2666"/>
                  <a:gd name="T67" fmla="*/ 1523 h 2496"/>
                  <a:gd name="T68" fmla="*/ 2605 w 2666"/>
                  <a:gd name="T69" fmla="*/ 1504 h 2496"/>
                  <a:gd name="T70" fmla="*/ 2611 w 2666"/>
                  <a:gd name="T71" fmla="*/ 1394 h 2496"/>
                  <a:gd name="T72" fmla="*/ 2612 w 2666"/>
                  <a:gd name="T73" fmla="*/ 1274 h 2496"/>
                  <a:gd name="T74" fmla="*/ 2576 w 2666"/>
                  <a:gd name="T75" fmla="*/ 1120 h 2496"/>
                  <a:gd name="T76" fmla="*/ 2569 w 2666"/>
                  <a:gd name="T77" fmla="*/ 1049 h 2496"/>
                  <a:gd name="T78" fmla="*/ 2665 w 2666"/>
                  <a:gd name="T79" fmla="*/ 983 h 2496"/>
                  <a:gd name="T80" fmla="*/ 2623 w 2666"/>
                  <a:gd name="T81" fmla="*/ 805 h 2496"/>
                  <a:gd name="T82" fmla="*/ 2630 w 2666"/>
                  <a:gd name="T83" fmla="*/ 701 h 2496"/>
                  <a:gd name="T84" fmla="*/ 2552 w 2666"/>
                  <a:gd name="T85" fmla="*/ 538 h 2496"/>
                  <a:gd name="T86" fmla="*/ 2350 w 2666"/>
                  <a:gd name="T87" fmla="*/ 434 h 2496"/>
                  <a:gd name="T88" fmla="*/ 2273 w 2666"/>
                  <a:gd name="T89" fmla="*/ 313 h 2496"/>
                  <a:gd name="T90" fmla="*/ 2212 w 2666"/>
                  <a:gd name="T91" fmla="*/ 197 h 2496"/>
                  <a:gd name="T92" fmla="*/ 2172 w 2666"/>
                  <a:gd name="T93" fmla="*/ 117 h 2496"/>
                  <a:gd name="T94" fmla="*/ 2077 w 2666"/>
                  <a:gd name="T95" fmla="*/ 13 h 2496"/>
                  <a:gd name="T96" fmla="*/ 1825 w 2666"/>
                  <a:gd name="T97" fmla="*/ 88 h 2496"/>
                  <a:gd name="T98" fmla="*/ 1572 w 2666"/>
                  <a:gd name="T99" fmla="*/ 169 h 2496"/>
                  <a:gd name="T100" fmla="*/ 1452 w 2666"/>
                  <a:gd name="T101" fmla="*/ 306 h 2496"/>
                  <a:gd name="T102" fmla="*/ 1364 w 2666"/>
                  <a:gd name="T103" fmla="*/ 303 h 2496"/>
                  <a:gd name="T104" fmla="*/ 1220 w 2666"/>
                  <a:gd name="T105" fmla="*/ 246 h 2496"/>
                  <a:gd name="T106" fmla="*/ 1103 w 2666"/>
                  <a:gd name="T107" fmla="*/ 230 h 2496"/>
                  <a:gd name="T108" fmla="*/ 947 w 2666"/>
                  <a:gd name="T109" fmla="*/ 94 h 2496"/>
                  <a:gd name="T110" fmla="*/ 698 w 2666"/>
                  <a:gd name="T111" fmla="*/ 170 h 2496"/>
                  <a:gd name="T112" fmla="*/ 588 w 2666"/>
                  <a:gd name="T113" fmla="*/ 226 h 2496"/>
                  <a:gd name="T114" fmla="*/ 335 w 2666"/>
                  <a:gd name="T115" fmla="*/ 292 h 2496"/>
                  <a:gd name="T116" fmla="*/ 221 w 2666"/>
                  <a:gd name="T117" fmla="*/ 383 h 2496"/>
                  <a:gd name="T118" fmla="*/ 91 w 2666"/>
                  <a:gd name="T119" fmla="*/ 443 h 2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666" h="2496">
                    <a:moveTo>
                      <a:pt x="18" y="483"/>
                    </a:moveTo>
                    <a:lnTo>
                      <a:pt x="29" y="484"/>
                    </a:lnTo>
                    <a:lnTo>
                      <a:pt x="38" y="486"/>
                    </a:lnTo>
                    <a:lnTo>
                      <a:pt x="47" y="490"/>
                    </a:lnTo>
                    <a:lnTo>
                      <a:pt x="56" y="494"/>
                    </a:lnTo>
                    <a:lnTo>
                      <a:pt x="63" y="500"/>
                    </a:lnTo>
                    <a:lnTo>
                      <a:pt x="68" y="507"/>
                    </a:lnTo>
                    <a:lnTo>
                      <a:pt x="70" y="511"/>
                    </a:lnTo>
                    <a:lnTo>
                      <a:pt x="72" y="516"/>
                    </a:lnTo>
                    <a:lnTo>
                      <a:pt x="72" y="520"/>
                    </a:lnTo>
                    <a:lnTo>
                      <a:pt x="73" y="525"/>
                    </a:lnTo>
                    <a:lnTo>
                      <a:pt x="72" y="538"/>
                    </a:lnTo>
                    <a:lnTo>
                      <a:pt x="70" y="551"/>
                    </a:lnTo>
                    <a:lnTo>
                      <a:pt x="66" y="563"/>
                    </a:lnTo>
                    <a:lnTo>
                      <a:pt x="62" y="574"/>
                    </a:lnTo>
                    <a:lnTo>
                      <a:pt x="49" y="595"/>
                    </a:lnTo>
                    <a:lnTo>
                      <a:pt x="36" y="615"/>
                    </a:lnTo>
                    <a:lnTo>
                      <a:pt x="23" y="634"/>
                    </a:lnTo>
                    <a:lnTo>
                      <a:pt x="11" y="655"/>
                    </a:lnTo>
                    <a:lnTo>
                      <a:pt x="6" y="666"/>
                    </a:lnTo>
                    <a:lnTo>
                      <a:pt x="3" y="678"/>
                    </a:lnTo>
                    <a:lnTo>
                      <a:pt x="1" y="690"/>
                    </a:lnTo>
                    <a:lnTo>
                      <a:pt x="0" y="705"/>
                    </a:lnTo>
                    <a:lnTo>
                      <a:pt x="0" y="718"/>
                    </a:lnTo>
                    <a:lnTo>
                      <a:pt x="2" y="731"/>
                    </a:lnTo>
                    <a:lnTo>
                      <a:pt x="5" y="744"/>
                    </a:lnTo>
                    <a:lnTo>
                      <a:pt x="9" y="756"/>
                    </a:lnTo>
                    <a:lnTo>
                      <a:pt x="14" y="768"/>
                    </a:lnTo>
                    <a:lnTo>
                      <a:pt x="21" y="779"/>
                    </a:lnTo>
                    <a:lnTo>
                      <a:pt x="28" y="789"/>
                    </a:lnTo>
                    <a:lnTo>
                      <a:pt x="36" y="799"/>
                    </a:lnTo>
                    <a:lnTo>
                      <a:pt x="44" y="807"/>
                    </a:lnTo>
                    <a:lnTo>
                      <a:pt x="55" y="815"/>
                    </a:lnTo>
                    <a:lnTo>
                      <a:pt x="65" y="823"/>
                    </a:lnTo>
                    <a:lnTo>
                      <a:pt x="76" y="830"/>
                    </a:lnTo>
                    <a:lnTo>
                      <a:pt x="88" y="836"/>
                    </a:lnTo>
                    <a:lnTo>
                      <a:pt x="100" y="841"/>
                    </a:lnTo>
                    <a:lnTo>
                      <a:pt x="113" y="845"/>
                    </a:lnTo>
                    <a:lnTo>
                      <a:pt x="127" y="848"/>
                    </a:lnTo>
                    <a:lnTo>
                      <a:pt x="141" y="851"/>
                    </a:lnTo>
                    <a:lnTo>
                      <a:pt x="156" y="852"/>
                    </a:lnTo>
                    <a:lnTo>
                      <a:pt x="170" y="854"/>
                    </a:lnTo>
                    <a:lnTo>
                      <a:pt x="185" y="854"/>
                    </a:lnTo>
                    <a:lnTo>
                      <a:pt x="211" y="856"/>
                    </a:lnTo>
                    <a:lnTo>
                      <a:pt x="238" y="858"/>
                    </a:lnTo>
                    <a:lnTo>
                      <a:pt x="251" y="859"/>
                    </a:lnTo>
                    <a:lnTo>
                      <a:pt x="262" y="863"/>
                    </a:lnTo>
                    <a:lnTo>
                      <a:pt x="273" y="867"/>
                    </a:lnTo>
                    <a:lnTo>
                      <a:pt x="284" y="871"/>
                    </a:lnTo>
                    <a:lnTo>
                      <a:pt x="294" y="878"/>
                    </a:lnTo>
                    <a:lnTo>
                      <a:pt x="303" y="885"/>
                    </a:lnTo>
                    <a:lnTo>
                      <a:pt x="310" y="896"/>
                    </a:lnTo>
                    <a:lnTo>
                      <a:pt x="318" y="907"/>
                    </a:lnTo>
                    <a:lnTo>
                      <a:pt x="324" y="920"/>
                    </a:lnTo>
                    <a:lnTo>
                      <a:pt x="328" y="934"/>
                    </a:lnTo>
                    <a:lnTo>
                      <a:pt x="331" y="947"/>
                    </a:lnTo>
                    <a:lnTo>
                      <a:pt x="334" y="961"/>
                    </a:lnTo>
                    <a:lnTo>
                      <a:pt x="337" y="988"/>
                    </a:lnTo>
                    <a:lnTo>
                      <a:pt x="340" y="1013"/>
                    </a:lnTo>
                    <a:lnTo>
                      <a:pt x="342" y="1026"/>
                    </a:lnTo>
                    <a:lnTo>
                      <a:pt x="345" y="1037"/>
                    </a:lnTo>
                    <a:lnTo>
                      <a:pt x="350" y="1048"/>
                    </a:lnTo>
                    <a:lnTo>
                      <a:pt x="354" y="1059"/>
                    </a:lnTo>
                    <a:lnTo>
                      <a:pt x="357" y="1063"/>
                    </a:lnTo>
                    <a:lnTo>
                      <a:pt x="361" y="1067"/>
                    </a:lnTo>
                    <a:lnTo>
                      <a:pt x="364" y="1071"/>
                    </a:lnTo>
                    <a:lnTo>
                      <a:pt x="368" y="1075"/>
                    </a:lnTo>
                    <a:lnTo>
                      <a:pt x="373" y="1078"/>
                    </a:lnTo>
                    <a:lnTo>
                      <a:pt x="378" y="1081"/>
                    </a:lnTo>
                    <a:lnTo>
                      <a:pt x="385" y="1085"/>
                    </a:lnTo>
                    <a:lnTo>
                      <a:pt x="391" y="1087"/>
                    </a:lnTo>
                    <a:lnTo>
                      <a:pt x="417" y="1095"/>
                    </a:lnTo>
                    <a:lnTo>
                      <a:pt x="441" y="1103"/>
                    </a:lnTo>
                    <a:lnTo>
                      <a:pt x="454" y="1108"/>
                    </a:lnTo>
                    <a:lnTo>
                      <a:pt x="465" y="1112"/>
                    </a:lnTo>
                    <a:lnTo>
                      <a:pt x="476" y="1119"/>
                    </a:lnTo>
                    <a:lnTo>
                      <a:pt x="487" y="1125"/>
                    </a:lnTo>
                    <a:lnTo>
                      <a:pt x="497" y="1131"/>
                    </a:lnTo>
                    <a:lnTo>
                      <a:pt x="505" y="1138"/>
                    </a:lnTo>
                    <a:lnTo>
                      <a:pt x="513" y="1146"/>
                    </a:lnTo>
                    <a:lnTo>
                      <a:pt x="520" y="1155"/>
                    </a:lnTo>
                    <a:lnTo>
                      <a:pt x="525" y="1164"/>
                    </a:lnTo>
                    <a:lnTo>
                      <a:pt x="529" y="1174"/>
                    </a:lnTo>
                    <a:lnTo>
                      <a:pt x="532" y="1186"/>
                    </a:lnTo>
                    <a:lnTo>
                      <a:pt x="532" y="1199"/>
                    </a:lnTo>
                    <a:lnTo>
                      <a:pt x="532" y="1212"/>
                    </a:lnTo>
                    <a:lnTo>
                      <a:pt x="532" y="1223"/>
                    </a:lnTo>
                    <a:lnTo>
                      <a:pt x="530" y="1234"/>
                    </a:lnTo>
                    <a:lnTo>
                      <a:pt x="528" y="1245"/>
                    </a:lnTo>
                    <a:lnTo>
                      <a:pt x="525" y="1255"/>
                    </a:lnTo>
                    <a:lnTo>
                      <a:pt x="520" y="1265"/>
                    </a:lnTo>
                    <a:lnTo>
                      <a:pt x="515" y="1275"/>
                    </a:lnTo>
                    <a:lnTo>
                      <a:pt x="506" y="1285"/>
                    </a:lnTo>
                    <a:lnTo>
                      <a:pt x="502" y="1290"/>
                    </a:lnTo>
                    <a:lnTo>
                      <a:pt x="497" y="1294"/>
                    </a:lnTo>
                    <a:lnTo>
                      <a:pt x="492" y="1298"/>
                    </a:lnTo>
                    <a:lnTo>
                      <a:pt x="486" y="1301"/>
                    </a:lnTo>
                    <a:lnTo>
                      <a:pt x="474" y="1307"/>
                    </a:lnTo>
                    <a:lnTo>
                      <a:pt x="463" y="1312"/>
                    </a:lnTo>
                    <a:lnTo>
                      <a:pt x="452" y="1317"/>
                    </a:lnTo>
                    <a:lnTo>
                      <a:pt x="441" y="1322"/>
                    </a:lnTo>
                    <a:lnTo>
                      <a:pt x="436" y="1326"/>
                    </a:lnTo>
                    <a:lnTo>
                      <a:pt x="432" y="1330"/>
                    </a:lnTo>
                    <a:lnTo>
                      <a:pt x="428" y="1336"/>
                    </a:lnTo>
                    <a:lnTo>
                      <a:pt x="424" y="1342"/>
                    </a:lnTo>
                    <a:lnTo>
                      <a:pt x="431" y="1347"/>
                    </a:lnTo>
                    <a:lnTo>
                      <a:pt x="437" y="1352"/>
                    </a:lnTo>
                    <a:lnTo>
                      <a:pt x="442" y="1357"/>
                    </a:lnTo>
                    <a:lnTo>
                      <a:pt x="447" y="1363"/>
                    </a:lnTo>
                    <a:lnTo>
                      <a:pt x="453" y="1370"/>
                    </a:lnTo>
                    <a:lnTo>
                      <a:pt x="457" y="1376"/>
                    </a:lnTo>
                    <a:lnTo>
                      <a:pt x="460" y="1382"/>
                    </a:lnTo>
                    <a:lnTo>
                      <a:pt x="463" y="1388"/>
                    </a:lnTo>
                    <a:lnTo>
                      <a:pt x="468" y="1403"/>
                    </a:lnTo>
                    <a:lnTo>
                      <a:pt x="471" y="1417"/>
                    </a:lnTo>
                    <a:lnTo>
                      <a:pt x="473" y="1434"/>
                    </a:lnTo>
                    <a:lnTo>
                      <a:pt x="473" y="1450"/>
                    </a:lnTo>
                    <a:lnTo>
                      <a:pt x="472" y="1459"/>
                    </a:lnTo>
                    <a:lnTo>
                      <a:pt x="470" y="1467"/>
                    </a:lnTo>
                    <a:lnTo>
                      <a:pt x="467" y="1474"/>
                    </a:lnTo>
                    <a:lnTo>
                      <a:pt x="462" y="1480"/>
                    </a:lnTo>
                    <a:lnTo>
                      <a:pt x="452" y="1492"/>
                    </a:lnTo>
                    <a:lnTo>
                      <a:pt x="440" y="1507"/>
                    </a:lnTo>
                    <a:lnTo>
                      <a:pt x="433" y="1520"/>
                    </a:lnTo>
                    <a:lnTo>
                      <a:pt x="427" y="1533"/>
                    </a:lnTo>
                    <a:lnTo>
                      <a:pt x="423" y="1538"/>
                    </a:lnTo>
                    <a:lnTo>
                      <a:pt x="418" y="1543"/>
                    </a:lnTo>
                    <a:lnTo>
                      <a:pt x="412" y="1547"/>
                    </a:lnTo>
                    <a:lnTo>
                      <a:pt x="405" y="1549"/>
                    </a:lnTo>
                    <a:lnTo>
                      <a:pt x="384" y="1554"/>
                    </a:lnTo>
                    <a:lnTo>
                      <a:pt x="364" y="1559"/>
                    </a:lnTo>
                    <a:lnTo>
                      <a:pt x="345" y="1561"/>
                    </a:lnTo>
                    <a:lnTo>
                      <a:pt x="327" y="1564"/>
                    </a:lnTo>
                    <a:lnTo>
                      <a:pt x="308" y="1566"/>
                    </a:lnTo>
                    <a:lnTo>
                      <a:pt x="290" y="1569"/>
                    </a:lnTo>
                    <a:lnTo>
                      <a:pt x="270" y="1574"/>
                    </a:lnTo>
                    <a:lnTo>
                      <a:pt x="249" y="1580"/>
                    </a:lnTo>
                    <a:lnTo>
                      <a:pt x="234" y="1585"/>
                    </a:lnTo>
                    <a:lnTo>
                      <a:pt x="220" y="1592"/>
                    </a:lnTo>
                    <a:lnTo>
                      <a:pt x="205" y="1598"/>
                    </a:lnTo>
                    <a:lnTo>
                      <a:pt x="192" y="1606"/>
                    </a:lnTo>
                    <a:lnTo>
                      <a:pt x="187" y="1610"/>
                    </a:lnTo>
                    <a:lnTo>
                      <a:pt x="180" y="1614"/>
                    </a:lnTo>
                    <a:lnTo>
                      <a:pt x="176" y="1620"/>
                    </a:lnTo>
                    <a:lnTo>
                      <a:pt x="172" y="1626"/>
                    </a:lnTo>
                    <a:lnTo>
                      <a:pt x="169" y="1632"/>
                    </a:lnTo>
                    <a:lnTo>
                      <a:pt x="167" y="1638"/>
                    </a:lnTo>
                    <a:lnTo>
                      <a:pt x="165" y="1645"/>
                    </a:lnTo>
                    <a:lnTo>
                      <a:pt x="165" y="1654"/>
                    </a:lnTo>
                    <a:lnTo>
                      <a:pt x="165" y="1670"/>
                    </a:lnTo>
                    <a:lnTo>
                      <a:pt x="165" y="1688"/>
                    </a:lnTo>
                    <a:lnTo>
                      <a:pt x="167" y="1703"/>
                    </a:lnTo>
                    <a:lnTo>
                      <a:pt x="169" y="1719"/>
                    </a:lnTo>
                    <a:lnTo>
                      <a:pt x="171" y="1726"/>
                    </a:lnTo>
                    <a:lnTo>
                      <a:pt x="174" y="1732"/>
                    </a:lnTo>
                    <a:lnTo>
                      <a:pt x="176" y="1739"/>
                    </a:lnTo>
                    <a:lnTo>
                      <a:pt x="180" y="1745"/>
                    </a:lnTo>
                    <a:lnTo>
                      <a:pt x="185" y="1752"/>
                    </a:lnTo>
                    <a:lnTo>
                      <a:pt x="190" y="1758"/>
                    </a:lnTo>
                    <a:lnTo>
                      <a:pt x="196" y="1763"/>
                    </a:lnTo>
                    <a:lnTo>
                      <a:pt x="202" y="1769"/>
                    </a:lnTo>
                    <a:lnTo>
                      <a:pt x="202" y="1769"/>
                    </a:lnTo>
                    <a:lnTo>
                      <a:pt x="221" y="1771"/>
                    </a:lnTo>
                    <a:lnTo>
                      <a:pt x="234" y="1771"/>
                    </a:lnTo>
                    <a:lnTo>
                      <a:pt x="247" y="1769"/>
                    </a:lnTo>
                    <a:lnTo>
                      <a:pt x="259" y="1767"/>
                    </a:lnTo>
                    <a:lnTo>
                      <a:pt x="270" y="1765"/>
                    </a:lnTo>
                    <a:lnTo>
                      <a:pt x="280" y="1761"/>
                    </a:lnTo>
                    <a:lnTo>
                      <a:pt x="292" y="1757"/>
                    </a:lnTo>
                    <a:lnTo>
                      <a:pt x="303" y="1752"/>
                    </a:lnTo>
                    <a:lnTo>
                      <a:pt x="315" y="1745"/>
                    </a:lnTo>
                    <a:lnTo>
                      <a:pt x="318" y="1753"/>
                    </a:lnTo>
                    <a:lnTo>
                      <a:pt x="320" y="1759"/>
                    </a:lnTo>
                    <a:lnTo>
                      <a:pt x="322" y="1765"/>
                    </a:lnTo>
                    <a:lnTo>
                      <a:pt x="325" y="1771"/>
                    </a:lnTo>
                    <a:lnTo>
                      <a:pt x="332" y="1782"/>
                    </a:lnTo>
                    <a:lnTo>
                      <a:pt x="341" y="1791"/>
                    </a:lnTo>
                    <a:lnTo>
                      <a:pt x="362" y="1807"/>
                    </a:lnTo>
                    <a:lnTo>
                      <a:pt x="384" y="1826"/>
                    </a:lnTo>
                    <a:lnTo>
                      <a:pt x="409" y="1849"/>
                    </a:lnTo>
                    <a:lnTo>
                      <a:pt x="434" y="1869"/>
                    </a:lnTo>
                    <a:lnTo>
                      <a:pt x="446" y="1879"/>
                    </a:lnTo>
                    <a:lnTo>
                      <a:pt x="459" y="1887"/>
                    </a:lnTo>
                    <a:lnTo>
                      <a:pt x="470" y="1895"/>
                    </a:lnTo>
                    <a:lnTo>
                      <a:pt x="484" y="1902"/>
                    </a:lnTo>
                    <a:lnTo>
                      <a:pt x="496" y="1910"/>
                    </a:lnTo>
                    <a:lnTo>
                      <a:pt x="509" y="1916"/>
                    </a:lnTo>
                    <a:lnTo>
                      <a:pt x="523" y="1921"/>
                    </a:lnTo>
                    <a:lnTo>
                      <a:pt x="537" y="1926"/>
                    </a:lnTo>
                    <a:lnTo>
                      <a:pt x="552" y="1931"/>
                    </a:lnTo>
                    <a:lnTo>
                      <a:pt x="567" y="1935"/>
                    </a:lnTo>
                    <a:lnTo>
                      <a:pt x="584" y="1939"/>
                    </a:lnTo>
                    <a:lnTo>
                      <a:pt x="601" y="1942"/>
                    </a:lnTo>
                    <a:lnTo>
                      <a:pt x="624" y="1945"/>
                    </a:lnTo>
                    <a:lnTo>
                      <a:pt x="644" y="1947"/>
                    </a:lnTo>
                    <a:lnTo>
                      <a:pt x="663" y="1950"/>
                    </a:lnTo>
                    <a:lnTo>
                      <a:pt x="682" y="1952"/>
                    </a:lnTo>
                    <a:lnTo>
                      <a:pt x="701" y="1955"/>
                    </a:lnTo>
                    <a:lnTo>
                      <a:pt x="720" y="1957"/>
                    </a:lnTo>
                    <a:lnTo>
                      <a:pt x="741" y="1960"/>
                    </a:lnTo>
                    <a:lnTo>
                      <a:pt x="763" y="1962"/>
                    </a:lnTo>
                    <a:lnTo>
                      <a:pt x="788" y="1964"/>
                    </a:lnTo>
                    <a:lnTo>
                      <a:pt x="809" y="1968"/>
                    </a:lnTo>
                    <a:lnTo>
                      <a:pt x="819" y="1970"/>
                    </a:lnTo>
                    <a:lnTo>
                      <a:pt x="829" y="1974"/>
                    </a:lnTo>
                    <a:lnTo>
                      <a:pt x="837" y="1980"/>
                    </a:lnTo>
                    <a:lnTo>
                      <a:pt x="847" y="1988"/>
                    </a:lnTo>
                    <a:lnTo>
                      <a:pt x="859" y="2007"/>
                    </a:lnTo>
                    <a:lnTo>
                      <a:pt x="870" y="2024"/>
                    </a:lnTo>
                    <a:lnTo>
                      <a:pt x="876" y="2032"/>
                    </a:lnTo>
                    <a:lnTo>
                      <a:pt x="884" y="2038"/>
                    </a:lnTo>
                    <a:lnTo>
                      <a:pt x="888" y="2040"/>
                    </a:lnTo>
                    <a:lnTo>
                      <a:pt x="892" y="2041"/>
                    </a:lnTo>
                    <a:lnTo>
                      <a:pt x="897" y="2042"/>
                    </a:lnTo>
                    <a:lnTo>
                      <a:pt x="902" y="2043"/>
                    </a:lnTo>
                    <a:lnTo>
                      <a:pt x="906" y="2043"/>
                    </a:lnTo>
                    <a:lnTo>
                      <a:pt x="909" y="2042"/>
                    </a:lnTo>
                    <a:lnTo>
                      <a:pt x="913" y="2041"/>
                    </a:lnTo>
                    <a:lnTo>
                      <a:pt x="916" y="2039"/>
                    </a:lnTo>
                    <a:lnTo>
                      <a:pt x="920" y="2035"/>
                    </a:lnTo>
                    <a:lnTo>
                      <a:pt x="923" y="2028"/>
                    </a:lnTo>
                    <a:lnTo>
                      <a:pt x="928" y="2014"/>
                    </a:lnTo>
                    <a:lnTo>
                      <a:pt x="931" y="1997"/>
                    </a:lnTo>
                    <a:lnTo>
                      <a:pt x="934" y="1981"/>
                    </a:lnTo>
                    <a:lnTo>
                      <a:pt x="938" y="1968"/>
                    </a:lnTo>
                    <a:lnTo>
                      <a:pt x="942" y="1961"/>
                    </a:lnTo>
                    <a:lnTo>
                      <a:pt x="947" y="1957"/>
                    </a:lnTo>
                    <a:lnTo>
                      <a:pt x="950" y="1955"/>
                    </a:lnTo>
                    <a:lnTo>
                      <a:pt x="952" y="1954"/>
                    </a:lnTo>
                    <a:lnTo>
                      <a:pt x="956" y="1953"/>
                    </a:lnTo>
                    <a:lnTo>
                      <a:pt x="959" y="1953"/>
                    </a:lnTo>
                    <a:lnTo>
                      <a:pt x="990" y="1953"/>
                    </a:lnTo>
                    <a:lnTo>
                      <a:pt x="1017" y="1956"/>
                    </a:lnTo>
                    <a:lnTo>
                      <a:pt x="1030" y="1958"/>
                    </a:lnTo>
                    <a:lnTo>
                      <a:pt x="1044" y="1961"/>
                    </a:lnTo>
                    <a:lnTo>
                      <a:pt x="1058" y="1966"/>
                    </a:lnTo>
                    <a:lnTo>
                      <a:pt x="1072" y="1972"/>
                    </a:lnTo>
                    <a:lnTo>
                      <a:pt x="1078" y="1975"/>
                    </a:lnTo>
                    <a:lnTo>
                      <a:pt x="1082" y="1978"/>
                    </a:lnTo>
                    <a:lnTo>
                      <a:pt x="1086" y="1981"/>
                    </a:lnTo>
                    <a:lnTo>
                      <a:pt x="1089" y="1985"/>
                    </a:lnTo>
                    <a:lnTo>
                      <a:pt x="1093" y="1994"/>
                    </a:lnTo>
                    <a:lnTo>
                      <a:pt x="1095" y="2005"/>
                    </a:lnTo>
                    <a:lnTo>
                      <a:pt x="1097" y="2015"/>
                    </a:lnTo>
                    <a:lnTo>
                      <a:pt x="1099" y="2026"/>
                    </a:lnTo>
                    <a:lnTo>
                      <a:pt x="1101" y="2039"/>
                    </a:lnTo>
                    <a:lnTo>
                      <a:pt x="1105" y="2050"/>
                    </a:lnTo>
                    <a:lnTo>
                      <a:pt x="1113" y="2066"/>
                    </a:lnTo>
                    <a:lnTo>
                      <a:pt x="1121" y="2080"/>
                    </a:lnTo>
                    <a:lnTo>
                      <a:pt x="1129" y="2092"/>
                    </a:lnTo>
                    <a:lnTo>
                      <a:pt x="1139" y="2103"/>
                    </a:lnTo>
                    <a:lnTo>
                      <a:pt x="1150" y="2113"/>
                    </a:lnTo>
                    <a:lnTo>
                      <a:pt x="1162" y="2123"/>
                    </a:lnTo>
                    <a:lnTo>
                      <a:pt x="1176" y="2133"/>
                    </a:lnTo>
                    <a:lnTo>
                      <a:pt x="1190" y="2142"/>
                    </a:lnTo>
                    <a:lnTo>
                      <a:pt x="1213" y="2154"/>
                    </a:lnTo>
                    <a:lnTo>
                      <a:pt x="1233" y="2168"/>
                    </a:lnTo>
                    <a:lnTo>
                      <a:pt x="1237" y="2171"/>
                    </a:lnTo>
                    <a:lnTo>
                      <a:pt x="1242" y="2175"/>
                    </a:lnTo>
                    <a:lnTo>
                      <a:pt x="1245" y="2179"/>
                    </a:lnTo>
                    <a:lnTo>
                      <a:pt x="1248" y="2183"/>
                    </a:lnTo>
                    <a:lnTo>
                      <a:pt x="1251" y="2188"/>
                    </a:lnTo>
                    <a:lnTo>
                      <a:pt x="1253" y="2194"/>
                    </a:lnTo>
                    <a:lnTo>
                      <a:pt x="1254" y="2200"/>
                    </a:lnTo>
                    <a:lnTo>
                      <a:pt x="1254" y="2206"/>
                    </a:lnTo>
                    <a:lnTo>
                      <a:pt x="1253" y="2217"/>
                    </a:lnTo>
                    <a:lnTo>
                      <a:pt x="1249" y="2227"/>
                    </a:lnTo>
                    <a:lnTo>
                      <a:pt x="1246" y="2237"/>
                    </a:lnTo>
                    <a:lnTo>
                      <a:pt x="1245" y="2248"/>
                    </a:lnTo>
                    <a:lnTo>
                      <a:pt x="1245" y="2257"/>
                    </a:lnTo>
                    <a:lnTo>
                      <a:pt x="1247" y="2264"/>
                    </a:lnTo>
                    <a:lnTo>
                      <a:pt x="1250" y="2270"/>
                    </a:lnTo>
                    <a:lnTo>
                      <a:pt x="1253" y="2276"/>
                    </a:lnTo>
                    <a:lnTo>
                      <a:pt x="1257" y="2281"/>
                    </a:lnTo>
                    <a:lnTo>
                      <a:pt x="1262" y="2287"/>
                    </a:lnTo>
                    <a:lnTo>
                      <a:pt x="1267" y="2291"/>
                    </a:lnTo>
                    <a:lnTo>
                      <a:pt x="1274" y="2295"/>
                    </a:lnTo>
                    <a:lnTo>
                      <a:pt x="1286" y="2304"/>
                    </a:lnTo>
                    <a:lnTo>
                      <a:pt x="1299" y="2313"/>
                    </a:lnTo>
                    <a:lnTo>
                      <a:pt x="1305" y="2318"/>
                    </a:lnTo>
                    <a:lnTo>
                      <a:pt x="1312" y="2323"/>
                    </a:lnTo>
                    <a:lnTo>
                      <a:pt x="1317" y="2329"/>
                    </a:lnTo>
                    <a:lnTo>
                      <a:pt x="1322" y="2335"/>
                    </a:lnTo>
                    <a:lnTo>
                      <a:pt x="1337" y="2357"/>
                    </a:lnTo>
                    <a:lnTo>
                      <a:pt x="1350" y="2377"/>
                    </a:lnTo>
                    <a:lnTo>
                      <a:pt x="1360" y="2398"/>
                    </a:lnTo>
                    <a:lnTo>
                      <a:pt x="1370" y="2418"/>
                    </a:lnTo>
                    <a:lnTo>
                      <a:pt x="1382" y="2437"/>
                    </a:lnTo>
                    <a:lnTo>
                      <a:pt x="1393" y="2457"/>
                    </a:lnTo>
                    <a:lnTo>
                      <a:pt x="1400" y="2466"/>
                    </a:lnTo>
                    <a:lnTo>
                      <a:pt x="1408" y="2476"/>
                    </a:lnTo>
                    <a:lnTo>
                      <a:pt x="1417" y="2486"/>
                    </a:lnTo>
                    <a:lnTo>
                      <a:pt x="1426" y="2496"/>
                    </a:lnTo>
                    <a:lnTo>
                      <a:pt x="1434" y="2477"/>
                    </a:lnTo>
                    <a:lnTo>
                      <a:pt x="1444" y="2461"/>
                    </a:lnTo>
                    <a:lnTo>
                      <a:pt x="1455" y="2446"/>
                    </a:lnTo>
                    <a:lnTo>
                      <a:pt x="1468" y="2430"/>
                    </a:lnTo>
                    <a:lnTo>
                      <a:pt x="1482" y="2413"/>
                    </a:lnTo>
                    <a:lnTo>
                      <a:pt x="1493" y="2397"/>
                    </a:lnTo>
                    <a:lnTo>
                      <a:pt x="1499" y="2390"/>
                    </a:lnTo>
                    <a:lnTo>
                      <a:pt x="1507" y="2385"/>
                    </a:lnTo>
                    <a:lnTo>
                      <a:pt x="1511" y="2383"/>
                    </a:lnTo>
                    <a:lnTo>
                      <a:pt x="1515" y="2382"/>
                    </a:lnTo>
                    <a:lnTo>
                      <a:pt x="1520" y="2381"/>
                    </a:lnTo>
                    <a:lnTo>
                      <a:pt x="1525" y="2381"/>
                    </a:lnTo>
                    <a:lnTo>
                      <a:pt x="1532" y="2382"/>
                    </a:lnTo>
                    <a:lnTo>
                      <a:pt x="1540" y="2385"/>
                    </a:lnTo>
                    <a:lnTo>
                      <a:pt x="1546" y="2389"/>
                    </a:lnTo>
                    <a:lnTo>
                      <a:pt x="1551" y="2393"/>
                    </a:lnTo>
                    <a:lnTo>
                      <a:pt x="1556" y="2398"/>
                    </a:lnTo>
                    <a:lnTo>
                      <a:pt x="1562" y="2402"/>
                    </a:lnTo>
                    <a:lnTo>
                      <a:pt x="1569" y="2405"/>
                    </a:lnTo>
                    <a:lnTo>
                      <a:pt x="1577" y="2406"/>
                    </a:lnTo>
                    <a:lnTo>
                      <a:pt x="1586" y="2405"/>
                    </a:lnTo>
                    <a:lnTo>
                      <a:pt x="1594" y="2403"/>
                    </a:lnTo>
                    <a:lnTo>
                      <a:pt x="1602" y="2400"/>
                    </a:lnTo>
                    <a:lnTo>
                      <a:pt x="1609" y="2396"/>
                    </a:lnTo>
                    <a:lnTo>
                      <a:pt x="1616" y="2392"/>
                    </a:lnTo>
                    <a:lnTo>
                      <a:pt x="1624" y="2388"/>
                    </a:lnTo>
                    <a:lnTo>
                      <a:pt x="1631" y="2384"/>
                    </a:lnTo>
                    <a:lnTo>
                      <a:pt x="1641" y="2381"/>
                    </a:lnTo>
                    <a:lnTo>
                      <a:pt x="1654" y="2376"/>
                    </a:lnTo>
                    <a:lnTo>
                      <a:pt x="1667" y="2374"/>
                    </a:lnTo>
                    <a:lnTo>
                      <a:pt x="1680" y="2372"/>
                    </a:lnTo>
                    <a:lnTo>
                      <a:pt x="1691" y="2371"/>
                    </a:lnTo>
                    <a:lnTo>
                      <a:pt x="1715" y="2369"/>
                    </a:lnTo>
                    <a:lnTo>
                      <a:pt x="1742" y="2364"/>
                    </a:lnTo>
                    <a:lnTo>
                      <a:pt x="1742" y="2364"/>
                    </a:lnTo>
                    <a:lnTo>
                      <a:pt x="1720" y="2337"/>
                    </a:lnTo>
                    <a:lnTo>
                      <a:pt x="1701" y="2312"/>
                    </a:lnTo>
                    <a:lnTo>
                      <a:pt x="1694" y="2300"/>
                    </a:lnTo>
                    <a:lnTo>
                      <a:pt x="1688" y="2286"/>
                    </a:lnTo>
                    <a:lnTo>
                      <a:pt x="1686" y="2278"/>
                    </a:lnTo>
                    <a:lnTo>
                      <a:pt x="1684" y="2271"/>
                    </a:lnTo>
                    <a:lnTo>
                      <a:pt x="1683" y="2263"/>
                    </a:lnTo>
                    <a:lnTo>
                      <a:pt x="1683" y="2254"/>
                    </a:lnTo>
                    <a:lnTo>
                      <a:pt x="1683" y="2168"/>
                    </a:lnTo>
                    <a:lnTo>
                      <a:pt x="1695" y="2167"/>
                    </a:lnTo>
                    <a:lnTo>
                      <a:pt x="1709" y="2166"/>
                    </a:lnTo>
                    <a:lnTo>
                      <a:pt x="1714" y="2166"/>
                    </a:lnTo>
                    <a:lnTo>
                      <a:pt x="1720" y="2168"/>
                    </a:lnTo>
                    <a:lnTo>
                      <a:pt x="1725" y="2169"/>
                    </a:lnTo>
                    <a:lnTo>
                      <a:pt x="1729" y="2171"/>
                    </a:lnTo>
                    <a:lnTo>
                      <a:pt x="1734" y="2174"/>
                    </a:lnTo>
                    <a:lnTo>
                      <a:pt x="1740" y="2175"/>
                    </a:lnTo>
                    <a:lnTo>
                      <a:pt x="1745" y="2177"/>
                    </a:lnTo>
                    <a:lnTo>
                      <a:pt x="1751" y="2177"/>
                    </a:lnTo>
                    <a:lnTo>
                      <a:pt x="1760" y="2177"/>
                    </a:lnTo>
                    <a:lnTo>
                      <a:pt x="1769" y="2176"/>
                    </a:lnTo>
                    <a:lnTo>
                      <a:pt x="1776" y="2174"/>
                    </a:lnTo>
                    <a:lnTo>
                      <a:pt x="1783" y="2172"/>
                    </a:lnTo>
                    <a:lnTo>
                      <a:pt x="1797" y="2167"/>
                    </a:lnTo>
                    <a:lnTo>
                      <a:pt x="1810" y="2161"/>
                    </a:lnTo>
                    <a:lnTo>
                      <a:pt x="1823" y="2154"/>
                    </a:lnTo>
                    <a:lnTo>
                      <a:pt x="1838" y="2149"/>
                    </a:lnTo>
                    <a:lnTo>
                      <a:pt x="1845" y="2147"/>
                    </a:lnTo>
                    <a:lnTo>
                      <a:pt x="1852" y="2146"/>
                    </a:lnTo>
                    <a:lnTo>
                      <a:pt x="1860" y="2145"/>
                    </a:lnTo>
                    <a:lnTo>
                      <a:pt x="1870" y="2144"/>
                    </a:lnTo>
                    <a:lnTo>
                      <a:pt x="1876" y="2144"/>
                    </a:lnTo>
                    <a:lnTo>
                      <a:pt x="1882" y="2145"/>
                    </a:lnTo>
                    <a:lnTo>
                      <a:pt x="1887" y="2147"/>
                    </a:lnTo>
                    <a:lnTo>
                      <a:pt x="1893" y="2149"/>
                    </a:lnTo>
                    <a:lnTo>
                      <a:pt x="1904" y="2154"/>
                    </a:lnTo>
                    <a:lnTo>
                      <a:pt x="1913" y="2160"/>
                    </a:lnTo>
                    <a:lnTo>
                      <a:pt x="1922" y="2165"/>
                    </a:lnTo>
                    <a:lnTo>
                      <a:pt x="1932" y="2170"/>
                    </a:lnTo>
                    <a:lnTo>
                      <a:pt x="1938" y="2172"/>
                    </a:lnTo>
                    <a:lnTo>
                      <a:pt x="1944" y="2174"/>
                    </a:lnTo>
                    <a:lnTo>
                      <a:pt x="1950" y="2175"/>
                    </a:lnTo>
                    <a:lnTo>
                      <a:pt x="1956" y="2175"/>
                    </a:lnTo>
                    <a:lnTo>
                      <a:pt x="1960" y="2175"/>
                    </a:lnTo>
                    <a:lnTo>
                      <a:pt x="1964" y="2174"/>
                    </a:lnTo>
                    <a:lnTo>
                      <a:pt x="1968" y="2173"/>
                    </a:lnTo>
                    <a:lnTo>
                      <a:pt x="1971" y="2171"/>
                    </a:lnTo>
                    <a:lnTo>
                      <a:pt x="1975" y="2167"/>
                    </a:lnTo>
                    <a:lnTo>
                      <a:pt x="1978" y="2161"/>
                    </a:lnTo>
                    <a:lnTo>
                      <a:pt x="1981" y="2153"/>
                    </a:lnTo>
                    <a:lnTo>
                      <a:pt x="1982" y="2146"/>
                    </a:lnTo>
                    <a:lnTo>
                      <a:pt x="1983" y="2137"/>
                    </a:lnTo>
                    <a:lnTo>
                      <a:pt x="1983" y="2129"/>
                    </a:lnTo>
                    <a:lnTo>
                      <a:pt x="1985" y="2109"/>
                    </a:lnTo>
                    <a:lnTo>
                      <a:pt x="1987" y="2091"/>
                    </a:lnTo>
                    <a:lnTo>
                      <a:pt x="1990" y="2083"/>
                    </a:lnTo>
                    <a:lnTo>
                      <a:pt x="1994" y="2075"/>
                    </a:lnTo>
                    <a:lnTo>
                      <a:pt x="1996" y="2072"/>
                    </a:lnTo>
                    <a:lnTo>
                      <a:pt x="2000" y="2069"/>
                    </a:lnTo>
                    <a:lnTo>
                      <a:pt x="2003" y="2067"/>
                    </a:lnTo>
                    <a:lnTo>
                      <a:pt x="2006" y="2064"/>
                    </a:lnTo>
                    <a:lnTo>
                      <a:pt x="2014" y="2059"/>
                    </a:lnTo>
                    <a:lnTo>
                      <a:pt x="2023" y="2056"/>
                    </a:lnTo>
                    <a:lnTo>
                      <a:pt x="2031" y="2053"/>
                    </a:lnTo>
                    <a:lnTo>
                      <a:pt x="2040" y="2051"/>
                    </a:lnTo>
                    <a:lnTo>
                      <a:pt x="2056" y="2047"/>
                    </a:lnTo>
                    <a:lnTo>
                      <a:pt x="2072" y="2044"/>
                    </a:lnTo>
                    <a:lnTo>
                      <a:pt x="2080" y="2042"/>
                    </a:lnTo>
                    <a:lnTo>
                      <a:pt x="2087" y="2039"/>
                    </a:lnTo>
                    <a:lnTo>
                      <a:pt x="2094" y="2036"/>
                    </a:lnTo>
                    <a:lnTo>
                      <a:pt x="2102" y="2033"/>
                    </a:lnTo>
                    <a:lnTo>
                      <a:pt x="2108" y="2028"/>
                    </a:lnTo>
                    <a:lnTo>
                      <a:pt x="2115" y="2023"/>
                    </a:lnTo>
                    <a:lnTo>
                      <a:pt x="2120" y="2017"/>
                    </a:lnTo>
                    <a:lnTo>
                      <a:pt x="2126" y="2010"/>
                    </a:lnTo>
                    <a:lnTo>
                      <a:pt x="2132" y="2001"/>
                    </a:lnTo>
                    <a:lnTo>
                      <a:pt x="2137" y="1992"/>
                    </a:lnTo>
                    <a:lnTo>
                      <a:pt x="2141" y="1983"/>
                    </a:lnTo>
                    <a:lnTo>
                      <a:pt x="2144" y="1975"/>
                    </a:lnTo>
                    <a:lnTo>
                      <a:pt x="2150" y="1958"/>
                    </a:lnTo>
                    <a:lnTo>
                      <a:pt x="2154" y="1942"/>
                    </a:lnTo>
                    <a:lnTo>
                      <a:pt x="2159" y="1925"/>
                    </a:lnTo>
                    <a:lnTo>
                      <a:pt x="2167" y="1909"/>
                    </a:lnTo>
                    <a:lnTo>
                      <a:pt x="2171" y="1900"/>
                    </a:lnTo>
                    <a:lnTo>
                      <a:pt x="2175" y="1892"/>
                    </a:lnTo>
                    <a:lnTo>
                      <a:pt x="2181" y="1884"/>
                    </a:lnTo>
                    <a:lnTo>
                      <a:pt x="2187" y="1876"/>
                    </a:lnTo>
                    <a:lnTo>
                      <a:pt x="2194" y="1868"/>
                    </a:lnTo>
                    <a:lnTo>
                      <a:pt x="2203" y="1862"/>
                    </a:lnTo>
                    <a:lnTo>
                      <a:pt x="2211" y="1857"/>
                    </a:lnTo>
                    <a:lnTo>
                      <a:pt x="2220" y="1853"/>
                    </a:lnTo>
                    <a:lnTo>
                      <a:pt x="2239" y="1847"/>
                    </a:lnTo>
                    <a:lnTo>
                      <a:pt x="2257" y="1840"/>
                    </a:lnTo>
                    <a:lnTo>
                      <a:pt x="2266" y="1837"/>
                    </a:lnTo>
                    <a:lnTo>
                      <a:pt x="2274" y="1834"/>
                    </a:lnTo>
                    <a:lnTo>
                      <a:pt x="2281" y="1830"/>
                    </a:lnTo>
                    <a:lnTo>
                      <a:pt x="2288" y="1826"/>
                    </a:lnTo>
                    <a:lnTo>
                      <a:pt x="2293" y="1821"/>
                    </a:lnTo>
                    <a:lnTo>
                      <a:pt x="2298" y="1814"/>
                    </a:lnTo>
                    <a:lnTo>
                      <a:pt x="2300" y="1806"/>
                    </a:lnTo>
                    <a:lnTo>
                      <a:pt x="2301" y="1797"/>
                    </a:lnTo>
                    <a:lnTo>
                      <a:pt x="2300" y="1789"/>
                    </a:lnTo>
                    <a:lnTo>
                      <a:pt x="2298" y="1781"/>
                    </a:lnTo>
                    <a:lnTo>
                      <a:pt x="2294" y="1773"/>
                    </a:lnTo>
                    <a:lnTo>
                      <a:pt x="2291" y="1766"/>
                    </a:lnTo>
                    <a:lnTo>
                      <a:pt x="2287" y="1760"/>
                    </a:lnTo>
                    <a:lnTo>
                      <a:pt x="2285" y="1753"/>
                    </a:lnTo>
                    <a:lnTo>
                      <a:pt x="2282" y="1744"/>
                    </a:lnTo>
                    <a:lnTo>
                      <a:pt x="2282" y="1736"/>
                    </a:lnTo>
                    <a:lnTo>
                      <a:pt x="2282" y="1730"/>
                    </a:lnTo>
                    <a:lnTo>
                      <a:pt x="2283" y="1726"/>
                    </a:lnTo>
                    <a:lnTo>
                      <a:pt x="2286" y="1721"/>
                    </a:lnTo>
                    <a:lnTo>
                      <a:pt x="2288" y="1717"/>
                    </a:lnTo>
                    <a:lnTo>
                      <a:pt x="2295" y="1709"/>
                    </a:lnTo>
                    <a:lnTo>
                      <a:pt x="2303" y="1703"/>
                    </a:lnTo>
                    <a:lnTo>
                      <a:pt x="2311" y="1696"/>
                    </a:lnTo>
                    <a:lnTo>
                      <a:pt x="2317" y="1689"/>
                    </a:lnTo>
                    <a:lnTo>
                      <a:pt x="2320" y="1685"/>
                    </a:lnTo>
                    <a:lnTo>
                      <a:pt x="2322" y="1680"/>
                    </a:lnTo>
                    <a:lnTo>
                      <a:pt x="2323" y="1675"/>
                    </a:lnTo>
                    <a:lnTo>
                      <a:pt x="2324" y="1670"/>
                    </a:lnTo>
                    <a:lnTo>
                      <a:pt x="2323" y="1662"/>
                    </a:lnTo>
                    <a:lnTo>
                      <a:pt x="2322" y="1656"/>
                    </a:lnTo>
                    <a:lnTo>
                      <a:pt x="2320" y="1649"/>
                    </a:lnTo>
                    <a:lnTo>
                      <a:pt x="2317" y="1643"/>
                    </a:lnTo>
                    <a:lnTo>
                      <a:pt x="2310" y="1633"/>
                    </a:lnTo>
                    <a:lnTo>
                      <a:pt x="2302" y="1624"/>
                    </a:lnTo>
                    <a:lnTo>
                      <a:pt x="2292" y="1614"/>
                    </a:lnTo>
                    <a:lnTo>
                      <a:pt x="2283" y="1604"/>
                    </a:lnTo>
                    <a:lnTo>
                      <a:pt x="2279" y="1599"/>
                    </a:lnTo>
                    <a:lnTo>
                      <a:pt x="2275" y="1594"/>
                    </a:lnTo>
                    <a:lnTo>
                      <a:pt x="2271" y="1586"/>
                    </a:lnTo>
                    <a:lnTo>
                      <a:pt x="2268" y="1580"/>
                    </a:lnTo>
                    <a:lnTo>
                      <a:pt x="2276" y="1576"/>
                    </a:lnTo>
                    <a:lnTo>
                      <a:pt x="2284" y="1572"/>
                    </a:lnTo>
                    <a:lnTo>
                      <a:pt x="2291" y="1568"/>
                    </a:lnTo>
                    <a:lnTo>
                      <a:pt x="2299" y="1564"/>
                    </a:lnTo>
                    <a:lnTo>
                      <a:pt x="2311" y="1553"/>
                    </a:lnTo>
                    <a:lnTo>
                      <a:pt x="2323" y="1544"/>
                    </a:lnTo>
                    <a:lnTo>
                      <a:pt x="2336" y="1535"/>
                    </a:lnTo>
                    <a:lnTo>
                      <a:pt x="2349" y="1528"/>
                    </a:lnTo>
                    <a:lnTo>
                      <a:pt x="2356" y="1524"/>
                    </a:lnTo>
                    <a:lnTo>
                      <a:pt x="2364" y="1522"/>
                    </a:lnTo>
                    <a:lnTo>
                      <a:pt x="2373" y="1521"/>
                    </a:lnTo>
                    <a:lnTo>
                      <a:pt x="2381" y="1521"/>
                    </a:lnTo>
                    <a:lnTo>
                      <a:pt x="2398" y="1521"/>
                    </a:lnTo>
                    <a:lnTo>
                      <a:pt x="2413" y="1522"/>
                    </a:lnTo>
                    <a:lnTo>
                      <a:pt x="2427" y="1523"/>
                    </a:lnTo>
                    <a:lnTo>
                      <a:pt x="2444" y="1523"/>
                    </a:lnTo>
                    <a:lnTo>
                      <a:pt x="2457" y="1524"/>
                    </a:lnTo>
                    <a:lnTo>
                      <a:pt x="2469" y="1528"/>
                    </a:lnTo>
                    <a:lnTo>
                      <a:pt x="2481" y="1532"/>
                    </a:lnTo>
                    <a:lnTo>
                      <a:pt x="2495" y="1533"/>
                    </a:lnTo>
                    <a:lnTo>
                      <a:pt x="2522" y="1533"/>
                    </a:lnTo>
                    <a:lnTo>
                      <a:pt x="2546" y="1533"/>
                    </a:lnTo>
                    <a:lnTo>
                      <a:pt x="2570" y="1533"/>
                    </a:lnTo>
                    <a:lnTo>
                      <a:pt x="2598" y="1533"/>
                    </a:lnTo>
                    <a:lnTo>
                      <a:pt x="2598" y="1533"/>
                    </a:lnTo>
                    <a:lnTo>
                      <a:pt x="2599" y="1524"/>
                    </a:lnTo>
                    <a:lnTo>
                      <a:pt x="2601" y="1517"/>
                    </a:lnTo>
                    <a:lnTo>
                      <a:pt x="2603" y="1510"/>
                    </a:lnTo>
                    <a:lnTo>
                      <a:pt x="2605" y="1504"/>
                    </a:lnTo>
                    <a:lnTo>
                      <a:pt x="2611" y="1491"/>
                    </a:lnTo>
                    <a:lnTo>
                      <a:pt x="2618" y="1480"/>
                    </a:lnTo>
                    <a:lnTo>
                      <a:pt x="2624" y="1468"/>
                    </a:lnTo>
                    <a:lnTo>
                      <a:pt x="2630" y="1455"/>
                    </a:lnTo>
                    <a:lnTo>
                      <a:pt x="2633" y="1449"/>
                    </a:lnTo>
                    <a:lnTo>
                      <a:pt x="2634" y="1442"/>
                    </a:lnTo>
                    <a:lnTo>
                      <a:pt x="2635" y="1435"/>
                    </a:lnTo>
                    <a:lnTo>
                      <a:pt x="2636" y="1426"/>
                    </a:lnTo>
                    <a:lnTo>
                      <a:pt x="2635" y="1421"/>
                    </a:lnTo>
                    <a:lnTo>
                      <a:pt x="2634" y="1416"/>
                    </a:lnTo>
                    <a:lnTo>
                      <a:pt x="2631" y="1412"/>
                    </a:lnTo>
                    <a:lnTo>
                      <a:pt x="2628" y="1408"/>
                    </a:lnTo>
                    <a:lnTo>
                      <a:pt x="2619" y="1401"/>
                    </a:lnTo>
                    <a:lnTo>
                      <a:pt x="2611" y="1394"/>
                    </a:lnTo>
                    <a:lnTo>
                      <a:pt x="2602" y="1388"/>
                    </a:lnTo>
                    <a:lnTo>
                      <a:pt x="2594" y="1382"/>
                    </a:lnTo>
                    <a:lnTo>
                      <a:pt x="2590" y="1378"/>
                    </a:lnTo>
                    <a:lnTo>
                      <a:pt x="2588" y="1374"/>
                    </a:lnTo>
                    <a:lnTo>
                      <a:pt x="2586" y="1369"/>
                    </a:lnTo>
                    <a:lnTo>
                      <a:pt x="2586" y="1362"/>
                    </a:lnTo>
                    <a:lnTo>
                      <a:pt x="2587" y="1350"/>
                    </a:lnTo>
                    <a:lnTo>
                      <a:pt x="2590" y="1339"/>
                    </a:lnTo>
                    <a:lnTo>
                      <a:pt x="2595" y="1328"/>
                    </a:lnTo>
                    <a:lnTo>
                      <a:pt x="2599" y="1318"/>
                    </a:lnTo>
                    <a:lnTo>
                      <a:pt x="2604" y="1308"/>
                    </a:lnTo>
                    <a:lnTo>
                      <a:pt x="2608" y="1297"/>
                    </a:lnTo>
                    <a:lnTo>
                      <a:pt x="2611" y="1286"/>
                    </a:lnTo>
                    <a:lnTo>
                      <a:pt x="2612" y="1274"/>
                    </a:lnTo>
                    <a:lnTo>
                      <a:pt x="2611" y="1263"/>
                    </a:lnTo>
                    <a:lnTo>
                      <a:pt x="2608" y="1254"/>
                    </a:lnTo>
                    <a:lnTo>
                      <a:pt x="2605" y="1246"/>
                    </a:lnTo>
                    <a:lnTo>
                      <a:pt x="2601" y="1237"/>
                    </a:lnTo>
                    <a:lnTo>
                      <a:pt x="2596" y="1229"/>
                    </a:lnTo>
                    <a:lnTo>
                      <a:pt x="2590" y="1221"/>
                    </a:lnTo>
                    <a:lnTo>
                      <a:pt x="2586" y="1213"/>
                    </a:lnTo>
                    <a:lnTo>
                      <a:pt x="2583" y="1202"/>
                    </a:lnTo>
                    <a:lnTo>
                      <a:pt x="2580" y="1187"/>
                    </a:lnTo>
                    <a:lnTo>
                      <a:pt x="2579" y="1172"/>
                    </a:lnTo>
                    <a:lnTo>
                      <a:pt x="2578" y="1159"/>
                    </a:lnTo>
                    <a:lnTo>
                      <a:pt x="2578" y="1146"/>
                    </a:lnTo>
                    <a:lnTo>
                      <a:pt x="2577" y="1133"/>
                    </a:lnTo>
                    <a:lnTo>
                      <a:pt x="2576" y="1120"/>
                    </a:lnTo>
                    <a:lnTo>
                      <a:pt x="2572" y="1106"/>
                    </a:lnTo>
                    <a:lnTo>
                      <a:pt x="2567" y="1092"/>
                    </a:lnTo>
                    <a:lnTo>
                      <a:pt x="2564" y="1087"/>
                    </a:lnTo>
                    <a:lnTo>
                      <a:pt x="2558" y="1083"/>
                    </a:lnTo>
                    <a:lnTo>
                      <a:pt x="2556" y="1080"/>
                    </a:lnTo>
                    <a:lnTo>
                      <a:pt x="2554" y="1078"/>
                    </a:lnTo>
                    <a:lnTo>
                      <a:pt x="2553" y="1075"/>
                    </a:lnTo>
                    <a:lnTo>
                      <a:pt x="2553" y="1072"/>
                    </a:lnTo>
                    <a:lnTo>
                      <a:pt x="2553" y="1067"/>
                    </a:lnTo>
                    <a:lnTo>
                      <a:pt x="2555" y="1062"/>
                    </a:lnTo>
                    <a:lnTo>
                      <a:pt x="2557" y="1058"/>
                    </a:lnTo>
                    <a:lnTo>
                      <a:pt x="2561" y="1055"/>
                    </a:lnTo>
                    <a:lnTo>
                      <a:pt x="2565" y="1052"/>
                    </a:lnTo>
                    <a:lnTo>
                      <a:pt x="2569" y="1049"/>
                    </a:lnTo>
                    <a:lnTo>
                      <a:pt x="2574" y="1048"/>
                    </a:lnTo>
                    <a:lnTo>
                      <a:pt x="2579" y="1046"/>
                    </a:lnTo>
                    <a:lnTo>
                      <a:pt x="2591" y="1044"/>
                    </a:lnTo>
                    <a:lnTo>
                      <a:pt x="2604" y="1042"/>
                    </a:lnTo>
                    <a:lnTo>
                      <a:pt x="2616" y="1039"/>
                    </a:lnTo>
                    <a:lnTo>
                      <a:pt x="2629" y="1035"/>
                    </a:lnTo>
                    <a:lnTo>
                      <a:pt x="2634" y="1032"/>
                    </a:lnTo>
                    <a:lnTo>
                      <a:pt x="2639" y="1029"/>
                    </a:lnTo>
                    <a:lnTo>
                      <a:pt x="2643" y="1026"/>
                    </a:lnTo>
                    <a:lnTo>
                      <a:pt x="2647" y="1022"/>
                    </a:lnTo>
                    <a:lnTo>
                      <a:pt x="2653" y="1013"/>
                    </a:lnTo>
                    <a:lnTo>
                      <a:pt x="2658" y="1004"/>
                    </a:lnTo>
                    <a:lnTo>
                      <a:pt x="2662" y="994"/>
                    </a:lnTo>
                    <a:lnTo>
                      <a:pt x="2665" y="983"/>
                    </a:lnTo>
                    <a:lnTo>
                      <a:pt x="2666" y="971"/>
                    </a:lnTo>
                    <a:lnTo>
                      <a:pt x="2666" y="960"/>
                    </a:lnTo>
                    <a:lnTo>
                      <a:pt x="2666" y="944"/>
                    </a:lnTo>
                    <a:lnTo>
                      <a:pt x="2665" y="929"/>
                    </a:lnTo>
                    <a:lnTo>
                      <a:pt x="2664" y="915"/>
                    </a:lnTo>
                    <a:lnTo>
                      <a:pt x="2662" y="902"/>
                    </a:lnTo>
                    <a:lnTo>
                      <a:pt x="2658" y="888"/>
                    </a:lnTo>
                    <a:lnTo>
                      <a:pt x="2655" y="876"/>
                    </a:lnTo>
                    <a:lnTo>
                      <a:pt x="2651" y="864"/>
                    </a:lnTo>
                    <a:lnTo>
                      <a:pt x="2647" y="851"/>
                    </a:lnTo>
                    <a:lnTo>
                      <a:pt x="2642" y="840"/>
                    </a:lnTo>
                    <a:lnTo>
                      <a:pt x="2637" y="827"/>
                    </a:lnTo>
                    <a:lnTo>
                      <a:pt x="2631" y="816"/>
                    </a:lnTo>
                    <a:lnTo>
                      <a:pt x="2623" y="805"/>
                    </a:lnTo>
                    <a:lnTo>
                      <a:pt x="2608" y="781"/>
                    </a:lnTo>
                    <a:lnTo>
                      <a:pt x="2590" y="756"/>
                    </a:lnTo>
                    <a:lnTo>
                      <a:pt x="2597" y="751"/>
                    </a:lnTo>
                    <a:lnTo>
                      <a:pt x="2603" y="747"/>
                    </a:lnTo>
                    <a:lnTo>
                      <a:pt x="2610" y="744"/>
                    </a:lnTo>
                    <a:lnTo>
                      <a:pt x="2616" y="741"/>
                    </a:lnTo>
                    <a:lnTo>
                      <a:pt x="2622" y="738"/>
                    </a:lnTo>
                    <a:lnTo>
                      <a:pt x="2627" y="732"/>
                    </a:lnTo>
                    <a:lnTo>
                      <a:pt x="2629" y="730"/>
                    </a:lnTo>
                    <a:lnTo>
                      <a:pt x="2630" y="727"/>
                    </a:lnTo>
                    <a:lnTo>
                      <a:pt x="2631" y="724"/>
                    </a:lnTo>
                    <a:lnTo>
                      <a:pt x="2631" y="721"/>
                    </a:lnTo>
                    <a:lnTo>
                      <a:pt x="2631" y="711"/>
                    </a:lnTo>
                    <a:lnTo>
                      <a:pt x="2630" y="701"/>
                    </a:lnTo>
                    <a:lnTo>
                      <a:pt x="2628" y="692"/>
                    </a:lnTo>
                    <a:lnTo>
                      <a:pt x="2625" y="684"/>
                    </a:lnTo>
                    <a:lnTo>
                      <a:pt x="2620" y="666"/>
                    </a:lnTo>
                    <a:lnTo>
                      <a:pt x="2614" y="648"/>
                    </a:lnTo>
                    <a:lnTo>
                      <a:pt x="2614" y="648"/>
                    </a:lnTo>
                    <a:lnTo>
                      <a:pt x="2606" y="635"/>
                    </a:lnTo>
                    <a:lnTo>
                      <a:pt x="2599" y="624"/>
                    </a:lnTo>
                    <a:lnTo>
                      <a:pt x="2592" y="613"/>
                    </a:lnTo>
                    <a:lnTo>
                      <a:pt x="2588" y="601"/>
                    </a:lnTo>
                    <a:lnTo>
                      <a:pt x="2579" y="579"/>
                    </a:lnTo>
                    <a:lnTo>
                      <a:pt x="2567" y="553"/>
                    </a:lnTo>
                    <a:lnTo>
                      <a:pt x="2563" y="547"/>
                    </a:lnTo>
                    <a:lnTo>
                      <a:pt x="2557" y="542"/>
                    </a:lnTo>
                    <a:lnTo>
                      <a:pt x="2552" y="538"/>
                    </a:lnTo>
                    <a:lnTo>
                      <a:pt x="2546" y="535"/>
                    </a:lnTo>
                    <a:lnTo>
                      <a:pt x="2534" y="530"/>
                    </a:lnTo>
                    <a:lnTo>
                      <a:pt x="2520" y="523"/>
                    </a:lnTo>
                    <a:lnTo>
                      <a:pt x="2499" y="506"/>
                    </a:lnTo>
                    <a:lnTo>
                      <a:pt x="2479" y="492"/>
                    </a:lnTo>
                    <a:lnTo>
                      <a:pt x="2469" y="486"/>
                    </a:lnTo>
                    <a:lnTo>
                      <a:pt x="2458" y="480"/>
                    </a:lnTo>
                    <a:lnTo>
                      <a:pt x="2446" y="476"/>
                    </a:lnTo>
                    <a:lnTo>
                      <a:pt x="2433" y="473"/>
                    </a:lnTo>
                    <a:lnTo>
                      <a:pt x="2407" y="461"/>
                    </a:lnTo>
                    <a:lnTo>
                      <a:pt x="2384" y="452"/>
                    </a:lnTo>
                    <a:lnTo>
                      <a:pt x="2373" y="447"/>
                    </a:lnTo>
                    <a:lnTo>
                      <a:pt x="2361" y="441"/>
                    </a:lnTo>
                    <a:lnTo>
                      <a:pt x="2350" y="434"/>
                    </a:lnTo>
                    <a:lnTo>
                      <a:pt x="2339" y="426"/>
                    </a:lnTo>
                    <a:lnTo>
                      <a:pt x="2333" y="421"/>
                    </a:lnTo>
                    <a:lnTo>
                      <a:pt x="2328" y="416"/>
                    </a:lnTo>
                    <a:lnTo>
                      <a:pt x="2324" y="411"/>
                    </a:lnTo>
                    <a:lnTo>
                      <a:pt x="2321" y="406"/>
                    </a:lnTo>
                    <a:lnTo>
                      <a:pt x="2317" y="395"/>
                    </a:lnTo>
                    <a:lnTo>
                      <a:pt x="2313" y="383"/>
                    </a:lnTo>
                    <a:lnTo>
                      <a:pt x="2310" y="371"/>
                    </a:lnTo>
                    <a:lnTo>
                      <a:pt x="2306" y="360"/>
                    </a:lnTo>
                    <a:lnTo>
                      <a:pt x="2301" y="347"/>
                    </a:lnTo>
                    <a:lnTo>
                      <a:pt x="2293" y="336"/>
                    </a:lnTo>
                    <a:lnTo>
                      <a:pt x="2287" y="328"/>
                    </a:lnTo>
                    <a:lnTo>
                      <a:pt x="2280" y="320"/>
                    </a:lnTo>
                    <a:lnTo>
                      <a:pt x="2273" y="313"/>
                    </a:lnTo>
                    <a:lnTo>
                      <a:pt x="2266" y="307"/>
                    </a:lnTo>
                    <a:lnTo>
                      <a:pt x="2251" y="295"/>
                    </a:lnTo>
                    <a:lnTo>
                      <a:pt x="2238" y="282"/>
                    </a:lnTo>
                    <a:lnTo>
                      <a:pt x="2231" y="276"/>
                    </a:lnTo>
                    <a:lnTo>
                      <a:pt x="2225" y="270"/>
                    </a:lnTo>
                    <a:lnTo>
                      <a:pt x="2220" y="264"/>
                    </a:lnTo>
                    <a:lnTo>
                      <a:pt x="2215" y="256"/>
                    </a:lnTo>
                    <a:lnTo>
                      <a:pt x="2212" y="248"/>
                    </a:lnTo>
                    <a:lnTo>
                      <a:pt x="2209" y="240"/>
                    </a:lnTo>
                    <a:lnTo>
                      <a:pt x="2207" y="231"/>
                    </a:lnTo>
                    <a:lnTo>
                      <a:pt x="2207" y="220"/>
                    </a:lnTo>
                    <a:lnTo>
                      <a:pt x="2207" y="212"/>
                    </a:lnTo>
                    <a:lnTo>
                      <a:pt x="2209" y="204"/>
                    </a:lnTo>
                    <a:lnTo>
                      <a:pt x="2212" y="197"/>
                    </a:lnTo>
                    <a:lnTo>
                      <a:pt x="2215" y="189"/>
                    </a:lnTo>
                    <a:lnTo>
                      <a:pt x="2217" y="183"/>
                    </a:lnTo>
                    <a:lnTo>
                      <a:pt x="2220" y="176"/>
                    </a:lnTo>
                    <a:lnTo>
                      <a:pt x="2222" y="168"/>
                    </a:lnTo>
                    <a:lnTo>
                      <a:pt x="2223" y="159"/>
                    </a:lnTo>
                    <a:lnTo>
                      <a:pt x="2222" y="151"/>
                    </a:lnTo>
                    <a:lnTo>
                      <a:pt x="2220" y="145"/>
                    </a:lnTo>
                    <a:lnTo>
                      <a:pt x="2217" y="139"/>
                    </a:lnTo>
                    <a:lnTo>
                      <a:pt x="2213" y="135"/>
                    </a:lnTo>
                    <a:lnTo>
                      <a:pt x="2208" y="130"/>
                    </a:lnTo>
                    <a:lnTo>
                      <a:pt x="2202" y="126"/>
                    </a:lnTo>
                    <a:lnTo>
                      <a:pt x="2194" y="124"/>
                    </a:lnTo>
                    <a:lnTo>
                      <a:pt x="2187" y="121"/>
                    </a:lnTo>
                    <a:lnTo>
                      <a:pt x="2172" y="117"/>
                    </a:lnTo>
                    <a:lnTo>
                      <a:pt x="2155" y="113"/>
                    </a:lnTo>
                    <a:lnTo>
                      <a:pt x="2147" y="110"/>
                    </a:lnTo>
                    <a:lnTo>
                      <a:pt x="2139" y="108"/>
                    </a:lnTo>
                    <a:lnTo>
                      <a:pt x="2132" y="104"/>
                    </a:lnTo>
                    <a:lnTo>
                      <a:pt x="2124" y="99"/>
                    </a:lnTo>
                    <a:lnTo>
                      <a:pt x="2117" y="95"/>
                    </a:lnTo>
                    <a:lnTo>
                      <a:pt x="2112" y="89"/>
                    </a:lnTo>
                    <a:lnTo>
                      <a:pt x="2107" y="83"/>
                    </a:lnTo>
                    <a:lnTo>
                      <a:pt x="2104" y="76"/>
                    </a:lnTo>
                    <a:lnTo>
                      <a:pt x="2097" y="61"/>
                    </a:lnTo>
                    <a:lnTo>
                      <a:pt x="2092" y="47"/>
                    </a:lnTo>
                    <a:lnTo>
                      <a:pt x="2087" y="32"/>
                    </a:lnTo>
                    <a:lnTo>
                      <a:pt x="2081" y="19"/>
                    </a:lnTo>
                    <a:lnTo>
                      <a:pt x="2077" y="13"/>
                    </a:lnTo>
                    <a:lnTo>
                      <a:pt x="2072" y="9"/>
                    </a:lnTo>
                    <a:lnTo>
                      <a:pt x="2066" y="4"/>
                    </a:lnTo>
                    <a:lnTo>
                      <a:pt x="2058" y="0"/>
                    </a:lnTo>
                    <a:lnTo>
                      <a:pt x="1956" y="24"/>
                    </a:lnTo>
                    <a:lnTo>
                      <a:pt x="1951" y="24"/>
                    </a:lnTo>
                    <a:lnTo>
                      <a:pt x="1945" y="24"/>
                    </a:lnTo>
                    <a:lnTo>
                      <a:pt x="1940" y="25"/>
                    </a:lnTo>
                    <a:lnTo>
                      <a:pt x="1936" y="26"/>
                    </a:lnTo>
                    <a:lnTo>
                      <a:pt x="1926" y="29"/>
                    </a:lnTo>
                    <a:lnTo>
                      <a:pt x="1917" y="34"/>
                    </a:lnTo>
                    <a:lnTo>
                      <a:pt x="1901" y="46"/>
                    </a:lnTo>
                    <a:lnTo>
                      <a:pt x="1881" y="57"/>
                    </a:lnTo>
                    <a:lnTo>
                      <a:pt x="1852" y="73"/>
                    </a:lnTo>
                    <a:lnTo>
                      <a:pt x="1825" y="88"/>
                    </a:lnTo>
                    <a:lnTo>
                      <a:pt x="1800" y="102"/>
                    </a:lnTo>
                    <a:lnTo>
                      <a:pt x="1776" y="115"/>
                    </a:lnTo>
                    <a:lnTo>
                      <a:pt x="1763" y="121"/>
                    </a:lnTo>
                    <a:lnTo>
                      <a:pt x="1751" y="127"/>
                    </a:lnTo>
                    <a:lnTo>
                      <a:pt x="1739" y="132"/>
                    </a:lnTo>
                    <a:lnTo>
                      <a:pt x="1725" y="138"/>
                    </a:lnTo>
                    <a:lnTo>
                      <a:pt x="1711" y="142"/>
                    </a:lnTo>
                    <a:lnTo>
                      <a:pt x="1696" y="146"/>
                    </a:lnTo>
                    <a:lnTo>
                      <a:pt x="1681" y="149"/>
                    </a:lnTo>
                    <a:lnTo>
                      <a:pt x="1664" y="152"/>
                    </a:lnTo>
                    <a:lnTo>
                      <a:pt x="1639" y="155"/>
                    </a:lnTo>
                    <a:lnTo>
                      <a:pt x="1615" y="158"/>
                    </a:lnTo>
                    <a:lnTo>
                      <a:pt x="1593" y="163"/>
                    </a:lnTo>
                    <a:lnTo>
                      <a:pt x="1572" y="169"/>
                    </a:lnTo>
                    <a:lnTo>
                      <a:pt x="1561" y="173"/>
                    </a:lnTo>
                    <a:lnTo>
                      <a:pt x="1551" y="177"/>
                    </a:lnTo>
                    <a:lnTo>
                      <a:pt x="1542" y="182"/>
                    </a:lnTo>
                    <a:lnTo>
                      <a:pt x="1532" y="187"/>
                    </a:lnTo>
                    <a:lnTo>
                      <a:pt x="1524" y="194"/>
                    </a:lnTo>
                    <a:lnTo>
                      <a:pt x="1515" y="202"/>
                    </a:lnTo>
                    <a:lnTo>
                      <a:pt x="1507" y="211"/>
                    </a:lnTo>
                    <a:lnTo>
                      <a:pt x="1499" y="220"/>
                    </a:lnTo>
                    <a:lnTo>
                      <a:pt x="1488" y="238"/>
                    </a:lnTo>
                    <a:lnTo>
                      <a:pt x="1479" y="256"/>
                    </a:lnTo>
                    <a:lnTo>
                      <a:pt x="1470" y="274"/>
                    </a:lnTo>
                    <a:lnTo>
                      <a:pt x="1461" y="292"/>
                    </a:lnTo>
                    <a:lnTo>
                      <a:pt x="1457" y="299"/>
                    </a:lnTo>
                    <a:lnTo>
                      <a:pt x="1452" y="306"/>
                    </a:lnTo>
                    <a:lnTo>
                      <a:pt x="1447" y="312"/>
                    </a:lnTo>
                    <a:lnTo>
                      <a:pt x="1441" y="318"/>
                    </a:lnTo>
                    <a:lnTo>
                      <a:pt x="1433" y="322"/>
                    </a:lnTo>
                    <a:lnTo>
                      <a:pt x="1426" y="326"/>
                    </a:lnTo>
                    <a:lnTo>
                      <a:pt x="1417" y="328"/>
                    </a:lnTo>
                    <a:lnTo>
                      <a:pt x="1408" y="329"/>
                    </a:lnTo>
                    <a:lnTo>
                      <a:pt x="1400" y="329"/>
                    </a:lnTo>
                    <a:lnTo>
                      <a:pt x="1393" y="327"/>
                    </a:lnTo>
                    <a:lnTo>
                      <a:pt x="1387" y="325"/>
                    </a:lnTo>
                    <a:lnTo>
                      <a:pt x="1382" y="321"/>
                    </a:lnTo>
                    <a:lnTo>
                      <a:pt x="1377" y="317"/>
                    </a:lnTo>
                    <a:lnTo>
                      <a:pt x="1373" y="313"/>
                    </a:lnTo>
                    <a:lnTo>
                      <a:pt x="1368" y="308"/>
                    </a:lnTo>
                    <a:lnTo>
                      <a:pt x="1364" y="303"/>
                    </a:lnTo>
                    <a:lnTo>
                      <a:pt x="1350" y="278"/>
                    </a:lnTo>
                    <a:lnTo>
                      <a:pt x="1336" y="251"/>
                    </a:lnTo>
                    <a:lnTo>
                      <a:pt x="1331" y="240"/>
                    </a:lnTo>
                    <a:lnTo>
                      <a:pt x="1326" y="230"/>
                    </a:lnTo>
                    <a:lnTo>
                      <a:pt x="1324" y="224"/>
                    </a:lnTo>
                    <a:lnTo>
                      <a:pt x="1320" y="221"/>
                    </a:lnTo>
                    <a:lnTo>
                      <a:pt x="1316" y="219"/>
                    </a:lnTo>
                    <a:lnTo>
                      <a:pt x="1311" y="218"/>
                    </a:lnTo>
                    <a:lnTo>
                      <a:pt x="1297" y="218"/>
                    </a:lnTo>
                    <a:lnTo>
                      <a:pt x="1285" y="220"/>
                    </a:lnTo>
                    <a:lnTo>
                      <a:pt x="1272" y="223"/>
                    </a:lnTo>
                    <a:lnTo>
                      <a:pt x="1261" y="226"/>
                    </a:lnTo>
                    <a:lnTo>
                      <a:pt x="1241" y="236"/>
                    </a:lnTo>
                    <a:lnTo>
                      <a:pt x="1220" y="246"/>
                    </a:lnTo>
                    <a:lnTo>
                      <a:pt x="1199" y="256"/>
                    </a:lnTo>
                    <a:lnTo>
                      <a:pt x="1179" y="266"/>
                    </a:lnTo>
                    <a:lnTo>
                      <a:pt x="1167" y="270"/>
                    </a:lnTo>
                    <a:lnTo>
                      <a:pt x="1155" y="272"/>
                    </a:lnTo>
                    <a:lnTo>
                      <a:pt x="1143" y="274"/>
                    </a:lnTo>
                    <a:lnTo>
                      <a:pt x="1129" y="275"/>
                    </a:lnTo>
                    <a:lnTo>
                      <a:pt x="1125" y="274"/>
                    </a:lnTo>
                    <a:lnTo>
                      <a:pt x="1122" y="273"/>
                    </a:lnTo>
                    <a:lnTo>
                      <a:pt x="1120" y="272"/>
                    </a:lnTo>
                    <a:lnTo>
                      <a:pt x="1118" y="270"/>
                    </a:lnTo>
                    <a:lnTo>
                      <a:pt x="1114" y="266"/>
                    </a:lnTo>
                    <a:lnTo>
                      <a:pt x="1112" y="260"/>
                    </a:lnTo>
                    <a:lnTo>
                      <a:pt x="1107" y="244"/>
                    </a:lnTo>
                    <a:lnTo>
                      <a:pt x="1103" y="230"/>
                    </a:lnTo>
                    <a:lnTo>
                      <a:pt x="1090" y="194"/>
                    </a:lnTo>
                    <a:lnTo>
                      <a:pt x="1078" y="161"/>
                    </a:lnTo>
                    <a:lnTo>
                      <a:pt x="1074" y="154"/>
                    </a:lnTo>
                    <a:lnTo>
                      <a:pt x="1070" y="147"/>
                    </a:lnTo>
                    <a:lnTo>
                      <a:pt x="1066" y="140"/>
                    </a:lnTo>
                    <a:lnTo>
                      <a:pt x="1061" y="134"/>
                    </a:lnTo>
                    <a:lnTo>
                      <a:pt x="1055" y="128"/>
                    </a:lnTo>
                    <a:lnTo>
                      <a:pt x="1049" y="122"/>
                    </a:lnTo>
                    <a:lnTo>
                      <a:pt x="1040" y="118"/>
                    </a:lnTo>
                    <a:lnTo>
                      <a:pt x="1032" y="114"/>
                    </a:lnTo>
                    <a:lnTo>
                      <a:pt x="1010" y="106"/>
                    </a:lnTo>
                    <a:lnTo>
                      <a:pt x="988" y="100"/>
                    </a:lnTo>
                    <a:lnTo>
                      <a:pt x="967" y="96"/>
                    </a:lnTo>
                    <a:lnTo>
                      <a:pt x="947" y="94"/>
                    </a:lnTo>
                    <a:lnTo>
                      <a:pt x="926" y="93"/>
                    </a:lnTo>
                    <a:lnTo>
                      <a:pt x="905" y="92"/>
                    </a:lnTo>
                    <a:lnTo>
                      <a:pt x="883" y="92"/>
                    </a:lnTo>
                    <a:lnTo>
                      <a:pt x="858" y="93"/>
                    </a:lnTo>
                    <a:lnTo>
                      <a:pt x="836" y="93"/>
                    </a:lnTo>
                    <a:lnTo>
                      <a:pt x="817" y="96"/>
                    </a:lnTo>
                    <a:lnTo>
                      <a:pt x="799" y="100"/>
                    </a:lnTo>
                    <a:lnTo>
                      <a:pt x="782" y="107"/>
                    </a:lnTo>
                    <a:lnTo>
                      <a:pt x="766" y="115"/>
                    </a:lnTo>
                    <a:lnTo>
                      <a:pt x="750" y="124"/>
                    </a:lnTo>
                    <a:lnTo>
                      <a:pt x="733" y="136"/>
                    </a:lnTo>
                    <a:lnTo>
                      <a:pt x="717" y="149"/>
                    </a:lnTo>
                    <a:lnTo>
                      <a:pt x="706" y="159"/>
                    </a:lnTo>
                    <a:lnTo>
                      <a:pt x="698" y="170"/>
                    </a:lnTo>
                    <a:lnTo>
                      <a:pt x="690" y="180"/>
                    </a:lnTo>
                    <a:lnTo>
                      <a:pt x="683" y="189"/>
                    </a:lnTo>
                    <a:lnTo>
                      <a:pt x="674" y="198"/>
                    </a:lnTo>
                    <a:lnTo>
                      <a:pt x="666" y="205"/>
                    </a:lnTo>
                    <a:lnTo>
                      <a:pt x="661" y="207"/>
                    </a:lnTo>
                    <a:lnTo>
                      <a:pt x="655" y="209"/>
                    </a:lnTo>
                    <a:lnTo>
                      <a:pt x="649" y="210"/>
                    </a:lnTo>
                    <a:lnTo>
                      <a:pt x="642" y="211"/>
                    </a:lnTo>
                    <a:lnTo>
                      <a:pt x="630" y="211"/>
                    </a:lnTo>
                    <a:lnTo>
                      <a:pt x="618" y="212"/>
                    </a:lnTo>
                    <a:lnTo>
                      <a:pt x="606" y="212"/>
                    </a:lnTo>
                    <a:lnTo>
                      <a:pt x="596" y="212"/>
                    </a:lnTo>
                    <a:lnTo>
                      <a:pt x="596" y="212"/>
                    </a:lnTo>
                    <a:lnTo>
                      <a:pt x="588" y="226"/>
                    </a:lnTo>
                    <a:lnTo>
                      <a:pt x="578" y="239"/>
                    </a:lnTo>
                    <a:lnTo>
                      <a:pt x="569" y="249"/>
                    </a:lnTo>
                    <a:lnTo>
                      <a:pt x="558" y="258"/>
                    </a:lnTo>
                    <a:lnTo>
                      <a:pt x="546" y="266"/>
                    </a:lnTo>
                    <a:lnTo>
                      <a:pt x="534" y="273"/>
                    </a:lnTo>
                    <a:lnTo>
                      <a:pt x="521" y="278"/>
                    </a:lnTo>
                    <a:lnTo>
                      <a:pt x="507" y="282"/>
                    </a:lnTo>
                    <a:lnTo>
                      <a:pt x="493" y="285"/>
                    </a:lnTo>
                    <a:lnTo>
                      <a:pt x="477" y="287"/>
                    </a:lnTo>
                    <a:lnTo>
                      <a:pt x="463" y="289"/>
                    </a:lnTo>
                    <a:lnTo>
                      <a:pt x="446" y="290"/>
                    </a:lnTo>
                    <a:lnTo>
                      <a:pt x="414" y="292"/>
                    </a:lnTo>
                    <a:lnTo>
                      <a:pt x="381" y="292"/>
                    </a:lnTo>
                    <a:lnTo>
                      <a:pt x="335" y="292"/>
                    </a:lnTo>
                    <a:lnTo>
                      <a:pt x="321" y="288"/>
                    </a:lnTo>
                    <a:lnTo>
                      <a:pt x="306" y="286"/>
                    </a:lnTo>
                    <a:lnTo>
                      <a:pt x="302" y="286"/>
                    </a:lnTo>
                    <a:lnTo>
                      <a:pt x="298" y="287"/>
                    </a:lnTo>
                    <a:lnTo>
                      <a:pt x="294" y="289"/>
                    </a:lnTo>
                    <a:lnTo>
                      <a:pt x="291" y="292"/>
                    </a:lnTo>
                    <a:lnTo>
                      <a:pt x="285" y="297"/>
                    </a:lnTo>
                    <a:lnTo>
                      <a:pt x="279" y="304"/>
                    </a:lnTo>
                    <a:lnTo>
                      <a:pt x="271" y="319"/>
                    </a:lnTo>
                    <a:lnTo>
                      <a:pt x="262" y="336"/>
                    </a:lnTo>
                    <a:lnTo>
                      <a:pt x="247" y="353"/>
                    </a:lnTo>
                    <a:lnTo>
                      <a:pt x="235" y="369"/>
                    </a:lnTo>
                    <a:lnTo>
                      <a:pt x="228" y="376"/>
                    </a:lnTo>
                    <a:lnTo>
                      <a:pt x="221" y="383"/>
                    </a:lnTo>
                    <a:lnTo>
                      <a:pt x="212" y="391"/>
                    </a:lnTo>
                    <a:lnTo>
                      <a:pt x="202" y="397"/>
                    </a:lnTo>
                    <a:lnTo>
                      <a:pt x="190" y="396"/>
                    </a:lnTo>
                    <a:lnTo>
                      <a:pt x="176" y="395"/>
                    </a:lnTo>
                    <a:lnTo>
                      <a:pt x="164" y="395"/>
                    </a:lnTo>
                    <a:lnTo>
                      <a:pt x="150" y="395"/>
                    </a:lnTo>
                    <a:lnTo>
                      <a:pt x="146" y="423"/>
                    </a:lnTo>
                    <a:lnTo>
                      <a:pt x="142" y="446"/>
                    </a:lnTo>
                    <a:lnTo>
                      <a:pt x="137" y="470"/>
                    </a:lnTo>
                    <a:lnTo>
                      <a:pt x="130" y="497"/>
                    </a:lnTo>
                    <a:lnTo>
                      <a:pt x="116" y="476"/>
                    </a:lnTo>
                    <a:lnTo>
                      <a:pt x="105" y="457"/>
                    </a:lnTo>
                    <a:lnTo>
                      <a:pt x="98" y="450"/>
                    </a:lnTo>
                    <a:lnTo>
                      <a:pt x="91" y="443"/>
                    </a:lnTo>
                    <a:lnTo>
                      <a:pt x="87" y="440"/>
                    </a:lnTo>
                    <a:lnTo>
                      <a:pt x="81" y="439"/>
                    </a:lnTo>
                    <a:lnTo>
                      <a:pt x="76" y="438"/>
                    </a:lnTo>
                    <a:lnTo>
                      <a:pt x="70" y="437"/>
                    </a:lnTo>
                    <a:lnTo>
                      <a:pt x="66" y="438"/>
                    </a:lnTo>
                    <a:lnTo>
                      <a:pt x="62" y="438"/>
                    </a:lnTo>
                    <a:lnTo>
                      <a:pt x="58" y="440"/>
                    </a:lnTo>
                    <a:lnTo>
                      <a:pt x="54" y="442"/>
                    </a:lnTo>
                    <a:lnTo>
                      <a:pt x="47" y="446"/>
                    </a:lnTo>
                    <a:lnTo>
                      <a:pt x="41" y="453"/>
                    </a:lnTo>
                    <a:lnTo>
                      <a:pt x="31" y="467"/>
                    </a:lnTo>
                    <a:lnTo>
                      <a:pt x="18" y="483"/>
                    </a:lnTo>
                    <a:lnTo>
                      <a:pt x="18" y="483"/>
                    </a:lnTo>
                    <a:close/>
                  </a:path>
                </a:pathLst>
              </a:custGeom>
              <a:solidFill>
                <a:srgbClr val="65AC1E">
                  <a:alpha val="69804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Poltava">
                <a:extLst>
                  <a:ext uri="{FF2B5EF4-FFF2-40B4-BE49-F238E27FC236}">
                    <a16:creationId xmlns:a16="http://schemas.microsoft.com/office/drawing/2014/main" id="{F057F50F-B1C0-4454-A741-D8C0E90E6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9909" y="2807791"/>
                <a:ext cx="1401529" cy="1101066"/>
              </a:xfrm>
              <a:custGeom>
                <a:avLst/>
                <a:gdLst>
                  <a:gd name="T0" fmla="*/ 685 w 2847"/>
                  <a:gd name="T1" fmla="*/ 1797 h 2339"/>
                  <a:gd name="T2" fmla="*/ 769 w 2847"/>
                  <a:gd name="T3" fmla="*/ 1884 h 2339"/>
                  <a:gd name="T4" fmla="*/ 944 w 2847"/>
                  <a:gd name="T5" fmla="*/ 1938 h 2339"/>
                  <a:gd name="T6" fmla="*/ 976 w 2847"/>
                  <a:gd name="T7" fmla="*/ 2131 h 2339"/>
                  <a:gd name="T8" fmla="*/ 1099 w 2847"/>
                  <a:gd name="T9" fmla="*/ 2283 h 2339"/>
                  <a:gd name="T10" fmla="*/ 1200 w 2847"/>
                  <a:gd name="T11" fmla="*/ 2272 h 2339"/>
                  <a:gd name="T12" fmla="*/ 1340 w 2847"/>
                  <a:gd name="T13" fmla="*/ 2155 h 2339"/>
                  <a:gd name="T14" fmla="*/ 1477 w 2847"/>
                  <a:gd name="T15" fmla="*/ 2147 h 2339"/>
                  <a:gd name="T16" fmla="*/ 1590 w 2847"/>
                  <a:gd name="T17" fmla="*/ 2232 h 2339"/>
                  <a:gd name="T18" fmla="*/ 1762 w 2847"/>
                  <a:gd name="T19" fmla="*/ 2335 h 2339"/>
                  <a:gd name="T20" fmla="*/ 1925 w 2847"/>
                  <a:gd name="T21" fmla="*/ 2316 h 2339"/>
                  <a:gd name="T22" fmla="*/ 1940 w 2847"/>
                  <a:gd name="T23" fmla="*/ 2212 h 2339"/>
                  <a:gd name="T24" fmla="*/ 1913 w 2847"/>
                  <a:gd name="T25" fmla="*/ 2056 h 2339"/>
                  <a:gd name="T26" fmla="*/ 2007 w 2847"/>
                  <a:gd name="T27" fmla="*/ 1967 h 2339"/>
                  <a:gd name="T28" fmla="*/ 2258 w 2847"/>
                  <a:gd name="T29" fmla="*/ 1785 h 2339"/>
                  <a:gd name="T30" fmla="*/ 2344 w 2847"/>
                  <a:gd name="T31" fmla="*/ 1776 h 2339"/>
                  <a:gd name="T32" fmla="*/ 2517 w 2847"/>
                  <a:gd name="T33" fmla="*/ 1773 h 2339"/>
                  <a:gd name="T34" fmla="*/ 2480 w 2847"/>
                  <a:gd name="T35" fmla="*/ 1674 h 2339"/>
                  <a:gd name="T36" fmla="*/ 2535 w 2847"/>
                  <a:gd name="T37" fmla="*/ 1596 h 2339"/>
                  <a:gd name="T38" fmla="*/ 2727 w 2847"/>
                  <a:gd name="T39" fmla="*/ 1551 h 2339"/>
                  <a:gd name="T40" fmla="*/ 2788 w 2847"/>
                  <a:gd name="T41" fmla="*/ 1454 h 2339"/>
                  <a:gd name="T42" fmla="*/ 2746 w 2847"/>
                  <a:gd name="T43" fmla="*/ 1351 h 2339"/>
                  <a:gd name="T44" fmla="*/ 2812 w 2847"/>
                  <a:gd name="T45" fmla="*/ 1298 h 2339"/>
                  <a:gd name="T46" fmla="*/ 2847 w 2847"/>
                  <a:gd name="T47" fmla="*/ 1190 h 2339"/>
                  <a:gd name="T48" fmla="*/ 2756 w 2847"/>
                  <a:gd name="T49" fmla="*/ 1107 h 2339"/>
                  <a:gd name="T50" fmla="*/ 2665 w 2847"/>
                  <a:gd name="T51" fmla="*/ 1052 h 2339"/>
                  <a:gd name="T52" fmla="*/ 2618 w 2847"/>
                  <a:gd name="T53" fmla="*/ 889 h 2339"/>
                  <a:gd name="T54" fmla="*/ 2456 w 2847"/>
                  <a:gd name="T55" fmla="*/ 855 h 2339"/>
                  <a:gd name="T56" fmla="*/ 2336 w 2847"/>
                  <a:gd name="T57" fmla="*/ 783 h 2339"/>
                  <a:gd name="T58" fmla="*/ 2338 w 2847"/>
                  <a:gd name="T59" fmla="*/ 638 h 2339"/>
                  <a:gd name="T60" fmla="*/ 2383 w 2847"/>
                  <a:gd name="T61" fmla="*/ 511 h 2339"/>
                  <a:gd name="T62" fmla="*/ 2256 w 2847"/>
                  <a:gd name="T63" fmla="*/ 496 h 2339"/>
                  <a:gd name="T64" fmla="*/ 2092 w 2847"/>
                  <a:gd name="T65" fmla="*/ 509 h 2339"/>
                  <a:gd name="T66" fmla="*/ 2015 w 2847"/>
                  <a:gd name="T67" fmla="*/ 555 h 2339"/>
                  <a:gd name="T68" fmla="*/ 1969 w 2847"/>
                  <a:gd name="T69" fmla="*/ 507 h 2339"/>
                  <a:gd name="T70" fmla="*/ 1994 w 2847"/>
                  <a:gd name="T71" fmla="*/ 416 h 2339"/>
                  <a:gd name="T72" fmla="*/ 1935 w 2847"/>
                  <a:gd name="T73" fmla="*/ 340 h 2339"/>
                  <a:gd name="T74" fmla="*/ 1772 w 2847"/>
                  <a:gd name="T75" fmla="*/ 171 h 2339"/>
                  <a:gd name="T76" fmla="*/ 1753 w 2847"/>
                  <a:gd name="T77" fmla="*/ 8 h 2339"/>
                  <a:gd name="T78" fmla="*/ 1692 w 2847"/>
                  <a:gd name="T79" fmla="*/ 16 h 2339"/>
                  <a:gd name="T80" fmla="*/ 1626 w 2847"/>
                  <a:gd name="T81" fmla="*/ 100 h 2339"/>
                  <a:gd name="T82" fmla="*/ 1499 w 2847"/>
                  <a:gd name="T83" fmla="*/ 35 h 2339"/>
                  <a:gd name="T84" fmla="*/ 1392 w 2847"/>
                  <a:gd name="T85" fmla="*/ 116 h 2339"/>
                  <a:gd name="T86" fmla="*/ 1252 w 2847"/>
                  <a:gd name="T87" fmla="*/ 136 h 2339"/>
                  <a:gd name="T88" fmla="*/ 1023 w 2847"/>
                  <a:gd name="T89" fmla="*/ 73 h 2339"/>
                  <a:gd name="T90" fmla="*/ 761 w 2847"/>
                  <a:gd name="T91" fmla="*/ 95 h 2339"/>
                  <a:gd name="T92" fmla="*/ 659 w 2847"/>
                  <a:gd name="T93" fmla="*/ 222 h 2339"/>
                  <a:gd name="T94" fmla="*/ 394 w 2847"/>
                  <a:gd name="T95" fmla="*/ 314 h 2339"/>
                  <a:gd name="T96" fmla="*/ 240 w 2847"/>
                  <a:gd name="T97" fmla="*/ 252 h 2339"/>
                  <a:gd name="T98" fmla="*/ 100 w 2847"/>
                  <a:gd name="T99" fmla="*/ 280 h 2339"/>
                  <a:gd name="T100" fmla="*/ 4 w 2847"/>
                  <a:gd name="T101" fmla="*/ 334 h 2339"/>
                  <a:gd name="T102" fmla="*/ 27 w 2847"/>
                  <a:gd name="T103" fmla="*/ 409 h 2339"/>
                  <a:gd name="T104" fmla="*/ 64 w 2847"/>
                  <a:gd name="T105" fmla="*/ 515 h 2339"/>
                  <a:gd name="T106" fmla="*/ 126 w 2847"/>
                  <a:gd name="T107" fmla="*/ 639 h 2339"/>
                  <a:gd name="T108" fmla="*/ 221 w 2847"/>
                  <a:gd name="T109" fmla="*/ 746 h 2339"/>
                  <a:gd name="T110" fmla="*/ 239 w 2847"/>
                  <a:gd name="T111" fmla="*/ 882 h 2339"/>
                  <a:gd name="T112" fmla="*/ 280 w 2847"/>
                  <a:gd name="T113" fmla="*/ 975 h 2339"/>
                  <a:gd name="T114" fmla="*/ 358 w 2847"/>
                  <a:gd name="T115" fmla="*/ 1088 h 2339"/>
                  <a:gd name="T116" fmla="*/ 419 w 2847"/>
                  <a:gd name="T117" fmla="*/ 1183 h 2339"/>
                  <a:gd name="T118" fmla="*/ 485 w 2847"/>
                  <a:gd name="T119" fmla="*/ 1382 h 2339"/>
                  <a:gd name="T120" fmla="*/ 471 w 2847"/>
                  <a:gd name="T121" fmla="*/ 1474 h 2339"/>
                  <a:gd name="T122" fmla="*/ 628 w 2847"/>
                  <a:gd name="T123" fmla="*/ 1627 h 2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47" h="2339">
                    <a:moveTo>
                      <a:pt x="612" y="1742"/>
                    </a:moveTo>
                    <a:lnTo>
                      <a:pt x="619" y="1748"/>
                    </a:lnTo>
                    <a:lnTo>
                      <a:pt x="624" y="1754"/>
                    </a:lnTo>
                    <a:lnTo>
                      <a:pt x="630" y="1757"/>
                    </a:lnTo>
                    <a:lnTo>
                      <a:pt x="636" y="1761"/>
                    </a:lnTo>
                    <a:lnTo>
                      <a:pt x="648" y="1767"/>
                    </a:lnTo>
                    <a:lnTo>
                      <a:pt x="662" y="1775"/>
                    </a:lnTo>
                    <a:lnTo>
                      <a:pt x="669" y="1780"/>
                    </a:lnTo>
                    <a:lnTo>
                      <a:pt x="675" y="1786"/>
                    </a:lnTo>
                    <a:lnTo>
                      <a:pt x="680" y="1791"/>
                    </a:lnTo>
                    <a:lnTo>
                      <a:pt x="685" y="1797"/>
                    </a:lnTo>
                    <a:lnTo>
                      <a:pt x="693" y="1809"/>
                    </a:lnTo>
                    <a:lnTo>
                      <a:pt x="700" y="1822"/>
                    </a:lnTo>
                    <a:lnTo>
                      <a:pt x="707" y="1834"/>
                    </a:lnTo>
                    <a:lnTo>
                      <a:pt x="714" y="1847"/>
                    </a:lnTo>
                    <a:lnTo>
                      <a:pt x="720" y="1852"/>
                    </a:lnTo>
                    <a:lnTo>
                      <a:pt x="725" y="1857"/>
                    </a:lnTo>
                    <a:lnTo>
                      <a:pt x="731" y="1862"/>
                    </a:lnTo>
                    <a:lnTo>
                      <a:pt x="737" y="1867"/>
                    </a:lnTo>
                    <a:lnTo>
                      <a:pt x="748" y="1873"/>
                    </a:lnTo>
                    <a:lnTo>
                      <a:pt x="759" y="1880"/>
                    </a:lnTo>
                    <a:lnTo>
                      <a:pt x="769" y="1884"/>
                    </a:lnTo>
                    <a:lnTo>
                      <a:pt x="779" y="1888"/>
                    </a:lnTo>
                    <a:lnTo>
                      <a:pt x="800" y="1895"/>
                    </a:lnTo>
                    <a:lnTo>
                      <a:pt x="821" y="1899"/>
                    </a:lnTo>
                    <a:lnTo>
                      <a:pt x="841" y="1903"/>
                    </a:lnTo>
                    <a:lnTo>
                      <a:pt x="863" y="1906"/>
                    </a:lnTo>
                    <a:lnTo>
                      <a:pt x="886" y="1912"/>
                    </a:lnTo>
                    <a:lnTo>
                      <a:pt x="909" y="1917"/>
                    </a:lnTo>
                    <a:lnTo>
                      <a:pt x="921" y="1921"/>
                    </a:lnTo>
                    <a:lnTo>
                      <a:pt x="930" y="1925"/>
                    </a:lnTo>
                    <a:lnTo>
                      <a:pt x="937" y="1931"/>
                    </a:lnTo>
                    <a:lnTo>
                      <a:pt x="944" y="1938"/>
                    </a:lnTo>
                    <a:lnTo>
                      <a:pt x="950" y="1947"/>
                    </a:lnTo>
                    <a:lnTo>
                      <a:pt x="955" y="1955"/>
                    </a:lnTo>
                    <a:lnTo>
                      <a:pt x="958" y="1965"/>
                    </a:lnTo>
                    <a:lnTo>
                      <a:pt x="961" y="1975"/>
                    </a:lnTo>
                    <a:lnTo>
                      <a:pt x="964" y="1996"/>
                    </a:lnTo>
                    <a:lnTo>
                      <a:pt x="966" y="2020"/>
                    </a:lnTo>
                    <a:lnTo>
                      <a:pt x="967" y="2044"/>
                    </a:lnTo>
                    <a:lnTo>
                      <a:pt x="969" y="2068"/>
                    </a:lnTo>
                    <a:lnTo>
                      <a:pt x="970" y="2090"/>
                    </a:lnTo>
                    <a:lnTo>
                      <a:pt x="973" y="2111"/>
                    </a:lnTo>
                    <a:lnTo>
                      <a:pt x="976" y="2131"/>
                    </a:lnTo>
                    <a:lnTo>
                      <a:pt x="982" y="2150"/>
                    </a:lnTo>
                    <a:lnTo>
                      <a:pt x="988" y="2168"/>
                    </a:lnTo>
                    <a:lnTo>
                      <a:pt x="995" y="2186"/>
                    </a:lnTo>
                    <a:lnTo>
                      <a:pt x="1004" y="2205"/>
                    </a:lnTo>
                    <a:lnTo>
                      <a:pt x="1016" y="2223"/>
                    </a:lnTo>
                    <a:lnTo>
                      <a:pt x="1045" y="2246"/>
                    </a:lnTo>
                    <a:lnTo>
                      <a:pt x="1072" y="2267"/>
                    </a:lnTo>
                    <a:lnTo>
                      <a:pt x="1078" y="2272"/>
                    </a:lnTo>
                    <a:lnTo>
                      <a:pt x="1085" y="2276"/>
                    </a:lnTo>
                    <a:lnTo>
                      <a:pt x="1092" y="2280"/>
                    </a:lnTo>
                    <a:lnTo>
                      <a:pt x="1099" y="2283"/>
                    </a:lnTo>
                    <a:lnTo>
                      <a:pt x="1107" y="2286"/>
                    </a:lnTo>
                    <a:lnTo>
                      <a:pt x="1116" y="2289"/>
                    </a:lnTo>
                    <a:lnTo>
                      <a:pt x="1124" y="2290"/>
                    </a:lnTo>
                    <a:lnTo>
                      <a:pt x="1134" y="2290"/>
                    </a:lnTo>
                    <a:lnTo>
                      <a:pt x="1144" y="2290"/>
                    </a:lnTo>
                    <a:lnTo>
                      <a:pt x="1155" y="2289"/>
                    </a:lnTo>
                    <a:lnTo>
                      <a:pt x="1165" y="2286"/>
                    </a:lnTo>
                    <a:lnTo>
                      <a:pt x="1174" y="2283"/>
                    </a:lnTo>
                    <a:lnTo>
                      <a:pt x="1183" y="2280"/>
                    </a:lnTo>
                    <a:lnTo>
                      <a:pt x="1192" y="2276"/>
                    </a:lnTo>
                    <a:lnTo>
                      <a:pt x="1200" y="2272"/>
                    </a:lnTo>
                    <a:lnTo>
                      <a:pt x="1208" y="2267"/>
                    </a:lnTo>
                    <a:lnTo>
                      <a:pt x="1224" y="2255"/>
                    </a:lnTo>
                    <a:lnTo>
                      <a:pt x="1238" y="2243"/>
                    </a:lnTo>
                    <a:lnTo>
                      <a:pt x="1252" y="2230"/>
                    </a:lnTo>
                    <a:lnTo>
                      <a:pt x="1266" y="2215"/>
                    </a:lnTo>
                    <a:lnTo>
                      <a:pt x="1280" y="2202"/>
                    </a:lnTo>
                    <a:lnTo>
                      <a:pt x="1294" y="2188"/>
                    </a:lnTo>
                    <a:lnTo>
                      <a:pt x="1308" y="2176"/>
                    </a:lnTo>
                    <a:lnTo>
                      <a:pt x="1324" y="2165"/>
                    </a:lnTo>
                    <a:lnTo>
                      <a:pt x="1332" y="2159"/>
                    </a:lnTo>
                    <a:lnTo>
                      <a:pt x="1340" y="2155"/>
                    </a:lnTo>
                    <a:lnTo>
                      <a:pt x="1349" y="2151"/>
                    </a:lnTo>
                    <a:lnTo>
                      <a:pt x="1358" y="2147"/>
                    </a:lnTo>
                    <a:lnTo>
                      <a:pt x="1367" y="2145"/>
                    </a:lnTo>
                    <a:lnTo>
                      <a:pt x="1378" y="2143"/>
                    </a:lnTo>
                    <a:lnTo>
                      <a:pt x="1388" y="2142"/>
                    </a:lnTo>
                    <a:lnTo>
                      <a:pt x="1398" y="2141"/>
                    </a:lnTo>
                    <a:lnTo>
                      <a:pt x="1445" y="2141"/>
                    </a:lnTo>
                    <a:lnTo>
                      <a:pt x="1453" y="2142"/>
                    </a:lnTo>
                    <a:lnTo>
                      <a:pt x="1462" y="2143"/>
                    </a:lnTo>
                    <a:lnTo>
                      <a:pt x="1469" y="2144"/>
                    </a:lnTo>
                    <a:lnTo>
                      <a:pt x="1477" y="2147"/>
                    </a:lnTo>
                    <a:lnTo>
                      <a:pt x="1490" y="2153"/>
                    </a:lnTo>
                    <a:lnTo>
                      <a:pt x="1502" y="2162"/>
                    </a:lnTo>
                    <a:lnTo>
                      <a:pt x="1527" y="2180"/>
                    </a:lnTo>
                    <a:lnTo>
                      <a:pt x="1556" y="2200"/>
                    </a:lnTo>
                    <a:lnTo>
                      <a:pt x="1556" y="2200"/>
                    </a:lnTo>
                    <a:lnTo>
                      <a:pt x="1563" y="2205"/>
                    </a:lnTo>
                    <a:lnTo>
                      <a:pt x="1569" y="2210"/>
                    </a:lnTo>
                    <a:lnTo>
                      <a:pt x="1576" y="2215"/>
                    </a:lnTo>
                    <a:lnTo>
                      <a:pt x="1580" y="2220"/>
                    </a:lnTo>
                    <a:lnTo>
                      <a:pt x="1585" y="2227"/>
                    </a:lnTo>
                    <a:lnTo>
                      <a:pt x="1590" y="2232"/>
                    </a:lnTo>
                    <a:lnTo>
                      <a:pt x="1596" y="2237"/>
                    </a:lnTo>
                    <a:lnTo>
                      <a:pt x="1602" y="2243"/>
                    </a:lnTo>
                    <a:lnTo>
                      <a:pt x="1629" y="2262"/>
                    </a:lnTo>
                    <a:lnTo>
                      <a:pt x="1653" y="2279"/>
                    </a:lnTo>
                    <a:lnTo>
                      <a:pt x="1677" y="2296"/>
                    </a:lnTo>
                    <a:lnTo>
                      <a:pt x="1699" y="2310"/>
                    </a:lnTo>
                    <a:lnTo>
                      <a:pt x="1712" y="2316"/>
                    </a:lnTo>
                    <a:lnTo>
                      <a:pt x="1723" y="2322"/>
                    </a:lnTo>
                    <a:lnTo>
                      <a:pt x="1735" y="2327"/>
                    </a:lnTo>
                    <a:lnTo>
                      <a:pt x="1749" y="2331"/>
                    </a:lnTo>
                    <a:lnTo>
                      <a:pt x="1762" y="2335"/>
                    </a:lnTo>
                    <a:lnTo>
                      <a:pt x="1777" y="2337"/>
                    </a:lnTo>
                    <a:lnTo>
                      <a:pt x="1792" y="2339"/>
                    </a:lnTo>
                    <a:lnTo>
                      <a:pt x="1808" y="2339"/>
                    </a:lnTo>
                    <a:lnTo>
                      <a:pt x="1832" y="2339"/>
                    </a:lnTo>
                    <a:lnTo>
                      <a:pt x="1858" y="2337"/>
                    </a:lnTo>
                    <a:lnTo>
                      <a:pt x="1870" y="2335"/>
                    </a:lnTo>
                    <a:lnTo>
                      <a:pt x="1883" y="2333"/>
                    </a:lnTo>
                    <a:lnTo>
                      <a:pt x="1894" y="2330"/>
                    </a:lnTo>
                    <a:lnTo>
                      <a:pt x="1906" y="2326"/>
                    </a:lnTo>
                    <a:lnTo>
                      <a:pt x="1916" y="2322"/>
                    </a:lnTo>
                    <a:lnTo>
                      <a:pt x="1925" y="2316"/>
                    </a:lnTo>
                    <a:lnTo>
                      <a:pt x="1933" y="2310"/>
                    </a:lnTo>
                    <a:lnTo>
                      <a:pt x="1941" y="2303"/>
                    </a:lnTo>
                    <a:lnTo>
                      <a:pt x="1946" y="2295"/>
                    </a:lnTo>
                    <a:lnTo>
                      <a:pt x="1951" y="2285"/>
                    </a:lnTo>
                    <a:lnTo>
                      <a:pt x="1953" y="2275"/>
                    </a:lnTo>
                    <a:lnTo>
                      <a:pt x="1954" y="2264"/>
                    </a:lnTo>
                    <a:lnTo>
                      <a:pt x="1954" y="2254"/>
                    </a:lnTo>
                    <a:lnTo>
                      <a:pt x="1952" y="2245"/>
                    </a:lnTo>
                    <a:lnTo>
                      <a:pt x="1950" y="2236"/>
                    </a:lnTo>
                    <a:lnTo>
                      <a:pt x="1947" y="2228"/>
                    </a:lnTo>
                    <a:lnTo>
                      <a:pt x="1940" y="2212"/>
                    </a:lnTo>
                    <a:lnTo>
                      <a:pt x="1931" y="2198"/>
                    </a:lnTo>
                    <a:lnTo>
                      <a:pt x="1923" y="2182"/>
                    </a:lnTo>
                    <a:lnTo>
                      <a:pt x="1916" y="2167"/>
                    </a:lnTo>
                    <a:lnTo>
                      <a:pt x="1914" y="2158"/>
                    </a:lnTo>
                    <a:lnTo>
                      <a:pt x="1911" y="2150"/>
                    </a:lnTo>
                    <a:lnTo>
                      <a:pt x="1910" y="2141"/>
                    </a:lnTo>
                    <a:lnTo>
                      <a:pt x="1910" y="2132"/>
                    </a:lnTo>
                    <a:lnTo>
                      <a:pt x="1910" y="2078"/>
                    </a:lnTo>
                    <a:lnTo>
                      <a:pt x="1910" y="2071"/>
                    </a:lnTo>
                    <a:lnTo>
                      <a:pt x="1911" y="2063"/>
                    </a:lnTo>
                    <a:lnTo>
                      <a:pt x="1913" y="2056"/>
                    </a:lnTo>
                    <a:lnTo>
                      <a:pt x="1915" y="2050"/>
                    </a:lnTo>
                    <a:lnTo>
                      <a:pt x="1917" y="2044"/>
                    </a:lnTo>
                    <a:lnTo>
                      <a:pt x="1921" y="2038"/>
                    </a:lnTo>
                    <a:lnTo>
                      <a:pt x="1924" y="2032"/>
                    </a:lnTo>
                    <a:lnTo>
                      <a:pt x="1928" y="2027"/>
                    </a:lnTo>
                    <a:lnTo>
                      <a:pt x="1939" y="2018"/>
                    </a:lnTo>
                    <a:lnTo>
                      <a:pt x="1949" y="2009"/>
                    </a:lnTo>
                    <a:lnTo>
                      <a:pt x="1960" y="1999"/>
                    </a:lnTo>
                    <a:lnTo>
                      <a:pt x="1973" y="1990"/>
                    </a:lnTo>
                    <a:lnTo>
                      <a:pt x="1990" y="1978"/>
                    </a:lnTo>
                    <a:lnTo>
                      <a:pt x="2007" y="1967"/>
                    </a:lnTo>
                    <a:lnTo>
                      <a:pt x="2022" y="1958"/>
                    </a:lnTo>
                    <a:lnTo>
                      <a:pt x="2038" y="1949"/>
                    </a:lnTo>
                    <a:lnTo>
                      <a:pt x="2068" y="1931"/>
                    </a:lnTo>
                    <a:lnTo>
                      <a:pt x="2102" y="1910"/>
                    </a:lnTo>
                    <a:lnTo>
                      <a:pt x="2129" y="1891"/>
                    </a:lnTo>
                    <a:lnTo>
                      <a:pt x="2153" y="1873"/>
                    </a:lnTo>
                    <a:lnTo>
                      <a:pt x="2176" y="1856"/>
                    </a:lnTo>
                    <a:lnTo>
                      <a:pt x="2201" y="1836"/>
                    </a:lnTo>
                    <a:lnTo>
                      <a:pt x="2228" y="1812"/>
                    </a:lnTo>
                    <a:lnTo>
                      <a:pt x="2252" y="1790"/>
                    </a:lnTo>
                    <a:lnTo>
                      <a:pt x="2258" y="1785"/>
                    </a:lnTo>
                    <a:lnTo>
                      <a:pt x="2264" y="1780"/>
                    </a:lnTo>
                    <a:lnTo>
                      <a:pt x="2271" y="1776"/>
                    </a:lnTo>
                    <a:lnTo>
                      <a:pt x="2278" y="1772"/>
                    </a:lnTo>
                    <a:lnTo>
                      <a:pt x="2285" y="1770"/>
                    </a:lnTo>
                    <a:lnTo>
                      <a:pt x="2292" y="1768"/>
                    </a:lnTo>
                    <a:lnTo>
                      <a:pt x="2300" y="1766"/>
                    </a:lnTo>
                    <a:lnTo>
                      <a:pt x="2310" y="1766"/>
                    </a:lnTo>
                    <a:lnTo>
                      <a:pt x="2320" y="1767"/>
                    </a:lnTo>
                    <a:lnTo>
                      <a:pt x="2328" y="1769"/>
                    </a:lnTo>
                    <a:lnTo>
                      <a:pt x="2336" y="1772"/>
                    </a:lnTo>
                    <a:lnTo>
                      <a:pt x="2344" y="1776"/>
                    </a:lnTo>
                    <a:lnTo>
                      <a:pt x="2351" y="1780"/>
                    </a:lnTo>
                    <a:lnTo>
                      <a:pt x="2359" y="1784"/>
                    </a:lnTo>
                    <a:lnTo>
                      <a:pt x="2368" y="1787"/>
                    </a:lnTo>
                    <a:lnTo>
                      <a:pt x="2377" y="1787"/>
                    </a:lnTo>
                    <a:lnTo>
                      <a:pt x="2397" y="1787"/>
                    </a:lnTo>
                    <a:lnTo>
                      <a:pt x="2415" y="1786"/>
                    </a:lnTo>
                    <a:lnTo>
                      <a:pt x="2431" y="1784"/>
                    </a:lnTo>
                    <a:lnTo>
                      <a:pt x="2448" y="1781"/>
                    </a:lnTo>
                    <a:lnTo>
                      <a:pt x="2480" y="1777"/>
                    </a:lnTo>
                    <a:lnTo>
                      <a:pt x="2517" y="1773"/>
                    </a:lnTo>
                    <a:lnTo>
                      <a:pt x="2517" y="1773"/>
                    </a:lnTo>
                    <a:lnTo>
                      <a:pt x="2511" y="1767"/>
                    </a:lnTo>
                    <a:lnTo>
                      <a:pt x="2505" y="1762"/>
                    </a:lnTo>
                    <a:lnTo>
                      <a:pt x="2500" y="1756"/>
                    </a:lnTo>
                    <a:lnTo>
                      <a:pt x="2495" y="1749"/>
                    </a:lnTo>
                    <a:lnTo>
                      <a:pt x="2491" y="1743"/>
                    </a:lnTo>
                    <a:lnTo>
                      <a:pt x="2489" y="1736"/>
                    </a:lnTo>
                    <a:lnTo>
                      <a:pt x="2486" y="1730"/>
                    </a:lnTo>
                    <a:lnTo>
                      <a:pt x="2484" y="1723"/>
                    </a:lnTo>
                    <a:lnTo>
                      <a:pt x="2482" y="1707"/>
                    </a:lnTo>
                    <a:lnTo>
                      <a:pt x="2480" y="1692"/>
                    </a:lnTo>
                    <a:lnTo>
                      <a:pt x="2480" y="1674"/>
                    </a:lnTo>
                    <a:lnTo>
                      <a:pt x="2480" y="1658"/>
                    </a:lnTo>
                    <a:lnTo>
                      <a:pt x="2480" y="1649"/>
                    </a:lnTo>
                    <a:lnTo>
                      <a:pt x="2482" y="1642"/>
                    </a:lnTo>
                    <a:lnTo>
                      <a:pt x="2484" y="1636"/>
                    </a:lnTo>
                    <a:lnTo>
                      <a:pt x="2487" y="1630"/>
                    </a:lnTo>
                    <a:lnTo>
                      <a:pt x="2491" y="1624"/>
                    </a:lnTo>
                    <a:lnTo>
                      <a:pt x="2495" y="1618"/>
                    </a:lnTo>
                    <a:lnTo>
                      <a:pt x="2502" y="1614"/>
                    </a:lnTo>
                    <a:lnTo>
                      <a:pt x="2507" y="1610"/>
                    </a:lnTo>
                    <a:lnTo>
                      <a:pt x="2520" y="1602"/>
                    </a:lnTo>
                    <a:lnTo>
                      <a:pt x="2535" y="1596"/>
                    </a:lnTo>
                    <a:lnTo>
                      <a:pt x="2549" y="1589"/>
                    </a:lnTo>
                    <a:lnTo>
                      <a:pt x="2564" y="1584"/>
                    </a:lnTo>
                    <a:lnTo>
                      <a:pt x="2585" y="1578"/>
                    </a:lnTo>
                    <a:lnTo>
                      <a:pt x="2605" y="1573"/>
                    </a:lnTo>
                    <a:lnTo>
                      <a:pt x="2623" y="1570"/>
                    </a:lnTo>
                    <a:lnTo>
                      <a:pt x="2642" y="1568"/>
                    </a:lnTo>
                    <a:lnTo>
                      <a:pt x="2660" y="1565"/>
                    </a:lnTo>
                    <a:lnTo>
                      <a:pt x="2679" y="1563"/>
                    </a:lnTo>
                    <a:lnTo>
                      <a:pt x="2699" y="1558"/>
                    </a:lnTo>
                    <a:lnTo>
                      <a:pt x="2720" y="1553"/>
                    </a:lnTo>
                    <a:lnTo>
                      <a:pt x="2727" y="1551"/>
                    </a:lnTo>
                    <a:lnTo>
                      <a:pt x="2733" y="1547"/>
                    </a:lnTo>
                    <a:lnTo>
                      <a:pt x="2738" y="1542"/>
                    </a:lnTo>
                    <a:lnTo>
                      <a:pt x="2742" y="1537"/>
                    </a:lnTo>
                    <a:lnTo>
                      <a:pt x="2748" y="1524"/>
                    </a:lnTo>
                    <a:lnTo>
                      <a:pt x="2755" y="1511"/>
                    </a:lnTo>
                    <a:lnTo>
                      <a:pt x="2767" y="1496"/>
                    </a:lnTo>
                    <a:lnTo>
                      <a:pt x="2777" y="1484"/>
                    </a:lnTo>
                    <a:lnTo>
                      <a:pt x="2782" y="1478"/>
                    </a:lnTo>
                    <a:lnTo>
                      <a:pt x="2785" y="1471"/>
                    </a:lnTo>
                    <a:lnTo>
                      <a:pt x="2787" y="1463"/>
                    </a:lnTo>
                    <a:lnTo>
                      <a:pt x="2788" y="1454"/>
                    </a:lnTo>
                    <a:lnTo>
                      <a:pt x="2788" y="1438"/>
                    </a:lnTo>
                    <a:lnTo>
                      <a:pt x="2786" y="1421"/>
                    </a:lnTo>
                    <a:lnTo>
                      <a:pt x="2783" y="1407"/>
                    </a:lnTo>
                    <a:lnTo>
                      <a:pt x="2778" y="1392"/>
                    </a:lnTo>
                    <a:lnTo>
                      <a:pt x="2775" y="1386"/>
                    </a:lnTo>
                    <a:lnTo>
                      <a:pt x="2772" y="1380"/>
                    </a:lnTo>
                    <a:lnTo>
                      <a:pt x="2768" y="1374"/>
                    </a:lnTo>
                    <a:lnTo>
                      <a:pt x="2762" y="1367"/>
                    </a:lnTo>
                    <a:lnTo>
                      <a:pt x="2757" y="1361"/>
                    </a:lnTo>
                    <a:lnTo>
                      <a:pt x="2752" y="1356"/>
                    </a:lnTo>
                    <a:lnTo>
                      <a:pt x="2746" y="1351"/>
                    </a:lnTo>
                    <a:lnTo>
                      <a:pt x="2739" y="1346"/>
                    </a:lnTo>
                    <a:lnTo>
                      <a:pt x="2743" y="1340"/>
                    </a:lnTo>
                    <a:lnTo>
                      <a:pt x="2747" y="1334"/>
                    </a:lnTo>
                    <a:lnTo>
                      <a:pt x="2751" y="1330"/>
                    </a:lnTo>
                    <a:lnTo>
                      <a:pt x="2756" y="1326"/>
                    </a:lnTo>
                    <a:lnTo>
                      <a:pt x="2767" y="1321"/>
                    </a:lnTo>
                    <a:lnTo>
                      <a:pt x="2778" y="1316"/>
                    </a:lnTo>
                    <a:lnTo>
                      <a:pt x="2789" y="1311"/>
                    </a:lnTo>
                    <a:lnTo>
                      <a:pt x="2801" y="1305"/>
                    </a:lnTo>
                    <a:lnTo>
                      <a:pt x="2807" y="1302"/>
                    </a:lnTo>
                    <a:lnTo>
                      <a:pt x="2812" y="1298"/>
                    </a:lnTo>
                    <a:lnTo>
                      <a:pt x="2817" y="1294"/>
                    </a:lnTo>
                    <a:lnTo>
                      <a:pt x="2821" y="1289"/>
                    </a:lnTo>
                    <a:lnTo>
                      <a:pt x="2830" y="1279"/>
                    </a:lnTo>
                    <a:lnTo>
                      <a:pt x="2835" y="1269"/>
                    </a:lnTo>
                    <a:lnTo>
                      <a:pt x="2840" y="1259"/>
                    </a:lnTo>
                    <a:lnTo>
                      <a:pt x="2843" y="1249"/>
                    </a:lnTo>
                    <a:lnTo>
                      <a:pt x="2845" y="1238"/>
                    </a:lnTo>
                    <a:lnTo>
                      <a:pt x="2847" y="1227"/>
                    </a:lnTo>
                    <a:lnTo>
                      <a:pt x="2847" y="1216"/>
                    </a:lnTo>
                    <a:lnTo>
                      <a:pt x="2847" y="1203"/>
                    </a:lnTo>
                    <a:lnTo>
                      <a:pt x="2847" y="1190"/>
                    </a:lnTo>
                    <a:lnTo>
                      <a:pt x="2844" y="1178"/>
                    </a:lnTo>
                    <a:lnTo>
                      <a:pt x="2840" y="1168"/>
                    </a:lnTo>
                    <a:lnTo>
                      <a:pt x="2835" y="1159"/>
                    </a:lnTo>
                    <a:lnTo>
                      <a:pt x="2828" y="1150"/>
                    </a:lnTo>
                    <a:lnTo>
                      <a:pt x="2820" y="1142"/>
                    </a:lnTo>
                    <a:lnTo>
                      <a:pt x="2812" y="1135"/>
                    </a:lnTo>
                    <a:lnTo>
                      <a:pt x="2802" y="1129"/>
                    </a:lnTo>
                    <a:lnTo>
                      <a:pt x="2791" y="1123"/>
                    </a:lnTo>
                    <a:lnTo>
                      <a:pt x="2780" y="1116"/>
                    </a:lnTo>
                    <a:lnTo>
                      <a:pt x="2769" y="1112"/>
                    </a:lnTo>
                    <a:lnTo>
                      <a:pt x="2756" y="1107"/>
                    </a:lnTo>
                    <a:lnTo>
                      <a:pt x="2732" y="1099"/>
                    </a:lnTo>
                    <a:lnTo>
                      <a:pt x="2706" y="1091"/>
                    </a:lnTo>
                    <a:lnTo>
                      <a:pt x="2700" y="1089"/>
                    </a:lnTo>
                    <a:lnTo>
                      <a:pt x="2693" y="1085"/>
                    </a:lnTo>
                    <a:lnTo>
                      <a:pt x="2688" y="1082"/>
                    </a:lnTo>
                    <a:lnTo>
                      <a:pt x="2683" y="1079"/>
                    </a:lnTo>
                    <a:lnTo>
                      <a:pt x="2679" y="1075"/>
                    </a:lnTo>
                    <a:lnTo>
                      <a:pt x="2676" y="1071"/>
                    </a:lnTo>
                    <a:lnTo>
                      <a:pt x="2672" y="1067"/>
                    </a:lnTo>
                    <a:lnTo>
                      <a:pt x="2669" y="1063"/>
                    </a:lnTo>
                    <a:lnTo>
                      <a:pt x="2665" y="1052"/>
                    </a:lnTo>
                    <a:lnTo>
                      <a:pt x="2660" y="1041"/>
                    </a:lnTo>
                    <a:lnTo>
                      <a:pt x="2657" y="1030"/>
                    </a:lnTo>
                    <a:lnTo>
                      <a:pt x="2655" y="1017"/>
                    </a:lnTo>
                    <a:lnTo>
                      <a:pt x="2652" y="992"/>
                    </a:lnTo>
                    <a:lnTo>
                      <a:pt x="2649" y="965"/>
                    </a:lnTo>
                    <a:lnTo>
                      <a:pt x="2646" y="951"/>
                    </a:lnTo>
                    <a:lnTo>
                      <a:pt x="2643" y="938"/>
                    </a:lnTo>
                    <a:lnTo>
                      <a:pt x="2639" y="924"/>
                    </a:lnTo>
                    <a:lnTo>
                      <a:pt x="2633" y="911"/>
                    </a:lnTo>
                    <a:lnTo>
                      <a:pt x="2625" y="900"/>
                    </a:lnTo>
                    <a:lnTo>
                      <a:pt x="2618" y="889"/>
                    </a:lnTo>
                    <a:lnTo>
                      <a:pt x="2609" y="882"/>
                    </a:lnTo>
                    <a:lnTo>
                      <a:pt x="2599" y="875"/>
                    </a:lnTo>
                    <a:lnTo>
                      <a:pt x="2588" y="871"/>
                    </a:lnTo>
                    <a:lnTo>
                      <a:pt x="2577" y="867"/>
                    </a:lnTo>
                    <a:lnTo>
                      <a:pt x="2566" y="863"/>
                    </a:lnTo>
                    <a:lnTo>
                      <a:pt x="2553" y="862"/>
                    </a:lnTo>
                    <a:lnTo>
                      <a:pt x="2526" y="860"/>
                    </a:lnTo>
                    <a:lnTo>
                      <a:pt x="2500" y="858"/>
                    </a:lnTo>
                    <a:lnTo>
                      <a:pt x="2485" y="858"/>
                    </a:lnTo>
                    <a:lnTo>
                      <a:pt x="2471" y="856"/>
                    </a:lnTo>
                    <a:lnTo>
                      <a:pt x="2456" y="855"/>
                    </a:lnTo>
                    <a:lnTo>
                      <a:pt x="2442" y="852"/>
                    </a:lnTo>
                    <a:lnTo>
                      <a:pt x="2428" y="849"/>
                    </a:lnTo>
                    <a:lnTo>
                      <a:pt x="2415" y="845"/>
                    </a:lnTo>
                    <a:lnTo>
                      <a:pt x="2403" y="840"/>
                    </a:lnTo>
                    <a:lnTo>
                      <a:pt x="2391" y="834"/>
                    </a:lnTo>
                    <a:lnTo>
                      <a:pt x="2380" y="827"/>
                    </a:lnTo>
                    <a:lnTo>
                      <a:pt x="2370" y="819"/>
                    </a:lnTo>
                    <a:lnTo>
                      <a:pt x="2359" y="811"/>
                    </a:lnTo>
                    <a:lnTo>
                      <a:pt x="2351" y="803"/>
                    </a:lnTo>
                    <a:lnTo>
                      <a:pt x="2343" y="793"/>
                    </a:lnTo>
                    <a:lnTo>
                      <a:pt x="2336" y="783"/>
                    </a:lnTo>
                    <a:lnTo>
                      <a:pt x="2329" y="772"/>
                    </a:lnTo>
                    <a:lnTo>
                      <a:pt x="2324" y="760"/>
                    </a:lnTo>
                    <a:lnTo>
                      <a:pt x="2320" y="748"/>
                    </a:lnTo>
                    <a:lnTo>
                      <a:pt x="2317" y="735"/>
                    </a:lnTo>
                    <a:lnTo>
                      <a:pt x="2315" y="722"/>
                    </a:lnTo>
                    <a:lnTo>
                      <a:pt x="2315" y="709"/>
                    </a:lnTo>
                    <a:lnTo>
                      <a:pt x="2316" y="694"/>
                    </a:lnTo>
                    <a:lnTo>
                      <a:pt x="2318" y="682"/>
                    </a:lnTo>
                    <a:lnTo>
                      <a:pt x="2321" y="670"/>
                    </a:lnTo>
                    <a:lnTo>
                      <a:pt x="2326" y="659"/>
                    </a:lnTo>
                    <a:lnTo>
                      <a:pt x="2338" y="638"/>
                    </a:lnTo>
                    <a:lnTo>
                      <a:pt x="2351" y="619"/>
                    </a:lnTo>
                    <a:lnTo>
                      <a:pt x="2364" y="599"/>
                    </a:lnTo>
                    <a:lnTo>
                      <a:pt x="2377" y="578"/>
                    </a:lnTo>
                    <a:lnTo>
                      <a:pt x="2381" y="567"/>
                    </a:lnTo>
                    <a:lnTo>
                      <a:pt x="2385" y="555"/>
                    </a:lnTo>
                    <a:lnTo>
                      <a:pt x="2387" y="542"/>
                    </a:lnTo>
                    <a:lnTo>
                      <a:pt x="2388" y="529"/>
                    </a:lnTo>
                    <a:lnTo>
                      <a:pt x="2387" y="524"/>
                    </a:lnTo>
                    <a:lnTo>
                      <a:pt x="2387" y="520"/>
                    </a:lnTo>
                    <a:lnTo>
                      <a:pt x="2385" y="515"/>
                    </a:lnTo>
                    <a:lnTo>
                      <a:pt x="2383" y="511"/>
                    </a:lnTo>
                    <a:lnTo>
                      <a:pt x="2378" y="504"/>
                    </a:lnTo>
                    <a:lnTo>
                      <a:pt x="2371" y="498"/>
                    </a:lnTo>
                    <a:lnTo>
                      <a:pt x="2362" y="494"/>
                    </a:lnTo>
                    <a:lnTo>
                      <a:pt x="2353" y="490"/>
                    </a:lnTo>
                    <a:lnTo>
                      <a:pt x="2344" y="488"/>
                    </a:lnTo>
                    <a:lnTo>
                      <a:pt x="2333" y="487"/>
                    </a:lnTo>
                    <a:lnTo>
                      <a:pt x="2333" y="487"/>
                    </a:lnTo>
                    <a:lnTo>
                      <a:pt x="2313" y="489"/>
                    </a:lnTo>
                    <a:lnTo>
                      <a:pt x="2294" y="492"/>
                    </a:lnTo>
                    <a:lnTo>
                      <a:pt x="2277" y="495"/>
                    </a:lnTo>
                    <a:lnTo>
                      <a:pt x="2256" y="496"/>
                    </a:lnTo>
                    <a:lnTo>
                      <a:pt x="2245" y="495"/>
                    </a:lnTo>
                    <a:lnTo>
                      <a:pt x="2234" y="494"/>
                    </a:lnTo>
                    <a:lnTo>
                      <a:pt x="2224" y="492"/>
                    </a:lnTo>
                    <a:lnTo>
                      <a:pt x="2214" y="491"/>
                    </a:lnTo>
                    <a:lnTo>
                      <a:pt x="2193" y="491"/>
                    </a:lnTo>
                    <a:lnTo>
                      <a:pt x="2176" y="492"/>
                    </a:lnTo>
                    <a:lnTo>
                      <a:pt x="2158" y="493"/>
                    </a:lnTo>
                    <a:lnTo>
                      <a:pt x="2142" y="495"/>
                    </a:lnTo>
                    <a:lnTo>
                      <a:pt x="2126" y="499"/>
                    </a:lnTo>
                    <a:lnTo>
                      <a:pt x="2110" y="503"/>
                    </a:lnTo>
                    <a:lnTo>
                      <a:pt x="2092" y="509"/>
                    </a:lnTo>
                    <a:lnTo>
                      <a:pt x="2075" y="518"/>
                    </a:lnTo>
                    <a:lnTo>
                      <a:pt x="2066" y="522"/>
                    </a:lnTo>
                    <a:lnTo>
                      <a:pt x="2058" y="528"/>
                    </a:lnTo>
                    <a:lnTo>
                      <a:pt x="2052" y="534"/>
                    </a:lnTo>
                    <a:lnTo>
                      <a:pt x="2046" y="540"/>
                    </a:lnTo>
                    <a:lnTo>
                      <a:pt x="2040" y="545"/>
                    </a:lnTo>
                    <a:lnTo>
                      <a:pt x="2032" y="551"/>
                    </a:lnTo>
                    <a:lnTo>
                      <a:pt x="2028" y="553"/>
                    </a:lnTo>
                    <a:lnTo>
                      <a:pt x="2024" y="554"/>
                    </a:lnTo>
                    <a:lnTo>
                      <a:pt x="2020" y="555"/>
                    </a:lnTo>
                    <a:lnTo>
                      <a:pt x="2015" y="555"/>
                    </a:lnTo>
                    <a:lnTo>
                      <a:pt x="1998" y="555"/>
                    </a:lnTo>
                    <a:lnTo>
                      <a:pt x="1998" y="551"/>
                    </a:lnTo>
                    <a:lnTo>
                      <a:pt x="1997" y="546"/>
                    </a:lnTo>
                    <a:lnTo>
                      <a:pt x="1996" y="542"/>
                    </a:lnTo>
                    <a:lnTo>
                      <a:pt x="1994" y="539"/>
                    </a:lnTo>
                    <a:lnTo>
                      <a:pt x="1989" y="532"/>
                    </a:lnTo>
                    <a:lnTo>
                      <a:pt x="1984" y="527"/>
                    </a:lnTo>
                    <a:lnTo>
                      <a:pt x="1978" y="521"/>
                    </a:lnTo>
                    <a:lnTo>
                      <a:pt x="1973" y="514"/>
                    </a:lnTo>
                    <a:lnTo>
                      <a:pt x="1972" y="510"/>
                    </a:lnTo>
                    <a:lnTo>
                      <a:pt x="1969" y="507"/>
                    </a:lnTo>
                    <a:lnTo>
                      <a:pt x="1968" y="503"/>
                    </a:lnTo>
                    <a:lnTo>
                      <a:pt x="1968" y="498"/>
                    </a:lnTo>
                    <a:lnTo>
                      <a:pt x="1968" y="491"/>
                    </a:lnTo>
                    <a:lnTo>
                      <a:pt x="1969" y="483"/>
                    </a:lnTo>
                    <a:lnTo>
                      <a:pt x="1970" y="476"/>
                    </a:lnTo>
                    <a:lnTo>
                      <a:pt x="1973" y="470"/>
                    </a:lnTo>
                    <a:lnTo>
                      <a:pt x="1977" y="458"/>
                    </a:lnTo>
                    <a:lnTo>
                      <a:pt x="1982" y="446"/>
                    </a:lnTo>
                    <a:lnTo>
                      <a:pt x="1988" y="435"/>
                    </a:lnTo>
                    <a:lnTo>
                      <a:pt x="1992" y="423"/>
                    </a:lnTo>
                    <a:lnTo>
                      <a:pt x="1994" y="416"/>
                    </a:lnTo>
                    <a:lnTo>
                      <a:pt x="1995" y="409"/>
                    </a:lnTo>
                    <a:lnTo>
                      <a:pt x="1996" y="402"/>
                    </a:lnTo>
                    <a:lnTo>
                      <a:pt x="1996" y="395"/>
                    </a:lnTo>
                    <a:lnTo>
                      <a:pt x="1996" y="388"/>
                    </a:lnTo>
                    <a:lnTo>
                      <a:pt x="1995" y="383"/>
                    </a:lnTo>
                    <a:lnTo>
                      <a:pt x="1993" y="379"/>
                    </a:lnTo>
                    <a:lnTo>
                      <a:pt x="1990" y="375"/>
                    </a:lnTo>
                    <a:lnTo>
                      <a:pt x="1984" y="368"/>
                    </a:lnTo>
                    <a:lnTo>
                      <a:pt x="1976" y="363"/>
                    </a:lnTo>
                    <a:lnTo>
                      <a:pt x="1955" y="352"/>
                    </a:lnTo>
                    <a:lnTo>
                      <a:pt x="1935" y="340"/>
                    </a:lnTo>
                    <a:lnTo>
                      <a:pt x="1895" y="311"/>
                    </a:lnTo>
                    <a:lnTo>
                      <a:pt x="1859" y="286"/>
                    </a:lnTo>
                    <a:lnTo>
                      <a:pt x="1843" y="273"/>
                    </a:lnTo>
                    <a:lnTo>
                      <a:pt x="1826" y="257"/>
                    </a:lnTo>
                    <a:lnTo>
                      <a:pt x="1819" y="249"/>
                    </a:lnTo>
                    <a:lnTo>
                      <a:pt x="1811" y="240"/>
                    </a:lnTo>
                    <a:lnTo>
                      <a:pt x="1803" y="230"/>
                    </a:lnTo>
                    <a:lnTo>
                      <a:pt x="1796" y="219"/>
                    </a:lnTo>
                    <a:lnTo>
                      <a:pt x="1786" y="203"/>
                    </a:lnTo>
                    <a:lnTo>
                      <a:pt x="1779" y="186"/>
                    </a:lnTo>
                    <a:lnTo>
                      <a:pt x="1772" y="171"/>
                    </a:lnTo>
                    <a:lnTo>
                      <a:pt x="1768" y="154"/>
                    </a:lnTo>
                    <a:lnTo>
                      <a:pt x="1765" y="138"/>
                    </a:lnTo>
                    <a:lnTo>
                      <a:pt x="1763" y="121"/>
                    </a:lnTo>
                    <a:lnTo>
                      <a:pt x="1762" y="102"/>
                    </a:lnTo>
                    <a:lnTo>
                      <a:pt x="1761" y="83"/>
                    </a:lnTo>
                    <a:lnTo>
                      <a:pt x="1760" y="56"/>
                    </a:lnTo>
                    <a:lnTo>
                      <a:pt x="1759" y="29"/>
                    </a:lnTo>
                    <a:lnTo>
                      <a:pt x="1758" y="23"/>
                    </a:lnTo>
                    <a:lnTo>
                      <a:pt x="1757" y="18"/>
                    </a:lnTo>
                    <a:lnTo>
                      <a:pt x="1755" y="13"/>
                    </a:lnTo>
                    <a:lnTo>
                      <a:pt x="1753" y="8"/>
                    </a:lnTo>
                    <a:lnTo>
                      <a:pt x="1750" y="4"/>
                    </a:lnTo>
                    <a:lnTo>
                      <a:pt x="1746" y="2"/>
                    </a:lnTo>
                    <a:lnTo>
                      <a:pt x="1741" y="0"/>
                    </a:lnTo>
                    <a:lnTo>
                      <a:pt x="1734" y="0"/>
                    </a:lnTo>
                    <a:lnTo>
                      <a:pt x="1727" y="0"/>
                    </a:lnTo>
                    <a:lnTo>
                      <a:pt x="1721" y="1"/>
                    </a:lnTo>
                    <a:lnTo>
                      <a:pt x="1714" y="3"/>
                    </a:lnTo>
                    <a:lnTo>
                      <a:pt x="1709" y="5"/>
                    </a:lnTo>
                    <a:lnTo>
                      <a:pt x="1702" y="8"/>
                    </a:lnTo>
                    <a:lnTo>
                      <a:pt x="1697" y="12"/>
                    </a:lnTo>
                    <a:lnTo>
                      <a:pt x="1692" y="16"/>
                    </a:lnTo>
                    <a:lnTo>
                      <a:pt x="1687" y="20"/>
                    </a:lnTo>
                    <a:lnTo>
                      <a:pt x="1679" y="29"/>
                    </a:lnTo>
                    <a:lnTo>
                      <a:pt x="1669" y="40"/>
                    </a:lnTo>
                    <a:lnTo>
                      <a:pt x="1661" y="52"/>
                    </a:lnTo>
                    <a:lnTo>
                      <a:pt x="1652" y="64"/>
                    </a:lnTo>
                    <a:lnTo>
                      <a:pt x="1646" y="77"/>
                    </a:lnTo>
                    <a:lnTo>
                      <a:pt x="1638" y="88"/>
                    </a:lnTo>
                    <a:lnTo>
                      <a:pt x="1635" y="94"/>
                    </a:lnTo>
                    <a:lnTo>
                      <a:pt x="1631" y="98"/>
                    </a:lnTo>
                    <a:lnTo>
                      <a:pt x="1628" y="99"/>
                    </a:lnTo>
                    <a:lnTo>
                      <a:pt x="1626" y="100"/>
                    </a:lnTo>
                    <a:lnTo>
                      <a:pt x="1623" y="101"/>
                    </a:lnTo>
                    <a:lnTo>
                      <a:pt x="1619" y="101"/>
                    </a:lnTo>
                    <a:lnTo>
                      <a:pt x="1607" y="100"/>
                    </a:lnTo>
                    <a:lnTo>
                      <a:pt x="1596" y="98"/>
                    </a:lnTo>
                    <a:lnTo>
                      <a:pt x="1586" y="95"/>
                    </a:lnTo>
                    <a:lnTo>
                      <a:pt x="1577" y="90"/>
                    </a:lnTo>
                    <a:lnTo>
                      <a:pt x="1559" y="79"/>
                    </a:lnTo>
                    <a:lnTo>
                      <a:pt x="1543" y="65"/>
                    </a:lnTo>
                    <a:lnTo>
                      <a:pt x="1526" y="52"/>
                    </a:lnTo>
                    <a:lnTo>
                      <a:pt x="1508" y="39"/>
                    </a:lnTo>
                    <a:lnTo>
                      <a:pt x="1499" y="35"/>
                    </a:lnTo>
                    <a:lnTo>
                      <a:pt x="1489" y="31"/>
                    </a:lnTo>
                    <a:lnTo>
                      <a:pt x="1478" y="29"/>
                    </a:lnTo>
                    <a:lnTo>
                      <a:pt x="1466" y="28"/>
                    </a:lnTo>
                    <a:lnTo>
                      <a:pt x="1460" y="29"/>
                    </a:lnTo>
                    <a:lnTo>
                      <a:pt x="1455" y="32"/>
                    </a:lnTo>
                    <a:lnTo>
                      <a:pt x="1451" y="36"/>
                    </a:lnTo>
                    <a:lnTo>
                      <a:pt x="1447" y="40"/>
                    </a:lnTo>
                    <a:lnTo>
                      <a:pt x="1440" y="52"/>
                    </a:lnTo>
                    <a:lnTo>
                      <a:pt x="1433" y="64"/>
                    </a:lnTo>
                    <a:lnTo>
                      <a:pt x="1412" y="91"/>
                    </a:lnTo>
                    <a:lnTo>
                      <a:pt x="1392" y="116"/>
                    </a:lnTo>
                    <a:lnTo>
                      <a:pt x="1387" y="122"/>
                    </a:lnTo>
                    <a:lnTo>
                      <a:pt x="1382" y="126"/>
                    </a:lnTo>
                    <a:lnTo>
                      <a:pt x="1375" y="131"/>
                    </a:lnTo>
                    <a:lnTo>
                      <a:pt x="1369" y="134"/>
                    </a:lnTo>
                    <a:lnTo>
                      <a:pt x="1362" y="138"/>
                    </a:lnTo>
                    <a:lnTo>
                      <a:pt x="1355" y="140"/>
                    </a:lnTo>
                    <a:lnTo>
                      <a:pt x="1348" y="142"/>
                    </a:lnTo>
                    <a:lnTo>
                      <a:pt x="1338" y="142"/>
                    </a:lnTo>
                    <a:lnTo>
                      <a:pt x="1307" y="141"/>
                    </a:lnTo>
                    <a:lnTo>
                      <a:pt x="1279" y="140"/>
                    </a:lnTo>
                    <a:lnTo>
                      <a:pt x="1252" y="136"/>
                    </a:lnTo>
                    <a:lnTo>
                      <a:pt x="1226" y="132"/>
                    </a:lnTo>
                    <a:lnTo>
                      <a:pt x="1200" y="127"/>
                    </a:lnTo>
                    <a:lnTo>
                      <a:pt x="1173" y="120"/>
                    </a:lnTo>
                    <a:lnTo>
                      <a:pt x="1145" y="113"/>
                    </a:lnTo>
                    <a:lnTo>
                      <a:pt x="1115" y="103"/>
                    </a:lnTo>
                    <a:lnTo>
                      <a:pt x="1090" y="94"/>
                    </a:lnTo>
                    <a:lnTo>
                      <a:pt x="1069" y="85"/>
                    </a:lnTo>
                    <a:lnTo>
                      <a:pt x="1059" y="80"/>
                    </a:lnTo>
                    <a:lnTo>
                      <a:pt x="1048" y="77"/>
                    </a:lnTo>
                    <a:lnTo>
                      <a:pt x="1035" y="75"/>
                    </a:lnTo>
                    <a:lnTo>
                      <a:pt x="1023" y="73"/>
                    </a:lnTo>
                    <a:lnTo>
                      <a:pt x="901" y="73"/>
                    </a:lnTo>
                    <a:lnTo>
                      <a:pt x="884" y="72"/>
                    </a:lnTo>
                    <a:lnTo>
                      <a:pt x="868" y="70"/>
                    </a:lnTo>
                    <a:lnTo>
                      <a:pt x="854" y="67"/>
                    </a:lnTo>
                    <a:lnTo>
                      <a:pt x="839" y="64"/>
                    </a:lnTo>
                    <a:lnTo>
                      <a:pt x="825" y="60"/>
                    </a:lnTo>
                    <a:lnTo>
                      <a:pt x="810" y="56"/>
                    </a:lnTo>
                    <a:lnTo>
                      <a:pt x="795" y="53"/>
                    </a:lnTo>
                    <a:lnTo>
                      <a:pt x="777" y="50"/>
                    </a:lnTo>
                    <a:lnTo>
                      <a:pt x="777" y="50"/>
                    </a:lnTo>
                    <a:lnTo>
                      <a:pt x="761" y="95"/>
                    </a:lnTo>
                    <a:lnTo>
                      <a:pt x="745" y="135"/>
                    </a:lnTo>
                    <a:lnTo>
                      <a:pt x="740" y="144"/>
                    </a:lnTo>
                    <a:lnTo>
                      <a:pt x="736" y="153"/>
                    </a:lnTo>
                    <a:lnTo>
                      <a:pt x="730" y="162"/>
                    </a:lnTo>
                    <a:lnTo>
                      <a:pt x="724" y="171"/>
                    </a:lnTo>
                    <a:lnTo>
                      <a:pt x="718" y="179"/>
                    </a:lnTo>
                    <a:lnTo>
                      <a:pt x="709" y="187"/>
                    </a:lnTo>
                    <a:lnTo>
                      <a:pt x="700" y="195"/>
                    </a:lnTo>
                    <a:lnTo>
                      <a:pt x="691" y="203"/>
                    </a:lnTo>
                    <a:lnTo>
                      <a:pt x="674" y="214"/>
                    </a:lnTo>
                    <a:lnTo>
                      <a:pt x="659" y="222"/>
                    </a:lnTo>
                    <a:lnTo>
                      <a:pt x="642" y="229"/>
                    </a:lnTo>
                    <a:lnTo>
                      <a:pt x="627" y="235"/>
                    </a:lnTo>
                    <a:lnTo>
                      <a:pt x="594" y="245"/>
                    </a:lnTo>
                    <a:lnTo>
                      <a:pt x="559" y="257"/>
                    </a:lnTo>
                    <a:lnTo>
                      <a:pt x="531" y="270"/>
                    </a:lnTo>
                    <a:lnTo>
                      <a:pt x="505" y="280"/>
                    </a:lnTo>
                    <a:lnTo>
                      <a:pt x="480" y="290"/>
                    </a:lnTo>
                    <a:lnTo>
                      <a:pt x="457" y="299"/>
                    </a:lnTo>
                    <a:lnTo>
                      <a:pt x="432" y="306"/>
                    </a:lnTo>
                    <a:lnTo>
                      <a:pt x="407" y="312"/>
                    </a:lnTo>
                    <a:lnTo>
                      <a:pt x="394" y="314"/>
                    </a:lnTo>
                    <a:lnTo>
                      <a:pt x="379" y="315"/>
                    </a:lnTo>
                    <a:lnTo>
                      <a:pt x="365" y="316"/>
                    </a:lnTo>
                    <a:lnTo>
                      <a:pt x="349" y="316"/>
                    </a:lnTo>
                    <a:lnTo>
                      <a:pt x="338" y="315"/>
                    </a:lnTo>
                    <a:lnTo>
                      <a:pt x="327" y="313"/>
                    </a:lnTo>
                    <a:lnTo>
                      <a:pt x="317" y="309"/>
                    </a:lnTo>
                    <a:lnTo>
                      <a:pt x="307" y="305"/>
                    </a:lnTo>
                    <a:lnTo>
                      <a:pt x="291" y="292"/>
                    </a:lnTo>
                    <a:lnTo>
                      <a:pt x="274" y="279"/>
                    </a:lnTo>
                    <a:lnTo>
                      <a:pt x="258" y="265"/>
                    </a:lnTo>
                    <a:lnTo>
                      <a:pt x="240" y="252"/>
                    </a:lnTo>
                    <a:lnTo>
                      <a:pt x="231" y="248"/>
                    </a:lnTo>
                    <a:lnTo>
                      <a:pt x="220" y="244"/>
                    </a:lnTo>
                    <a:lnTo>
                      <a:pt x="209" y="242"/>
                    </a:lnTo>
                    <a:lnTo>
                      <a:pt x="198" y="241"/>
                    </a:lnTo>
                    <a:lnTo>
                      <a:pt x="187" y="241"/>
                    </a:lnTo>
                    <a:lnTo>
                      <a:pt x="178" y="242"/>
                    </a:lnTo>
                    <a:lnTo>
                      <a:pt x="169" y="244"/>
                    </a:lnTo>
                    <a:lnTo>
                      <a:pt x="161" y="246"/>
                    </a:lnTo>
                    <a:lnTo>
                      <a:pt x="144" y="252"/>
                    </a:lnTo>
                    <a:lnTo>
                      <a:pt x="130" y="260"/>
                    </a:lnTo>
                    <a:lnTo>
                      <a:pt x="100" y="280"/>
                    </a:lnTo>
                    <a:lnTo>
                      <a:pt x="68" y="302"/>
                    </a:lnTo>
                    <a:lnTo>
                      <a:pt x="58" y="311"/>
                    </a:lnTo>
                    <a:lnTo>
                      <a:pt x="48" y="320"/>
                    </a:lnTo>
                    <a:lnTo>
                      <a:pt x="43" y="324"/>
                    </a:lnTo>
                    <a:lnTo>
                      <a:pt x="38" y="328"/>
                    </a:lnTo>
                    <a:lnTo>
                      <a:pt x="32" y="330"/>
                    </a:lnTo>
                    <a:lnTo>
                      <a:pt x="26" y="331"/>
                    </a:lnTo>
                    <a:lnTo>
                      <a:pt x="17" y="330"/>
                    </a:lnTo>
                    <a:lnTo>
                      <a:pt x="9" y="329"/>
                    </a:lnTo>
                    <a:lnTo>
                      <a:pt x="9" y="329"/>
                    </a:lnTo>
                    <a:lnTo>
                      <a:pt x="4" y="334"/>
                    </a:lnTo>
                    <a:lnTo>
                      <a:pt x="0" y="340"/>
                    </a:lnTo>
                    <a:lnTo>
                      <a:pt x="0" y="346"/>
                    </a:lnTo>
                    <a:lnTo>
                      <a:pt x="1" y="351"/>
                    </a:lnTo>
                    <a:lnTo>
                      <a:pt x="2" y="356"/>
                    </a:lnTo>
                    <a:lnTo>
                      <a:pt x="4" y="362"/>
                    </a:lnTo>
                    <a:lnTo>
                      <a:pt x="9" y="371"/>
                    </a:lnTo>
                    <a:lnTo>
                      <a:pt x="14" y="380"/>
                    </a:lnTo>
                    <a:lnTo>
                      <a:pt x="19" y="389"/>
                    </a:lnTo>
                    <a:lnTo>
                      <a:pt x="23" y="399"/>
                    </a:lnTo>
                    <a:lnTo>
                      <a:pt x="26" y="403"/>
                    </a:lnTo>
                    <a:lnTo>
                      <a:pt x="27" y="409"/>
                    </a:lnTo>
                    <a:lnTo>
                      <a:pt x="28" y="414"/>
                    </a:lnTo>
                    <a:lnTo>
                      <a:pt x="28" y="420"/>
                    </a:lnTo>
                    <a:lnTo>
                      <a:pt x="28" y="435"/>
                    </a:lnTo>
                    <a:lnTo>
                      <a:pt x="25" y="448"/>
                    </a:lnTo>
                    <a:lnTo>
                      <a:pt x="21" y="462"/>
                    </a:lnTo>
                    <a:lnTo>
                      <a:pt x="18" y="477"/>
                    </a:lnTo>
                    <a:lnTo>
                      <a:pt x="18" y="477"/>
                    </a:lnTo>
                    <a:lnTo>
                      <a:pt x="30" y="489"/>
                    </a:lnTo>
                    <a:lnTo>
                      <a:pt x="41" y="499"/>
                    </a:lnTo>
                    <a:lnTo>
                      <a:pt x="52" y="507"/>
                    </a:lnTo>
                    <a:lnTo>
                      <a:pt x="64" y="515"/>
                    </a:lnTo>
                    <a:lnTo>
                      <a:pt x="74" y="524"/>
                    </a:lnTo>
                    <a:lnTo>
                      <a:pt x="83" y="534"/>
                    </a:lnTo>
                    <a:lnTo>
                      <a:pt x="88" y="539"/>
                    </a:lnTo>
                    <a:lnTo>
                      <a:pt x="92" y="545"/>
                    </a:lnTo>
                    <a:lnTo>
                      <a:pt x="96" y="553"/>
                    </a:lnTo>
                    <a:lnTo>
                      <a:pt x="99" y="560"/>
                    </a:lnTo>
                    <a:lnTo>
                      <a:pt x="106" y="587"/>
                    </a:lnTo>
                    <a:lnTo>
                      <a:pt x="112" y="613"/>
                    </a:lnTo>
                    <a:lnTo>
                      <a:pt x="115" y="625"/>
                    </a:lnTo>
                    <a:lnTo>
                      <a:pt x="121" y="635"/>
                    </a:lnTo>
                    <a:lnTo>
                      <a:pt x="126" y="639"/>
                    </a:lnTo>
                    <a:lnTo>
                      <a:pt x="130" y="645"/>
                    </a:lnTo>
                    <a:lnTo>
                      <a:pt x="135" y="648"/>
                    </a:lnTo>
                    <a:lnTo>
                      <a:pt x="141" y="652"/>
                    </a:lnTo>
                    <a:lnTo>
                      <a:pt x="157" y="660"/>
                    </a:lnTo>
                    <a:lnTo>
                      <a:pt x="169" y="669"/>
                    </a:lnTo>
                    <a:lnTo>
                      <a:pt x="180" y="680"/>
                    </a:lnTo>
                    <a:lnTo>
                      <a:pt x="191" y="690"/>
                    </a:lnTo>
                    <a:lnTo>
                      <a:pt x="199" y="702"/>
                    </a:lnTo>
                    <a:lnTo>
                      <a:pt x="207" y="716"/>
                    </a:lnTo>
                    <a:lnTo>
                      <a:pt x="214" y="730"/>
                    </a:lnTo>
                    <a:lnTo>
                      <a:pt x="221" y="746"/>
                    </a:lnTo>
                    <a:lnTo>
                      <a:pt x="232" y="764"/>
                    </a:lnTo>
                    <a:lnTo>
                      <a:pt x="241" y="780"/>
                    </a:lnTo>
                    <a:lnTo>
                      <a:pt x="245" y="788"/>
                    </a:lnTo>
                    <a:lnTo>
                      <a:pt x="249" y="797"/>
                    </a:lnTo>
                    <a:lnTo>
                      <a:pt x="251" y="807"/>
                    </a:lnTo>
                    <a:lnTo>
                      <a:pt x="252" y="817"/>
                    </a:lnTo>
                    <a:lnTo>
                      <a:pt x="251" y="831"/>
                    </a:lnTo>
                    <a:lnTo>
                      <a:pt x="249" y="845"/>
                    </a:lnTo>
                    <a:lnTo>
                      <a:pt x="246" y="858"/>
                    </a:lnTo>
                    <a:lnTo>
                      <a:pt x="242" y="870"/>
                    </a:lnTo>
                    <a:lnTo>
                      <a:pt x="239" y="882"/>
                    </a:lnTo>
                    <a:lnTo>
                      <a:pt x="236" y="894"/>
                    </a:lnTo>
                    <a:lnTo>
                      <a:pt x="234" y="908"/>
                    </a:lnTo>
                    <a:lnTo>
                      <a:pt x="233" y="923"/>
                    </a:lnTo>
                    <a:lnTo>
                      <a:pt x="234" y="927"/>
                    </a:lnTo>
                    <a:lnTo>
                      <a:pt x="234" y="933"/>
                    </a:lnTo>
                    <a:lnTo>
                      <a:pt x="236" y="937"/>
                    </a:lnTo>
                    <a:lnTo>
                      <a:pt x="238" y="940"/>
                    </a:lnTo>
                    <a:lnTo>
                      <a:pt x="242" y="947"/>
                    </a:lnTo>
                    <a:lnTo>
                      <a:pt x="248" y="953"/>
                    </a:lnTo>
                    <a:lnTo>
                      <a:pt x="264" y="964"/>
                    </a:lnTo>
                    <a:lnTo>
                      <a:pt x="280" y="975"/>
                    </a:lnTo>
                    <a:lnTo>
                      <a:pt x="294" y="985"/>
                    </a:lnTo>
                    <a:lnTo>
                      <a:pt x="306" y="996"/>
                    </a:lnTo>
                    <a:lnTo>
                      <a:pt x="317" y="1005"/>
                    </a:lnTo>
                    <a:lnTo>
                      <a:pt x="327" y="1016"/>
                    </a:lnTo>
                    <a:lnTo>
                      <a:pt x="336" y="1027"/>
                    </a:lnTo>
                    <a:lnTo>
                      <a:pt x="343" y="1039"/>
                    </a:lnTo>
                    <a:lnTo>
                      <a:pt x="346" y="1046"/>
                    </a:lnTo>
                    <a:lnTo>
                      <a:pt x="349" y="1053"/>
                    </a:lnTo>
                    <a:lnTo>
                      <a:pt x="351" y="1061"/>
                    </a:lnTo>
                    <a:lnTo>
                      <a:pt x="353" y="1069"/>
                    </a:lnTo>
                    <a:lnTo>
                      <a:pt x="358" y="1088"/>
                    </a:lnTo>
                    <a:lnTo>
                      <a:pt x="362" y="1105"/>
                    </a:lnTo>
                    <a:lnTo>
                      <a:pt x="367" y="1122"/>
                    </a:lnTo>
                    <a:lnTo>
                      <a:pt x="373" y="1137"/>
                    </a:lnTo>
                    <a:lnTo>
                      <a:pt x="376" y="1144"/>
                    </a:lnTo>
                    <a:lnTo>
                      <a:pt x="381" y="1151"/>
                    </a:lnTo>
                    <a:lnTo>
                      <a:pt x="385" y="1157"/>
                    </a:lnTo>
                    <a:lnTo>
                      <a:pt x="391" y="1163"/>
                    </a:lnTo>
                    <a:lnTo>
                      <a:pt x="397" y="1169"/>
                    </a:lnTo>
                    <a:lnTo>
                      <a:pt x="404" y="1174"/>
                    </a:lnTo>
                    <a:lnTo>
                      <a:pt x="411" y="1178"/>
                    </a:lnTo>
                    <a:lnTo>
                      <a:pt x="419" y="1183"/>
                    </a:lnTo>
                    <a:lnTo>
                      <a:pt x="438" y="1190"/>
                    </a:lnTo>
                    <a:lnTo>
                      <a:pt x="455" y="1197"/>
                    </a:lnTo>
                    <a:lnTo>
                      <a:pt x="462" y="1200"/>
                    </a:lnTo>
                    <a:lnTo>
                      <a:pt x="470" y="1204"/>
                    </a:lnTo>
                    <a:lnTo>
                      <a:pt x="477" y="1209"/>
                    </a:lnTo>
                    <a:lnTo>
                      <a:pt x="485" y="1216"/>
                    </a:lnTo>
                    <a:lnTo>
                      <a:pt x="485" y="1263"/>
                    </a:lnTo>
                    <a:lnTo>
                      <a:pt x="497" y="1338"/>
                    </a:lnTo>
                    <a:lnTo>
                      <a:pt x="495" y="1355"/>
                    </a:lnTo>
                    <a:lnTo>
                      <a:pt x="491" y="1369"/>
                    </a:lnTo>
                    <a:lnTo>
                      <a:pt x="485" y="1382"/>
                    </a:lnTo>
                    <a:lnTo>
                      <a:pt x="480" y="1395"/>
                    </a:lnTo>
                    <a:lnTo>
                      <a:pt x="475" y="1408"/>
                    </a:lnTo>
                    <a:lnTo>
                      <a:pt x="471" y="1421"/>
                    </a:lnTo>
                    <a:lnTo>
                      <a:pt x="469" y="1428"/>
                    </a:lnTo>
                    <a:lnTo>
                      <a:pt x="468" y="1436"/>
                    </a:lnTo>
                    <a:lnTo>
                      <a:pt x="467" y="1444"/>
                    </a:lnTo>
                    <a:lnTo>
                      <a:pt x="467" y="1452"/>
                    </a:lnTo>
                    <a:lnTo>
                      <a:pt x="467" y="1458"/>
                    </a:lnTo>
                    <a:lnTo>
                      <a:pt x="468" y="1463"/>
                    </a:lnTo>
                    <a:lnTo>
                      <a:pt x="469" y="1469"/>
                    </a:lnTo>
                    <a:lnTo>
                      <a:pt x="471" y="1474"/>
                    </a:lnTo>
                    <a:lnTo>
                      <a:pt x="476" y="1482"/>
                    </a:lnTo>
                    <a:lnTo>
                      <a:pt x="483" y="1490"/>
                    </a:lnTo>
                    <a:lnTo>
                      <a:pt x="500" y="1505"/>
                    </a:lnTo>
                    <a:lnTo>
                      <a:pt x="518" y="1520"/>
                    </a:lnTo>
                    <a:lnTo>
                      <a:pt x="559" y="1552"/>
                    </a:lnTo>
                    <a:lnTo>
                      <a:pt x="596" y="1581"/>
                    </a:lnTo>
                    <a:lnTo>
                      <a:pt x="604" y="1589"/>
                    </a:lnTo>
                    <a:lnTo>
                      <a:pt x="611" y="1598"/>
                    </a:lnTo>
                    <a:lnTo>
                      <a:pt x="617" y="1607"/>
                    </a:lnTo>
                    <a:lnTo>
                      <a:pt x="624" y="1616"/>
                    </a:lnTo>
                    <a:lnTo>
                      <a:pt x="628" y="1627"/>
                    </a:lnTo>
                    <a:lnTo>
                      <a:pt x="631" y="1637"/>
                    </a:lnTo>
                    <a:lnTo>
                      <a:pt x="633" y="1649"/>
                    </a:lnTo>
                    <a:lnTo>
                      <a:pt x="634" y="1662"/>
                    </a:lnTo>
                    <a:lnTo>
                      <a:pt x="633" y="1674"/>
                    </a:lnTo>
                    <a:lnTo>
                      <a:pt x="632" y="1684"/>
                    </a:lnTo>
                    <a:lnTo>
                      <a:pt x="630" y="1694"/>
                    </a:lnTo>
                    <a:lnTo>
                      <a:pt x="627" y="1703"/>
                    </a:lnTo>
                    <a:lnTo>
                      <a:pt x="621" y="1722"/>
                    </a:lnTo>
                    <a:lnTo>
                      <a:pt x="612" y="1742"/>
                    </a:lnTo>
                    <a:lnTo>
                      <a:pt x="612" y="1742"/>
                    </a:lnTo>
                    <a:close/>
                  </a:path>
                </a:pathLst>
              </a:custGeom>
              <a:solidFill>
                <a:srgbClr val="65AC1E">
                  <a:alpha val="69804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Sumy">
                <a:extLst>
                  <a:ext uri="{FF2B5EF4-FFF2-40B4-BE49-F238E27FC236}">
                    <a16:creationId xmlns:a16="http://schemas.microsoft.com/office/drawing/2014/main" id="{72D27D0F-5433-4ABC-8042-E39CCC25D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5488" y="1725721"/>
                <a:ext cx="1105430" cy="1352825"/>
              </a:xfrm>
              <a:custGeom>
                <a:avLst/>
                <a:gdLst>
                  <a:gd name="T0" fmla="*/ 1728 w 2233"/>
                  <a:gd name="T1" fmla="*/ 2763 h 2871"/>
                  <a:gd name="T2" fmla="*/ 1849 w 2233"/>
                  <a:gd name="T3" fmla="*/ 2711 h 2871"/>
                  <a:gd name="T4" fmla="*/ 1943 w 2233"/>
                  <a:gd name="T5" fmla="*/ 2606 h 2871"/>
                  <a:gd name="T6" fmla="*/ 2195 w 2233"/>
                  <a:gd name="T7" fmla="*/ 2578 h 2871"/>
                  <a:gd name="T8" fmla="*/ 2179 w 2233"/>
                  <a:gd name="T9" fmla="*/ 2512 h 2871"/>
                  <a:gd name="T10" fmla="*/ 2131 w 2233"/>
                  <a:gd name="T11" fmla="*/ 2395 h 2871"/>
                  <a:gd name="T12" fmla="*/ 2054 w 2233"/>
                  <a:gd name="T13" fmla="*/ 2349 h 2871"/>
                  <a:gd name="T14" fmla="*/ 2013 w 2233"/>
                  <a:gd name="T15" fmla="*/ 2193 h 2871"/>
                  <a:gd name="T16" fmla="*/ 2047 w 2233"/>
                  <a:gd name="T17" fmla="*/ 2096 h 2871"/>
                  <a:gd name="T18" fmla="*/ 1994 w 2233"/>
                  <a:gd name="T19" fmla="*/ 1981 h 2871"/>
                  <a:gd name="T20" fmla="*/ 1919 w 2233"/>
                  <a:gd name="T21" fmla="*/ 1800 h 2871"/>
                  <a:gd name="T22" fmla="*/ 1928 w 2233"/>
                  <a:gd name="T23" fmla="*/ 1712 h 2871"/>
                  <a:gd name="T24" fmla="*/ 1823 w 2233"/>
                  <a:gd name="T25" fmla="*/ 1666 h 2871"/>
                  <a:gd name="T26" fmla="*/ 1731 w 2233"/>
                  <a:gd name="T27" fmla="*/ 1539 h 2871"/>
                  <a:gd name="T28" fmla="*/ 1622 w 2233"/>
                  <a:gd name="T29" fmla="*/ 1448 h 2871"/>
                  <a:gd name="T30" fmla="*/ 1356 w 2233"/>
                  <a:gd name="T31" fmla="*/ 1500 h 2871"/>
                  <a:gd name="T32" fmla="*/ 1248 w 2233"/>
                  <a:gd name="T33" fmla="*/ 1418 h 2871"/>
                  <a:gd name="T34" fmla="*/ 1071 w 2233"/>
                  <a:gd name="T35" fmla="*/ 1446 h 2871"/>
                  <a:gd name="T36" fmla="*/ 999 w 2233"/>
                  <a:gd name="T37" fmla="*/ 1408 h 2871"/>
                  <a:gd name="T38" fmla="*/ 1031 w 2233"/>
                  <a:gd name="T39" fmla="*/ 1374 h 2871"/>
                  <a:gd name="T40" fmla="*/ 1026 w 2233"/>
                  <a:gd name="T41" fmla="*/ 1245 h 2871"/>
                  <a:gd name="T42" fmla="*/ 989 w 2233"/>
                  <a:gd name="T43" fmla="*/ 1176 h 2871"/>
                  <a:gd name="T44" fmla="*/ 965 w 2233"/>
                  <a:gd name="T45" fmla="*/ 994 h 2871"/>
                  <a:gd name="T46" fmla="*/ 903 w 2233"/>
                  <a:gd name="T47" fmla="*/ 858 h 2871"/>
                  <a:gd name="T48" fmla="*/ 1101 w 2233"/>
                  <a:gd name="T49" fmla="*/ 805 h 2871"/>
                  <a:gd name="T50" fmla="*/ 1117 w 2233"/>
                  <a:gd name="T51" fmla="*/ 700 h 2871"/>
                  <a:gd name="T52" fmla="*/ 986 w 2233"/>
                  <a:gd name="T53" fmla="*/ 582 h 2871"/>
                  <a:gd name="T54" fmla="*/ 865 w 2233"/>
                  <a:gd name="T55" fmla="*/ 470 h 2871"/>
                  <a:gd name="T56" fmla="*/ 839 w 2233"/>
                  <a:gd name="T57" fmla="*/ 331 h 2871"/>
                  <a:gd name="T58" fmla="*/ 736 w 2233"/>
                  <a:gd name="T59" fmla="*/ 165 h 2871"/>
                  <a:gd name="T60" fmla="*/ 566 w 2233"/>
                  <a:gd name="T61" fmla="*/ 4 h 2871"/>
                  <a:gd name="T62" fmla="*/ 421 w 2233"/>
                  <a:gd name="T63" fmla="*/ 79 h 2871"/>
                  <a:gd name="T64" fmla="*/ 350 w 2233"/>
                  <a:gd name="T65" fmla="*/ 26 h 2871"/>
                  <a:gd name="T66" fmla="*/ 281 w 2233"/>
                  <a:gd name="T67" fmla="*/ 154 h 2871"/>
                  <a:gd name="T68" fmla="*/ 247 w 2233"/>
                  <a:gd name="T69" fmla="*/ 437 h 2871"/>
                  <a:gd name="T70" fmla="*/ 338 w 2233"/>
                  <a:gd name="T71" fmla="*/ 598 h 2871"/>
                  <a:gd name="T72" fmla="*/ 268 w 2233"/>
                  <a:gd name="T73" fmla="*/ 607 h 2871"/>
                  <a:gd name="T74" fmla="*/ 189 w 2233"/>
                  <a:gd name="T75" fmla="*/ 600 h 2871"/>
                  <a:gd name="T76" fmla="*/ 97 w 2233"/>
                  <a:gd name="T77" fmla="*/ 636 h 2871"/>
                  <a:gd name="T78" fmla="*/ 53 w 2233"/>
                  <a:gd name="T79" fmla="*/ 775 h 2871"/>
                  <a:gd name="T80" fmla="*/ 109 w 2233"/>
                  <a:gd name="T81" fmla="*/ 889 h 2871"/>
                  <a:gd name="T82" fmla="*/ 142 w 2233"/>
                  <a:gd name="T83" fmla="*/ 1127 h 2871"/>
                  <a:gd name="T84" fmla="*/ 63 w 2233"/>
                  <a:gd name="T85" fmla="*/ 1207 h 2871"/>
                  <a:gd name="T86" fmla="*/ 47 w 2233"/>
                  <a:gd name="T87" fmla="*/ 1281 h 2871"/>
                  <a:gd name="T88" fmla="*/ 17 w 2233"/>
                  <a:gd name="T89" fmla="*/ 1558 h 2871"/>
                  <a:gd name="T90" fmla="*/ 15 w 2233"/>
                  <a:gd name="T91" fmla="*/ 1665 h 2871"/>
                  <a:gd name="T92" fmla="*/ 181 w 2233"/>
                  <a:gd name="T93" fmla="*/ 1828 h 2871"/>
                  <a:gd name="T94" fmla="*/ 168 w 2233"/>
                  <a:gd name="T95" fmla="*/ 1945 h 2871"/>
                  <a:gd name="T96" fmla="*/ 53 w 2233"/>
                  <a:gd name="T97" fmla="*/ 2033 h 2871"/>
                  <a:gd name="T98" fmla="*/ 126 w 2233"/>
                  <a:gd name="T99" fmla="*/ 2118 h 2871"/>
                  <a:gd name="T100" fmla="*/ 102 w 2233"/>
                  <a:gd name="T101" fmla="*/ 2286 h 2871"/>
                  <a:gd name="T102" fmla="*/ 161 w 2233"/>
                  <a:gd name="T103" fmla="*/ 2380 h 2871"/>
                  <a:gd name="T104" fmla="*/ 495 w 2233"/>
                  <a:gd name="T105" fmla="*/ 2436 h 2871"/>
                  <a:gd name="T106" fmla="*/ 709 w 2233"/>
                  <a:gd name="T107" fmla="*/ 2438 h 2871"/>
                  <a:gd name="T108" fmla="*/ 830 w 2233"/>
                  <a:gd name="T109" fmla="*/ 2355 h 2871"/>
                  <a:gd name="T110" fmla="*/ 957 w 2233"/>
                  <a:gd name="T111" fmla="*/ 2410 h 2871"/>
                  <a:gd name="T112" fmla="*/ 1043 w 2233"/>
                  <a:gd name="T113" fmla="*/ 2317 h 2871"/>
                  <a:gd name="T114" fmla="*/ 1084 w 2233"/>
                  <a:gd name="T115" fmla="*/ 2418 h 2871"/>
                  <a:gd name="T116" fmla="*/ 1181 w 2233"/>
                  <a:gd name="T117" fmla="*/ 2602 h 2871"/>
                  <a:gd name="T118" fmla="*/ 1316 w 2233"/>
                  <a:gd name="T119" fmla="*/ 2732 h 2871"/>
                  <a:gd name="T120" fmla="*/ 1295 w 2233"/>
                  <a:gd name="T121" fmla="*/ 2830 h 2871"/>
                  <a:gd name="T122" fmla="*/ 1354 w 2233"/>
                  <a:gd name="T123" fmla="*/ 2867 h 2871"/>
                  <a:gd name="T124" fmla="*/ 1515 w 2233"/>
                  <a:gd name="T125" fmla="*/ 2807 h 28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233" h="2871">
                    <a:moveTo>
                      <a:pt x="1655" y="2803"/>
                    </a:moveTo>
                    <a:lnTo>
                      <a:pt x="1668" y="2787"/>
                    </a:lnTo>
                    <a:lnTo>
                      <a:pt x="1678" y="2773"/>
                    </a:lnTo>
                    <a:lnTo>
                      <a:pt x="1684" y="2766"/>
                    </a:lnTo>
                    <a:lnTo>
                      <a:pt x="1691" y="2762"/>
                    </a:lnTo>
                    <a:lnTo>
                      <a:pt x="1695" y="2760"/>
                    </a:lnTo>
                    <a:lnTo>
                      <a:pt x="1699" y="2758"/>
                    </a:lnTo>
                    <a:lnTo>
                      <a:pt x="1703" y="2758"/>
                    </a:lnTo>
                    <a:lnTo>
                      <a:pt x="1707" y="2757"/>
                    </a:lnTo>
                    <a:lnTo>
                      <a:pt x="1713" y="2758"/>
                    </a:lnTo>
                    <a:lnTo>
                      <a:pt x="1718" y="2759"/>
                    </a:lnTo>
                    <a:lnTo>
                      <a:pt x="1724" y="2760"/>
                    </a:lnTo>
                    <a:lnTo>
                      <a:pt x="1728" y="2763"/>
                    </a:lnTo>
                    <a:lnTo>
                      <a:pt x="1735" y="2770"/>
                    </a:lnTo>
                    <a:lnTo>
                      <a:pt x="1742" y="2777"/>
                    </a:lnTo>
                    <a:lnTo>
                      <a:pt x="1753" y="2796"/>
                    </a:lnTo>
                    <a:lnTo>
                      <a:pt x="1767" y="2817"/>
                    </a:lnTo>
                    <a:lnTo>
                      <a:pt x="1774" y="2790"/>
                    </a:lnTo>
                    <a:lnTo>
                      <a:pt x="1779" y="2766"/>
                    </a:lnTo>
                    <a:lnTo>
                      <a:pt x="1783" y="2743"/>
                    </a:lnTo>
                    <a:lnTo>
                      <a:pt x="1787" y="2715"/>
                    </a:lnTo>
                    <a:lnTo>
                      <a:pt x="1801" y="2715"/>
                    </a:lnTo>
                    <a:lnTo>
                      <a:pt x="1813" y="2715"/>
                    </a:lnTo>
                    <a:lnTo>
                      <a:pt x="1827" y="2716"/>
                    </a:lnTo>
                    <a:lnTo>
                      <a:pt x="1839" y="2717"/>
                    </a:lnTo>
                    <a:lnTo>
                      <a:pt x="1849" y="2711"/>
                    </a:lnTo>
                    <a:lnTo>
                      <a:pt x="1858" y="2703"/>
                    </a:lnTo>
                    <a:lnTo>
                      <a:pt x="1865" y="2696"/>
                    </a:lnTo>
                    <a:lnTo>
                      <a:pt x="1872" y="2689"/>
                    </a:lnTo>
                    <a:lnTo>
                      <a:pt x="1884" y="2673"/>
                    </a:lnTo>
                    <a:lnTo>
                      <a:pt x="1899" y="2656"/>
                    </a:lnTo>
                    <a:lnTo>
                      <a:pt x="1908" y="2639"/>
                    </a:lnTo>
                    <a:lnTo>
                      <a:pt x="1916" y="2624"/>
                    </a:lnTo>
                    <a:lnTo>
                      <a:pt x="1922" y="2617"/>
                    </a:lnTo>
                    <a:lnTo>
                      <a:pt x="1928" y="2612"/>
                    </a:lnTo>
                    <a:lnTo>
                      <a:pt x="1931" y="2609"/>
                    </a:lnTo>
                    <a:lnTo>
                      <a:pt x="1935" y="2607"/>
                    </a:lnTo>
                    <a:lnTo>
                      <a:pt x="1939" y="2606"/>
                    </a:lnTo>
                    <a:lnTo>
                      <a:pt x="1943" y="2606"/>
                    </a:lnTo>
                    <a:lnTo>
                      <a:pt x="1958" y="2608"/>
                    </a:lnTo>
                    <a:lnTo>
                      <a:pt x="1972" y="2612"/>
                    </a:lnTo>
                    <a:lnTo>
                      <a:pt x="2018" y="2612"/>
                    </a:lnTo>
                    <a:lnTo>
                      <a:pt x="2051" y="2612"/>
                    </a:lnTo>
                    <a:lnTo>
                      <a:pt x="2083" y="2610"/>
                    </a:lnTo>
                    <a:lnTo>
                      <a:pt x="2100" y="2609"/>
                    </a:lnTo>
                    <a:lnTo>
                      <a:pt x="2114" y="2607"/>
                    </a:lnTo>
                    <a:lnTo>
                      <a:pt x="2130" y="2605"/>
                    </a:lnTo>
                    <a:lnTo>
                      <a:pt x="2144" y="2602"/>
                    </a:lnTo>
                    <a:lnTo>
                      <a:pt x="2158" y="2598"/>
                    </a:lnTo>
                    <a:lnTo>
                      <a:pt x="2171" y="2593"/>
                    </a:lnTo>
                    <a:lnTo>
                      <a:pt x="2183" y="2586"/>
                    </a:lnTo>
                    <a:lnTo>
                      <a:pt x="2195" y="2578"/>
                    </a:lnTo>
                    <a:lnTo>
                      <a:pt x="2206" y="2569"/>
                    </a:lnTo>
                    <a:lnTo>
                      <a:pt x="2215" y="2559"/>
                    </a:lnTo>
                    <a:lnTo>
                      <a:pt x="2225" y="2546"/>
                    </a:lnTo>
                    <a:lnTo>
                      <a:pt x="2233" y="2532"/>
                    </a:lnTo>
                    <a:lnTo>
                      <a:pt x="2233" y="2532"/>
                    </a:lnTo>
                    <a:lnTo>
                      <a:pt x="2226" y="2531"/>
                    </a:lnTo>
                    <a:lnTo>
                      <a:pt x="2219" y="2531"/>
                    </a:lnTo>
                    <a:lnTo>
                      <a:pt x="2211" y="2529"/>
                    </a:lnTo>
                    <a:lnTo>
                      <a:pt x="2204" y="2528"/>
                    </a:lnTo>
                    <a:lnTo>
                      <a:pt x="2198" y="2525"/>
                    </a:lnTo>
                    <a:lnTo>
                      <a:pt x="2192" y="2522"/>
                    </a:lnTo>
                    <a:lnTo>
                      <a:pt x="2186" y="2518"/>
                    </a:lnTo>
                    <a:lnTo>
                      <a:pt x="2179" y="2512"/>
                    </a:lnTo>
                    <a:lnTo>
                      <a:pt x="2173" y="2506"/>
                    </a:lnTo>
                    <a:lnTo>
                      <a:pt x="2168" y="2500"/>
                    </a:lnTo>
                    <a:lnTo>
                      <a:pt x="2164" y="2493"/>
                    </a:lnTo>
                    <a:lnTo>
                      <a:pt x="2161" y="2487"/>
                    </a:lnTo>
                    <a:lnTo>
                      <a:pt x="2157" y="2472"/>
                    </a:lnTo>
                    <a:lnTo>
                      <a:pt x="2154" y="2458"/>
                    </a:lnTo>
                    <a:lnTo>
                      <a:pt x="2150" y="2443"/>
                    </a:lnTo>
                    <a:lnTo>
                      <a:pt x="2147" y="2429"/>
                    </a:lnTo>
                    <a:lnTo>
                      <a:pt x="2145" y="2420"/>
                    </a:lnTo>
                    <a:lnTo>
                      <a:pt x="2142" y="2413"/>
                    </a:lnTo>
                    <a:lnTo>
                      <a:pt x="2139" y="2406"/>
                    </a:lnTo>
                    <a:lnTo>
                      <a:pt x="2134" y="2399"/>
                    </a:lnTo>
                    <a:lnTo>
                      <a:pt x="2131" y="2395"/>
                    </a:lnTo>
                    <a:lnTo>
                      <a:pt x="2128" y="2392"/>
                    </a:lnTo>
                    <a:lnTo>
                      <a:pt x="2124" y="2389"/>
                    </a:lnTo>
                    <a:lnTo>
                      <a:pt x="2120" y="2387"/>
                    </a:lnTo>
                    <a:lnTo>
                      <a:pt x="2111" y="2384"/>
                    </a:lnTo>
                    <a:lnTo>
                      <a:pt x="2102" y="2382"/>
                    </a:lnTo>
                    <a:lnTo>
                      <a:pt x="2094" y="2381"/>
                    </a:lnTo>
                    <a:lnTo>
                      <a:pt x="2084" y="2378"/>
                    </a:lnTo>
                    <a:lnTo>
                      <a:pt x="2080" y="2377"/>
                    </a:lnTo>
                    <a:lnTo>
                      <a:pt x="2076" y="2374"/>
                    </a:lnTo>
                    <a:lnTo>
                      <a:pt x="2072" y="2372"/>
                    </a:lnTo>
                    <a:lnTo>
                      <a:pt x="2068" y="2368"/>
                    </a:lnTo>
                    <a:lnTo>
                      <a:pt x="2061" y="2359"/>
                    </a:lnTo>
                    <a:lnTo>
                      <a:pt x="2054" y="2349"/>
                    </a:lnTo>
                    <a:lnTo>
                      <a:pt x="2048" y="2340"/>
                    </a:lnTo>
                    <a:lnTo>
                      <a:pt x="2044" y="2331"/>
                    </a:lnTo>
                    <a:lnTo>
                      <a:pt x="2037" y="2311"/>
                    </a:lnTo>
                    <a:lnTo>
                      <a:pt x="2032" y="2292"/>
                    </a:lnTo>
                    <a:lnTo>
                      <a:pt x="2028" y="2272"/>
                    </a:lnTo>
                    <a:lnTo>
                      <a:pt x="2023" y="2251"/>
                    </a:lnTo>
                    <a:lnTo>
                      <a:pt x="2021" y="2241"/>
                    </a:lnTo>
                    <a:lnTo>
                      <a:pt x="2016" y="2229"/>
                    </a:lnTo>
                    <a:lnTo>
                      <a:pt x="2012" y="2219"/>
                    </a:lnTo>
                    <a:lnTo>
                      <a:pt x="2007" y="2208"/>
                    </a:lnTo>
                    <a:lnTo>
                      <a:pt x="2008" y="2203"/>
                    </a:lnTo>
                    <a:lnTo>
                      <a:pt x="2010" y="2197"/>
                    </a:lnTo>
                    <a:lnTo>
                      <a:pt x="2013" y="2193"/>
                    </a:lnTo>
                    <a:lnTo>
                      <a:pt x="2016" y="2190"/>
                    </a:lnTo>
                    <a:lnTo>
                      <a:pt x="2024" y="2183"/>
                    </a:lnTo>
                    <a:lnTo>
                      <a:pt x="2031" y="2176"/>
                    </a:lnTo>
                    <a:lnTo>
                      <a:pt x="2038" y="2170"/>
                    </a:lnTo>
                    <a:lnTo>
                      <a:pt x="2043" y="2162"/>
                    </a:lnTo>
                    <a:lnTo>
                      <a:pt x="2046" y="2158"/>
                    </a:lnTo>
                    <a:lnTo>
                      <a:pt x="2047" y="2154"/>
                    </a:lnTo>
                    <a:lnTo>
                      <a:pt x="2048" y="2149"/>
                    </a:lnTo>
                    <a:lnTo>
                      <a:pt x="2049" y="2145"/>
                    </a:lnTo>
                    <a:lnTo>
                      <a:pt x="2048" y="2133"/>
                    </a:lnTo>
                    <a:lnTo>
                      <a:pt x="2047" y="2122"/>
                    </a:lnTo>
                    <a:lnTo>
                      <a:pt x="2046" y="2109"/>
                    </a:lnTo>
                    <a:lnTo>
                      <a:pt x="2047" y="2096"/>
                    </a:lnTo>
                    <a:lnTo>
                      <a:pt x="2048" y="2084"/>
                    </a:lnTo>
                    <a:lnTo>
                      <a:pt x="2049" y="2070"/>
                    </a:lnTo>
                    <a:lnTo>
                      <a:pt x="2049" y="2058"/>
                    </a:lnTo>
                    <a:lnTo>
                      <a:pt x="2048" y="2047"/>
                    </a:lnTo>
                    <a:lnTo>
                      <a:pt x="2046" y="2036"/>
                    </a:lnTo>
                    <a:lnTo>
                      <a:pt x="2044" y="2026"/>
                    </a:lnTo>
                    <a:lnTo>
                      <a:pt x="2040" y="2017"/>
                    </a:lnTo>
                    <a:lnTo>
                      <a:pt x="2035" y="2007"/>
                    </a:lnTo>
                    <a:lnTo>
                      <a:pt x="2028" y="2000"/>
                    </a:lnTo>
                    <a:lnTo>
                      <a:pt x="2018" y="1993"/>
                    </a:lnTo>
                    <a:lnTo>
                      <a:pt x="2008" y="1987"/>
                    </a:lnTo>
                    <a:lnTo>
                      <a:pt x="1998" y="1983"/>
                    </a:lnTo>
                    <a:lnTo>
                      <a:pt x="1994" y="1981"/>
                    </a:lnTo>
                    <a:lnTo>
                      <a:pt x="1989" y="1977"/>
                    </a:lnTo>
                    <a:lnTo>
                      <a:pt x="1984" y="1973"/>
                    </a:lnTo>
                    <a:lnTo>
                      <a:pt x="1981" y="1969"/>
                    </a:lnTo>
                    <a:lnTo>
                      <a:pt x="1972" y="1954"/>
                    </a:lnTo>
                    <a:lnTo>
                      <a:pt x="1966" y="1939"/>
                    </a:lnTo>
                    <a:lnTo>
                      <a:pt x="1961" y="1925"/>
                    </a:lnTo>
                    <a:lnTo>
                      <a:pt x="1958" y="1910"/>
                    </a:lnTo>
                    <a:lnTo>
                      <a:pt x="1951" y="1879"/>
                    </a:lnTo>
                    <a:lnTo>
                      <a:pt x="1943" y="1846"/>
                    </a:lnTo>
                    <a:lnTo>
                      <a:pt x="1938" y="1833"/>
                    </a:lnTo>
                    <a:lnTo>
                      <a:pt x="1932" y="1822"/>
                    </a:lnTo>
                    <a:lnTo>
                      <a:pt x="1926" y="1810"/>
                    </a:lnTo>
                    <a:lnTo>
                      <a:pt x="1919" y="1800"/>
                    </a:lnTo>
                    <a:lnTo>
                      <a:pt x="1914" y="1790"/>
                    </a:lnTo>
                    <a:lnTo>
                      <a:pt x="1909" y="1778"/>
                    </a:lnTo>
                    <a:lnTo>
                      <a:pt x="1908" y="1772"/>
                    </a:lnTo>
                    <a:lnTo>
                      <a:pt x="1907" y="1766"/>
                    </a:lnTo>
                    <a:lnTo>
                      <a:pt x="1906" y="1759"/>
                    </a:lnTo>
                    <a:lnTo>
                      <a:pt x="1905" y="1752"/>
                    </a:lnTo>
                    <a:lnTo>
                      <a:pt x="1906" y="1747"/>
                    </a:lnTo>
                    <a:lnTo>
                      <a:pt x="1907" y="1742"/>
                    </a:lnTo>
                    <a:lnTo>
                      <a:pt x="1908" y="1738"/>
                    </a:lnTo>
                    <a:lnTo>
                      <a:pt x="1910" y="1734"/>
                    </a:lnTo>
                    <a:lnTo>
                      <a:pt x="1916" y="1727"/>
                    </a:lnTo>
                    <a:lnTo>
                      <a:pt x="1922" y="1719"/>
                    </a:lnTo>
                    <a:lnTo>
                      <a:pt x="1928" y="1712"/>
                    </a:lnTo>
                    <a:lnTo>
                      <a:pt x="1933" y="1705"/>
                    </a:lnTo>
                    <a:lnTo>
                      <a:pt x="1935" y="1701"/>
                    </a:lnTo>
                    <a:lnTo>
                      <a:pt x="1937" y="1697"/>
                    </a:lnTo>
                    <a:lnTo>
                      <a:pt x="1938" y="1691"/>
                    </a:lnTo>
                    <a:lnTo>
                      <a:pt x="1938" y="1686"/>
                    </a:lnTo>
                    <a:lnTo>
                      <a:pt x="1938" y="1678"/>
                    </a:lnTo>
                    <a:lnTo>
                      <a:pt x="1936" y="1669"/>
                    </a:lnTo>
                    <a:lnTo>
                      <a:pt x="1911" y="1668"/>
                    </a:lnTo>
                    <a:lnTo>
                      <a:pt x="1888" y="1668"/>
                    </a:lnTo>
                    <a:lnTo>
                      <a:pt x="1865" y="1668"/>
                    </a:lnTo>
                    <a:lnTo>
                      <a:pt x="1843" y="1668"/>
                    </a:lnTo>
                    <a:lnTo>
                      <a:pt x="1833" y="1668"/>
                    </a:lnTo>
                    <a:lnTo>
                      <a:pt x="1823" y="1666"/>
                    </a:lnTo>
                    <a:lnTo>
                      <a:pt x="1812" y="1664"/>
                    </a:lnTo>
                    <a:lnTo>
                      <a:pt x="1803" y="1660"/>
                    </a:lnTo>
                    <a:lnTo>
                      <a:pt x="1794" y="1656"/>
                    </a:lnTo>
                    <a:lnTo>
                      <a:pt x="1784" y="1651"/>
                    </a:lnTo>
                    <a:lnTo>
                      <a:pt x="1775" y="1645"/>
                    </a:lnTo>
                    <a:lnTo>
                      <a:pt x="1767" y="1636"/>
                    </a:lnTo>
                    <a:lnTo>
                      <a:pt x="1759" y="1626"/>
                    </a:lnTo>
                    <a:lnTo>
                      <a:pt x="1753" y="1617"/>
                    </a:lnTo>
                    <a:lnTo>
                      <a:pt x="1749" y="1608"/>
                    </a:lnTo>
                    <a:lnTo>
                      <a:pt x="1746" y="1597"/>
                    </a:lnTo>
                    <a:lnTo>
                      <a:pt x="1741" y="1577"/>
                    </a:lnTo>
                    <a:lnTo>
                      <a:pt x="1736" y="1553"/>
                    </a:lnTo>
                    <a:lnTo>
                      <a:pt x="1731" y="1539"/>
                    </a:lnTo>
                    <a:lnTo>
                      <a:pt x="1725" y="1525"/>
                    </a:lnTo>
                    <a:lnTo>
                      <a:pt x="1719" y="1512"/>
                    </a:lnTo>
                    <a:lnTo>
                      <a:pt x="1713" y="1500"/>
                    </a:lnTo>
                    <a:lnTo>
                      <a:pt x="1708" y="1488"/>
                    </a:lnTo>
                    <a:lnTo>
                      <a:pt x="1704" y="1475"/>
                    </a:lnTo>
                    <a:lnTo>
                      <a:pt x="1702" y="1461"/>
                    </a:lnTo>
                    <a:lnTo>
                      <a:pt x="1701" y="1446"/>
                    </a:lnTo>
                    <a:lnTo>
                      <a:pt x="1691" y="1446"/>
                    </a:lnTo>
                    <a:lnTo>
                      <a:pt x="1682" y="1446"/>
                    </a:lnTo>
                    <a:lnTo>
                      <a:pt x="1673" y="1445"/>
                    </a:lnTo>
                    <a:lnTo>
                      <a:pt x="1664" y="1445"/>
                    </a:lnTo>
                    <a:lnTo>
                      <a:pt x="1642" y="1446"/>
                    </a:lnTo>
                    <a:lnTo>
                      <a:pt x="1622" y="1448"/>
                    </a:lnTo>
                    <a:lnTo>
                      <a:pt x="1604" y="1451"/>
                    </a:lnTo>
                    <a:lnTo>
                      <a:pt x="1585" y="1454"/>
                    </a:lnTo>
                    <a:lnTo>
                      <a:pt x="1551" y="1463"/>
                    </a:lnTo>
                    <a:lnTo>
                      <a:pt x="1518" y="1475"/>
                    </a:lnTo>
                    <a:lnTo>
                      <a:pt x="1485" y="1485"/>
                    </a:lnTo>
                    <a:lnTo>
                      <a:pt x="1450" y="1495"/>
                    </a:lnTo>
                    <a:lnTo>
                      <a:pt x="1433" y="1498"/>
                    </a:lnTo>
                    <a:lnTo>
                      <a:pt x="1413" y="1501"/>
                    </a:lnTo>
                    <a:lnTo>
                      <a:pt x="1394" y="1503"/>
                    </a:lnTo>
                    <a:lnTo>
                      <a:pt x="1373" y="1503"/>
                    </a:lnTo>
                    <a:lnTo>
                      <a:pt x="1367" y="1503"/>
                    </a:lnTo>
                    <a:lnTo>
                      <a:pt x="1361" y="1502"/>
                    </a:lnTo>
                    <a:lnTo>
                      <a:pt x="1356" y="1500"/>
                    </a:lnTo>
                    <a:lnTo>
                      <a:pt x="1351" y="1497"/>
                    </a:lnTo>
                    <a:lnTo>
                      <a:pt x="1344" y="1491"/>
                    </a:lnTo>
                    <a:lnTo>
                      <a:pt x="1337" y="1483"/>
                    </a:lnTo>
                    <a:lnTo>
                      <a:pt x="1331" y="1473"/>
                    </a:lnTo>
                    <a:lnTo>
                      <a:pt x="1323" y="1463"/>
                    </a:lnTo>
                    <a:lnTo>
                      <a:pt x="1316" y="1454"/>
                    </a:lnTo>
                    <a:lnTo>
                      <a:pt x="1307" y="1445"/>
                    </a:lnTo>
                    <a:lnTo>
                      <a:pt x="1300" y="1439"/>
                    </a:lnTo>
                    <a:lnTo>
                      <a:pt x="1292" y="1434"/>
                    </a:lnTo>
                    <a:lnTo>
                      <a:pt x="1284" y="1430"/>
                    </a:lnTo>
                    <a:lnTo>
                      <a:pt x="1277" y="1427"/>
                    </a:lnTo>
                    <a:lnTo>
                      <a:pt x="1263" y="1422"/>
                    </a:lnTo>
                    <a:lnTo>
                      <a:pt x="1248" y="1418"/>
                    </a:lnTo>
                    <a:lnTo>
                      <a:pt x="1233" y="1416"/>
                    </a:lnTo>
                    <a:lnTo>
                      <a:pt x="1216" y="1415"/>
                    </a:lnTo>
                    <a:lnTo>
                      <a:pt x="1199" y="1415"/>
                    </a:lnTo>
                    <a:lnTo>
                      <a:pt x="1180" y="1415"/>
                    </a:lnTo>
                    <a:lnTo>
                      <a:pt x="1167" y="1415"/>
                    </a:lnTo>
                    <a:lnTo>
                      <a:pt x="1154" y="1417"/>
                    </a:lnTo>
                    <a:lnTo>
                      <a:pt x="1142" y="1419"/>
                    </a:lnTo>
                    <a:lnTo>
                      <a:pt x="1131" y="1422"/>
                    </a:lnTo>
                    <a:lnTo>
                      <a:pt x="1108" y="1429"/>
                    </a:lnTo>
                    <a:lnTo>
                      <a:pt x="1083" y="1437"/>
                    </a:lnTo>
                    <a:lnTo>
                      <a:pt x="1078" y="1439"/>
                    </a:lnTo>
                    <a:lnTo>
                      <a:pt x="1075" y="1443"/>
                    </a:lnTo>
                    <a:lnTo>
                      <a:pt x="1071" y="1446"/>
                    </a:lnTo>
                    <a:lnTo>
                      <a:pt x="1068" y="1449"/>
                    </a:lnTo>
                    <a:lnTo>
                      <a:pt x="1065" y="1452"/>
                    </a:lnTo>
                    <a:lnTo>
                      <a:pt x="1061" y="1454"/>
                    </a:lnTo>
                    <a:lnTo>
                      <a:pt x="1057" y="1456"/>
                    </a:lnTo>
                    <a:lnTo>
                      <a:pt x="1052" y="1457"/>
                    </a:lnTo>
                    <a:lnTo>
                      <a:pt x="1045" y="1456"/>
                    </a:lnTo>
                    <a:lnTo>
                      <a:pt x="1040" y="1455"/>
                    </a:lnTo>
                    <a:lnTo>
                      <a:pt x="1035" y="1452"/>
                    </a:lnTo>
                    <a:lnTo>
                      <a:pt x="1030" y="1449"/>
                    </a:lnTo>
                    <a:lnTo>
                      <a:pt x="1021" y="1439"/>
                    </a:lnTo>
                    <a:lnTo>
                      <a:pt x="1014" y="1429"/>
                    </a:lnTo>
                    <a:lnTo>
                      <a:pt x="1007" y="1419"/>
                    </a:lnTo>
                    <a:lnTo>
                      <a:pt x="999" y="1408"/>
                    </a:lnTo>
                    <a:lnTo>
                      <a:pt x="994" y="1404"/>
                    </a:lnTo>
                    <a:lnTo>
                      <a:pt x="989" y="1400"/>
                    </a:lnTo>
                    <a:lnTo>
                      <a:pt x="983" y="1397"/>
                    </a:lnTo>
                    <a:lnTo>
                      <a:pt x="977" y="1395"/>
                    </a:lnTo>
                    <a:lnTo>
                      <a:pt x="981" y="1391"/>
                    </a:lnTo>
                    <a:lnTo>
                      <a:pt x="986" y="1387"/>
                    </a:lnTo>
                    <a:lnTo>
                      <a:pt x="991" y="1383"/>
                    </a:lnTo>
                    <a:lnTo>
                      <a:pt x="997" y="1380"/>
                    </a:lnTo>
                    <a:lnTo>
                      <a:pt x="1002" y="1378"/>
                    </a:lnTo>
                    <a:lnTo>
                      <a:pt x="1008" y="1375"/>
                    </a:lnTo>
                    <a:lnTo>
                      <a:pt x="1014" y="1374"/>
                    </a:lnTo>
                    <a:lnTo>
                      <a:pt x="1021" y="1374"/>
                    </a:lnTo>
                    <a:lnTo>
                      <a:pt x="1031" y="1374"/>
                    </a:lnTo>
                    <a:lnTo>
                      <a:pt x="1040" y="1374"/>
                    </a:lnTo>
                    <a:lnTo>
                      <a:pt x="1048" y="1374"/>
                    </a:lnTo>
                    <a:lnTo>
                      <a:pt x="1058" y="1374"/>
                    </a:lnTo>
                    <a:lnTo>
                      <a:pt x="1058" y="1312"/>
                    </a:lnTo>
                    <a:lnTo>
                      <a:pt x="1057" y="1303"/>
                    </a:lnTo>
                    <a:lnTo>
                      <a:pt x="1056" y="1295"/>
                    </a:lnTo>
                    <a:lnTo>
                      <a:pt x="1054" y="1287"/>
                    </a:lnTo>
                    <a:lnTo>
                      <a:pt x="1051" y="1278"/>
                    </a:lnTo>
                    <a:lnTo>
                      <a:pt x="1047" y="1270"/>
                    </a:lnTo>
                    <a:lnTo>
                      <a:pt x="1043" y="1264"/>
                    </a:lnTo>
                    <a:lnTo>
                      <a:pt x="1038" y="1257"/>
                    </a:lnTo>
                    <a:lnTo>
                      <a:pt x="1033" y="1250"/>
                    </a:lnTo>
                    <a:lnTo>
                      <a:pt x="1026" y="1245"/>
                    </a:lnTo>
                    <a:lnTo>
                      <a:pt x="1019" y="1240"/>
                    </a:lnTo>
                    <a:lnTo>
                      <a:pt x="1012" y="1236"/>
                    </a:lnTo>
                    <a:lnTo>
                      <a:pt x="1005" y="1232"/>
                    </a:lnTo>
                    <a:lnTo>
                      <a:pt x="997" y="1229"/>
                    </a:lnTo>
                    <a:lnTo>
                      <a:pt x="988" y="1227"/>
                    </a:lnTo>
                    <a:lnTo>
                      <a:pt x="979" y="1226"/>
                    </a:lnTo>
                    <a:lnTo>
                      <a:pt x="970" y="1226"/>
                    </a:lnTo>
                    <a:lnTo>
                      <a:pt x="962" y="1227"/>
                    </a:lnTo>
                    <a:lnTo>
                      <a:pt x="955" y="1228"/>
                    </a:lnTo>
                    <a:lnTo>
                      <a:pt x="964" y="1212"/>
                    </a:lnTo>
                    <a:lnTo>
                      <a:pt x="973" y="1200"/>
                    </a:lnTo>
                    <a:lnTo>
                      <a:pt x="981" y="1187"/>
                    </a:lnTo>
                    <a:lnTo>
                      <a:pt x="989" y="1176"/>
                    </a:lnTo>
                    <a:lnTo>
                      <a:pt x="997" y="1165"/>
                    </a:lnTo>
                    <a:lnTo>
                      <a:pt x="1002" y="1152"/>
                    </a:lnTo>
                    <a:lnTo>
                      <a:pt x="1005" y="1145"/>
                    </a:lnTo>
                    <a:lnTo>
                      <a:pt x="1006" y="1138"/>
                    </a:lnTo>
                    <a:lnTo>
                      <a:pt x="1007" y="1131"/>
                    </a:lnTo>
                    <a:lnTo>
                      <a:pt x="1007" y="1122"/>
                    </a:lnTo>
                    <a:lnTo>
                      <a:pt x="1007" y="1072"/>
                    </a:lnTo>
                    <a:lnTo>
                      <a:pt x="1006" y="1059"/>
                    </a:lnTo>
                    <a:lnTo>
                      <a:pt x="1004" y="1049"/>
                    </a:lnTo>
                    <a:lnTo>
                      <a:pt x="1000" y="1039"/>
                    </a:lnTo>
                    <a:lnTo>
                      <a:pt x="993" y="1031"/>
                    </a:lnTo>
                    <a:lnTo>
                      <a:pt x="980" y="1013"/>
                    </a:lnTo>
                    <a:lnTo>
                      <a:pt x="965" y="994"/>
                    </a:lnTo>
                    <a:lnTo>
                      <a:pt x="944" y="961"/>
                    </a:lnTo>
                    <a:lnTo>
                      <a:pt x="926" y="930"/>
                    </a:lnTo>
                    <a:lnTo>
                      <a:pt x="917" y="916"/>
                    </a:lnTo>
                    <a:lnTo>
                      <a:pt x="906" y="902"/>
                    </a:lnTo>
                    <a:lnTo>
                      <a:pt x="901" y="895"/>
                    </a:lnTo>
                    <a:lnTo>
                      <a:pt x="893" y="889"/>
                    </a:lnTo>
                    <a:lnTo>
                      <a:pt x="886" y="883"/>
                    </a:lnTo>
                    <a:lnTo>
                      <a:pt x="878" y="876"/>
                    </a:lnTo>
                    <a:lnTo>
                      <a:pt x="881" y="872"/>
                    </a:lnTo>
                    <a:lnTo>
                      <a:pt x="885" y="867"/>
                    </a:lnTo>
                    <a:lnTo>
                      <a:pt x="889" y="864"/>
                    </a:lnTo>
                    <a:lnTo>
                      <a:pt x="893" y="862"/>
                    </a:lnTo>
                    <a:lnTo>
                      <a:pt x="903" y="858"/>
                    </a:lnTo>
                    <a:lnTo>
                      <a:pt x="912" y="855"/>
                    </a:lnTo>
                    <a:lnTo>
                      <a:pt x="933" y="852"/>
                    </a:lnTo>
                    <a:lnTo>
                      <a:pt x="955" y="848"/>
                    </a:lnTo>
                    <a:lnTo>
                      <a:pt x="977" y="841"/>
                    </a:lnTo>
                    <a:lnTo>
                      <a:pt x="995" y="833"/>
                    </a:lnTo>
                    <a:lnTo>
                      <a:pt x="1005" y="830"/>
                    </a:lnTo>
                    <a:lnTo>
                      <a:pt x="1014" y="827"/>
                    </a:lnTo>
                    <a:lnTo>
                      <a:pt x="1024" y="824"/>
                    </a:lnTo>
                    <a:lnTo>
                      <a:pt x="1036" y="822"/>
                    </a:lnTo>
                    <a:lnTo>
                      <a:pt x="1052" y="819"/>
                    </a:lnTo>
                    <a:lnTo>
                      <a:pt x="1070" y="816"/>
                    </a:lnTo>
                    <a:lnTo>
                      <a:pt x="1085" y="812"/>
                    </a:lnTo>
                    <a:lnTo>
                      <a:pt x="1101" y="805"/>
                    </a:lnTo>
                    <a:lnTo>
                      <a:pt x="1107" y="802"/>
                    </a:lnTo>
                    <a:lnTo>
                      <a:pt x="1113" y="798"/>
                    </a:lnTo>
                    <a:lnTo>
                      <a:pt x="1119" y="793"/>
                    </a:lnTo>
                    <a:lnTo>
                      <a:pt x="1123" y="788"/>
                    </a:lnTo>
                    <a:lnTo>
                      <a:pt x="1127" y="782"/>
                    </a:lnTo>
                    <a:lnTo>
                      <a:pt x="1130" y="775"/>
                    </a:lnTo>
                    <a:lnTo>
                      <a:pt x="1132" y="768"/>
                    </a:lnTo>
                    <a:lnTo>
                      <a:pt x="1133" y="760"/>
                    </a:lnTo>
                    <a:lnTo>
                      <a:pt x="1132" y="747"/>
                    </a:lnTo>
                    <a:lnTo>
                      <a:pt x="1130" y="734"/>
                    </a:lnTo>
                    <a:lnTo>
                      <a:pt x="1126" y="722"/>
                    </a:lnTo>
                    <a:lnTo>
                      <a:pt x="1122" y="710"/>
                    </a:lnTo>
                    <a:lnTo>
                      <a:pt x="1117" y="700"/>
                    </a:lnTo>
                    <a:lnTo>
                      <a:pt x="1111" y="690"/>
                    </a:lnTo>
                    <a:lnTo>
                      <a:pt x="1104" y="680"/>
                    </a:lnTo>
                    <a:lnTo>
                      <a:pt x="1096" y="672"/>
                    </a:lnTo>
                    <a:lnTo>
                      <a:pt x="1087" y="663"/>
                    </a:lnTo>
                    <a:lnTo>
                      <a:pt x="1078" y="655"/>
                    </a:lnTo>
                    <a:lnTo>
                      <a:pt x="1068" y="646"/>
                    </a:lnTo>
                    <a:lnTo>
                      <a:pt x="1057" y="639"/>
                    </a:lnTo>
                    <a:lnTo>
                      <a:pt x="1035" y="623"/>
                    </a:lnTo>
                    <a:lnTo>
                      <a:pt x="1012" y="607"/>
                    </a:lnTo>
                    <a:lnTo>
                      <a:pt x="1006" y="600"/>
                    </a:lnTo>
                    <a:lnTo>
                      <a:pt x="1000" y="594"/>
                    </a:lnTo>
                    <a:lnTo>
                      <a:pt x="993" y="588"/>
                    </a:lnTo>
                    <a:lnTo>
                      <a:pt x="986" y="582"/>
                    </a:lnTo>
                    <a:lnTo>
                      <a:pt x="972" y="574"/>
                    </a:lnTo>
                    <a:lnTo>
                      <a:pt x="956" y="567"/>
                    </a:lnTo>
                    <a:lnTo>
                      <a:pt x="941" y="560"/>
                    </a:lnTo>
                    <a:lnTo>
                      <a:pt x="926" y="552"/>
                    </a:lnTo>
                    <a:lnTo>
                      <a:pt x="919" y="547"/>
                    </a:lnTo>
                    <a:lnTo>
                      <a:pt x="912" y="542"/>
                    </a:lnTo>
                    <a:lnTo>
                      <a:pt x="906" y="536"/>
                    </a:lnTo>
                    <a:lnTo>
                      <a:pt x="899" y="529"/>
                    </a:lnTo>
                    <a:lnTo>
                      <a:pt x="891" y="519"/>
                    </a:lnTo>
                    <a:lnTo>
                      <a:pt x="884" y="509"/>
                    </a:lnTo>
                    <a:lnTo>
                      <a:pt x="879" y="500"/>
                    </a:lnTo>
                    <a:lnTo>
                      <a:pt x="874" y="490"/>
                    </a:lnTo>
                    <a:lnTo>
                      <a:pt x="865" y="470"/>
                    </a:lnTo>
                    <a:lnTo>
                      <a:pt x="852" y="449"/>
                    </a:lnTo>
                    <a:lnTo>
                      <a:pt x="841" y="434"/>
                    </a:lnTo>
                    <a:lnTo>
                      <a:pt x="830" y="418"/>
                    </a:lnTo>
                    <a:lnTo>
                      <a:pt x="826" y="411"/>
                    </a:lnTo>
                    <a:lnTo>
                      <a:pt x="823" y="404"/>
                    </a:lnTo>
                    <a:lnTo>
                      <a:pt x="822" y="394"/>
                    </a:lnTo>
                    <a:lnTo>
                      <a:pt x="821" y="385"/>
                    </a:lnTo>
                    <a:lnTo>
                      <a:pt x="822" y="375"/>
                    </a:lnTo>
                    <a:lnTo>
                      <a:pt x="824" y="366"/>
                    </a:lnTo>
                    <a:lnTo>
                      <a:pt x="827" y="356"/>
                    </a:lnTo>
                    <a:lnTo>
                      <a:pt x="832" y="348"/>
                    </a:lnTo>
                    <a:lnTo>
                      <a:pt x="836" y="340"/>
                    </a:lnTo>
                    <a:lnTo>
                      <a:pt x="839" y="331"/>
                    </a:lnTo>
                    <a:lnTo>
                      <a:pt x="842" y="322"/>
                    </a:lnTo>
                    <a:lnTo>
                      <a:pt x="842" y="312"/>
                    </a:lnTo>
                    <a:lnTo>
                      <a:pt x="842" y="297"/>
                    </a:lnTo>
                    <a:lnTo>
                      <a:pt x="839" y="283"/>
                    </a:lnTo>
                    <a:lnTo>
                      <a:pt x="836" y="271"/>
                    </a:lnTo>
                    <a:lnTo>
                      <a:pt x="830" y="259"/>
                    </a:lnTo>
                    <a:lnTo>
                      <a:pt x="824" y="248"/>
                    </a:lnTo>
                    <a:lnTo>
                      <a:pt x="817" y="238"/>
                    </a:lnTo>
                    <a:lnTo>
                      <a:pt x="809" y="228"/>
                    </a:lnTo>
                    <a:lnTo>
                      <a:pt x="800" y="219"/>
                    </a:lnTo>
                    <a:lnTo>
                      <a:pt x="780" y="201"/>
                    </a:lnTo>
                    <a:lnTo>
                      <a:pt x="757" y="184"/>
                    </a:lnTo>
                    <a:lnTo>
                      <a:pt x="736" y="165"/>
                    </a:lnTo>
                    <a:lnTo>
                      <a:pt x="713" y="145"/>
                    </a:lnTo>
                    <a:lnTo>
                      <a:pt x="702" y="132"/>
                    </a:lnTo>
                    <a:lnTo>
                      <a:pt x="690" y="120"/>
                    </a:lnTo>
                    <a:lnTo>
                      <a:pt x="680" y="107"/>
                    </a:lnTo>
                    <a:lnTo>
                      <a:pt x="671" y="95"/>
                    </a:lnTo>
                    <a:lnTo>
                      <a:pt x="652" y="70"/>
                    </a:lnTo>
                    <a:lnTo>
                      <a:pt x="634" y="48"/>
                    </a:lnTo>
                    <a:lnTo>
                      <a:pt x="624" y="38"/>
                    </a:lnTo>
                    <a:lnTo>
                      <a:pt x="614" y="29"/>
                    </a:lnTo>
                    <a:lnTo>
                      <a:pt x="604" y="21"/>
                    </a:lnTo>
                    <a:lnTo>
                      <a:pt x="592" y="13"/>
                    </a:lnTo>
                    <a:lnTo>
                      <a:pt x="580" y="8"/>
                    </a:lnTo>
                    <a:lnTo>
                      <a:pt x="566" y="4"/>
                    </a:lnTo>
                    <a:lnTo>
                      <a:pt x="552" y="1"/>
                    </a:lnTo>
                    <a:lnTo>
                      <a:pt x="536" y="0"/>
                    </a:lnTo>
                    <a:lnTo>
                      <a:pt x="527" y="1"/>
                    </a:lnTo>
                    <a:lnTo>
                      <a:pt x="520" y="2"/>
                    </a:lnTo>
                    <a:lnTo>
                      <a:pt x="513" y="4"/>
                    </a:lnTo>
                    <a:lnTo>
                      <a:pt x="507" y="6"/>
                    </a:lnTo>
                    <a:lnTo>
                      <a:pt x="494" y="12"/>
                    </a:lnTo>
                    <a:lnTo>
                      <a:pt x="483" y="21"/>
                    </a:lnTo>
                    <a:lnTo>
                      <a:pt x="461" y="41"/>
                    </a:lnTo>
                    <a:lnTo>
                      <a:pt x="437" y="62"/>
                    </a:lnTo>
                    <a:lnTo>
                      <a:pt x="429" y="69"/>
                    </a:lnTo>
                    <a:lnTo>
                      <a:pt x="424" y="76"/>
                    </a:lnTo>
                    <a:lnTo>
                      <a:pt x="421" y="79"/>
                    </a:lnTo>
                    <a:lnTo>
                      <a:pt x="417" y="83"/>
                    </a:lnTo>
                    <a:lnTo>
                      <a:pt x="413" y="85"/>
                    </a:lnTo>
                    <a:lnTo>
                      <a:pt x="409" y="86"/>
                    </a:lnTo>
                    <a:lnTo>
                      <a:pt x="403" y="85"/>
                    </a:lnTo>
                    <a:lnTo>
                      <a:pt x="397" y="84"/>
                    </a:lnTo>
                    <a:lnTo>
                      <a:pt x="393" y="82"/>
                    </a:lnTo>
                    <a:lnTo>
                      <a:pt x="389" y="79"/>
                    </a:lnTo>
                    <a:lnTo>
                      <a:pt x="382" y="72"/>
                    </a:lnTo>
                    <a:lnTo>
                      <a:pt x="376" y="64"/>
                    </a:lnTo>
                    <a:lnTo>
                      <a:pt x="370" y="55"/>
                    </a:lnTo>
                    <a:lnTo>
                      <a:pt x="364" y="44"/>
                    </a:lnTo>
                    <a:lnTo>
                      <a:pt x="357" y="35"/>
                    </a:lnTo>
                    <a:lnTo>
                      <a:pt x="350" y="26"/>
                    </a:lnTo>
                    <a:lnTo>
                      <a:pt x="343" y="21"/>
                    </a:lnTo>
                    <a:lnTo>
                      <a:pt x="337" y="18"/>
                    </a:lnTo>
                    <a:lnTo>
                      <a:pt x="337" y="18"/>
                    </a:lnTo>
                    <a:lnTo>
                      <a:pt x="330" y="36"/>
                    </a:lnTo>
                    <a:lnTo>
                      <a:pt x="322" y="54"/>
                    </a:lnTo>
                    <a:lnTo>
                      <a:pt x="314" y="69"/>
                    </a:lnTo>
                    <a:lnTo>
                      <a:pt x="306" y="85"/>
                    </a:lnTo>
                    <a:lnTo>
                      <a:pt x="297" y="100"/>
                    </a:lnTo>
                    <a:lnTo>
                      <a:pt x="291" y="116"/>
                    </a:lnTo>
                    <a:lnTo>
                      <a:pt x="288" y="125"/>
                    </a:lnTo>
                    <a:lnTo>
                      <a:pt x="285" y="134"/>
                    </a:lnTo>
                    <a:lnTo>
                      <a:pt x="283" y="143"/>
                    </a:lnTo>
                    <a:lnTo>
                      <a:pt x="281" y="154"/>
                    </a:lnTo>
                    <a:lnTo>
                      <a:pt x="335" y="356"/>
                    </a:lnTo>
                    <a:lnTo>
                      <a:pt x="335" y="376"/>
                    </a:lnTo>
                    <a:lnTo>
                      <a:pt x="310" y="377"/>
                    </a:lnTo>
                    <a:lnTo>
                      <a:pt x="287" y="379"/>
                    </a:lnTo>
                    <a:lnTo>
                      <a:pt x="264" y="383"/>
                    </a:lnTo>
                    <a:lnTo>
                      <a:pt x="239" y="387"/>
                    </a:lnTo>
                    <a:lnTo>
                      <a:pt x="241" y="392"/>
                    </a:lnTo>
                    <a:lnTo>
                      <a:pt x="244" y="396"/>
                    </a:lnTo>
                    <a:lnTo>
                      <a:pt x="245" y="401"/>
                    </a:lnTo>
                    <a:lnTo>
                      <a:pt x="246" y="406"/>
                    </a:lnTo>
                    <a:lnTo>
                      <a:pt x="243" y="420"/>
                    </a:lnTo>
                    <a:lnTo>
                      <a:pt x="239" y="435"/>
                    </a:lnTo>
                    <a:lnTo>
                      <a:pt x="247" y="437"/>
                    </a:lnTo>
                    <a:lnTo>
                      <a:pt x="252" y="441"/>
                    </a:lnTo>
                    <a:lnTo>
                      <a:pt x="257" y="446"/>
                    </a:lnTo>
                    <a:lnTo>
                      <a:pt x="261" y="451"/>
                    </a:lnTo>
                    <a:lnTo>
                      <a:pt x="268" y="465"/>
                    </a:lnTo>
                    <a:lnTo>
                      <a:pt x="277" y="479"/>
                    </a:lnTo>
                    <a:lnTo>
                      <a:pt x="297" y="509"/>
                    </a:lnTo>
                    <a:lnTo>
                      <a:pt x="317" y="536"/>
                    </a:lnTo>
                    <a:lnTo>
                      <a:pt x="325" y="549"/>
                    </a:lnTo>
                    <a:lnTo>
                      <a:pt x="332" y="564"/>
                    </a:lnTo>
                    <a:lnTo>
                      <a:pt x="334" y="571"/>
                    </a:lnTo>
                    <a:lnTo>
                      <a:pt x="337" y="579"/>
                    </a:lnTo>
                    <a:lnTo>
                      <a:pt x="338" y="589"/>
                    </a:lnTo>
                    <a:lnTo>
                      <a:pt x="338" y="598"/>
                    </a:lnTo>
                    <a:lnTo>
                      <a:pt x="337" y="603"/>
                    </a:lnTo>
                    <a:lnTo>
                      <a:pt x="334" y="608"/>
                    </a:lnTo>
                    <a:lnTo>
                      <a:pt x="331" y="612"/>
                    </a:lnTo>
                    <a:lnTo>
                      <a:pt x="327" y="615"/>
                    </a:lnTo>
                    <a:lnTo>
                      <a:pt x="322" y="617"/>
                    </a:lnTo>
                    <a:lnTo>
                      <a:pt x="317" y="620"/>
                    </a:lnTo>
                    <a:lnTo>
                      <a:pt x="311" y="621"/>
                    </a:lnTo>
                    <a:lnTo>
                      <a:pt x="305" y="621"/>
                    </a:lnTo>
                    <a:lnTo>
                      <a:pt x="297" y="621"/>
                    </a:lnTo>
                    <a:lnTo>
                      <a:pt x="291" y="620"/>
                    </a:lnTo>
                    <a:lnTo>
                      <a:pt x="285" y="617"/>
                    </a:lnTo>
                    <a:lnTo>
                      <a:pt x="280" y="614"/>
                    </a:lnTo>
                    <a:lnTo>
                      <a:pt x="268" y="607"/>
                    </a:lnTo>
                    <a:lnTo>
                      <a:pt x="259" y="600"/>
                    </a:lnTo>
                    <a:lnTo>
                      <a:pt x="249" y="592"/>
                    </a:lnTo>
                    <a:lnTo>
                      <a:pt x="239" y="585"/>
                    </a:lnTo>
                    <a:lnTo>
                      <a:pt x="232" y="582"/>
                    </a:lnTo>
                    <a:lnTo>
                      <a:pt x="226" y="580"/>
                    </a:lnTo>
                    <a:lnTo>
                      <a:pt x="220" y="579"/>
                    </a:lnTo>
                    <a:lnTo>
                      <a:pt x="213" y="578"/>
                    </a:lnTo>
                    <a:lnTo>
                      <a:pt x="208" y="579"/>
                    </a:lnTo>
                    <a:lnTo>
                      <a:pt x="202" y="582"/>
                    </a:lnTo>
                    <a:lnTo>
                      <a:pt x="199" y="586"/>
                    </a:lnTo>
                    <a:lnTo>
                      <a:pt x="195" y="591"/>
                    </a:lnTo>
                    <a:lnTo>
                      <a:pt x="192" y="596"/>
                    </a:lnTo>
                    <a:lnTo>
                      <a:pt x="189" y="600"/>
                    </a:lnTo>
                    <a:lnTo>
                      <a:pt x="185" y="604"/>
                    </a:lnTo>
                    <a:lnTo>
                      <a:pt x="180" y="607"/>
                    </a:lnTo>
                    <a:lnTo>
                      <a:pt x="169" y="610"/>
                    </a:lnTo>
                    <a:lnTo>
                      <a:pt x="159" y="612"/>
                    </a:lnTo>
                    <a:lnTo>
                      <a:pt x="149" y="614"/>
                    </a:lnTo>
                    <a:lnTo>
                      <a:pt x="139" y="615"/>
                    </a:lnTo>
                    <a:lnTo>
                      <a:pt x="129" y="616"/>
                    </a:lnTo>
                    <a:lnTo>
                      <a:pt x="120" y="620"/>
                    </a:lnTo>
                    <a:lnTo>
                      <a:pt x="115" y="622"/>
                    </a:lnTo>
                    <a:lnTo>
                      <a:pt x="111" y="624"/>
                    </a:lnTo>
                    <a:lnTo>
                      <a:pt x="107" y="627"/>
                    </a:lnTo>
                    <a:lnTo>
                      <a:pt x="102" y="631"/>
                    </a:lnTo>
                    <a:lnTo>
                      <a:pt x="97" y="636"/>
                    </a:lnTo>
                    <a:lnTo>
                      <a:pt x="93" y="643"/>
                    </a:lnTo>
                    <a:lnTo>
                      <a:pt x="91" y="649"/>
                    </a:lnTo>
                    <a:lnTo>
                      <a:pt x="90" y="657"/>
                    </a:lnTo>
                    <a:lnTo>
                      <a:pt x="88" y="671"/>
                    </a:lnTo>
                    <a:lnTo>
                      <a:pt x="83" y="688"/>
                    </a:lnTo>
                    <a:lnTo>
                      <a:pt x="71" y="709"/>
                    </a:lnTo>
                    <a:lnTo>
                      <a:pt x="60" y="729"/>
                    </a:lnTo>
                    <a:lnTo>
                      <a:pt x="54" y="738"/>
                    </a:lnTo>
                    <a:lnTo>
                      <a:pt x="49" y="749"/>
                    </a:lnTo>
                    <a:lnTo>
                      <a:pt x="45" y="760"/>
                    </a:lnTo>
                    <a:lnTo>
                      <a:pt x="41" y="772"/>
                    </a:lnTo>
                    <a:lnTo>
                      <a:pt x="47" y="773"/>
                    </a:lnTo>
                    <a:lnTo>
                      <a:pt x="53" y="775"/>
                    </a:lnTo>
                    <a:lnTo>
                      <a:pt x="57" y="779"/>
                    </a:lnTo>
                    <a:lnTo>
                      <a:pt x="61" y="782"/>
                    </a:lnTo>
                    <a:lnTo>
                      <a:pt x="64" y="786"/>
                    </a:lnTo>
                    <a:lnTo>
                      <a:pt x="66" y="791"/>
                    </a:lnTo>
                    <a:lnTo>
                      <a:pt x="68" y="797"/>
                    </a:lnTo>
                    <a:lnTo>
                      <a:pt x="70" y="803"/>
                    </a:lnTo>
                    <a:lnTo>
                      <a:pt x="75" y="830"/>
                    </a:lnTo>
                    <a:lnTo>
                      <a:pt x="81" y="857"/>
                    </a:lnTo>
                    <a:lnTo>
                      <a:pt x="84" y="864"/>
                    </a:lnTo>
                    <a:lnTo>
                      <a:pt x="88" y="870"/>
                    </a:lnTo>
                    <a:lnTo>
                      <a:pt x="92" y="876"/>
                    </a:lnTo>
                    <a:lnTo>
                      <a:pt x="97" y="880"/>
                    </a:lnTo>
                    <a:lnTo>
                      <a:pt x="109" y="889"/>
                    </a:lnTo>
                    <a:lnTo>
                      <a:pt x="121" y="896"/>
                    </a:lnTo>
                    <a:lnTo>
                      <a:pt x="132" y="904"/>
                    </a:lnTo>
                    <a:lnTo>
                      <a:pt x="143" y="913"/>
                    </a:lnTo>
                    <a:lnTo>
                      <a:pt x="146" y="918"/>
                    </a:lnTo>
                    <a:lnTo>
                      <a:pt x="149" y="923"/>
                    </a:lnTo>
                    <a:lnTo>
                      <a:pt x="151" y="929"/>
                    </a:lnTo>
                    <a:lnTo>
                      <a:pt x="152" y="937"/>
                    </a:lnTo>
                    <a:lnTo>
                      <a:pt x="152" y="990"/>
                    </a:lnTo>
                    <a:lnTo>
                      <a:pt x="151" y="1019"/>
                    </a:lnTo>
                    <a:lnTo>
                      <a:pt x="148" y="1045"/>
                    </a:lnTo>
                    <a:lnTo>
                      <a:pt x="145" y="1071"/>
                    </a:lnTo>
                    <a:lnTo>
                      <a:pt x="142" y="1101"/>
                    </a:lnTo>
                    <a:lnTo>
                      <a:pt x="142" y="1127"/>
                    </a:lnTo>
                    <a:lnTo>
                      <a:pt x="140" y="1150"/>
                    </a:lnTo>
                    <a:lnTo>
                      <a:pt x="139" y="1155"/>
                    </a:lnTo>
                    <a:lnTo>
                      <a:pt x="137" y="1162"/>
                    </a:lnTo>
                    <a:lnTo>
                      <a:pt x="135" y="1167"/>
                    </a:lnTo>
                    <a:lnTo>
                      <a:pt x="132" y="1171"/>
                    </a:lnTo>
                    <a:lnTo>
                      <a:pt x="129" y="1176"/>
                    </a:lnTo>
                    <a:lnTo>
                      <a:pt x="126" y="1180"/>
                    </a:lnTo>
                    <a:lnTo>
                      <a:pt x="121" y="1184"/>
                    </a:lnTo>
                    <a:lnTo>
                      <a:pt x="116" y="1187"/>
                    </a:lnTo>
                    <a:lnTo>
                      <a:pt x="102" y="1195"/>
                    </a:lnTo>
                    <a:lnTo>
                      <a:pt x="89" y="1200"/>
                    </a:lnTo>
                    <a:lnTo>
                      <a:pt x="76" y="1204"/>
                    </a:lnTo>
                    <a:lnTo>
                      <a:pt x="63" y="1207"/>
                    </a:lnTo>
                    <a:lnTo>
                      <a:pt x="50" y="1210"/>
                    </a:lnTo>
                    <a:lnTo>
                      <a:pt x="37" y="1213"/>
                    </a:lnTo>
                    <a:lnTo>
                      <a:pt x="24" y="1218"/>
                    </a:lnTo>
                    <a:lnTo>
                      <a:pt x="10" y="1226"/>
                    </a:lnTo>
                    <a:lnTo>
                      <a:pt x="13" y="1231"/>
                    </a:lnTo>
                    <a:lnTo>
                      <a:pt x="15" y="1235"/>
                    </a:lnTo>
                    <a:lnTo>
                      <a:pt x="19" y="1239"/>
                    </a:lnTo>
                    <a:lnTo>
                      <a:pt x="22" y="1242"/>
                    </a:lnTo>
                    <a:lnTo>
                      <a:pt x="29" y="1249"/>
                    </a:lnTo>
                    <a:lnTo>
                      <a:pt x="36" y="1259"/>
                    </a:lnTo>
                    <a:lnTo>
                      <a:pt x="41" y="1266"/>
                    </a:lnTo>
                    <a:lnTo>
                      <a:pt x="44" y="1274"/>
                    </a:lnTo>
                    <a:lnTo>
                      <a:pt x="47" y="1281"/>
                    </a:lnTo>
                    <a:lnTo>
                      <a:pt x="49" y="1289"/>
                    </a:lnTo>
                    <a:lnTo>
                      <a:pt x="51" y="1303"/>
                    </a:lnTo>
                    <a:lnTo>
                      <a:pt x="52" y="1319"/>
                    </a:lnTo>
                    <a:lnTo>
                      <a:pt x="51" y="1350"/>
                    </a:lnTo>
                    <a:lnTo>
                      <a:pt x="50" y="1384"/>
                    </a:lnTo>
                    <a:lnTo>
                      <a:pt x="50" y="1416"/>
                    </a:lnTo>
                    <a:lnTo>
                      <a:pt x="47" y="1445"/>
                    </a:lnTo>
                    <a:lnTo>
                      <a:pt x="44" y="1473"/>
                    </a:lnTo>
                    <a:lnTo>
                      <a:pt x="38" y="1503"/>
                    </a:lnTo>
                    <a:lnTo>
                      <a:pt x="34" y="1519"/>
                    </a:lnTo>
                    <a:lnTo>
                      <a:pt x="29" y="1533"/>
                    </a:lnTo>
                    <a:lnTo>
                      <a:pt x="23" y="1546"/>
                    </a:lnTo>
                    <a:lnTo>
                      <a:pt x="17" y="1558"/>
                    </a:lnTo>
                    <a:lnTo>
                      <a:pt x="11" y="1570"/>
                    </a:lnTo>
                    <a:lnTo>
                      <a:pt x="5" y="1583"/>
                    </a:lnTo>
                    <a:lnTo>
                      <a:pt x="3" y="1589"/>
                    </a:lnTo>
                    <a:lnTo>
                      <a:pt x="2" y="1596"/>
                    </a:lnTo>
                    <a:lnTo>
                      <a:pt x="1" y="1605"/>
                    </a:lnTo>
                    <a:lnTo>
                      <a:pt x="0" y="1613"/>
                    </a:lnTo>
                    <a:lnTo>
                      <a:pt x="1" y="1621"/>
                    </a:lnTo>
                    <a:lnTo>
                      <a:pt x="2" y="1629"/>
                    </a:lnTo>
                    <a:lnTo>
                      <a:pt x="3" y="1637"/>
                    </a:lnTo>
                    <a:lnTo>
                      <a:pt x="5" y="1645"/>
                    </a:lnTo>
                    <a:lnTo>
                      <a:pt x="8" y="1651"/>
                    </a:lnTo>
                    <a:lnTo>
                      <a:pt x="11" y="1658"/>
                    </a:lnTo>
                    <a:lnTo>
                      <a:pt x="15" y="1665"/>
                    </a:lnTo>
                    <a:lnTo>
                      <a:pt x="19" y="1671"/>
                    </a:lnTo>
                    <a:lnTo>
                      <a:pt x="27" y="1682"/>
                    </a:lnTo>
                    <a:lnTo>
                      <a:pt x="37" y="1693"/>
                    </a:lnTo>
                    <a:lnTo>
                      <a:pt x="50" y="1703"/>
                    </a:lnTo>
                    <a:lnTo>
                      <a:pt x="62" y="1713"/>
                    </a:lnTo>
                    <a:lnTo>
                      <a:pt x="89" y="1732"/>
                    </a:lnTo>
                    <a:lnTo>
                      <a:pt x="116" y="1751"/>
                    </a:lnTo>
                    <a:lnTo>
                      <a:pt x="129" y="1762"/>
                    </a:lnTo>
                    <a:lnTo>
                      <a:pt x="143" y="1773"/>
                    </a:lnTo>
                    <a:lnTo>
                      <a:pt x="155" y="1785"/>
                    </a:lnTo>
                    <a:lnTo>
                      <a:pt x="165" y="1799"/>
                    </a:lnTo>
                    <a:lnTo>
                      <a:pt x="174" y="1813"/>
                    </a:lnTo>
                    <a:lnTo>
                      <a:pt x="181" y="1828"/>
                    </a:lnTo>
                    <a:lnTo>
                      <a:pt x="187" y="1841"/>
                    </a:lnTo>
                    <a:lnTo>
                      <a:pt x="192" y="1855"/>
                    </a:lnTo>
                    <a:lnTo>
                      <a:pt x="196" y="1868"/>
                    </a:lnTo>
                    <a:lnTo>
                      <a:pt x="198" y="1881"/>
                    </a:lnTo>
                    <a:lnTo>
                      <a:pt x="200" y="1897"/>
                    </a:lnTo>
                    <a:lnTo>
                      <a:pt x="201" y="1913"/>
                    </a:lnTo>
                    <a:lnTo>
                      <a:pt x="200" y="1921"/>
                    </a:lnTo>
                    <a:lnTo>
                      <a:pt x="197" y="1927"/>
                    </a:lnTo>
                    <a:lnTo>
                      <a:pt x="193" y="1932"/>
                    </a:lnTo>
                    <a:lnTo>
                      <a:pt x="188" y="1936"/>
                    </a:lnTo>
                    <a:lnTo>
                      <a:pt x="182" y="1940"/>
                    </a:lnTo>
                    <a:lnTo>
                      <a:pt x="176" y="1943"/>
                    </a:lnTo>
                    <a:lnTo>
                      <a:pt x="168" y="1945"/>
                    </a:lnTo>
                    <a:lnTo>
                      <a:pt x="161" y="1948"/>
                    </a:lnTo>
                    <a:lnTo>
                      <a:pt x="142" y="1954"/>
                    </a:lnTo>
                    <a:lnTo>
                      <a:pt x="122" y="1960"/>
                    </a:lnTo>
                    <a:lnTo>
                      <a:pt x="104" y="1967"/>
                    </a:lnTo>
                    <a:lnTo>
                      <a:pt x="88" y="1975"/>
                    </a:lnTo>
                    <a:lnTo>
                      <a:pt x="80" y="1981"/>
                    </a:lnTo>
                    <a:lnTo>
                      <a:pt x="74" y="1986"/>
                    </a:lnTo>
                    <a:lnTo>
                      <a:pt x="67" y="1992"/>
                    </a:lnTo>
                    <a:lnTo>
                      <a:pt x="62" y="1999"/>
                    </a:lnTo>
                    <a:lnTo>
                      <a:pt x="58" y="2006"/>
                    </a:lnTo>
                    <a:lnTo>
                      <a:pt x="55" y="2015"/>
                    </a:lnTo>
                    <a:lnTo>
                      <a:pt x="53" y="2023"/>
                    </a:lnTo>
                    <a:lnTo>
                      <a:pt x="53" y="2033"/>
                    </a:lnTo>
                    <a:lnTo>
                      <a:pt x="53" y="2036"/>
                    </a:lnTo>
                    <a:lnTo>
                      <a:pt x="54" y="2039"/>
                    </a:lnTo>
                    <a:lnTo>
                      <a:pt x="55" y="2041"/>
                    </a:lnTo>
                    <a:lnTo>
                      <a:pt x="56" y="2045"/>
                    </a:lnTo>
                    <a:lnTo>
                      <a:pt x="61" y="2049"/>
                    </a:lnTo>
                    <a:lnTo>
                      <a:pt x="66" y="2052"/>
                    </a:lnTo>
                    <a:lnTo>
                      <a:pt x="71" y="2055"/>
                    </a:lnTo>
                    <a:lnTo>
                      <a:pt x="78" y="2059"/>
                    </a:lnTo>
                    <a:lnTo>
                      <a:pt x="83" y="2063"/>
                    </a:lnTo>
                    <a:lnTo>
                      <a:pt x="88" y="2068"/>
                    </a:lnTo>
                    <a:lnTo>
                      <a:pt x="104" y="2089"/>
                    </a:lnTo>
                    <a:lnTo>
                      <a:pt x="120" y="2108"/>
                    </a:lnTo>
                    <a:lnTo>
                      <a:pt x="126" y="2118"/>
                    </a:lnTo>
                    <a:lnTo>
                      <a:pt x="131" y="2128"/>
                    </a:lnTo>
                    <a:lnTo>
                      <a:pt x="132" y="2133"/>
                    </a:lnTo>
                    <a:lnTo>
                      <a:pt x="134" y="2140"/>
                    </a:lnTo>
                    <a:lnTo>
                      <a:pt x="134" y="2146"/>
                    </a:lnTo>
                    <a:lnTo>
                      <a:pt x="135" y="2153"/>
                    </a:lnTo>
                    <a:lnTo>
                      <a:pt x="134" y="2166"/>
                    </a:lnTo>
                    <a:lnTo>
                      <a:pt x="133" y="2179"/>
                    </a:lnTo>
                    <a:lnTo>
                      <a:pt x="131" y="2190"/>
                    </a:lnTo>
                    <a:lnTo>
                      <a:pt x="129" y="2202"/>
                    </a:lnTo>
                    <a:lnTo>
                      <a:pt x="123" y="2223"/>
                    </a:lnTo>
                    <a:lnTo>
                      <a:pt x="116" y="2244"/>
                    </a:lnTo>
                    <a:lnTo>
                      <a:pt x="109" y="2265"/>
                    </a:lnTo>
                    <a:lnTo>
                      <a:pt x="102" y="2286"/>
                    </a:lnTo>
                    <a:lnTo>
                      <a:pt x="99" y="2297"/>
                    </a:lnTo>
                    <a:lnTo>
                      <a:pt x="98" y="2309"/>
                    </a:lnTo>
                    <a:lnTo>
                      <a:pt x="96" y="2321"/>
                    </a:lnTo>
                    <a:lnTo>
                      <a:pt x="96" y="2335"/>
                    </a:lnTo>
                    <a:lnTo>
                      <a:pt x="96" y="2342"/>
                    </a:lnTo>
                    <a:lnTo>
                      <a:pt x="97" y="2350"/>
                    </a:lnTo>
                    <a:lnTo>
                      <a:pt x="98" y="2357"/>
                    </a:lnTo>
                    <a:lnTo>
                      <a:pt x="99" y="2366"/>
                    </a:lnTo>
                    <a:lnTo>
                      <a:pt x="99" y="2366"/>
                    </a:lnTo>
                    <a:lnTo>
                      <a:pt x="117" y="2369"/>
                    </a:lnTo>
                    <a:lnTo>
                      <a:pt x="132" y="2372"/>
                    </a:lnTo>
                    <a:lnTo>
                      <a:pt x="147" y="2376"/>
                    </a:lnTo>
                    <a:lnTo>
                      <a:pt x="161" y="2380"/>
                    </a:lnTo>
                    <a:lnTo>
                      <a:pt x="176" y="2383"/>
                    </a:lnTo>
                    <a:lnTo>
                      <a:pt x="190" y="2386"/>
                    </a:lnTo>
                    <a:lnTo>
                      <a:pt x="206" y="2388"/>
                    </a:lnTo>
                    <a:lnTo>
                      <a:pt x="223" y="2389"/>
                    </a:lnTo>
                    <a:lnTo>
                      <a:pt x="345" y="2389"/>
                    </a:lnTo>
                    <a:lnTo>
                      <a:pt x="357" y="2391"/>
                    </a:lnTo>
                    <a:lnTo>
                      <a:pt x="370" y="2393"/>
                    </a:lnTo>
                    <a:lnTo>
                      <a:pt x="381" y="2396"/>
                    </a:lnTo>
                    <a:lnTo>
                      <a:pt x="391" y="2401"/>
                    </a:lnTo>
                    <a:lnTo>
                      <a:pt x="412" y="2410"/>
                    </a:lnTo>
                    <a:lnTo>
                      <a:pt x="437" y="2419"/>
                    </a:lnTo>
                    <a:lnTo>
                      <a:pt x="467" y="2429"/>
                    </a:lnTo>
                    <a:lnTo>
                      <a:pt x="495" y="2436"/>
                    </a:lnTo>
                    <a:lnTo>
                      <a:pt x="522" y="2443"/>
                    </a:lnTo>
                    <a:lnTo>
                      <a:pt x="548" y="2448"/>
                    </a:lnTo>
                    <a:lnTo>
                      <a:pt x="574" y="2452"/>
                    </a:lnTo>
                    <a:lnTo>
                      <a:pt x="601" y="2456"/>
                    </a:lnTo>
                    <a:lnTo>
                      <a:pt x="629" y="2457"/>
                    </a:lnTo>
                    <a:lnTo>
                      <a:pt x="660" y="2458"/>
                    </a:lnTo>
                    <a:lnTo>
                      <a:pt x="670" y="2458"/>
                    </a:lnTo>
                    <a:lnTo>
                      <a:pt x="677" y="2456"/>
                    </a:lnTo>
                    <a:lnTo>
                      <a:pt x="684" y="2454"/>
                    </a:lnTo>
                    <a:lnTo>
                      <a:pt x="691" y="2450"/>
                    </a:lnTo>
                    <a:lnTo>
                      <a:pt x="697" y="2447"/>
                    </a:lnTo>
                    <a:lnTo>
                      <a:pt x="704" y="2442"/>
                    </a:lnTo>
                    <a:lnTo>
                      <a:pt x="709" y="2438"/>
                    </a:lnTo>
                    <a:lnTo>
                      <a:pt x="714" y="2432"/>
                    </a:lnTo>
                    <a:lnTo>
                      <a:pt x="734" y="2407"/>
                    </a:lnTo>
                    <a:lnTo>
                      <a:pt x="755" y="2380"/>
                    </a:lnTo>
                    <a:lnTo>
                      <a:pt x="762" y="2368"/>
                    </a:lnTo>
                    <a:lnTo>
                      <a:pt x="769" y="2356"/>
                    </a:lnTo>
                    <a:lnTo>
                      <a:pt x="773" y="2352"/>
                    </a:lnTo>
                    <a:lnTo>
                      <a:pt x="777" y="2348"/>
                    </a:lnTo>
                    <a:lnTo>
                      <a:pt x="782" y="2345"/>
                    </a:lnTo>
                    <a:lnTo>
                      <a:pt x="788" y="2344"/>
                    </a:lnTo>
                    <a:lnTo>
                      <a:pt x="800" y="2345"/>
                    </a:lnTo>
                    <a:lnTo>
                      <a:pt x="811" y="2347"/>
                    </a:lnTo>
                    <a:lnTo>
                      <a:pt x="821" y="2351"/>
                    </a:lnTo>
                    <a:lnTo>
                      <a:pt x="830" y="2355"/>
                    </a:lnTo>
                    <a:lnTo>
                      <a:pt x="848" y="2368"/>
                    </a:lnTo>
                    <a:lnTo>
                      <a:pt x="865" y="2381"/>
                    </a:lnTo>
                    <a:lnTo>
                      <a:pt x="881" y="2395"/>
                    </a:lnTo>
                    <a:lnTo>
                      <a:pt x="899" y="2406"/>
                    </a:lnTo>
                    <a:lnTo>
                      <a:pt x="908" y="2411"/>
                    </a:lnTo>
                    <a:lnTo>
                      <a:pt x="918" y="2414"/>
                    </a:lnTo>
                    <a:lnTo>
                      <a:pt x="929" y="2416"/>
                    </a:lnTo>
                    <a:lnTo>
                      <a:pt x="941" y="2417"/>
                    </a:lnTo>
                    <a:lnTo>
                      <a:pt x="945" y="2417"/>
                    </a:lnTo>
                    <a:lnTo>
                      <a:pt x="948" y="2416"/>
                    </a:lnTo>
                    <a:lnTo>
                      <a:pt x="950" y="2415"/>
                    </a:lnTo>
                    <a:lnTo>
                      <a:pt x="953" y="2414"/>
                    </a:lnTo>
                    <a:lnTo>
                      <a:pt x="957" y="2410"/>
                    </a:lnTo>
                    <a:lnTo>
                      <a:pt x="960" y="2404"/>
                    </a:lnTo>
                    <a:lnTo>
                      <a:pt x="968" y="2393"/>
                    </a:lnTo>
                    <a:lnTo>
                      <a:pt x="974" y="2380"/>
                    </a:lnTo>
                    <a:lnTo>
                      <a:pt x="983" y="2368"/>
                    </a:lnTo>
                    <a:lnTo>
                      <a:pt x="991" y="2356"/>
                    </a:lnTo>
                    <a:lnTo>
                      <a:pt x="1001" y="2345"/>
                    </a:lnTo>
                    <a:lnTo>
                      <a:pt x="1009" y="2336"/>
                    </a:lnTo>
                    <a:lnTo>
                      <a:pt x="1014" y="2332"/>
                    </a:lnTo>
                    <a:lnTo>
                      <a:pt x="1019" y="2328"/>
                    </a:lnTo>
                    <a:lnTo>
                      <a:pt x="1024" y="2324"/>
                    </a:lnTo>
                    <a:lnTo>
                      <a:pt x="1031" y="2321"/>
                    </a:lnTo>
                    <a:lnTo>
                      <a:pt x="1036" y="2319"/>
                    </a:lnTo>
                    <a:lnTo>
                      <a:pt x="1043" y="2317"/>
                    </a:lnTo>
                    <a:lnTo>
                      <a:pt x="1049" y="2316"/>
                    </a:lnTo>
                    <a:lnTo>
                      <a:pt x="1056" y="2316"/>
                    </a:lnTo>
                    <a:lnTo>
                      <a:pt x="1063" y="2316"/>
                    </a:lnTo>
                    <a:lnTo>
                      <a:pt x="1068" y="2318"/>
                    </a:lnTo>
                    <a:lnTo>
                      <a:pt x="1072" y="2320"/>
                    </a:lnTo>
                    <a:lnTo>
                      <a:pt x="1075" y="2324"/>
                    </a:lnTo>
                    <a:lnTo>
                      <a:pt x="1077" y="2329"/>
                    </a:lnTo>
                    <a:lnTo>
                      <a:pt x="1079" y="2334"/>
                    </a:lnTo>
                    <a:lnTo>
                      <a:pt x="1080" y="2339"/>
                    </a:lnTo>
                    <a:lnTo>
                      <a:pt x="1081" y="2345"/>
                    </a:lnTo>
                    <a:lnTo>
                      <a:pt x="1082" y="2372"/>
                    </a:lnTo>
                    <a:lnTo>
                      <a:pt x="1083" y="2399"/>
                    </a:lnTo>
                    <a:lnTo>
                      <a:pt x="1084" y="2418"/>
                    </a:lnTo>
                    <a:lnTo>
                      <a:pt x="1085" y="2437"/>
                    </a:lnTo>
                    <a:lnTo>
                      <a:pt x="1087" y="2454"/>
                    </a:lnTo>
                    <a:lnTo>
                      <a:pt x="1090" y="2470"/>
                    </a:lnTo>
                    <a:lnTo>
                      <a:pt x="1094" y="2487"/>
                    </a:lnTo>
                    <a:lnTo>
                      <a:pt x="1101" y="2502"/>
                    </a:lnTo>
                    <a:lnTo>
                      <a:pt x="1108" y="2519"/>
                    </a:lnTo>
                    <a:lnTo>
                      <a:pt x="1118" y="2535"/>
                    </a:lnTo>
                    <a:lnTo>
                      <a:pt x="1125" y="2546"/>
                    </a:lnTo>
                    <a:lnTo>
                      <a:pt x="1133" y="2556"/>
                    </a:lnTo>
                    <a:lnTo>
                      <a:pt x="1141" y="2565"/>
                    </a:lnTo>
                    <a:lnTo>
                      <a:pt x="1148" y="2573"/>
                    </a:lnTo>
                    <a:lnTo>
                      <a:pt x="1165" y="2589"/>
                    </a:lnTo>
                    <a:lnTo>
                      <a:pt x="1181" y="2602"/>
                    </a:lnTo>
                    <a:lnTo>
                      <a:pt x="1217" y="2627"/>
                    </a:lnTo>
                    <a:lnTo>
                      <a:pt x="1257" y="2656"/>
                    </a:lnTo>
                    <a:lnTo>
                      <a:pt x="1277" y="2668"/>
                    </a:lnTo>
                    <a:lnTo>
                      <a:pt x="1298" y="2679"/>
                    </a:lnTo>
                    <a:lnTo>
                      <a:pt x="1306" y="2684"/>
                    </a:lnTo>
                    <a:lnTo>
                      <a:pt x="1312" y="2691"/>
                    </a:lnTo>
                    <a:lnTo>
                      <a:pt x="1315" y="2695"/>
                    </a:lnTo>
                    <a:lnTo>
                      <a:pt x="1317" y="2699"/>
                    </a:lnTo>
                    <a:lnTo>
                      <a:pt x="1318" y="2704"/>
                    </a:lnTo>
                    <a:lnTo>
                      <a:pt x="1318" y="2711"/>
                    </a:lnTo>
                    <a:lnTo>
                      <a:pt x="1318" y="2718"/>
                    </a:lnTo>
                    <a:lnTo>
                      <a:pt x="1317" y="2725"/>
                    </a:lnTo>
                    <a:lnTo>
                      <a:pt x="1316" y="2732"/>
                    </a:lnTo>
                    <a:lnTo>
                      <a:pt x="1314" y="2739"/>
                    </a:lnTo>
                    <a:lnTo>
                      <a:pt x="1310" y="2751"/>
                    </a:lnTo>
                    <a:lnTo>
                      <a:pt x="1304" y="2762"/>
                    </a:lnTo>
                    <a:lnTo>
                      <a:pt x="1299" y="2774"/>
                    </a:lnTo>
                    <a:lnTo>
                      <a:pt x="1295" y="2786"/>
                    </a:lnTo>
                    <a:lnTo>
                      <a:pt x="1292" y="2792"/>
                    </a:lnTo>
                    <a:lnTo>
                      <a:pt x="1291" y="2799"/>
                    </a:lnTo>
                    <a:lnTo>
                      <a:pt x="1290" y="2807"/>
                    </a:lnTo>
                    <a:lnTo>
                      <a:pt x="1290" y="2814"/>
                    </a:lnTo>
                    <a:lnTo>
                      <a:pt x="1290" y="2819"/>
                    </a:lnTo>
                    <a:lnTo>
                      <a:pt x="1291" y="2823"/>
                    </a:lnTo>
                    <a:lnTo>
                      <a:pt x="1294" y="2826"/>
                    </a:lnTo>
                    <a:lnTo>
                      <a:pt x="1295" y="2830"/>
                    </a:lnTo>
                    <a:lnTo>
                      <a:pt x="1300" y="2837"/>
                    </a:lnTo>
                    <a:lnTo>
                      <a:pt x="1306" y="2843"/>
                    </a:lnTo>
                    <a:lnTo>
                      <a:pt x="1311" y="2848"/>
                    </a:lnTo>
                    <a:lnTo>
                      <a:pt x="1316" y="2855"/>
                    </a:lnTo>
                    <a:lnTo>
                      <a:pt x="1318" y="2858"/>
                    </a:lnTo>
                    <a:lnTo>
                      <a:pt x="1319" y="2862"/>
                    </a:lnTo>
                    <a:lnTo>
                      <a:pt x="1320" y="2867"/>
                    </a:lnTo>
                    <a:lnTo>
                      <a:pt x="1320" y="2871"/>
                    </a:lnTo>
                    <a:lnTo>
                      <a:pt x="1337" y="2871"/>
                    </a:lnTo>
                    <a:lnTo>
                      <a:pt x="1342" y="2871"/>
                    </a:lnTo>
                    <a:lnTo>
                      <a:pt x="1346" y="2870"/>
                    </a:lnTo>
                    <a:lnTo>
                      <a:pt x="1350" y="2869"/>
                    </a:lnTo>
                    <a:lnTo>
                      <a:pt x="1354" y="2867"/>
                    </a:lnTo>
                    <a:lnTo>
                      <a:pt x="1362" y="2861"/>
                    </a:lnTo>
                    <a:lnTo>
                      <a:pt x="1368" y="2856"/>
                    </a:lnTo>
                    <a:lnTo>
                      <a:pt x="1374" y="2850"/>
                    </a:lnTo>
                    <a:lnTo>
                      <a:pt x="1380" y="2844"/>
                    </a:lnTo>
                    <a:lnTo>
                      <a:pt x="1388" y="2838"/>
                    </a:lnTo>
                    <a:lnTo>
                      <a:pt x="1397" y="2834"/>
                    </a:lnTo>
                    <a:lnTo>
                      <a:pt x="1414" y="2825"/>
                    </a:lnTo>
                    <a:lnTo>
                      <a:pt x="1432" y="2819"/>
                    </a:lnTo>
                    <a:lnTo>
                      <a:pt x="1448" y="2815"/>
                    </a:lnTo>
                    <a:lnTo>
                      <a:pt x="1464" y="2811"/>
                    </a:lnTo>
                    <a:lnTo>
                      <a:pt x="1480" y="2809"/>
                    </a:lnTo>
                    <a:lnTo>
                      <a:pt x="1498" y="2808"/>
                    </a:lnTo>
                    <a:lnTo>
                      <a:pt x="1515" y="2807"/>
                    </a:lnTo>
                    <a:lnTo>
                      <a:pt x="1536" y="2807"/>
                    </a:lnTo>
                    <a:lnTo>
                      <a:pt x="1546" y="2808"/>
                    </a:lnTo>
                    <a:lnTo>
                      <a:pt x="1556" y="2810"/>
                    </a:lnTo>
                    <a:lnTo>
                      <a:pt x="1567" y="2811"/>
                    </a:lnTo>
                    <a:lnTo>
                      <a:pt x="1578" y="2812"/>
                    </a:lnTo>
                    <a:lnTo>
                      <a:pt x="1599" y="2811"/>
                    </a:lnTo>
                    <a:lnTo>
                      <a:pt x="1616" y="2808"/>
                    </a:lnTo>
                    <a:lnTo>
                      <a:pt x="1635" y="2805"/>
                    </a:lnTo>
                    <a:lnTo>
                      <a:pt x="1655" y="2803"/>
                    </a:lnTo>
                    <a:lnTo>
                      <a:pt x="1655" y="2803"/>
                    </a:lnTo>
                    <a:close/>
                  </a:path>
                </a:pathLst>
              </a:custGeom>
              <a:solidFill>
                <a:srgbClr val="65AC1E">
                  <a:alpha val="69804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sz="500" dirty="0">
                  <a:solidFill>
                    <a:srgbClr val="000000"/>
                  </a:solidFill>
                </a:endParaRPr>
              </a:p>
              <a:p>
                <a:pPr algn="ctr"/>
                <a:endParaRPr lang="de-DE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Chernigiv">
                <a:extLst>
                  <a:ext uri="{FF2B5EF4-FFF2-40B4-BE49-F238E27FC236}">
                    <a16:creationId xmlns:a16="http://schemas.microsoft.com/office/drawing/2014/main" id="{DB794EFF-B0FA-4DB8-B61A-FAA7AE8FEC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8625" y="1735059"/>
                <a:ext cx="1164651" cy="1240777"/>
              </a:xfrm>
              <a:custGeom>
                <a:avLst/>
                <a:gdLst>
                  <a:gd name="T0" fmla="*/ 17 w 2349"/>
                  <a:gd name="T1" fmla="*/ 1707 h 2642"/>
                  <a:gd name="T2" fmla="*/ 127 w 2349"/>
                  <a:gd name="T3" fmla="*/ 1831 h 2642"/>
                  <a:gd name="T4" fmla="*/ 168 w 2349"/>
                  <a:gd name="T5" fmla="*/ 1930 h 2642"/>
                  <a:gd name="T6" fmla="*/ 244 w 2349"/>
                  <a:gd name="T7" fmla="*/ 2073 h 2642"/>
                  <a:gd name="T8" fmla="*/ 389 w 2349"/>
                  <a:gd name="T9" fmla="*/ 2059 h 2642"/>
                  <a:gd name="T10" fmla="*/ 533 w 2349"/>
                  <a:gd name="T11" fmla="*/ 2090 h 2642"/>
                  <a:gd name="T12" fmla="*/ 590 w 2349"/>
                  <a:gd name="T13" fmla="*/ 2295 h 2642"/>
                  <a:gd name="T14" fmla="*/ 674 w 2349"/>
                  <a:gd name="T15" fmla="*/ 2392 h 2642"/>
                  <a:gd name="T16" fmla="*/ 903 w 2349"/>
                  <a:gd name="T17" fmla="*/ 2392 h 2642"/>
                  <a:gd name="T18" fmla="*/ 1089 w 2349"/>
                  <a:gd name="T19" fmla="*/ 2284 h 2642"/>
                  <a:gd name="T20" fmla="*/ 1170 w 2349"/>
                  <a:gd name="T21" fmla="*/ 2335 h 2642"/>
                  <a:gd name="T22" fmla="*/ 1311 w 2349"/>
                  <a:gd name="T23" fmla="*/ 2392 h 2642"/>
                  <a:gd name="T24" fmla="*/ 1268 w 2349"/>
                  <a:gd name="T25" fmla="*/ 2454 h 2642"/>
                  <a:gd name="T26" fmla="*/ 1243 w 2349"/>
                  <a:gd name="T27" fmla="*/ 2522 h 2642"/>
                  <a:gd name="T28" fmla="*/ 1350 w 2349"/>
                  <a:gd name="T29" fmla="*/ 2641 h 2642"/>
                  <a:gd name="T30" fmla="*/ 1511 w 2349"/>
                  <a:gd name="T31" fmla="*/ 2553 h 2642"/>
                  <a:gd name="T32" fmla="*/ 1671 w 2349"/>
                  <a:gd name="T33" fmla="*/ 2626 h 2642"/>
                  <a:gd name="T34" fmla="*/ 1960 w 2349"/>
                  <a:gd name="T35" fmla="*/ 2546 h 2642"/>
                  <a:gd name="T36" fmla="*/ 2094 w 2349"/>
                  <a:gd name="T37" fmla="*/ 2406 h 2642"/>
                  <a:gd name="T38" fmla="*/ 2134 w 2349"/>
                  <a:gd name="T39" fmla="*/ 2218 h 2642"/>
                  <a:gd name="T40" fmla="*/ 2099 w 2349"/>
                  <a:gd name="T41" fmla="*/ 2063 h 2642"/>
                  <a:gd name="T42" fmla="*/ 2069 w 2349"/>
                  <a:gd name="T43" fmla="*/ 2001 h 2642"/>
                  <a:gd name="T44" fmla="*/ 2199 w 2349"/>
                  <a:gd name="T45" fmla="*/ 1931 h 2642"/>
                  <a:gd name="T46" fmla="*/ 2166 w 2349"/>
                  <a:gd name="T47" fmla="*/ 1780 h 2642"/>
                  <a:gd name="T48" fmla="*/ 2016 w 2349"/>
                  <a:gd name="T49" fmla="*/ 1640 h 2642"/>
                  <a:gd name="T50" fmla="*/ 2045 w 2349"/>
                  <a:gd name="T51" fmla="*/ 1514 h 2642"/>
                  <a:gd name="T52" fmla="*/ 2047 w 2349"/>
                  <a:gd name="T53" fmla="*/ 1254 h 2642"/>
                  <a:gd name="T54" fmla="*/ 2113 w 2349"/>
                  <a:gd name="T55" fmla="*/ 1190 h 2642"/>
                  <a:gd name="T56" fmla="*/ 2159 w 2349"/>
                  <a:gd name="T57" fmla="*/ 1040 h 2642"/>
                  <a:gd name="T58" fmla="*/ 2099 w 2349"/>
                  <a:gd name="T59" fmla="*/ 865 h 2642"/>
                  <a:gd name="T60" fmla="*/ 2056 w 2349"/>
                  <a:gd name="T61" fmla="*/ 755 h 2642"/>
                  <a:gd name="T62" fmla="*/ 2122 w 2349"/>
                  <a:gd name="T63" fmla="*/ 619 h 2642"/>
                  <a:gd name="T64" fmla="*/ 2210 w 2349"/>
                  <a:gd name="T65" fmla="*/ 581 h 2642"/>
                  <a:gd name="T66" fmla="*/ 2302 w 2349"/>
                  <a:gd name="T67" fmla="*/ 615 h 2642"/>
                  <a:gd name="T68" fmla="*/ 2345 w 2349"/>
                  <a:gd name="T69" fmla="*/ 566 h 2642"/>
                  <a:gd name="T70" fmla="*/ 2257 w 2349"/>
                  <a:gd name="T71" fmla="*/ 401 h 2642"/>
                  <a:gd name="T72" fmla="*/ 2299 w 2349"/>
                  <a:gd name="T73" fmla="*/ 120 h 2642"/>
                  <a:gd name="T74" fmla="*/ 2245 w 2349"/>
                  <a:gd name="T75" fmla="*/ 7 h 2642"/>
                  <a:gd name="T76" fmla="*/ 2081 w 2349"/>
                  <a:gd name="T77" fmla="*/ 24 h 2642"/>
                  <a:gd name="T78" fmla="*/ 2040 w 2349"/>
                  <a:gd name="T79" fmla="*/ 87 h 2642"/>
                  <a:gd name="T80" fmla="*/ 1903 w 2349"/>
                  <a:gd name="T81" fmla="*/ 147 h 2642"/>
                  <a:gd name="T82" fmla="*/ 1658 w 2349"/>
                  <a:gd name="T83" fmla="*/ 93 h 2642"/>
                  <a:gd name="T84" fmla="*/ 1503 w 2349"/>
                  <a:gd name="T85" fmla="*/ 98 h 2642"/>
                  <a:gd name="T86" fmla="*/ 1438 w 2349"/>
                  <a:gd name="T87" fmla="*/ 182 h 2642"/>
                  <a:gd name="T88" fmla="*/ 1396 w 2349"/>
                  <a:gd name="T89" fmla="*/ 292 h 2642"/>
                  <a:gd name="T90" fmla="*/ 1349 w 2349"/>
                  <a:gd name="T91" fmla="*/ 413 h 2642"/>
                  <a:gd name="T92" fmla="*/ 1218 w 2349"/>
                  <a:gd name="T93" fmla="*/ 417 h 2642"/>
                  <a:gd name="T94" fmla="*/ 1142 w 2349"/>
                  <a:gd name="T95" fmla="*/ 450 h 2642"/>
                  <a:gd name="T96" fmla="*/ 1064 w 2349"/>
                  <a:gd name="T97" fmla="*/ 367 h 2642"/>
                  <a:gd name="T98" fmla="*/ 863 w 2349"/>
                  <a:gd name="T99" fmla="*/ 379 h 2642"/>
                  <a:gd name="T100" fmla="*/ 638 w 2349"/>
                  <a:gd name="T101" fmla="*/ 406 h 2642"/>
                  <a:gd name="T102" fmla="*/ 475 w 2349"/>
                  <a:gd name="T103" fmla="*/ 402 h 2642"/>
                  <a:gd name="T104" fmla="*/ 358 w 2349"/>
                  <a:gd name="T105" fmla="*/ 454 h 2642"/>
                  <a:gd name="T106" fmla="*/ 295 w 2349"/>
                  <a:gd name="T107" fmla="*/ 486 h 2642"/>
                  <a:gd name="T108" fmla="*/ 217 w 2349"/>
                  <a:gd name="T109" fmla="*/ 606 h 2642"/>
                  <a:gd name="T110" fmla="*/ 173 w 2349"/>
                  <a:gd name="T111" fmla="*/ 663 h 2642"/>
                  <a:gd name="T112" fmla="*/ 111 w 2349"/>
                  <a:gd name="T113" fmla="*/ 784 h 2642"/>
                  <a:gd name="T114" fmla="*/ 99 w 2349"/>
                  <a:gd name="T115" fmla="*/ 881 h 2642"/>
                  <a:gd name="T116" fmla="*/ 43 w 2349"/>
                  <a:gd name="T117" fmla="*/ 912 h 2642"/>
                  <a:gd name="T118" fmla="*/ 52 w 2349"/>
                  <a:gd name="T119" fmla="*/ 1132 h 2642"/>
                  <a:gd name="T120" fmla="*/ 63 w 2349"/>
                  <a:gd name="T121" fmla="*/ 1249 h 2642"/>
                  <a:gd name="T122" fmla="*/ 47 w 2349"/>
                  <a:gd name="T123" fmla="*/ 1443 h 2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349" h="2642">
                    <a:moveTo>
                      <a:pt x="39" y="1465"/>
                    </a:moveTo>
                    <a:lnTo>
                      <a:pt x="34" y="1494"/>
                    </a:lnTo>
                    <a:lnTo>
                      <a:pt x="30" y="1520"/>
                    </a:lnTo>
                    <a:lnTo>
                      <a:pt x="26" y="1545"/>
                    </a:lnTo>
                    <a:lnTo>
                      <a:pt x="22" y="1569"/>
                    </a:lnTo>
                    <a:lnTo>
                      <a:pt x="18" y="1592"/>
                    </a:lnTo>
                    <a:lnTo>
                      <a:pt x="15" y="1616"/>
                    </a:lnTo>
                    <a:lnTo>
                      <a:pt x="13" y="1643"/>
                    </a:lnTo>
                    <a:lnTo>
                      <a:pt x="13" y="1671"/>
                    </a:lnTo>
                    <a:lnTo>
                      <a:pt x="13" y="1681"/>
                    </a:lnTo>
                    <a:lnTo>
                      <a:pt x="14" y="1690"/>
                    </a:lnTo>
                    <a:lnTo>
                      <a:pt x="15" y="1699"/>
                    </a:lnTo>
                    <a:lnTo>
                      <a:pt x="17" y="1707"/>
                    </a:lnTo>
                    <a:lnTo>
                      <a:pt x="20" y="1714"/>
                    </a:lnTo>
                    <a:lnTo>
                      <a:pt x="23" y="1722"/>
                    </a:lnTo>
                    <a:lnTo>
                      <a:pt x="26" y="1729"/>
                    </a:lnTo>
                    <a:lnTo>
                      <a:pt x="30" y="1736"/>
                    </a:lnTo>
                    <a:lnTo>
                      <a:pt x="40" y="1749"/>
                    </a:lnTo>
                    <a:lnTo>
                      <a:pt x="51" y="1763"/>
                    </a:lnTo>
                    <a:lnTo>
                      <a:pt x="63" y="1775"/>
                    </a:lnTo>
                    <a:lnTo>
                      <a:pt x="76" y="1790"/>
                    </a:lnTo>
                    <a:lnTo>
                      <a:pt x="93" y="1803"/>
                    </a:lnTo>
                    <a:lnTo>
                      <a:pt x="111" y="1814"/>
                    </a:lnTo>
                    <a:lnTo>
                      <a:pt x="119" y="1820"/>
                    </a:lnTo>
                    <a:lnTo>
                      <a:pt x="125" y="1827"/>
                    </a:lnTo>
                    <a:lnTo>
                      <a:pt x="127" y="1831"/>
                    </a:lnTo>
                    <a:lnTo>
                      <a:pt x="129" y="1835"/>
                    </a:lnTo>
                    <a:lnTo>
                      <a:pt x="130" y="1840"/>
                    </a:lnTo>
                    <a:lnTo>
                      <a:pt x="130" y="1845"/>
                    </a:lnTo>
                    <a:lnTo>
                      <a:pt x="130" y="1896"/>
                    </a:lnTo>
                    <a:lnTo>
                      <a:pt x="130" y="1900"/>
                    </a:lnTo>
                    <a:lnTo>
                      <a:pt x="131" y="1904"/>
                    </a:lnTo>
                    <a:lnTo>
                      <a:pt x="132" y="1907"/>
                    </a:lnTo>
                    <a:lnTo>
                      <a:pt x="134" y="1912"/>
                    </a:lnTo>
                    <a:lnTo>
                      <a:pt x="140" y="1918"/>
                    </a:lnTo>
                    <a:lnTo>
                      <a:pt x="146" y="1922"/>
                    </a:lnTo>
                    <a:lnTo>
                      <a:pt x="153" y="1926"/>
                    </a:lnTo>
                    <a:lnTo>
                      <a:pt x="160" y="1929"/>
                    </a:lnTo>
                    <a:lnTo>
                      <a:pt x="168" y="1930"/>
                    </a:lnTo>
                    <a:lnTo>
                      <a:pt x="178" y="1931"/>
                    </a:lnTo>
                    <a:lnTo>
                      <a:pt x="179" y="1960"/>
                    </a:lnTo>
                    <a:lnTo>
                      <a:pt x="180" y="1987"/>
                    </a:lnTo>
                    <a:lnTo>
                      <a:pt x="181" y="1999"/>
                    </a:lnTo>
                    <a:lnTo>
                      <a:pt x="183" y="2012"/>
                    </a:lnTo>
                    <a:lnTo>
                      <a:pt x="186" y="2025"/>
                    </a:lnTo>
                    <a:lnTo>
                      <a:pt x="192" y="2040"/>
                    </a:lnTo>
                    <a:lnTo>
                      <a:pt x="195" y="2047"/>
                    </a:lnTo>
                    <a:lnTo>
                      <a:pt x="200" y="2053"/>
                    </a:lnTo>
                    <a:lnTo>
                      <a:pt x="207" y="2057"/>
                    </a:lnTo>
                    <a:lnTo>
                      <a:pt x="213" y="2060"/>
                    </a:lnTo>
                    <a:lnTo>
                      <a:pt x="227" y="2066"/>
                    </a:lnTo>
                    <a:lnTo>
                      <a:pt x="244" y="2073"/>
                    </a:lnTo>
                    <a:lnTo>
                      <a:pt x="256" y="2080"/>
                    </a:lnTo>
                    <a:lnTo>
                      <a:pt x="266" y="2087"/>
                    </a:lnTo>
                    <a:lnTo>
                      <a:pt x="272" y="2091"/>
                    </a:lnTo>
                    <a:lnTo>
                      <a:pt x="278" y="2093"/>
                    </a:lnTo>
                    <a:lnTo>
                      <a:pt x="284" y="2095"/>
                    </a:lnTo>
                    <a:lnTo>
                      <a:pt x="291" y="2096"/>
                    </a:lnTo>
                    <a:lnTo>
                      <a:pt x="303" y="2095"/>
                    </a:lnTo>
                    <a:lnTo>
                      <a:pt x="314" y="2094"/>
                    </a:lnTo>
                    <a:lnTo>
                      <a:pt x="324" y="2091"/>
                    </a:lnTo>
                    <a:lnTo>
                      <a:pt x="335" y="2088"/>
                    </a:lnTo>
                    <a:lnTo>
                      <a:pt x="353" y="2079"/>
                    </a:lnTo>
                    <a:lnTo>
                      <a:pt x="371" y="2070"/>
                    </a:lnTo>
                    <a:lnTo>
                      <a:pt x="389" y="2059"/>
                    </a:lnTo>
                    <a:lnTo>
                      <a:pt x="408" y="2050"/>
                    </a:lnTo>
                    <a:lnTo>
                      <a:pt x="417" y="2047"/>
                    </a:lnTo>
                    <a:lnTo>
                      <a:pt x="428" y="2045"/>
                    </a:lnTo>
                    <a:lnTo>
                      <a:pt x="439" y="2043"/>
                    </a:lnTo>
                    <a:lnTo>
                      <a:pt x="451" y="2042"/>
                    </a:lnTo>
                    <a:lnTo>
                      <a:pt x="460" y="2043"/>
                    </a:lnTo>
                    <a:lnTo>
                      <a:pt x="469" y="2045"/>
                    </a:lnTo>
                    <a:lnTo>
                      <a:pt x="476" y="2049"/>
                    </a:lnTo>
                    <a:lnTo>
                      <a:pt x="483" y="2053"/>
                    </a:lnTo>
                    <a:lnTo>
                      <a:pt x="496" y="2063"/>
                    </a:lnTo>
                    <a:lnTo>
                      <a:pt x="512" y="2075"/>
                    </a:lnTo>
                    <a:lnTo>
                      <a:pt x="523" y="2083"/>
                    </a:lnTo>
                    <a:lnTo>
                      <a:pt x="533" y="2090"/>
                    </a:lnTo>
                    <a:lnTo>
                      <a:pt x="542" y="2098"/>
                    </a:lnTo>
                    <a:lnTo>
                      <a:pt x="550" y="2107"/>
                    </a:lnTo>
                    <a:lnTo>
                      <a:pt x="557" y="2116"/>
                    </a:lnTo>
                    <a:lnTo>
                      <a:pt x="563" y="2125"/>
                    </a:lnTo>
                    <a:lnTo>
                      <a:pt x="569" y="2136"/>
                    </a:lnTo>
                    <a:lnTo>
                      <a:pt x="574" y="2145"/>
                    </a:lnTo>
                    <a:lnTo>
                      <a:pt x="578" y="2156"/>
                    </a:lnTo>
                    <a:lnTo>
                      <a:pt x="581" y="2167"/>
                    </a:lnTo>
                    <a:lnTo>
                      <a:pt x="584" y="2178"/>
                    </a:lnTo>
                    <a:lnTo>
                      <a:pt x="586" y="2189"/>
                    </a:lnTo>
                    <a:lnTo>
                      <a:pt x="589" y="2214"/>
                    </a:lnTo>
                    <a:lnTo>
                      <a:pt x="590" y="2240"/>
                    </a:lnTo>
                    <a:lnTo>
                      <a:pt x="590" y="2295"/>
                    </a:lnTo>
                    <a:lnTo>
                      <a:pt x="589" y="2306"/>
                    </a:lnTo>
                    <a:lnTo>
                      <a:pt x="586" y="2315"/>
                    </a:lnTo>
                    <a:lnTo>
                      <a:pt x="584" y="2324"/>
                    </a:lnTo>
                    <a:lnTo>
                      <a:pt x="583" y="2335"/>
                    </a:lnTo>
                    <a:lnTo>
                      <a:pt x="583" y="2340"/>
                    </a:lnTo>
                    <a:lnTo>
                      <a:pt x="584" y="2344"/>
                    </a:lnTo>
                    <a:lnTo>
                      <a:pt x="586" y="2348"/>
                    </a:lnTo>
                    <a:lnTo>
                      <a:pt x="588" y="2352"/>
                    </a:lnTo>
                    <a:lnTo>
                      <a:pt x="594" y="2359"/>
                    </a:lnTo>
                    <a:lnTo>
                      <a:pt x="603" y="2364"/>
                    </a:lnTo>
                    <a:lnTo>
                      <a:pt x="621" y="2372"/>
                    </a:lnTo>
                    <a:lnTo>
                      <a:pt x="642" y="2379"/>
                    </a:lnTo>
                    <a:lnTo>
                      <a:pt x="674" y="2392"/>
                    </a:lnTo>
                    <a:lnTo>
                      <a:pt x="703" y="2401"/>
                    </a:lnTo>
                    <a:lnTo>
                      <a:pt x="716" y="2405"/>
                    </a:lnTo>
                    <a:lnTo>
                      <a:pt x="732" y="2408"/>
                    </a:lnTo>
                    <a:lnTo>
                      <a:pt x="747" y="2409"/>
                    </a:lnTo>
                    <a:lnTo>
                      <a:pt x="765" y="2410"/>
                    </a:lnTo>
                    <a:lnTo>
                      <a:pt x="784" y="2410"/>
                    </a:lnTo>
                    <a:lnTo>
                      <a:pt x="803" y="2409"/>
                    </a:lnTo>
                    <a:lnTo>
                      <a:pt x="821" y="2407"/>
                    </a:lnTo>
                    <a:lnTo>
                      <a:pt x="839" y="2405"/>
                    </a:lnTo>
                    <a:lnTo>
                      <a:pt x="855" y="2403"/>
                    </a:lnTo>
                    <a:lnTo>
                      <a:pt x="871" y="2399"/>
                    </a:lnTo>
                    <a:lnTo>
                      <a:pt x="886" y="2396"/>
                    </a:lnTo>
                    <a:lnTo>
                      <a:pt x="903" y="2392"/>
                    </a:lnTo>
                    <a:lnTo>
                      <a:pt x="933" y="2381"/>
                    </a:lnTo>
                    <a:lnTo>
                      <a:pt x="965" y="2369"/>
                    </a:lnTo>
                    <a:lnTo>
                      <a:pt x="998" y="2356"/>
                    </a:lnTo>
                    <a:lnTo>
                      <a:pt x="1034" y="2339"/>
                    </a:lnTo>
                    <a:lnTo>
                      <a:pt x="1039" y="2336"/>
                    </a:lnTo>
                    <a:lnTo>
                      <a:pt x="1045" y="2333"/>
                    </a:lnTo>
                    <a:lnTo>
                      <a:pt x="1049" y="2329"/>
                    </a:lnTo>
                    <a:lnTo>
                      <a:pt x="1053" y="2324"/>
                    </a:lnTo>
                    <a:lnTo>
                      <a:pt x="1062" y="2314"/>
                    </a:lnTo>
                    <a:lnTo>
                      <a:pt x="1069" y="2304"/>
                    </a:lnTo>
                    <a:lnTo>
                      <a:pt x="1076" y="2295"/>
                    </a:lnTo>
                    <a:lnTo>
                      <a:pt x="1084" y="2287"/>
                    </a:lnTo>
                    <a:lnTo>
                      <a:pt x="1089" y="2284"/>
                    </a:lnTo>
                    <a:lnTo>
                      <a:pt x="1095" y="2282"/>
                    </a:lnTo>
                    <a:lnTo>
                      <a:pt x="1100" y="2281"/>
                    </a:lnTo>
                    <a:lnTo>
                      <a:pt x="1106" y="2280"/>
                    </a:lnTo>
                    <a:lnTo>
                      <a:pt x="1120" y="2280"/>
                    </a:lnTo>
                    <a:lnTo>
                      <a:pt x="1133" y="2282"/>
                    </a:lnTo>
                    <a:lnTo>
                      <a:pt x="1139" y="2283"/>
                    </a:lnTo>
                    <a:lnTo>
                      <a:pt x="1144" y="2286"/>
                    </a:lnTo>
                    <a:lnTo>
                      <a:pt x="1149" y="2289"/>
                    </a:lnTo>
                    <a:lnTo>
                      <a:pt x="1153" y="2295"/>
                    </a:lnTo>
                    <a:lnTo>
                      <a:pt x="1160" y="2304"/>
                    </a:lnTo>
                    <a:lnTo>
                      <a:pt x="1164" y="2314"/>
                    </a:lnTo>
                    <a:lnTo>
                      <a:pt x="1167" y="2325"/>
                    </a:lnTo>
                    <a:lnTo>
                      <a:pt x="1170" y="2335"/>
                    </a:lnTo>
                    <a:lnTo>
                      <a:pt x="1173" y="2345"/>
                    </a:lnTo>
                    <a:lnTo>
                      <a:pt x="1178" y="2354"/>
                    </a:lnTo>
                    <a:lnTo>
                      <a:pt x="1180" y="2357"/>
                    </a:lnTo>
                    <a:lnTo>
                      <a:pt x="1184" y="2360"/>
                    </a:lnTo>
                    <a:lnTo>
                      <a:pt x="1188" y="2362"/>
                    </a:lnTo>
                    <a:lnTo>
                      <a:pt x="1194" y="2363"/>
                    </a:lnTo>
                    <a:lnTo>
                      <a:pt x="1235" y="2368"/>
                    </a:lnTo>
                    <a:lnTo>
                      <a:pt x="1275" y="2373"/>
                    </a:lnTo>
                    <a:lnTo>
                      <a:pt x="1284" y="2375"/>
                    </a:lnTo>
                    <a:lnTo>
                      <a:pt x="1293" y="2378"/>
                    </a:lnTo>
                    <a:lnTo>
                      <a:pt x="1300" y="2381"/>
                    </a:lnTo>
                    <a:lnTo>
                      <a:pt x="1306" y="2387"/>
                    </a:lnTo>
                    <a:lnTo>
                      <a:pt x="1311" y="2392"/>
                    </a:lnTo>
                    <a:lnTo>
                      <a:pt x="1315" y="2398"/>
                    </a:lnTo>
                    <a:lnTo>
                      <a:pt x="1317" y="2406"/>
                    </a:lnTo>
                    <a:lnTo>
                      <a:pt x="1318" y="2414"/>
                    </a:lnTo>
                    <a:lnTo>
                      <a:pt x="1318" y="2420"/>
                    </a:lnTo>
                    <a:lnTo>
                      <a:pt x="1317" y="2424"/>
                    </a:lnTo>
                    <a:lnTo>
                      <a:pt x="1316" y="2428"/>
                    </a:lnTo>
                    <a:lnTo>
                      <a:pt x="1314" y="2432"/>
                    </a:lnTo>
                    <a:lnTo>
                      <a:pt x="1309" y="2437"/>
                    </a:lnTo>
                    <a:lnTo>
                      <a:pt x="1303" y="2442"/>
                    </a:lnTo>
                    <a:lnTo>
                      <a:pt x="1296" y="2446"/>
                    </a:lnTo>
                    <a:lnTo>
                      <a:pt x="1286" y="2449"/>
                    </a:lnTo>
                    <a:lnTo>
                      <a:pt x="1277" y="2452"/>
                    </a:lnTo>
                    <a:lnTo>
                      <a:pt x="1268" y="2454"/>
                    </a:lnTo>
                    <a:lnTo>
                      <a:pt x="1247" y="2458"/>
                    </a:lnTo>
                    <a:lnTo>
                      <a:pt x="1228" y="2463"/>
                    </a:lnTo>
                    <a:lnTo>
                      <a:pt x="1219" y="2467"/>
                    </a:lnTo>
                    <a:lnTo>
                      <a:pt x="1212" y="2473"/>
                    </a:lnTo>
                    <a:lnTo>
                      <a:pt x="1208" y="2476"/>
                    </a:lnTo>
                    <a:lnTo>
                      <a:pt x="1206" y="2480"/>
                    </a:lnTo>
                    <a:lnTo>
                      <a:pt x="1203" y="2484"/>
                    </a:lnTo>
                    <a:lnTo>
                      <a:pt x="1201" y="2488"/>
                    </a:lnTo>
                    <a:lnTo>
                      <a:pt x="1209" y="2493"/>
                    </a:lnTo>
                    <a:lnTo>
                      <a:pt x="1217" y="2499"/>
                    </a:lnTo>
                    <a:lnTo>
                      <a:pt x="1224" y="2504"/>
                    </a:lnTo>
                    <a:lnTo>
                      <a:pt x="1231" y="2510"/>
                    </a:lnTo>
                    <a:lnTo>
                      <a:pt x="1243" y="2522"/>
                    </a:lnTo>
                    <a:lnTo>
                      <a:pt x="1253" y="2535"/>
                    </a:lnTo>
                    <a:lnTo>
                      <a:pt x="1273" y="2563"/>
                    </a:lnTo>
                    <a:lnTo>
                      <a:pt x="1295" y="2594"/>
                    </a:lnTo>
                    <a:lnTo>
                      <a:pt x="1301" y="2601"/>
                    </a:lnTo>
                    <a:lnTo>
                      <a:pt x="1307" y="2607"/>
                    </a:lnTo>
                    <a:lnTo>
                      <a:pt x="1313" y="2612"/>
                    </a:lnTo>
                    <a:lnTo>
                      <a:pt x="1320" y="2616"/>
                    </a:lnTo>
                    <a:lnTo>
                      <a:pt x="1327" y="2621"/>
                    </a:lnTo>
                    <a:lnTo>
                      <a:pt x="1332" y="2625"/>
                    </a:lnTo>
                    <a:lnTo>
                      <a:pt x="1337" y="2631"/>
                    </a:lnTo>
                    <a:lnTo>
                      <a:pt x="1342" y="2640"/>
                    </a:lnTo>
                    <a:lnTo>
                      <a:pt x="1342" y="2640"/>
                    </a:lnTo>
                    <a:lnTo>
                      <a:pt x="1350" y="2641"/>
                    </a:lnTo>
                    <a:lnTo>
                      <a:pt x="1359" y="2642"/>
                    </a:lnTo>
                    <a:lnTo>
                      <a:pt x="1365" y="2641"/>
                    </a:lnTo>
                    <a:lnTo>
                      <a:pt x="1371" y="2639"/>
                    </a:lnTo>
                    <a:lnTo>
                      <a:pt x="1376" y="2635"/>
                    </a:lnTo>
                    <a:lnTo>
                      <a:pt x="1381" y="2631"/>
                    </a:lnTo>
                    <a:lnTo>
                      <a:pt x="1391" y="2622"/>
                    </a:lnTo>
                    <a:lnTo>
                      <a:pt x="1401" y="2613"/>
                    </a:lnTo>
                    <a:lnTo>
                      <a:pt x="1433" y="2591"/>
                    </a:lnTo>
                    <a:lnTo>
                      <a:pt x="1463" y="2571"/>
                    </a:lnTo>
                    <a:lnTo>
                      <a:pt x="1477" y="2563"/>
                    </a:lnTo>
                    <a:lnTo>
                      <a:pt x="1494" y="2557"/>
                    </a:lnTo>
                    <a:lnTo>
                      <a:pt x="1502" y="2555"/>
                    </a:lnTo>
                    <a:lnTo>
                      <a:pt x="1511" y="2553"/>
                    </a:lnTo>
                    <a:lnTo>
                      <a:pt x="1520" y="2552"/>
                    </a:lnTo>
                    <a:lnTo>
                      <a:pt x="1531" y="2552"/>
                    </a:lnTo>
                    <a:lnTo>
                      <a:pt x="1542" y="2553"/>
                    </a:lnTo>
                    <a:lnTo>
                      <a:pt x="1553" y="2555"/>
                    </a:lnTo>
                    <a:lnTo>
                      <a:pt x="1564" y="2559"/>
                    </a:lnTo>
                    <a:lnTo>
                      <a:pt x="1573" y="2563"/>
                    </a:lnTo>
                    <a:lnTo>
                      <a:pt x="1591" y="2576"/>
                    </a:lnTo>
                    <a:lnTo>
                      <a:pt x="1607" y="2590"/>
                    </a:lnTo>
                    <a:lnTo>
                      <a:pt x="1624" y="2603"/>
                    </a:lnTo>
                    <a:lnTo>
                      <a:pt x="1640" y="2616"/>
                    </a:lnTo>
                    <a:lnTo>
                      <a:pt x="1650" y="2620"/>
                    </a:lnTo>
                    <a:lnTo>
                      <a:pt x="1660" y="2624"/>
                    </a:lnTo>
                    <a:lnTo>
                      <a:pt x="1671" y="2626"/>
                    </a:lnTo>
                    <a:lnTo>
                      <a:pt x="1682" y="2627"/>
                    </a:lnTo>
                    <a:lnTo>
                      <a:pt x="1698" y="2627"/>
                    </a:lnTo>
                    <a:lnTo>
                      <a:pt x="1712" y="2626"/>
                    </a:lnTo>
                    <a:lnTo>
                      <a:pt x="1727" y="2625"/>
                    </a:lnTo>
                    <a:lnTo>
                      <a:pt x="1740" y="2623"/>
                    </a:lnTo>
                    <a:lnTo>
                      <a:pt x="1765" y="2617"/>
                    </a:lnTo>
                    <a:lnTo>
                      <a:pt x="1790" y="2610"/>
                    </a:lnTo>
                    <a:lnTo>
                      <a:pt x="1813" y="2601"/>
                    </a:lnTo>
                    <a:lnTo>
                      <a:pt x="1838" y="2591"/>
                    </a:lnTo>
                    <a:lnTo>
                      <a:pt x="1864" y="2581"/>
                    </a:lnTo>
                    <a:lnTo>
                      <a:pt x="1892" y="2568"/>
                    </a:lnTo>
                    <a:lnTo>
                      <a:pt x="1927" y="2556"/>
                    </a:lnTo>
                    <a:lnTo>
                      <a:pt x="1960" y="2546"/>
                    </a:lnTo>
                    <a:lnTo>
                      <a:pt x="1975" y="2540"/>
                    </a:lnTo>
                    <a:lnTo>
                      <a:pt x="1992" y="2533"/>
                    </a:lnTo>
                    <a:lnTo>
                      <a:pt x="2007" y="2525"/>
                    </a:lnTo>
                    <a:lnTo>
                      <a:pt x="2024" y="2514"/>
                    </a:lnTo>
                    <a:lnTo>
                      <a:pt x="2033" y="2506"/>
                    </a:lnTo>
                    <a:lnTo>
                      <a:pt x="2042" y="2498"/>
                    </a:lnTo>
                    <a:lnTo>
                      <a:pt x="2051" y="2490"/>
                    </a:lnTo>
                    <a:lnTo>
                      <a:pt x="2057" y="2482"/>
                    </a:lnTo>
                    <a:lnTo>
                      <a:pt x="2063" y="2473"/>
                    </a:lnTo>
                    <a:lnTo>
                      <a:pt x="2069" y="2464"/>
                    </a:lnTo>
                    <a:lnTo>
                      <a:pt x="2073" y="2455"/>
                    </a:lnTo>
                    <a:lnTo>
                      <a:pt x="2078" y="2446"/>
                    </a:lnTo>
                    <a:lnTo>
                      <a:pt x="2094" y="2406"/>
                    </a:lnTo>
                    <a:lnTo>
                      <a:pt x="2110" y="2361"/>
                    </a:lnTo>
                    <a:lnTo>
                      <a:pt x="2110" y="2361"/>
                    </a:lnTo>
                    <a:lnTo>
                      <a:pt x="2109" y="2352"/>
                    </a:lnTo>
                    <a:lnTo>
                      <a:pt x="2108" y="2345"/>
                    </a:lnTo>
                    <a:lnTo>
                      <a:pt x="2107" y="2337"/>
                    </a:lnTo>
                    <a:lnTo>
                      <a:pt x="2107" y="2330"/>
                    </a:lnTo>
                    <a:lnTo>
                      <a:pt x="2107" y="2316"/>
                    </a:lnTo>
                    <a:lnTo>
                      <a:pt x="2109" y="2304"/>
                    </a:lnTo>
                    <a:lnTo>
                      <a:pt x="2110" y="2292"/>
                    </a:lnTo>
                    <a:lnTo>
                      <a:pt x="2113" y="2281"/>
                    </a:lnTo>
                    <a:lnTo>
                      <a:pt x="2120" y="2260"/>
                    </a:lnTo>
                    <a:lnTo>
                      <a:pt x="2127" y="2239"/>
                    </a:lnTo>
                    <a:lnTo>
                      <a:pt x="2134" y="2218"/>
                    </a:lnTo>
                    <a:lnTo>
                      <a:pt x="2140" y="2197"/>
                    </a:lnTo>
                    <a:lnTo>
                      <a:pt x="2142" y="2185"/>
                    </a:lnTo>
                    <a:lnTo>
                      <a:pt x="2144" y="2174"/>
                    </a:lnTo>
                    <a:lnTo>
                      <a:pt x="2145" y="2161"/>
                    </a:lnTo>
                    <a:lnTo>
                      <a:pt x="2146" y="2148"/>
                    </a:lnTo>
                    <a:lnTo>
                      <a:pt x="2145" y="2141"/>
                    </a:lnTo>
                    <a:lnTo>
                      <a:pt x="2145" y="2135"/>
                    </a:lnTo>
                    <a:lnTo>
                      <a:pt x="2143" y="2128"/>
                    </a:lnTo>
                    <a:lnTo>
                      <a:pt x="2142" y="2123"/>
                    </a:lnTo>
                    <a:lnTo>
                      <a:pt x="2137" y="2113"/>
                    </a:lnTo>
                    <a:lnTo>
                      <a:pt x="2131" y="2103"/>
                    </a:lnTo>
                    <a:lnTo>
                      <a:pt x="2115" y="2084"/>
                    </a:lnTo>
                    <a:lnTo>
                      <a:pt x="2099" y="2063"/>
                    </a:lnTo>
                    <a:lnTo>
                      <a:pt x="2094" y="2058"/>
                    </a:lnTo>
                    <a:lnTo>
                      <a:pt x="2089" y="2054"/>
                    </a:lnTo>
                    <a:lnTo>
                      <a:pt x="2082" y="2050"/>
                    </a:lnTo>
                    <a:lnTo>
                      <a:pt x="2077" y="2047"/>
                    </a:lnTo>
                    <a:lnTo>
                      <a:pt x="2072" y="2044"/>
                    </a:lnTo>
                    <a:lnTo>
                      <a:pt x="2067" y="2040"/>
                    </a:lnTo>
                    <a:lnTo>
                      <a:pt x="2066" y="2036"/>
                    </a:lnTo>
                    <a:lnTo>
                      <a:pt x="2065" y="2034"/>
                    </a:lnTo>
                    <a:lnTo>
                      <a:pt x="2064" y="2031"/>
                    </a:lnTo>
                    <a:lnTo>
                      <a:pt x="2064" y="2028"/>
                    </a:lnTo>
                    <a:lnTo>
                      <a:pt x="2064" y="2018"/>
                    </a:lnTo>
                    <a:lnTo>
                      <a:pt x="2066" y="2010"/>
                    </a:lnTo>
                    <a:lnTo>
                      <a:pt x="2069" y="2001"/>
                    </a:lnTo>
                    <a:lnTo>
                      <a:pt x="2073" y="1994"/>
                    </a:lnTo>
                    <a:lnTo>
                      <a:pt x="2078" y="1987"/>
                    </a:lnTo>
                    <a:lnTo>
                      <a:pt x="2085" y="1981"/>
                    </a:lnTo>
                    <a:lnTo>
                      <a:pt x="2091" y="1976"/>
                    </a:lnTo>
                    <a:lnTo>
                      <a:pt x="2099" y="1970"/>
                    </a:lnTo>
                    <a:lnTo>
                      <a:pt x="2115" y="1962"/>
                    </a:lnTo>
                    <a:lnTo>
                      <a:pt x="2133" y="1955"/>
                    </a:lnTo>
                    <a:lnTo>
                      <a:pt x="2153" y="1949"/>
                    </a:lnTo>
                    <a:lnTo>
                      <a:pt x="2172" y="1943"/>
                    </a:lnTo>
                    <a:lnTo>
                      <a:pt x="2179" y="1940"/>
                    </a:lnTo>
                    <a:lnTo>
                      <a:pt x="2187" y="1938"/>
                    </a:lnTo>
                    <a:lnTo>
                      <a:pt x="2193" y="1935"/>
                    </a:lnTo>
                    <a:lnTo>
                      <a:pt x="2199" y="1931"/>
                    </a:lnTo>
                    <a:lnTo>
                      <a:pt x="2204" y="1927"/>
                    </a:lnTo>
                    <a:lnTo>
                      <a:pt x="2208" y="1922"/>
                    </a:lnTo>
                    <a:lnTo>
                      <a:pt x="2211" y="1916"/>
                    </a:lnTo>
                    <a:lnTo>
                      <a:pt x="2212" y="1908"/>
                    </a:lnTo>
                    <a:lnTo>
                      <a:pt x="2211" y="1892"/>
                    </a:lnTo>
                    <a:lnTo>
                      <a:pt x="2209" y="1876"/>
                    </a:lnTo>
                    <a:lnTo>
                      <a:pt x="2207" y="1863"/>
                    </a:lnTo>
                    <a:lnTo>
                      <a:pt x="2203" y="1850"/>
                    </a:lnTo>
                    <a:lnTo>
                      <a:pt x="2198" y="1836"/>
                    </a:lnTo>
                    <a:lnTo>
                      <a:pt x="2192" y="1823"/>
                    </a:lnTo>
                    <a:lnTo>
                      <a:pt x="2185" y="1808"/>
                    </a:lnTo>
                    <a:lnTo>
                      <a:pt x="2176" y="1794"/>
                    </a:lnTo>
                    <a:lnTo>
                      <a:pt x="2166" y="1780"/>
                    </a:lnTo>
                    <a:lnTo>
                      <a:pt x="2154" y="1768"/>
                    </a:lnTo>
                    <a:lnTo>
                      <a:pt x="2140" y="1757"/>
                    </a:lnTo>
                    <a:lnTo>
                      <a:pt x="2127" y="1746"/>
                    </a:lnTo>
                    <a:lnTo>
                      <a:pt x="2100" y="1727"/>
                    </a:lnTo>
                    <a:lnTo>
                      <a:pt x="2073" y="1708"/>
                    </a:lnTo>
                    <a:lnTo>
                      <a:pt x="2061" y="1698"/>
                    </a:lnTo>
                    <a:lnTo>
                      <a:pt x="2048" y="1688"/>
                    </a:lnTo>
                    <a:lnTo>
                      <a:pt x="2038" y="1677"/>
                    </a:lnTo>
                    <a:lnTo>
                      <a:pt x="2030" y="1666"/>
                    </a:lnTo>
                    <a:lnTo>
                      <a:pt x="2026" y="1660"/>
                    </a:lnTo>
                    <a:lnTo>
                      <a:pt x="2022" y="1653"/>
                    </a:lnTo>
                    <a:lnTo>
                      <a:pt x="2019" y="1646"/>
                    </a:lnTo>
                    <a:lnTo>
                      <a:pt x="2016" y="1640"/>
                    </a:lnTo>
                    <a:lnTo>
                      <a:pt x="2014" y="1632"/>
                    </a:lnTo>
                    <a:lnTo>
                      <a:pt x="2013" y="1624"/>
                    </a:lnTo>
                    <a:lnTo>
                      <a:pt x="2012" y="1616"/>
                    </a:lnTo>
                    <a:lnTo>
                      <a:pt x="2011" y="1608"/>
                    </a:lnTo>
                    <a:lnTo>
                      <a:pt x="2012" y="1600"/>
                    </a:lnTo>
                    <a:lnTo>
                      <a:pt x="2013" y="1591"/>
                    </a:lnTo>
                    <a:lnTo>
                      <a:pt x="2014" y="1584"/>
                    </a:lnTo>
                    <a:lnTo>
                      <a:pt x="2016" y="1578"/>
                    </a:lnTo>
                    <a:lnTo>
                      <a:pt x="2022" y="1565"/>
                    </a:lnTo>
                    <a:lnTo>
                      <a:pt x="2028" y="1553"/>
                    </a:lnTo>
                    <a:lnTo>
                      <a:pt x="2034" y="1541"/>
                    </a:lnTo>
                    <a:lnTo>
                      <a:pt x="2040" y="1528"/>
                    </a:lnTo>
                    <a:lnTo>
                      <a:pt x="2045" y="1514"/>
                    </a:lnTo>
                    <a:lnTo>
                      <a:pt x="2049" y="1498"/>
                    </a:lnTo>
                    <a:lnTo>
                      <a:pt x="2055" y="1468"/>
                    </a:lnTo>
                    <a:lnTo>
                      <a:pt x="2058" y="1440"/>
                    </a:lnTo>
                    <a:lnTo>
                      <a:pt x="2061" y="1411"/>
                    </a:lnTo>
                    <a:lnTo>
                      <a:pt x="2061" y="1379"/>
                    </a:lnTo>
                    <a:lnTo>
                      <a:pt x="2062" y="1345"/>
                    </a:lnTo>
                    <a:lnTo>
                      <a:pt x="2063" y="1314"/>
                    </a:lnTo>
                    <a:lnTo>
                      <a:pt x="2062" y="1298"/>
                    </a:lnTo>
                    <a:lnTo>
                      <a:pt x="2060" y="1284"/>
                    </a:lnTo>
                    <a:lnTo>
                      <a:pt x="2058" y="1276"/>
                    </a:lnTo>
                    <a:lnTo>
                      <a:pt x="2055" y="1269"/>
                    </a:lnTo>
                    <a:lnTo>
                      <a:pt x="2052" y="1261"/>
                    </a:lnTo>
                    <a:lnTo>
                      <a:pt x="2047" y="1254"/>
                    </a:lnTo>
                    <a:lnTo>
                      <a:pt x="2040" y="1244"/>
                    </a:lnTo>
                    <a:lnTo>
                      <a:pt x="2033" y="1237"/>
                    </a:lnTo>
                    <a:lnTo>
                      <a:pt x="2030" y="1234"/>
                    </a:lnTo>
                    <a:lnTo>
                      <a:pt x="2026" y="1230"/>
                    </a:lnTo>
                    <a:lnTo>
                      <a:pt x="2024" y="1226"/>
                    </a:lnTo>
                    <a:lnTo>
                      <a:pt x="2021" y="1221"/>
                    </a:lnTo>
                    <a:lnTo>
                      <a:pt x="2035" y="1213"/>
                    </a:lnTo>
                    <a:lnTo>
                      <a:pt x="2048" y="1208"/>
                    </a:lnTo>
                    <a:lnTo>
                      <a:pt x="2061" y="1205"/>
                    </a:lnTo>
                    <a:lnTo>
                      <a:pt x="2074" y="1202"/>
                    </a:lnTo>
                    <a:lnTo>
                      <a:pt x="2087" y="1199"/>
                    </a:lnTo>
                    <a:lnTo>
                      <a:pt x="2100" y="1195"/>
                    </a:lnTo>
                    <a:lnTo>
                      <a:pt x="2113" y="1190"/>
                    </a:lnTo>
                    <a:lnTo>
                      <a:pt x="2127" y="1182"/>
                    </a:lnTo>
                    <a:lnTo>
                      <a:pt x="2132" y="1179"/>
                    </a:lnTo>
                    <a:lnTo>
                      <a:pt x="2137" y="1175"/>
                    </a:lnTo>
                    <a:lnTo>
                      <a:pt x="2140" y="1171"/>
                    </a:lnTo>
                    <a:lnTo>
                      <a:pt x="2143" y="1166"/>
                    </a:lnTo>
                    <a:lnTo>
                      <a:pt x="2146" y="1162"/>
                    </a:lnTo>
                    <a:lnTo>
                      <a:pt x="2148" y="1157"/>
                    </a:lnTo>
                    <a:lnTo>
                      <a:pt x="2150" y="1150"/>
                    </a:lnTo>
                    <a:lnTo>
                      <a:pt x="2151" y="1145"/>
                    </a:lnTo>
                    <a:lnTo>
                      <a:pt x="2153" y="1122"/>
                    </a:lnTo>
                    <a:lnTo>
                      <a:pt x="2153" y="1096"/>
                    </a:lnTo>
                    <a:lnTo>
                      <a:pt x="2156" y="1066"/>
                    </a:lnTo>
                    <a:lnTo>
                      <a:pt x="2159" y="1040"/>
                    </a:lnTo>
                    <a:lnTo>
                      <a:pt x="2162" y="1014"/>
                    </a:lnTo>
                    <a:lnTo>
                      <a:pt x="2163" y="985"/>
                    </a:lnTo>
                    <a:lnTo>
                      <a:pt x="2163" y="932"/>
                    </a:lnTo>
                    <a:lnTo>
                      <a:pt x="2162" y="924"/>
                    </a:lnTo>
                    <a:lnTo>
                      <a:pt x="2160" y="918"/>
                    </a:lnTo>
                    <a:lnTo>
                      <a:pt x="2157" y="913"/>
                    </a:lnTo>
                    <a:lnTo>
                      <a:pt x="2154" y="908"/>
                    </a:lnTo>
                    <a:lnTo>
                      <a:pt x="2143" y="899"/>
                    </a:lnTo>
                    <a:lnTo>
                      <a:pt x="2132" y="891"/>
                    </a:lnTo>
                    <a:lnTo>
                      <a:pt x="2120" y="884"/>
                    </a:lnTo>
                    <a:lnTo>
                      <a:pt x="2108" y="875"/>
                    </a:lnTo>
                    <a:lnTo>
                      <a:pt x="2103" y="871"/>
                    </a:lnTo>
                    <a:lnTo>
                      <a:pt x="2099" y="865"/>
                    </a:lnTo>
                    <a:lnTo>
                      <a:pt x="2095" y="859"/>
                    </a:lnTo>
                    <a:lnTo>
                      <a:pt x="2092" y="852"/>
                    </a:lnTo>
                    <a:lnTo>
                      <a:pt x="2086" y="825"/>
                    </a:lnTo>
                    <a:lnTo>
                      <a:pt x="2081" y="798"/>
                    </a:lnTo>
                    <a:lnTo>
                      <a:pt x="2079" y="792"/>
                    </a:lnTo>
                    <a:lnTo>
                      <a:pt x="2077" y="786"/>
                    </a:lnTo>
                    <a:lnTo>
                      <a:pt x="2075" y="781"/>
                    </a:lnTo>
                    <a:lnTo>
                      <a:pt x="2072" y="777"/>
                    </a:lnTo>
                    <a:lnTo>
                      <a:pt x="2068" y="774"/>
                    </a:lnTo>
                    <a:lnTo>
                      <a:pt x="2064" y="770"/>
                    </a:lnTo>
                    <a:lnTo>
                      <a:pt x="2058" y="768"/>
                    </a:lnTo>
                    <a:lnTo>
                      <a:pt x="2052" y="767"/>
                    </a:lnTo>
                    <a:lnTo>
                      <a:pt x="2056" y="755"/>
                    </a:lnTo>
                    <a:lnTo>
                      <a:pt x="2060" y="744"/>
                    </a:lnTo>
                    <a:lnTo>
                      <a:pt x="2065" y="733"/>
                    </a:lnTo>
                    <a:lnTo>
                      <a:pt x="2071" y="724"/>
                    </a:lnTo>
                    <a:lnTo>
                      <a:pt x="2082" y="704"/>
                    </a:lnTo>
                    <a:lnTo>
                      <a:pt x="2094" y="683"/>
                    </a:lnTo>
                    <a:lnTo>
                      <a:pt x="2099" y="666"/>
                    </a:lnTo>
                    <a:lnTo>
                      <a:pt x="2101" y="652"/>
                    </a:lnTo>
                    <a:lnTo>
                      <a:pt x="2102" y="644"/>
                    </a:lnTo>
                    <a:lnTo>
                      <a:pt x="2104" y="638"/>
                    </a:lnTo>
                    <a:lnTo>
                      <a:pt x="2108" y="631"/>
                    </a:lnTo>
                    <a:lnTo>
                      <a:pt x="2113" y="626"/>
                    </a:lnTo>
                    <a:lnTo>
                      <a:pt x="2118" y="622"/>
                    </a:lnTo>
                    <a:lnTo>
                      <a:pt x="2122" y="619"/>
                    </a:lnTo>
                    <a:lnTo>
                      <a:pt x="2126" y="617"/>
                    </a:lnTo>
                    <a:lnTo>
                      <a:pt x="2131" y="615"/>
                    </a:lnTo>
                    <a:lnTo>
                      <a:pt x="2140" y="611"/>
                    </a:lnTo>
                    <a:lnTo>
                      <a:pt x="2150" y="610"/>
                    </a:lnTo>
                    <a:lnTo>
                      <a:pt x="2160" y="609"/>
                    </a:lnTo>
                    <a:lnTo>
                      <a:pt x="2170" y="607"/>
                    </a:lnTo>
                    <a:lnTo>
                      <a:pt x="2180" y="605"/>
                    </a:lnTo>
                    <a:lnTo>
                      <a:pt x="2191" y="602"/>
                    </a:lnTo>
                    <a:lnTo>
                      <a:pt x="2196" y="599"/>
                    </a:lnTo>
                    <a:lnTo>
                      <a:pt x="2200" y="595"/>
                    </a:lnTo>
                    <a:lnTo>
                      <a:pt x="2203" y="591"/>
                    </a:lnTo>
                    <a:lnTo>
                      <a:pt x="2206" y="586"/>
                    </a:lnTo>
                    <a:lnTo>
                      <a:pt x="2210" y="581"/>
                    </a:lnTo>
                    <a:lnTo>
                      <a:pt x="2213" y="577"/>
                    </a:lnTo>
                    <a:lnTo>
                      <a:pt x="2219" y="574"/>
                    </a:lnTo>
                    <a:lnTo>
                      <a:pt x="2224" y="573"/>
                    </a:lnTo>
                    <a:lnTo>
                      <a:pt x="2231" y="574"/>
                    </a:lnTo>
                    <a:lnTo>
                      <a:pt x="2237" y="575"/>
                    </a:lnTo>
                    <a:lnTo>
                      <a:pt x="2243" y="577"/>
                    </a:lnTo>
                    <a:lnTo>
                      <a:pt x="2250" y="580"/>
                    </a:lnTo>
                    <a:lnTo>
                      <a:pt x="2260" y="587"/>
                    </a:lnTo>
                    <a:lnTo>
                      <a:pt x="2270" y="595"/>
                    </a:lnTo>
                    <a:lnTo>
                      <a:pt x="2279" y="602"/>
                    </a:lnTo>
                    <a:lnTo>
                      <a:pt x="2291" y="609"/>
                    </a:lnTo>
                    <a:lnTo>
                      <a:pt x="2296" y="612"/>
                    </a:lnTo>
                    <a:lnTo>
                      <a:pt x="2302" y="615"/>
                    </a:lnTo>
                    <a:lnTo>
                      <a:pt x="2308" y="616"/>
                    </a:lnTo>
                    <a:lnTo>
                      <a:pt x="2316" y="616"/>
                    </a:lnTo>
                    <a:lnTo>
                      <a:pt x="2322" y="616"/>
                    </a:lnTo>
                    <a:lnTo>
                      <a:pt x="2328" y="615"/>
                    </a:lnTo>
                    <a:lnTo>
                      <a:pt x="2333" y="612"/>
                    </a:lnTo>
                    <a:lnTo>
                      <a:pt x="2338" y="610"/>
                    </a:lnTo>
                    <a:lnTo>
                      <a:pt x="2342" y="607"/>
                    </a:lnTo>
                    <a:lnTo>
                      <a:pt x="2345" y="603"/>
                    </a:lnTo>
                    <a:lnTo>
                      <a:pt x="2348" y="598"/>
                    </a:lnTo>
                    <a:lnTo>
                      <a:pt x="2349" y="593"/>
                    </a:lnTo>
                    <a:lnTo>
                      <a:pt x="2349" y="584"/>
                    </a:lnTo>
                    <a:lnTo>
                      <a:pt x="2348" y="574"/>
                    </a:lnTo>
                    <a:lnTo>
                      <a:pt x="2345" y="566"/>
                    </a:lnTo>
                    <a:lnTo>
                      <a:pt x="2343" y="559"/>
                    </a:lnTo>
                    <a:lnTo>
                      <a:pt x="2336" y="544"/>
                    </a:lnTo>
                    <a:lnTo>
                      <a:pt x="2328" y="531"/>
                    </a:lnTo>
                    <a:lnTo>
                      <a:pt x="2308" y="504"/>
                    </a:lnTo>
                    <a:lnTo>
                      <a:pt x="2288" y="474"/>
                    </a:lnTo>
                    <a:lnTo>
                      <a:pt x="2279" y="460"/>
                    </a:lnTo>
                    <a:lnTo>
                      <a:pt x="2272" y="446"/>
                    </a:lnTo>
                    <a:lnTo>
                      <a:pt x="2268" y="441"/>
                    </a:lnTo>
                    <a:lnTo>
                      <a:pt x="2263" y="436"/>
                    </a:lnTo>
                    <a:lnTo>
                      <a:pt x="2258" y="432"/>
                    </a:lnTo>
                    <a:lnTo>
                      <a:pt x="2250" y="430"/>
                    </a:lnTo>
                    <a:lnTo>
                      <a:pt x="2254" y="415"/>
                    </a:lnTo>
                    <a:lnTo>
                      <a:pt x="2257" y="401"/>
                    </a:lnTo>
                    <a:lnTo>
                      <a:pt x="2256" y="396"/>
                    </a:lnTo>
                    <a:lnTo>
                      <a:pt x="2255" y="391"/>
                    </a:lnTo>
                    <a:lnTo>
                      <a:pt x="2252" y="387"/>
                    </a:lnTo>
                    <a:lnTo>
                      <a:pt x="2250" y="382"/>
                    </a:lnTo>
                    <a:lnTo>
                      <a:pt x="2275" y="378"/>
                    </a:lnTo>
                    <a:lnTo>
                      <a:pt x="2298" y="374"/>
                    </a:lnTo>
                    <a:lnTo>
                      <a:pt x="2321" y="372"/>
                    </a:lnTo>
                    <a:lnTo>
                      <a:pt x="2346" y="371"/>
                    </a:lnTo>
                    <a:lnTo>
                      <a:pt x="2346" y="351"/>
                    </a:lnTo>
                    <a:lnTo>
                      <a:pt x="2292" y="149"/>
                    </a:lnTo>
                    <a:lnTo>
                      <a:pt x="2294" y="138"/>
                    </a:lnTo>
                    <a:lnTo>
                      <a:pt x="2296" y="129"/>
                    </a:lnTo>
                    <a:lnTo>
                      <a:pt x="2299" y="120"/>
                    </a:lnTo>
                    <a:lnTo>
                      <a:pt x="2302" y="111"/>
                    </a:lnTo>
                    <a:lnTo>
                      <a:pt x="2308" y="95"/>
                    </a:lnTo>
                    <a:lnTo>
                      <a:pt x="2317" y="80"/>
                    </a:lnTo>
                    <a:lnTo>
                      <a:pt x="2325" y="64"/>
                    </a:lnTo>
                    <a:lnTo>
                      <a:pt x="2333" y="49"/>
                    </a:lnTo>
                    <a:lnTo>
                      <a:pt x="2341" y="31"/>
                    </a:lnTo>
                    <a:lnTo>
                      <a:pt x="2348" y="13"/>
                    </a:lnTo>
                    <a:lnTo>
                      <a:pt x="2348" y="13"/>
                    </a:lnTo>
                    <a:lnTo>
                      <a:pt x="2337" y="9"/>
                    </a:lnTo>
                    <a:lnTo>
                      <a:pt x="2327" y="7"/>
                    </a:lnTo>
                    <a:lnTo>
                      <a:pt x="2316" y="7"/>
                    </a:lnTo>
                    <a:lnTo>
                      <a:pt x="2303" y="7"/>
                    </a:lnTo>
                    <a:lnTo>
                      <a:pt x="2245" y="7"/>
                    </a:lnTo>
                    <a:lnTo>
                      <a:pt x="2225" y="5"/>
                    </a:lnTo>
                    <a:lnTo>
                      <a:pt x="2207" y="2"/>
                    </a:lnTo>
                    <a:lnTo>
                      <a:pt x="2190" y="1"/>
                    </a:lnTo>
                    <a:lnTo>
                      <a:pt x="2169" y="0"/>
                    </a:lnTo>
                    <a:lnTo>
                      <a:pt x="2158" y="0"/>
                    </a:lnTo>
                    <a:lnTo>
                      <a:pt x="2146" y="0"/>
                    </a:lnTo>
                    <a:lnTo>
                      <a:pt x="2135" y="2"/>
                    </a:lnTo>
                    <a:lnTo>
                      <a:pt x="2125" y="3"/>
                    </a:lnTo>
                    <a:lnTo>
                      <a:pt x="2115" y="6"/>
                    </a:lnTo>
                    <a:lnTo>
                      <a:pt x="2105" y="9"/>
                    </a:lnTo>
                    <a:lnTo>
                      <a:pt x="2095" y="15"/>
                    </a:lnTo>
                    <a:lnTo>
                      <a:pt x="2085" y="21"/>
                    </a:lnTo>
                    <a:lnTo>
                      <a:pt x="2081" y="24"/>
                    </a:lnTo>
                    <a:lnTo>
                      <a:pt x="2078" y="27"/>
                    </a:lnTo>
                    <a:lnTo>
                      <a:pt x="2076" y="30"/>
                    </a:lnTo>
                    <a:lnTo>
                      <a:pt x="2074" y="34"/>
                    </a:lnTo>
                    <a:lnTo>
                      <a:pt x="2072" y="41"/>
                    </a:lnTo>
                    <a:lnTo>
                      <a:pt x="2070" y="50"/>
                    </a:lnTo>
                    <a:lnTo>
                      <a:pt x="2068" y="57"/>
                    </a:lnTo>
                    <a:lnTo>
                      <a:pt x="2066" y="65"/>
                    </a:lnTo>
                    <a:lnTo>
                      <a:pt x="2065" y="68"/>
                    </a:lnTo>
                    <a:lnTo>
                      <a:pt x="2063" y="72"/>
                    </a:lnTo>
                    <a:lnTo>
                      <a:pt x="2060" y="76"/>
                    </a:lnTo>
                    <a:lnTo>
                      <a:pt x="2057" y="78"/>
                    </a:lnTo>
                    <a:lnTo>
                      <a:pt x="2048" y="83"/>
                    </a:lnTo>
                    <a:lnTo>
                      <a:pt x="2040" y="87"/>
                    </a:lnTo>
                    <a:lnTo>
                      <a:pt x="2031" y="89"/>
                    </a:lnTo>
                    <a:lnTo>
                      <a:pt x="2023" y="90"/>
                    </a:lnTo>
                    <a:lnTo>
                      <a:pt x="2005" y="91"/>
                    </a:lnTo>
                    <a:lnTo>
                      <a:pt x="1986" y="94"/>
                    </a:lnTo>
                    <a:lnTo>
                      <a:pt x="1977" y="97"/>
                    </a:lnTo>
                    <a:lnTo>
                      <a:pt x="1970" y="100"/>
                    </a:lnTo>
                    <a:lnTo>
                      <a:pt x="1963" y="104"/>
                    </a:lnTo>
                    <a:lnTo>
                      <a:pt x="1957" y="109"/>
                    </a:lnTo>
                    <a:lnTo>
                      <a:pt x="1944" y="118"/>
                    </a:lnTo>
                    <a:lnTo>
                      <a:pt x="1933" y="127"/>
                    </a:lnTo>
                    <a:lnTo>
                      <a:pt x="1922" y="136"/>
                    </a:lnTo>
                    <a:lnTo>
                      <a:pt x="1909" y="144"/>
                    </a:lnTo>
                    <a:lnTo>
                      <a:pt x="1903" y="147"/>
                    </a:lnTo>
                    <a:lnTo>
                      <a:pt x="1896" y="149"/>
                    </a:lnTo>
                    <a:lnTo>
                      <a:pt x="1889" y="151"/>
                    </a:lnTo>
                    <a:lnTo>
                      <a:pt x="1879" y="151"/>
                    </a:lnTo>
                    <a:lnTo>
                      <a:pt x="1854" y="151"/>
                    </a:lnTo>
                    <a:lnTo>
                      <a:pt x="1829" y="149"/>
                    </a:lnTo>
                    <a:lnTo>
                      <a:pt x="1806" y="146"/>
                    </a:lnTo>
                    <a:lnTo>
                      <a:pt x="1784" y="142"/>
                    </a:lnTo>
                    <a:lnTo>
                      <a:pt x="1763" y="136"/>
                    </a:lnTo>
                    <a:lnTo>
                      <a:pt x="1741" y="129"/>
                    </a:lnTo>
                    <a:lnTo>
                      <a:pt x="1718" y="121"/>
                    </a:lnTo>
                    <a:lnTo>
                      <a:pt x="1694" y="111"/>
                    </a:lnTo>
                    <a:lnTo>
                      <a:pt x="1674" y="102"/>
                    </a:lnTo>
                    <a:lnTo>
                      <a:pt x="1658" y="93"/>
                    </a:lnTo>
                    <a:lnTo>
                      <a:pt x="1648" y="90"/>
                    </a:lnTo>
                    <a:lnTo>
                      <a:pt x="1640" y="87"/>
                    </a:lnTo>
                    <a:lnTo>
                      <a:pt x="1630" y="86"/>
                    </a:lnTo>
                    <a:lnTo>
                      <a:pt x="1619" y="85"/>
                    </a:lnTo>
                    <a:lnTo>
                      <a:pt x="1604" y="86"/>
                    </a:lnTo>
                    <a:lnTo>
                      <a:pt x="1591" y="88"/>
                    </a:lnTo>
                    <a:lnTo>
                      <a:pt x="1578" y="90"/>
                    </a:lnTo>
                    <a:lnTo>
                      <a:pt x="1566" y="93"/>
                    </a:lnTo>
                    <a:lnTo>
                      <a:pt x="1553" y="96"/>
                    </a:lnTo>
                    <a:lnTo>
                      <a:pt x="1541" y="99"/>
                    </a:lnTo>
                    <a:lnTo>
                      <a:pt x="1527" y="100"/>
                    </a:lnTo>
                    <a:lnTo>
                      <a:pt x="1512" y="101"/>
                    </a:lnTo>
                    <a:lnTo>
                      <a:pt x="1503" y="98"/>
                    </a:lnTo>
                    <a:lnTo>
                      <a:pt x="1493" y="94"/>
                    </a:lnTo>
                    <a:lnTo>
                      <a:pt x="1487" y="95"/>
                    </a:lnTo>
                    <a:lnTo>
                      <a:pt x="1483" y="97"/>
                    </a:lnTo>
                    <a:lnTo>
                      <a:pt x="1480" y="101"/>
                    </a:lnTo>
                    <a:lnTo>
                      <a:pt x="1477" y="105"/>
                    </a:lnTo>
                    <a:lnTo>
                      <a:pt x="1472" y="116"/>
                    </a:lnTo>
                    <a:lnTo>
                      <a:pt x="1465" y="125"/>
                    </a:lnTo>
                    <a:lnTo>
                      <a:pt x="1457" y="133"/>
                    </a:lnTo>
                    <a:lnTo>
                      <a:pt x="1450" y="143"/>
                    </a:lnTo>
                    <a:lnTo>
                      <a:pt x="1445" y="152"/>
                    </a:lnTo>
                    <a:lnTo>
                      <a:pt x="1442" y="161"/>
                    </a:lnTo>
                    <a:lnTo>
                      <a:pt x="1439" y="172"/>
                    </a:lnTo>
                    <a:lnTo>
                      <a:pt x="1438" y="182"/>
                    </a:lnTo>
                    <a:lnTo>
                      <a:pt x="1437" y="193"/>
                    </a:lnTo>
                    <a:lnTo>
                      <a:pt x="1437" y="206"/>
                    </a:lnTo>
                    <a:lnTo>
                      <a:pt x="1438" y="219"/>
                    </a:lnTo>
                    <a:lnTo>
                      <a:pt x="1439" y="233"/>
                    </a:lnTo>
                    <a:lnTo>
                      <a:pt x="1438" y="240"/>
                    </a:lnTo>
                    <a:lnTo>
                      <a:pt x="1437" y="246"/>
                    </a:lnTo>
                    <a:lnTo>
                      <a:pt x="1435" y="251"/>
                    </a:lnTo>
                    <a:lnTo>
                      <a:pt x="1432" y="255"/>
                    </a:lnTo>
                    <a:lnTo>
                      <a:pt x="1425" y="264"/>
                    </a:lnTo>
                    <a:lnTo>
                      <a:pt x="1416" y="272"/>
                    </a:lnTo>
                    <a:lnTo>
                      <a:pt x="1407" y="280"/>
                    </a:lnTo>
                    <a:lnTo>
                      <a:pt x="1399" y="288"/>
                    </a:lnTo>
                    <a:lnTo>
                      <a:pt x="1396" y="292"/>
                    </a:lnTo>
                    <a:lnTo>
                      <a:pt x="1392" y="298"/>
                    </a:lnTo>
                    <a:lnTo>
                      <a:pt x="1389" y="303"/>
                    </a:lnTo>
                    <a:lnTo>
                      <a:pt x="1387" y="309"/>
                    </a:lnTo>
                    <a:lnTo>
                      <a:pt x="1381" y="340"/>
                    </a:lnTo>
                    <a:lnTo>
                      <a:pt x="1378" y="370"/>
                    </a:lnTo>
                    <a:lnTo>
                      <a:pt x="1377" y="376"/>
                    </a:lnTo>
                    <a:lnTo>
                      <a:pt x="1375" y="383"/>
                    </a:lnTo>
                    <a:lnTo>
                      <a:pt x="1373" y="389"/>
                    </a:lnTo>
                    <a:lnTo>
                      <a:pt x="1370" y="395"/>
                    </a:lnTo>
                    <a:lnTo>
                      <a:pt x="1366" y="400"/>
                    </a:lnTo>
                    <a:lnTo>
                      <a:pt x="1362" y="405"/>
                    </a:lnTo>
                    <a:lnTo>
                      <a:pt x="1355" y="409"/>
                    </a:lnTo>
                    <a:lnTo>
                      <a:pt x="1349" y="413"/>
                    </a:lnTo>
                    <a:lnTo>
                      <a:pt x="1341" y="416"/>
                    </a:lnTo>
                    <a:lnTo>
                      <a:pt x="1334" y="418"/>
                    </a:lnTo>
                    <a:lnTo>
                      <a:pt x="1327" y="420"/>
                    </a:lnTo>
                    <a:lnTo>
                      <a:pt x="1320" y="420"/>
                    </a:lnTo>
                    <a:lnTo>
                      <a:pt x="1306" y="420"/>
                    </a:lnTo>
                    <a:lnTo>
                      <a:pt x="1289" y="420"/>
                    </a:lnTo>
                    <a:lnTo>
                      <a:pt x="1274" y="419"/>
                    </a:lnTo>
                    <a:lnTo>
                      <a:pt x="1262" y="416"/>
                    </a:lnTo>
                    <a:lnTo>
                      <a:pt x="1248" y="414"/>
                    </a:lnTo>
                    <a:lnTo>
                      <a:pt x="1234" y="413"/>
                    </a:lnTo>
                    <a:lnTo>
                      <a:pt x="1228" y="413"/>
                    </a:lnTo>
                    <a:lnTo>
                      <a:pt x="1222" y="415"/>
                    </a:lnTo>
                    <a:lnTo>
                      <a:pt x="1218" y="417"/>
                    </a:lnTo>
                    <a:lnTo>
                      <a:pt x="1214" y="420"/>
                    </a:lnTo>
                    <a:lnTo>
                      <a:pt x="1207" y="428"/>
                    </a:lnTo>
                    <a:lnTo>
                      <a:pt x="1200" y="436"/>
                    </a:lnTo>
                    <a:lnTo>
                      <a:pt x="1193" y="444"/>
                    </a:lnTo>
                    <a:lnTo>
                      <a:pt x="1185" y="451"/>
                    </a:lnTo>
                    <a:lnTo>
                      <a:pt x="1181" y="453"/>
                    </a:lnTo>
                    <a:lnTo>
                      <a:pt x="1176" y="456"/>
                    </a:lnTo>
                    <a:lnTo>
                      <a:pt x="1171" y="458"/>
                    </a:lnTo>
                    <a:lnTo>
                      <a:pt x="1166" y="458"/>
                    </a:lnTo>
                    <a:lnTo>
                      <a:pt x="1158" y="458"/>
                    </a:lnTo>
                    <a:lnTo>
                      <a:pt x="1152" y="456"/>
                    </a:lnTo>
                    <a:lnTo>
                      <a:pt x="1147" y="453"/>
                    </a:lnTo>
                    <a:lnTo>
                      <a:pt x="1142" y="450"/>
                    </a:lnTo>
                    <a:lnTo>
                      <a:pt x="1137" y="446"/>
                    </a:lnTo>
                    <a:lnTo>
                      <a:pt x="1134" y="441"/>
                    </a:lnTo>
                    <a:lnTo>
                      <a:pt x="1130" y="436"/>
                    </a:lnTo>
                    <a:lnTo>
                      <a:pt x="1127" y="431"/>
                    </a:lnTo>
                    <a:lnTo>
                      <a:pt x="1120" y="418"/>
                    </a:lnTo>
                    <a:lnTo>
                      <a:pt x="1113" y="406"/>
                    </a:lnTo>
                    <a:lnTo>
                      <a:pt x="1106" y="394"/>
                    </a:lnTo>
                    <a:lnTo>
                      <a:pt x="1097" y="382"/>
                    </a:lnTo>
                    <a:lnTo>
                      <a:pt x="1091" y="378"/>
                    </a:lnTo>
                    <a:lnTo>
                      <a:pt x="1086" y="374"/>
                    </a:lnTo>
                    <a:lnTo>
                      <a:pt x="1081" y="371"/>
                    </a:lnTo>
                    <a:lnTo>
                      <a:pt x="1075" y="369"/>
                    </a:lnTo>
                    <a:lnTo>
                      <a:pt x="1064" y="367"/>
                    </a:lnTo>
                    <a:lnTo>
                      <a:pt x="1051" y="366"/>
                    </a:lnTo>
                    <a:lnTo>
                      <a:pt x="1038" y="367"/>
                    </a:lnTo>
                    <a:lnTo>
                      <a:pt x="1024" y="367"/>
                    </a:lnTo>
                    <a:lnTo>
                      <a:pt x="1010" y="368"/>
                    </a:lnTo>
                    <a:lnTo>
                      <a:pt x="996" y="366"/>
                    </a:lnTo>
                    <a:lnTo>
                      <a:pt x="996" y="366"/>
                    </a:lnTo>
                    <a:lnTo>
                      <a:pt x="980" y="371"/>
                    </a:lnTo>
                    <a:lnTo>
                      <a:pt x="967" y="374"/>
                    </a:lnTo>
                    <a:lnTo>
                      <a:pt x="953" y="377"/>
                    </a:lnTo>
                    <a:lnTo>
                      <a:pt x="941" y="378"/>
                    </a:lnTo>
                    <a:lnTo>
                      <a:pt x="915" y="380"/>
                    </a:lnTo>
                    <a:lnTo>
                      <a:pt x="885" y="380"/>
                    </a:lnTo>
                    <a:lnTo>
                      <a:pt x="863" y="379"/>
                    </a:lnTo>
                    <a:lnTo>
                      <a:pt x="841" y="378"/>
                    </a:lnTo>
                    <a:lnTo>
                      <a:pt x="821" y="376"/>
                    </a:lnTo>
                    <a:lnTo>
                      <a:pt x="803" y="374"/>
                    </a:lnTo>
                    <a:lnTo>
                      <a:pt x="784" y="372"/>
                    </a:lnTo>
                    <a:lnTo>
                      <a:pt x="765" y="370"/>
                    </a:lnTo>
                    <a:lnTo>
                      <a:pt x="744" y="369"/>
                    </a:lnTo>
                    <a:lnTo>
                      <a:pt x="721" y="368"/>
                    </a:lnTo>
                    <a:lnTo>
                      <a:pt x="709" y="369"/>
                    </a:lnTo>
                    <a:lnTo>
                      <a:pt x="698" y="372"/>
                    </a:lnTo>
                    <a:lnTo>
                      <a:pt x="687" y="375"/>
                    </a:lnTo>
                    <a:lnTo>
                      <a:pt x="677" y="380"/>
                    </a:lnTo>
                    <a:lnTo>
                      <a:pt x="658" y="393"/>
                    </a:lnTo>
                    <a:lnTo>
                      <a:pt x="638" y="406"/>
                    </a:lnTo>
                    <a:lnTo>
                      <a:pt x="622" y="414"/>
                    </a:lnTo>
                    <a:lnTo>
                      <a:pt x="609" y="424"/>
                    </a:lnTo>
                    <a:lnTo>
                      <a:pt x="603" y="428"/>
                    </a:lnTo>
                    <a:lnTo>
                      <a:pt x="597" y="434"/>
                    </a:lnTo>
                    <a:lnTo>
                      <a:pt x="593" y="440"/>
                    </a:lnTo>
                    <a:lnTo>
                      <a:pt x="590" y="448"/>
                    </a:lnTo>
                    <a:lnTo>
                      <a:pt x="570" y="441"/>
                    </a:lnTo>
                    <a:lnTo>
                      <a:pt x="552" y="433"/>
                    </a:lnTo>
                    <a:lnTo>
                      <a:pt x="535" y="425"/>
                    </a:lnTo>
                    <a:lnTo>
                      <a:pt x="518" y="416"/>
                    </a:lnTo>
                    <a:lnTo>
                      <a:pt x="502" y="410"/>
                    </a:lnTo>
                    <a:lnTo>
                      <a:pt x="484" y="404"/>
                    </a:lnTo>
                    <a:lnTo>
                      <a:pt x="475" y="402"/>
                    </a:lnTo>
                    <a:lnTo>
                      <a:pt x="465" y="400"/>
                    </a:lnTo>
                    <a:lnTo>
                      <a:pt x="455" y="400"/>
                    </a:lnTo>
                    <a:lnTo>
                      <a:pt x="444" y="399"/>
                    </a:lnTo>
                    <a:lnTo>
                      <a:pt x="434" y="400"/>
                    </a:lnTo>
                    <a:lnTo>
                      <a:pt x="423" y="401"/>
                    </a:lnTo>
                    <a:lnTo>
                      <a:pt x="414" y="404"/>
                    </a:lnTo>
                    <a:lnTo>
                      <a:pt x="406" y="407"/>
                    </a:lnTo>
                    <a:lnTo>
                      <a:pt x="397" y="412"/>
                    </a:lnTo>
                    <a:lnTo>
                      <a:pt x="389" y="418"/>
                    </a:lnTo>
                    <a:lnTo>
                      <a:pt x="381" y="425"/>
                    </a:lnTo>
                    <a:lnTo>
                      <a:pt x="374" y="432"/>
                    </a:lnTo>
                    <a:lnTo>
                      <a:pt x="365" y="443"/>
                    </a:lnTo>
                    <a:lnTo>
                      <a:pt x="358" y="454"/>
                    </a:lnTo>
                    <a:lnTo>
                      <a:pt x="355" y="460"/>
                    </a:lnTo>
                    <a:lnTo>
                      <a:pt x="351" y="464"/>
                    </a:lnTo>
                    <a:lnTo>
                      <a:pt x="346" y="467"/>
                    </a:lnTo>
                    <a:lnTo>
                      <a:pt x="340" y="467"/>
                    </a:lnTo>
                    <a:lnTo>
                      <a:pt x="326" y="466"/>
                    </a:lnTo>
                    <a:lnTo>
                      <a:pt x="312" y="465"/>
                    </a:lnTo>
                    <a:lnTo>
                      <a:pt x="307" y="466"/>
                    </a:lnTo>
                    <a:lnTo>
                      <a:pt x="303" y="467"/>
                    </a:lnTo>
                    <a:lnTo>
                      <a:pt x="299" y="469"/>
                    </a:lnTo>
                    <a:lnTo>
                      <a:pt x="297" y="473"/>
                    </a:lnTo>
                    <a:lnTo>
                      <a:pt x="296" y="476"/>
                    </a:lnTo>
                    <a:lnTo>
                      <a:pt x="295" y="481"/>
                    </a:lnTo>
                    <a:lnTo>
                      <a:pt x="295" y="486"/>
                    </a:lnTo>
                    <a:lnTo>
                      <a:pt x="295" y="492"/>
                    </a:lnTo>
                    <a:lnTo>
                      <a:pt x="297" y="516"/>
                    </a:lnTo>
                    <a:lnTo>
                      <a:pt x="300" y="540"/>
                    </a:lnTo>
                    <a:lnTo>
                      <a:pt x="279" y="552"/>
                    </a:lnTo>
                    <a:lnTo>
                      <a:pt x="260" y="562"/>
                    </a:lnTo>
                    <a:lnTo>
                      <a:pt x="251" y="568"/>
                    </a:lnTo>
                    <a:lnTo>
                      <a:pt x="242" y="574"/>
                    </a:lnTo>
                    <a:lnTo>
                      <a:pt x="233" y="581"/>
                    </a:lnTo>
                    <a:lnTo>
                      <a:pt x="225" y="590"/>
                    </a:lnTo>
                    <a:lnTo>
                      <a:pt x="222" y="594"/>
                    </a:lnTo>
                    <a:lnTo>
                      <a:pt x="219" y="598"/>
                    </a:lnTo>
                    <a:lnTo>
                      <a:pt x="218" y="602"/>
                    </a:lnTo>
                    <a:lnTo>
                      <a:pt x="217" y="606"/>
                    </a:lnTo>
                    <a:lnTo>
                      <a:pt x="215" y="616"/>
                    </a:lnTo>
                    <a:lnTo>
                      <a:pt x="214" y="624"/>
                    </a:lnTo>
                    <a:lnTo>
                      <a:pt x="213" y="633"/>
                    </a:lnTo>
                    <a:lnTo>
                      <a:pt x="211" y="641"/>
                    </a:lnTo>
                    <a:lnTo>
                      <a:pt x="210" y="646"/>
                    </a:lnTo>
                    <a:lnTo>
                      <a:pt x="208" y="650"/>
                    </a:lnTo>
                    <a:lnTo>
                      <a:pt x="205" y="653"/>
                    </a:lnTo>
                    <a:lnTo>
                      <a:pt x="201" y="656"/>
                    </a:lnTo>
                    <a:lnTo>
                      <a:pt x="196" y="659"/>
                    </a:lnTo>
                    <a:lnTo>
                      <a:pt x="192" y="661"/>
                    </a:lnTo>
                    <a:lnTo>
                      <a:pt x="187" y="662"/>
                    </a:lnTo>
                    <a:lnTo>
                      <a:pt x="183" y="663"/>
                    </a:lnTo>
                    <a:lnTo>
                      <a:pt x="173" y="663"/>
                    </a:lnTo>
                    <a:lnTo>
                      <a:pt x="161" y="663"/>
                    </a:lnTo>
                    <a:lnTo>
                      <a:pt x="161" y="668"/>
                    </a:lnTo>
                    <a:lnTo>
                      <a:pt x="160" y="673"/>
                    </a:lnTo>
                    <a:lnTo>
                      <a:pt x="158" y="678"/>
                    </a:lnTo>
                    <a:lnTo>
                      <a:pt x="157" y="682"/>
                    </a:lnTo>
                    <a:lnTo>
                      <a:pt x="152" y="689"/>
                    </a:lnTo>
                    <a:lnTo>
                      <a:pt x="147" y="696"/>
                    </a:lnTo>
                    <a:lnTo>
                      <a:pt x="141" y="702"/>
                    </a:lnTo>
                    <a:lnTo>
                      <a:pt x="135" y="710"/>
                    </a:lnTo>
                    <a:lnTo>
                      <a:pt x="130" y="718"/>
                    </a:lnTo>
                    <a:lnTo>
                      <a:pt x="125" y="727"/>
                    </a:lnTo>
                    <a:lnTo>
                      <a:pt x="118" y="756"/>
                    </a:lnTo>
                    <a:lnTo>
                      <a:pt x="111" y="784"/>
                    </a:lnTo>
                    <a:lnTo>
                      <a:pt x="109" y="789"/>
                    </a:lnTo>
                    <a:lnTo>
                      <a:pt x="106" y="795"/>
                    </a:lnTo>
                    <a:lnTo>
                      <a:pt x="102" y="800"/>
                    </a:lnTo>
                    <a:lnTo>
                      <a:pt x="98" y="806"/>
                    </a:lnTo>
                    <a:lnTo>
                      <a:pt x="94" y="810"/>
                    </a:lnTo>
                    <a:lnTo>
                      <a:pt x="89" y="813"/>
                    </a:lnTo>
                    <a:lnTo>
                      <a:pt x="83" y="815"/>
                    </a:lnTo>
                    <a:lnTo>
                      <a:pt x="76" y="817"/>
                    </a:lnTo>
                    <a:lnTo>
                      <a:pt x="83" y="837"/>
                    </a:lnTo>
                    <a:lnTo>
                      <a:pt x="90" y="854"/>
                    </a:lnTo>
                    <a:lnTo>
                      <a:pt x="94" y="862"/>
                    </a:lnTo>
                    <a:lnTo>
                      <a:pt x="97" y="872"/>
                    </a:lnTo>
                    <a:lnTo>
                      <a:pt x="99" y="881"/>
                    </a:lnTo>
                    <a:lnTo>
                      <a:pt x="99" y="892"/>
                    </a:lnTo>
                    <a:lnTo>
                      <a:pt x="99" y="896"/>
                    </a:lnTo>
                    <a:lnTo>
                      <a:pt x="97" y="901"/>
                    </a:lnTo>
                    <a:lnTo>
                      <a:pt x="95" y="904"/>
                    </a:lnTo>
                    <a:lnTo>
                      <a:pt x="92" y="907"/>
                    </a:lnTo>
                    <a:lnTo>
                      <a:pt x="89" y="909"/>
                    </a:lnTo>
                    <a:lnTo>
                      <a:pt x="85" y="911"/>
                    </a:lnTo>
                    <a:lnTo>
                      <a:pt x="80" y="912"/>
                    </a:lnTo>
                    <a:lnTo>
                      <a:pt x="76" y="912"/>
                    </a:lnTo>
                    <a:lnTo>
                      <a:pt x="67" y="912"/>
                    </a:lnTo>
                    <a:lnTo>
                      <a:pt x="59" y="912"/>
                    </a:lnTo>
                    <a:lnTo>
                      <a:pt x="52" y="912"/>
                    </a:lnTo>
                    <a:lnTo>
                      <a:pt x="43" y="912"/>
                    </a:lnTo>
                    <a:lnTo>
                      <a:pt x="43" y="968"/>
                    </a:lnTo>
                    <a:lnTo>
                      <a:pt x="43" y="978"/>
                    </a:lnTo>
                    <a:lnTo>
                      <a:pt x="40" y="987"/>
                    </a:lnTo>
                    <a:lnTo>
                      <a:pt x="36" y="996"/>
                    </a:lnTo>
                    <a:lnTo>
                      <a:pt x="31" y="1004"/>
                    </a:lnTo>
                    <a:lnTo>
                      <a:pt x="21" y="1020"/>
                    </a:lnTo>
                    <a:lnTo>
                      <a:pt x="10" y="1039"/>
                    </a:lnTo>
                    <a:lnTo>
                      <a:pt x="15" y="1058"/>
                    </a:lnTo>
                    <a:lnTo>
                      <a:pt x="9" y="1066"/>
                    </a:lnTo>
                    <a:lnTo>
                      <a:pt x="0" y="1074"/>
                    </a:lnTo>
                    <a:lnTo>
                      <a:pt x="26" y="1101"/>
                    </a:lnTo>
                    <a:lnTo>
                      <a:pt x="48" y="1126"/>
                    </a:lnTo>
                    <a:lnTo>
                      <a:pt x="52" y="1132"/>
                    </a:lnTo>
                    <a:lnTo>
                      <a:pt x="56" y="1139"/>
                    </a:lnTo>
                    <a:lnTo>
                      <a:pt x="60" y="1146"/>
                    </a:lnTo>
                    <a:lnTo>
                      <a:pt x="63" y="1154"/>
                    </a:lnTo>
                    <a:lnTo>
                      <a:pt x="65" y="1161"/>
                    </a:lnTo>
                    <a:lnTo>
                      <a:pt x="67" y="1169"/>
                    </a:lnTo>
                    <a:lnTo>
                      <a:pt x="68" y="1178"/>
                    </a:lnTo>
                    <a:lnTo>
                      <a:pt x="69" y="1188"/>
                    </a:lnTo>
                    <a:lnTo>
                      <a:pt x="67" y="1199"/>
                    </a:lnTo>
                    <a:lnTo>
                      <a:pt x="64" y="1209"/>
                    </a:lnTo>
                    <a:lnTo>
                      <a:pt x="61" y="1221"/>
                    </a:lnTo>
                    <a:lnTo>
                      <a:pt x="59" y="1232"/>
                    </a:lnTo>
                    <a:lnTo>
                      <a:pt x="60" y="1241"/>
                    </a:lnTo>
                    <a:lnTo>
                      <a:pt x="63" y="1249"/>
                    </a:lnTo>
                    <a:lnTo>
                      <a:pt x="67" y="1256"/>
                    </a:lnTo>
                    <a:lnTo>
                      <a:pt x="72" y="1263"/>
                    </a:lnTo>
                    <a:lnTo>
                      <a:pt x="76" y="1269"/>
                    </a:lnTo>
                    <a:lnTo>
                      <a:pt x="80" y="1276"/>
                    </a:lnTo>
                    <a:lnTo>
                      <a:pt x="82" y="1285"/>
                    </a:lnTo>
                    <a:lnTo>
                      <a:pt x="83" y="1294"/>
                    </a:lnTo>
                    <a:lnTo>
                      <a:pt x="82" y="1318"/>
                    </a:lnTo>
                    <a:lnTo>
                      <a:pt x="80" y="1340"/>
                    </a:lnTo>
                    <a:lnTo>
                      <a:pt x="75" y="1361"/>
                    </a:lnTo>
                    <a:lnTo>
                      <a:pt x="69" y="1381"/>
                    </a:lnTo>
                    <a:lnTo>
                      <a:pt x="62" y="1400"/>
                    </a:lnTo>
                    <a:lnTo>
                      <a:pt x="55" y="1421"/>
                    </a:lnTo>
                    <a:lnTo>
                      <a:pt x="47" y="1443"/>
                    </a:lnTo>
                    <a:lnTo>
                      <a:pt x="39" y="1465"/>
                    </a:lnTo>
                    <a:lnTo>
                      <a:pt x="39" y="1465"/>
                    </a:lnTo>
                    <a:close/>
                  </a:path>
                </a:pathLst>
              </a:custGeom>
              <a:solidFill>
                <a:srgbClr val="65AC1E">
                  <a:alpha val="80000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Kyiv">
                <a:extLst>
                  <a:ext uri="{FF2B5EF4-FFF2-40B4-BE49-F238E27FC236}">
                    <a16:creationId xmlns:a16="http://schemas.microsoft.com/office/drawing/2014/main" id="{214B744B-8A04-43AC-9AA0-426E6CC5C0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0769" y="2266388"/>
                <a:ext cx="1164651" cy="1417861"/>
              </a:xfrm>
              <a:custGeom>
                <a:avLst/>
                <a:gdLst>
                  <a:gd name="T0" fmla="*/ 452 w 2362"/>
                  <a:gd name="T1" fmla="*/ 3028 h 3039"/>
                  <a:gd name="T2" fmla="*/ 563 w 2362"/>
                  <a:gd name="T3" fmla="*/ 2859 h 3039"/>
                  <a:gd name="T4" fmla="*/ 650 w 2362"/>
                  <a:gd name="T5" fmla="*/ 2852 h 3039"/>
                  <a:gd name="T6" fmla="*/ 757 w 2362"/>
                  <a:gd name="T7" fmla="*/ 2865 h 3039"/>
                  <a:gd name="T8" fmla="*/ 808 w 2362"/>
                  <a:gd name="T9" fmla="*/ 2881 h 3039"/>
                  <a:gd name="T10" fmla="*/ 915 w 2362"/>
                  <a:gd name="T11" fmla="*/ 2913 h 3039"/>
                  <a:gd name="T12" fmla="*/ 992 w 2362"/>
                  <a:gd name="T13" fmla="*/ 2784 h 3039"/>
                  <a:gd name="T14" fmla="*/ 1148 w 2362"/>
                  <a:gd name="T15" fmla="*/ 2783 h 3039"/>
                  <a:gd name="T16" fmla="*/ 1308 w 2362"/>
                  <a:gd name="T17" fmla="*/ 2775 h 3039"/>
                  <a:gd name="T18" fmla="*/ 1472 w 2362"/>
                  <a:gd name="T19" fmla="*/ 2559 h 3039"/>
                  <a:gd name="T20" fmla="*/ 1605 w 2362"/>
                  <a:gd name="T21" fmla="*/ 2292 h 3039"/>
                  <a:gd name="T22" fmla="*/ 1571 w 2362"/>
                  <a:gd name="T23" fmla="*/ 2211 h 3039"/>
                  <a:gd name="T24" fmla="*/ 1637 w 2362"/>
                  <a:gd name="T25" fmla="*/ 2097 h 3039"/>
                  <a:gd name="T26" fmla="*/ 1887 w 2362"/>
                  <a:gd name="T27" fmla="*/ 2071 h 3039"/>
                  <a:gd name="T28" fmla="*/ 2002 w 2362"/>
                  <a:gd name="T29" fmla="*/ 2098 h 3039"/>
                  <a:gd name="T30" fmla="*/ 2138 w 2362"/>
                  <a:gd name="T31" fmla="*/ 1971 h 3039"/>
                  <a:gd name="T32" fmla="*/ 2192 w 2362"/>
                  <a:gd name="T33" fmla="*/ 1816 h 3039"/>
                  <a:gd name="T34" fmla="*/ 2216 w 2362"/>
                  <a:gd name="T35" fmla="*/ 1687 h 3039"/>
                  <a:gd name="T36" fmla="*/ 2362 w 2362"/>
                  <a:gd name="T37" fmla="*/ 1579 h 3039"/>
                  <a:gd name="T38" fmla="*/ 2343 w 2362"/>
                  <a:gd name="T39" fmla="*/ 1488 h 3039"/>
                  <a:gd name="T40" fmla="*/ 2225 w 2362"/>
                  <a:gd name="T41" fmla="*/ 1352 h 3039"/>
                  <a:gd name="T42" fmla="*/ 2297 w 2362"/>
                  <a:gd name="T43" fmla="*/ 1294 h 3039"/>
                  <a:gd name="T44" fmla="*/ 2285 w 2362"/>
                  <a:gd name="T45" fmla="*/ 1223 h 3039"/>
                  <a:gd name="T46" fmla="*/ 2150 w 2362"/>
                  <a:gd name="T47" fmla="*/ 1137 h 3039"/>
                  <a:gd name="T48" fmla="*/ 2050 w 2362"/>
                  <a:gd name="T49" fmla="*/ 1177 h 3039"/>
                  <a:gd name="T50" fmla="*/ 1785 w 2362"/>
                  <a:gd name="T51" fmla="*/ 1258 h 3039"/>
                  <a:gd name="T52" fmla="*/ 1584 w 2362"/>
                  <a:gd name="T53" fmla="*/ 1188 h 3039"/>
                  <a:gd name="T54" fmla="*/ 1564 w 2362"/>
                  <a:gd name="T55" fmla="*/ 973 h 3039"/>
                  <a:gd name="T56" fmla="*/ 1429 w 2362"/>
                  <a:gd name="T57" fmla="*/ 893 h 3039"/>
                  <a:gd name="T58" fmla="*/ 1267 w 2362"/>
                  <a:gd name="T59" fmla="*/ 935 h 3039"/>
                  <a:gd name="T60" fmla="*/ 1179 w 2362"/>
                  <a:gd name="T61" fmla="*/ 779 h 3039"/>
                  <a:gd name="T62" fmla="*/ 1128 w 2362"/>
                  <a:gd name="T63" fmla="*/ 679 h 3039"/>
                  <a:gd name="T64" fmla="*/ 1016 w 2362"/>
                  <a:gd name="T65" fmla="*/ 547 h 3039"/>
                  <a:gd name="T66" fmla="*/ 1011 w 2362"/>
                  <a:gd name="T67" fmla="*/ 290 h 3039"/>
                  <a:gd name="T68" fmla="*/ 846 w 2362"/>
                  <a:gd name="T69" fmla="*/ 190 h 3039"/>
                  <a:gd name="T70" fmla="*/ 800 w 2362"/>
                  <a:gd name="T71" fmla="*/ 59 h 3039"/>
                  <a:gd name="T72" fmla="*/ 655 w 2362"/>
                  <a:gd name="T73" fmla="*/ 4 h 3039"/>
                  <a:gd name="T74" fmla="*/ 455 w 2362"/>
                  <a:gd name="T75" fmla="*/ 79 h 3039"/>
                  <a:gd name="T76" fmla="*/ 323 w 2362"/>
                  <a:gd name="T77" fmla="*/ 10 h 3039"/>
                  <a:gd name="T78" fmla="*/ 153 w 2362"/>
                  <a:gd name="T79" fmla="*/ 118 h 3039"/>
                  <a:gd name="T80" fmla="*/ 65 w 2362"/>
                  <a:gd name="T81" fmla="*/ 202 h 3039"/>
                  <a:gd name="T82" fmla="*/ 3 w 2362"/>
                  <a:gd name="T83" fmla="*/ 358 h 3039"/>
                  <a:gd name="T84" fmla="*/ 126 w 2362"/>
                  <a:gd name="T85" fmla="*/ 474 h 3039"/>
                  <a:gd name="T86" fmla="*/ 177 w 2362"/>
                  <a:gd name="T87" fmla="*/ 737 h 3039"/>
                  <a:gd name="T88" fmla="*/ 143 w 2362"/>
                  <a:gd name="T89" fmla="*/ 870 h 3039"/>
                  <a:gd name="T90" fmla="*/ 242 w 2362"/>
                  <a:gd name="T91" fmla="*/ 987 h 3039"/>
                  <a:gd name="T92" fmla="*/ 146 w 2362"/>
                  <a:gd name="T93" fmla="*/ 1145 h 3039"/>
                  <a:gd name="T94" fmla="*/ 134 w 2362"/>
                  <a:gd name="T95" fmla="*/ 1378 h 3039"/>
                  <a:gd name="T96" fmla="*/ 236 w 2362"/>
                  <a:gd name="T97" fmla="*/ 1429 h 3039"/>
                  <a:gd name="T98" fmla="*/ 282 w 2362"/>
                  <a:gd name="T99" fmla="*/ 1512 h 3039"/>
                  <a:gd name="T100" fmla="*/ 276 w 2362"/>
                  <a:gd name="T101" fmla="*/ 1638 h 3039"/>
                  <a:gd name="T102" fmla="*/ 298 w 2362"/>
                  <a:gd name="T103" fmla="*/ 1850 h 3039"/>
                  <a:gd name="T104" fmla="*/ 319 w 2362"/>
                  <a:gd name="T105" fmla="*/ 1973 h 3039"/>
                  <a:gd name="T106" fmla="*/ 288 w 2362"/>
                  <a:gd name="T107" fmla="*/ 2084 h 3039"/>
                  <a:gd name="T108" fmla="*/ 105 w 2362"/>
                  <a:gd name="T109" fmla="*/ 2189 h 3039"/>
                  <a:gd name="T110" fmla="*/ 89 w 2362"/>
                  <a:gd name="T111" fmla="*/ 2307 h 3039"/>
                  <a:gd name="T112" fmla="*/ 141 w 2362"/>
                  <a:gd name="T113" fmla="*/ 2410 h 3039"/>
                  <a:gd name="T114" fmla="*/ 202 w 2362"/>
                  <a:gd name="T115" fmla="*/ 2534 h 3039"/>
                  <a:gd name="T116" fmla="*/ 150 w 2362"/>
                  <a:gd name="T117" fmla="*/ 2674 h 3039"/>
                  <a:gd name="T118" fmla="*/ 178 w 2362"/>
                  <a:gd name="T119" fmla="*/ 2857 h 3039"/>
                  <a:gd name="T120" fmla="*/ 342 w 2362"/>
                  <a:gd name="T121" fmla="*/ 3003 h 30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362" h="3039">
                    <a:moveTo>
                      <a:pt x="347" y="3024"/>
                    </a:moveTo>
                    <a:lnTo>
                      <a:pt x="357" y="3024"/>
                    </a:lnTo>
                    <a:lnTo>
                      <a:pt x="367" y="3026"/>
                    </a:lnTo>
                    <a:lnTo>
                      <a:pt x="376" y="3028"/>
                    </a:lnTo>
                    <a:lnTo>
                      <a:pt x="386" y="3031"/>
                    </a:lnTo>
                    <a:lnTo>
                      <a:pt x="394" y="3033"/>
                    </a:lnTo>
                    <a:lnTo>
                      <a:pt x="403" y="3035"/>
                    </a:lnTo>
                    <a:lnTo>
                      <a:pt x="414" y="3038"/>
                    </a:lnTo>
                    <a:lnTo>
                      <a:pt x="424" y="3039"/>
                    </a:lnTo>
                    <a:lnTo>
                      <a:pt x="431" y="3038"/>
                    </a:lnTo>
                    <a:lnTo>
                      <a:pt x="436" y="3037"/>
                    </a:lnTo>
                    <a:lnTo>
                      <a:pt x="442" y="3034"/>
                    </a:lnTo>
                    <a:lnTo>
                      <a:pt x="448" y="3032"/>
                    </a:lnTo>
                    <a:lnTo>
                      <a:pt x="452" y="3028"/>
                    </a:lnTo>
                    <a:lnTo>
                      <a:pt x="456" y="3025"/>
                    </a:lnTo>
                    <a:lnTo>
                      <a:pt x="460" y="3021"/>
                    </a:lnTo>
                    <a:lnTo>
                      <a:pt x="463" y="3016"/>
                    </a:lnTo>
                    <a:lnTo>
                      <a:pt x="475" y="2994"/>
                    </a:lnTo>
                    <a:lnTo>
                      <a:pt x="488" y="2969"/>
                    </a:lnTo>
                    <a:lnTo>
                      <a:pt x="505" y="2938"/>
                    </a:lnTo>
                    <a:lnTo>
                      <a:pt x="519" y="2910"/>
                    </a:lnTo>
                    <a:lnTo>
                      <a:pt x="525" y="2895"/>
                    </a:lnTo>
                    <a:lnTo>
                      <a:pt x="529" y="2880"/>
                    </a:lnTo>
                    <a:lnTo>
                      <a:pt x="532" y="2863"/>
                    </a:lnTo>
                    <a:lnTo>
                      <a:pt x="532" y="2844"/>
                    </a:lnTo>
                    <a:lnTo>
                      <a:pt x="545" y="2849"/>
                    </a:lnTo>
                    <a:lnTo>
                      <a:pt x="554" y="2854"/>
                    </a:lnTo>
                    <a:lnTo>
                      <a:pt x="563" y="2859"/>
                    </a:lnTo>
                    <a:lnTo>
                      <a:pt x="572" y="2865"/>
                    </a:lnTo>
                    <a:lnTo>
                      <a:pt x="581" y="2871"/>
                    </a:lnTo>
                    <a:lnTo>
                      <a:pt x="591" y="2875"/>
                    </a:lnTo>
                    <a:lnTo>
                      <a:pt x="595" y="2878"/>
                    </a:lnTo>
                    <a:lnTo>
                      <a:pt x="601" y="2879"/>
                    </a:lnTo>
                    <a:lnTo>
                      <a:pt x="606" y="2880"/>
                    </a:lnTo>
                    <a:lnTo>
                      <a:pt x="613" y="2880"/>
                    </a:lnTo>
                    <a:lnTo>
                      <a:pt x="617" y="2880"/>
                    </a:lnTo>
                    <a:lnTo>
                      <a:pt x="621" y="2879"/>
                    </a:lnTo>
                    <a:lnTo>
                      <a:pt x="625" y="2878"/>
                    </a:lnTo>
                    <a:lnTo>
                      <a:pt x="628" y="2876"/>
                    </a:lnTo>
                    <a:lnTo>
                      <a:pt x="634" y="2871"/>
                    </a:lnTo>
                    <a:lnTo>
                      <a:pt x="640" y="2866"/>
                    </a:lnTo>
                    <a:lnTo>
                      <a:pt x="650" y="2852"/>
                    </a:lnTo>
                    <a:lnTo>
                      <a:pt x="660" y="2837"/>
                    </a:lnTo>
                    <a:lnTo>
                      <a:pt x="672" y="2822"/>
                    </a:lnTo>
                    <a:lnTo>
                      <a:pt x="684" y="2808"/>
                    </a:lnTo>
                    <a:lnTo>
                      <a:pt x="689" y="2802"/>
                    </a:lnTo>
                    <a:lnTo>
                      <a:pt x="694" y="2794"/>
                    </a:lnTo>
                    <a:lnTo>
                      <a:pt x="699" y="2786"/>
                    </a:lnTo>
                    <a:lnTo>
                      <a:pt x="704" y="2776"/>
                    </a:lnTo>
                    <a:lnTo>
                      <a:pt x="714" y="2784"/>
                    </a:lnTo>
                    <a:lnTo>
                      <a:pt x="722" y="2792"/>
                    </a:lnTo>
                    <a:lnTo>
                      <a:pt x="728" y="2801"/>
                    </a:lnTo>
                    <a:lnTo>
                      <a:pt x="733" y="2810"/>
                    </a:lnTo>
                    <a:lnTo>
                      <a:pt x="742" y="2830"/>
                    </a:lnTo>
                    <a:lnTo>
                      <a:pt x="752" y="2852"/>
                    </a:lnTo>
                    <a:lnTo>
                      <a:pt x="757" y="2865"/>
                    </a:lnTo>
                    <a:lnTo>
                      <a:pt x="761" y="2878"/>
                    </a:lnTo>
                    <a:lnTo>
                      <a:pt x="763" y="2884"/>
                    </a:lnTo>
                    <a:lnTo>
                      <a:pt x="767" y="2888"/>
                    </a:lnTo>
                    <a:lnTo>
                      <a:pt x="769" y="2890"/>
                    </a:lnTo>
                    <a:lnTo>
                      <a:pt x="771" y="2891"/>
                    </a:lnTo>
                    <a:lnTo>
                      <a:pt x="775" y="2892"/>
                    </a:lnTo>
                    <a:lnTo>
                      <a:pt x="778" y="2892"/>
                    </a:lnTo>
                    <a:lnTo>
                      <a:pt x="783" y="2891"/>
                    </a:lnTo>
                    <a:lnTo>
                      <a:pt x="788" y="2890"/>
                    </a:lnTo>
                    <a:lnTo>
                      <a:pt x="792" y="2888"/>
                    </a:lnTo>
                    <a:lnTo>
                      <a:pt x="795" y="2886"/>
                    </a:lnTo>
                    <a:lnTo>
                      <a:pt x="799" y="2884"/>
                    </a:lnTo>
                    <a:lnTo>
                      <a:pt x="803" y="2882"/>
                    </a:lnTo>
                    <a:lnTo>
                      <a:pt x="808" y="2881"/>
                    </a:lnTo>
                    <a:lnTo>
                      <a:pt x="813" y="2880"/>
                    </a:lnTo>
                    <a:lnTo>
                      <a:pt x="820" y="2881"/>
                    </a:lnTo>
                    <a:lnTo>
                      <a:pt x="826" y="2882"/>
                    </a:lnTo>
                    <a:lnTo>
                      <a:pt x="832" y="2883"/>
                    </a:lnTo>
                    <a:lnTo>
                      <a:pt x="838" y="2885"/>
                    </a:lnTo>
                    <a:lnTo>
                      <a:pt x="849" y="2891"/>
                    </a:lnTo>
                    <a:lnTo>
                      <a:pt x="859" y="2896"/>
                    </a:lnTo>
                    <a:lnTo>
                      <a:pt x="869" y="2902"/>
                    </a:lnTo>
                    <a:lnTo>
                      <a:pt x="880" y="2907"/>
                    </a:lnTo>
                    <a:lnTo>
                      <a:pt x="886" y="2910"/>
                    </a:lnTo>
                    <a:lnTo>
                      <a:pt x="892" y="2912"/>
                    </a:lnTo>
                    <a:lnTo>
                      <a:pt x="898" y="2913"/>
                    </a:lnTo>
                    <a:lnTo>
                      <a:pt x="905" y="2913"/>
                    </a:lnTo>
                    <a:lnTo>
                      <a:pt x="915" y="2913"/>
                    </a:lnTo>
                    <a:lnTo>
                      <a:pt x="923" y="2910"/>
                    </a:lnTo>
                    <a:lnTo>
                      <a:pt x="930" y="2906"/>
                    </a:lnTo>
                    <a:lnTo>
                      <a:pt x="936" y="2901"/>
                    </a:lnTo>
                    <a:lnTo>
                      <a:pt x="943" y="2895"/>
                    </a:lnTo>
                    <a:lnTo>
                      <a:pt x="947" y="2888"/>
                    </a:lnTo>
                    <a:lnTo>
                      <a:pt x="951" y="2880"/>
                    </a:lnTo>
                    <a:lnTo>
                      <a:pt x="955" y="2871"/>
                    </a:lnTo>
                    <a:lnTo>
                      <a:pt x="961" y="2853"/>
                    </a:lnTo>
                    <a:lnTo>
                      <a:pt x="967" y="2833"/>
                    </a:lnTo>
                    <a:lnTo>
                      <a:pt x="971" y="2823"/>
                    </a:lnTo>
                    <a:lnTo>
                      <a:pt x="976" y="2813"/>
                    </a:lnTo>
                    <a:lnTo>
                      <a:pt x="980" y="2804"/>
                    </a:lnTo>
                    <a:lnTo>
                      <a:pt x="985" y="2795"/>
                    </a:lnTo>
                    <a:lnTo>
                      <a:pt x="992" y="2784"/>
                    </a:lnTo>
                    <a:lnTo>
                      <a:pt x="997" y="2773"/>
                    </a:lnTo>
                    <a:lnTo>
                      <a:pt x="1001" y="2768"/>
                    </a:lnTo>
                    <a:lnTo>
                      <a:pt x="1006" y="2765"/>
                    </a:lnTo>
                    <a:lnTo>
                      <a:pt x="1011" y="2763"/>
                    </a:lnTo>
                    <a:lnTo>
                      <a:pt x="1017" y="2762"/>
                    </a:lnTo>
                    <a:lnTo>
                      <a:pt x="1042" y="2762"/>
                    </a:lnTo>
                    <a:lnTo>
                      <a:pt x="1064" y="2763"/>
                    </a:lnTo>
                    <a:lnTo>
                      <a:pt x="1087" y="2764"/>
                    </a:lnTo>
                    <a:lnTo>
                      <a:pt x="1112" y="2764"/>
                    </a:lnTo>
                    <a:lnTo>
                      <a:pt x="1119" y="2765"/>
                    </a:lnTo>
                    <a:lnTo>
                      <a:pt x="1126" y="2767"/>
                    </a:lnTo>
                    <a:lnTo>
                      <a:pt x="1132" y="2769"/>
                    </a:lnTo>
                    <a:lnTo>
                      <a:pt x="1138" y="2773"/>
                    </a:lnTo>
                    <a:lnTo>
                      <a:pt x="1148" y="2783"/>
                    </a:lnTo>
                    <a:lnTo>
                      <a:pt x="1157" y="2793"/>
                    </a:lnTo>
                    <a:lnTo>
                      <a:pt x="1166" y="2803"/>
                    </a:lnTo>
                    <a:lnTo>
                      <a:pt x="1177" y="2812"/>
                    </a:lnTo>
                    <a:lnTo>
                      <a:pt x="1182" y="2816"/>
                    </a:lnTo>
                    <a:lnTo>
                      <a:pt x="1188" y="2819"/>
                    </a:lnTo>
                    <a:lnTo>
                      <a:pt x="1195" y="2821"/>
                    </a:lnTo>
                    <a:lnTo>
                      <a:pt x="1202" y="2821"/>
                    </a:lnTo>
                    <a:lnTo>
                      <a:pt x="1216" y="2820"/>
                    </a:lnTo>
                    <a:lnTo>
                      <a:pt x="1227" y="2818"/>
                    </a:lnTo>
                    <a:lnTo>
                      <a:pt x="1238" y="2813"/>
                    </a:lnTo>
                    <a:lnTo>
                      <a:pt x="1248" y="2808"/>
                    </a:lnTo>
                    <a:lnTo>
                      <a:pt x="1268" y="2796"/>
                    </a:lnTo>
                    <a:lnTo>
                      <a:pt x="1292" y="2784"/>
                    </a:lnTo>
                    <a:lnTo>
                      <a:pt x="1308" y="2775"/>
                    </a:lnTo>
                    <a:lnTo>
                      <a:pt x="1323" y="2766"/>
                    </a:lnTo>
                    <a:lnTo>
                      <a:pt x="1338" y="2757"/>
                    </a:lnTo>
                    <a:lnTo>
                      <a:pt x="1350" y="2747"/>
                    </a:lnTo>
                    <a:lnTo>
                      <a:pt x="1362" y="2737"/>
                    </a:lnTo>
                    <a:lnTo>
                      <a:pt x="1373" y="2726"/>
                    </a:lnTo>
                    <a:lnTo>
                      <a:pt x="1383" y="2714"/>
                    </a:lnTo>
                    <a:lnTo>
                      <a:pt x="1392" y="2702"/>
                    </a:lnTo>
                    <a:lnTo>
                      <a:pt x="1402" y="2690"/>
                    </a:lnTo>
                    <a:lnTo>
                      <a:pt x="1410" y="2676"/>
                    </a:lnTo>
                    <a:lnTo>
                      <a:pt x="1419" y="2663"/>
                    </a:lnTo>
                    <a:lnTo>
                      <a:pt x="1426" y="2648"/>
                    </a:lnTo>
                    <a:lnTo>
                      <a:pt x="1443" y="2617"/>
                    </a:lnTo>
                    <a:lnTo>
                      <a:pt x="1459" y="2585"/>
                    </a:lnTo>
                    <a:lnTo>
                      <a:pt x="1472" y="2559"/>
                    </a:lnTo>
                    <a:lnTo>
                      <a:pt x="1484" y="2536"/>
                    </a:lnTo>
                    <a:lnTo>
                      <a:pt x="1495" y="2514"/>
                    </a:lnTo>
                    <a:lnTo>
                      <a:pt x="1506" y="2493"/>
                    </a:lnTo>
                    <a:lnTo>
                      <a:pt x="1517" y="2472"/>
                    </a:lnTo>
                    <a:lnTo>
                      <a:pt x="1528" y="2450"/>
                    </a:lnTo>
                    <a:lnTo>
                      <a:pt x="1541" y="2426"/>
                    </a:lnTo>
                    <a:lnTo>
                      <a:pt x="1553" y="2400"/>
                    </a:lnTo>
                    <a:lnTo>
                      <a:pt x="1571" y="2370"/>
                    </a:lnTo>
                    <a:lnTo>
                      <a:pt x="1588" y="2344"/>
                    </a:lnTo>
                    <a:lnTo>
                      <a:pt x="1594" y="2330"/>
                    </a:lnTo>
                    <a:lnTo>
                      <a:pt x="1601" y="2316"/>
                    </a:lnTo>
                    <a:lnTo>
                      <a:pt x="1603" y="2309"/>
                    </a:lnTo>
                    <a:lnTo>
                      <a:pt x="1604" y="2300"/>
                    </a:lnTo>
                    <a:lnTo>
                      <a:pt x="1605" y="2292"/>
                    </a:lnTo>
                    <a:lnTo>
                      <a:pt x="1606" y="2283"/>
                    </a:lnTo>
                    <a:lnTo>
                      <a:pt x="1605" y="2279"/>
                    </a:lnTo>
                    <a:lnTo>
                      <a:pt x="1603" y="2275"/>
                    </a:lnTo>
                    <a:lnTo>
                      <a:pt x="1600" y="2273"/>
                    </a:lnTo>
                    <a:lnTo>
                      <a:pt x="1596" y="2271"/>
                    </a:lnTo>
                    <a:lnTo>
                      <a:pt x="1593" y="2269"/>
                    </a:lnTo>
                    <a:lnTo>
                      <a:pt x="1589" y="2267"/>
                    </a:lnTo>
                    <a:lnTo>
                      <a:pt x="1586" y="2265"/>
                    </a:lnTo>
                    <a:lnTo>
                      <a:pt x="1584" y="2261"/>
                    </a:lnTo>
                    <a:lnTo>
                      <a:pt x="1580" y="2253"/>
                    </a:lnTo>
                    <a:lnTo>
                      <a:pt x="1577" y="2244"/>
                    </a:lnTo>
                    <a:lnTo>
                      <a:pt x="1574" y="2236"/>
                    </a:lnTo>
                    <a:lnTo>
                      <a:pt x="1572" y="2229"/>
                    </a:lnTo>
                    <a:lnTo>
                      <a:pt x="1571" y="2211"/>
                    </a:lnTo>
                    <a:lnTo>
                      <a:pt x="1570" y="2193"/>
                    </a:lnTo>
                    <a:lnTo>
                      <a:pt x="1571" y="2183"/>
                    </a:lnTo>
                    <a:lnTo>
                      <a:pt x="1572" y="2173"/>
                    </a:lnTo>
                    <a:lnTo>
                      <a:pt x="1574" y="2165"/>
                    </a:lnTo>
                    <a:lnTo>
                      <a:pt x="1576" y="2157"/>
                    </a:lnTo>
                    <a:lnTo>
                      <a:pt x="1580" y="2148"/>
                    </a:lnTo>
                    <a:lnTo>
                      <a:pt x="1584" y="2141"/>
                    </a:lnTo>
                    <a:lnTo>
                      <a:pt x="1588" y="2134"/>
                    </a:lnTo>
                    <a:lnTo>
                      <a:pt x="1593" y="2128"/>
                    </a:lnTo>
                    <a:lnTo>
                      <a:pt x="1600" y="2122"/>
                    </a:lnTo>
                    <a:lnTo>
                      <a:pt x="1606" y="2115"/>
                    </a:lnTo>
                    <a:lnTo>
                      <a:pt x="1613" y="2110"/>
                    </a:lnTo>
                    <a:lnTo>
                      <a:pt x="1620" y="2105"/>
                    </a:lnTo>
                    <a:lnTo>
                      <a:pt x="1637" y="2097"/>
                    </a:lnTo>
                    <a:lnTo>
                      <a:pt x="1654" y="2090"/>
                    </a:lnTo>
                    <a:lnTo>
                      <a:pt x="1673" y="2083"/>
                    </a:lnTo>
                    <a:lnTo>
                      <a:pt x="1692" y="2078"/>
                    </a:lnTo>
                    <a:lnTo>
                      <a:pt x="1714" y="2075"/>
                    </a:lnTo>
                    <a:lnTo>
                      <a:pt x="1735" y="2072"/>
                    </a:lnTo>
                    <a:lnTo>
                      <a:pt x="1756" y="2070"/>
                    </a:lnTo>
                    <a:lnTo>
                      <a:pt x="1778" y="2069"/>
                    </a:lnTo>
                    <a:lnTo>
                      <a:pt x="1799" y="2068"/>
                    </a:lnTo>
                    <a:lnTo>
                      <a:pt x="1820" y="2068"/>
                    </a:lnTo>
                    <a:lnTo>
                      <a:pt x="1841" y="2067"/>
                    </a:lnTo>
                    <a:lnTo>
                      <a:pt x="1859" y="2067"/>
                    </a:lnTo>
                    <a:lnTo>
                      <a:pt x="1869" y="2067"/>
                    </a:lnTo>
                    <a:lnTo>
                      <a:pt x="1878" y="2069"/>
                    </a:lnTo>
                    <a:lnTo>
                      <a:pt x="1887" y="2071"/>
                    </a:lnTo>
                    <a:lnTo>
                      <a:pt x="1898" y="2075"/>
                    </a:lnTo>
                    <a:lnTo>
                      <a:pt x="1907" y="2080"/>
                    </a:lnTo>
                    <a:lnTo>
                      <a:pt x="1916" y="2085"/>
                    </a:lnTo>
                    <a:lnTo>
                      <a:pt x="1924" y="2092"/>
                    </a:lnTo>
                    <a:lnTo>
                      <a:pt x="1932" y="2097"/>
                    </a:lnTo>
                    <a:lnTo>
                      <a:pt x="1940" y="2102"/>
                    </a:lnTo>
                    <a:lnTo>
                      <a:pt x="1948" y="2106"/>
                    </a:lnTo>
                    <a:lnTo>
                      <a:pt x="1957" y="2109"/>
                    </a:lnTo>
                    <a:lnTo>
                      <a:pt x="1969" y="2110"/>
                    </a:lnTo>
                    <a:lnTo>
                      <a:pt x="1976" y="2110"/>
                    </a:lnTo>
                    <a:lnTo>
                      <a:pt x="1983" y="2108"/>
                    </a:lnTo>
                    <a:lnTo>
                      <a:pt x="1990" y="2106"/>
                    </a:lnTo>
                    <a:lnTo>
                      <a:pt x="1997" y="2102"/>
                    </a:lnTo>
                    <a:lnTo>
                      <a:pt x="2002" y="2098"/>
                    </a:lnTo>
                    <a:lnTo>
                      <a:pt x="2007" y="2094"/>
                    </a:lnTo>
                    <a:lnTo>
                      <a:pt x="2011" y="2088"/>
                    </a:lnTo>
                    <a:lnTo>
                      <a:pt x="2016" y="2082"/>
                    </a:lnTo>
                    <a:lnTo>
                      <a:pt x="2025" y="2070"/>
                    </a:lnTo>
                    <a:lnTo>
                      <a:pt x="2035" y="2058"/>
                    </a:lnTo>
                    <a:lnTo>
                      <a:pt x="2040" y="2051"/>
                    </a:lnTo>
                    <a:lnTo>
                      <a:pt x="2045" y="2045"/>
                    </a:lnTo>
                    <a:lnTo>
                      <a:pt x="2051" y="2040"/>
                    </a:lnTo>
                    <a:lnTo>
                      <a:pt x="2057" y="2035"/>
                    </a:lnTo>
                    <a:lnTo>
                      <a:pt x="2083" y="2017"/>
                    </a:lnTo>
                    <a:lnTo>
                      <a:pt x="2107" y="1999"/>
                    </a:lnTo>
                    <a:lnTo>
                      <a:pt x="2117" y="1990"/>
                    </a:lnTo>
                    <a:lnTo>
                      <a:pt x="2128" y="1981"/>
                    </a:lnTo>
                    <a:lnTo>
                      <a:pt x="2138" y="1971"/>
                    </a:lnTo>
                    <a:lnTo>
                      <a:pt x="2146" y="1961"/>
                    </a:lnTo>
                    <a:lnTo>
                      <a:pt x="2154" y="1950"/>
                    </a:lnTo>
                    <a:lnTo>
                      <a:pt x="2162" y="1940"/>
                    </a:lnTo>
                    <a:lnTo>
                      <a:pt x="2168" y="1929"/>
                    </a:lnTo>
                    <a:lnTo>
                      <a:pt x="2173" y="1916"/>
                    </a:lnTo>
                    <a:lnTo>
                      <a:pt x="2177" y="1904"/>
                    </a:lnTo>
                    <a:lnTo>
                      <a:pt x="2180" y="1889"/>
                    </a:lnTo>
                    <a:lnTo>
                      <a:pt x="2182" y="1876"/>
                    </a:lnTo>
                    <a:lnTo>
                      <a:pt x="2183" y="1860"/>
                    </a:lnTo>
                    <a:lnTo>
                      <a:pt x="2183" y="1850"/>
                    </a:lnTo>
                    <a:lnTo>
                      <a:pt x="2185" y="1841"/>
                    </a:lnTo>
                    <a:lnTo>
                      <a:pt x="2187" y="1832"/>
                    </a:lnTo>
                    <a:lnTo>
                      <a:pt x="2189" y="1824"/>
                    </a:lnTo>
                    <a:lnTo>
                      <a:pt x="2192" y="1816"/>
                    </a:lnTo>
                    <a:lnTo>
                      <a:pt x="2195" y="1808"/>
                    </a:lnTo>
                    <a:lnTo>
                      <a:pt x="2197" y="1798"/>
                    </a:lnTo>
                    <a:lnTo>
                      <a:pt x="2197" y="1788"/>
                    </a:lnTo>
                    <a:lnTo>
                      <a:pt x="2197" y="1781"/>
                    </a:lnTo>
                    <a:lnTo>
                      <a:pt x="2196" y="1775"/>
                    </a:lnTo>
                    <a:lnTo>
                      <a:pt x="2192" y="1767"/>
                    </a:lnTo>
                    <a:lnTo>
                      <a:pt x="2189" y="1761"/>
                    </a:lnTo>
                    <a:lnTo>
                      <a:pt x="2194" y="1743"/>
                    </a:lnTo>
                    <a:lnTo>
                      <a:pt x="2196" y="1726"/>
                    </a:lnTo>
                    <a:lnTo>
                      <a:pt x="2198" y="1718"/>
                    </a:lnTo>
                    <a:lnTo>
                      <a:pt x="2200" y="1711"/>
                    </a:lnTo>
                    <a:lnTo>
                      <a:pt x="2204" y="1702"/>
                    </a:lnTo>
                    <a:lnTo>
                      <a:pt x="2209" y="1695"/>
                    </a:lnTo>
                    <a:lnTo>
                      <a:pt x="2216" y="1687"/>
                    </a:lnTo>
                    <a:lnTo>
                      <a:pt x="2223" y="1680"/>
                    </a:lnTo>
                    <a:lnTo>
                      <a:pt x="2231" y="1673"/>
                    </a:lnTo>
                    <a:lnTo>
                      <a:pt x="2239" y="1668"/>
                    </a:lnTo>
                    <a:lnTo>
                      <a:pt x="2247" y="1663"/>
                    </a:lnTo>
                    <a:lnTo>
                      <a:pt x="2255" y="1659"/>
                    </a:lnTo>
                    <a:lnTo>
                      <a:pt x="2264" y="1656"/>
                    </a:lnTo>
                    <a:lnTo>
                      <a:pt x="2273" y="1653"/>
                    </a:lnTo>
                    <a:lnTo>
                      <a:pt x="2311" y="1645"/>
                    </a:lnTo>
                    <a:lnTo>
                      <a:pt x="2352" y="1636"/>
                    </a:lnTo>
                    <a:lnTo>
                      <a:pt x="2352" y="1636"/>
                    </a:lnTo>
                    <a:lnTo>
                      <a:pt x="2355" y="1621"/>
                    </a:lnTo>
                    <a:lnTo>
                      <a:pt x="2359" y="1607"/>
                    </a:lnTo>
                    <a:lnTo>
                      <a:pt x="2362" y="1594"/>
                    </a:lnTo>
                    <a:lnTo>
                      <a:pt x="2362" y="1579"/>
                    </a:lnTo>
                    <a:lnTo>
                      <a:pt x="2362" y="1573"/>
                    </a:lnTo>
                    <a:lnTo>
                      <a:pt x="2361" y="1568"/>
                    </a:lnTo>
                    <a:lnTo>
                      <a:pt x="2360" y="1562"/>
                    </a:lnTo>
                    <a:lnTo>
                      <a:pt x="2357" y="1558"/>
                    </a:lnTo>
                    <a:lnTo>
                      <a:pt x="2353" y="1548"/>
                    </a:lnTo>
                    <a:lnTo>
                      <a:pt x="2348" y="1539"/>
                    </a:lnTo>
                    <a:lnTo>
                      <a:pt x="2343" y="1530"/>
                    </a:lnTo>
                    <a:lnTo>
                      <a:pt x="2338" y="1521"/>
                    </a:lnTo>
                    <a:lnTo>
                      <a:pt x="2336" y="1515"/>
                    </a:lnTo>
                    <a:lnTo>
                      <a:pt x="2335" y="1510"/>
                    </a:lnTo>
                    <a:lnTo>
                      <a:pt x="2334" y="1505"/>
                    </a:lnTo>
                    <a:lnTo>
                      <a:pt x="2334" y="1499"/>
                    </a:lnTo>
                    <a:lnTo>
                      <a:pt x="2338" y="1493"/>
                    </a:lnTo>
                    <a:lnTo>
                      <a:pt x="2343" y="1488"/>
                    </a:lnTo>
                    <a:lnTo>
                      <a:pt x="2343" y="1488"/>
                    </a:lnTo>
                    <a:lnTo>
                      <a:pt x="2338" y="1479"/>
                    </a:lnTo>
                    <a:lnTo>
                      <a:pt x="2333" y="1473"/>
                    </a:lnTo>
                    <a:lnTo>
                      <a:pt x="2328" y="1469"/>
                    </a:lnTo>
                    <a:lnTo>
                      <a:pt x="2321" y="1464"/>
                    </a:lnTo>
                    <a:lnTo>
                      <a:pt x="2314" y="1460"/>
                    </a:lnTo>
                    <a:lnTo>
                      <a:pt x="2308" y="1455"/>
                    </a:lnTo>
                    <a:lnTo>
                      <a:pt x="2302" y="1449"/>
                    </a:lnTo>
                    <a:lnTo>
                      <a:pt x="2296" y="1442"/>
                    </a:lnTo>
                    <a:lnTo>
                      <a:pt x="2274" y="1411"/>
                    </a:lnTo>
                    <a:lnTo>
                      <a:pt x="2254" y="1383"/>
                    </a:lnTo>
                    <a:lnTo>
                      <a:pt x="2244" y="1370"/>
                    </a:lnTo>
                    <a:lnTo>
                      <a:pt x="2232" y="1358"/>
                    </a:lnTo>
                    <a:lnTo>
                      <a:pt x="2225" y="1352"/>
                    </a:lnTo>
                    <a:lnTo>
                      <a:pt x="2218" y="1347"/>
                    </a:lnTo>
                    <a:lnTo>
                      <a:pt x="2210" y="1341"/>
                    </a:lnTo>
                    <a:lnTo>
                      <a:pt x="2202" y="1336"/>
                    </a:lnTo>
                    <a:lnTo>
                      <a:pt x="2204" y="1332"/>
                    </a:lnTo>
                    <a:lnTo>
                      <a:pt x="2207" y="1328"/>
                    </a:lnTo>
                    <a:lnTo>
                      <a:pt x="2209" y="1324"/>
                    </a:lnTo>
                    <a:lnTo>
                      <a:pt x="2213" y="1321"/>
                    </a:lnTo>
                    <a:lnTo>
                      <a:pt x="2220" y="1315"/>
                    </a:lnTo>
                    <a:lnTo>
                      <a:pt x="2229" y="1311"/>
                    </a:lnTo>
                    <a:lnTo>
                      <a:pt x="2248" y="1306"/>
                    </a:lnTo>
                    <a:lnTo>
                      <a:pt x="2269" y="1302"/>
                    </a:lnTo>
                    <a:lnTo>
                      <a:pt x="2278" y="1300"/>
                    </a:lnTo>
                    <a:lnTo>
                      <a:pt x="2287" y="1297"/>
                    </a:lnTo>
                    <a:lnTo>
                      <a:pt x="2297" y="1294"/>
                    </a:lnTo>
                    <a:lnTo>
                      <a:pt x="2304" y="1290"/>
                    </a:lnTo>
                    <a:lnTo>
                      <a:pt x="2310" y="1285"/>
                    </a:lnTo>
                    <a:lnTo>
                      <a:pt x="2315" y="1280"/>
                    </a:lnTo>
                    <a:lnTo>
                      <a:pt x="2317" y="1276"/>
                    </a:lnTo>
                    <a:lnTo>
                      <a:pt x="2318" y="1272"/>
                    </a:lnTo>
                    <a:lnTo>
                      <a:pt x="2319" y="1268"/>
                    </a:lnTo>
                    <a:lnTo>
                      <a:pt x="2319" y="1262"/>
                    </a:lnTo>
                    <a:lnTo>
                      <a:pt x="2318" y="1254"/>
                    </a:lnTo>
                    <a:lnTo>
                      <a:pt x="2316" y="1246"/>
                    </a:lnTo>
                    <a:lnTo>
                      <a:pt x="2312" y="1240"/>
                    </a:lnTo>
                    <a:lnTo>
                      <a:pt x="2307" y="1235"/>
                    </a:lnTo>
                    <a:lnTo>
                      <a:pt x="2301" y="1229"/>
                    </a:lnTo>
                    <a:lnTo>
                      <a:pt x="2294" y="1226"/>
                    </a:lnTo>
                    <a:lnTo>
                      <a:pt x="2285" y="1223"/>
                    </a:lnTo>
                    <a:lnTo>
                      <a:pt x="2276" y="1221"/>
                    </a:lnTo>
                    <a:lnTo>
                      <a:pt x="2236" y="1216"/>
                    </a:lnTo>
                    <a:lnTo>
                      <a:pt x="2195" y="1211"/>
                    </a:lnTo>
                    <a:lnTo>
                      <a:pt x="2189" y="1210"/>
                    </a:lnTo>
                    <a:lnTo>
                      <a:pt x="2185" y="1208"/>
                    </a:lnTo>
                    <a:lnTo>
                      <a:pt x="2181" y="1205"/>
                    </a:lnTo>
                    <a:lnTo>
                      <a:pt x="2179" y="1202"/>
                    </a:lnTo>
                    <a:lnTo>
                      <a:pt x="2174" y="1193"/>
                    </a:lnTo>
                    <a:lnTo>
                      <a:pt x="2171" y="1183"/>
                    </a:lnTo>
                    <a:lnTo>
                      <a:pt x="2168" y="1173"/>
                    </a:lnTo>
                    <a:lnTo>
                      <a:pt x="2165" y="1162"/>
                    </a:lnTo>
                    <a:lnTo>
                      <a:pt x="2161" y="1152"/>
                    </a:lnTo>
                    <a:lnTo>
                      <a:pt x="2154" y="1143"/>
                    </a:lnTo>
                    <a:lnTo>
                      <a:pt x="2150" y="1137"/>
                    </a:lnTo>
                    <a:lnTo>
                      <a:pt x="2145" y="1134"/>
                    </a:lnTo>
                    <a:lnTo>
                      <a:pt x="2140" y="1131"/>
                    </a:lnTo>
                    <a:lnTo>
                      <a:pt x="2134" y="1130"/>
                    </a:lnTo>
                    <a:lnTo>
                      <a:pt x="2121" y="1128"/>
                    </a:lnTo>
                    <a:lnTo>
                      <a:pt x="2107" y="1128"/>
                    </a:lnTo>
                    <a:lnTo>
                      <a:pt x="2101" y="1129"/>
                    </a:lnTo>
                    <a:lnTo>
                      <a:pt x="2096" y="1130"/>
                    </a:lnTo>
                    <a:lnTo>
                      <a:pt x="2090" y="1132"/>
                    </a:lnTo>
                    <a:lnTo>
                      <a:pt x="2085" y="1135"/>
                    </a:lnTo>
                    <a:lnTo>
                      <a:pt x="2077" y="1143"/>
                    </a:lnTo>
                    <a:lnTo>
                      <a:pt x="2070" y="1152"/>
                    </a:lnTo>
                    <a:lnTo>
                      <a:pt x="2063" y="1162"/>
                    </a:lnTo>
                    <a:lnTo>
                      <a:pt x="2054" y="1172"/>
                    </a:lnTo>
                    <a:lnTo>
                      <a:pt x="2050" y="1177"/>
                    </a:lnTo>
                    <a:lnTo>
                      <a:pt x="2046" y="1181"/>
                    </a:lnTo>
                    <a:lnTo>
                      <a:pt x="2040" y="1184"/>
                    </a:lnTo>
                    <a:lnTo>
                      <a:pt x="2035" y="1187"/>
                    </a:lnTo>
                    <a:lnTo>
                      <a:pt x="1999" y="1204"/>
                    </a:lnTo>
                    <a:lnTo>
                      <a:pt x="1966" y="1217"/>
                    </a:lnTo>
                    <a:lnTo>
                      <a:pt x="1934" y="1229"/>
                    </a:lnTo>
                    <a:lnTo>
                      <a:pt x="1904" y="1240"/>
                    </a:lnTo>
                    <a:lnTo>
                      <a:pt x="1887" y="1244"/>
                    </a:lnTo>
                    <a:lnTo>
                      <a:pt x="1872" y="1247"/>
                    </a:lnTo>
                    <a:lnTo>
                      <a:pt x="1856" y="1251"/>
                    </a:lnTo>
                    <a:lnTo>
                      <a:pt x="1840" y="1253"/>
                    </a:lnTo>
                    <a:lnTo>
                      <a:pt x="1822" y="1255"/>
                    </a:lnTo>
                    <a:lnTo>
                      <a:pt x="1804" y="1257"/>
                    </a:lnTo>
                    <a:lnTo>
                      <a:pt x="1785" y="1258"/>
                    </a:lnTo>
                    <a:lnTo>
                      <a:pt x="1766" y="1258"/>
                    </a:lnTo>
                    <a:lnTo>
                      <a:pt x="1748" y="1257"/>
                    </a:lnTo>
                    <a:lnTo>
                      <a:pt x="1733" y="1256"/>
                    </a:lnTo>
                    <a:lnTo>
                      <a:pt x="1717" y="1253"/>
                    </a:lnTo>
                    <a:lnTo>
                      <a:pt x="1704" y="1249"/>
                    </a:lnTo>
                    <a:lnTo>
                      <a:pt x="1675" y="1240"/>
                    </a:lnTo>
                    <a:lnTo>
                      <a:pt x="1643" y="1227"/>
                    </a:lnTo>
                    <a:lnTo>
                      <a:pt x="1622" y="1220"/>
                    </a:lnTo>
                    <a:lnTo>
                      <a:pt x="1604" y="1212"/>
                    </a:lnTo>
                    <a:lnTo>
                      <a:pt x="1595" y="1207"/>
                    </a:lnTo>
                    <a:lnTo>
                      <a:pt x="1589" y="1200"/>
                    </a:lnTo>
                    <a:lnTo>
                      <a:pt x="1587" y="1196"/>
                    </a:lnTo>
                    <a:lnTo>
                      <a:pt x="1585" y="1192"/>
                    </a:lnTo>
                    <a:lnTo>
                      <a:pt x="1584" y="1188"/>
                    </a:lnTo>
                    <a:lnTo>
                      <a:pt x="1584" y="1183"/>
                    </a:lnTo>
                    <a:lnTo>
                      <a:pt x="1585" y="1172"/>
                    </a:lnTo>
                    <a:lnTo>
                      <a:pt x="1587" y="1163"/>
                    </a:lnTo>
                    <a:lnTo>
                      <a:pt x="1590" y="1154"/>
                    </a:lnTo>
                    <a:lnTo>
                      <a:pt x="1591" y="1143"/>
                    </a:lnTo>
                    <a:lnTo>
                      <a:pt x="1591" y="1088"/>
                    </a:lnTo>
                    <a:lnTo>
                      <a:pt x="1590" y="1062"/>
                    </a:lnTo>
                    <a:lnTo>
                      <a:pt x="1587" y="1037"/>
                    </a:lnTo>
                    <a:lnTo>
                      <a:pt x="1585" y="1026"/>
                    </a:lnTo>
                    <a:lnTo>
                      <a:pt x="1582" y="1015"/>
                    </a:lnTo>
                    <a:lnTo>
                      <a:pt x="1579" y="1004"/>
                    </a:lnTo>
                    <a:lnTo>
                      <a:pt x="1575" y="993"/>
                    </a:lnTo>
                    <a:lnTo>
                      <a:pt x="1570" y="984"/>
                    </a:lnTo>
                    <a:lnTo>
                      <a:pt x="1564" y="973"/>
                    </a:lnTo>
                    <a:lnTo>
                      <a:pt x="1558" y="964"/>
                    </a:lnTo>
                    <a:lnTo>
                      <a:pt x="1551" y="955"/>
                    </a:lnTo>
                    <a:lnTo>
                      <a:pt x="1543" y="946"/>
                    </a:lnTo>
                    <a:lnTo>
                      <a:pt x="1534" y="938"/>
                    </a:lnTo>
                    <a:lnTo>
                      <a:pt x="1524" y="931"/>
                    </a:lnTo>
                    <a:lnTo>
                      <a:pt x="1513" y="923"/>
                    </a:lnTo>
                    <a:lnTo>
                      <a:pt x="1497" y="911"/>
                    </a:lnTo>
                    <a:lnTo>
                      <a:pt x="1484" y="901"/>
                    </a:lnTo>
                    <a:lnTo>
                      <a:pt x="1477" y="897"/>
                    </a:lnTo>
                    <a:lnTo>
                      <a:pt x="1470" y="893"/>
                    </a:lnTo>
                    <a:lnTo>
                      <a:pt x="1461" y="891"/>
                    </a:lnTo>
                    <a:lnTo>
                      <a:pt x="1452" y="890"/>
                    </a:lnTo>
                    <a:lnTo>
                      <a:pt x="1440" y="891"/>
                    </a:lnTo>
                    <a:lnTo>
                      <a:pt x="1429" y="893"/>
                    </a:lnTo>
                    <a:lnTo>
                      <a:pt x="1418" y="895"/>
                    </a:lnTo>
                    <a:lnTo>
                      <a:pt x="1409" y="898"/>
                    </a:lnTo>
                    <a:lnTo>
                      <a:pt x="1390" y="907"/>
                    </a:lnTo>
                    <a:lnTo>
                      <a:pt x="1372" y="918"/>
                    </a:lnTo>
                    <a:lnTo>
                      <a:pt x="1354" y="927"/>
                    </a:lnTo>
                    <a:lnTo>
                      <a:pt x="1336" y="936"/>
                    </a:lnTo>
                    <a:lnTo>
                      <a:pt x="1325" y="939"/>
                    </a:lnTo>
                    <a:lnTo>
                      <a:pt x="1315" y="942"/>
                    </a:lnTo>
                    <a:lnTo>
                      <a:pt x="1304" y="943"/>
                    </a:lnTo>
                    <a:lnTo>
                      <a:pt x="1292" y="944"/>
                    </a:lnTo>
                    <a:lnTo>
                      <a:pt x="1285" y="943"/>
                    </a:lnTo>
                    <a:lnTo>
                      <a:pt x="1279" y="941"/>
                    </a:lnTo>
                    <a:lnTo>
                      <a:pt x="1273" y="939"/>
                    </a:lnTo>
                    <a:lnTo>
                      <a:pt x="1267" y="935"/>
                    </a:lnTo>
                    <a:lnTo>
                      <a:pt x="1257" y="928"/>
                    </a:lnTo>
                    <a:lnTo>
                      <a:pt x="1245" y="921"/>
                    </a:lnTo>
                    <a:lnTo>
                      <a:pt x="1228" y="914"/>
                    </a:lnTo>
                    <a:lnTo>
                      <a:pt x="1214" y="908"/>
                    </a:lnTo>
                    <a:lnTo>
                      <a:pt x="1208" y="905"/>
                    </a:lnTo>
                    <a:lnTo>
                      <a:pt x="1201" y="901"/>
                    </a:lnTo>
                    <a:lnTo>
                      <a:pt x="1196" y="895"/>
                    </a:lnTo>
                    <a:lnTo>
                      <a:pt x="1193" y="888"/>
                    </a:lnTo>
                    <a:lnTo>
                      <a:pt x="1187" y="873"/>
                    </a:lnTo>
                    <a:lnTo>
                      <a:pt x="1184" y="860"/>
                    </a:lnTo>
                    <a:lnTo>
                      <a:pt x="1182" y="847"/>
                    </a:lnTo>
                    <a:lnTo>
                      <a:pt x="1181" y="835"/>
                    </a:lnTo>
                    <a:lnTo>
                      <a:pt x="1180" y="808"/>
                    </a:lnTo>
                    <a:lnTo>
                      <a:pt x="1179" y="779"/>
                    </a:lnTo>
                    <a:lnTo>
                      <a:pt x="1169" y="778"/>
                    </a:lnTo>
                    <a:lnTo>
                      <a:pt x="1161" y="777"/>
                    </a:lnTo>
                    <a:lnTo>
                      <a:pt x="1154" y="774"/>
                    </a:lnTo>
                    <a:lnTo>
                      <a:pt x="1147" y="770"/>
                    </a:lnTo>
                    <a:lnTo>
                      <a:pt x="1141" y="766"/>
                    </a:lnTo>
                    <a:lnTo>
                      <a:pt x="1135" y="760"/>
                    </a:lnTo>
                    <a:lnTo>
                      <a:pt x="1133" y="755"/>
                    </a:lnTo>
                    <a:lnTo>
                      <a:pt x="1132" y="752"/>
                    </a:lnTo>
                    <a:lnTo>
                      <a:pt x="1131" y="748"/>
                    </a:lnTo>
                    <a:lnTo>
                      <a:pt x="1131" y="744"/>
                    </a:lnTo>
                    <a:lnTo>
                      <a:pt x="1131" y="693"/>
                    </a:lnTo>
                    <a:lnTo>
                      <a:pt x="1131" y="688"/>
                    </a:lnTo>
                    <a:lnTo>
                      <a:pt x="1130" y="683"/>
                    </a:lnTo>
                    <a:lnTo>
                      <a:pt x="1128" y="679"/>
                    </a:lnTo>
                    <a:lnTo>
                      <a:pt x="1126" y="675"/>
                    </a:lnTo>
                    <a:lnTo>
                      <a:pt x="1120" y="668"/>
                    </a:lnTo>
                    <a:lnTo>
                      <a:pt x="1112" y="662"/>
                    </a:lnTo>
                    <a:lnTo>
                      <a:pt x="1094" y="651"/>
                    </a:lnTo>
                    <a:lnTo>
                      <a:pt x="1077" y="638"/>
                    </a:lnTo>
                    <a:lnTo>
                      <a:pt x="1064" y="623"/>
                    </a:lnTo>
                    <a:lnTo>
                      <a:pt x="1052" y="611"/>
                    </a:lnTo>
                    <a:lnTo>
                      <a:pt x="1041" y="597"/>
                    </a:lnTo>
                    <a:lnTo>
                      <a:pt x="1031" y="584"/>
                    </a:lnTo>
                    <a:lnTo>
                      <a:pt x="1027" y="577"/>
                    </a:lnTo>
                    <a:lnTo>
                      <a:pt x="1024" y="570"/>
                    </a:lnTo>
                    <a:lnTo>
                      <a:pt x="1021" y="562"/>
                    </a:lnTo>
                    <a:lnTo>
                      <a:pt x="1018" y="555"/>
                    </a:lnTo>
                    <a:lnTo>
                      <a:pt x="1016" y="547"/>
                    </a:lnTo>
                    <a:lnTo>
                      <a:pt x="1015" y="538"/>
                    </a:lnTo>
                    <a:lnTo>
                      <a:pt x="1014" y="529"/>
                    </a:lnTo>
                    <a:lnTo>
                      <a:pt x="1014" y="519"/>
                    </a:lnTo>
                    <a:lnTo>
                      <a:pt x="1014" y="491"/>
                    </a:lnTo>
                    <a:lnTo>
                      <a:pt x="1016" y="464"/>
                    </a:lnTo>
                    <a:lnTo>
                      <a:pt x="1019" y="440"/>
                    </a:lnTo>
                    <a:lnTo>
                      <a:pt x="1023" y="417"/>
                    </a:lnTo>
                    <a:lnTo>
                      <a:pt x="1027" y="393"/>
                    </a:lnTo>
                    <a:lnTo>
                      <a:pt x="1031" y="368"/>
                    </a:lnTo>
                    <a:lnTo>
                      <a:pt x="1035" y="342"/>
                    </a:lnTo>
                    <a:lnTo>
                      <a:pt x="1040" y="313"/>
                    </a:lnTo>
                    <a:lnTo>
                      <a:pt x="1040" y="313"/>
                    </a:lnTo>
                    <a:lnTo>
                      <a:pt x="1024" y="301"/>
                    </a:lnTo>
                    <a:lnTo>
                      <a:pt x="1011" y="290"/>
                    </a:lnTo>
                    <a:lnTo>
                      <a:pt x="996" y="279"/>
                    </a:lnTo>
                    <a:lnTo>
                      <a:pt x="982" y="271"/>
                    </a:lnTo>
                    <a:lnTo>
                      <a:pt x="967" y="263"/>
                    </a:lnTo>
                    <a:lnTo>
                      <a:pt x="952" y="255"/>
                    </a:lnTo>
                    <a:lnTo>
                      <a:pt x="935" y="246"/>
                    </a:lnTo>
                    <a:lnTo>
                      <a:pt x="917" y="238"/>
                    </a:lnTo>
                    <a:lnTo>
                      <a:pt x="891" y="228"/>
                    </a:lnTo>
                    <a:lnTo>
                      <a:pt x="868" y="216"/>
                    </a:lnTo>
                    <a:lnTo>
                      <a:pt x="863" y="212"/>
                    </a:lnTo>
                    <a:lnTo>
                      <a:pt x="858" y="209"/>
                    </a:lnTo>
                    <a:lnTo>
                      <a:pt x="854" y="205"/>
                    </a:lnTo>
                    <a:lnTo>
                      <a:pt x="851" y="200"/>
                    </a:lnTo>
                    <a:lnTo>
                      <a:pt x="848" y="196"/>
                    </a:lnTo>
                    <a:lnTo>
                      <a:pt x="846" y="190"/>
                    </a:lnTo>
                    <a:lnTo>
                      <a:pt x="845" y="183"/>
                    </a:lnTo>
                    <a:lnTo>
                      <a:pt x="844" y="177"/>
                    </a:lnTo>
                    <a:lnTo>
                      <a:pt x="845" y="152"/>
                    </a:lnTo>
                    <a:lnTo>
                      <a:pt x="846" y="130"/>
                    </a:lnTo>
                    <a:lnTo>
                      <a:pt x="845" y="119"/>
                    </a:lnTo>
                    <a:lnTo>
                      <a:pt x="844" y="109"/>
                    </a:lnTo>
                    <a:lnTo>
                      <a:pt x="839" y="98"/>
                    </a:lnTo>
                    <a:lnTo>
                      <a:pt x="834" y="87"/>
                    </a:lnTo>
                    <a:lnTo>
                      <a:pt x="831" y="82"/>
                    </a:lnTo>
                    <a:lnTo>
                      <a:pt x="827" y="78"/>
                    </a:lnTo>
                    <a:lnTo>
                      <a:pt x="823" y="74"/>
                    </a:lnTo>
                    <a:lnTo>
                      <a:pt x="819" y="70"/>
                    </a:lnTo>
                    <a:lnTo>
                      <a:pt x="810" y="65"/>
                    </a:lnTo>
                    <a:lnTo>
                      <a:pt x="800" y="59"/>
                    </a:lnTo>
                    <a:lnTo>
                      <a:pt x="780" y="52"/>
                    </a:lnTo>
                    <a:lnTo>
                      <a:pt x="757" y="43"/>
                    </a:lnTo>
                    <a:lnTo>
                      <a:pt x="747" y="37"/>
                    </a:lnTo>
                    <a:lnTo>
                      <a:pt x="738" y="30"/>
                    </a:lnTo>
                    <a:lnTo>
                      <a:pt x="731" y="23"/>
                    </a:lnTo>
                    <a:lnTo>
                      <a:pt x="724" y="16"/>
                    </a:lnTo>
                    <a:lnTo>
                      <a:pt x="717" y="10"/>
                    </a:lnTo>
                    <a:lnTo>
                      <a:pt x="709" y="5"/>
                    </a:lnTo>
                    <a:lnTo>
                      <a:pt x="703" y="3"/>
                    </a:lnTo>
                    <a:lnTo>
                      <a:pt x="699" y="2"/>
                    </a:lnTo>
                    <a:lnTo>
                      <a:pt x="694" y="1"/>
                    </a:lnTo>
                    <a:lnTo>
                      <a:pt x="688" y="0"/>
                    </a:lnTo>
                    <a:lnTo>
                      <a:pt x="670" y="1"/>
                    </a:lnTo>
                    <a:lnTo>
                      <a:pt x="655" y="4"/>
                    </a:lnTo>
                    <a:lnTo>
                      <a:pt x="639" y="7"/>
                    </a:lnTo>
                    <a:lnTo>
                      <a:pt x="626" y="12"/>
                    </a:lnTo>
                    <a:lnTo>
                      <a:pt x="612" y="16"/>
                    </a:lnTo>
                    <a:lnTo>
                      <a:pt x="597" y="21"/>
                    </a:lnTo>
                    <a:lnTo>
                      <a:pt x="581" y="25"/>
                    </a:lnTo>
                    <a:lnTo>
                      <a:pt x="563" y="28"/>
                    </a:lnTo>
                    <a:lnTo>
                      <a:pt x="546" y="36"/>
                    </a:lnTo>
                    <a:lnTo>
                      <a:pt x="529" y="43"/>
                    </a:lnTo>
                    <a:lnTo>
                      <a:pt x="515" y="52"/>
                    </a:lnTo>
                    <a:lnTo>
                      <a:pt x="500" y="60"/>
                    </a:lnTo>
                    <a:lnTo>
                      <a:pt x="486" y="68"/>
                    </a:lnTo>
                    <a:lnTo>
                      <a:pt x="471" y="75"/>
                    </a:lnTo>
                    <a:lnTo>
                      <a:pt x="463" y="77"/>
                    </a:lnTo>
                    <a:lnTo>
                      <a:pt x="455" y="79"/>
                    </a:lnTo>
                    <a:lnTo>
                      <a:pt x="446" y="80"/>
                    </a:lnTo>
                    <a:lnTo>
                      <a:pt x="436" y="80"/>
                    </a:lnTo>
                    <a:lnTo>
                      <a:pt x="427" y="79"/>
                    </a:lnTo>
                    <a:lnTo>
                      <a:pt x="419" y="77"/>
                    </a:lnTo>
                    <a:lnTo>
                      <a:pt x="410" y="74"/>
                    </a:lnTo>
                    <a:lnTo>
                      <a:pt x="403" y="69"/>
                    </a:lnTo>
                    <a:lnTo>
                      <a:pt x="391" y="57"/>
                    </a:lnTo>
                    <a:lnTo>
                      <a:pt x="380" y="45"/>
                    </a:lnTo>
                    <a:lnTo>
                      <a:pt x="368" y="32"/>
                    </a:lnTo>
                    <a:lnTo>
                      <a:pt x="355" y="20"/>
                    </a:lnTo>
                    <a:lnTo>
                      <a:pt x="348" y="16"/>
                    </a:lnTo>
                    <a:lnTo>
                      <a:pt x="340" y="13"/>
                    </a:lnTo>
                    <a:lnTo>
                      <a:pt x="332" y="10"/>
                    </a:lnTo>
                    <a:lnTo>
                      <a:pt x="323" y="10"/>
                    </a:lnTo>
                    <a:lnTo>
                      <a:pt x="317" y="10"/>
                    </a:lnTo>
                    <a:lnTo>
                      <a:pt x="311" y="11"/>
                    </a:lnTo>
                    <a:lnTo>
                      <a:pt x="306" y="12"/>
                    </a:lnTo>
                    <a:lnTo>
                      <a:pt x="301" y="13"/>
                    </a:lnTo>
                    <a:lnTo>
                      <a:pt x="292" y="18"/>
                    </a:lnTo>
                    <a:lnTo>
                      <a:pt x="284" y="23"/>
                    </a:lnTo>
                    <a:lnTo>
                      <a:pt x="267" y="37"/>
                    </a:lnTo>
                    <a:lnTo>
                      <a:pt x="248" y="49"/>
                    </a:lnTo>
                    <a:lnTo>
                      <a:pt x="216" y="67"/>
                    </a:lnTo>
                    <a:lnTo>
                      <a:pt x="187" y="84"/>
                    </a:lnTo>
                    <a:lnTo>
                      <a:pt x="174" y="93"/>
                    </a:lnTo>
                    <a:lnTo>
                      <a:pt x="163" y="105"/>
                    </a:lnTo>
                    <a:lnTo>
                      <a:pt x="158" y="111"/>
                    </a:lnTo>
                    <a:lnTo>
                      <a:pt x="153" y="118"/>
                    </a:lnTo>
                    <a:lnTo>
                      <a:pt x="149" y="127"/>
                    </a:lnTo>
                    <a:lnTo>
                      <a:pt x="143" y="135"/>
                    </a:lnTo>
                    <a:lnTo>
                      <a:pt x="134" y="130"/>
                    </a:lnTo>
                    <a:lnTo>
                      <a:pt x="125" y="128"/>
                    </a:lnTo>
                    <a:lnTo>
                      <a:pt x="117" y="129"/>
                    </a:lnTo>
                    <a:lnTo>
                      <a:pt x="109" y="131"/>
                    </a:lnTo>
                    <a:lnTo>
                      <a:pt x="101" y="134"/>
                    </a:lnTo>
                    <a:lnTo>
                      <a:pt x="93" y="135"/>
                    </a:lnTo>
                    <a:lnTo>
                      <a:pt x="87" y="134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76" y="159"/>
                    </a:lnTo>
                    <a:lnTo>
                      <a:pt x="71" y="181"/>
                    </a:lnTo>
                    <a:lnTo>
                      <a:pt x="65" y="202"/>
                    </a:lnTo>
                    <a:lnTo>
                      <a:pt x="57" y="223"/>
                    </a:lnTo>
                    <a:lnTo>
                      <a:pt x="50" y="242"/>
                    </a:lnTo>
                    <a:lnTo>
                      <a:pt x="40" y="263"/>
                    </a:lnTo>
                    <a:lnTo>
                      <a:pt x="31" y="283"/>
                    </a:lnTo>
                    <a:lnTo>
                      <a:pt x="21" y="307"/>
                    </a:lnTo>
                    <a:lnTo>
                      <a:pt x="16" y="317"/>
                    </a:lnTo>
                    <a:lnTo>
                      <a:pt x="8" y="325"/>
                    </a:lnTo>
                    <a:lnTo>
                      <a:pt x="5" y="329"/>
                    </a:lnTo>
                    <a:lnTo>
                      <a:pt x="2" y="334"/>
                    </a:lnTo>
                    <a:lnTo>
                      <a:pt x="0" y="339"/>
                    </a:lnTo>
                    <a:lnTo>
                      <a:pt x="0" y="344"/>
                    </a:lnTo>
                    <a:lnTo>
                      <a:pt x="0" y="350"/>
                    </a:lnTo>
                    <a:lnTo>
                      <a:pt x="1" y="354"/>
                    </a:lnTo>
                    <a:lnTo>
                      <a:pt x="3" y="358"/>
                    </a:lnTo>
                    <a:lnTo>
                      <a:pt x="5" y="362"/>
                    </a:lnTo>
                    <a:lnTo>
                      <a:pt x="10" y="368"/>
                    </a:lnTo>
                    <a:lnTo>
                      <a:pt x="18" y="373"/>
                    </a:lnTo>
                    <a:lnTo>
                      <a:pt x="35" y="383"/>
                    </a:lnTo>
                    <a:lnTo>
                      <a:pt x="52" y="394"/>
                    </a:lnTo>
                    <a:lnTo>
                      <a:pt x="59" y="401"/>
                    </a:lnTo>
                    <a:lnTo>
                      <a:pt x="65" y="408"/>
                    </a:lnTo>
                    <a:lnTo>
                      <a:pt x="69" y="416"/>
                    </a:lnTo>
                    <a:lnTo>
                      <a:pt x="74" y="423"/>
                    </a:lnTo>
                    <a:lnTo>
                      <a:pt x="78" y="430"/>
                    </a:lnTo>
                    <a:lnTo>
                      <a:pt x="84" y="437"/>
                    </a:lnTo>
                    <a:lnTo>
                      <a:pt x="90" y="444"/>
                    </a:lnTo>
                    <a:lnTo>
                      <a:pt x="97" y="451"/>
                    </a:lnTo>
                    <a:lnTo>
                      <a:pt x="126" y="474"/>
                    </a:lnTo>
                    <a:lnTo>
                      <a:pt x="153" y="496"/>
                    </a:lnTo>
                    <a:lnTo>
                      <a:pt x="158" y="501"/>
                    </a:lnTo>
                    <a:lnTo>
                      <a:pt x="163" y="508"/>
                    </a:lnTo>
                    <a:lnTo>
                      <a:pt x="168" y="514"/>
                    </a:lnTo>
                    <a:lnTo>
                      <a:pt x="171" y="521"/>
                    </a:lnTo>
                    <a:lnTo>
                      <a:pt x="174" y="528"/>
                    </a:lnTo>
                    <a:lnTo>
                      <a:pt x="177" y="536"/>
                    </a:lnTo>
                    <a:lnTo>
                      <a:pt x="178" y="545"/>
                    </a:lnTo>
                    <a:lnTo>
                      <a:pt x="179" y="554"/>
                    </a:lnTo>
                    <a:lnTo>
                      <a:pt x="178" y="575"/>
                    </a:lnTo>
                    <a:lnTo>
                      <a:pt x="178" y="593"/>
                    </a:lnTo>
                    <a:lnTo>
                      <a:pt x="178" y="612"/>
                    </a:lnTo>
                    <a:lnTo>
                      <a:pt x="177" y="633"/>
                    </a:lnTo>
                    <a:lnTo>
                      <a:pt x="177" y="737"/>
                    </a:lnTo>
                    <a:lnTo>
                      <a:pt x="177" y="746"/>
                    </a:lnTo>
                    <a:lnTo>
                      <a:pt x="176" y="755"/>
                    </a:lnTo>
                    <a:lnTo>
                      <a:pt x="174" y="764"/>
                    </a:lnTo>
                    <a:lnTo>
                      <a:pt x="172" y="771"/>
                    </a:lnTo>
                    <a:lnTo>
                      <a:pt x="166" y="786"/>
                    </a:lnTo>
                    <a:lnTo>
                      <a:pt x="160" y="801"/>
                    </a:lnTo>
                    <a:lnTo>
                      <a:pt x="153" y="814"/>
                    </a:lnTo>
                    <a:lnTo>
                      <a:pt x="146" y="830"/>
                    </a:lnTo>
                    <a:lnTo>
                      <a:pt x="144" y="838"/>
                    </a:lnTo>
                    <a:lnTo>
                      <a:pt x="142" y="846"/>
                    </a:lnTo>
                    <a:lnTo>
                      <a:pt x="141" y="855"/>
                    </a:lnTo>
                    <a:lnTo>
                      <a:pt x="141" y="864"/>
                    </a:lnTo>
                    <a:lnTo>
                      <a:pt x="141" y="868"/>
                    </a:lnTo>
                    <a:lnTo>
                      <a:pt x="143" y="870"/>
                    </a:lnTo>
                    <a:lnTo>
                      <a:pt x="145" y="873"/>
                    </a:lnTo>
                    <a:lnTo>
                      <a:pt x="149" y="875"/>
                    </a:lnTo>
                    <a:lnTo>
                      <a:pt x="154" y="878"/>
                    </a:lnTo>
                    <a:lnTo>
                      <a:pt x="160" y="882"/>
                    </a:lnTo>
                    <a:lnTo>
                      <a:pt x="188" y="907"/>
                    </a:lnTo>
                    <a:lnTo>
                      <a:pt x="215" y="929"/>
                    </a:lnTo>
                    <a:lnTo>
                      <a:pt x="221" y="935"/>
                    </a:lnTo>
                    <a:lnTo>
                      <a:pt x="226" y="941"/>
                    </a:lnTo>
                    <a:lnTo>
                      <a:pt x="231" y="947"/>
                    </a:lnTo>
                    <a:lnTo>
                      <a:pt x="235" y="954"/>
                    </a:lnTo>
                    <a:lnTo>
                      <a:pt x="238" y="961"/>
                    </a:lnTo>
                    <a:lnTo>
                      <a:pt x="240" y="969"/>
                    </a:lnTo>
                    <a:lnTo>
                      <a:pt x="242" y="977"/>
                    </a:lnTo>
                    <a:lnTo>
                      <a:pt x="242" y="987"/>
                    </a:lnTo>
                    <a:lnTo>
                      <a:pt x="242" y="1000"/>
                    </a:lnTo>
                    <a:lnTo>
                      <a:pt x="240" y="1012"/>
                    </a:lnTo>
                    <a:lnTo>
                      <a:pt x="237" y="1023"/>
                    </a:lnTo>
                    <a:lnTo>
                      <a:pt x="232" y="1033"/>
                    </a:lnTo>
                    <a:lnTo>
                      <a:pt x="228" y="1042"/>
                    </a:lnTo>
                    <a:lnTo>
                      <a:pt x="222" y="1052"/>
                    </a:lnTo>
                    <a:lnTo>
                      <a:pt x="215" y="1061"/>
                    </a:lnTo>
                    <a:lnTo>
                      <a:pt x="207" y="1069"/>
                    </a:lnTo>
                    <a:lnTo>
                      <a:pt x="192" y="1086"/>
                    </a:lnTo>
                    <a:lnTo>
                      <a:pt x="176" y="1103"/>
                    </a:lnTo>
                    <a:lnTo>
                      <a:pt x="168" y="1113"/>
                    </a:lnTo>
                    <a:lnTo>
                      <a:pt x="161" y="1123"/>
                    </a:lnTo>
                    <a:lnTo>
                      <a:pt x="153" y="1133"/>
                    </a:lnTo>
                    <a:lnTo>
                      <a:pt x="146" y="1145"/>
                    </a:lnTo>
                    <a:lnTo>
                      <a:pt x="151" y="1149"/>
                    </a:lnTo>
                    <a:lnTo>
                      <a:pt x="156" y="1154"/>
                    </a:lnTo>
                    <a:lnTo>
                      <a:pt x="159" y="1158"/>
                    </a:lnTo>
                    <a:lnTo>
                      <a:pt x="162" y="1163"/>
                    </a:lnTo>
                    <a:lnTo>
                      <a:pt x="166" y="1174"/>
                    </a:lnTo>
                    <a:lnTo>
                      <a:pt x="169" y="1185"/>
                    </a:lnTo>
                    <a:lnTo>
                      <a:pt x="170" y="1210"/>
                    </a:lnTo>
                    <a:lnTo>
                      <a:pt x="169" y="1237"/>
                    </a:lnTo>
                    <a:lnTo>
                      <a:pt x="168" y="1257"/>
                    </a:lnTo>
                    <a:lnTo>
                      <a:pt x="166" y="1275"/>
                    </a:lnTo>
                    <a:lnTo>
                      <a:pt x="162" y="1292"/>
                    </a:lnTo>
                    <a:lnTo>
                      <a:pt x="157" y="1308"/>
                    </a:lnTo>
                    <a:lnTo>
                      <a:pt x="145" y="1341"/>
                    </a:lnTo>
                    <a:lnTo>
                      <a:pt x="134" y="1378"/>
                    </a:lnTo>
                    <a:lnTo>
                      <a:pt x="148" y="1382"/>
                    </a:lnTo>
                    <a:lnTo>
                      <a:pt x="160" y="1384"/>
                    </a:lnTo>
                    <a:lnTo>
                      <a:pt x="172" y="1385"/>
                    </a:lnTo>
                    <a:lnTo>
                      <a:pt x="185" y="1386"/>
                    </a:lnTo>
                    <a:lnTo>
                      <a:pt x="196" y="1388"/>
                    </a:lnTo>
                    <a:lnTo>
                      <a:pt x="207" y="1392"/>
                    </a:lnTo>
                    <a:lnTo>
                      <a:pt x="212" y="1394"/>
                    </a:lnTo>
                    <a:lnTo>
                      <a:pt x="218" y="1397"/>
                    </a:lnTo>
                    <a:lnTo>
                      <a:pt x="224" y="1400"/>
                    </a:lnTo>
                    <a:lnTo>
                      <a:pt x="229" y="1405"/>
                    </a:lnTo>
                    <a:lnTo>
                      <a:pt x="233" y="1410"/>
                    </a:lnTo>
                    <a:lnTo>
                      <a:pt x="235" y="1415"/>
                    </a:lnTo>
                    <a:lnTo>
                      <a:pt x="236" y="1421"/>
                    </a:lnTo>
                    <a:lnTo>
                      <a:pt x="236" y="1429"/>
                    </a:lnTo>
                    <a:lnTo>
                      <a:pt x="236" y="1435"/>
                    </a:lnTo>
                    <a:lnTo>
                      <a:pt x="236" y="1442"/>
                    </a:lnTo>
                    <a:lnTo>
                      <a:pt x="236" y="1449"/>
                    </a:lnTo>
                    <a:lnTo>
                      <a:pt x="238" y="1457"/>
                    </a:lnTo>
                    <a:lnTo>
                      <a:pt x="240" y="1462"/>
                    </a:lnTo>
                    <a:lnTo>
                      <a:pt x="242" y="1467"/>
                    </a:lnTo>
                    <a:lnTo>
                      <a:pt x="245" y="1471"/>
                    </a:lnTo>
                    <a:lnTo>
                      <a:pt x="250" y="1475"/>
                    </a:lnTo>
                    <a:lnTo>
                      <a:pt x="257" y="1482"/>
                    </a:lnTo>
                    <a:lnTo>
                      <a:pt x="264" y="1489"/>
                    </a:lnTo>
                    <a:lnTo>
                      <a:pt x="271" y="1496"/>
                    </a:lnTo>
                    <a:lnTo>
                      <a:pt x="277" y="1503"/>
                    </a:lnTo>
                    <a:lnTo>
                      <a:pt x="280" y="1507"/>
                    </a:lnTo>
                    <a:lnTo>
                      <a:pt x="282" y="1512"/>
                    </a:lnTo>
                    <a:lnTo>
                      <a:pt x="283" y="1518"/>
                    </a:lnTo>
                    <a:lnTo>
                      <a:pt x="283" y="1523"/>
                    </a:lnTo>
                    <a:lnTo>
                      <a:pt x="283" y="1532"/>
                    </a:lnTo>
                    <a:lnTo>
                      <a:pt x="281" y="1541"/>
                    </a:lnTo>
                    <a:lnTo>
                      <a:pt x="278" y="1550"/>
                    </a:lnTo>
                    <a:lnTo>
                      <a:pt x="275" y="1557"/>
                    </a:lnTo>
                    <a:lnTo>
                      <a:pt x="273" y="1565"/>
                    </a:lnTo>
                    <a:lnTo>
                      <a:pt x="271" y="1572"/>
                    </a:lnTo>
                    <a:lnTo>
                      <a:pt x="269" y="1582"/>
                    </a:lnTo>
                    <a:lnTo>
                      <a:pt x="268" y="1591"/>
                    </a:lnTo>
                    <a:lnTo>
                      <a:pt x="269" y="1604"/>
                    </a:lnTo>
                    <a:lnTo>
                      <a:pt x="271" y="1616"/>
                    </a:lnTo>
                    <a:lnTo>
                      <a:pt x="273" y="1627"/>
                    </a:lnTo>
                    <a:lnTo>
                      <a:pt x="276" y="1638"/>
                    </a:lnTo>
                    <a:lnTo>
                      <a:pt x="285" y="1659"/>
                    </a:lnTo>
                    <a:lnTo>
                      <a:pt x="295" y="1679"/>
                    </a:lnTo>
                    <a:lnTo>
                      <a:pt x="304" y="1698"/>
                    </a:lnTo>
                    <a:lnTo>
                      <a:pt x="313" y="1719"/>
                    </a:lnTo>
                    <a:lnTo>
                      <a:pt x="316" y="1729"/>
                    </a:lnTo>
                    <a:lnTo>
                      <a:pt x="319" y="1741"/>
                    </a:lnTo>
                    <a:lnTo>
                      <a:pt x="320" y="1753"/>
                    </a:lnTo>
                    <a:lnTo>
                      <a:pt x="321" y="1765"/>
                    </a:lnTo>
                    <a:lnTo>
                      <a:pt x="320" y="1782"/>
                    </a:lnTo>
                    <a:lnTo>
                      <a:pt x="317" y="1796"/>
                    </a:lnTo>
                    <a:lnTo>
                      <a:pt x="313" y="1811"/>
                    </a:lnTo>
                    <a:lnTo>
                      <a:pt x="307" y="1823"/>
                    </a:lnTo>
                    <a:lnTo>
                      <a:pt x="302" y="1837"/>
                    </a:lnTo>
                    <a:lnTo>
                      <a:pt x="298" y="1850"/>
                    </a:lnTo>
                    <a:lnTo>
                      <a:pt x="294" y="1866"/>
                    </a:lnTo>
                    <a:lnTo>
                      <a:pt x="292" y="1881"/>
                    </a:lnTo>
                    <a:lnTo>
                      <a:pt x="281" y="1872"/>
                    </a:lnTo>
                    <a:lnTo>
                      <a:pt x="277" y="1884"/>
                    </a:lnTo>
                    <a:lnTo>
                      <a:pt x="275" y="1895"/>
                    </a:lnTo>
                    <a:lnTo>
                      <a:pt x="276" y="1904"/>
                    </a:lnTo>
                    <a:lnTo>
                      <a:pt x="277" y="1910"/>
                    </a:lnTo>
                    <a:lnTo>
                      <a:pt x="280" y="1917"/>
                    </a:lnTo>
                    <a:lnTo>
                      <a:pt x="283" y="1923"/>
                    </a:lnTo>
                    <a:lnTo>
                      <a:pt x="291" y="1935"/>
                    </a:lnTo>
                    <a:lnTo>
                      <a:pt x="299" y="1945"/>
                    </a:lnTo>
                    <a:lnTo>
                      <a:pt x="307" y="1955"/>
                    </a:lnTo>
                    <a:lnTo>
                      <a:pt x="316" y="1967"/>
                    </a:lnTo>
                    <a:lnTo>
                      <a:pt x="319" y="1973"/>
                    </a:lnTo>
                    <a:lnTo>
                      <a:pt x="321" y="1980"/>
                    </a:lnTo>
                    <a:lnTo>
                      <a:pt x="322" y="1987"/>
                    </a:lnTo>
                    <a:lnTo>
                      <a:pt x="323" y="1995"/>
                    </a:lnTo>
                    <a:lnTo>
                      <a:pt x="323" y="2005"/>
                    </a:lnTo>
                    <a:lnTo>
                      <a:pt x="322" y="2014"/>
                    </a:lnTo>
                    <a:lnTo>
                      <a:pt x="320" y="2024"/>
                    </a:lnTo>
                    <a:lnTo>
                      <a:pt x="318" y="2032"/>
                    </a:lnTo>
                    <a:lnTo>
                      <a:pt x="315" y="2040"/>
                    </a:lnTo>
                    <a:lnTo>
                      <a:pt x="311" y="2048"/>
                    </a:lnTo>
                    <a:lnTo>
                      <a:pt x="307" y="2057"/>
                    </a:lnTo>
                    <a:lnTo>
                      <a:pt x="303" y="2064"/>
                    </a:lnTo>
                    <a:lnTo>
                      <a:pt x="299" y="2071"/>
                    </a:lnTo>
                    <a:lnTo>
                      <a:pt x="293" y="2078"/>
                    </a:lnTo>
                    <a:lnTo>
                      <a:pt x="288" y="2084"/>
                    </a:lnTo>
                    <a:lnTo>
                      <a:pt x="282" y="2091"/>
                    </a:lnTo>
                    <a:lnTo>
                      <a:pt x="268" y="2102"/>
                    </a:lnTo>
                    <a:lnTo>
                      <a:pt x="253" y="2112"/>
                    </a:lnTo>
                    <a:lnTo>
                      <a:pt x="237" y="2122"/>
                    </a:lnTo>
                    <a:lnTo>
                      <a:pt x="220" y="2130"/>
                    </a:lnTo>
                    <a:lnTo>
                      <a:pt x="202" y="2137"/>
                    </a:lnTo>
                    <a:lnTo>
                      <a:pt x="183" y="2143"/>
                    </a:lnTo>
                    <a:lnTo>
                      <a:pt x="163" y="2149"/>
                    </a:lnTo>
                    <a:lnTo>
                      <a:pt x="143" y="2154"/>
                    </a:lnTo>
                    <a:lnTo>
                      <a:pt x="124" y="2157"/>
                    </a:lnTo>
                    <a:lnTo>
                      <a:pt x="103" y="2160"/>
                    </a:lnTo>
                    <a:lnTo>
                      <a:pt x="103" y="2177"/>
                    </a:lnTo>
                    <a:lnTo>
                      <a:pt x="104" y="2184"/>
                    </a:lnTo>
                    <a:lnTo>
                      <a:pt x="105" y="2189"/>
                    </a:lnTo>
                    <a:lnTo>
                      <a:pt x="106" y="2194"/>
                    </a:lnTo>
                    <a:lnTo>
                      <a:pt x="108" y="2199"/>
                    </a:lnTo>
                    <a:lnTo>
                      <a:pt x="110" y="2204"/>
                    </a:lnTo>
                    <a:lnTo>
                      <a:pt x="111" y="2209"/>
                    </a:lnTo>
                    <a:lnTo>
                      <a:pt x="112" y="2216"/>
                    </a:lnTo>
                    <a:lnTo>
                      <a:pt x="113" y="2222"/>
                    </a:lnTo>
                    <a:lnTo>
                      <a:pt x="112" y="2230"/>
                    </a:lnTo>
                    <a:lnTo>
                      <a:pt x="111" y="2238"/>
                    </a:lnTo>
                    <a:lnTo>
                      <a:pt x="110" y="2246"/>
                    </a:lnTo>
                    <a:lnTo>
                      <a:pt x="108" y="2253"/>
                    </a:lnTo>
                    <a:lnTo>
                      <a:pt x="104" y="2267"/>
                    </a:lnTo>
                    <a:lnTo>
                      <a:pt x="99" y="2281"/>
                    </a:lnTo>
                    <a:lnTo>
                      <a:pt x="94" y="2294"/>
                    </a:lnTo>
                    <a:lnTo>
                      <a:pt x="89" y="2307"/>
                    </a:lnTo>
                    <a:lnTo>
                      <a:pt x="88" y="2315"/>
                    </a:lnTo>
                    <a:lnTo>
                      <a:pt x="86" y="2323"/>
                    </a:lnTo>
                    <a:lnTo>
                      <a:pt x="85" y="2331"/>
                    </a:lnTo>
                    <a:lnTo>
                      <a:pt x="85" y="2339"/>
                    </a:lnTo>
                    <a:lnTo>
                      <a:pt x="85" y="2345"/>
                    </a:lnTo>
                    <a:lnTo>
                      <a:pt x="86" y="2350"/>
                    </a:lnTo>
                    <a:lnTo>
                      <a:pt x="87" y="2354"/>
                    </a:lnTo>
                    <a:lnTo>
                      <a:pt x="89" y="2357"/>
                    </a:lnTo>
                    <a:lnTo>
                      <a:pt x="93" y="2365"/>
                    </a:lnTo>
                    <a:lnTo>
                      <a:pt x="97" y="2375"/>
                    </a:lnTo>
                    <a:lnTo>
                      <a:pt x="97" y="2375"/>
                    </a:lnTo>
                    <a:lnTo>
                      <a:pt x="115" y="2390"/>
                    </a:lnTo>
                    <a:lnTo>
                      <a:pt x="133" y="2402"/>
                    </a:lnTo>
                    <a:lnTo>
                      <a:pt x="141" y="2410"/>
                    </a:lnTo>
                    <a:lnTo>
                      <a:pt x="150" y="2417"/>
                    </a:lnTo>
                    <a:lnTo>
                      <a:pt x="153" y="2421"/>
                    </a:lnTo>
                    <a:lnTo>
                      <a:pt x="156" y="2425"/>
                    </a:lnTo>
                    <a:lnTo>
                      <a:pt x="158" y="2430"/>
                    </a:lnTo>
                    <a:lnTo>
                      <a:pt x="160" y="2437"/>
                    </a:lnTo>
                    <a:lnTo>
                      <a:pt x="146" y="2497"/>
                    </a:lnTo>
                    <a:lnTo>
                      <a:pt x="150" y="2503"/>
                    </a:lnTo>
                    <a:lnTo>
                      <a:pt x="154" y="2507"/>
                    </a:lnTo>
                    <a:lnTo>
                      <a:pt x="159" y="2510"/>
                    </a:lnTo>
                    <a:lnTo>
                      <a:pt x="164" y="2513"/>
                    </a:lnTo>
                    <a:lnTo>
                      <a:pt x="174" y="2518"/>
                    </a:lnTo>
                    <a:lnTo>
                      <a:pt x="185" y="2523"/>
                    </a:lnTo>
                    <a:lnTo>
                      <a:pt x="194" y="2527"/>
                    </a:lnTo>
                    <a:lnTo>
                      <a:pt x="202" y="2534"/>
                    </a:lnTo>
                    <a:lnTo>
                      <a:pt x="205" y="2537"/>
                    </a:lnTo>
                    <a:lnTo>
                      <a:pt x="207" y="2541"/>
                    </a:lnTo>
                    <a:lnTo>
                      <a:pt x="209" y="2546"/>
                    </a:lnTo>
                    <a:lnTo>
                      <a:pt x="209" y="2552"/>
                    </a:lnTo>
                    <a:lnTo>
                      <a:pt x="208" y="2560"/>
                    </a:lnTo>
                    <a:lnTo>
                      <a:pt x="206" y="2569"/>
                    </a:lnTo>
                    <a:lnTo>
                      <a:pt x="202" y="2576"/>
                    </a:lnTo>
                    <a:lnTo>
                      <a:pt x="198" y="2582"/>
                    </a:lnTo>
                    <a:lnTo>
                      <a:pt x="188" y="2596"/>
                    </a:lnTo>
                    <a:lnTo>
                      <a:pt x="176" y="2611"/>
                    </a:lnTo>
                    <a:lnTo>
                      <a:pt x="168" y="2628"/>
                    </a:lnTo>
                    <a:lnTo>
                      <a:pt x="160" y="2643"/>
                    </a:lnTo>
                    <a:lnTo>
                      <a:pt x="154" y="2659"/>
                    </a:lnTo>
                    <a:lnTo>
                      <a:pt x="150" y="2674"/>
                    </a:lnTo>
                    <a:lnTo>
                      <a:pt x="145" y="2690"/>
                    </a:lnTo>
                    <a:lnTo>
                      <a:pt x="143" y="2706"/>
                    </a:lnTo>
                    <a:lnTo>
                      <a:pt x="141" y="2724"/>
                    </a:lnTo>
                    <a:lnTo>
                      <a:pt x="141" y="2743"/>
                    </a:lnTo>
                    <a:lnTo>
                      <a:pt x="141" y="2757"/>
                    </a:lnTo>
                    <a:lnTo>
                      <a:pt x="142" y="2770"/>
                    </a:lnTo>
                    <a:lnTo>
                      <a:pt x="144" y="2783"/>
                    </a:lnTo>
                    <a:lnTo>
                      <a:pt x="148" y="2795"/>
                    </a:lnTo>
                    <a:lnTo>
                      <a:pt x="151" y="2806"/>
                    </a:lnTo>
                    <a:lnTo>
                      <a:pt x="155" y="2817"/>
                    </a:lnTo>
                    <a:lnTo>
                      <a:pt x="160" y="2828"/>
                    </a:lnTo>
                    <a:lnTo>
                      <a:pt x="165" y="2838"/>
                    </a:lnTo>
                    <a:lnTo>
                      <a:pt x="171" y="2848"/>
                    </a:lnTo>
                    <a:lnTo>
                      <a:pt x="178" y="2857"/>
                    </a:lnTo>
                    <a:lnTo>
                      <a:pt x="186" y="2867"/>
                    </a:lnTo>
                    <a:lnTo>
                      <a:pt x="194" y="2876"/>
                    </a:lnTo>
                    <a:lnTo>
                      <a:pt x="212" y="2895"/>
                    </a:lnTo>
                    <a:lnTo>
                      <a:pt x="233" y="2913"/>
                    </a:lnTo>
                    <a:lnTo>
                      <a:pt x="251" y="2926"/>
                    </a:lnTo>
                    <a:lnTo>
                      <a:pt x="269" y="2938"/>
                    </a:lnTo>
                    <a:lnTo>
                      <a:pt x="288" y="2950"/>
                    </a:lnTo>
                    <a:lnTo>
                      <a:pt x="305" y="2961"/>
                    </a:lnTo>
                    <a:lnTo>
                      <a:pt x="314" y="2966"/>
                    </a:lnTo>
                    <a:lnTo>
                      <a:pt x="321" y="2973"/>
                    </a:lnTo>
                    <a:lnTo>
                      <a:pt x="327" y="2980"/>
                    </a:lnTo>
                    <a:lnTo>
                      <a:pt x="333" y="2987"/>
                    </a:lnTo>
                    <a:lnTo>
                      <a:pt x="338" y="2995"/>
                    </a:lnTo>
                    <a:lnTo>
                      <a:pt x="342" y="3003"/>
                    </a:lnTo>
                    <a:lnTo>
                      <a:pt x="344" y="3014"/>
                    </a:lnTo>
                    <a:lnTo>
                      <a:pt x="347" y="3024"/>
                    </a:lnTo>
                    <a:lnTo>
                      <a:pt x="347" y="3024"/>
                    </a:lnTo>
                    <a:close/>
                  </a:path>
                </a:pathLst>
              </a:custGeom>
              <a:solidFill>
                <a:srgbClr val="65AC1E">
                  <a:alpha val="80000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Vinnytsya">
                <a:extLst>
                  <a:ext uri="{FF2B5EF4-FFF2-40B4-BE49-F238E27FC236}">
                    <a16:creationId xmlns:a16="http://schemas.microsoft.com/office/drawing/2014/main" id="{6B88B5B5-4F66-49C3-93C4-F4E8F79716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6055" y="3246290"/>
                <a:ext cx="1105430" cy="1100745"/>
              </a:xfrm>
              <a:custGeom>
                <a:avLst/>
                <a:gdLst>
                  <a:gd name="T0" fmla="*/ 1836 w 2247"/>
                  <a:gd name="T1" fmla="*/ 417 h 2368"/>
                  <a:gd name="T2" fmla="*/ 1895 w 2247"/>
                  <a:gd name="T3" fmla="*/ 466 h 2368"/>
                  <a:gd name="T4" fmla="*/ 1831 w 2247"/>
                  <a:gd name="T5" fmla="*/ 604 h 2368"/>
                  <a:gd name="T6" fmla="*/ 1851 w 2247"/>
                  <a:gd name="T7" fmla="*/ 752 h 2368"/>
                  <a:gd name="T8" fmla="*/ 2000 w 2247"/>
                  <a:gd name="T9" fmla="*/ 880 h 2368"/>
                  <a:gd name="T10" fmla="*/ 2026 w 2247"/>
                  <a:gd name="T11" fmla="*/ 984 h 2368"/>
                  <a:gd name="T12" fmla="*/ 1983 w 2247"/>
                  <a:gd name="T13" fmla="*/ 1062 h 2368"/>
                  <a:gd name="T14" fmla="*/ 1962 w 2247"/>
                  <a:gd name="T15" fmla="*/ 1160 h 2368"/>
                  <a:gd name="T16" fmla="*/ 2025 w 2247"/>
                  <a:gd name="T17" fmla="*/ 1345 h 2368"/>
                  <a:gd name="T18" fmla="*/ 2145 w 2247"/>
                  <a:gd name="T19" fmla="*/ 1499 h 2368"/>
                  <a:gd name="T20" fmla="*/ 2178 w 2247"/>
                  <a:gd name="T21" fmla="*/ 1616 h 2368"/>
                  <a:gd name="T22" fmla="*/ 2230 w 2247"/>
                  <a:gd name="T23" fmla="*/ 1731 h 2368"/>
                  <a:gd name="T24" fmla="*/ 2182 w 2247"/>
                  <a:gd name="T25" fmla="*/ 1880 h 2368"/>
                  <a:gd name="T26" fmla="*/ 2023 w 2247"/>
                  <a:gd name="T27" fmla="*/ 2012 h 2368"/>
                  <a:gd name="T28" fmla="*/ 2009 w 2247"/>
                  <a:gd name="T29" fmla="*/ 2149 h 2368"/>
                  <a:gd name="T30" fmla="*/ 1952 w 2247"/>
                  <a:gd name="T31" fmla="*/ 2252 h 2368"/>
                  <a:gd name="T32" fmla="*/ 1819 w 2247"/>
                  <a:gd name="T33" fmla="*/ 2336 h 2368"/>
                  <a:gd name="T34" fmla="*/ 1548 w 2247"/>
                  <a:gd name="T35" fmla="*/ 2286 h 2368"/>
                  <a:gd name="T36" fmla="*/ 1375 w 2247"/>
                  <a:gd name="T37" fmla="*/ 2226 h 2368"/>
                  <a:gd name="T38" fmla="*/ 1304 w 2247"/>
                  <a:gd name="T39" fmla="*/ 2338 h 2368"/>
                  <a:gd name="T40" fmla="*/ 1192 w 2247"/>
                  <a:gd name="T41" fmla="*/ 2358 h 2368"/>
                  <a:gd name="T42" fmla="*/ 1129 w 2247"/>
                  <a:gd name="T43" fmla="*/ 2276 h 2368"/>
                  <a:gd name="T44" fmla="*/ 985 w 2247"/>
                  <a:gd name="T45" fmla="*/ 2221 h 2368"/>
                  <a:gd name="T46" fmla="*/ 913 w 2247"/>
                  <a:gd name="T47" fmla="*/ 2333 h 2368"/>
                  <a:gd name="T48" fmla="*/ 863 w 2247"/>
                  <a:gd name="T49" fmla="*/ 2322 h 2368"/>
                  <a:gd name="T50" fmla="*/ 808 w 2247"/>
                  <a:gd name="T51" fmla="*/ 2257 h 2368"/>
                  <a:gd name="T52" fmla="*/ 762 w 2247"/>
                  <a:gd name="T53" fmla="*/ 2248 h 2368"/>
                  <a:gd name="T54" fmla="*/ 787 w 2247"/>
                  <a:gd name="T55" fmla="*/ 2138 h 2368"/>
                  <a:gd name="T56" fmla="*/ 669 w 2247"/>
                  <a:gd name="T57" fmla="*/ 2149 h 2368"/>
                  <a:gd name="T58" fmla="*/ 603 w 2247"/>
                  <a:gd name="T59" fmla="*/ 2102 h 2368"/>
                  <a:gd name="T60" fmla="*/ 549 w 2247"/>
                  <a:gd name="T61" fmla="*/ 2108 h 2368"/>
                  <a:gd name="T62" fmla="*/ 556 w 2247"/>
                  <a:gd name="T63" fmla="*/ 2032 h 2368"/>
                  <a:gd name="T64" fmla="*/ 465 w 2247"/>
                  <a:gd name="T65" fmla="*/ 1990 h 2368"/>
                  <a:gd name="T66" fmla="*/ 401 w 2247"/>
                  <a:gd name="T67" fmla="*/ 1926 h 2368"/>
                  <a:gd name="T68" fmla="*/ 314 w 2247"/>
                  <a:gd name="T69" fmla="*/ 1828 h 2368"/>
                  <a:gd name="T70" fmla="*/ 161 w 2247"/>
                  <a:gd name="T71" fmla="*/ 1797 h 2368"/>
                  <a:gd name="T72" fmla="*/ 100 w 2247"/>
                  <a:gd name="T73" fmla="*/ 1785 h 2368"/>
                  <a:gd name="T74" fmla="*/ 42 w 2247"/>
                  <a:gd name="T75" fmla="*/ 1685 h 2368"/>
                  <a:gd name="T76" fmla="*/ 22 w 2247"/>
                  <a:gd name="T77" fmla="*/ 1613 h 2368"/>
                  <a:gd name="T78" fmla="*/ 40 w 2247"/>
                  <a:gd name="T79" fmla="*/ 1353 h 2368"/>
                  <a:gd name="T80" fmla="*/ 4 w 2247"/>
                  <a:gd name="T81" fmla="*/ 1181 h 2368"/>
                  <a:gd name="T82" fmla="*/ 46 w 2247"/>
                  <a:gd name="T83" fmla="*/ 1067 h 2368"/>
                  <a:gd name="T84" fmla="*/ 158 w 2247"/>
                  <a:gd name="T85" fmla="*/ 943 h 2368"/>
                  <a:gd name="T86" fmla="*/ 273 w 2247"/>
                  <a:gd name="T87" fmla="*/ 893 h 2368"/>
                  <a:gd name="T88" fmla="*/ 378 w 2247"/>
                  <a:gd name="T89" fmla="*/ 906 h 2368"/>
                  <a:gd name="T90" fmla="*/ 436 w 2247"/>
                  <a:gd name="T91" fmla="*/ 799 h 2368"/>
                  <a:gd name="T92" fmla="*/ 407 w 2247"/>
                  <a:gd name="T93" fmla="*/ 647 h 2368"/>
                  <a:gd name="T94" fmla="*/ 441 w 2247"/>
                  <a:gd name="T95" fmla="*/ 577 h 2368"/>
                  <a:gd name="T96" fmla="*/ 373 w 2247"/>
                  <a:gd name="T97" fmla="*/ 486 h 2368"/>
                  <a:gd name="T98" fmla="*/ 405 w 2247"/>
                  <a:gd name="T99" fmla="*/ 336 h 2368"/>
                  <a:gd name="T100" fmla="*/ 445 w 2247"/>
                  <a:gd name="T101" fmla="*/ 247 h 2368"/>
                  <a:gd name="T102" fmla="*/ 499 w 2247"/>
                  <a:gd name="T103" fmla="*/ 120 h 2368"/>
                  <a:gd name="T104" fmla="*/ 585 w 2247"/>
                  <a:gd name="T105" fmla="*/ 125 h 2368"/>
                  <a:gd name="T106" fmla="*/ 654 w 2247"/>
                  <a:gd name="T107" fmla="*/ 157 h 2368"/>
                  <a:gd name="T108" fmla="*/ 799 w 2247"/>
                  <a:gd name="T109" fmla="*/ 81 h 2368"/>
                  <a:gd name="T110" fmla="*/ 1275 w 2247"/>
                  <a:gd name="T111" fmla="*/ 45 h 2368"/>
                  <a:gd name="T112" fmla="*/ 1401 w 2247"/>
                  <a:gd name="T113" fmla="*/ 109 h 2368"/>
                  <a:gd name="T114" fmla="*/ 1414 w 2247"/>
                  <a:gd name="T115" fmla="*/ 400 h 2368"/>
                  <a:gd name="T116" fmla="*/ 1657 w 2247"/>
                  <a:gd name="T117" fmla="*/ 386 h 2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247" h="2368">
                    <a:moveTo>
                      <a:pt x="1783" y="289"/>
                    </a:moveTo>
                    <a:lnTo>
                      <a:pt x="1801" y="304"/>
                    </a:lnTo>
                    <a:lnTo>
                      <a:pt x="1819" y="316"/>
                    </a:lnTo>
                    <a:lnTo>
                      <a:pt x="1827" y="324"/>
                    </a:lnTo>
                    <a:lnTo>
                      <a:pt x="1836" y="331"/>
                    </a:lnTo>
                    <a:lnTo>
                      <a:pt x="1839" y="335"/>
                    </a:lnTo>
                    <a:lnTo>
                      <a:pt x="1842" y="339"/>
                    </a:lnTo>
                    <a:lnTo>
                      <a:pt x="1844" y="344"/>
                    </a:lnTo>
                    <a:lnTo>
                      <a:pt x="1846" y="351"/>
                    </a:lnTo>
                    <a:lnTo>
                      <a:pt x="1832" y="411"/>
                    </a:lnTo>
                    <a:lnTo>
                      <a:pt x="1836" y="417"/>
                    </a:lnTo>
                    <a:lnTo>
                      <a:pt x="1840" y="421"/>
                    </a:lnTo>
                    <a:lnTo>
                      <a:pt x="1845" y="424"/>
                    </a:lnTo>
                    <a:lnTo>
                      <a:pt x="1850" y="427"/>
                    </a:lnTo>
                    <a:lnTo>
                      <a:pt x="1860" y="432"/>
                    </a:lnTo>
                    <a:lnTo>
                      <a:pt x="1871" y="437"/>
                    </a:lnTo>
                    <a:lnTo>
                      <a:pt x="1880" y="441"/>
                    </a:lnTo>
                    <a:lnTo>
                      <a:pt x="1888" y="448"/>
                    </a:lnTo>
                    <a:lnTo>
                      <a:pt x="1891" y="451"/>
                    </a:lnTo>
                    <a:lnTo>
                      <a:pt x="1893" y="455"/>
                    </a:lnTo>
                    <a:lnTo>
                      <a:pt x="1895" y="460"/>
                    </a:lnTo>
                    <a:lnTo>
                      <a:pt x="1895" y="466"/>
                    </a:lnTo>
                    <a:lnTo>
                      <a:pt x="1894" y="474"/>
                    </a:lnTo>
                    <a:lnTo>
                      <a:pt x="1892" y="483"/>
                    </a:lnTo>
                    <a:lnTo>
                      <a:pt x="1888" y="490"/>
                    </a:lnTo>
                    <a:lnTo>
                      <a:pt x="1884" y="496"/>
                    </a:lnTo>
                    <a:lnTo>
                      <a:pt x="1874" y="510"/>
                    </a:lnTo>
                    <a:lnTo>
                      <a:pt x="1862" y="525"/>
                    </a:lnTo>
                    <a:lnTo>
                      <a:pt x="1854" y="542"/>
                    </a:lnTo>
                    <a:lnTo>
                      <a:pt x="1846" y="557"/>
                    </a:lnTo>
                    <a:lnTo>
                      <a:pt x="1840" y="573"/>
                    </a:lnTo>
                    <a:lnTo>
                      <a:pt x="1836" y="588"/>
                    </a:lnTo>
                    <a:lnTo>
                      <a:pt x="1831" y="604"/>
                    </a:lnTo>
                    <a:lnTo>
                      <a:pt x="1829" y="620"/>
                    </a:lnTo>
                    <a:lnTo>
                      <a:pt x="1827" y="638"/>
                    </a:lnTo>
                    <a:lnTo>
                      <a:pt x="1827" y="657"/>
                    </a:lnTo>
                    <a:lnTo>
                      <a:pt x="1827" y="671"/>
                    </a:lnTo>
                    <a:lnTo>
                      <a:pt x="1828" y="684"/>
                    </a:lnTo>
                    <a:lnTo>
                      <a:pt x="1830" y="697"/>
                    </a:lnTo>
                    <a:lnTo>
                      <a:pt x="1834" y="709"/>
                    </a:lnTo>
                    <a:lnTo>
                      <a:pt x="1837" y="720"/>
                    </a:lnTo>
                    <a:lnTo>
                      <a:pt x="1841" y="731"/>
                    </a:lnTo>
                    <a:lnTo>
                      <a:pt x="1846" y="742"/>
                    </a:lnTo>
                    <a:lnTo>
                      <a:pt x="1851" y="752"/>
                    </a:lnTo>
                    <a:lnTo>
                      <a:pt x="1857" y="762"/>
                    </a:lnTo>
                    <a:lnTo>
                      <a:pt x="1864" y="771"/>
                    </a:lnTo>
                    <a:lnTo>
                      <a:pt x="1872" y="781"/>
                    </a:lnTo>
                    <a:lnTo>
                      <a:pt x="1880" y="790"/>
                    </a:lnTo>
                    <a:lnTo>
                      <a:pt x="1898" y="809"/>
                    </a:lnTo>
                    <a:lnTo>
                      <a:pt x="1919" y="827"/>
                    </a:lnTo>
                    <a:lnTo>
                      <a:pt x="1937" y="840"/>
                    </a:lnTo>
                    <a:lnTo>
                      <a:pt x="1955" y="852"/>
                    </a:lnTo>
                    <a:lnTo>
                      <a:pt x="1974" y="864"/>
                    </a:lnTo>
                    <a:lnTo>
                      <a:pt x="1991" y="875"/>
                    </a:lnTo>
                    <a:lnTo>
                      <a:pt x="2000" y="880"/>
                    </a:lnTo>
                    <a:lnTo>
                      <a:pt x="2007" y="887"/>
                    </a:lnTo>
                    <a:lnTo>
                      <a:pt x="2013" y="894"/>
                    </a:lnTo>
                    <a:lnTo>
                      <a:pt x="2019" y="901"/>
                    </a:lnTo>
                    <a:lnTo>
                      <a:pt x="2024" y="909"/>
                    </a:lnTo>
                    <a:lnTo>
                      <a:pt x="2028" y="917"/>
                    </a:lnTo>
                    <a:lnTo>
                      <a:pt x="2030" y="928"/>
                    </a:lnTo>
                    <a:lnTo>
                      <a:pt x="2033" y="938"/>
                    </a:lnTo>
                    <a:lnTo>
                      <a:pt x="2033" y="938"/>
                    </a:lnTo>
                    <a:lnTo>
                      <a:pt x="2029" y="953"/>
                    </a:lnTo>
                    <a:lnTo>
                      <a:pt x="2027" y="968"/>
                    </a:lnTo>
                    <a:lnTo>
                      <a:pt x="2026" y="984"/>
                    </a:lnTo>
                    <a:lnTo>
                      <a:pt x="2025" y="998"/>
                    </a:lnTo>
                    <a:lnTo>
                      <a:pt x="2023" y="1012"/>
                    </a:lnTo>
                    <a:lnTo>
                      <a:pt x="2019" y="1026"/>
                    </a:lnTo>
                    <a:lnTo>
                      <a:pt x="2017" y="1032"/>
                    </a:lnTo>
                    <a:lnTo>
                      <a:pt x="2013" y="1038"/>
                    </a:lnTo>
                    <a:lnTo>
                      <a:pt x="2009" y="1043"/>
                    </a:lnTo>
                    <a:lnTo>
                      <a:pt x="2004" y="1049"/>
                    </a:lnTo>
                    <a:lnTo>
                      <a:pt x="1999" y="1053"/>
                    </a:lnTo>
                    <a:lnTo>
                      <a:pt x="1993" y="1057"/>
                    </a:lnTo>
                    <a:lnTo>
                      <a:pt x="1988" y="1060"/>
                    </a:lnTo>
                    <a:lnTo>
                      <a:pt x="1983" y="1062"/>
                    </a:lnTo>
                    <a:lnTo>
                      <a:pt x="1972" y="1066"/>
                    </a:lnTo>
                    <a:lnTo>
                      <a:pt x="1961" y="1069"/>
                    </a:lnTo>
                    <a:lnTo>
                      <a:pt x="1950" y="1072"/>
                    </a:lnTo>
                    <a:lnTo>
                      <a:pt x="1939" y="1075"/>
                    </a:lnTo>
                    <a:lnTo>
                      <a:pt x="1933" y="1079"/>
                    </a:lnTo>
                    <a:lnTo>
                      <a:pt x="1927" y="1082"/>
                    </a:lnTo>
                    <a:lnTo>
                      <a:pt x="1922" y="1085"/>
                    </a:lnTo>
                    <a:lnTo>
                      <a:pt x="1917" y="1089"/>
                    </a:lnTo>
                    <a:lnTo>
                      <a:pt x="1935" y="1114"/>
                    </a:lnTo>
                    <a:lnTo>
                      <a:pt x="1950" y="1137"/>
                    </a:lnTo>
                    <a:lnTo>
                      <a:pt x="1962" y="1160"/>
                    </a:lnTo>
                    <a:lnTo>
                      <a:pt x="1975" y="1183"/>
                    </a:lnTo>
                    <a:lnTo>
                      <a:pt x="1985" y="1206"/>
                    </a:lnTo>
                    <a:lnTo>
                      <a:pt x="1995" y="1230"/>
                    </a:lnTo>
                    <a:lnTo>
                      <a:pt x="2005" y="1256"/>
                    </a:lnTo>
                    <a:lnTo>
                      <a:pt x="2016" y="1285"/>
                    </a:lnTo>
                    <a:lnTo>
                      <a:pt x="2019" y="1295"/>
                    </a:lnTo>
                    <a:lnTo>
                      <a:pt x="2021" y="1306"/>
                    </a:lnTo>
                    <a:lnTo>
                      <a:pt x="2021" y="1316"/>
                    </a:lnTo>
                    <a:lnTo>
                      <a:pt x="2022" y="1325"/>
                    </a:lnTo>
                    <a:lnTo>
                      <a:pt x="2023" y="1336"/>
                    </a:lnTo>
                    <a:lnTo>
                      <a:pt x="2025" y="1345"/>
                    </a:lnTo>
                    <a:lnTo>
                      <a:pt x="2027" y="1355"/>
                    </a:lnTo>
                    <a:lnTo>
                      <a:pt x="2033" y="1366"/>
                    </a:lnTo>
                    <a:lnTo>
                      <a:pt x="2045" y="1385"/>
                    </a:lnTo>
                    <a:lnTo>
                      <a:pt x="2057" y="1402"/>
                    </a:lnTo>
                    <a:lnTo>
                      <a:pt x="2071" y="1417"/>
                    </a:lnTo>
                    <a:lnTo>
                      <a:pt x="2084" y="1431"/>
                    </a:lnTo>
                    <a:lnTo>
                      <a:pt x="2098" y="1445"/>
                    </a:lnTo>
                    <a:lnTo>
                      <a:pt x="2112" y="1459"/>
                    </a:lnTo>
                    <a:lnTo>
                      <a:pt x="2126" y="1475"/>
                    </a:lnTo>
                    <a:lnTo>
                      <a:pt x="2141" y="1493"/>
                    </a:lnTo>
                    <a:lnTo>
                      <a:pt x="2145" y="1499"/>
                    </a:lnTo>
                    <a:lnTo>
                      <a:pt x="2148" y="1505"/>
                    </a:lnTo>
                    <a:lnTo>
                      <a:pt x="2151" y="1510"/>
                    </a:lnTo>
                    <a:lnTo>
                      <a:pt x="2153" y="1516"/>
                    </a:lnTo>
                    <a:lnTo>
                      <a:pt x="2156" y="1529"/>
                    </a:lnTo>
                    <a:lnTo>
                      <a:pt x="2157" y="1541"/>
                    </a:lnTo>
                    <a:lnTo>
                      <a:pt x="2158" y="1554"/>
                    </a:lnTo>
                    <a:lnTo>
                      <a:pt x="2160" y="1567"/>
                    </a:lnTo>
                    <a:lnTo>
                      <a:pt x="2162" y="1580"/>
                    </a:lnTo>
                    <a:lnTo>
                      <a:pt x="2167" y="1594"/>
                    </a:lnTo>
                    <a:lnTo>
                      <a:pt x="2172" y="1605"/>
                    </a:lnTo>
                    <a:lnTo>
                      <a:pt x="2178" y="1616"/>
                    </a:lnTo>
                    <a:lnTo>
                      <a:pt x="2184" y="1624"/>
                    </a:lnTo>
                    <a:lnTo>
                      <a:pt x="2190" y="1632"/>
                    </a:lnTo>
                    <a:lnTo>
                      <a:pt x="2198" y="1640"/>
                    </a:lnTo>
                    <a:lnTo>
                      <a:pt x="2205" y="1650"/>
                    </a:lnTo>
                    <a:lnTo>
                      <a:pt x="2211" y="1659"/>
                    </a:lnTo>
                    <a:lnTo>
                      <a:pt x="2216" y="1669"/>
                    </a:lnTo>
                    <a:lnTo>
                      <a:pt x="2220" y="1681"/>
                    </a:lnTo>
                    <a:lnTo>
                      <a:pt x="2223" y="1691"/>
                    </a:lnTo>
                    <a:lnTo>
                      <a:pt x="2226" y="1701"/>
                    </a:lnTo>
                    <a:lnTo>
                      <a:pt x="2228" y="1712"/>
                    </a:lnTo>
                    <a:lnTo>
                      <a:pt x="2230" y="1731"/>
                    </a:lnTo>
                    <a:lnTo>
                      <a:pt x="2231" y="1750"/>
                    </a:lnTo>
                    <a:lnTo>
                      <a:pt x="2232" y="1769"/>
                    </a:lnTo>
                    <a:lnTo>
                      <a:pt x="2234" y="1789"/>
                    </a:lnTo>
                    <a:lnTo>
                      <a:pt x="2236" y="1799"/>
                    </a:lnTo>
                    <a:lnTo>
                      <a:pt x="2239" y="1810"/>
                    </a:lnTo>
                    <a:lnTo>
                      <a:pt x="2242" y="1820"/>
                    </a:lnTo>
                    <a:lnTo>
                      <a:pt x="2247" y="1830"/>
                    </a:lnTo>
                    <a:lnTo>
                      <a:pt x="2247" y="1830"/>
                    </a:lnTo>
                    <a:lnTo>
                      <a:pt x="2223" y="1848"/>
                    </a:lnTo>
                    <a:lnTo>
                      <a:pt x="2203" y="1863"/>
                    </a:lnTo>
                    <a:lnTo>
                      <a:pt x="2182" y="1880"/>
                    </a:lnTo>
                    <a:lnTo>
                      <a:pt x="2164" y="1895"/>
                    </a:lnTo>
                    <a:lnTo>
                      <a:pt x="2144" y="1911"/>
                    </a:lnTo>
                    <a:lnTo>
                      <a:pt x="2125" y="1928"/>
                    </a:lnTo>
                    <a:lnTo>
                      <a:pt x="2106" y="1947"/>
                    </a:lnTo>
                    <a:lnTo>
                      <a:pt x="2084" y="1968"/>
                    </a:lnTo>
                    <a:lnTo>
                      <a:pt x="2072" y="1978"/>
                    </a:lnTo>
                    <a:lnTo>
                      <a:pt x="2059" y="1987"/>
                    </a:lnTo>
                    <a:lnTo>
                      <a:pt x="2046" y="1996"/>
                    </a:lnTo>
                    <a:lnTo>
                      <a:pt x="2034" y="2003"/>
                    </a:lnTo>
                    <a:lnTo>
                      <a:pt x="2028" y="2008"/>
                    </a:lnTo>
                    <a:lnTo>
                      <a:pt x="2023" y="2012"/>
                    </a:lnTo>
                    <a:lnTo>
                      <a:pt x="2018" y="2016"/>
                    </a:lnTo>
                    <a:lnTo>
                      <a:pt x="2014" y="2021"/>
                    </a:lnTo>
                    <a:lnTo>
                      <a:pt x="2011" y="2028"/>
                    </a:lnTo>
                    <a:lnTo>
                      <a:pt x="2009" y="2034"/>
                    </a:lnTo>
                    <a:lnTo>
                      <a:pt x="2007" y="2041"/>
                    </a:lnTo>
                    <a:lnTo>
                      <a:pt x="2007" y="2048"/>
                    </a:lnTo>
                    <a:lnTo>
                      <a:pt x="2007" y="2071"/>
                    </a:lnTo>
                    <a:lnTo>
                      <a:pt x="2006" y="2092"/>
                    </a:lnTo>
                    <a:lnTo>
                      <a:pt x="2007" y="2111"/>
                    </a:lnTo>
                    <a:lnTo>
                      <a:pt x="2007" y="2131"/>
                    </a:lnTo>
                    <a:lnTo>
                      <a:pt x="2009" y="2149"/>
                    </a:lnTo>
                    <a:lnTo>
                      <a:pt x="2012" y="2169"/>
                    </a:lnTo>
                    <a:lnTo>
                      <a:pt x="2016" y="2189"/>
                    </a:lnTo>
                    <a:lnTo>
                      <a:pt x="2023" y="2210"/>
                    </a:lnTo>
                    <a:lnTo>
                      <a:pt x="2023" y="2210"/>
                    </a:lnTo>
                    <a:lnTo>
                      <a:pt x="2010" y="2214"/>
                    </a:lnTo>
                    <a:lnTo>
                      <a:pt x="1999" y="2219"/>
                    </a:lnTo>
                    <a:lnTo>
                      <a:pt x="1987" y="2225"/>
                    </a:lnTo>
                    <a:lnTo>
                      <a:pt x="1978" y="2231"/>
                    </a:lnTo>
                    <a:lnTo>
                      <a:pt x="1969" y="2237"/>
                    </a:lnTo>
                    <a:lnTo>
                      <a:pt x="1960" y="2244"/>
                    </a:lnTo>
                    <a:lnTo>
                      <a:pt x="1952" y="2252"/>
                    </a:lnTo>
                    <a:lnTo>
                      <a:pt x="1944" y="2260"/>
                    </a:lnTo>
                    <a:lnTo>
                      <a:pt x="1928" y="2276"/>
                    </a:lnTo>
                    <a:lnTo>
                      <a:pt x="1912" y="2293"/>
                    </a:lnTo>
                    <a:lnTo>
                      <a:pt x="1903" y="2300"/>
                    </a:lnTo>
                    <a:lnTo>
                      <a:pt x="1892" y="2307"/>
                    </a:lnTo>
                    <a:lnTo>
                      <a:pt x="1882" y="2315"/>
                    </a:lnTo>
                    <a:lnTo>
                      <a:pt x="1870" y="2321"/>
                    </a:lnTo>
                    <a:lnTo>
                      <a:pt x="1856" y="2327"/>
                    </a:lnTo>
                    <a:lnTo>
                      <a:pt x="1844" y="2331"/>
                    </a:lnTo>
                    <a:lnTo>
                      <a:pt x="1831" y="2334"/>
                    </a:lnTo>
                    <a:lnTo>
                      <a:pt x="1819" y="2336"/>
                    </a:lnTo>
                    <a:lnTo>
                      <a:pt x="1794" y="2337"/>
                    </a:lnTo>
                    <a:lnTo>
                      <a:pt x="1766" y="2337"/>
                    </a:lnTo>
                    <a:lnTo>
                      <a:pt x="1738" y="2337"/>
                    </a:lnTo>
                    <a:lnTo>
                      <a:pt x="1711" y="2335"/>
                    </a:lnTo>
                    <a:lnTo>
                      <a:pt x="1685" y="2332"/>
                    </a:lnTo>
                    <a:lnTo>
                      <a:pt x="1660" y="2328"/>
                    </a:lnTo>
                    <a:lnTo>
                      <a:pt x="1637" y="2322"/>
                    </a:lnTo>
                    <a:lnTo>
                      <a:pt x="1613" y="2315"/>
                    </a:lnTo>
                    <a:lnTo>
                      <a:pt x="1591" y="2306"/>
                    </a:lnTo>
                    <a:lnTo>
                      <a:pt x="1570" y="2297"/>
                    </a:lnTo>
                    <a:lnTo>
                      <a:pt x="1548" y="2286"/>
                    </a:lnTo>
                    <a:lnTo>
                      <a:pt x="1527" y="2273"/>
                    </a:lnTo>
                    <a:lnTo>
                      <a:pt x="1508" y="2260"/>
                    </a:lnTo>
                    <a:lnTo>
                      <a:pt x="1488" y="2244"/>
                    </a:lnTo>
                    <a:lnTo>
                      <a:pt x="1468" y="2228"/>
                    </a:lnTo>
                    <a:lnTo>
                      <a:pt x="1449" y="2210"/>
                    </a:lnTo>
                    <a:lnTo>
                      <a:pt x="1429" y="2191"/>
                    </a:lnTo>
                    <a:lnTo>
                      <a:pt x="1410" y="2170"/>
                    </a:lnTo>
                    <a:lnTo>
                      <a:pt x="1402" y="2187"/>
                    </a:lnTo>
                    <a:lnTo>
                      <a:pt x="1394" y="2201"/>
                    </a:lnTo>
                    <a:lnTo>
                      <a:pt x="1385" y="2214"/>
                    </a:lnTo>
                    <a:lnTo>
                      <a:pt x="1375" y="2226"/>
                    </a:lnTo>
                    <a:lnTo>
                      <a:pt x="1352" y="2249"/>
                    </a:lnTo>
                    <a:lnTo>
                      <a:pt x="1325" y="2271"/>
                    </a:lnTo>
                    <a:lnTo>
                      <a:pt x="1321" y="2276"/>
                    </a:lnTo>
                    <a:lnTo>
                      <a:pt x="1318" y="2281"/>
                    </a:lnTo>
                    <a:lnTo>
                      <a:pt x="1316" y="2286"/>
                    </a:lnTo>
                    <a:lnTo>
                      <a:pt x="1314" y="2291"/>
                    </a:lnTo>
                    <a:lnTo>
                      <a:pt x="1312" y="2302"/>
                    </a:lnTo>
                    <a:lnTo>
                      <a:pt x="1311" y="2314"/>
                    </a:lnTo>
                    <a:lnTo>
                      <a:pt x="1309" y="2324"/>
                    </a:lnTo>
                    <a:lnTo>
                      <a:pt x="1307" y="2334"/>
                    </a:lnTo>
                    <a:lnTo>
                      <a:pt x="1304" y="2338"/>
                    </a:lnTo>
                    <a:lnTo>
                      <a:pt x="1301" y="2343"/>
                    </a:lnTo>
                    <a:lnTo>
                      <a:pt x="1297" y="2347"/>
                    </a:lnTo>
                    <a:lnTo>
                      <a:pt x="1292" y="2350"/>
                    </a:lnTo>
                    <a:lnTo>
                      <a:pt x="1280" y="2355"/>
                    </a:lnTo>
                    <a:lnTo>
                      <a:pt x="1268" y="2359"/>
                    </a:lnTo>
                    <a:lnTo>
                      <a:pt x="1257" y="2361"/>
                    </a:lnTo>
                    <a:lnTo>
                      <a:pt x="1246" y="2363"/>
                    </a:lnTo>
                    <a:lnTo>
                      <a:pt x="1223" y="2366"/>
                    </a:lnTo>
                    <a:lnTo>
                      <a:pt x="1196" y="2368"/>
                    </a:lnTo>
                    <a:lnTo>
                      <a:pt x="1196" y="2368"/>
                    </a:lnTo>
                    <a:lnTo>
                      <a:pt x="1192" y="2358"/>
                    </a:lnTo>
                    <a:lnTo>
                      <a:pt x="1187" y="2348"/>
                    </a:lnTo>
                    <a:lnTo>
                      <a:pt x="1182" y="2336"/>
                    </a:lnTo>
                    <a:lnTo>
                      <a:pt x="1177" y="2324"/>
                    </a:lnTo>
                    <a:lnTo>
                      <a:pt x="1172" y="2315"/>
                    </a:lnTo>
                    <a:lnTo>
                      <a:pt x="1167" y="2307"/>
                    </a:lnTo>
                    <a:lnTo>
                      <a:pt x="1162" y="2300"/>
                    </a:lnTo>
                    <a:lnTo>
                      <a:pt x="1157" y="2294"/>
                    </a:lnTo>
                    <a:lnTo>
                      <a:pt x="1151" y="2289"/>
                    </a:lnTo>
                    <a:lnTo>
                      <a:pt x="1144" y="2285"/>
                    </a:lnTo>
                    <a:lnTo>
                      <a:pt x="1136" y="2281"/>
                    </a:lnTo>
                    <a:lnTo>
                      <a:pt x="1129" y="2276"/>
                    </a:lnTo>
                    <a:lnTo>
                      <a:pt x="1095" y="2265"/>
                    </a:lnTo>
                    <a:lnTo>
                      <a:pt x="1059" y="2253"/>
                    </a:lnTo>
                    <a:lnTo>
                      <a:pt x="1050" y="2249"/>
                    </a:lnTo>
                    <a:lnTo>
                      <a:pt x="1042" y="2243"/>
                    </a:lnTo>
                    <a:lnTo>
                      <a:pt x="1033" y="2238"/>
                    </a:lnTo>
                    <a:lnTo>
                      <a:pt x="1026" y="2232"/>
                    </a:lnTo>
                    <a:lnTo>
                      <a:pt x="1019" y="2228"/>
                    </a:lnTo>
                    <a:lnTo>
                      <a:pt x="1012" y="2224"/>
                    </a:lnTo>
                    <a:lnTo>
                      <a:pt x="1002" y="2221"/>
                    </a:lnTo>
                    <a:lnTo>
                      <a:pt x="993" y="2220"/>
                    </a:lnTo>
                    <a:lnTo>
                      <a:pt x="985" y="2221"/>
                    </a:lnTo>
                    <a:lnTo>
                      <a:pt x="978" y="2222"/>
                    </a:lnTo>
                    <a:lnTo>
                      <a:pt x="971" y="2225"/>
                    </a:lnTo>
                    <a:lnTo>
                      <a:pt x="965" y="2229"/>
                    </a:lnTo>
                    <a:lnTo>
                      <a:pt x="960" y="2234"/>
                    </a:lnTo>
                    <a:lnTo>
                      <a:pt x="956" y="2239"/>
                    </a:lnTo>
                    <a:lnTo>
                      <a:pt x="952" y="2245"/>
                    </a:lnTo>
                    <a:lnTo>
                      <a:pt x="948" y="2252"/>
                    </a:lnTo>
                    <a:lnTo>
                      <a:pt x="935" y="2283"/>
                    </a:lnTo>
                    <a:lnTo>
                      <a:pt x="922" y="2315"/>
                    </a:lnTo>
                    <a:lnTo>
                      <a:pt x="918" y="2324"/>
                    </a:lnTo>
                    <a:lnTo>
                      <a:pt x="913" y="2333"/>
                    </a:lnTo>
                    <a:lnTo>
                      <a:pt x="911" y="2336"/>
                    </a:lnTo>
                    <a:lnTo>
                      <a:pt x="907" y="2339"/>
                    </a:lnTo>
                    <a:lnTo>
                      <a:pt x="903" y="2342"/>
                    </a:lnTo>
                    <a:lnTo>
                      <a:pt x="898" y="2343"/>
                    </a:lnTo>
                    <a:lnTo>
                      <a:pt x="893" y="2343"/>
                    </a:lnTo>
                    <a:lnTo>
                      <a:pt x="889" y="2342"/>
                    </a:lnTo>
                    <a:lnTo>
                      <a:pt x="884" y="2340"/>
                    </a:lnTo>
                    <a:lnTo>
                      <a:pt x="881" y="2338"/>
                    </a:lnTo>
                    <a:lnTo>
                      <a:pt x="873" y="2334"/>
                    </a:lnTo>
                    <a:lnTo>
                      <a:pt x="867" y="2329"/>
                    </a:lnTo>
                    <a:lnTo>
                      <a:pt x="863" y="2322"/>
                    </a:lnTo>
                    <a:lnTo>
                      <a:pt x="859" y="2314"/>
                    </a:lnTo>
                    <a:lnTo>
                      <a:pt x="856" y="2304"/>
                    </a:lnTo>
                    <a:lnTo>
                      <a:pt x="854" y="2295"/>
                    </a:lnTo>
                    <a:lnTo>
                      <a:pt x="849" y="2274"/>
                    </a:lnTo>
                    <a:lnTo>
                      <a:pt x="842" y="2253"/>
                    </a:lnTo>
                    <a:lnTo>
                      <a:pt x="839" y="2242"/>
                    </a:lnTo>
                    <a:lnTo>
                      <a:pt x="835" y="2233"/>
                    </a:lnTo>
                    <a:lnTo>
                      <a:pt x="829" y="2224"/>
                    </a:lnTo>
                    <a:lnTo>
                      <a:pt x="823" y="2216"/>
                    </a:lnTo>
                    <a:lnTo>
                      <a:pt x="816" y="2236"/>
                    </a:lnTo>
                    <a:lnTo>
                      <a:pt x="808" y="2257"/>
                    </a:lnTo>
                    <a:lnTo>
                      <a:pt x="806" y="2262"/>
                    </a:lnTo>
                    <a:lnTo>
                      <a:pt x="804" y="2266"/>
                    </a:lnTo>
                    <a:lnTo>
                      <a:pt x="801" y="2269"/>
                    </a:lnTo>
                    <a:lnTo>
                      <a:pt x="798" y="2272"/>
                    </a:lnTo>
                    <a:lnTo>
                      <a:pt x="794" y="2275"/>
                    </a:lnTo>
                    <a:lnTo>
                      <a:pt x="790" y="2277"/>
                    </a:lnTo>
                    <a:lnTo>
                      <a:pt x="786" y="2279"/>
                    </a:lnTo>
                    <a:lnTo>
                      <a:pt x="781" y="2279"/>
                    </a:lnTo>
                    <a:lnTo>
                      <a:pt x="771" y="2276"/>
                    </a:lnTo>
                    <a:lnTo>
                      <a:pt x="762" y="2274"/>
                    </a:lnTo>
                    <a:lnTo>
                      <a:pt x="762" y="2248"/>
                    </a:lnTo>
                    <a:lnTo>
                      <a:pt x="763" y="2237"/>
                    </a:lnTo>
                    <a:lnTo>
                      <a:pt x="766" y="2227"/>
                    </a:lnTo>
                    <a:lnTo>
                      <a:pt x="770" y="2219"/>
                    </a:lnTo>
                    <a:lnTo>
                      <a:pt x="774" y="2210"/>
                    </a:lnTo>
                    <a:lnTo>
                      <a:pt x="780" y="2202"/>
                    </a:lnTo>
                    <a:lnTo>
                      <a:pt x="784" y="2194"/>
                    </a:lnTo>
                    <a:lnTo>
                      <a:pt x="787" y="2184"/>
                    </a:lnTo>
                    <a:lnTo>
                      <a:pt x="788" y="2173"/>
                    </a:lnTo>
                    <a:lnTo>
                      <a:pt x="788" y="2161"/>
                    </a:lnTo>
                    <a:lnTo>
                      <a:pt x="787" y="2149"/>
                    </a:lnTo>
                    <a:lnTo>
                      <a:pt x="787" y="2138"/>
                    </a:lnTo>
                    <a:lnTo>
                      <a:pt x="788" y="2126"/>
                    </a:lnTo>
                    <a:lnTo>
                      <a:pt x="779" y="2124"/>
                    </a:lnTo>
                    <a:lnTo>
                      <a:pt x="769" y="2123"/>
                    </a:lnTo>
                    <a:lnTo>
                      <a:pt x="755" y="2124"/>
                    </a:lnTo>
                    <a:lnTo>
                      <a:pt x="742" y="2127"/>
                    </a:lnTo>
                    <a:lnTo>
                      <a:pt x="731" y="2131"/>
                    </a:lnTo>
                    <a:lnTo>
                      <a:pt x="720" y="2136"/>
                    </a:lnTo>
                    <a:lnTo>
                      <a:pt x="708" y="2141"/>
                    </a:lnTo>
                    <a:lnTo>
                      <a:pt x="697" y="2145"/>
                    </a:lnTo>
                    <a:lnTo>
                      <a:pt x="684" y="2147"/>
                    </a:lnTo>
                    <a:lnTo>
                      <a:pt x="669" y="2149"/>
                    </a:lnTo>
                    <a:lnTo>
                      <a:pt x="664" y="2148"/>
                    </a:lnTo>
                    <a:lnTo>
                      <a:pt x="659" y="2147"/>
                    </a:lnTo>
                    <a:lnTo>
                      <a:pt x="655" y="2145"/>
                    </a:lnTo>
                    <a:lnTo>
                      <a:pt x="651" y="2142"/>
                    </a:lnTo>
                    <a:lnTo>
                      <a:pt x="644" y="2136"/>
                    </a:lnTo>
                    <a:lnTo>
                      <a:pt x="639" y="2127"/>
                    </a:lnTo>
                    <a:lnTo>
                      <a:pt x="629" y="2106"/>
                    </a:lnTo>
                    <a:lnTo>
                      <a:pt x="618" y="2085"/>
                    </a:lnTo>
                    <a:lnTo>
                      <a:pt x="611" y="2090"/>
                    </a:lnTo>
                    <a:lnTo>
                      <a:pt x="607" y="2096"/>
                    </a:lnTo>
                    <a:lnTo>
                      <a:pt x="603" y="2102"/>
                    </a:lnTo>
                    <a:lnTo>
                      <a:pt x="599" y="2108"/>
                    </a:lnTo>
                    <a:lnTo>
                      <a:pt x="595" y="2114"/>
                    </a:lnTo>
                    <a:lnTo>
                      <a:pt x="591" y="2118"/>
                    </a:lnTo>
                    <a:lnTo>
                      <a:pt x="588" y="2121"/>
                    </a:lnTo>
                    <a:lnTo>
                      <a:pt x="585" y="2122"/>
                    </a:lnTo>
                    <a:lnTo>
                      <a:pt x="582" y="2123"/>
                    </a:lnTo>
                    <a:lnTo>
                      <a:pt x="577" y="2123"/>
                    </a:lnTo>
                    <a:lnTo>
                      <a:pt x="569" y="2122"/>
                    </a:lnTo>
                    <a:lnTo>
                      <a:pt x="561" y="2119"/>
                    </a:lnTo>
                    <a:lnTo>
                      <a:pt x="555" y="2114"/>
                    </a:lnTo>
                    <a:lnTo>
                      <a:pt x="549" y="2108"/>
                    </a:lnTo>
                    <a:lnTo>
                      <a:pt x="544" y="2101"/>
                    </a:lnTo>
                    <a:lnTo>
                      <a:pt x="540" y="2094"/>
                    </a:lnTo>
                    <a:lnTo>
                      <a:pt x="538" y="2084"/>
                    </a:lnTo>
                    <a:lnTo>
                      <a:pt x="537" y="2076"/>
                    </a:lnTo>
                    <a:lnTo>
                      <a:pt x="538" y="2068"/>
                    </a:lnTo>
                    <a:lnTo>
                      <a:pt x="540" y="2062"/>
                    </a:lnTo>
                    <a:lnTo>
                      <a:pt x="543" y="2055"/>
                    </a:lnTo>
                    <a:lnTo>
                      <a:pt x="548" y="2050"/>
                    </a:lnTo>
                    <a:lnTo>
                      <a:pt x="551" y="2044"/>
                    </a:lnTo>
                    <a:lnTo>
                      <a:pt x="554" y="2038"/>
                    </a:lnTo>
                    <a:lnTo>
                      <a:pt x="556" y="2032"/>
                    </a:lnTo>
                    <a:lnTo>
                      <a:pt x="557" y="2023"/>
                    </a:lnTo>
                    <a:lnTo>
                      <a:pt x="556" y="2019"/>
                    </a:lnTo>
                    <a:lnTo>
                      <a:pt x="555" y="2015"/>
                    </a:lnTo>
                    <a:lnTo>
                      <a:pt x="553" y="2012"/>
                    </a:lnTo>
                    <a:lnTo>
                      <a:pt x="551" y="2010"/>
                    </a:lnTo>
                    <a:lnTo>
                      <a:pt x="543" y="2006"/>
                    </a:lnTo>
                    <a:lnTo>
                      <a:pt x="534" y="2004"/>
                    </a:lnTo>
                    <a:lnTo>
                      <a:pt x="514" y="2001"/>
                    </a:lnTo>
                    <a:lnTo>
                      <a:pt x="493" y="1998"/>
                    </a:lnTo>
                    <a:lnTo>
                      <a:pt x="478" y="1995"/>
                    </a:lnTo>
                    <a:lnTo>
                      <a:pt x="465" y="1990"/>
                    </a:lnTo>
                    <a:lnTo>
                      <a:pt x="452" y="1985"/>
                    </a:lnTo>
                    <a:lnTo>
                      <a:pt x="440" y="1979"/>
                    </a:lnTo>
                    <a:lnTo>
                      <a:pt x="434" y="1976"/>
                    </a:lnTo>
                    <a:lnTo>
                      <a:pt x="429" y="1972"/>
                    </a:lnTo>
                    <a:lnTo>
                      <a:pt x="424" y="1968"/>
                    </a:lnTo>
                    <a:lnTo>
                      <a:pt x="420" y="1963"/>
                    </a:lnTo>
                    <a:lnTo>
                      <a:pt x="416" y="1957"/>
                    </a:lnTo>
                    <a:lnTo>
                      <a:pt x="411" y="1952"/>
                    </a:lnTo>
                    <a:lnTo>
                      <a:pt x="408" y="1946"/>
                    </a:lnTo>
                    <a:lnTo>
                      <a:pt x="405" y="1939"/>
                    </a:lnTo>
                    <a:lnTo>
                      <a:pt x="401" y="1926"/>
                    </a:lnTo>
                    <a:lnTo>
                      <a:pt x="396" y="1914"/>
                    </a:lnTo>
                    <a:lnTo>
                      <a:pt x="390" y="1903"/>
                    </a:lnTo>
                    <a:lnTo>
                      <a:pt x="384" y="1891"/>
                    </a:lnTo>
                    <a:lnTo>
                      <a:pt x="376" y="1881"/>
                    </a:lnTo>
                    <a:lnTo>
                      <a:pt x="369" y="1872"/>
                    </a:lnTo>
                    <a:lnTo>
                      <a:pt x="362" y="1862"/>
                    </a:lnTo>
                    <a:lnTo>
                      <a:pt x="354" y="1853"/>
                    </a:lnTo>
                    <a:lnTo>
                      <a:pt x="344" y="1846"/>
                    </a:lnTo>
                    <a:lnTo>
                      <a:pt x="335" y="1839"/>
                    </a:lnTo>
                    <a:lnTo>
                      <a:pt x="325" y="1832"/>
                    </a:lnTo>
                    <a:lnTo>
                      <a:pt x="314" y="1828"/>
                    </a:lnTo>
                    <a:lnTo>
                      <a:pt x="303" y="1824"/>
                    </a:lnTo>
                    <a:lnTo>
                      <a:pt x="292" y="1821"/>
                    </a:lnTo>
                    <a:lnTo>
                      <a:pt x="279" y="1819"/>
                    </a:lnTo>
                    <a:lnTo>
                      <a:pt x="266" y="1819"/>
                    </a:lnTo>
                    <a:lnTo>
                      <a:pt x="199" y="1819"/>
                    </a:lnTo>
                    <a:lnTo>
                      <a:pt x="193" y="1818"/>
                    </a:lnTo>
                    <a:lnTo>
                      <a:pt x="188" y="1817"/>
                    </a:lnTo>
                    <a:lnTo>
                      <a:pt x="182" y="1815"/>
                    </a:lnTo>
                    <a:lnTo>
                      <a:pt x="177" y="1812"/>
                    </a:lnTo>
                    <a:lnTo>
                      <a:pt x="169" y="1805"/>
                    </a:lnTo>
                    <a:lnTo>
                      <a:pt x="161" y="1797"/>
                    </a:lnTo>
                    <a:lnTo>
                      <a:pt x="153" y="1789"/>
                    </a:lnTo>
                    <a:lnTo>
                      <a:pt x="144" y="1783"/>
                    </a:lnTo>
                    <a:lnTo>
                      <a:pt x="139" y="1780"/>
                    </a:lnTo>
                    <a:lnTo>
                      <a:pt x="134" y="1778"/>
                    </a:lnTo>
                    <a:lnTo>
                      <a:pt x="129" y="1777"/>
                    </a:lnTo>
                    <a:lnTo>
                      <a:pt x="123" y="1776"/>
                    </a:lnTo>
                    <a:lnTo>
                      <a:pt x="119" y="1777"/>
                    </a:lnTo>
                    <a:lnTo>
                      <a:pt x="114" y="1777"/>
                    </a:lnTo>
                    <a:lnTo>
                      <a:pt x="110" y="1779"/>
                    </a:lnTo>
                    <a:lnTo>
                      <a:pt x="107" y="1780"/>
                    </a:lnTo>
                    <a:lnTo>
                      <a:pt x="100" y="1785"/>
                    </a:lnTo>
                    <a:lnTo>
                      <a:pt x="95" y="1790"/>
                    </a:lnTo>
                    <a:lnTo>
                      <a:pt x="95" y="1790"/>
                    </a:lnTo>
                    <a:lnTo>
                      <a:pt x="93" y="1766"/>
                    </a:lnTo>
                    <a:lnTo>
                      <a:pt x="90" y="1745"/>
                    </a:lnTo>
                    <a:lnTo>
                      <a:pt x="87" y="1734"/>
                    </a:lnTo>
                    <a:lnTo>
                      <a:pt x="81" y="1725"/>
                    </a:lnTo>
                    <a:lnTo>
                      <a:pt x="76" y="1715"/>
                    </a:lnTo>
                    <a:lnTo>
                      <a:pt x="69" y="1705"/>
                    </a:lnTo>
                    <a:lnTo>
                      <a:pt x="61" y="1697"/>
                    </a:lnTo>
                    <a:lnTo>
                      <a:pt x="52" y="1690"/>
                    </a:lnTo>
                    <a:lnTo>
                      <a:pt x="42" y="1685"/>
                    </a:lnTo>
                    <a:lnTo>
                      <a:pt x="34" y="1679"/>
                    </a:lnTo>
                    <a:lnTo>
                      <a:pt x="26" y="1672"/>
                    </a:lnTo>
                    <a:lnTo>
                      <a:pt x="20" y="1665"/>
                    </a:lnTo>
                    <a:lnTo>
                      <a:pt x="17" y="1661"/>
                    </a:lnTo>
                    <a:lnTo>
                      <a:pt x="15" y="1657"/>
                    </a:lnTo>
                    <a:lnTo>
                      <a:pt x="14" y="1652"/>
                    </a:lnTo>
                    <a:lnTo>
                      <a:pt x="14" y="1647"/>
                    </a:lnTo>
                    <a:lnTo>
                      <a:pt x="14" y="1637"/>
                    </a:lnTo>
                    <a:lnTo>
                      <a:pt x="15" y="1629"/>
                    </a:lnTo>
                    <a:lnTo>
                      <a:pt x="17" y="1622"/>
                    </a:lnTo>
                    <a:lnTo>
                      <a:pt x="22" y="1613"/>
                    </a:lnTo>
                    <a:lnTo>
                      <a:pt x="22" y="1613"/>
                    </a:lnTo>
                    <a:lnTo>
                      <a:pt x="23" y="1578"/>
                    </a:lnTo>
                    <a:lnTo>
                      <a:pt x="24" y="1549"/>
                    </a:lnTo>
                    <a:lnTo>
                      <a:pt x="26" y="1520"/>
                    </a:lnTo>
                    <a:lnTo>
                      <a:pt x="27" y="1485"/>
                    </a:lnTo>
                    <a:lnTo>
                      <a:pt x="28" y="1460"/>
                    </a:lnTo>
                    <a:lnTo>
                      <a:pt x="29" y="1437"/>
                    </a:lnTo>
                    <a:lnTo>
                      <a:pt x="32" y="1416"/>
                    </a:lnTo>
                    <a:lnTo>
                      <a:pt x="35" y="1395"/>
                    </a:lnTo>
                    <a:lnTo>
                      <a:pt x="38" y="1374"/>
                    </a:lnTo>
                    <a:lnTo>
                      <a:pt x="40" y="1353"/>
                    </a:lnTo>
                    <a:lnTo>
                      <a:pt x="42" y="1331"/>
                    </a:lnTo>
                    <a:lnTo>
                      <a:pt x="42" y="1305"/>
                    </a:lnTo>
                    <a:lnTo>
                      <a:pt x="42" y="1293"/>
                    </a:lnTo>
                    <a:lnTo>
                      <a:pt x="41" y="1283"/>
                    </a:lnTo>
                    <a:lnTo>
                      <a:pt x="39" y="1273"/>
                    </a:lnTo>
                    <a:lnTo>
                      <a:pt x="36" y="1262"/>
                    </a:lnTo>
                    <a:lnTo>
                      <a:pt x="29" y="1244"/>
                    </a:lnTo>
                    <a:lnTo>
                      <a:pt x="22" y="1226"/>
                    </a:lnTo>
                    <a:lnTo>
                      <a:pt x="13" y="1209"/>
                    </a:lnTo>
                    <a:lnTo>
                      <a:pt x="7" y="1190"/>
                    </a:lnTo>
                    <a:lnTo>
                      <a:pt x="4" y="1181"/>
                    </a:lnTo>
                    <a:lnTo>
                      <a:pt x="2" y="1170"/>
                    </a:lnTo>
                    <a:lnTo>
                      <a:pt x="1" y="1159"/>
                    </a:lnTo>
                    <a:lnTo>
                      <a:pt x="0" y="1148"/>
                    </a:lnTo>
                    <a:lnTo>
                      <a:pt x="1" y="1134"/>
                    </a:lnTo>
                    <a:lnTo>
                      <a:pt x="4" y="1122"/>
                    </a:lnTo>
                    <a:lnTo>
                      <a:pt x="8" y="1112"/>
                    </a:lnTo>
                    <a:lnTo>
                      <a:pt x="13" y="1101"/>
                    </a:lnTo>
                    <a:lnTo>
                      <a:pt x="21" y="1092"/>
                    </a:lnTo>
                    <a:lnTo>
                      <a:pt x="28" y="1084"/>
                    </a:lnTo>
                    <a:lnTo>
                      <a:pt x="37" y="1075"/>
                    </a:lnTo>
                    <a:lnTo>
                      <a:pt x="46" y="1067"/>
                    </a:lnTo>
                    <a:lnTo>
                      <a:pt x="66" y="1052"/>
                    </a:lnTo>
                    <a:lnTo>
                      <a:pt x="86" y="1036"/>
                    </a:lnTo>
                    <a:lnTo>
                      <a:pt x="95" y="1027"/>
                    </a:lnTo>
                    <a:lnTo>
                      <a:pt x="104" y="1017"/>
                    </a:lnTo>
                    <a:lnTo>
                      <a:pt x="112" y="1006"/>
                    </a:lnTo>
                    <a:lnTo>
                      <a:pt x="121" y="995"/>
                    </a:lnTo>
                    <a:lnTo>
                      <a:pt x="128" y="984"/>
                    </a:lnTo>
                    <a:lnTo>
                      <a:pt x="134" y="972"/>
                    </a:lnTo>
                    <a:lnTo>
                      <a:pt x="142" y="962"/>
                    </a:lnTo>
                    <a:lnTo>
                      <a:pt x="149" y="953"/>
                    </a:lnTo>
                    <a:lnTo>
                      <a:pt x="158" y="943"/>
                    </a:lnTo>
                    <a:lnTo>
                      <a:pt x="166" y="935"/>
                    </a:lnTo>
                    <a:lnTo>
                      <a:pt x="174" y="928"/>
                    </a:lnTo>
                    <a:lnTo>
                      <a:pt x="184" y="921"/>
                    </a:lnTo>
                    <a:lnTo>
                      <a:pt x="194" y="914"/>
                    </a:lnTo>
                    <a:lnTo>
                      <a:pt x="203" y="909"/>
                    </a:lnTo>
                    <a:lnTo>
                      <a:pt x="213" y="904"/>
                    </a:lnTo>
                    <a:lnTo>
                      <a:pt x="225" y="900"/>
                    </a:lnTo>
                    <a:lnTo>
                      <a:pt x="236" y="897"/>
                    </a:lnTo>
                    <a:lnTo>
                      <a:pt x="248" y="895"/>
                    </a:lnTo>
                    <a:lnTo>
                      <a:pt x="261" y="894"/>
                    </a:lnTo>
                    <a:lnTo>
                      <a:pt x="273" y="893"/>
                    </a:lnTo>
                    <a:lnTo>
                      <a:pt x="278" y="894"/>
                    </a:lnTo>
                    <a:lnTo>
                      <a:pt x="283" y="895"/>
                    </a:lnTo>
                    <a:lnTo>
                      <a:pt x="287" y="896"/>
                    </a:lnTo>
                    <a:lnTo>
                      <a:pt x="291" y="898"/>
                    </a:lnTo>
                    <a:lnTo>
                      <a:pt x="298" y="902"/>
                    </a:lnTo>
                    <a:lnTo>
                      <a:pt x="303" y="909"/>
                    </a:lnTo>
                    <a:lnTo>
                      <a:pt x="314" y="924"/>
                    </a:lnTo>
                    <a:lnTo>
                      <a:pt x="326" y="940"/>
                    </a:lnTo>
                    <a:lnTo>
                      <a:pt x="347" y="927"/>
                    </a:lnTo>
                    <a:lnTo>
                      <a:pt x="368" y="913"/>
                    </a:lnTo>
                    <a:lnTo>
                      <a:pt x="378" y="906"/>
                    </a:lnTo>
                    <a:lnTo>
                      <a:pt x="388" y="899"/>
                    </a:lnTo>
                    <a:lnTo>
                      <a:pt x="396" y="891"/>
                    </a:lnTo>
                    <a:lnTo>
                      <a:pt x="404" y="882"/>
                    </a:lnTo>
                    <a:lnTo>
                      <a:pt x="410" y="874"/>
                    </a:lnTo>
                    <a:lnTo>
                      <a:pt x="418" y="865"/>
                    </a:lnTo>
                    <a:lnTo>
                      <a:pt x="423" y="856"/>
                    </a:lnTo>
                    <a:lnTo>
                      <a:pt x="428" y="845"/>
                    </a:lnTo>
                    <a:lnTo>
                      <a:pt x="431" y="835"/>
                    </a:lnTo>
                    <a:lnTo>
                      <a:pt x="434" y="824"/>
                    </a:lnTo>
                    <a:lnTo>
                      <a:pt x="436" y="811"/>
                    </a:lnTo>
                    <a:lnTo>
                      <a:pt x="436" y="799"/>
                    </a:lnTo>
                    <a:lnTo>
                      <a:pt x="437" y="756"/>
                    </a:lnTo>
                    <a:lnTo>
                      <a:pt x="437" y="717"/>
                    </a:lnTo>
                    <a:lnTo>
                      <a:pt x="435" y="708"/>
                    </a:lnTo>
                    <a:lnTo>
                      <a:pt x="434" y="699"/>
                    </a:lnTo>
                    <a:lnTo>
                      <a:pt x="431" y="690"/>
                    </a:lnTo>
                    <a:lnTo>
                      <a:pt x="428" y="682"/>
                    </a:lnTo>
                    <a:lnTo>
                      <a:pt x="423" y="674"/>
                    </a:lnTo>
                    <a:lnTo>
                      <a:pt x="418" y="667"/>
                    </a:lnTo>
                    <a:lnTo>
                      <a:pt x="411" y="659"/>
                    </a:lnTo>
                    <a:lnTo>
                      <a:pt x="403" y="652"/>
                    </a:lnTo>
                    <a:lnTo>
                      <a:pt x="407" y="647"/>
                    </a:lnTo>
                    <a:lnTo>
                      <a:pt x="410" y="642"/>
                    </a:lnTo>
                    <a:lnTo>
                      <a:pt x="415" y="637"/>
                    </a:lnTo>
                    <a:lnTo>
                      <a:pt x="419" y="634"/>
                    </a:lnTo>
                    <a:lnTo>
                      <a:pt x="428" y="626"/>
                    </a:lnTo>
                    <a:lnTo>
                      <a:pt x="438" y="620"/>
                    </a:lnTo>
                    <a:lnTo>
                      <a:pt x="448" y="615"/>
                    </a:lnTo>
                    <a:lnTo>
                      <a:pt x="458" y="609"/>
                    </a:lnTo>
                    <a:lnTo>
                      <a:pt x="469" y="603"/>
                    </a:lnTo>
                    <a:lnTo>
                      <a:pt x="478" y="593"/>
                    </a:lnTo>
                    <a:lnTo>
                      <a:pt x="460" y="584"/>
                    </a:lnTo>
                    <a:lnTo>
                      <a:pt x="441" y="577"/>
                    </a:lnTo>
                    <a:lnTo>
                      <a:pt x="425" y="569"/>
                    </a:lnTo>
                    <a:lnTo>
                      <a:pt x="408" y="563"/>
                    </a:lnTo>
                    <a:lnTo>
                      <a:pt x="374" y="552"/>
                    </a:lnTo>
                    <a:lnTo>
                      <a:pt x="335" y="539"/>
                    </a:lnTo>
                    <a:lnTo>
                      <a:pt x="338" y="532"/>
                    </a:lnTo>
                    <a:lnTo>
                      <a:pt x="342" y="527"/>
                    </a:lnTo>
                    <a:lnTo>
                      <a:pt x="346" y="522"/>
                    </a:lnTo>
                    <a:lnTo>
                      <a:pt x="351" y="518"/>
                    </a:lnTo>
                    <a:lnTo>
                      <a:pt x="360" y="509"/>
                    </a:lnTo>
                    <a:lnTo>
                      <a:pt x="368" y="496"/>
                    </a:lnTo>
                    <a:lnTo>
                      <a:pt x="373" y="486"/>
                    </a:lnTo>
                    <a:lnTo>
                      <a:pt x="378" y="477"/>
                    </a:lnTo>
                    <a:lnTo>
                      <a:pt x="382" y="466"/>
                    </a:lnTo>
                    <a:lnTo>
                      <a:pt x="385" y="457"/>
                    </a:lnTo>
                    <a:lnTo>
                      <a:pt x="389" y="437"/>
                    </a:lnTo>
                    <a:lnTo>
                      <a:pt x="391" y="418"/>
                    </a:lnTo>
                    <a:lnTo>
                      <a:pt x="393" y="399"/>
                    </a:lnTo>
                    <a:lnTo>
                      <a:pt x="395" y="378"/>
                    </a:lnTo>
                    <a:lnTo>
                      <a:pt x="397" y="368"/>
                    </a:lnTo>
                    <a:lnTo>
                      <a:pt x="399" y="358"/>
                    </a:lnTo>
                    <a:lnTo>
                      <a:pt x="402" y="347"/>
                    </a:lnTo>
                    <a:lnTo>
                      <a:pt x="405" y="336"/>
                    </a:lnTo>
                    <a:lnTo>
                      <a:pt x="410" y="326"/>
                    </a:lnTo>
                    <a:lnTo>
                      <a:pt x="417" y="316"/>
                    </a:lnTo>
                    <a:lnTo>
                      <a:pt x="424" y="307"/>
                    </a:lnTo>
                    <a:lnTo>
                      <a:pt x="430" y="300"/>
                    </a:lnTo>
                    <a:lnTo>
                      <a:pt x="436" y="292"/>
                    </a:lnTo>
                    <a:lnTo>
                      <a:pt x="441" y="282"/>
                    </a:lnTo>
                    <a:lnTo>
                      <a:pt x="443" y="278"/>
                    </a:lnTo>
                    <a:lnTo>
                      <a:pt x="444" y="273"/>
                    </a:lnTo>
                    <a:lnTo>
                      <a:pt x="445" y="268"/>
                    </a:lnTo>
                    <a:lnTo>
                      <a:pt x="445" y="262"/>
                    </a:lnTo>
                    <a:lnTo>
                      <a:pt x="445" y="247"/>
                    </a:lnTo>
                    <a:lnTo>
                      <a:pt x="444" y="235"/>
                    </a:lnTo>
                    <a:lnTo>
                      <a:pt x="442" y="224"/>
                    </a:lnTo>
                    <a:lnTo>
                      <a:pt x="439" y="212"/>
                    </a:lnTo>
                    <a:lnTo>
                      <a:pt x="436" y="202"/>
                    </a:lnTo>
                    <a:lnTo>
                      <a:pt x="432" y="191"/>
                    </a:lnTo>
                    <a:lnTo>
                      <a:pt x="426" y="179"/>
                    </a:lnTo>
                    <a:lnTo>
                      <a:pt x="420" y="166"/>
                    </a:lnTo>
                    <a:lnTo>
                      <a:pt x="420" y="166"/>
                    </a:lnTo>
                    <a:lnTo>
                      <a:pt x="454" y="146"/>
                    </a:lnTo>
                    <a:lnTo>
                      <a:pt x="484" y="129"/>
                    </a:lnTo>
                    <a:lnTo>
                      <a:pt x="499" y="120"/>
                    </a:lnTo>
                    <a:lnTo>
                      <a:pt x="515" y="115"/>
                    </a:lnTo>
                    <a:lnTo>
                      <a:pt x="523" y="112"/>
                    </a:lnTo>
                    <a:lnTo>
                      <a:pt x="532" y="111"/>
                    </a:lnTo>
                    <a:lnTo>
                      <a:pt x="541" y="110"/>
                    </a:lnTo>
                    <a:lnTo>
                      <a:pt x="552" y="109"/>
                    </a:lnTo>
                    <a:lnTo>
                      <a:pt x="559" y="110"/>
                    </a:lnTo>
                    <a:lnTo>
                      <a:pt x="565" y="111"/>
                    </a:lnTo>
                    <a:lnTo>
                      <a:pt x="571" y="114"/>
                    </a:lnTo>
                    <a:lnTo>
                      <a:pt x="575" y="117"/>
                    </a:lnTo>
                    <a:lnTo>
                      <a:pt x="581" y="120"/>
                    </a:lnTo>
                    <a:lnTo>
                      <a:pt x="585" y="125"/>
                    </a:lnTo>
                    <a:lnTo>
                      <a:pt x="589" y="130"/>
                    </a:lnTo>
                    <a:lnTo>
                      <a:pt x="593" y="135"/>
                    </a:lnTo>
                    <a:lnTo>
                      <a:pt x="600" y="146"/>
                    </a:lnTo>
                    <a:lnTo>
                      <a:pt x="607" y="157"/>
                    </a:lnTo>
                    <a:lnTo>
                      <a:pt x="611" y="163"/>
                    </a:lnTo>
                    <a:lnTo>
                      <a:pt x="617" y="168"/>
                    </a:lnTo>
                    <a:lnTo>
                      <a:pt x="622" y="173"/>
                    </a:lnTo>
                    <a:lnTo>
                      <a:pt x="627" y="178"/>
                    </a:lnTo>
                    <a:lnTo>
                      <a:pt x="636" y="170"/>
                    </a:lnTo>
                    <a:lnTo>
                      <a:pt x="646" y="163"/>
                    </a:lnTo>
                    <a:lnTo>
                      <a:pt x="654" y="157"/>
                    </a:lnTo>
                    <a:lnTo>
                      <a:pt x="662" y="152"/>
                    </a:lnTo>
                    <a:lnTo>
                      <a:pt x="681" y="142"/>
                    </a:lnTo>
                    <a:lnTo>
                      <a:pt x="700" y="131"/>
                    </a:lnTo>
                    <a:lnTo>
                      <a:pt x="725" y="113"/>
                    </a:lnTo>
                    <a:lnTo>
                      <a:pt x="748" y="97"/>
                    </a:lnTo>
                    <a:lnTo>
                      <a:pt x="759" y="90"/>
                    </a:lnTo>
                    <a:lnTo>
                      <a:pt x="771" y="85"/>
                    </a:lnTo>
                    <a:lnTo>
                      <a:pt x="778" y="83"/>
                    </a:lnTo>
                    <a:lnTo>
                      <a:pt x="785" y="82"/>
                    </a:lnTo>
                    <a:lnTo>
                      <a:pt x="792" y="81"/>
                    </a:lnTo>
                    <a:lnTo>
                      <a:pt x="799" y="81"/>
                    </a:lnTo>
                    <a:lnTo>
                      <a:pt x="1109" y="125"/>
                    </a:lnTo>
                    <a:lnTo>
                      <a:pt x="1174" y="125"/>
                    </a:lnTo>
                    <a:lnTo>
                      <a:pt x="1186" y="125"/>
                    </a:lnTo>
                    <a:lnTo>
                      <a:pt x="1197" y="123"/>
                    </a:lnTo>
                    <a:lnTo>
                      <a:pt x="1208" y="119"/>
                    </a:lnTo>
                    <a:lnTo>
                      <a:pt x="1218" y="114"/>
                    </a:lnTo>
                    <a:lnTo>
                      <a:pt x="1226" y="109"/>
                    </a:lnTo>
                    <a:lnTo>
                      <a:pt x="1234" y="102"/>
                    </a:lnTo>
                    <a:lnTo>
                      <a:pt x="1242" y="93"/>
                    </a:lnTo>
                    <a:lnTo>
                      <a:pt x="1249" y="85"/>
                    </a:lnTo>
                    <a:lnTo>
                      <a:pt x="1275" y="45"/>
                    </a:lnTo>
                    <a:lnTo>
                      <a:pt x="1301" y="0"/>
                    </a:lnTo>
                    <a:lnTo>
                      <a:pt x="1311" y="7"/>
                    </a:lnTo>
                    <a:lnTo>
                      <a:pt x="1317" y="14"/>
                    </a:lnTo>
                    <a:lnTo>
                      <a:pt x="1323" y="20"/>
                    </a:lnTo>
                    <a:lnTo>
                      <a:pt x="1328" y="28"/>
                    </a:lnTo>
                    <a:lnTo>
                      <a:pt x="1333" y="36"/>
                    </a:lnTo>
                    <a:lnTo>
                      <a:pt x="1339" y="44"/>
                    </a:lnTo>
                    <a:lnTo>
                      <a:pt x="1344" y="52"/>
                    </a:lnTo>
                    <a:lnTo>
                      <a:pt x="1351" y="59"/>
                    </a:lnTo>
                    <a:lnTo>
                      <a:pt x="1378" y="85"/>
                    </a:lnTo>
                    <a:lnTo>
                      <a:pt x="1401" y="109"/>
                    </a:lnTo>
                    <a:lnTo>
                      <a:pt x="1406" y="115"/>
                    </a:lnTo>
                    <a:lnTo>
                      <a:pt x="1411" y="122"/>
                    </a:lnTo>
                    <a:lnTo>
                      <a:pt x="1415" y="129"/>
                    </a:lnTo>
                    <a:lnTo>
                      <a:pt x="1418" y="137"/>
                    </a:lnTo>
                    <a:lnTo>
                      <a:pt x="1420" y="144"/>
                    </a:lnTo>
                    <a:lnTo>
                      <a:pt x="1422" y="152"/>
                    </a:lnTo>
                    <a:lnTo>
                      <a:pt x="1424" y="161"/>
                    </a:lnTo>
                    <a:lnTo>
                      <a:pt x="1424" y="170"/>
                    </a:lnTo>
                    <a:lnTo>
                      <a:pt x="1424" y="228"/>
                    </a:lnTo>
                    <a:lnTo>
                      <a:pt x="1414" y="294"/>
                    </a:lnTo>
                    <a:lnTo>
                      <a:pt x="1414" y="400"/>
                    </a:lnTo>
                    <a:lnTo>
                      <a:pt x="1425" y="399"/>
                    </a:lnTo>
                    <a:lnTo>
                      <a:pt x="1435" y="397"/>
                    </a:lnTo>
                    <a:lnTo>
                      <a:pt x="1591" y="435"/>
                    </a:lnTo>
                    <a:lnTo>
                      <a:pt x="1597" y="434"/>
                    </a:lnTo>
                    <a:lnTo>
                      <a:pt x="1603" y="433"/>
                    </a:lnTo>
                    <a:lnTo>
                      <a:pt x="1608" y="432"/>
                    </a:lnTo>
                    <a:lnTo>
                      <a:pt x="1612" y="430"/>
                    </a:lnTo>
                    <a:lnTo>
                      <a:pt x="1621" y="425"/>
                    </a:lnTo>
                    <a:lnTo>
                      <a:pt x="1628" y="418"/>
                    </a:lnTo>
                    <a:lnTo>
                      <a:pt x="1642" y="402"/>
                    </a:lnTo>
                    <a:lnTo>
                      <a:pt x="1657" y="386"/>
                    </a:lnTo>
                    <a:lnTo>
                      <a:pt x="1674" y="370"/>
                    </a:lnTo>
                    <a:lnTo>
                      <a:pt x="1689" y="358"/>
                    </a:lnTo>
                    <a:lnTo>
                      <a:pt x="1705" y="347"/>
                    </a:lnTo>
                    <a:lnTo>
                      <a:pt x="1720" y="337"/>
                    </a:lnTo>
                    <a:lnTo>
                      <a:pt x="1735" y="328"/>
                    </a:lnTo>
                    <a:lnTo>
                      <a:pt x="1750" y="316"/>
                    </a:lnTo>
                    <a:lnTo>
                      <a:pt x="1766" y="304"/>
                    </a:lnTo>
                    <a:lnTo>
                      <a:pt x="1783" y="289"/>
                    </a:lnTo>
                    <a:lnTo>
                      <a:pt x="1783" y="289"/>
                    </a:lnTo>
                    <a:close/>
                  </a:path>
                </a:pathLst>
              </a:custGeom>
              <a:solidFill>
                <a:srgbClr val="65AC1E">
                  <a:alpha val="80000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Khmelnytsky">
                <a:extLst>
                  <a:ext uri="{FF2B5EF4-FFF2-40B4-BE49-F238E27FC236}">
                    <a16:creationId xmlns:a16="http://schemas.microsoft.com/office/drawing/2014/main" id="{B72FCE69-DBF7-43E6-95C5-8ABAE9A7A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2819" y="2789438"/>
                <a:ext cx="750115" cy="1296480"/>
              </a:xfrm>
              <a:custGeom>
                <a:avLst/>
                <a:gdLst>
                  <a:gd name="T0" fmla="*/ 1071 w 1522"/>
                  <a:gd name="T1" fmla="*/ 127 h 2772"/>
                  <a:gd name="T2" fmla="*/ 1032 w 1522"/>
                  <a:gd name="T3" fmla="*/ 212 h 2772"/>
                  <a:gd name="T4" fmla="*/ 1147 w 1522"/>
                  <a:gd name="T5" fmla="*/ 360 h 2772"/>
                  <a:gd name="T6" fmla="*/ 1235 w 1522"/>
                  <a:gd name="T7" fmla="*/ 493 h 2772"/>
                  <a:gd name="T8" fmla="*/ 1309 w 1522"/>
                  <a:gd name="T9" fmla="*/ 490 h 2772"/>
                  <a:gd name="T10" fmla="*/ 1357 w 1522"/>
                  <a:gd name="T11" fmla="*/ 588 h 2772"/>
                  <a:gd name="T12" fmla="*/ 1367 w 1522"/>
                  <a:gd name="T13" fmla="*/ 738 h 2772"/>
                  <a:gd name="T14" fmla="*/ 1277 w 1522"/>
                  <a:gd name="T15" fmla="*/ 791 h 2772"/>
                  <a:gd name="T16" fmla="*/ 1273 w 1522"/>
                  <a:gd name="T17" fmla="*/ 845 h 2772"/>
                  <a:gd name="T18" fmla="*/ 1273 w 1522"/>
                  <a:gd name="T19" fmla="*/ 949 h 2772"/>
                  <a:gd name="T20" fmla="*/ 1424 w 1522"/>
                  <a:gd name="T21" fmla="*/ 1104 h 2772"/>
                  <a:gd name="T22" fmla="*/ 1488 w 1522"/>
                  <a:gd name="T23" fmla="*/ 1219 h 2772"/>
                  <a:gd name="T24" fmla="*/ 1461 w 1522"/>
                  <a:gd name="T25" fmla="*/ 1300 h 2772"/>
                  <a:gd name="T26" fmla="*/ 1429 w 1522"/>
                  <a:gd name="T27" fmla="*/ 1441 h 2772"/>
                  <a:gd name="T28" fmla="*/ 1379 w 1522"/>
                  <a:gd name="T29" fmla="*/ 1523 h 2772"/>
                  <a:gd name="T30" fmla="*/ 1482 w 1522"/>
                  <a:gd name="T31" fmla="*/ 1604 h 2772"/>
                  <a:gd name="T32" fmla="*/ 1472 w 1522"/>
                  <a:gd name="T33" fmla="*/ 1666 h 2772"/>
                  <a:gd name="T34" fmla="*/ 1472 w 1522"/>
                  <a:gd name="T35" fmla="*/ 1829 h 2772"/>
                  <a:gd name="T36" fmla="*/ 1370 w 1522"/>
                  <a:gd name="T37" fmla="*/ 1924 h 2772"/>
                  <a:gd name="T38" fmla="*/ 1292 w 1522"/>
                  <a:gd name="T39" fmla="*/ 1879 h 2772"/>
                  <a:gd name="T40" fmla="*/ 1193 w 1522"/>
                  <a:gd name="T41" fmla="*/ 1937 h 2772"/>
                  <a:gd name="T42" fmla="*/ 1090 w 1522"/>
                  <a:gd name="T43" fmla="*/ 2051 h 2772"/>
                  <a:gd name="T44" fmla="*/ 1046 w 1522"/>
                  <a:gd name="T45" fmla="*/ 2154 h 2772"/>
                  <a:gd name="T46" fmla="*/ 1086 w 1522"/>
                  <a:gd name="T47" fmla="*/ 2289 h 2772"/>
                  <a:gd name="T48" fmla="*/ 1068 w 1522"/>
                  <a:gd name="T49" fmla="*/ 2533 h 2772"/>
                  <a:gd name="T50" fmla="*/ 972 w 1522"/>
                  <a:gd name="T51" fmla="*/ 2575 h 2772"/>
                  <a:gd name="T52" fmla="*/ 907 w 1522"/>
                  <a:gd name="T53" fmla="*/ 2589 h 2772"/>
                  <a:gd name="T54" fmla="*/ 875 w 1522"/>
                  <a:gd name="T55" fmla="*/ 2630 h 2772"/>
                  <a:gd name="T56" fmla="*/ 740 w 1522"/>
                  <a:gd name="T57" fmla="*/ 2627 h 2772"/>
                  <a:gd name="T58" fmla="*/ 635 w 1522"/>
                  <a:gd name="T59" fmla="*/ 2630 h 2772"/>
                  <a:gd name="T60" fmla="*/ 558 w 1522"/>
                  <a:gd name="T61" fmla="*/ 2627 h 2772"/>
                  <a:gd name="T62" fmla="*/ 509 w 1522"/>
                  <a:gd name="T63" fmla="*/ 2586 h 2772"/>
                  <a:gd name="T64" fmla="*/ 446 w 1522"/>
                  <a:gd name="T65" fmla="*/ 2593 h 2772"/>
                  <a:gd name="T66" fmla="*/ 398 w 1522"/>
                  <a:gd name="T67" fmla="*/ 2636 h 2772"/>
                  <a:gd name="T68" fmla="*/ 368 w 1522"/>
                  <a:gd name="T69" fmla="*/ 2645 h 2772"/>
                  <a:gd name="T70" fmla="*/ 421 w 1522"/>
                  <a:gd name="T71" fmla="*/ 2696 h 2772"/>
                  <a:gd name="T72" fmla="*/ 383 w 1522"/>
                  <a:gd name="T73" fmla="*/ 2712 h 2772"/>
                  <a:gd name="T74" fmla="*/ 325 w 1522"/>
                  <a:gd name="T75" fmla="*/ 2772 h 2772"/>
                  <a:gd name="T76" fmla="*/ 239 w 1522"/>
                  <a:gd name="T77" fmla="*/ 2655 h 2772"/>
                  <a:gd name="T78" fmla="*/ 158 w 1522"/>
                  <a:gd name="T79" fmla="*/ 2549 h 2772"/>
                  <a:gd name="T80" fmla="*/ 61 w 1522"/>
                  <a:gd name="T81" fmla="*/ 2455 h 2772"/>
                  <a:gd name="T82" fmla="*/ 10 w 1522"/>
                  <a:gd name="T83" fmla="*/ 2383 h 2772"/>
                  <a:gd name="T84" fmla="*/ 15 w 1522"/>
                  <a:gd name="T85" fmla="*/ 2334 h 2772"/>
                  <a:gd name="T86" fmla="*/ 66 w 1522"/>
                  <a:gd name="T87" fmla="*/ 2170 h 2772"/>
                  <a:gd name="T88" fmla="*/ 58 w 1522"/>
                  <a:gd name="T89" fmla="*/ 2047 h 2772"/>
                  <a:gd name="T90" fmla="*/ 83 w 1522"/>
                  <a:gd name="T91" fmla="*/ 1644 h 2772"/>
                  <a:gd name="T92" fmla="*/ 111 w 1522"/>
                  <a:gd name="T93" fmla="*/ 1492 h 2772"/>
                  <a:gd name="T94" fmla="*/ 82 w 1522"/>
                  <a:gd name="T95" fmla="*/ 1360 h 2772"/>
                  <a:gd name="T96" fmla="*/ 88 w 1522"/>
                  <a:gd name="T97" fmla="*/ 1296 h 2772"/>
                  <a:gd name="T98" fmla="*/ 158 w 1522"/>
                  <a:gd name="T99" fmla="*/ 1169 h 2772"/>
                  <a:gd name="T100" fmla="*/ 108 w 1522"/>
                  <a:gd name="T101" fmla="*/ 883 h 2772"/>
                  <a:gd name="T102" fmla="*/ 70 w 1522"/>
                  <a:gd name="T103" fmla="*/ 803 h 2772"/>
                  <a:gd name="T104" fmla="*/ 145 w 1522"/>
                  <a:gd name="T105" fmla="*/ 616 h 2772"/>
                  <a:gd name="T106" fmla="*/ 247 w 1522"/>
                  <a:gd name="T107" fmla="*/ 456 h 2772"/>
                  <a:gd name="T108" fmla="*/ 398 w 1522"/>
                  <a:gd name="T109" fmla="*/ 364 h 2772"/>
                  <a:gd name="T110" fmla="*/ 525 w 1522"/>
                  <a:gd name="T111" fmla="*/ 314 h 2772"/>
                  <a:gd name="T112" fmla="*/ 602 w 1522"/>
                  <a:gd name="T113" fmla="*/ 207 h 2772"/>
                  <a:gd name="T114" fmla="*/ 675 w 1522"/>
                  <a:gd name="T115" fmla="*/ 79 h 2772"/>
                  <a:gd name="T116" fmla="*/ 778 w 1522"/>
                  <a:gd name="T117" fmla="*/ 69 h 2772"/>
                  <a:gd name="T118" fmla="*/ 862 w 1522"/>
                  <a:gd name="T119" fmla="*/ 2 h 27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522" h="2772">
                    <a:moveTo>
                      <a:pt x="981" y="35"/>
                    </a:moveTo>
                    <a:lnTo>
                      <a:pt x="988" y="47"/>
                    </a:lnTo>
                    <a:lnTo>
                      <a:pt x="998" y="56"/>
                    </a:lnTo>
                    <a:lnTo>
                      <a:pt x="1006" y="65"/>
                    </a:lnTo>
                    <a:lnTo>
                      <a:pt x="1014" y="74"/>
                    </a:lnTo>
                    <a:lnTo>
                      <a:pt x="1032" y="89"/>
                    </a:lnTo>
                    <a:lnTo>
                      <a:pt x="1049" y="104"/>
                    </a:lnTo>
                    <a:lnTo>
                      <a:pt x="1056" y="112"/>
                    </a:lnTo>
                    <a:lnTo>
                      <a:pt x="1064" y="119"/>
                    </a:lnTo>
                    <a:lnTo>
                      <a:pt x="1071" y="127"/>
                    </a:lnTo>
                    <a:lnTo>
                      <a:pt x="1077" y="137"/>
                    </a:lnTo>
                    <a:lnTo>
                      <a:pt x="1082" y="146"/>
                    </a:lnTo>
                    <a:lnTo>
                      <a:pt x="1087" y="157"/>
                    </a:lnTo>
                    <a:lnTo>
                      <a:pt x="1091" y="169"/>
                    </a:lnTo>
                    <a:lnTo>
                      <a:pt x="1093" y="182"/>
                    </a:lnTo>
                    <a:lnTo>
                      <a:pt x="1073" y="188"/>
                    </a:lnTo>
                    <a:lnTo>
                      <a:pt x="1055" y="196"/>
                    </a:lnTo>
                    <a:lnTo>
                      <a:pt x="1047" y="201"/>
                    </a:lnTo>
                    <a:lnTo>
                      <a:pt x="1039" y="206"/>
                    </a:lnTo>
                    <a:lnTo>
                      <a:pt x="1032" y="212"/>
                    </a:lnTo>
                    <a:lnTo>
                      <a:pt x="1023" y="220"/>
                    </a:lnTo>
                    <a:lnTo>
                      <a:pt x="1035" y="230"/>
                    </a:lnTo>
                    <a:lnTo>
                      <a:pt x="1044" y="239"/>
                    </a:lnTo>
                    <a:lnTo>
                      <a:pt x="1052" y="248"/>
                    </a:lnTo>
                    <a:lnTo>
                      <a:pt x="1059" y="259"/>
                    </a:lnTo>
                    <a:lnTo>
                      <a:pt x="1074" y="279"/>
                    </a:lnTo>
                    <a:lnTo>
                      <a:pt x="1091" y="303"/>
                    </a:lnTo>
                    <a:lnTo>
                      <a:pt x="1111" y="324"/>
                    </a:lnTo>
                    <a:lnTo>
                      <a:pt x="1130" y="342"/>
                    </a:lnTo>
                    <a:lnTo>
                      <a:pt x="1147" y="360"/>
                    </a:lnTo>
                    <a:lnTo>
                      <a:pt x="1165" y="376"/>
                    </a:lnTo>
                    <a:lnTo>
                      <a:pt x="1181" y="393"/>
                    </a:lnTo>
                    <a:lnTo>
                      <a:pt x="1197" y="411"/>
                    </a:lnTo>
                    <a:lnTo>
                      <a:pt x="1204" y="422"/>
                    </a:lnTo>
                    <a:lnTo>
                      <a:pt x="1211" y="433"/>
                    </a:lnTo>
                    <a:lnTo>
                      <a:pt x="1217" y="445"/>
                    </a:lnTo>
                    <a:lnTo>
                      <a:pt x="1223" y="458"/>
                    </a:lnTo>
                    <a:lnTo>
                      <a:pt x="1229" y="470"/>
                    </a:lnTo>
                    <a:lnTo>
                      <a:pt x="1232" y="482"/>
                    </a:lnTo>
                    <a:lnTo>
                      <a:pt x="1235" y="493"/>
                    </a:lnTo>
                    <a:lnTo>
                      <a:pt x="1237" y="503"/>
                    </a:lnTo>
                    <a:lnTo>
                      <a:pt x="1239" y="514"/>
                    </a:lnTo>
                    <a:lnTo>
                      <a:pt x="1242" y="525"/>
                    </a:lnTo>
                    <a:lnTo>
                      <a:pt x="1245" y="536"/>
                    </a:lnTo>
                    <a:lnTo>
                      <a:pt x="1249" y="548"/>
                    </a:lnTo>
                    <a:lnTo>
                      <a:pt x="1262" y="538"/>
                    </a:lnTo>
                    <a:lnTo>
                      <a:pt x="1273" y="529"/>
                    </a:lnTo>
                    <a:lnTo>
                      <a:pt x="1283" y="520"/>
                    </a:lnTo>
                    <a:lnTo>
                      <a:pt x="1291" y="511"/>
                    </a:lnTo>
                    <a:lnTo>
                      <a:pt x="1309" y="490"/>
                    </a:lnTo>
                    <a:lnTo>
                      <a:pt x="1328" y="465"/>
                    </a:lnTo>
                    <a:lnTo>
                      <a:pt x="1325" y="472"/>
                    </a:lnTo>
                    <a:lnTo>
                      <a:pt x="1324" y="481"/>
                    </a:lnTo>
                    <a:lnTo>
                      <a:pt x="1325" y="493"/>
                    </a:lnTo>
                    <a:lnTo>
                      <a:pt x="1327" y="505"/>
                    </a:lnTo>
                    <a:lnTo>
                      <a:pt x="1330" y="517"/>
                    </a:lnTo>
                    <a:lnTo>
                      <a:pt x="1332" y="527"/>
                    </a:lnTo>
                    <a:lnTo>
                      <a:pt x="1340" y="548"/>
                    </a:lnTo>
                    <a:lnTo>
                      <a:pt x="1348" y="568"/>
                    </a:lnTo>
                    <a:lnTo>
                      <a:pt x="1357" y="588"/>
                    </a:lnTo>
                    <a:lnTo>
                      <a:pt x="1365" y="609"/>
                    </a:lnTo>
                    <a:lnTo>
                      <a:pt x="1368" y="619"/>
                    </a:lnTo>
                    <a:lnTo>
                      <a:pt x="1370" y="630"/>
                    </a:lnTo>
                    <a:lnTo>
                      <a:pt x="1372" y="643"/>
                    </a:lnTo>
                    <a:lnTo>
                      <a:pt x="1372" y="655"/>
                    </a:lnTo>
                    <a:lnTo>
                      <a:pt x="1373" y="681"/>
                    </a:lnTo>
                    <a:lnTo>
                      <a:pt x="1374" y="705"/>
                    </a:lnTo>
                    <a:lnTo>
                      <a:pt x="1373" y="716"/>
                    </a:lnTo>
                    <a:lnTo>
                      <a:pt x="1371" y="726"/>
                    </a:lnTo>
                    <a:lnTo>
                      <a:pt x="1367" y="738"/>
                    </a:lnTo>
                    <a:lnTo>
                      <a:pt x="1361" y="749"/>
                    </a:lnTo>
                    <a:lnTo>
                      <a:pt x="1354" y="756"/>
                    </a:lnTo>
                    <a:lnTo>
                      <a:pt x="1348" y="761"/>
                    </a:lnTo>
                    <a:lnTo>
                      <a:pt x="1341" y="767"/>
                    </a:lnTo>
                    <a:lnTo>
                      <a:pt x="1334" y="771"/>
                    </a:lnTo>
                    <a:lnTo>
                      <a:pt x="1317" y="777"/>
                    </a:lnTo>
                    <a:lnTo>
                      <a:pt x="1300" y="782"/>
                    </a:lnTo>
                    <a:lnTo>
                      <a:pt x="1292" y="785"/>
                    </a:lnTo>
                    <a:lnTo>
                      <a:pt x="1284" y="788"/>
                    </a:lnTo>
                    <a:lnTo>
                      <a:pt x="1277" y="791"/>
                    </a:lnTo>
                    <a:lnTo>
                      <a:pt x="1270" y="796"/>
                    </a:lnTo>
                    <a:lnTo>
                      <a:pt x="1264" y="801"/>
                    </a:lnTo>
                    <a:lnTo>
                      <a:pt x="1258" y="806"/>
                    </a:lnTo>
                    <a:lnTo>
                      <a:pt x="1254" y="813"/>
                    </a:lnTo>
                    <a:lnTo>
                      <a:pt x="1251" y="822"/>
                    </a:lnTo>
                    <a:lnTo>
                      <a:pt x="1257" y="825"/>
                    </a:lnTo>
                    <a:lnTo>
                      <a:pt x="1263" y="830"/>
                    </a:lnTo>
                    <a:lnTo>
                      <a:pt x="1267" y="835"/>
                    </a:lnTo>
                    <a:lnTo>
                      <a:pt x="1271" y="840"/>
                    </a:lnTo>
                    <a:lnTo>
                      <a:pt x="1273" y="845"/>
                    </a:lnTo>
                    <a:lnTo>
                      <a:pt x="1274" y="851"/>
                    </a:lnTo>
                    <a:lnTo>
                      <a:pt x="1275" y="859"/>
                    </a:lnTo>
                    <a:lnTo>
                      <a:pt x="1275" y="866"/>
                    </a:lnTo>
                    <a:lnTo>
                      <a:pt x="1274" y="880"/>
                    </a:lnTo>
                    <a:lnTo>
                      <a:pt x="1272" y="894"/>
                    </a:lnTo>
                    <a:lnTo>
                      <a:pt x="1270" y="906"/>
                    </a:lnTo>
                    <a:lnTo>
                      <a:pt x="1268" y="922"/>
                    </a:lnTo>
                    <a:lnTo>
                      <a:pt x="1269" y="931"/>
                    </a:lnTo>
                    <a:lnTo>
                      <a:pt x="1270" y="941"/>
                    </a:lnTo>
                    <a:lnTo>
                      <a:pt x="1273" y="949"/>
                    </a:lnTo>
                    <a:lnTo>
                      <a:pt x="1276" y="958"/>
                    </a:lnTo>
                    <a:lnTo>
                      <a:pt x="1280" y="966"/>
                    </a:lnTo>
                    <a:lnTo>
                      <a:pt x="1284" y="973"/>
                    </a:lnTo>
                    <a:lnTo>
                      <a:pt x="1289" y="979"/>
                    </a:lnTo>
                    <a:lnTo>
                      <a:pt x="1296" y="987"/>
                    </a:lnTo>
                    <a:lnTo>
                      <a:pt x="1322" y="1011"/>
                    </a:lnTo>
                    <a:lnTo>
                      <a:pt x="1353" y="1039"/>
                    </a:lnTo>
                    <a:lnTo>
                      <a:pt x="1383" y="1067"/>
                    </a:lnTo>
                    <a:lnTo>
                      <a:pt x="1411" y="1092"/>
                    </a:lnTo>
                    <a:lnTo>
                      <a:pt x="1424" y="1104"/>
                    </a:lnTo>
                    <a:lnTo>
                      <a:pt x="1438" y="1118"/>
                    </a:lnTo>
                    <a:lnTo>
                      <a:pt x="1451" y="1133"/>
                    </a:lnTo>
                    <a:lnTo>
                      <a:pt x="1464" y="1150"/>
                    </a:lnTo>
                    <a:lnTo>
                      <a:pt x="1464" y="1150"/>
                    </a:lnTo>
                    <a:lnTo>
                      <a:pt x="1470" y="1163"/>
                    </a:lnTo>
                    <a:lnTo>
                      <a:pt x="1476" y="1175"/>
                    </a:lnTo>
                    <a:lnTo>
                      <a:pt x="1480" y="1186"/>
                    </a:lnTo>
                    <a:lnTo>
                      <a:pt x="1483" y="1196"/>
                    </a:lnTo>
                    <a:lnTo>
                      <a:pt x="1486" y="1208"/>
                    </a:lnTo>
                    <a:lnTo>
                      <a:pt x="1488" y="1219"/>
                    </a:lnTo>
                    <a:lnTo>
                      <a:pt x="1489" y="1231"/>
                    </a:lnTo>
                    <a:lnTo>
                      <a:pt x="1489" y="1246"/>
                    </a:lnTo>
                    <a:lnTo>
                      <a:pt x="1489" y="1252"/>
                    </a:lnTo>
                    <a:lnTo>
                      <a:pt x="1488" y="1257"/>
                    </a:lnTo>
                    <a:lnTo>
                      <a:pt x="1487" y="1262"/>
                    </a:lnTo>
                    <a:lnTo>
                      <a:pt x="1485" y="1266"/>
                    </a:lnTo>
                    <a:lnTo>
                      <a:pt x="1480" y="1276"/>
                    </a:lnTo>
                    <a:lnTo>
                      <a:pt x="1474" y="1284"/>
                    </a:lnTo>
                    <a:lnTo>
                      <a:pt x="1468" y="1291"/>
                    </a:lnTo>
                    <a:lnTo>
                      <a:pt x="1461" y="1300"/>
                    </a:lnTo>
                    <a:lnTo>
                      <a:pt x="1454" y="1310"/>
                    </a:lnTo>
                    <a:lnTo>
                      <a:pt x="1449" y="1320"/>
                    </a:lnTo>
                    <a:lnTo>
                      <a:pt x="1446" y="1331"/>
                    </a:lnTo>
                    <a:lnTo>
                      <a:pt x="1443" y="1342"/>
                    </a:lnTo>
                    <a:lnTo>
                      <a:pt x="1441" y="1352"/>
                    </a:lnTo>
                    <a:lnTo>
                      <a:pt x="1439" y="1362"/>
                    </a:lnTo>
                    <a:lnTo>
                      <a:pt x="1437" y="1383"/>
                    </a:lnTo>
                    <a:lnTo>
                      <a:pt x="1435" y="1402"/>
                    </a:lnTo>
                    <a:lnTo>
                      <a:pt x="1433" y="1421"/>
                    </a:lnTo>
                    <a:lnTo>
                      <a:pt x="1429" y="1441"/>
                    </a:lnTo>
                    <a:lnTo>
                      <a:pt x="1426" y="1450"/>
                    </a:lnTo>
                    <a:lnTo>
                      <a:pt x="1422" y="1461"/>
                    </a:lnTo>
                    <a:lnTo>
                      <a:pt x="1417" y="1470"/>
                    </a:lnTo>
                    <a:lnTo>
                      <a:pt x="1412" y="1480"/>
                    </a:lnTo>
                    <a:lnTo>
                      <a:pt x="1404" y="1493"/>
                    </a:lnTo>
                    <a:lnTo>
                      <a:pt x="1395" y="1502"/>
                    </a:lnTo>
                    <a:lnTo>
                      <a:pt x="1390" y="1506"/>
                    </a:lnTo>
                    <a:lnTo>
                      <a:pt x="1386" y="1511"/>
                    </a:lnTo>
                    <a:lnTo>
                      <a:pt x="1382" y="1516"/>
                    </a:lnTo>
                    <a:lnTo>
                      <a:pt x="1379" y="1523"/>
                    </a:lnTo>
                    <a:lnTo>
                      <a:pt x="1418" y="1536"/>
                    </a:lnTo>
                    <a:lnTo>
                      <a:pt x="1452" y="1547"/>
                    </a:lnTo>
                    <a:lnTo>
                      <a:pt x="1469" y="1553"/>
                    </a:lnTo>
                    <a:lnTo>
                      <a:pt x="1485" y="1561"/>
                    </a:lnTo>
                    <a:lnTo>
                      <a:pt x="1504" y="1568"/>
                    </a:lnTo>
                    <a:lnTo>
                      <a:pt x="1522" y="1577"/>
                    </a:lnTo>
                    <a:lnTo>
                      <a:pt x="1513" y="1587"/>
                    </a:lnTo>
                    <a:lnTo>
                      <a:pt x="1502" y="1593"/>
                    </a:lnTo>
                    <a:lnTo>
                      <a:pt x="1492" y="1599"/>
                    </a:lnTo>
                    <a:lnTo>
                      <a:pt x="1482" y="1604"/>
                    </a:lnTo>
                    <a:lnTo>
                      <a:pt x="1472" y="1610"/>
                    </a:lnTo>
                    <a:lnTo>
                      <a:pt x="1463" y="1618"/>
                    </a:lnTo>
                    <a:lnTo>
                      <a:pt x="1459" y="1621"/>
                    </a:lnTo>
                    <a:lnTo>
                      <a:pt x="1454" y="1626"/>
                    </a:lnTo>
                    <a:lnTo>
                      <a:pt x="1451" y="1631"/>
                    </a:lnTo>
                    <a:lnTo>
                      <a:pt x="1447" y="1636"/>
                    </a:lnTo>
                    <a:lnTo>
                      <a:pt x="1455" y="1643"/>
                    </a:lnTo>
                    <a:lnTo>
                      <a:pt x="1462" y="1651"/>
                    </a:lnTo>
                    <a:lnTo>
                      <a:pt x="1467" y="1658"/>
                    </a:lnTo>
                    <a:lnTo>
                      <a:pt x="1472" y="1666"/>
                    </a:lnTo>
                    <a:lnTo>
                      <a:pt x="1475" y="1674"/>
                    </a:lnTo>
                    <a:lnTo>
                      <a:pt x="1478" y="1683"/>
                    </a:lnTo>
                    <a:lnTo>
                      <a:pt x="1479" y="1692"/>
                    </a:lnTo>
                    <a:lnTo>
                      <a:pt x="1481" y="1701"/>
                    </a:lnTo>
                    <a:lnTo>
                      <a:pt x="1481" y="1740"/>
                    </a:lnTo>
                    <a:lnTo>
                      <a:pt x="1480" y="1783"/>
                    </a:lnTo>
                    <a:lnTo>
                      <a:pt x="1480" y="1795"/>
                    </a:lnTo>
                    <a:lnTo>
                      <a:pt x="1478" y="1808"/>
                    </a:lnTo>
                    <a:lnTo>
                      <a:pt x="1475" y="1819"/>
                    </a:lnTo>
                    <a:lnTo>
                      <a:pt x="1472" y="1829"/>
                    </a:lnTo>
                    <a:lnTo>
                      <a:pt x="1467" y="1840"/>
                    </a:lnTo>
                    <a:lnTo>
                      <a:pt x="1462" y="1849"/>
                    </a:lnTo>
                    <a:lnTo>
                      <a:pt x="1454" y="1858"/>
                    </a:lnTo>
                    <a:lnTo>
                      <a:pt x="1448" y="1866"/>
                    </a:lnTo>
                    <a:lnTo>
                      <a:pt x="1440" y="1875"/>
                    </a:lnTo>
                    <a:lnTo>
                      <a:pt x="1432" y="1883"/>
                    </a:lnTo>
                    <a:lnTo>
                      <a:pt x="1422" y="1890"/>
                    </a:lnTo>
                    <a:lnTo>
                      <a:pt x="1412" y="1897"/>
                    </a:lnTo>
                    <a:lnTo>
                      <a:pt x="1391" y="1911"/>
                    </a:lnTo>
                    <a:lnTo>
                      <a:pt x="1370" y="1924"/>
                    </a:lnTo>
                    <a:lnTo>
                      <a:pt x="1358" y="1908"/>
                    </a:lnTo>
                    <a:lnTo>
                      <a:pt x="1347" y="1893"/>
                    </a:lnTo>
                    <a:lnTo>
                      <a:pt x="1342" y="1886"/>
                    </a:lnTo>
                    <a:lnTo>
                      <a:pt x="1335" y="1882"/>
                    </a:lnTo>
                    <a:lnTo>
                      <a:pt x="1331" y="1880"/>
                    </a:lnTo>
                    <a:lnTo>
                      <a:pt x="1327" y="1879"/>
                    </a:lnTo>
                    <a:lnTo>
                      <a:pt x="1322" y="1878"/>
                    </a:lnTo>
                    <a:lnTo>
                      <a:pt x="1317" y="1877"/>
                    </a:lnTo>
                    <a:lnTo>
                      <a:pt x="1305" y="1878"/>
                    </a:lnTo>
                    <a:lnTo>
                      <a:pt x="1292" y="1879"/>
                    </a:lnTo>
                    <a:lnTo>
                      <a:pt x="1280" y="1881"/>
                    </a:lnTo>
                    <a:lnTo>
                      <a:pt x="1269" y="1884"/>
                    </a:lnTo>
                    <a:lnTo>
                      <a:pt x="1257" y="1888"/>
                    </a:lnTo>
                    <a:lnTo>
                      <a:pt x="1247" y="1893"/>
                    </a:lnTo>
                    <a:lnTo>
                      <a:pt x="1238" y="1898"/>
                    </a:lnTo>
                    <a:lnTo>
                      <a:pt x="1228" y="1905"/>
                    </a:lnTo>
                    <a:lnTo>
                      <a:pt x="1218" y="1912"/>
                    </a:lnTo>
                    <a:lnTo>
                      <a:pt x="1210" y="1919"/>
                    </a:lnTo>
                    <a:lnTo>
                      <a:pt x="1202" y="1927"/>
                    </a:lnTo>
                    <a:lnTo>
                      <a:pt x="1193" y="1937"/>
                    </a:lnTo>
                    <a:lnTo>
                      <a:pt x="1186" y="1946"/>
                    </a:lnTo>
                    <a:lnTo>
                      <a:pt x="1178" y="1956"/>
                    </a:lnTo>
                    <a:lnTo>
                      <a:pt x="1172" y="1968"/>
                    </a:lnTo>
                    <a:lnTo>
                      <a:pt x="1165" y="1979"/>
                    </a:lnTo>
                    <a:lnTo>
                      <a:pt x="1156" y="1990"/>
                    </a:lnTo>
                    <a:lnTo>
                      <a:pt x="1148" y="2001"/>
                    </a:lnTo>
                    <a:lnTo>
                      <a:pt x="1139" y="2011"/>
                    </a:lnTo>
                    <a:lnTo>
                      <a:pt x="1130" y="2020"/>
                    </a:lnTo>
                    <a:lnTo>
                      <a:pt x="1110" y="2036"/>
                    </a:lnTo>
                    <a:lnTo>
                      <a:pt x="1090" y="2051"/>
                    </a:lnTo>
                    <a:lnTo>
                      <a:pt x="1081" y="2059"/>
                    </a:lnTo>
                    <a:lnTo>
                      <a:pt x="1072" y="2068"/>
                    </a:lnTo>
                    <a:lnTo>
                      <a:pt x="1065" y="2076"/>
                    </a:lnTo>
                    <a:lnTo>
                      <a:pt x="1057" y="2085"/>
                    </a:lnTo>
                    <a:lnTo>
                      <a:pt x="1052" y="2096"/>
                    </a:lnTo>
                    <a:lnTo>
                      <a:pt x="1048" y="2106"/>
                    </a:lnTo>
                    <a:lnTo>
                      <a:pt x="1045" y="2118"/>
                    </a:lnTo>
                    <a:lnTo>
                      <a:pt x="1044" y="2132"/>
                    </a:lnTo>
                    <a:lnTo>
                      <a:pt x="1045" y="2143"/>
                    </a:lnTo>
                    <a:lnTo>
                      <a:pt x="1046" y="2154"/>
                    </a:lnTo>
                    <a:lnTo>
                      <a:pt x="1048" y="2165"/>
                    </a:lnTo>
                    <a:lnTo>
                      <a:pt x="1051" y="2174"/>
                    </a:lnTo>
                    <a:lnTo>
                      <a:pt x="1057" y="2193"/>
                    </a:lnTo>
                    <a:lnTo>
                      <a:pt x="1066" y="2210"/>
                    </a:lnTo>
                    <a:lnTo>
                      <a:pt x="1073" y="2228"/>
                    </a:lnTo>
                    <a:lnTo>
                      <a:pt x="1080" y="2246"/>
                    </a:lnTo>
                    <a:lnTo>
                      <a:pt x="1083" y="2257"/>
                    </a:lnTo>
                    <a:lnTo>
                      <a:pt x="1085" y="2267"/>
                    </a:lnTo>
                    <a:lnTo>
                      <a:pt x="1086" y="2277"/>
                    </a:lnTo>
                    <a:lnTo>
                      <a:pt x="1086" y="2289"/>
                    </a:lnTo>
                    <a:lnTo>
                      <a:pt x="1086" y="2315"/>
                    </a:lnTo>
                    <a:lnTo>
                      <a:pt x="1084" y="2337"/>
                    </a:lnTo>
                    <a:lnTo>
                      <a:pt x="1082" y="2358"/>
                    </a:lnTo>
                    <a:lnTo>
                      <a:pt x="1079" y="2379"/>
                    </a:lnTo>
                    <a:lnTo>
                      <a:pt x="1076" y="2400"/>
                    </a:lnTo>
                    <a:lnTo>
                      <a:pt x="1073" y="2421"/>
                    </a:lnTo>
                    <a:lnTo>
                      <a:pt x="1072" y="2444"/>
                    </a:lnTo>
                    <a:lnTo>
                      <a:pt x="1071" y="2469"/>
                    </a:lnTo>
                    <a:lnTo>
                      <a:pt x="1070" y="2504"/>
                    </a:lnTo>
                    <a:lnTo>
                      <a:pt x="1068" y="2533"/>
                    </a:lnTo>
                    <a:lnTo>
                      <a:pt x="1067" y="2562"/>
                    </a:lnTo>
                    <a:lnTo>
                      <a:pt x="1066" y="2597"/>
                    </a:lnTo>
                    <a:lnTo>
                      <a:pt x="1066" y="2597"/>
                    </a:lnTo>
                    <a:lnTo>
                      <a:pt x="1043" y="2590"/>
                    </a:lnTo>
                    <a:lnTo>
                      <a:pt x="1023" y="2582"/>
                    </a:lnTo>
                    <a:lnTo>
                      <a:pt x="1014" y="2579"/>
                    </a:lnTo>
                    <a:lnTo>
                      <a:pt x="1004" y="2576"/>
                    </a:lnTo>
                    <a:lnTo>
                      <a:pt x="992" y="2574"/>
                    </a:lnTo>
                    <a:lnTo>
                      <a:pt x="981" y="2574"/>
                    </a:lnTo>
                    <a:lnTo>
                      <a:pt x="972" y="2575"/>
                    </a:lnTo>
                    <a:lnTo>
                      <a:pt x="965" y="2577"/>
                    </a:lnTo>
                    <a:lnTo>
                      <a:pt x="958" y="2581"/>
                    </a:lnTo>
                    <a:lnTo>
                      <a:pt x="952" y="2585"/>
                    </a:lnTo>
                    <a:lnTo>
                      <a:pt x="946" y="2589"/>
                    </a:lnTo>
                    <a:lnTo>
                      <a:pt x="940" y="2593"/>
                    </a:lnTo>
                    <a:lnTo>
                      <a:pt x="933" y="2596"/>
                    </a:lnTo>
                    <a:lnTo>
                      <a:pt x="924" y="2597"/>
                    </a:lnTo>
                    <a:lnTo>
                      <a:pt x="917" y="2596"/>
                    </a:lnTo>
                    <a:lnTo>
                      <a:pt x="912" y="2593"/>
                    </a:lnTo>
                    <a:lnTo>
                      <a:pt x="907" y="2589"/>
                    </a:lnTo>
                    <a:lnTo>
                      <a:pt x="903" y="2585"/>
                    </a:lnTo>
                    <a:lnTo>
                      <a:pt x="899" y="2581"/>
                    </a:lnTo>
                    <a:lnTo>
                      <a:pt x="893" y="2577"/>
                    </a:lnTo>
                    <a:lnTo>
                      <a:pt x="888" y="2575"/>
                    </a:lnTo>
                    <a:lnTo>
                      <a:pt x="882" y="2574"/>
                    </a:lnTo>
                    <a:lnTo>
                      <a:pt x="877" y="2577"/>
                    </a:lnTo>
                    <a:lnTo>
                      <a:pt x="872" y="2581"/>
                    </a:lnTo>
                    <a:lnTo>
                      <a:pt x="886" y="2609"/>
                    </a:lnTo>
                    <a:lnTo>
                      <a:pt x="886" y="2627"/>
                    </a:lnTo>
                    <a:lnTo>
                      <a:pt x="875" y="2630"/>
                    </a:lnTo>
                    <a:lnTo>
                      <a:pt x="863" y="2631"/>
                    </a:lnTo>
                    <a:lnTo>
                      <a:pt x="848" y="2628"/>
                    </a:lnTo>
                    <a:lnTo>
                      <a:pt x="835" y="2625"/>
                    </a:lnTo>
                    <a:lnTo>
                      <a:pt x="821" y="2622"/>
                    </a:lnTo>
                    <a:lnTo>
                      <a:pt x="806" y="2620"/>
                    </a:lnTo>
                    <a:lnTo>
                      <a:pt x="792" y="2627"/>
                    </a:lnTo>
                    <a:lnTo>
                      <a:pt x="778" y="2635"/>
                    </a:lnTo>
                    <a:lnTo>
                      <a:pt x="763" y="2634"/>
                    </a:lnTo>
                    <a:lnTo>
                      <a:pt x="751" y="2632"/>
                    </a:lnTo>
                    <a:lnTo>
                      <a:pt x="740" y="2627"/>
                    </a:lnTo>
                    <a:lnTo>
                      <a:pt x="728" y="2623"/>
                    </a:lnTo>
                    <a:lnTo>
                      <a:pt x="717" y="2619"/>
                    </a:lnTo>
                    <a:lnTo>
                      <a:pt x="706" y="2615"/>
                    </a:lnTo>
                    <a:lnTo>
                      <a:pt x="692" y="2612"/>
                    </a:lnTo>
                    <a:lnTo>
                      <a:pt x="679" y="2611"/>
                    </a:lnTo>
                    <a:lnTo>
                      <a:pt x="669" y="2612"/>
                    </a:lnTo>
                    <a:lnTo>
                      <a:pt x="658" y="2614"/>
                    </a:lnTo>
                    <a:lnTo>
                      <a:pt x="650" y="2618"/>
                    </a:lnTo>
                    <a:lnTo>
                      <a:pt x="642" y="2623"/>
                    </a:lnTo>
                    <a:lnTo>
                      <a:pt x="635" y="2630"/>
                    </a:lnTo>
                    <a:lnTo>
                      <a:pt x="628" y="2637"/>
                    </a:lnTo>
                    <a:lnTo>
                      <a:pt x="621" y="2645"/>
                    </a:lnTo>
                    <a:lnTo>
                      <a:pt x="615" y="2653"/>
                    </a:lnTo>
                    <a:lnTo>
                      <a:pt x="607" y="2649"/>
                    </a:lnTo>
                    <a:lnTo>
                      <a:pt x="598" y="2645"/>
                    </a:lnTo>
                    <a:lnTo>
                      <a:pt x="589" y="2642"/>
                    </a:lnTo>
                    <a:lnTo>
                      <a:pt x="581" y="2640"/>
                    </a:lnTo>
                    <a:lnTo>
                      <a:pt x="573" y="2637"/>
                    </a:lnTo>
                    <a:lnTo>
                      <a:pt x="565" y="2633"/>
                    </a:lnTo>
                    <a:lnTo>
                      <a:pt x="558" y="2627"/>
                    </a:lnTo>
                    <a:lnTo>
                      <a:pt x="551" y="2620"/>
                    </a:lnTo>
                    <a:lnTo>
                      <a:pt x="547" y="2614"/>
                    </a:lnTo>
                    <a:lnTo>
                      <a:pt x="544" y="2607"/>
                    </a:lnTo>
                    <a:lnTo>
                      <a:pt x="542" y="2600"/>
                    </a:lnTo>
                    <a:lnTo>
                      <a:pt x="540" y="2592"/>
                    </a:lnTo>
                    <a:lnTo>
                      <a:pt x="538" y="2585"/>
                    </a:lnTo>
                    <a:lnTo>
                      <a:pt x="533" y="2579"/>
                    </a:lnTo>
                    <a:lnTo>
                      <a:pt x="529" y="2574"/>
                    </a:lnTo>
                    <a:lnTo>
                      <a:pt x="523" y="2569"/>
                    </a:lnTo>
                    <a:lnTo>
                      <a:pt x="509" y="2586"/>
                    </a:lnTo>
                    <a:lnTo>
                      <a:pt x="497" y="2602"/>
                    </a:lnTo>
                    <a:lnTo>
                      <a:pt x="487" y="2618"/>
                    </a:lnTo>
                    <a:lnTo>
                      <a:pt x="476" y="2637"/>
                    </a:lnTo>
                    <a:lnTo>
                      <a:pt x="471" y="2631"/>
                    </a:lnTo>
                    <a:lnTo>
                      <a:pt x="466" y="2623"/>
                    </a:lnTo>
                    <a:lnTo>
                      <a:pt x="462" y="2617"/>
                    </a:lnTo>
                    <a:lnTo>
                      <a:pt x="459" y="2610"/>
                    </a:lnTo>
                    <a:lnTo>
                      <a:pt x="456" y="2604"/>
                    </a:lnTo>
                    <a:lnTo>
                      <a:pt x="451" y="2599"/>
                    </a:lnTo>
                    <a:lnTo>
                      <a:pt x="446" y="2593"/>
                    </a:lnTo>
                    <a:lnTo>
                      <a:pt x="439" y="2590"/>
                    </a:lnTo>
                    <a:lnTo>
                      <a:pt x="434" y="2608"/>
                    </a:lnTo>
                    <a:lnTo>
                      <a:pt x="432" y="2624"/>
                    </a:lnTo>
                    <a:lnTo>
                      <a:pt x="430" y="2632"/>
                    </a:lnTo>
                    <a:lnTo>
                      <a:pt x="428" y="2640"/>
                    </a:lnTo>
                    <a:lnTo>
                      <a:pt x="425" y="2647"/>
                    </a:lnTo>
                    <a:lnTo>
                      <a:pt x="422" y="2656"/>
                    </a:lnTo>
                    <a:lnTo>
                      <a:pt x="412" y="2648"/>
                    </a:lnTo>
                    <a:lnTo>
                      <a:pt x="403" y="2640"/>
                    </a:lnTo>
                    <a:lnTo>
                      <a:pt x="398" y="2636"/>
                    </a:lnTo>
                    <a:lnTo>
                      <a:pt x="393" y="2633"/>
                    </a:lnTo>
                    <a:lnTo>
                      <a:pt x="388" y="2631"/>
                    </a:lnTo>
                    <a:lnTo>
                      <a:pt x="382" y="2631"/>
                    </a:lnTo>
                    <a:lnTo>
                      <a:pt x="377" y="2631"/>
                    </a:lnTo>
                    <a:lnTo>
                      <a:pt x="373" y="2633"/>
                    </a:lnTo>
                    <a:lnTo>
                      <a:pt x="371" y="2634"/>
                    </a:lnTo>
                    <a:lnTo>
                      <a:pt x="368" y="2636"/>
                    </a:lnTo>
                    <a:lnTo>
                      <a:pt x="368" y="2638"/>
                    </a:lnTo>
                    <a:lnTo>
                      <a:pt x="367" y="2640"/>
                    </a:lnTo>
                    <a:lnTo>
                      <a:pt x="368" y="2645"/>
                    </a:lnTo>
                    <a:lnTo>
                      <a:pt x="370" y="2650"/>
                    </a:lnTo>
                    <a:lnTo>
                      <a:pt x="373" y="2654"/>
                    </a:lnTo>
                    <a:lnTo>
                      <a:pt x="376" y="2658"/>
                    </a:lnTo>
                    <a:lnTo>
                      <a:pt x="385" y="2665"/>
                    </a:lnTo>
                    <a:lnTo>
                      <a:pt x="394" y="2670"/>
                    </a:lnTo>
                    <a:lnTo>
                      <a:pt x="405" y="2676"/>
                    </a:lnTo>
                    <a:lnTo>
                      <a:pt x="414" y="2682"/>
                    </a:lnTo>
                    <a:lnTo>
                      <a:pt x="417" y="2686"/>
                    </a:lnTo>
                    <a:lnTo>
                      <a:pt x="419" y="2690"/>
                    </a:lnTo>
                    <a:lnTo>
                      <a:pt x="421" y="2696"/>
                    </a:lnTo>
                    <a:lnTo>
                      <a:pt x="422" y="2701"/>
                    </a:lnTo>
                    <a:lnTo>
                      <a:pt x="421" y="2708"/>
                    </a:lnTo>
                    <a:lnTo>
                      <a:pt x="418" y="2714"/>
                    </a:lnTo>
                    <a:lnTo>
                      <a:pt x="416" y="2716"/>
                    </a:lnTo>
                    <a:lnTo>
                      <a:pt x="414" y="2718"/>
                    </a:lnTo>
                    <a:lnTo>
                      <a:pt x="411" y="2719"/>
                    </a:lnTo>
                    <a:lnTo>
                      <a:pt x="408" y="2719"/>
                    </a:lnTo>
                    <a:lnTo>
                      <a:pt x="398" y="2719"/>
                    </a:lnTo>
                    <a:lnTo>
                      <a:pt x="390" y="2716"/>
                    </a:lnTo>
                    <a:lnTo>
                      <a:pt x="383" y="2712"/>
                    </a:lnTo>
                    <a:lnTo>
                      <a:pt x="376" y="2708"/>
                    </a:lnTo>
                    <a:lnTo>
                      <a:pt x="368" y="2703"/>
                    </a:lnTo>
                    <a:lnTo>
                      <a:pt x="361" y="2699"/>
                    </a:lnTo>
                    <a:lnTo>
                      <a:pt x="353" y="2696"/>
                    </a:lnTo>
                    <a:lnTo>
                      <a:pt x="344" y="2694"/>
                    </a:lnTo>
                    <a:lnTo>
                      <a:pt x="343" y="2714"/>
                    </a:lnTo>
                    <a:lnTo>
                      <a:pt x="344" y="2732"/>
                    </a:lnTo>
                    <a:lnTo>
                      <a:pt x="345" y="2749"/>
                    </a:lnTo>
                    <a:lnTo>
                      <a:pt x="344" y="2770"/>
                    </a:lnTo>
                    <a:lnTo>
                      <a:pt x="325" y="2772"/>
                    </a:lnTo>
                    <a:lnTo>
                      <a:pt x="318" y="2768"/>
                    </a:lnTo>
                    <a:lnTo>
                      <a:pt x="311" y="2765"/>
                    </a:lnTo>
                    <a:lnTo>
                      <a:pt x="305" y="2761"/>
                    </a:lnTo>
                    <a:lnTo>
                      <a:pt x="299" y="2755"/>
                    </a:lnTo>
                    <a:lnTo>
                      <a:pt x="289" y="2745"/>
                    </a:lnTo>
                    <a:lnTo>
                      <a:pt x="281" y="2734"/>
                    </a:lnTo>
                    <a:lnTo>
                      <a:pt x="267" y="2709"/>
                    </a:lnTo>
                    <a:lnTo>
                      <a:pt x="252" y="2680"/>
                    </a:lnTo>
                    <a:lnTo>
                      <a:pt x="246" y="2668"/>
                    </a:lnTo>
                    <a:lnTo>
                      <a:pt x="239" y="2655"/>
                    </a:lnTo>
                    <a:lnTo>
                      <a:pt x="234" y="2651"/>
                    </a:lnTo>
                    <a:lnTo>
                      <a:pt x="229" y="2647"/>
                    </a:lnTo>
                    <a:lnTo>
                      <a:pt x="223" y="2645"/>
                    </a:lnTo>
                    <a:lnTo>
                      <a:pt x="217" y="2644"/>
                    </a:lnTo>
                    <a:lnTo>
                      <a:pt x="201" y="2645"/>
                    </a:lnTo>
                    <a:lnTo>
                      <a:pt x="187" y="2646"/>
                    </a:lnTo>
                    <a:lnTo>
                      <a:pt x="173" y="2649"/>
                    </a:lnTo>
                    <a:lnTo>
                      <a:pt x="158" y="2653"/>
                    </a:lnTo>
                    <a:lnTo>
                      <a:pt x="158" y="2653"/>
                    </a:lnTo>
                    <a:lnTo>
                      <a:pt x="158" y="2549"/>
                    </a:lnTo>
                    <a:lnTo>
                      <a:pt x="157" y="2540"/>
                    </a:lnTo>
                    <a:lnTo>
                      <a:pt x="155" y="2531"/>
                    </a:lnTo>
                    <a:lnTo>
                      <a:pt x="152" y="2524"/>
                    </a:lnTo>
                    <a:lnTo>
                      <a:pt x="149" y="2517"/>
                    </a:lnTo>
                    <a:lnTo>
                      <a:pt x="144" y="2511"/>
                    </a:lnTo>
                    <a:lnTo>
                      <a:pt x="139" y="2506"/>
                    </a:lnTo>
                    <a:lnTo>
                      <a:pt x="132" y="2500"/>
                    </a:lnTo>
                    <a:lnTo>
                      <a:pt x="125" y="2495"/>
                    </a:lnTo>
                    <a:lnTo>
                      <a:pt x="94" y="2477"/>
                    </a:lnTo>
                    <a:lnTo>
                      <a:pt x="61" y="2455"/>
                    </a:lnTo>
                    <a:lnTo>
                      <a:pt x="54" y="2450"/>
                    </a:lnTo>
                    <a:lnTo>
                      <a:pt x="49" y="2443"/>
                    </a:lnTo>
                    <a:lnTo>
                      <a:pt x="45" y="2436"/>
                    </a:lnTo>
                    <a:lnTo>
                      <a:pt x="41" y="2429"/>
                    </a:lnTo>
                    <a:lnTo>
                      <a:pt x="34" y="2415"/>
                    </a:lnTo>
                    <a:lnTo>
                      <a:pt x="26" y="2399"/>
                    </a:lnTo>
                    <a:lnTo>
                      <a:pt x="22" y="2394"/>
                    </a:lnTo>
                    <a:lnTo>
                      <a:pt x="18" y="2390"/>
                    </a:lnTo>
                    <a:lnTo>
                      <a:pt x="14" y="2387"/>
                    </a:lnTo>
                    <a:lnTo>
                      <a:pt x="10" y="2383"/>
                    </a:lnTo>
                    <a:lnTo>
                      <a:pt x="5" y="2380"/>
                    </a:lnTo>
                    <a:lnTo>
                      <a:pt x="2" y="2375"/>
                    </a:lnTo>
                    <a:lnTo>
                      <a:pt x="0" y="2371"/>
                    </a:lnTo>
                    <a:lnTo>
                      <a:pt x="0" y="2366"/>
                    </a:lnTo>
                    <a:lnTo>
                      <a:pt x="0" y="2361"/>
                    </a:lnTo>
                    <a:lnTo>
                      <a:pt x="1" y="2356"/>
                    </a:lnTo>
                    <a:lnTo>
                      <a:pt x="2" y="2352"/>
                    </a:lnTo>
                    <a:lnTo>
                      <a:pt x="4" y="2348"/>
                    </a:lnTo>
                    <a:lnTo>
                      <a:pt x="10" y="2340"/>
                    </a:lnTo>
                    <a:lnTo>
                      <a:pt x="15" y="2334"/>
                    </a:lnTo>
                    <a:lnTo>
                      <a:pt x="22" y="2328"/>
                    </a:lnTo>
                    <a:lnTo>
                      <a:pt x="28" y="2321"/>
                    </a:lnTo>
                    <a:lnTo>
                      <a:pt x="34" y="2314"/>
                    </a:lnTo>
                    <a:lnTo>
                      <a:pt x="40" y="2304"/>
                    </a:lnTo>
                    <a:lnTo>
                      <a:pt x="51" y="2269"/>
                    </a:lnTo>
                    <a:lnTo>
                      <a:pt x="59" y="2238"/>
                    </a:lnTo>
                    <a:lnTo>
                      <a:pt x="62" y="2223"/>
                    </a:lnTo>
                    <a:lnTo>
                      <a:pt x="64" y="2206"/>
                    </a:lnTo>
                    <a:lnTo>
                      <a:pt x="65" y="2189"/>
                    </a:lnTo>
                    <a:lnTo>
                      <a:pt x="66" y="2170"/>
                    </a:lnTo>
                    <a:lnTo>
                      <a:pt x="65" y="2158"/>
                    </a:lnTo>
                    <a:lnTo>
                      <a:pt x="64" y="2146"/>
                    </a:lnTo>
                    <a:lnTo>
                      <a:pt x="62" y="2136"/>
                    </a:lnTo>
                    <a:lnTo>
                      <a:pt x="60" y="2126"/>
                    </a:lnTo>
                    <a:lnTo>
                      <a:pt x="58" y="2115"/>
                    </a:lnTo>
                    <a:lnTo>
                      <a:pt x="56" y="2105"/>
                    </a:lnTo>
                    <a:lnTo>
                      <a:pt x="55" y="2094"/>
                    </a:lnTo>
                    <a:lnTo>
                      <a:pt x="54" y="2081"/>
                    </a:lnTo>
                    <a:lnTo>
                      <a:pt x="55" y="2064"/>
                    </a:lnTo>
                    <a:lnTo>
                      <a:pt x="58" y="2047"/>
                    </a:lnTo>
                    <a:lnTo>
                      <a:pt x="62" y="2032"/>
                    </a:lnTo>
                    <a:lnTo>
                      <a:pt x="67" y="2017"/>
                    </a:lnTo>
                    <a:lnTo>
                      <a:pt x="71" y="2003"/>
                    </a:lnTo>
                    <a:lnTo>
                      <a:pt x="76" y="1987"/>
                    </a:lnTo>
                    <a:lnTo>
                      <a:pt x="79" y="1972"/>
                    </a:lnTo>
                    <a:lnTo>
                      <a:pt x="80" y="1953"/>
                    </a:lnTo>
                    <a:lnTo>
                      <a:pt x="80" y="1671"/>
                    </a:lnTo>
                    <a:lnTo>
                      <a:pt x="81" y="1662"/>
                    </a:lnTo>
                    <a:lnTo>
                      <a:pt x="82" y="1653"/>
                    </a:lnTo>
                    <a:lnTo>
                      <a:pt x="83" y="1644"/>
                    </a:lnTo>
                    <a:lnTo>
                      <a:pt x="85" y="1636"/>
                    </a:lnTo>
                    <a:lnTo>
                      <a:pt x="90" y="1621"/>
                    </a:lnTo>
                    <a:lnTo>
                      <a:pt x="95" y="1605"/>
                    </a:lnTo>
                    <a:lnTo>
                      <a:pt x="101" y="1591"/>
                    </a:lnTo>
                    <a:lnTo>
                      <a:pt x="106" y="1575"/>
                    </a:lnTo>
                    <a:lnTo>
                      <a:pt x="108" y="1567"/>
                    </a:lnTo>
                    <a:lnTo>
                      <a:pt x="110" y="1559"/>
                    </a:lnTo>
                    <a:lnTo>
                      <a:pt x="111" y="1549"/>
                    </a:lnTo>
                    <a:lnTo>
                      <a:pt x="111" y="1540"/>
                    </a:lnTo>
                    <a:lnTo>
                      <a:pt x="111" y="1492"/>
                    </a:lnTo>
                    <a:lnTo>
                      <a:pt x="111" y="1478"/>
                    </a:lnTo>
                    <a:lnTo>
                      <a:pt x="110" y="1465"/>
                    </a:lnTo>
                    <a:lnTo>
                      <a:pt x="108" y="1452"/>
                    </a:lnTo>
                    <a:lnTo>
                      <a:pt x="106" y="1441"/>
                    </a:lnTo>
                    <a:lnTo>
                      <a:pt x="101" y="1417"/>
                    </a:lnTo>
                    <a:lnTo>
                      <a:pt x="96" y="1390"/>
                    </a:lnTo>
                    <a:lnTo>
                      <a:pt x="94" y="1382"/>
                    </a:lnTo>
                    <a:lnTo>
                      <a:pt x="91" y="1374"/>
                    </a:lnTo>
                    <a:lnTo>
                      <a:pt x="87" y="1367"/>
                    </a:lnTo>
                    <a:lnTo>
                      <a:pt x="82" y="1360"/>
                    </a:lnTo>
                    <a:lnTo>
                      <a:pt x="78" y="1353"/>
                    </a:lnTo>
                    <a:lnTo>
                      <a:pt x="74" y="1346"/>
                    </a:lnTo>
                    <a:lnTo>
                      <a:pt x="71" y="1339"/>
                    </a:lnTo>
                    <a:lnTo>
                      <a:pt x="70" y="1329"/>
                    </a:lnTo>
                    <a:lnTo>
                      <a:pt x="70" y="1324"/>
                    </a:lnTo>
                    <a:lnTo>
                      <a:pt x="71" y="1319"/>
                    </a:lnTo>
                    <a:lnTo>
                      <a:pt x="74" y="1314"/>
                    </a:lnTo>
                    <a:lnTo>
                      <a:pt x="76" y="1310"/>
                    </a:lnTo>
                    <a:lnTo>
                      <a:pt x="81" y="1303"/>
                    </a:lnTo>
                    <a:lnTo>
                      <a:pt x="88" y="1296"/>
                    </a:lnTo>
                    <a:lnTo>
                      <a:pt x="103" y="1283"/>
                    </a:lnTo>
                    <a:lnTo>
                      <a:pt x="120" y="1268"/>
                    </a:lnTo>
                    <a:lnTo>
                      <a:pt x="129" y="1257"/>
                    </a:lnTo>
                    <a:lnTo>
                      <a:pt x="137" y="1246"/>
                    </a:lnTo>
                    <a:lnTo>
                      <a:pt x="144" y="1234"/>
                    </a:lnTo>
                    <a:lnTo>
                      <a:pt x="149" y="1223"/>
                    </a:lnTo>
                    <a:lnTo>
                      <a:pt x="153" y="1211"/>
                    </a:lnTo>
                    <a:lnTo>
                      <a:pt x="156" y="1198"/>
                    </a:lnTo>
                    <a:lnTo>
                      <a:pt x="157" y="1184"/>
                    </a:lnTo>
                    <a:lnTo>
                      <a:pt x="158" y="1169"/>
                    </a:lnTo>
                    <a:lnTo>
                      <a:pt x="158" y="1109"/>
                    </a:lnTo>
                    <a:lnTo>
                      <a:pt x="157" y="1078"/>
                    </a:lnTo>
                    <a:lnTo>
                      <a:pt x="155" y="1051"/>
                    </a:lnTo>
                    <a:lnTo>
                      <a:pt x="152" y="1025"/>
                    </a:lnTo>
                    <a:lnTo>
                      <a:pt x="148" y="1000"/>
                    </a:lnTo>
                    <a:lnTo>
                      <a:pt x="142" y="974"/>
                    </a:lnTo>
                    <a:lnTo>
                      <a:pt x="133" y="949"/>
                    </a:lnTo>
                    <a:lnTo>
                      <a:pt x="124" y="924"/>
                    </a:lnTo>
                    <a:lnTo>
                      <a:pt x="113" y="895"/>
                    </a:lnTo>
                    <a:lnTo>
                      <a:pt x="108" y="883"/>
                    </a:lnTo>
                    <a:lnTo>
                      <a:pt x="101" y="874"/>
                    </a:lnTo>
                    <a:lnTo>
                      <a:pt x="94" y="865"/>
                    </a:lnTo>
                    <a:lnTo>
                      <a:pt x="87" y="856"/>
                    </a:lnTo>
                    <a:lnTo>
                      <a:pt x="81" y="847"/>
                    </a:lnTo>
                    <a:lnTo>
                      <a:pt x="76" y="838"/>
                    </a:lnTo>
                    <a:lnTo>
                      <a:pt x="74" y="833"/>
                    </a:lnTo>
                    <a:lnTo>
                      <a:pt x="71" y="828"/>
                    </a:lnTo>
                    <a:lnTo>
                      <a:pt x="70" y="821"/>
                    </a:lnTo>
                    <a:lnTo>
                      <a:pt x="70" y="815"/>
                    </a:lnTo>
                    <a:lnTo>
                      <a:pt x="70" y="803"/>
                    </a:lnTo>
                    <a:lnTo>
                      <a:pt x="71" y="790"/>
                    </a:lnTo>
                    <a:lnTo>
                      <a:pt x="74" y="779"/>
                    </a:lnTo>
                    <a:lnTo>
                      <a:pt x="75" y="768"/>
                    </a:lnTo>
                    <a:lnTo>
                      <a:pt x="80" y="746"/>
                    </a:lnTo>
                    <a:lnTo>
                      <a:pt x="87" y="726"/>
                    </a:lnTo>
                    <a:lnTo>
                      <a:pt x="94" y="707"/>
                    </a:lnTo>
                    <a:lnTo>
                      <a:pt x="103" y="688"/>
                    </a:lnTo>
                    <a:lnTo>
                      <a:pt x="114" y="670"/>
                    </a:lnTo>
                    <a:lnTo>
                      <a:pt x="124" y="652"/>
                    </a:lnTo>
                    <a:lnTo>
                      <a:pt x="145" y="616"/>
                    </a:lnTo>
                    <a:lnTo>
                      <a:pt x="164" y="578"/>
                    </a:lnTo>
                    <a:lnTo>
                      <a:pt x="173" y="558"/>
                    </a:lnTo>
                    <a:lnTo>
                      <a:pt x="180" y="536"/>
                    </a:lnTo>
                    <a:lnTo>
                      <a:pt x="186" y="514"/>
                    </a:lnTo>
                    <a:lnTo>
                      <a:pt x="191" y="489"/>
                    </a:lnTo>
                    <a:lnTo>
                      <a:pt x="191" y="489"/>
                    </a:lnTo>
                    <a:lnTo>
                      <a:pt x="207" y="482"/>
                    </a:lnTo>
                    <a:lnTo>
                      <a:pt x="221" y="473"/>
                    </a:lnTo>
                    <a:lnTo>
                      <a:pt x="234" y="465"/>
                    </a:lnTo>
                    <a:lnTo>
                      <a:pt x="247" y="456"/>
                    </a:lnTo>
                    <a:lnTo>
                      <a:pt x="271" y="437"/>
                    </a:lnTo>
                    <a:lnTo>
                      <a:pt x="292" y="418"/>
                    </a:lnTo>
                    <a:lnTo>
                      <a:pt x="304" y="408"/>
                    </a:lnTo>
                    <a:lnTo>
                      <a:pt x="315" y="400"/>
                    </a:lnTo>
                    <a:lnTo>
                      <a:pt x="326" y="392"/>
                    </a:lnTo>
                    <a:lnTo>
                      <a:pt x="339" y="385"/>
                    </a:lnTo>
                    <a:lnTo>
                      <a:pt x="352" y="377"/>
                    </a:lnTo>
                    <a:lnTo>
                      <a:pt x="366" y="372"/>
                    </a:lnTo>
                    <a:lnTo>
                      <a:pt x="382" y="367"/>
                    </a:lnTo>
                    <a:lnTo>
                      <a:pt x="398" y="364"/>
                    </a:lnTo>
                    <a:lnTo>
                      <a:pt x="413" y="362"/>
                    </a:lnTo>
                    <a:lnTo>
                      <a:pt x="428" y="359"/>
                    </a:lnTo>
                    <a:lnTo>
                      <a:pt x="442" y="355"/>
                    </a:lnTo>
                    <a:lnTo>
                      <a:pt x="455" y="350"/>
                    </a:lnTo>
                    <a:lnTo>
                      <a:pt x="467" y="346"/>
                    </a:lnTo>
                    <a:lnTo>
                      <a:pt x="480" y="341"/>
                    </a:lnTo>
                    <a:lnTo>
                      <a:pt x="492" y="335"/>
                    </a:lnTo>
                    <a:lnTo>
                      <a:pt x="504" y="329"/>
                    </a:lnTo>
                    <a:lnTo>
                      <a:pt x="514" y="322"/>
                    </a:lnTo>
                    <a:lnTo>
                      <a:pt x="525" y="314"/>
                    </a:lnTo>
                    <a:lnTo>
                      <a:pt x="535" y="305"/>
                    </a:lnTo>
                    <a:lnTo>
                      <a:pt x="545" y="296"/>
                    </a:lnTo>
                    <a:lnTo>
                      <a:pt x="554" y="286"/>
                    </a:lnTo>
                    <a:lnTo>
                      <a:pt x="562" y="275"/>
                    </a:lnTo>
                    <a:lnTo>
                      <a:pt x="572" y="264"/>
                    </a:lnTo>
                    <a:lnTo>
                      <a:pt x="580" y="250"/>
                    </a:lnTo>
                    <a:lnTo>
                      <a:pt x="586" y="239"/>
                    </a:lnTo>
                    <a:lnTo>
                      <a:pt x="592" y="229"/>
                    </a:lnTo>
                    <a:lnTo>
                      <a:pt x="596" y="217"/>
                    </a:lnTo>
                    <a:lnTo>
                      <a:pt x="602" y="207"/>
                    </a:lnTo>
                    <a:lnTo>
                      <a:pt x="609" y="185"/>
                    </a:lnTo>
                    <a:lnTo>
                      <a:pt x="616" y="165"/>
                    </a:lnTo>
                    <a:lnTo>
                      <a:pt x="623" y="145"/>
                    </a:lnTo>
                    <a:lnTo>
                      <a:pt x="632" y="125"/>
                    </a:lnTo>
                    <a:lnTo>
                      <a:pt x="639" y="116"/>
                    </a:lnTo>
                    <a:lnTo>
                      <a:pt x="646" y="107"/>
                    </a:lnTo>
                    <a:lnTo>
                      <a:pt x="653" y="97"/>
                    </a:lnTo>
                    <a:lnTo>
                      <a:pt x="662" y="88"/>
                    </a:lnTo>
                    <a:lnTo>
                      <a:pt x="669" y="83"/>
                    </a:lnTo>
                    <a:lnTo>
                      <a:pt x="675" y="79"/>
                    </a:lnTo>
                    <a:lnTo>
                      <a:pt x="682" y="76"/>
                    </a:lnTo>
                    <a:lnTo>
                      <a:pt x="688" y="74"/>
                    </a:lnTo>
                    <a:lnTo>
                      <a:pt x="703" y="73"/>
                    </a:lnTo>
                    <a:lnTo>
                      <a:pt x="717" y="74"/>
                    </a:lnTo>
                    <a:lnTo>
                      <a:pt x="731" y="75"/>
                    </a:lnTo>
                    <a:lnTo>
                      <a:pt x="747" y="75"/>
                    </a:lnTo>
                    <a:lnTo>
                      <a:pt x="754" y="75"/>
                    </a:lnTo>
                    <a:lnTo>
                      <a:pt x="762" y="74"/>
                    </a:lnTo>
                    <a:lnTo>
                      <a:pt x="770" y="72"/>
                    </a:lnTo>
                    <a:lnTo>
                      <a:pt x="778" y="69"/>
                    </a:lnTo>
                    <a:lnTo>
                      <a:pt x="786" y="65"/>
                    </a:lnTo>
                    <a:lnTo>
                      <a:pt x="792" y="60"/>
                    </a:lnTo>
                    <a:lnTo>
                      <a:pt x="800" y="55"/>
                    </a:lnTo>
                    <a:lnTo>
                      <a:pt x="806" y="50"/>
                    </a:lnTo>
                    <a:lnTo>
                      <a:pt x="816" y="39"/>
                    </a:lnTo>
                    <a:lnTo>
                      <a:pt x="827" y="27"/>
                    </a:lnTo>
                    <a:lnTo>
                      <a:pt x="838" y="17"/>
                    </a:lnTo>
                    <a:lnTo>
                      <a:pt x="849" y="9"/>
                    </a:lnTo>
                    <a:lnTo>
                      <a:pt x="856" y="6"/>
                    </a:lnTo>
                    <a:lnTo>
                      <a:pt x="862" y="2"/>
                    </a:lnTo>
                    <a:lnTo>
                      <a:pt x="871" y="1"/>
                    </a:lnTo>
                    <a:lnTo>
                      <a:pt x="879" y="0"/>
                    </a:lnTo>
                    <a:lnTo>
                      <a:pt x="893" y="1"/>
                    </a:lnTo>
                    <a:lnTo>
                      <a:pt x="907" y="5"/>
                    </a:lnTo>
                    <a:lnTo>
                      <a:pt x="919" y="9"/>
                    </a:lnTo>
                    <a:lnTo>
                      <a:pt x="931" y="14"/>
                    </a:lnTo>
                    <a:lnTo>
                      <a:pt x="954" y="25"/>
                    </a:lnTo>
                    <a:lnTo>
                      <a:pt x="981" y="35"/>
                    </a:lnTo>
                    <a:lnTo>
                      <a:pt x="981" y="35"/>
                    </a:lnTo>
                    <a:close/>
                  </a:path>
                </a:pathLst>
              </a:custGeom>
              <a:solidFill>
                <a:srgbClr val="65AC1E">
                  <a:alpha val="54902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Zhytomyr">
                <a:extLst>
                  <a:ext uri="{FF2B5EF4-FFF2-40B4-BE49-F238E27FC236}">
                    <a16:creationId xmlns:a16="http://schemas.microsoft.com/office/drawing/2014/main" id="{F336AB14-888D-486C-914D-A99FE23D1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6445" y="2164221"/>
                <a:ext cx="1016601" cy="1287462"/>
              </a:xfrm>
              <a:custGeom>
                <a:avLst/>
                <a:gdLst>
                  <a:gd name="T0" fmla="*/ 529 w 2072"/>
                  <a:gd name="T1" fmla="*/ 198 h 2740"/>
                  <a:gd name="T2" fmla="*/ 584 w 2072"/>
                  <a:gd name="T3" fmla="*/ 27 h 2740"/>
                  <a:gd name="T4" fmla="*/ 712 w 2072"/>
                  <a:gd name="T5" fmla="*/ 92 h 2740"/>
                  <a:gd name="T6" fmla="*/ 763 w 2072"/>
                  <a:gd name="T7" fmla="*/ 141 h 2740"/>
                  <a:gd name="T8" fmla="*/ 889 w 2072"/>
                  <a:gd name="T9" fmla="*/ 8 h 2740"/>
                  <a:gd name="T10" fmla="*/ 954 w 2072"/>
                  <a:gd name="T11" fmla="*/ 65 h 2740"/>
                  <a:gd name="T12" fmla="*/ 1000 w 2072"/>
                  <a:gd name="T13" fmla="*/ 133 h 2740"/>
                  <a:gd name="T14" fmla="*/ 1108 w 2072"/>
                  <a:gd name="T15" fmla="*/ 94 h 2740"/>
                  <a:gd name="T16" fmla="*/ 1185 w 2072"/>
                  <a:gd name="T17" fmla="*/ 105 h 2740"/>
                  <a:gd name="T18" fmla="*/ 1282 w 2072"/>
                  <a:gd name="T19" fmla="*/ 291 h 2740"/>
                  <a:gd name="T20" fmla="*/ 1371 w 2072"/>
                  <a:gd name="T21" fmla="*/ 179 h 2740"/>
                  <a:gd name="T22" fmla="*/ 1505 w 2072"/>
                  <a:gd name="T23" fmla="*/ 113 h 2740"/>
                  <a:gd name="T24" fmla="*/ 1554 w 2072"/>
                  <a:gd name="T25" fmla="*/ 35 h 2740"/>
                  <a:gd name="T26" fmla="*/ 1655 w 2072"/>
                  <a:gd name="T27" fmla="*/ 67 h 2740"/>
                  <a:gd name="T28" fmla="*/ 1705 w 2072"/>
                  <a:gd name="T29" fmla="*/ 189 h 2740"/>
                  <a:gd name="T30" fmla="*/ 1732 w 2072"/>
                  <a:gd name="T31" fmla="*/ 294 h 2740"/>
                  <a:gd name="T32" fmla="*/ 1820 w 2072"/>
                  <a:gd name="T33" fmla="*/ 400 h 2740"/>
                  <a:gd name="T34" fmla="*/ 1749 w 2072"/>
                  <a:gd name="T35" fmla="*/ 563 h 2740"/>
                  <a:gd name="T36" fmla="*/ 1823 w 2072"/>
                  <a:gd name="T37" fmla="*/ 642 h 2740"/>
                  <a:gd name="T38" fmla="*/ 1926 w 2072"/>
                  <a:gd name="T39" fmla="*/ 755 h 2740"/>
                  <a:gd name="T40" fmla="*/ 1915 w 2072"/>
                  <a:gd name="T41" fmla="*/ 1005 h 2740"/>
                  <a:gd name="T42" fmla="*/ 1903 w 2072"/>
                  <a:gd name="T43" fmla="*/ 1097 h 2740"/>
                  <a:gd name="T44" fmla="*/ 1991 w 2072"/>
                  <a:gd name="T45" fmla="*/ 1219 h 2740"/>
                  <a:gd name="T46" fmla="*/ 1902 w 2072"/>
                  <a:gd name="T47" fmla="*/ 1352 h 2740"/>
                  <a:gd name="T48" fmla="*/ 1911 w 2072"/>
                  <a:gd name="T49" fmla="*/ 1511 h 2740"/>
                  <a:gd name="T50" fmla="*/ 1973 w 2072"/>
                  <a:gd name="T51" fmla="*/ 1619 h 2740"/>
                  <a:gd name="T52" fmla="*/ 1994 w 2072"/>
                  <a:gd name="T53" fmla="*/ 1690 h 2740"/>
                  <a:gd name="T54" fmla="*/ 2027 w 2072"/>
                  <a:gd name="T55" fmla="*/ 1769 h 2740"/>
                  <a:gd name="T56" fmla="*/ 2053 w 2072"/>
                  <a:gd name="T57" fmla="*/ 1917 h 2740"/>
                  <a:gd name="T58" fmla="*/ 2043 w 2072"/>
                  <a:gd name="T59" fmla="*/ 2085 h 2740"/>
                  <a:gd name="T60" fmla="*/ 2065 w 2072"/>
                  <a:gd name="T61" fmla="*/ 2186 h 2740"/>
                  <a:gd name="T62" fmla="*/ 2052 w 2072"/>
                  <a:gd name="T63" fmla="*/ 2283 h 2740"/>
                  <a:gd name="T64" fmla="*/ 1892 w 2072"/>
                  <a:gd name="T65" fmla="*/ 2373 h 2740"/>
                  <a:gd name="T66" fmla="*/ 1861 w 2072"/>
                  <a:gd name="T67" fmla="*/ 2449 h 2740"/>
                  <a:gd name="T68" fmla="*/ 1834 w 2072"/>
                  <a:gd name="T69" fmla="*/ 2564 h 2740"/>
                  <a:gd name="T70" fmla="*/ 1752 w 2072"/>
                  <a:gd name="T71" fmla="*/ 2663 h 2740"/>
                  <a:gd name="T72" fmla="*/ 1488 w 2072"/>
                  <a:gd name="T73" fmla="*/ 2704 h 2740"/>
                  <a:gd name="T74" fmla="*/ 1464 w 2072"/>
                  <a:gd name="T75" fmla="*/ 2414 h 2740"/>
                  <a:gd name="T76" fmla="*/ 1312 w 2072"/>
                  <a:gd name="T77" fmla="*/ 2390 h 2740"/>
                  <a:gd name="T78" fmla="*/ 848 w 2072"/>
                  <a:gd name="T79" fmla="*/ 2387 h 2740"/>
                  <a:gd name="T80" fmla="*/ 690 w 2072"/>
                  <a:gd name="T81" fmla="*/ 2483 h 2740"/>
                  <a:gd name="T82" fmla="*/ 628 w 2072"/>
                  <a:gd name="T83" fmla="*/ 2416 h 2740"/>
                  <a:gd name="T84" fmla="*/ 470 w 2072"/>
                  <a:gd name="T85" fmla="*/ 2454 h 2740"/>
                  <a:gd name="T86" fmla="*/ 292 w 2072"/>
                  <a:gd name="T87" fmla="*/ 2270 h 2740"/>
                  <a:gd name="T88" fmla="*/ 286 w 2072"/>
                  <a:gd name="T89" fmla="*/ 2156 h 2740"/>
                  <a:gd name="T90" fmla="*/ 336 w 2072"/>
                  <a:gd name="T91" fmla="*/ 2098 h 2740"/>
                  <a:gd name="T92" fmla="*/ 391 w 2072"/>
                  <a:gd name="T93" fmla="*/ 1964 h 2740"/>
                  <a:gd name="T94" fmla="*/ 344 w 2072"/>
                  <a:gd name="T95" fmla="*/ 1793 h 2740"/>
                  <a:gd name="T96" fmla="*/ 254 w 2072"/>
                  <a:gd name="T97" fmla="*/ 1814 h 2740"/>
                  <a:gd name="T98" fmla="*/ 130 w 2072"/>
                  <a:gd name="T99" fmla="*/ 1645 h 2740"/>
                  <a:gd name="T100" fmla="*/ 92 w 2072"/>
                  <a:gd name="T101" fmla="*/ 1509 h 2740"/>
                  <a:gd name="T102" fmla="*/ 25 w 2072"/>
                  <a:gd name="T103" fmla="*/ 1386 h 2740"/>
                  <a:gd name="T104" fmla="*/ 46 w 2072"/>
                  <a:gd name="T105" fmla="*/ 1206 h 2740"/>
                  <a:gd name="T106" fmla="*/ 96 w 2072"/>
                  <a:gd name="T107" fmla="*/ 1114 h 2740"/>
                  <a:gd name="T108" fmla="*/ 61 w 2072"/>
                  <a:gd name="T109" fmla="*/ 916 h 2740"/>
                  <a:gd name="T110" fmla="*/ 87 w 2072"/>
                  <a:gd name="T111" fmla="*/ 754 h 2740"/>
                  <a:gd name="T112" fmla="*/ 145 w 2072"/>
                  <a:gd name="T113" fmla="*/ 712 h 2740"/>
                  <a:gd name="T114" fmla="*/ 267 w 2072"/>
                  <a:gd name="T115" fmla="*/ 547 h 2740"/>
                  <a:gd name="T116" fmla="*/ 299 w 2072"/>
                  <a:gd name="T117" fmla="*/ 362 h 2740"/>
                  <a:gd name="T118" fmla="*/ 355 w 2072"/>
                  <a:gd name="T119" fmla="*/ 240 h 2740"/>
                  <a:gd name="T120" fmla="*/ 441 w 2072"/>
                  <a:gd name="T121" fmla="*/ 169 h 27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072" h="2740">
                    <a:moveTo>
                      <a:pt x="441" y="169"/>
                    </a:moveTo>
                    <a:lnTo>
                      <a:pt x="452" y="171"/>
                    </a:lnTo>
                    <a:lnTo>
                      <a:pt x="462" y="175"/>
                    </a:lnTo>
                    <a:lnTo>
                      <a:pt x="470" y="179"/>
                    </a:lnTo>
                    <a:lnTo>
                      <a:pt x="479" y="184"/>
                    </a:lnTo>
                    <a:lnTo>
                      <a:pt x="487" y="190"/>
                    </a:lnTo>
                    <a:lnTo>
                      <a:pt x="496" y="194"/>
                    </a:lnTo>
                    <a:lnTo>
                      <a:pt x="500" y="196"/>
                    </a:lnTo>
                    <a:lnTo>
                      <a:pt x="505" y="197"/>
                    </a:lnTo>
                    <a:lnTo>
                      <a:pt x="511" y="198"/>
                    </a:lnTo>
                    <a:lnTo>
                      <a:pt x="517" y="198"/>
                    </a:lnTo>
                    <a:lnTo>
                      <a:pt x="529" y="198"/>
                    </a:lnTo>
                    <a:lnTo>
                      <a:pt x="539" y="198"/>
                    </a:lnTo>
                    <a:lnTo>
                      <a:pt x="551" y="197"/>
                    </a:lnTo>
                    <a:lnTo>
                      <a:pt x="563" y="197"/>
                    </a:lnTo>
                    <a:lnTo>
                      <a:pt x="565" y="180"/>
                    </a:lnTo>
                    <a:lnTo>
                      <a:pt x="567" y="166"/>
                    </a:lnTo>
                    <a:lnTo>
                      <a:pt x="571" y="151"/>
                    </a:lnTo>
                    <a:lnTo>
                      <a:pt x="574" y="138"/>
                    </a:lnTo>
                    <a:lnTo>
                      <a:pt x="579" y="125"/>
                    </a:lnTo>
                    <a:lnTo>
                      <a:pt x="582" y="111"/>
                    </a:lnTo>
                    <a:lnTo>
                      <a:pt x="584" y="96"/>
                    </a:lnTo>
                    <a:lnTo>
                      <a:pt x="584" y="79"/>
                    </a:lnTo>
                    <a:lnTo>
                      <a:pt x="584" y="27"/>
                    </a:lnTo>
                    <a:lnTo>
                      <a:pt x="604" y="33"/>
                    </a:lnTo>
                    <a:lnTo>
                      <a:pt x="623" y="37"/>
                    </a:lnTo>
                    <a:lnTo>
                      <a:pt x="640" y="42"/>
                    </a:lnTo>
                    <a:lnTo>
                      <a:pt x="657" y="47"/>
                    </a:lnTo>
                    <a:lnTo>
                      <a:pt x="665" y="50"/>
                    </a:lnTo>
                    <a:lnTo>
                      <a:pt x="672" y="54"/>
                    </a:lnTo>
                    <a:lnTo>
                      <a:pt x="680" y="58"/>
                    </a:lnTo>
                    <a:lnTo>
                      <a:pt x="687" y="64"/>
                    </a:lnTo>
                    <a:lnTo>
                      <a:pt x="693" y="69"/>
                    </a:lnTo>
                    <a:lnTo>
                      <a:pt x="700" y="76"/>
                    </a:lnTo>
                    <a:lnTo>
                      <a:pt x="705" y="83"/>
                    </a:lnTo>
                    <a:lnTo>
                      <a:pt x="712" y="92"/>
                    </a:lnTo>
                    <a:lnTo>
                      <a:pt x="720" y="109"/>
                    </a:lnTo>
                    <a:lnTo>
                      <a:pt x="726" y="127"/>
                    </a:lnTo>
                    <a:lnTo>
                      <a:pt x="729" y="135"/>
                    </a:lnTo>
                    <a:lnTo>
                      <a:pt x="734" y="140"/>
                    </a:lnTo>
                    <a:lnTo>
                      <a:pt x="737" y="143"/>
                    </a:lnTo>
                    <a:lnTo>
                      <a:pt x="740" y="144"/>
                    </a:lnTo>
                    <a:lnTo>
                      <a:pt x="745" y="145"/>
                    </a:lnTo>
                    <a:lnTo>
                      <a:pt x="749" y="146"/>
                    </a:lnTo>
                    <a:lnTo>
                      <a:pt x="754" y="145"/>
                    </a:lnTo>
                    <a:lnTo>
                      <a:pt x="757" y="144"/>
                    </a:lnTo>
                    <a:lnTo>
                      <a:pt x="760" y="143"/>
                    </a:lnTo>
                    <a:lnTo>
                      <a:pt x="763" y="141"/>
                    </a:lnTo>
                    <a:lnTo>
                      <a:pt x="768" y="135"/>
                    </a:lnTo>
                    <a:lnTo>
                      <a:pt x="772" y="129"/>
                    </a:lnTo>
                    <a:lnTo>
                      <a:pt x="776" y="121"/>
                    </a:lnTo>
                    <a:lnTo>
                      <a:pt x="780" y="113"/>
                    </a:lnTo>
                    <a:lnTo>
                      <a:pt x="784" y="106"/>
                    </a:lnTo>
                    <a:lnTo>
                      <a:pt x="789" y="99"/>
                    </a:lnTo>
                    <a:lnTo>
                      <a:pt x="823" y="63"/>
                    </a:lnTo>
                    <a:lnTo>
                      <a:pt x="854" y="31"/>
                    </a:lnTo>
                    <a:lnTo>
                      <a:pt x="862" y="24"/>
                    </a:lnTo>
                    <a:lnTo>
                      <a:pt x="870" y="18"/>
                    </a:lnTo>
                    <a:lnTo>
                      <a:pt x="880" y="13"/>
                    </a:lnTo>
                    <a:lnTo>
                      <a:pt x="889" y="8"/>
                    </a:lnTo>
                    <a:lnTo>
                      <a:pt x="899" y="5"/>
                    </a:lnTo>
                    <a:lnTo>
                      <a:pt x="910" y="2"/>
                    </a:lnTo>
                    <a:lnTo>
                      <a:pt x="921" y="0"/>
                    </a:lnTo>
                    <a:lnTo>
                      <a:pt x="933" y="0"/>
                    </a:lnTo>
                    <a:lnTo>
                      <a:pt x="947" y="1"/>
                    </a:lnTo>
                    <a:lnTo>
                      <a:pt x="959" y="2"/>
                    </a:lnTo>
                    <a:lnTo>
                      <a:pt x="960" y="12"/>
                    </a:lnTo>
                    <a:lnTo>
                      <a:pt x="961" y="21"/>
                    </a:lnTo>
                    <a:lnTo>
                      <a:pt x="960" y="33"/>
                    </a:lnTo>
                    <a:lnTo>
                      <a:pt x="958" y="43"/>
                    </a:lnTo>
                    <a:lnTo>
                      <a:pt x="955" y="53"/>
                    </a:lnTo>
                    <a:lnTo>
                      <a:pt x="954" y="65"/>
                    </a:lnTo>
                    <a:lnTo>
                      <a:pt x="955" y="73"/>
                    </a:lnTo>
                    <a:lnTo>
                      <a:pt x="957" y="81"/>
                    </a:lnTo>
                    <a:lnTo>
                      <a:pt x="960" y="88"/>
                    </a:lnTo>
                    <a:lnTo>
                      <a:pt x="964" y="95"/>
                    </a:lnTo>
                    <a:lnTo>
                      <a:pt x="969" y="101"/>
                    </a:lnTo>
                    <a:lnTo>
                      <a:pt x="976" y="107"/>
                    </a:lnTo>
                    <a:lnTo>
                      <a:pt x="982" y="112"/>
                    </a:lnTo>
                    <a:lnTo>
                      <a:pt x="990" y="117"/>
                    </a:lnTo>
                    <a:lnTo>
                      <a:pt x="993" y="120"/>
                    </a:lnTo>
                    <a:lnTo>
                      <a:pt x="996" y="125"/>
                    </a:lnTo>
                    <a:lnTo>
                      <a:pt x="998" y="129"/>
                    </a:lnTo>
                    <a:lnTo>
                      <a:pt x="1000" y="133"/>
                    </a:lnTo>
                    <a:lnTo>
                      <a:pt x="1002" y="137"/>
                    </a:lnTo>
                    <a:lnTo>
                      <a:pt x="1006" y="140"/>
                    </a:lnTo>
                    <a:lnTo>
                      <a:pt x="1009" y="142"/>
                    </a:lnTo>
                    <a:lnTo>
                      <a:pt x="1014" y="143"/>
                    </a:lnTo>
                    <a:lnTo>
                      <a:pt x="1023" y="143"/>
                    </a:lnTo>
                    <a:lnTo>
                      <a:pt x="1032" y="141"/>
                    </a:lnTo>
                    <a:lnTo>
                      <a:pt x="1041" y="138"/>
                    </a:lnTo>
                    <a:lnTo>
                      <a:pt x="1049" y="134"/>
                    </a:lnTo>
                    <a:lnTo>
                      <a:pt x="1064" y="125"/>
                    </a:lnTo>
                    <a:lnTo>
                      <a:pt x="1078" y="114"/>
                    </a:lnTo>
                    <a:lnTo>
                      <a:pt x="1092" y="103"/>
                    </a:lnTo>
                    <a:lnTo>
                      <a:pt x="1108" y="94"/>
                    </a:lnTo>
                    <a:lnTo>
                      <a:pt x="1115" y="89"/>
                    </a:lnTo>
                    <a:lnTo>
                      <a:pt x="1124" y="87"/>
                    </a:lnTo>
                    <a:lnTo>
                      <a:pt x="1133" y="85"/>
                    </a:lnTo>
                    <a:lnTo>
                      <a:pt x="1143" y="84"/>
                    </a:lnTo>
                    <a:lnTo>
                      <a:pt x="1150" y="84"/>
                    </a:lnTo>
                    <a:lnTo>
                      <a:pt x="1156" y="86"/>
                    </a:lnTo>
                    <a:lnTo>
                      <a:pt x="1161" y="87"/>
                    </a:lnTo>
                    <a:lnTo>
                      <a:pt x="1167" y="89"/>
                    </a:lnTo>
                    <a:lnTo>
                      <a:pt x="1172" y="93"/>
                    </a:lnTo>
                    <a:lnTo>
                      <a:pt x="1177" y="97"/>
                    </a:lnTo>
                    <a:lnTo>
                      <a:pt x="1181" y="100"/>
                    </a:lnTo>
                    <a:lnTo>
                      <a:pt x="1185" y="105"/>
                    </a:lnTo>
                    <a:lnTo>
                      <a:pt x="1192" y="114"/>
                    </a:lnTo>
                    <a:lnTo>
                      <a:pt x="1198" y="126"/>
                    </a:lnTo>
                    <a:lnTo>
                      <a:pt x="1205" y="138"/>
                    </a:lnTo>
                    <a:lnTo>
                      <a:pt x="1209" y="150"/>
                    </a:lnTo>
                    <a:lnTo>
                      <a:pt x="1225" y="198"/>
                    </a:lnTo>
                    <a:lnTo>
                      <a:pt x="1242" y="240"/>
                    </a:lnTo>
                    <a:lnTo>
                      <a:pt x="1247" y="249"/>
                    </a:lnTo>
                    <a:lnTo>
                      <a:pt x="1252" y="259"/>
                    </a:lnTo>
                    <a:lnTo>
                      <a:pt x="1258" y="268"/>
                    </a:lnTo>
                    <a:lnTo>
                      <a:pt x="1265" y="276"/>
                    </a:lnTo>
                    <a:lnTo>
                      <a:pt x="1274" y="284"/>
                    </a:lnTo>
                    <a:lnTo>
                      <a:pt x="1282" y="291"/>
                    </a:lnTo>
                    <a:lnTo>
                      <a:pt x="1292" y="298"/>
                    </a:lnTo>
                    <a:lnTo>
                      <a:pt x="1304" y="304"/>
                    </a:lnTo>
                    <a:lnTo>
                      <a:pt x="1313" y="301"/>
                    </a:lnTo>
                    <a:lnTo>
                      <a:pt x="1320" y="275"/>
                    </a:lnTo>
                    <a:lnTo>
                      <a:pt x="1327" y="251"/>
                    </a:lnTo>
                    <a:lnTo>
                      <a:pt x="1332" y="239"/>
                    </a:lnTo>
                    <a:lnTo>
                      <a:pt x="1338" y="228"/>
                    </a:lnTo>
                    <a:lnTo>
                      <a:pt x="1343" y="216"/>
                    </a:lnTo>
                    <a:lnTo>
                      <a:pt x="1349" y="206"/>
                    </a:lnTo>
                    <a:lnTo>
                      <a:pt x="1355" y="197"/>
                    </a:lnTo>
                    <a:lnTo>
                      <a:pt x="1362" y="188"/>
                    </a:lnTo>
                    <a:lnTo>
                      <a:pt x="1371" y="179"/>
                    </a:lnTo>
                    <a:lnTo>
                      <a:pt x="1380" y="171"/>
                    </a:lnTo>
                    <a:lnTo>
                      <a:pt x="1389" y="164"/>
                    </a:lnTo>
                    <a:lnTo>
                      <a:pt x="1399" y="158"/>
                    </a:lnTo>
                    <a:lnTo>
                      <a:pt x="1411" y="151"/>
                    </a:lnTo>
                    <a:lnTo>
                      <a:pt x="1423" y="146"/>
                    </a:lnTo>
                    <a:lnTo>
                      <a:pt x="1452" y="137"/>
                    </a:lnTo>
                    <a:lnTo>
                      <a:pt x="1478" y="130"/>
                    </a:lnTo>
                    <a:lnTo>
                      <a:pt x="1484" y="128"/>
                    </a:lnTo>
                    <a:lnTo>
                      <a:pt x="1490" y="125"/>
                    </a:lnTo>
                    <a:lnTo>
                      <a:pt x="1495" y="121"/>
                    </a:lnTo>
                    <a:lnTo>
                      <a:pt x="1501" y="117"/>
                    </a:lnTo>
                    <a:lnTo>
                      <a:pt x="1505" y="113"/>
                    </a:lnTo>
                    <a:lnTo>
                      <a:pt x="1509" y="109"/>
                    </a:lnTo>
                    <a:lnTo>
                      <a:pt x="1513" y="103"/>
                    </a:lnTo>
                    <a:lnTo>
                      <a:pt x="1515" y="97"/>
                    </a:lnTo>
                    <a:lnTo>
                      <a:pt x="1522" y="75"/>
                    </a:lnTo>
                    <a:lnTo>
                      <a:pt x="1530" y="55"/>
                    </a:lnTo>
                    <a:lnTo>
                      <a:pt x="1532" y="51"/>
                    </a:lnTo>
                    <a:lnTo>
                      <a:pt x="1535" y="47"/>
                    </a:lnTo>
                    <a:lnTo>
                      <a:pt x="1538" y="43"/>
                    </a:lnTo>
                    <a:lnTo>
                      <a:pt x="1541" y="41"/>
                    </a:lnTo>
                    <a:lnTo>
                      <a:pt x="1545" y="38"/>
                    </a:lnTo>
                    <a:lnTo>
                      <a:pt x="1549" y="37"/>
                    </a:lnTo>
                    <a:lnTo>
                      <a:pt x="1554" y="35"/>
                    </a:lnTo>
                    <a:lnTo>
                      <a:pt x="1559" y="35"/>
                    </a:lnTo>
                    <a:lnTo>
                      <a:pt x="1570" y="36"/>
                    </a:lnTo>
                    <a:lnTo>
                      <a:pt x="1579" y="37"/>
                    </a:lnTo>
                    <a:lnTo>
                      <a:pt x="1587" y="39"/>
                    </a:lnTo>
                    <a:lnTo>
                      <a:pt x="1597" y="40"/>
                    </a:lnTo>
                    <a:lnTo>
                      <a:pt x="1611" y="39"/>
                    </a:lnTo>
                    <a:lnTo>
                      <a:pt x="1623" y="37"/>
                    </a:lnTo>
                    <a:lnTo>
                      <a:pt x="1635" y="34"/>
                    </a:lnTo>
                    <a:lnTo>
                      <a:pt x="1647" y="31"/>
                    </a:lnTo>
                    <a:lnTo>
                      <a:pt x="1651" y="43"/>
                    </a:lnTo>
                    <a:lnTo>
                      <a:pt x="1653" y="55"/>
                    </a:lnTo>
                    <a:lnTo>
                      <a:pt x="1655" y="67"/>
                    </a:lnTo>
                    <a:lnTo>
                      <a:pt x="1656" y="78"/>
                    </a:lnTo>
                    <a:lnTo>
                      <a:pt x="1657" y="88"/>
                    </a:lnTo>
                    <a:lnTo>
                      <a:pt x="1659" y="100"/>
                    </a:lnTo>
                    <a:lnTo>
                      <a:pt x="1662" y="112"/>
                    </a:lnTo>
                    <a:lnTo>
                      <a:pt x="1667" y="125"/>
                    </a:lnTo>
                    <a:lnTo>
                      <a:pt x="1672" y="135"/>
                    </a:lnTo>
                    <a:lnTo>
                      <a:pt x="1677" y="145"/>
                    </a:lnTo>
                    <a:lnTo>
                      <a:pt x="1683" y="153"/>
                    </a:lnTo>
                    <a:lnTo>
                      <a:pt x="1689" y="162"/>
                    </a:lnTo>
                    <a:lnTo>
                      <a:pt x="1695" y="170"/>
                    </a:lnTo>
                    <a:lnTo>
                      <a:pt x="1701" y="179"/>
                    </a:lnTo>
                    <a:lnTo>
                      <a:pt x="1705" y="189"/>
                    </a:lnTo>
                    <a:lnTo>
                      <a:pt x="1709" y="200"/>
                    </a:lnTo>
                    <a:lnTo>
                      <a:pt x="1711" y="210"/>
                    </a:lnTo>
                    <a:lnTo>
                      <a:pt x="1712" y="221"/>
                    </a:lnTo>
                    <a:lnTo>
                      <a:pt x="1712" y="230"/>
                    </a:lnTo>
                    <a:lnTo>
                      <a:pt x="1712" y="240"/>
                    </a:lnTo>
                    <a:lnTo>
                      <a:pt x="1712" y="249"/>
                    </a:lnTo>
                    <a:lnTo>
                      <a:pt x="1713" y="259"/>
                    </a:lnTo>
                    <a:lnTo>
                      <a:pt x="1715" y="268"/>
                    </a:lnTo>
                    <a:lnTo>
                      <a:pt x="1718" y="278"/>
                    </a:lnTo>
                    <a:lnTo>
                      <a:pt x="1722" y="285"/>
                    </a:lnTo>
                    <a:lnTo>
                      <a:pt x="1726" y="290"/>
                    </a:lnTo>
                    <a:lnTo>
                      <a:pt x="1732" y="294"/>
                    </a:lnTo>
                    <a:lnTo>
                      <a:pt x="1738" y="297"/>
                    </a:lnTo>
                    <a:lnTo>
                      <a:pt x="1750" y="303"/>
                    </a:lnTo>
                    <a:lnTo>
                      <a:pt x="1762" y="311"/>
                    </a:lnTo>
                    <a:lnTo>
                      <a:pt x="1779" y="325"/>
                    </a:lnTo>
                    <a:lnTo>
                      <a:pt x="1794" y="337"/>
                    </a:lnTo>
                    <a:lnTo>
                      <a:pt x="1803" y="342"/>
                    </a:lnTo>
                    <a:lnTo>
                      <a:pt x="1811" y="348"/>
                    </a:lnTo>
                    <a:lnTo>
                      <a:pt x="1820" y="351"/>
                    </a:lnTo>
                    <a:lnTo>
                      <a:pt x="1829" y="353"/>
                    </a:lnTo>
                    <a:lnTo>
                      <a:pt x="1829" y="353"/>
                    </a:lnTo>
                    <a:lnTo>
                      <a:pt x="1825" y="378"/>
                    </a:lnTo>
                    <a:lnTo>
                      <a:pt x="1820" y="400"/>
                    </a:lnTo>
                    <a:lnTo>
                      <a:pt x="1814" y="421"/>
                    </a:lnTo>
                    <a:lnTo>
                      <a:pt x="1806" y="442"/>
                    </a:lnTo>
                    <a:lnTo>
                      <a:pt x="1799" y="461"/>
                    </a:lnTo>
                    <a:lnTo>
                      <a:pt x="1789" y="482"/>
                    </a:lnTo>
                    <a:lnTo>
                      <a:pt x="1780" y="502"/>
                    </a:lnTo>
                    <a:lnTo>
                      <a:pt x="1770" y="526"/>
                    </a:lnTo>
                    <a:lnTo>
                      <a:pt x="1765" y="536"/>
                    </a:lnTo>
                    <a:lnTo>
                      <a:pt x="1757" y="544"/>
                    </a:lnTo>
                    <a:lnTo>
                      <a:pt x="1754" y="548"/>
                    </a:lnTo>
                    <a:lnTo>
                      <a:pt x="1751" y="553"/>
                    </a:lnTo>
                    <a:lnTo>
                      <a:pt x="1749" y="558"/>
                    </a:lnTo>
                    <a:lnTo>
                      <a:pt x="1749" y="563"/>
                    </a:lnTo>
                    <a:lnTo>
                      <a:pt x="1749" y="569"/>
                    </a:lnTo>
                    <a:lnTo>
                      <a:pt x="1750" y="573"/>
                    </a:lnTo>
                    <a:lnTo>
                      <a:pt x="1752" y="577"/>
                    </a:lnTo>
                    <a:lnTo>
                      <a:pt x="1754" y="581"/>
                    </a:lnTo>
                    <a:lnTo>
                      <a:pt x="1759" y="587"/>
                    </a:lnTo>
                    <a:lnTo>
                      <a:pt x="1767" y="592"/>
                    </a:lnTo>
                    <a:lnTo>
                      <a:pt x="1784" y="602"/>
                    </a:lnTo>
                    <a:lnTo>
                      <a:pt x="1801" y="613"/>
                    </a:lnTo>
                    <a:lnTo>
                      <a:pt x="1808" y="620"/>
                    </a:lnTo>
                    <a:lnTo>
                      <a:pt x="1814" y="627"/>
                    </a:lnTo>
                    <a:lnTo>
                      <a:pt x="1818" y="635"/>
                    </a:lnTo>
                    <a:lnTo>
                      <a:pt x="1823" y="642"/>
                    </a:lnTo>
                    <a:lnTo>
                      <a:pt x="1827" y="649"/>
                    </a:lnTo>
                    <a:lnTo>
                      <a:pt x="1833" y="656"/>
                    </a:lnTo>
                    <a:lnTo>
                      <a:pt x="1839" y="663"/>
                    </a:lnTo>
                    <a:lnTo>
                      <a:pt x="1846" y="670"/>
                    </a:lnTo>
                    <a:lnTo>
                      <a:pt x="1875" y="693"/>
                    </a:lnTo>
                    <a:lnTo>
                      <a:pt x="1902" y="715"/>
                    </a:lnTo>
                    <a:lnTo>
                      <a:pt x="1907" y="720"/>
                    </a:lnTo>
                    <a:lnTo>
                      <a:pt x="1912" y="727"/>
                    </a:lnTo>
                    <a:lnTo>
                      <a:pt x="1917" y="733"/>
                    </a:lnTo>
                    <a:lnTo>
                      <a:pt x="1920" y="740"/>
                    </a:lnTo>
                    <a:lnTo>
                      <a:pt x="1923" y="747"/>
                    </a:lnTo>
                    <a:lnTo>
                      <a:pt x="1926" y="755"/>
                    </a:lnTo>
                    <a:lnTo>
                      <a:pt x="1927" y="764"/>
                    </a:lnTo>
                    <a:lnTo>
                      <a:pt x="1928" y="773"/>
                    </a:lnTo>
                    <a:lnTo>
                      <a:pt x="1927" y="794"/>
                    </a:lnTo>
                    <a:lnTo>
                      <a:pt x="1927" y="812"/>
                    </a:lnTo>
                    <a:lnTo>
                      <a:pt x="1927" y="831"/>
                    </a:lnTo>
                    <a:lnTo>
                      <a:pt x="1926" y="852"/>
                    </a:lnTo>
                    <a:lnTo>
                      <a:pt x="1926" y="956"/>
                    </a:lnTo>
                    <a:lnTo>
                      <a:pt x="1926" y="965"/>
                    </a:lnTo>
                    <a:lnTo>
                      <a:pt x="1925" y="974"/>
                    </a:lnTo>
                    <a:lnTo>
                      <a:pt x="1923" y="983"/>
                    </a:lnTo>
                    <a:lnTo>
                      <a:pt x="1921" y="990"/>
                    </a:lnTo>
                    <a:lnTo>
                      <a:pt x="1915" y="1005"/>
                    </a:lnTo>
                    <a:lnTo>
                      <a:pt x="1909" y="1020"/>
                    </a:lnTo>
                    <a:lnTo>
                      <a:pt x="1902" y="1033"/>
                    </a:lnTo>
                    <a:lnTo>
                      <a:pt x="1895" y="1049"/>
                    </a:lnTo>
                    <a:lnTo>
                      <a:pt x="1893" y="1057"/>
                    </a:lnTo>
                    <a:lnTo>
                      <a:pt x="1891" y="1065"/>
                    </a:lnTo>
                    <a:lnTo>
                      <a:pt x="1890" y="1074"/>
                    </a:lnTo>
                    <a:lnTo>
                      <a:pt x="1890" y="1083"/>
                    </a:lnTo>
                    <a:lnTo>
                      <a:pt x="1890" y="1087"/>
                    </a:lnTo>
                    <a:lnTo>
                      <a:pt x="1892" y="1089"/>
                    </a:lnTo>
                    <a:lnTo>
                      <a:pt x="1894" y="1092"/>
                    </a:lnTo>
                    <a:lnTo>
                      <a:pt x="1898" y="1094"/>
                    </a:lnTo>
                    <a:lnTo>
                      <a:pt x="1903" y="1097"/>
                    </a:lnTo>
                    <a:lnTo>
                      <a:pt x="1909" y="1101"/>
                    </a:lnTo>
                    <a:lnTo>
                      <a:pt x="1937" y="1126"/>
                    </a:lnTo>
                    <a:lnTo>
                      <a:pt x="1964" y="1148"/>
                    </a:lnTo>
                    <a:lnTo>
                      <a:pt x="1970" y="1154"/>
                    </a:lnTo>
                    <a:lnTo>
                      <a:pt x="1975" y="1160"/>
                    </a:lnTo>
                    <a:lnTo>
                      <a:pt x="1980" y="1166"/>
                    </a:lnTo>
                    <a:lnTo>
                      <a:pt x="1984" y="1173"/>
                    </a:lnTo>
                    <a:lnTo>
                      <a:pt x="1987" y="1180"/>
                    </a:lnTo>
                    <a:lnTo>
                      <a:pt x="1989" y="1188"/>
                    </a:lnTo>
                    <a:lnTo>
                      <a:pt x="1991" y="1196"/>
                    </a:lnTo>
                    <a:lnTo>
                      <a:pt x="1991" y="1206"/>
                    </a:lnTo>
                    <a:lnTo>
                      <a:pt x="1991" y="1219"/>
                    </a:lnTo>
                    <a:lnTo>
                      <a:pt x="1989" y="1231"/>
                    </a:lnTo>
                    <a:lnTo>
                      <a:pt x="1986" y="1242"/>
                    </a:lnTo>
                    <a:lnTo>
                      <a:pt x="1981" y="1252"/>
                    </a:lnTo>
                    <a:lnTo>
                      <a:pt x="1977" y="1261"/>
                    </a:lnTo>
                    <a:lnTo>
                      <a:pt x="1971" y="1271"/>
                    </a:lnTo>
                    <a:lnTo>
                      <a:pt x="1964" y="1280"/>
                    </a:lnTo>
                    <a:lnTo>
                      <a:pt x="1956" y="1288"/>
                    </a:lnTo>
                    <a:lnTo>
                      <a:pt x="1941" y="1305"/>
                    </a:lnTo>
                    <a:lnTo>
                      <a:pt x="1925" y="1322"/>
                    </a:lnTo>
                    <a:lnTo>
                      <a:pt x="1917" y="1332"/>
                    </a:lnTo>
                    <a:lnTo>
                      <a:pt x="1910" y="1342"/>
                    </a:lnTo>
                    <a:lnTo>
                      <a:pt x="1902" y="1352"/>
                    </a:lnTo>
                    <a:lnTo>
                      <a:pt x="1895" y="1364"/>
                    </a:lnTo>
                    <a:lnTo>
                      <a:pt x="1900" y="1368"/>
                    </a:lnTo>
                    <a:lnTo>
                      <a:pt x="1905" y="1373"/>
                    </a:lnTo>
                    <a:lnTo>
                      <a:pt x="1908" y="1377"/>
                    </a:lnTo>
                    <a:lnTo>
                      <a:pt x="1911" y="1382"/>
                    </a:lnTo>
                    <a:lnTo>
                      <a:pt x="1915" y="1393"/>
                    </a:lnTo>
                    <a:lnTo>
                      <a:pt x="1918" y="1404"/>
                    </a:lnTo>
                    <a:lnTo>
                      <a:pt x="1919" y="1429"/>
                    </a:lnTo>
                    <a:lnTo>
                      <a:pt x="1918" y="1456"/>
                    </a:lnTo>
                    <a:lnTo>
                      <a:pt x="1917" y="1476"/>
                    </a:lnTo>
                    <a:lnTo>
                      <a:pt x="1915" y="1494"/>
                    </a:lnTo>
                    <a:lnTo>
                      <a:pt x="1911" y="1511"/>
                    </a:lnTo>
                    <a:lnTo>
                      <a:pt x="1906" y="1527"/>
                    </a:lnTo>
                    <a:lnTo>
                      <a:pt x="1894" y="1560"/>
                    </a:lnTo>
                    <a:lnTo>
                      <a:pt x="1883" y="1597"/>
                    </a:lnTo>
                    <a:lnTo>
                      <a:pt x="1897" y="1601"/>
                    </a:lnTo>
                    <a:lnTo>
                      <a:pt x="1909" y="1603"/>
                    </a:lnTo>
                    <a:lnTo>
                      <a:pt x="1921" y="1604"/>
                    </a:lnTo>
                    <a:lnTo>
                      <a:pt x="1934" y="1605"/>
                    </a:lnTo>
                    <a:lnTo>
                      <a:pt x="1945" y="1607"/>
                    </a:lnTo>
                    <a:lnTo>
                      <a:pt x="1956" y="1611"/>
                    </a:lnTo>
                    <a:lnTo>
                      <a:pt x="1961" y="1613"/>
                    </a:lnTo>
                    <a:lnTo>
                      <a:pt x="1967" y="1616"/>
                    </a:lnTo>
                    <a:lnTo>
                      <a:pt x="1973" y="1619"/>
                    </a:lnTo>
                    <a:lnTo>
                      <a:pt x="1978" y="1624"/>
                    </a:lnTo>
                    <a:lnTo>
                      <a:pt x="1982" y="1629"/>
                    </a:lnTo>
                    <a:lnTo>
                      <a:pt x="1984" y="1634"/>
                    </a:lnTo>
                    <a:lnTo>
                      <a:pt x="1985" y="1640"/>
                    </a:lnTo>
                    <a:lnTo>
                      <a:pt x="1985" y="1648"/>
                    </a:lnTo>
                    <a:lnTo>
                      <a:pt x="1985" y="1654"/>
                    </a:lnTo>
                    <a:lnTo>
                      <a:pt x="1985" y="1661"/>
                    </a:lnTo>
                    <a:lnTo>
                      <a:pt x="1985" y="1668"/>
                    </a:lnTo>
                    <a:lnTo>
                      <a:pt x="1987" y="1676"/>
                    </a:lnTo>
                    <a:lnTo>
                      <a:pt x="1989" y="1681"/>
                    </a:lnTo>
                    <a:lnTo>
                      <a:pt x="1991" y="1686"/>
                    </a:lnTo>
                    <a:lnTo>
                      <a:pt x="1994" y="1690"/>
                    </a:lnTo>
                    <a:lnTo>
                      <a:pt x="1999" y="1694"/>
                    </a:lnTo>
                    <a:lnTo>
                      <a:pt x="2006" y="1701"/>
                    </a:lnTo>
                    <a:lnTo>
                      <a:pt x="2013" y="1708"/>
                    </a:lnTo>
                    <a:lnTo>
                      <a:pt x="2020" y="1715"/>
                    </a:lnTo>
                    <a:lnTo>
                      <a:pt x="2026" y="1722"/>
                    </a:lnTo>
                    <a:lnTo>
                      <a:pt x="2029" y="1726"/>
                    </a:lnTo>
                    <a:lnTo>
                      <a:pt x="2031" y="1731"/>
                    </a:lnTo>
                    <a:lnTo>
                      <a:pt x="2032" y="1737"/>
                    </a:lnTo>
                    <a:lnTo>
                      <a:pt x="2032" y="1742"/>
                    </a:lnTo>
                    <a:lnTo>
                      <a:pt x="2032" y="1751"/>
                    </a:lnTo>
                    <a:lnTo>
                      <a:pt x="2030" y="1760"/>
                    </a:lnTo>
                    <a:lnTo>
                      <a:pt x="2027" y="1769"/>
                    </a:lnTo>
                    <a:lnTo>
                      <a:pt x="2024" y="1776"/>
                    </a:lnTo>
                    <a:lnTo>
                      <a:pt x="2022" y="1784"/>
                    </a:lnTo>
                    <a:lnTo>
                      <a:pt x="2020" y="1791"/>
                    </a:lnTo>
                    <a:lnTo>
                      <a:pt x="2018" y="1801"/>
                    </a:lnTo>
                    <a:lnTo>
                      <a:pt x="2017" y="1810"/>
                    </a:lnTo>
                    <a:lnTo>
                      <a:pt x="2018" y="1823"/>
                    </a:lnTo>
                    <a:lnTo>
                      <a:pt x="2020" y="1835"/>
                    </a:lnTo>
                    <a:lnTo>
                      <a:pt x="2022" y="1846"/>
                    </a:lnTo>
                    <a:lnTo>
                      <a:pt x="2025" y="1857"/>
                    </a:lnTo>
                    <a:lnTo>
                      <a:pt x="2034" y="1878"/>
                    </a:lnTo>
                    <a:lnTo>
                      <a:pt x="2044" y="1898"/>
                    </a:lnTo>
                    <a:lnTo>
                      <a:pt x="2053" y="1917"/>
                    </a:lnTo>
                    <a:lnTo>
                      <a:pt x="2062" y="1938"/>
                    </a:lnTo>
                    <a:lnTo>
                      <a:pt x="2065" y="1948"/>
                    </a:lnTo>
                    <a:lnTo>
                      <a:pt x="2068" y="1960"/>
                    </a:lnTo>
                    <a:lnTo>
                      <a:pt x="2069" y="1972"/>
                    </a:lnTo>
                    <a:lnTo>
                      <a:pt x="2070" y="1984"/>
                    </a:lnTo>
                    <a:lnTo>
                      <a:pt x="2069" y="2001"/>
                    </a:lnTo>
                    <a:lnTo>
                      <a:pt x="2066" y="2015"/>
                    </a:lnTo>
                    <a:lnTo>
                      <a:pt x="2062" y="2030"/>
                    </a:lnTo>
                    <a:lnTo>
                      <a:pt x="2056" y="2042"/>
                    </a:lnTo>
                    <a:lnTo>
                      <a:pt x="2051" y="2056"/>
                    </a:lnTo>
                    <a:lnTo>
                      <a:pt x="2047" y="2069"/>
                    </a:lnTo>
                    <a:lnTo>
                      <a:pt x="2043" y="2085"/>
                    </a:lnTo>
                    <a:lnTo>
                      <a:pt x="2041" y="2100"/>
                    </a:lnTo>
                    <a:lnTo>
                      <a:pt x="2030" y="2091"/>
                    </a:lnTo>
                    <a:lnTo>
                      <a:pt x="2026" y="2103"/>
                    </a:lnTo>
                    <a:lnTo>
                      <a:pt x="2024" y="2114"/>
                    </a:lnTo>
                    <a:lnTo>
                      <a:pt x="2025" y="2123"/>
                    </a:lnTo>
                    <a:lnTo>
                      <a:pt x="2026" y="2129"/>
                    </a:lnTo>
                    <a:lnTo>
                      <a:pt x="2029" y="2136"/>
                    </a:lnTo>
                    <a:lnTo>
                      <a:pt x="2032" y="2142"/>
                    </a:lnTo>
                    <a:lnTo>
                      <a:pt x="2040" y="2154"/>
                    </a:lnTo>
                    <a:lnTo>
                      <a:pt x="2048" y="2164"/>
                    </a:lnTo>
                    <a:lnTo>
                      <a:pt x="2056" y="2174"/>
                    </a:lnTo>
                    <a:lnTo>
                      <a:pt x="2065" y="2186"/>
                    </a:lnTo>
                    <a:lnTo>
                      <a:pt x="2068" y="2192"/>
                    </a:lnTo>
                    <a:lnTo>
                      <a:pt x="2070" y="2199"/>
                    </a:lnTo>
                    <a:lnTo>
                      <a:pt x="2071" y="2206"/>
                    </a:lnTo>
                    <a:lnTo>
                      <a:pt x="2072" y="2214"/>
                    </a:lnTo>
                    <a:lnTo>
                      <a:pt x="2072" y="2224"/>
                    </a:lnTo>
                    <a:lnTo>
                      <a:pt x="2071" y="2233"/>
                    </a:lnTo>
                    <a:lnTo>
                      <a:pt x="2069" y="2243"/>
                    </a:lnTo>
                    <a:lnTo>
                      <a:pt x="2067" y="2251"/>
                    </a:lnTo>
                    <a:lnTo>
                      <a:pt x="2064" y="2259"/>
                    </a:lnTo>
                    <a:lnTo>
                      <a:pt x="2060" y="2267"/>
                    </a:lnTo>
                    <a:lnTo>
                      <a:pt x="2056" y="2276"/>
                    </a:lnTo>
                    <a:lnTo>
                      <a:pt x="2052" y="2283"/>
                    </a:lnTo>
                    <a:lnTo>
                      <a:pt x="2048" y="2290"/>
                    </a:lnTo>
                    <a:lnTo>
                      <a:pt x="2042" y="2297"/>
                    </a:lnTo>
                    <a:lnTo>
                      <a:pt x="2037" y="2303"/>
                    </a:lnTo>
                    <a:lnTo>
                      <a:pt x="2031" y="2310"/>
                    </a:lnTo>
                    <a:lnTo>
                      <a:pt x="2017" y="2321"/>
                    </a:lnTo>
                    <a:lnTo>
                      <a:pt x="2002" y="2331"/>
                    </a:lnTo>
                    <a:lnTo>
                      <a:pt x="1986" y="2341"/>
                    </a:lnTo>
                    <a:lnTo>
                      <a:pt x="1969" y="2349"/>
                    </a:lnTo>
                    <a:lnTo>
                      <a:pt x="1951" y="2356"/>
                    </a:lnTo>
                    <a:lnTo>
                      <a:pt x="1932" y="2362"/>
                    </a:lnTo>
                    <a:lnTo>
                      <a:pt x="1912" y="2368"/>
                    </a:lnTo>
                    <a:lnTo>
                      <a:pt x="1892" y="2373"/>
                    </a:lnTo>
                    <a:lnTo>
                      <a:pt x="1873" y="2376"/>
                    </a:lnTo>
                    <a:lnTo>
                      <a:pt x="1852" y="2379"/>
                    </a:lnTo>
                    <a:lnTo>
                      <a:pt x="1852" y="2396"/>
                    </a:lnTo>
                    <a:lnTo>
                      <a:pt x="1853" y="2403"/>
                    </a:lnTo>
                    <a:lnTo>
                      <a:pt x="1854" y="2408"/>
                    </a:lnTo>
                    <a:lnTo>
                      <a:pt x="1855" y="2413"/>
                    </a:lnTo>
                    <a:lnTo>
                      <a:pt x="1857" y="2418"/>
                    </a:lnTo>
                    <a:lnTo>
                      <a:pt x="1859" y="2423"/>
                    </a:lnTo>
                    <a:lnTo>
                      <a:pt x="1860" y="2428"/>
                    </a:lnTo>
                    <a:lnTo>
                      <a:pt x="1861" y="2435"/>
                    </a:lnTo>
                    <a:lnTo>
                      <a:pt x="1862" y="2441"/>
                    </a:lnTo>
                    <a:lnTo>
                      <a:pt x="1861" y="2449"/>
                    </a:lnTo>
                    <a:lnTo>
                      <a:pt x="1860" y="2457"/>
                    </a:lnTo>
                    <a:lnTo>
                      <a:pt x="1859" y="2465"/>
                    </a:lnTo>
                    <a:lnTo>
                      <a:pt x="1857" y="2472"/>
                    </a:lnTo>
                    <a:lnTo>
                      <a:pt x="1853" y="2486"/>
                    </a:lnTo>
                    <a:lnTo>
                      <a:pt x="1848" y="2500"/>
                    </a:lnTo>
                    <a:lnTo>
                      <a:pt x="1843" y="2513"/>
                    </a:lnTo>
                    <a:lnTo>
                      <a:pt x="1838" y="2526"/>
                    </a:lnTo>
                    <a:lnTo>
                      <a:pt x="1837" y="2534"/>
                    </a:lnTo>
                    <a:lnTo>
                      <a:pt x="1835" y="2542"/>
                    </a:lnTo>
                    <a:lnTo>
                      <a:pt x="1834" y="2550"/>
                    </a:lnTo>
                    <a:lnTo>
                      <a:pt x="1834" y="2558"/>
                    </a:lnTo>
                    <a:lnTo>
                      <a:pt x="1834" y="2564"/>
                    </a:lnTo>
                    <a:lnTo>
                      <a:pt x="1835" y="2569"/>
                    </a:lnTo>
                    <a:lnTo>
                      <a:pt x="1836" y="2573"/>
                    </a:lnTo>
                    <a:lnTo>
                      <a:pt x="1838" y="2576"/>
                    </a:lnTo>
                    <a:lnTo>
                      <a:pt x="1842" y="2584"/>
                    </a:lnTo>
                    <a:lnTo>
                      <a:pt x="1846" y="2594"/>
                    </a:lnTo>
                    <a:lnTo>
                      <a:pt x="1846" y="2594"/>
                    </a:lnTo>
                    <a:lnTo>
                      <a:pt x="1829" y="2609"/>
                    </a:lnTo>
                    <a:lnTo>
                      <a:pt x="1813" y="2621"/>
                    </a:lnTo>
                    <a:lnTo>
                      <a:pt x="1798" y="2633"/>
                    </a:lnTo>
                    <a:lnTo>
                      <a:pt x="1783" y="2642"/>
                    </a:lnTo>
                    <a:lnTo>
                      <a:pt x="1768" y="2652"/>
                    </a:lnTo>
                    <a:lnTo>
                      <a:pt x="1752" y="2663"/>
                    </a:lnTo>
                    <a:lnTo>
                      <a:pt x="1737" y="2675"/>
                    </a:lnTo>
                    <a:lnTo>
                      <a:pt x="1720" y="2691"/>
                    </a:lnTo>
                    <a:lnTo>
                      <a:pt x="1705" y="2707"/>
                    </a:lnTo>
                    <a:lnTo>
                      <a:pt x="1691" y="2723"/>
                    </a:lnTo>
                    <a:lnTo>
                      <a:pt x="1684" y="2730"/>
                    </a:lnTo>
                    <a:lnTo>
                      <a:pt x="1675" y="2735"/>
                    </a:lnTo>
                    <a:lnTo>
                      <a:pt x="1671" y="2737"/>
                    </a:lnTo>
                    <a:lnTo>
                      <a:pt x="1666" y="2738"/>
                    </a:lnTo>
                    <a:lnTo>
                      <a:pt x="1660" y="2739"/>
                    </a:lnTo>
                    <a:lnTo>
                      <a:pt x="1654" y="2740"/>
                    </a:lnTo>
                    <a:lnTo>
                      <a:pt x="1498" y="2702"/>
                    </a:lnTo>
                    <a:lnTo>
                      <a:pt x="1488" y="2704"/>
                    </a:lnTo>
                    <a:lnTo>
                      <a:pt x="1477" y="2705"/>
                    </a:lnTo>
                    <a:lnTo>
                      <a:pt x="1477" y="2599"/>
                    </a:lnTo>
                    <a:lnTo>
                      <a:pt x="1487" y="2533"/>
                    </a:lnTo>
                    <a:lnTo>
                      <a:pt x="1487" y="2475"/>
                    </a:lnTo>
                    <a:lnTo>
                      <a:pt x="1487" y="2466"/>
                    </a:lnTo>
                    <a:lnTo>
                      <a:pt x="1485" y="2457"/>
                    </a:lnTo>
                    <a:lnTo>
                      <a:pt x="1483" y="2449"/>
                    </a:lnTo>
                    <a:lnTo>
                      <a:pt x="1481" y="2442"/>
                    </a:lnTo>
                    <a:lnTo>
                      <a:pt x="1478" y="2434"/>
                    </a:lnTo>
                    <a:lnTo>
                      <a:pt x="1474" y="2427"/>
                    </a:lnTo>
                    <a:lnTo>
                      <a:pt x="1469" y="2420"/>
                    </a:lnTo>
                    <a:lnTo>
                      <a:pt x="1464" y="2414"/>
                    </a:lnTo>
                    <a:lnTo>
                      <a:pt x="1441" y="2390"/>
                    </a:lnTo>
                    <a:lnTo>
                      <a:pt x="1414" y="2364"/>
                    </a:lnTo>
                    <a:lnTo>
                      <a:pt x="1407" y="2357"/>
                    </a:lnTo>
                    <a:lnTo>
                      <a:pt x="1402" y="2349"/>
                    </a:lnTo>
                    <a:lnTo>
                      <a:pt x="1396" y="2341"/>
                    </a:lnTo>
                    <a:lnTo>
                      <a:pt x="1391" y="2333"/>
                    </a:lnTo>
                    <a:lnTo>
                      <a:pt x="1386" y="2325"/>
                    </a:lnTo>
                    <a:lnTo>
                      <a:pt x="1380" y="2319"/>
                    </a:lnTo>
                    <a:lnTo>
                      <a:pt x="1374" y="2312"/>
                    </a:lnTo>
                    <a:lnTo>
                      <a:pt x="1364" y="2305"/>
                    </a:lnTo>
                    <a:lnTo>
                      <a:pt x="1338" y="2350"/>
                    </a:lnTo>
                    <a:lnTo>
                      <a:pt x="1312" y="2390"/>
                    </a:lnTo>
                    <a:lnTo>
                      <a:pt x="1305" y="2398"/>
                    </a:lnTo>
                    <a:lnTo>
                      <a:pt x="1297" y="2407"/>
                    </a:lnTo>
                    <a:lnTo>
                      <a:pt x="1289" y="2414"/>
                    </a:lnTo>
                    <a:lnTo>
                      <a:pt x="1281" y="2419"/>
                    </a:lnTo>
                    <a:lnTo>
                      <a:pt x="1271" y="2424"/>
                    </a:lnTo>
                    <a:lnTo>
                      <a:pt x="1260" y="2428"/>
                    </a:lnTo>
                    <a:lnTo>
                      <a:pt x="1249" y="2430"/>
                    </a:lnTo>
                    <a:lnTo>
                      <a:pt x="1237" y="2430"/>
                    </a:lnTo>
                    <a:lnTo>
                      <a:pt x="1172" y="2430"/>
                    </a:lnTo>
                    <a:lnTo>
                      <a:pt x="862" y="2386"/>
                    </a:lnTo>
                    <a:lnTo>
                      <a:pt x="855" y="2386"/>
                    </a:lnTo>
                    <a:lnTo>
                      <a:pt x="848" y="2387"/>
                    </a:lnTo>
                    <a:lnTo>
                      <a:pt x="841" y="2388"/>
                    </a:lnTo>
                    <a:lnTo>
                      <a:pt x="834" y="2390"/>
                    </a:lnTo>
                    <a:lnTo>
                      <a:pt x="822" y="2395"/>
                    </a:lnTo>
                    <a:lnTo>
                      <a:pt x="811" y="2402"/>
                    </a:lnTo>
                    <a:lnTo>
                      <a:pt x="788" y="2418"/>
                    </a:lnTo>
                    <a:lnTo>
                      <a:pt x="763" y="2436"/>
                    </a:lnTo>
                    <a:lnTo>
                      <a:pt x="744" y="2447"/>
                    </a:lnTo>
                    <a:lnTo>
                      <a:pt x="725" y="2457"/>
                    </a:lnTo>
                    <a:lnTo>
                      <a:pt x="717" y="2462"/>
                    </a:lnTo>
                    <a:lnTo>
                      <a:pt x="709" y="2468"/>
                    </a:lnTo>
                    <a:lnTo>
                      <a:pt x="699" y="2475"/>
                    </a:lnTo>
                    <a:lnTo>
                      <a:pt x="690" y="2483"/>
                    </a:lnTo>
                    <a:lnTo>
                      <a:pt x="685" y="2478"/>
                    </a:lnTo>
                    <a:lnTo>
                      <a:pt x="680" y="2473"/>
                    </a:lnTo>
                    <a:lnTo>
                      <a:pt x="674" y="2468"/>
                    </a:lnTo>
                    <a:lnTo>
                      <a:pt x="670" y="2462"/>
                    </a:lnTo>
                    <a:lnTo>
                      <a:pt x="663" y="2451"/>
                    </a:lnTo>
                    <a:lnTo>
                      <a:pt x="656" y="2440"/>
                    </a:lnTo>
                    <a:lnTo>
                      <a:pt x="652" y="2435"/>
                    </a:lnTo>
                    <a:lnTo>
                      <a:pt x="648" y="2430"/>
                    </a:lnTo>
                    <a:lnTo>
                      <a:pt x="644" y="2425"/>
                    </a:lnTo>
                    <a:lnTo>
                      <a:pt x="638" y="2422"/>
                    </a:lnTo>
                    <a:lnTo>
                      <a:pt x="634" y="2419"/>
                    </a:lnTo>
                    <a:lnTo>
                      <a:pt x="628" y="2416"/>
                    </a:lnTo>
                    <a:lnTo>
                      <a:pt x="622" y="2415"/>
                    </a:lnTo>
                    <a:lnTo>
                      <a:pt x="615" y="2414"/>
                    </a:lnTo>
                    <a:lnTo>
                      <a:pt x="604" y="2415"/>
                    </a:lnTo>
                    <a:lnTo>
                      <a:pt x="595" y="2416"/>
                    </a:lnTo>
                    <a:lnTo>
                      <a:pt x="586" y="2417"/>
                    </a:lnTo>
                    <a:lnTo>
                      <a:pt x="578" y="2420"/>
                    </a:lnTo>
                    <a:lnTo>
                      <a:pt x="562" y="2425"/>
                    </a:lnTo>
                    <a:lnTo>
                      <a:pt x="547" y="2434"/>
                    </a:lnTo>
                    <a:lnTo>
                      <a:pt x="517" y="2451"/>
                    </a:lnTo>
                    <a:lnTo>
                      <a:pt x="483" y="2471"/>
                    </a:lnTo>
                    <a:lnTo>
                      <a:pt x="483" y="2471"/>
                    </a:lnTo>
                    <a:lnTo>
                      <a:pt x="470" y="2454"/>
                    </a:lnTo>
                    <a:lnTo>
                      <a:pt x="457" y="2439"/>
                    </a:lnTo>
                    <a:lnTo>
                      <a:pt x="443" y="2425"/>
                    </a:lnTo>
                    <a:lnTo>
                      <a:pt x="430" y="2413"/>
                    </a:lnTo>
                    <a:lnTo>
                      <a:pt x="402" y="2388"/>
                    </a:lnTo>
                    <a:lnTo>
                      <a:pt x="372" y="2360"/>
                    </a:lnTo>
                    <a:lnTo>
                      <a:pt x="341" y="2332"/>
                    </a:lnTo>
                    <a:lnTo>
                      <a:pt x="315" y="2308"/>
                    </a:lnTo>
                    <a:lnTo>
                      <a:pt x="308" y="2300"/>
                    </a:lnTo>
                    <a:lnTo>
                      <a:pt x="303" y="2294"/>
                    </a:lnTo>
                    <a:lnTo>
                      <a:pt x="299" y="2287"/>
                    </a:lnTo>
                    <a:lnTo>
                      <a:pt x="295" y="2279"/>
                    </a:lnTo>
                    <a:lnTo>
                      <a:pt x="292" y="2270"/>
                    </a:lnTo>
                    <a:lnTo>
                      <a:pt x="289" y="2262"/>
                    </a:lnTo>
                    <a:lnTo>
                      <a:pt x="288" y="2252"/>
                    </a:lnTo>
                    <a:lnTo>
                      <a:pt x="287" y="2243"/>
                    </a:lnTo>
                    <a:lnTo>
                      <a:pt x="289" y="2227"/>
                    </a:lnTo>
                    <a:lnTo>
                      <a:pt x="291" y="2215"/>
                    </a:lnTo>
                    <a:lnTo>
                      <a:pt x="293" y="2201"/>
                    </a:lnTo>
                    <a:lnTo>
                      <a:pt x="294" y="2187"/>
                    </a:lnTo>
                    <a:lnTo>
                      <a:pt x="294" y="2180"/>
                    </a:lnTo>
                    <a:lnTo>
                      <a:pt x="293" y="2172"/>
                    </a:lnTo>
                    <a:lnTo>
                      <a:pt x="292" y="2166"/>
                    </a:lnTo>
                    <a:lnTo>
                      <a:pt x="290" y="2161"/>
                    </a:lnTo>
                    <a:lnTo>
                      <a:pt x="286" y="2156"/>
                    </a:lnTo>
                    <a:lnTo>
                      <a:pt x="282" y="2151"/>
                    </a:lnTo>
                    <a:lnTo>
                      <a:pt x="276" y="2146"/>
                    </a:lnTo>
                    <a:lnTo>
                      <a:pt x="270" y="2143"/>
                    </a:lnTo>
                    <a:lnTo>
                      <a:pt x="273" y="2134"/>
                    </a:lnTo>
                    <a:lnTo>
                      <a:pt x="277" y="2127"/>
                    </a:lnTo>
                    <a:lnTo>
                      <a:pt x="283" y="2122"/>
                    </a:lnTo>
                    <a:lnTo>
                      <a:pt x="289" y="2117"/>
                    </a:lnTo>
                    <a:lnTo>
                      <a:pt x="296" y="2112"/>
                    </a:lnTo>
                    <a:lnTo>
                      <a:pt x="303" y="2109"/>
                    </a:lnTo>
                    <a:lnTo>
                      <a:pt x="311" y="2106"/>
                    </a:lnTo>
                    <a:lnTo>
                      <a:pt x="319" y="2103"/>
                    </a:lnTo>
                    <a:lnTo>
                      <a:pt x="336" y="2098"/>
                    </a:lnTo>
                    <a:lnTo>
                      <a:pt x="353" y="2092"/>
                    </a:lnTo>
                    <a:lnTo>
                      <a:pt x="360" y="2088"/>
                    </a:lnTo>
                    <a:lnTo>
                      <a:pt x="367" y="2082"/>
                    </a:lnTo>
                    <a:lnTo>
                      <a:pt x="373" y="2077"/>
                    </a:lnTo>
                    <a:lnTo>
                      <a:pt x="380" y="2070"/>
                    </a:lnTo>
                    <a:lnTo>
                      <a:pt x="386" y="2059"/>
                    </a:lnTo>
                    <a:lnTo>
                      <a:pt x="390" y="2047"/>
                    </a:lnTo>
                    <a:lnTo>
                      <a:pt x="392" y="2037"/>
                    </a:lnTo>
                    <a:lnTo>
                      <a:pt x="393" y="2026"/>
                    </a:lnTo>
                    <a:lnTo>
                      <a:pt x="392" y="2002"/>
                    </a:lnTo>
                    <a:lnTo>
                      <a:pt x="391" y="1976"/>
                    </a:lnTo>
                    <a:lnTo>
                      <a:pt x="391" y="1964"/>
                    </a:lnTo>
                    <a:lnTo>
                      <a:pt x="389" y="1951"/>
                    </a:lnTo>
                    <a:lnTo>
                      <a:pt x="387" y="1940"/>
                    </a:lnTo>
                    <a:lnTo>
                      <a:pt x="384" y="1930"/>
                    </a:lnTo>
                    <a:lnTo>
                      <a:pt x="376" y="1909"/>
                    </a:lnTo>
                    <a:lnTo>
                      <a:pt x="367" y="1889"/>
                    </a:lnTo>
                    <a:lnTo>
                      <a:pt x="359" y="1869"/>
                    </a:lnTo>
                    <a:lnTo>
                      <a:pt x="351" y="1848"/>
                    </a:lnTo>
                    <a:lnTo>
                      <a:pt x="349" y="1838"/>
                    </a:lnTo>
                    <a:lnTo>
                      <a:pt x="346" y="1826"/>
                    </a:lnTo>
                    <a:lnTo>
                      <a:pt x="344" y="1814"/>
                    </a:lnTo>
                    <a:lnTo>
                      <a:pt x="343" y="1802"/>
                    </a:lnTo>
                    <a:lnTo>
                      <a:pt x="344" y="1793"/>
                    </a:lnTo>
                    <a:lnTo>
                      <a:pt x="347" y="1786"/>
                    </a:lnTo>
                    <a:lnTo>
                      <a:pt x="328" y="1811"/>
                    </a:lnTo>
                    <a:lnTo>
                      <a:pt x="310" y="1832"/>
                    </a:lnTo>
                    <a:lnTo>
                      <a:pt x="302" y="1841"/>
                    </a:lnTo>
                    <a:lnTo>
                      <a:pt x="292" y="1850"/>
                    </a:lnTo>
                    <a:lnTo>
                      <a:pt x="281" y="1859"/>
                    </a:lnTo>
                    <a:lnTo>
                      <a:pt x="268" y="1869"/>
                    </a:lnTo>
                    <a:lnTo>
                      <a:pt x="264" y="1857"/>
                    </a:lnTo>
                    <a:lnTo>
                      <a:pt x="261" y="1846"/>
                    </a:lnTo>
                    <a:lnTo>
                      <a:pt x="258" y="1835"/>
                    </a:lnTo>
                    <a:lnTo>
                      <a:pt x="256" y="1824"/>
                    </a:lnTo>
                    <a:lnTo>
                      <a:pt x="254" y="1814"/>
                    </a:lnTo>
                    <a:lnTo>
                      <a:pt x="251" y="1803"/>
                    </a:lnTo>
                    <a:lnTo>
                      <a:pt x="248" y="1791"/>
                    </a:lnTo>
                    <a:lnTo>
                      <a:pt x="242" y="1779"/>
                    </a:lnTo>
                    <a:lnTo>
                      <a:pt x="236" y="1766"/>
                    </a:lnTo>
                    <a:lnTo>
                      <a:pt x="230" y="1754"/>
                    </a:lnTo>
                    <a:lnTo>
                      <a:pt x="223" y="1743"/>
                    </a:lnTo>
                    <a:lnTo>
                      <a:pt x="216" y="1732"/>
                    </a:lnTo>
                    <a:lnTo>
                      <a:pt x="200" y="1714"/>
                    </a:lnTo>
                    <a:lnTo>
                      <a:pt x="184" y="1697"/>
                    </a:lnTo>
                    <a:lnTo>
                      <a:pt x="166" y="1681"/>
                    </a:lnTo>
                    <a:lnTo>
                      <a:pt x="149" y="1663"/>
                    </a:lnTo>
                    <a:lnTo>
                      <a:pt x="130" y="1645"/>
                    </a:lnTo>
                    <a:lnTo>
                      <a:pt x="110" y="1624"/>
                    </a:lnTo>
                    <a:lnTo>
                      <a:pt x="93" y="1600"/>
                    </a:lnTo>
                    <a:lnTo>
                      <a:pt x="78" y="1580"/>
                    </a:lnTo>
                    <a:lnTo>
                      <a:pt x="71" y="1569"/>
                    </a:lnTo>
                    <a:lnTo>
                      <a:pt x="63" y="1560"/>
                    </a:lnTo>
                    <a:lnTo>
                      <a:pt x="54" y="1551"/>
                    </a:lnTo>
                    <a:lnTo>
                      <a:pt x="42" y="1541"/>
                    </a:lnTo>
                    <a:lnTo>
                      <a:pt x="51" y="1533"/>
                    </a:lnTo>
                    <a:lnTo>
                      <a:pt x="58" y="1527"/>
                    </a:lnTo>
                    <a:lnTo>
                      <a:pt x="66" y="1522"/>
                    </a:lnTo>
                    <a:lnTo>
                      <a:pt x="74" y="1517"/>
                    </a:lnTo>
                    <a:lnTo>
                      <a:pt x="92" y="1509"/>
                    </a:lnTo>
                    <a:lnTo>
                      <a:pt x="112" y="1503"/>
                    </a:lnTo>
                    <a:lnTo>
                      <a:pt x="110" y="1490"/>
                    </a:lnTo>
                    <a:lnTo>
                      <a:pt x="106" y="1478"/>
                    </a:lnTo>
                    <a:lnTo>
                      <a:pt x="101" y="1467"/>
                    </a:lnTo>
                    <a:lnTo>
                      <a:pt x="96" y="1458"/>
                    </a:lnTo>
                    <a:lnTo>
                      <a:pt x="90" y="1448"/>
                    </a:lnTo>
                    <a:lnTo>
                      <a:pt x="83" y="1440"/>
                    </a:lnTo>
                    <a:lnTo>
                      <a:pt x="75" y="1433"/>
                    </a:lnTo>
                    <a:lnTo>
                      <a:pt x="68" y="1425"/>
                    </a:lnTo>
                    <a:lnTo>
                      <a:pt x="51" y="1410"/>
                    </a:lnTo>
                    <a:lnTo>
                      <a:pt x="33" y="1395"/>
                    </a:lnTo>
                    <a:lnTo>
                      <a:pt x="25" y="1386"/>
                    </a:lnTo>
                    <a:lnTo>
                      <a:pt x="17" y="1377"/>
                    </a:lnTo>
                    <a:lnTo>
                      <a:pt x="7" y="1368"/>
                    </a:lnTo>
                    <a:lnTo>
                      <a:pt x="0" y="1356"/>
                    </a:lnTo>
                    <a:lnTo>
                      <a:pt x="0" y="1356"/>
                    </a:lnTo>
                    <a:lnTo>
                      <a:pt x="6" y="1347"/>
                    </a:lnTo>
                    <a:lnTo>
                      <a:pt x="11" y="1339"/>
                    </a:lnTo>
                    <a:lnTo>
                      <a:pt x="17" y="1330"/>
                    </a:lnTo>
                    <a:lnTo>
                      <a:pt x="21" y="1320"/>
                    </a:lnTo>
                    <a:lnTo>
                      <a:pt x="27" y="1303"/>
                    </a:lnTo>
                    <a:lnTo>
                      <a:pt x="32" y="1285"/>
                    </a:lnTo>
                    <a:lnTo>
                      <a:pt x="38" y="1248"/>
                    </a:lnTo>
                    <a:lnTo>
                      <a:pt x="46" y="1206"/>
                    </a:lnTo>
                    <a:lnTo>
                      <a:pt x="49" y="1199"/>
                    </a:lnTo>
                    <a:lnTo>
                      <a:pt x="52" y="1192"/>
                    </a:lnTo>
                    <a:lnTo>
                      <a:pt x="55" y="1186"/>
                    </a:lnTo>
                    <a:lnTo>
                      <a:pt x="59" y="1180"/>
                    </a:lnTo>
                    <a:lnTo>
                      <a:pt x="66" y="1170"/>
                    </a:lnTo>
                    <a:lnTo>
                      <a:pt x="75" y="1160"/>
                    </a:lnTo>
                    <a:lnTo>
                      <a:pt x="83" y="1150"/>
                    </a:lnTo>
                    <a:lnTo>
                      <a:pt x="90" y="1140"/>
                    </a:lnTo>
                    <a:lnTo>
                      <a:pt x="93" y="1133"/>
                    </a:lnTo>
                    <a:lnTo>
                      <a:pt x="95" y="1127"/>
                    </a:lnTo>
                    <a:lnTo>
                      <a:pt x="96" y="1121"/>
                    </a:lnTo>
                    <a:lnTo>
                      <a:pt x="96" y="1114"/>
                    </a:lnTo>
                    <a:lnTo>
                      <a:pt x="96" y="1099"/>
                    </a:lnTo>
                    <a:lnTo>
                      <a:pt x="95" y="1086"/>
                    </a:lnTo>
                    <a:lnTo>
                      <a:pt x="93" y="1073"/>
                    </a:lnTo>
                    <a:lnTo>
                      <a:pt x="91" y="1060"/>
                    </a:lnTo>
                    <a:lnTo>
                      <a:pt x="85" y="1037"/>
                    </a:lnTo>
                    <a:lnTo>
                      <a:pt x="78" y="1015"/>
                    </a:lnTo>
                    <a:lnTo>
                      <a:pt x="72" y="992"/>
                    </a:lnTo>
                    <a:lnTo>
                      <a:pt x="66" y="968"/>
                    </a:lnTo>
                    <a:lnTo>
                      <a:pt x="64" y="956"/>
                    </a:lnTo>
                    <a:lnTo>
                      <a:pt x="62" y="943"/>
                    </a:lnTo>
                    <a:lnTo>
                      <a:pt x="61" y="930"/>
                    </a:lnTo>
                    <a:lnTo>
                      <a:pt x="61" y="916"/>
                    </a:lnTo>
                    <a:lnTo>
                      <a:pt x="62" y="899"/>
                    </a:lnTo>
                    <a:lnTo>
                      <a:pt x="63" y="885"/>
                    </a:lnTo>
                    <a:lnTo>
                      <a:pt x="65" y="871"/>
                    </a:lnTo>
                    <a:lnTo>
                      <a:pt x="68" y="859"/>
                    </a:lnTo>
                    <a:lnTo>
                      <a:pt x="71" y="845"/>
                    </a:lnTo>
                    <a:lnTo>
                      <a:pt x="74" y="832"/>
                    </a:lnTo>
                    <a:lnTo>
                      <a:pt x="76" y="817"/>
                    </a:lnTo>
                    <a:lnTo>
                      <a:pt x="77" y="802"/>
                    </a:lnTo>
                    <a:lnTo>
                      <a:pt x="78" y="790"/>
                    </a:lnTo>
                    <a:lnTo>
                      <a:pt x="80" y="777"/>
                    </a:lnTo>
                    <a:lnTo>
                      <a:pt x="83" y="765"/>
                    </a:lnTo>
                    <a:lnTo>
                      <a:pt x="87" y="754"/>
                    </a:lnTo>
                    <a:lnTo>
                      <a:pt x="90" y="749"/>
                    </a:lnTo>
                    <a:lnTo>
                      <a:pt x="93" y="745"/>
                    </a:lnTo>
                    <a:lnTo>
                      <a:pt x="96" y="740"/>
                    </a:lnTo>
                    <a:lnTo>
                      <a:pt x="100" y="737"/>
                    </a:lnTo>
                    <a:lnTo>
                      <a:pt x="104" y="733"/>
                    </a:lnTo>
                    <a:lnTo>
                      <a:pt x="108" y="730"/>
                    </a:lnTo>
                    <a:lnTo>
                      <a:pt x="115" y="727"/>
                    </a:lnTo>
                    <a:lnTo>
                      <a:pt x="120" y="725"/>
                    </a:lnTo>
                    <a:lnTo>
                      <a:pt x="127" y="721"/>
                    </a:lnTo>
                    <a:lnTo>
                      <a:pt x="133" y="718"/>
                    </a:lnTo>
                    <a:lnTo>
                      <a:pt x="139" y="715"/>
                    </a:lnTo>
                    <a:lnTo>
                      <a:pt x="145" y="712"/>
                    </a:lnTo>
                    <a:lnTo>
                      <a:pt x="155" y="704"/>
                    </a:lnTo>
                    <a:lnTo>
                      <a:pt x="164" y="695"/>
                    </a:lnTo>
                    <a:lnTo>
                      <a:pt x="179" y="674"/>
                    </a:lnTo>
                    <a:lnTo>
                      <a:pt x="198" y="651"/>
                    </a:lnTo>
                    <a:lnTo>
                      <a:pt x="214" y="633"/>
                    </a:lnTo>
                    <a:lnTo>
                      <a:pt x="227" y="616"/>
                    </a:lnTo>
                    <a:lnTo>
                      <a:pt x="240" y="600"/>
                    </a:lnTo>
                    <a:lnTo>
                      <a:pt x="252" y="583"/>
                    </a:lnTo>
                    <a:lnTo>
                      <a:pt x="256" y="574"/>
                    </a:lnTo>
                    <a:lnTo>
                      <a:pt x="260" y="565"/>
                    </a:lnTo>
                    <a:lnTo>
                      <a:pt x="264" y="556"/>
                    </a:lnTo>
                    <a:lnTo>
                      <a:pt x="267" y="547"/>
                    </a:lnTo>
                    <a:lnTo>
                      <a:pt x="269" y="537"/>
                    </a:lnTo>
                    <a:lnTo>
                      <a:pt x="271" y="526"/>
                    </a:lnTo>
                    <a:lnTo>
                      <a:pt x="272" y="515"/>
                    </a:lnTo>
                    <a:lnTo>
                      <a:pt x="273" y="502"/>
                    </a:lnTo>
                    <a:lnTo>
                      <a:pt x="273" y="453"/>
                    </a:lnTo>
                    <a:lnTo>
                      <a:pt x="273" y="443"/>
                    </a:lnTo>
                    <a:lnTo>
                      <a:pt x="274" y="432"/>
                    </a:lnTo>
                    <a:lnTo>
                      <a:pt x="276" y="422"/>
                    </a:lnTo>
                    <a:lnTo>
                      <a:pt x="278" y="413"/>
                    </a:lnTo>
                    <a:lnTo>
                      <a:pt x="284" y="395"/>
                    </a:lnTo>
                    <a:lnTo>
                      <a:pt x="291" y="379"/>
                    </a:lnTo>
                    <a:lnTo>
                      <a:pt x="299" y="362"/>
                    </a:lnTo>
                    <a:lnTo>
                      <a:pt x="307" y="346"/>
                    </a:lnTo>
                    <a:lnTo>
                      <a:pt x="316" y="327"/>
                    </a:lnTo>
                    <a:lnTo>
                      <a:pt x="323" y="306"/>
                    </a:lnTo>
                    <a:lnTo>
                      <a:pt x="325" y="295"/>
                    </a:lnTo>
                    <a:lnTo>
                      <a:pt x="327" y="285"/>
                    </a:lnTo>
                    <a:lnTo>
                      <a:pt x="327" y="274"/>
                    </a:lnTo>
                    <a:lnTo>
                      <a:pt x="327" y="264"/>
                    </a:lnTo>
                    <a:lnTo>
                      <a:pt x="328" y="255"/>
                    </a:lnTo>
                    <a:lnTo>
                      <a:pt x="330" y="245"/>
                    </a:lnTo>
                    <a:lnTo>
                      <a:pt x="333" y="236"/>
                    </a:lnTo>
                    <a:lnTo>
                      <a:pt x="339" y="226"/>
                    </a:lnTo>
                    <a:lnTo>
                      <a:pt x="355" y="240"/>
                    </a:lnTo>
                    <a:lnTo>
                      <a:pt x="368" y="253"/>
                    </a:lnTo>
                    <a:lnTo>
                      <a:pt x="374" y="259"/>
                    </a:lnTo>
                    <a:lnTo>
                      <a:pt x="381" y="265"/>
                    </a:lnTo>
                    <a:lnTo>
                      <a:pt x="386" y="273"/>
                    </a:lnTo>
                    <a:lnTo>
                      <a:pt x="391" y="283"/>
                    </a:lnTo>
                    <a:lnTo>
                      <a:pt x="401" y="270"/>
                    </a:lnTo>
                    <a:lnTo>
                      <a:pt x="409" y="257"/>
                    </a:lnTo>
                    <a:lnTo>
                      <a:pt x="416" y="243"/>
                    </a:lnTo>
                    <a:lnTo>
                      <a:pt x="421" y="230"/>
                    </a:lnTo>
                    <a:lnTo>
                      <a:pt x="430" y="201"/>
                    </a:lnTo>
                    <a:lnTo>
                      <a:pt x="441" y="169"/>
                    </a:lnTo>
                    <a:lnTo>
                      <a:pt x="441" y="169"/>
                    </a:lnTo>
                    <a:close/>
                  </a:path>
                </a:pathLst>
              </a:custGeom>
              <a:solidFill>
                <a:srgbClr val="65AC1E">
                  <a:alpha val="80000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Volyn">
                <a:extLst>
                  <a:ext uri="{FF2B5EF4-FFF2-40B4-BE49-F238E27FC236}">
                    <a16:creationId xmlns:a16="http://schemas.microsoft.com/office/drawing/2014/main" id="{B46F789B-26C7-426B-B51A-E1EF3E9545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918" y="1931114"/>
                <a:ext cx="977121" cy="942038"/>
              </a:xfrm>
              <a:custGeom>
                <a:avLst/>
                <a:gdLst>
                  <a:gd name="T0" fmla="*/ 294 w 1994"/>
                  <a:gd name="T1" fmla="*/ 1553 h 2054"/>
                  <a:gd name="T2" fmla="*/ 240 w 1994"/>
                  <a:gd name="T3" fmla="*/ 1444 h 2054"/>
                  <a:gd name="T4" fmla="*/ 208 w 1994"/>
                  <a:gd name="T5" fmla="*/ 1392 h 2054"/>
                  <a:gd name="T6" fmla="*/ 315 w 1994"/>
                  <a:gd name="T7" fmla="*/ 1362 h 2054"/>
                  <a:gd name="T8" fmla="*/ 303 w 1994"/>
                  <a:gd name="T9" fmla="*/ 1287 h 2054"/>
                  <a:gd name="T10" fmla="*/ 232 w 1994"/>
                  <a:gd name="T11" fmla="*/ 1187 h 2054"/>
                  <a:gd name="T12" fmla="*/ 197 w 1994"/>
                  <a:gd name="T13" fmla="*/ 1069 h 2054"/>
                  <a:gd name="T14" fmla="*/ 174 w 1994"/>
                  <a:gd name="T15" fmla="*/ 1002 h 2054"/>
                  <a:gd name="T16" fmla="*/ 176 w 1994"/>
                  <a:gd name="T17" fmla="*/ 938 h 2054"/>
                  <a:gd name="T18" fmla="*/ 94 w 1994"/>
                  <a:gd name="T19" fmla="*/ 854 h 2054"/>
                  <a:gd name="T20" fmla="*/ 57 w 1994"/>
                  <a:gd name="T21" fmla="*/ 748 h 2054"/>
                  <a:gd name="T22" fmla="*/ 9 w 1994"/>
                  <a:gd name="T23" fmla="*/ 697 h 2054"/>
                  <a:gd name="T24" fmla="*/ 62 w 1994"/>
                  <a:gd name="T25" fmla="*/ 608 h 2054"/>
                  <a:gd name="T26" fmla="*/ 9 w 1994"/>
                  <a:gd name="T27" fmla="*/ 468 h 2054"/>
                  <a:gd name="T28" fmla="*/ 46 w 1994"/>
                  <a:gd name="T29" fmla="*/ 388 h 2054"/>
                  <a:gd name="T30" fmla="*/ 141 w 1994"/>
                  <a:gd name="T31" fmla="*/ 310 h 2054"/>
                  <a:gd name="T32" fmla="*/ 205 w 1994"/>
                  <a:gd name="T33" fmla="*/ 323 h 2054"/>
                  <a:gd name="T34" fmla="*/ 283 w 1994"/>
                  <a:gd name="T35" fmla="*/ 343 h 2054"/>
                  <a:gd name="T36" fmla="*/ 366 w 1994"/>
                  <a:gd name="T37" fmla="*/ 361 h 2054"/>
                  <a:gd name="T38" fmla="*/ 541 w 1994"/>
                  <a:gd name="T39" fmla="*/ 229 h 2054"/>
                  <a:gd name="T40" fmla="*/ 596 w 1994"/>
                  <a:gd name="T41" fmla="*/ 109 h 2054"/>
                  <a:gd name="T42" fmla="*/ 665 w 1994"/>
                  <a:gd name="T43" fmla="*/ 44 h 2054"/>
                  <a:gd name="T44" fmla="*/ 906 w 1994"/>
                  <a:gd name="T45" fmla="*/ 46 h 2054"/>
                  <a:gd name="T46" fmla="*/ 1117 w 1994"/>
                  <a:gd name="T47" fmla="*/ 32 h 2054"/>
                  <a:gd name="T48" fmla="*/ 1331 w 1994"/>
                  <a:gd name="T49" fmla="*/ 0 h 2054"/>
                  <a:gd name="T50" fmla="*/ 1460 w 1994"/>
                  <a:gd name="T51" fmla="*/ 53 h 2054"/>
                  <a:gd name="T52" fmla="*/ 1725 w 1994"/>
                  <a:gd name="T53" fmla="*/ 73 h 2054"/>
                  <a:gd name="T54" fmla="*/ 1711 w 1994"/>
                  <a:gd name="T55" fmla="*/ 266 h 2054"/>
                  <a:gd name="T56" fmla="*/ 1612 w 1994"/>
                  <a:gd name="T57" fmla="*/ 432 h 2054"/>
                  <a:gd name="T58" fmla="*/ 1676 w 1994"/>
                  <a:gd name="T59" fmla="*/ 565 h 2054"/>
                  <a:gd name="T60" fmla="*/ 1687 w 1994"/>
                  <a:gd name="T61" fmla="*/ 670 h 2054"/>
                  <a:gd name="T62" fmla="*/ 1809 w 1994"/>
                  <a:gd name="T63" fmla="*/ 716 h 2054"/>
                  <a:gd name="T64" fmla="*/ 1875 w 1994"/>
                  <a:gd name="T65" fmla="*/ 854 h 2054"/>
                  <a:gd name="T66" fmla="*/ 1888 w 1994"/>
                  <a:gd name="T67" fmla="*/ 952 h 2054"/>
                  <a:gd name="T68" fmla="*/ 1978 w 1994"/>
                  <a:gd name="T69" fmla="*/ 1023 h 2054"/>
                  <a:gd name="T70" fmla="*/ 1915 w 1994"/>
                  <a:gd name="T71" fmla="*/ 1096 h 2054"/>
                  <a:gd name="T72" fmla="*/ 1931 w 1994"/>
                  <a:gd name="T73" fmla="*/ 1173 h 2054"/>
                  <a:gd name="T74" fmla="*/ 1992 w 1994"/>
                  <a:gd name="T75" fmla="*/ 1246 h 2054"/>
                  <a:gd name="T76" fmla="*/ 1944 w 1994"/>
                  <a:gd name="T77" fmla="*/ 1328 h 2054"/>
                  <a:gd name="T78" fmla="*/ 1882 w 1994"/>
                  <a:gd name="T79" fmla="*/ 1465 h 2054"/>
                  <a:gd name="T80" fmla="*/ 1786 w 1994"/>
                  <a:gd name="T81" fmla="*/ 1614 h 2054"/>
                  <a:gd name="T82" fmla="*/ 1727 w 1994"/>
                  <a:gd name="T83" fmla="*/ 1688 h 2054"/>
                  <a:gd name="T84" fmla="*/ 1613 w 1994"/>
                  <a:gd name="T85" fmla="*/ 1641 h 2054"/>
                  <a:gd name="T86" fmla="*/ 1488 w 1994"/>
                  <a:gd name="T87" fmla="*/ 1633 h 2054"/>
                  <a:gd name="T88" fmla="*/ 1420 w 1994"/>
                  <a:gd name="T89" fmla="*/ 1649 h 2054"/>
                  <a:gd name="T90" fmla="*/ 1362 w 1994"/>
                  <a:gd name="T91" fmla="*/ 1673 h 2054"/>
                  <a:gd name="T92" fmla="*/ 1296 w 1994"/>
                  <a:gd name="T93" fmla="*/ 1674 h 2054"/>
                  <a:gd name="T94" fmla="*/ 1232 w 1994"/>
                  <a:gd name="T95" fmla="*/ 1773 h 2054"/>
                  <a:gd name="T96" fmla="*/ 1170 w 1994"/>
                  <a:gd name="T97" fmla="*/ 1745 h 2054"/>
                  <a:gd name="T98" fmla="*/ 1185 w 1994"/>
                  <a:gd name="T99" fmla="*/ 1909 h 2054"/>
                  <a:gd name="T100" fmla="*/ 1114 w 1994"/>
                  <a:gd name="T101" fmla="*/ 2031 h 2054"/>
                  <a:gd name="T102" fmla="*/ 960 w 1994"/>
                  <a:gd name="T103" fmla="*/ 2010 h 2054"/>
                  <a:gd name="T104" fmla="*/ 844 w 1994"/>
                  <a:gd name="T105" fmla="*/ 2048 h 2054"/>
                  <a:gd name="T106" fmla="*/ 789 w 1994"/>
                  <a:gd name="T107" fmla="*/ 2030 h 2054"/>
                  <a:gd name="T108" fmla="*/ 759 w 1994"/>
                  <a:gd name="T109" fmla="*/ 1924 h 2054"/>
                  <a:gd name="T110" fmla="*/ 669 w 1994"/>
                  <a:gd name="T111" fmla="*/ 1869 h 2054"/>
                  <a:gd name="T112" fmla="*/ 663 w 1994"/>
                  <a:gd name="T113" fmla="*/ 1783 h 2054"/>
                  <a:gd name="T114" fmla="*/ 574 w 1994"/>
                  <a:gd name="T115" fmla="*/ 1695 h 2054"/>
                  <a:gd name="T116" fmla="*/ 508 w 1994"/>
                  <a:gd name="T117" fmla="*/ 1681 h 2054"/>
                  <a:gd name="T118" fmla="*/ 400 w 1994"/>
                  <a:gd name="T119" fmla="*/ 1701 h 2054"/>
                  <a:gd name="T120" fmla="*/ 327 w 1994"/>
                  <a:gd name="T121" fmla="*/ 1629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994" h="2054">
                    <a:moveTo>
                      <a:pt x="327" y="1629"/>
                    </a:moveTo>
                    <a:lnTo>
                      <a:pt x="320" y="1626"/>
                    </a:lnTo>
                    <a:lnTo>
                      <a:pt x="313" y="1623"/>
                    </a:lnTo>
                    <a:lnTo>
                      <a:pt x="309" y="1618"/>
                    </a:lnTo>
                    <a:lnTo>
                      <a:pt x="305" y="1613"/>
                    </a:lnTo>
                    <a:lnTo>
                      <a:pt x="303" y="1607"/>
                    </a:lnTo>
                    <a:lnTo>
                      <a:pt x="301" y="1599"/>
                    </a:lnTo>
                    <a:lnTo>
                      <a:pt x="299" y="1592"/>
                    </a:lnTo>
                    <a:lnTo>
                      <a:pt x="298" y="1585"/>
                    </a:lnTo>
                    <a:lnTo>
                      <a:pt x="296" y="1568"/>
                    </a:lnTo>
                    <a:lnTo>
                      <a:pt x="294" y="1553"/>
                    </a:lnTo>
                    <a:lnTo>
                      <a:pt x="292" y="1545"/>
                    </a:lnTo>
                    <a:lnTo>
                      <a:pt x="289" y="1536"/>
                    </a:lnTo>
                    <a:lnTo>
                      <a:pt x="285" y="1529"/>
                    </a:lnTo>
                    <a:lnTo>
                      <a:pt x="280" y="1523"/>
                    </a:lnTo>
                    <a:lnTo>
                      <a:pt x="273" y="1515"/>
                    </a:lnTo>
                    <a:lnTo>
                      <a:pt x="268" y="1505"/>
                    </a:lnTo>
                    <a:lnTo>
                      <a:pt x="264" y="1497"/>
                    </a:lnTo>
                    <a:lnTo>
                      <a:pt x="260" y="1489"/>
                    </a:lnTo>
                    <a:lnTo>
                      <a:pt x="254" y="1471"/>
                    </a:lnTo>
                    <a:lnTo>
                      <a:pt x="244" y="1452"/>
                    </a:lnTo>
                    <a:lnTo>
                      <a:pt x="240" y="1444"/>
                    </a:lnTo>
                    <a:lnTo>
                      <a:pt x="234" y="1438"/>
                    </a:lnTo>
                    <a:lnTo>
                      <a:pt x="228" y="1433"/>
                    </a:lnTo>
                    <a:lnTo>
                      <a:pt x="222" y="1428"/>
                    </a:lnTo>
                    <a:lnTo>
                      <a:pt x="216" y="1423"/>
                    </a:lnTo>
                    <a:lnTo>
                      <a:pt x="211" y="1418"/>
                    </a:lnTo>
                    <a:lnTo>
                      <a:pt x="209" y="1415"/>
                    </a:lnTo>
                    <a:lnTo>
                      <a:pt x="208" y="1410"/>
                    </a:lnTo>
                    <a:lnTo>
                      <a:pt x="207" y="1407"/>
                    </a:lnTo>
                    <a:lnTo>
                      <a:pt x="207" y="1402"/>
                    </a:lnTo>
                    <a:lnTo>
                      <a:pt x="207" y="1397"/>
                    </a:lnTo>
                    <a:lnTo>
                      <a:pt x="208" y="1392"/>
                    </a:lnTo>
                    <a:lnTo>
                      <a:pt x="210" y="1387"/>
                    </a:lnTo>
                    <a:lnTo>
                      <a:pt x="212" y="1382"/>
                    </a:lnTo>
                    <a:lnTo>
                      <a:pt x="217" y="1375"/>
                    </a:lnTo>
                    <a:lnTo>
                      <a:pt x="226" y="1367"/>
                    </a:lnTo>
                    <a:lnTo>
                      <a:pt x="244" y="1372"/>
                    </a:lnTo>
                    <a:lnTo>
                      <a:pt x="255" y="1368"/>
                    </a:lnTo>
                    <a:lnTo>
                      <a:pt x="263" y="1365"/>
                    </a:lnTo>
                    <a:lnTo>
                      <a:pt x="272" y="1363"/>
                    </a:lnTo>
                    <a:lnTo>
                      <a:pt x="282" y="1363"/>
                    </a:lnTo>
                    <a:lnTo>
                      <a:pt x="300" y="1362"/>
                    </a:lnTo>
                    <a:lnTo>
                      <a:pt x="315" y="1362"/>
                    </a:lnTo>
                    <a:lnTo>
                      <a:pt x="331" y="1362"/>
                    </a:lnTo>
                    <a:lnTo>
                      <a:pt x="348" y="1362"/>
                    </a:lnTo>
                    <a:lnTo>
                      <a:pt x="348" y="1334"/>
                    </a:lnTo>
                    <a:lnTo>
                      <a:pt x="347" y="1328"/>
                    </a:lnTo>
                    <a:lnTo>
                      <a:pt x="346" y="1322"/>
                    </a:lnTo>
                    <a:lnTo>
                      <a:pt x="344" y="1317"/>
                    </a:lnTo>
                    <a:lnTo>
                      <a:pt x="341" y="1312"/>
                    </a:lnTo>
                    <a:lnTo>
                      <a:pt x="334" y="1305"/>
                    </a:lnTo>
                    <a:lnTo>
                      <a:pt x="325" y="1299"/>
                    </a:lnTo>
                    <a:lnTo>
                      <a:pt x="314" y="1294"/>
                    </a:lnTo>
                    <a:lnTo>
                      <a:pt x="303" y="1287"/>
                    </a:lnTo>
                    <a:lnTo>
                      <a:pt x="293" y="1281"/>
                    </a:lnTo>
                    <a:lnTo>
                      <a:pt x="282" y="1273"/>
                    </a:lnTo>
                    <a:lnTo>
                      <a:pt x="275" y="1265"/>
                    </a:lnTo>
                    <a:lnTo>
                      <a:pt x="270" y="1257"/>
                    </a:lnTo>
                    <a:lnTo>
                      <a:pt x="266" y="1249"/>
                    </a:lnTo>
                    <a:lnTo>
                      <a:pt x="263" y="1241"/>
                    </a:lnTo>
                    <a:lnTo>
                      <a:pt x="260" y="1233"/>
                    </a:lnTo>
                    <a:lnTo>
                      <a:pt x="257" y="1225"/>
                    </a:lnTo>
                    <a:lnTo>
                      <a:pt x="253" y="1215"/>
                    </a:lnTo>
                    <a:lnTo>
                      <a:pt x="247" y="1207"/>
                    </a:lnTo>
                    <a:lnTo>
                      <a:pt x="232" y="1187"/>
                    </a:lnTo>
                    <a:lnTo>
                      <a:pt x="216" y="1171"/>
                    </a:lnTo>
                    <a:lnTo>
                      <a:pt x="209" y="1163"/>
                    </a:lnTo>
                    <a:lnTo>
                      <a:pt x="204" y="1154"/>
                    </a:lnTo>
                    <a:lnTo>
                      <a:pt x="203" y="1149"/>
                    </a:lnTo>
                    <a:lnTo>
                      <a:pt x="201" y="1144"/>
                    </a:lnTo>
                    <a:lnTo>
                      <a:pt x="200" y="1138"/>
                    </a:lnTo>
                    <a:lnTo>
                      <a:pt x="200" y="1132"/>
                    </a:lnTo>
                    <a:lnTo>
                      <a:pt x="200" y="1083"/>
                    </a:lnTo>
                    <a:lnTo>
                      <a:pt x="200" y="1078"/>
                    </a:lnTo>
                    <a:lnTo>
                      <a:pt x="199" y="1073"/>
                    </a:lnTo>
                    <a:lnTo>
                      <a:pt x="197" y="1069"/>
                    </a:lnTo>
                    <a:lnTo>
                      <a:pt x="196" y="1064"/>
                    </a:lnTo>
                    <a:lnTo>
                      <a:pt x="191" y="1056"/>
                    </a:lnTo>
                    <a:lnTo>
                      <a:pt x="186" y="1048"/>
                    </a:lnTo>
                    <a:lnTo>
                      <a:pt x="180" y="1041"/>
                    </a:lnTo>
                    <a:lnTo>
                      <a:pt x="176" y="1032"/>
                    </a:lnTo>
                    <a:lnTo>
                      <a:pt x="174" y="1028"/>
                    </a:lnTo>
                    <a:lnTo>
                      <a:pt x="173" y="1023"/>
                    </a:lnTo>
                    <a:lnTo>
                      <a:pt x="172" y="1018"/>
                    </a:lnTo>
                    <a:lnTo>
                      <a:pt x="171" y="1013"/>
                    </a:lnTo>
                    <a:lnTo>
                      <a:pt x="172" y="1008"/>
                    </a:lnTo>
                    <a:lnTo>
                      <a:pt x="174" y="1002"/>
                    </a:lnTo>
                    <a:lnTo>
                      <a:pt x="176" y="998"/>
                    </a:lnTo>
                    <a:lnTo>
                      <a:pt x="178" y="994"/>
                    </a:lnTo>
                    <a:lnTo>
                      <a:pt x="181" y="990"/>
                    </a:lnTo>
                    <a:lnTo>
                      <a:pt x="183" y="986"/>
                    </a:lnTo>
                    <a:lnTo>
                      <a:pt x="186" y="981"/>
                    </a:lnTo>
                    <a:lnTo>
                      <a:pt x="186" y="976"/>
                    </a:lnTo>
                    <a:lnTo>
                      <a:pt x="186" y="966"/>
                    </a:lnTo>
                    <a:lnTo>
                      <a:pt x="184" y="959"/>
                    </a:lnTo>
                    <a:lnTo>
                      <a:pt x="182" y="952"/>
                    </a:lnTo>
                    <a:lnTo>
                      <a:pt x="179" y="945"/>
                    </a:lnTo>
                    <a:lnTo>
                      <a:pt x="176" y="938"/>
                    </a:lnTo>
                    <a:lnTo>
                      <a:pt x="172" y="932"/>
                    </a:lnTo>
                    <a:lnTo>
                      <a:pt x="168" y="926"/>
                    </a:lnTo>
                    <a:lnTo>
                      <a:pt x="163" y="921"/>
                    </a:lnTo>
                    <a:lnTo>
                      <a:pt x="153" y="911"/>
                    </a:lnTo>
                    <a:lnTo>
                      <a:pt x="140" y="900"/>
                    </a:lnTo>
                    <a:lnTo>
                      <a:pt x="127" y="891"/>
                    </a:lnTo>
                    <a:lnTo>
                      <a:pt x="112" y="881"/>
                    </a:lnTo>
                    <a:lnTo>
                      <a:pt x="106" y="874"/>
                    </a:lnTo>
                    <a:lnTo>
                      <a:pt x="101" y="868"/>
                    </a:lnTo>
                    <a:lnTo>
                      <a:pt x="97" y="861"/>
                    </a:lnTo>
                    <a:lnTo>
                      <a:pt x="94" y="854"/>
                    </a:lnTo>
                    <a:lnTo>
                      <a:pt x="91" y="838"/>
                    </a:lnTo>
                    <a:lnTo>
                      <a:pt x="89" y="822"/>
                    </a:lnTo>
                    <a:lnTo>
                      <a:pt x="88" y="805"/>
                    </a:lnTo>
                    <a:lnTo>
                      <a:pt x="85" y="789"/>
                    </a:lnTo>
                    <a:lnTo>
                      <a:pt x="83" y="780"/>
                    </a:lnTo>
                    <a:lnTo>
                      <a:pt x="80" y="772"/>
                    </a:lnTo>
                    <a:lnTo>
                      <a:pt x="76" y="765"/>
                    </a:lnTo>
                    <a:lnTo>
                      <a:pt x="70" y="758"/>
                    </a:lnTo>
                    <a:lnTo>
                      <a:pt x="66" y="755"/>
                    </a:lnTo>
                    <a:lnTo>
                      <a:pt x="62" y="751"/>
                    </a:lnTo>
                    <a:lnTo>
                      <a:pt x="57" y="748"/>
                    </a:lnTo>
                    <a:lnTo>
                      <a:pt x="51" y="745"/>
                    </a:lnTo>
                    <a:lnTo>
                      <a:pt x="41" y="741"/>
                    </a:lnTo>
                    <a:lnTo>
                      <a:pt x="31" y="738"/>
                    </a:lnTo>
                    <a:lnTo>
                      <a:pt x="22" y="734"/>
                    </a:lnTo>
                    <a:lnTo>
                      <a:pt x="13" y="728"/>
                    </a:lnTo>
                    <a:lnTo>
                      <a:pt x="10" y="725"/>
                    </a:lnTo>
                    <a:lnTo>
                      <a:pt x="8" y="721"/>
                    </a:lnTo>
                    <a:lnTo>
                      <a:pt x="7" y="716"/>
                    </a:lnTo>
                    <a:lnTo>
                      <a:pt x="6" y="711"/>
                    </a:lnTo>
                    <a:lnTo>
                      <a:pt x="7" y="703"/>
                    </a:lnTo>
                    <a:lnTo>
                      <a:pt x="9" y="697"/>
                    </a:lnTo>
                    <a:lnTo>
                      <a:pt x="12" y="691"/>
                    </a:lnTo>
                    <a:lnTo>
                      <a:pt x="15" y="685"/>
                    </a:lnTo>
                    <a:lnTo>
                      <a:pt x="25" y="675"/>
                    </a:lnTo>
                    <a:lnTo>
                      <a:pt x="35" y="666"/>
                    </a:lnTo>
                    <a:lnTo>
                      <a:pt x="45" y="657"/>
                    </a:lnTo>
                    <a:lnTo>
                      <a:pt x="55" y="647"/>
                    </a:lnTo>
                    <a:lnTo>
                      <a:pt x="58" y="641"/>
                    </a:lnTo>
                    <a:lnTo>
                      <a:pt x="61" y="635"/>
                    </a:lnTo>
                    <a:lnTo>
                      <a:pt x="63" y="629"/>
                    </a:lnTo>
                    <a:lnTo>
                      <a:pt x="63" y="621"/>
                    </a:lnTo>
                    <a:lnTo>
                      <a:pt x="62" y="608"/>
                    </a:lnTo>
                    <a:lnTo>
                      <a:pt x="60" y="598"/>
                    </a:lnTo>
                    <a:lnTo>
                      <a:pt x="56" y="587"/>
                    </a:lnTo>
                    <a:lnTo>
                      <a:pt x="50" y="578"/>
                    </a:lnTo>
                    <a:lnTo>
                      <a:pt x="44" y="569"/>
                    </a:lnTo>
                    <a:lnTo>
                      <a:pt x="38" y="558"/>
                    </a:lnTo>
                    <a:lnTo>
                      <a:pt x="33" y="548"/>
                    </a:lnTo>
                    <a:lnTo>
                      <a:pt x="28" y="536"/>
                    </a:lnTo>
                    <a:lnTo>
                      <a:pt x="21" y="512"/>
                    </a:lnTo>
                    <a:lnTo>
                      <a:pt x="15" y="490"/>
                    </a:lnTo>
                    <a:lnTo>
                      <a:pt x="12" y="479"/>
                    </a:lnTo>
                    <a:lnTo>
                      <a:pt x="9" y="468"/>
                    </a:lnTo>
                    <a:lnTo>
                      <a:pt x="5" y="456"/>
                    </a:lnTo>
                    <a:lnTo>
                      <a:pt x="0" y="444"/>
                    </a:lnTo>
                    <a:lnTo>
                      <a:pt x="0" y="444"/>
                    </a:lnTo>
                    <a:lnTo>
                      <a:pt x="9" y="439"/>
                    </a:lnTo>
                    <a:lnTo>
                      <a:pt x="17" y="432"/>
                    </a:lnTo>
                    <a:lnTo>
                      <a:pt x="25" y="426"/>
                    </a:lnTo>
                    <a:lnTo>
                      <a:pt x="31" y="420"/>
                    </a:lnTo>
                    <a:lnTo>
                      <a:pt x="36" y="412"/>
                    </a:lnTo>
                    <a:lnTo>
                      <a:pt x="40" y="405"/>
                    </a:lnTo>
                    <a:lnTo>
                      <a:pt x="44" y="396"/>
                    </a:lnTo>
                    <a:lnTo>
                      <a:pt x="46" y="388"/>
                    </a:lnTo>
                    <a:lnTo>
                      <a:pt x="49" y="379"/>
                    </a:lnTo>
                    <a:lnTo>
                      <a:pt x="50" y="369"/>
                    </a:lnTo>
                    <a:lnTo>
                      <a:pt x="51" y="359"/>
                    </a:lnTo>
                    <a:lnTo>
                      <a:pt x="52" y="350"/>
                    </a:lnTo>
                    <a:lnTo>
                      <a:pt x="54" y="329"/>
                    </a:lnTo>
                    <a:lnTo>
                      <a:pt x="54" y="308"/>
                    </a:lnTo>
                    <a:lnTo>
                      <a:pt x="72" y="317"/>
                    </a:lnTo>
                    <a:lnTo>
                      <a:pt x="91" y="314"/>
                    </a:lnTo>
                    <a:lnTo>
                      <a:pt x="107" y="312"/>
                    </a:lnTo>
                    <a:lnTo>
                      <a:pt x="123" y="310"/>
                    </a:lnTo>
                    <a:lnTo>
                      <a:pt x="141" y="310"/>
                    </a:lnTo>
                    <a:lnTo>
                      <a:pt x="147" y="311"/>
                    </a:lnTo>
                    <a:lnTo>
                      <a:pt x="153" y="313"/>
                    </a:lnTo>
                    <a:lnTo>
                      <a:pt x="158" y="316"/>
                    </a:lnTo>
                    <a:lnTo>
                      <a:pt x="162" y="319"/>
                    </a:lnTo>
                    <a:lnTo>
                      <a:pt x="167" y="322"/>
                    </a:lnTo>
                    <a:lnTo>
                      <a:pt x="172" y="325"/>
                    </a:lnTo>
                    <a:lnTo>
                      <a:pt x="177" y="327"/>
                    </a:lnTo>
                    <a:lnTo>
                      <a:pt x="183" y="328"/>
                    </a:lnTo>
                    <a:lnTo>
                      <a:pt x="192" y="328"/>
                    </a:lnTo>
                    <a:lnTo>
                      <a:pt x="199" y="326"/>
                    </a:lnTo>
                    <a:lnTo>
                      <a:pt x="205" y="323"/>
                    </a:lnTo>
                    <a:lnTo>
                      <a:pt x="211" y="320"/>
                    </a:lnTo>
                    <a:lnTo>
                      <a:pt x="217" y="317"/>
                    </a:lnTo>
                    <a:lnTo>
                      <a:pt x="225" y="315"/>
                    </a:lnTo>
                    <a:lnTo>
                      <a:pt x="232" y="313"/>
                    </a:lnTo>
                    <a:lnTo>
                      <a:pt x="240" y="312"/>
                    </a:lnTo>
                    <a:lnTo>
                      <a:pt x="247" y="313"/>
                    </a:lnTo>
                    <a:lnTo>
                      <a:pt x="254" y="315"/>
                    </a:lnTo>
                    <a:lnTo>
                      <a:pt x="260" y="318"/>
                    </a:lnTo>
                    <a:lnTo>
                      <a:pt x="265" y="322"/>
                    </a:lnTo>
                    <a:lnTo>
                      <a:pt x="275" y="331"/>
                    </a:lnTo>
                    <a:lnTo>
                      <a:pt x="283" y="343"/>
                    </a:lnTo>
                    <a:lnTo>
                      <a:pt x="293" y="354"/>
                    </a:lnTo>
                    <a:lnTo>
                      <a:pt x="302" y="363"/>
                    </a:lnTo>
                    <a:lnTo>
                      <a:pt x="307" y="367"/>
                    </a:lnTo>
                    <a:lnTo>
                      <a:pt x="313" y="371"/>
                    </a:lnTo>
                    <a:lnTo>
                      <a:pt x="320" y="373"/>
                    </a:lnTo>
                    <a:lnTo>
                      <a:pt x="327" y="374"/>
                    </a:lnTo>
                    <a:lnTo>
                      <a:pt x="336" y="373"/>
                    </a:lnTo>
                    <a:lnTo>
                      <a:pt x="344" y="372"/>
                    </a:lnTo>
                    <a:lnTo>
                      <a:pt x="353" y="368"/>
                    </a:lnTo>
                    <a:lnTo>
                      <a:pt x="360" y="365"/>
                    </a:lnTo>
                    <a:lnTo>
                      <a:pt x="366" y="361"/>
                    </a:lnTo>
                    <a:lnTo>
                      <a:pt x="372" y="356"/>
                    </a:lnTo>
                    <a:lnTo>
                      <a:pt x="378" y="351"/>
                    </a:lnTo>
                    <a:lnTo>
                      <a:pt x="384" y="346"/>
                    </a:lnTo>
                    <a:lnTo>
                      <a:pt x="405" y="319"/>
                    </a:lnTo>
                    <a:lnTo>
                      <a:pt x="429" y="291"/>
                    </a:lnTo>
                    <a:lnTo>
                      <a:pt x="441" y="279"/>
                    </a:lnTo>
                    <a:lnTo>
                      <a:pt x="455" y="269"/>
                    </a:lnTo>
                    <a:lnTo>
                      <a:pt x="468" y="262"/>
                    </a:lnTo>
                    <a:lnTo>
                      <a:pt x="483" y="256"/>
                    </a:lnTo>
                    <a:lnTo>
                      <a:pt x="510" y="243"/>
                    </a:lnTo>
                    <a:lnTo>
                      <a:pt x="541" y="229"/>
                    </a:lnTo>
                    <a:lnTo>
                      <a:pt x="552" y="223"/>
                    </a:lnTo>
                    <a:lnTo>
                      <a:pt x="560" y="216"/>
                    </a:lnTo>
                    <a:lnTo>
                      <a:pt x="566" y="208"/>
                    </a:lnTo>
                    <a:lnTo>
                      <a:pt x="571" y="200"/>
                    </a:lnTo>
                    <a:lnTo>
                      <a:pt x="575" y="191"/>
                    </a:lnTo>
                    <a:lnTo>
                      <a:pt x="578" y="182"/>
                    </a:lnTo>
                    <a:lnTo>
                      <a:pt x="582" y="172"/>
                    </a:lnTo>
                    <a:lnTo>
                      <a:pt x="584" y="162"/>
                    </a:lnTo>
                    <a:lnTo>
                      <a:pt x="588" y="140"/>
                    </a:lnTo>
                    <a:lnTo>
                      <a:pt x="593" y="120"/>
                    </a:lnTo>
                    <a:lnTo>
                      <a:pt x="596" y="109"/>
                    </a:lnTo>
                    <a:lnTo>
                      <a:pt x="600" y="98"/>
                    </a:lnTo>
                    <a:lnTo>
                      <a:pt x="606" y="89"/>
                    </a:lnTo>
                    <a:lnTo>
                      <a:pt x="612" y="78"/>
                    </a:lnTo>
                    <a:lnTo>
                      <a:pt x="620" y="66"/>
                    </a:lnTo>
                    <a:lnTo>
                      <a:pt x="627" y="53"/>
                    </a:lnTo>
                    <a:lnTo>
                      <a:pt x="631" y="48"/>
                    </a:lnTo>
                    <a:lnTo>
                      <a:pt x="635" y="44"/>
                    </a:lnTo>
                    <a:lnTo>
                      <a:pt x="641" y="41"/>
                    </a:lnTo>
                    <a:lnTo>
                      <a:pt x="648" y="40"/>
                    </a:lnTo>
                    <a:lnTo>
                      <a:pt x="657" y="41"/>
                    </a:lnTo>
                    <a:lnTo>
                      <a:pt x="665" y="44"/>
                    </a:lnTo>
                    <a:lnTo>
                      <a:pt x="672" y="46"/>
                    </a:lnTo>
                    <a:lnTo>
                      <a:pt x="682" y="47"/>
                    </a:lnTo>
                    <a:lnTo>
                      <a:pt x="732" y="47"/>
                    </a:lnTo>
                    <a:lnTo>
                      <a:pt x="753" y="46"/>
                    </a:lnTo>
                    <a:lnTo>
                      <a:pt x="770" y="44"/>
                    </a:lnTo>
                    <a:lnTo>
                      <a:pt x="788" y="41"/>
                    </a:lnTo>
                    <a:lnTo>
                      <a:pt x="808" y="40"/>
                    </a:lnTo>
                    <a:lnTo>
                      <a:pt x="855" y="40"/>
                    </a:lnTo>
                    <a:lnTo>
                      <a:pt x="873" y="41"/>
                    </a:lnTo>
                    <a:lnTo>
                      <a:pt x="890" y="43"/>
                    </a:lnTo>
                    <a:lnTo>
                      <a:pt x="906" y="46"/>
                    </a:lnTo>
                    <a:lnTo>
                      <a:pt x="922" y="49"/>
                    </a:lnTo>
                    <a:lnTo>
                      <a:pt x="937" y="53"/>
                    </a:lnTo>
                    <a:lnTo>
                      <a:pt x="953" y="57"/>
                    </a:lnTo>
                    <a:lnTo>
                      <a:pt x="969" y="59"/>
                    </a:lnTo>
                    <a:lnTo>
                      <a:pt x="989" y="60"/>
                    </a:lnTo>
                    <a:lnTo>
                      <a:pt x="1007" y="59"/>
                    </a:lnTo>
                    <a:lnTo>
                      <a:pt x="1025" y="57"/>
                    </a:lnTo>
                    <a:lnTo>
                      <a:pt x="1041" y="55"/>
                    </a:lnTo>
                    <a:lnTo>
                      <a:pt x="1057" y="50"/>
                    </a:lnTo>
                    <a:lnTo>
                      <a:pt x="1088" y="42"/>
                    </a:lnTo>
                    <a:lnTo>
                      <a:pt x="1117" y="32"/>
                    </a:lnTo>
                    <a:lnTo>
                      <a:pt x="1146" y="23"/>
                    </a:lnTo>
                    <a:lnTo>
                      <a:pt x="1177" y="13"/>
                    </a:lnTo>
                    <a:lnTo>
                      <a:pt x="1192" y="10"/>
                    </a:lnTo>
                    <a:lnTo>
                      <a:pt x="1209" y="7"/>
                    </a:lnTo>
                    <a:lnTo>
                      <a:pt x="1226" y="6"/>
                    </a:lnTo>
                    <a:lnTo>
                      <a:pt x="1245" y="5"/>
                    </a:lnTo>
                    <a:lnTo>
                      <a:pt x="1298" y="5"/>
                    </a:lnTo>
                    <a:lnTo>
                      <a:pt x="1306" y="4"/>
                    </a:lnTo>
                    <a:lnTo>
                      <a:pt x="1315" y="3"/>
                    </a:lnTo>
                    <a:lnTo>
                      <a:pt x="1323" y="1"/>
                    </a:lnTo>
                    <a:lnTo>
                      <a:pt x="1331" y="0"/>
                    </a:lnTo>
                    <a:lnTo>
                      <a:pt x="1342" y="1"/>
                    </a:lnTo>
                    <a:lnTo>
                      <a:pt x="1352" y="3"/>
                    </a:lnTo>
                    <a:lnTo>
                      <a:pt x="1361" y="5"/>
                    </a:lnTo>
                    <a:lnTo>
                      <a:pt x="1369" y="9"/>
                    </a:lnTo>
                    <a:lnTo>
                      <a:pt x="1386" y="17"/>
                    </a:lnTo>
                    <a:lnTo>
                      <a:pt x="1401" y="28"/>
                    </a:lnTo>
                    <a:lnTo>
                      <a:pt x="1417" y="37"/>
                    </a:lnTo>
                    <a:lnTo>
                      <a:pt x="1433" y="46"/>
                    </a:lnTo>
                    <a:lnTo>
                      <a:pt x="1442" y="49"/>
                    </a:lnTo>
                    <a:lnTo>
                      <a:pt x="1451" y="52"/>
                    </a:lnTo>
                    <a:lnTo>
                      <a:pt x="1460" y="53"/>
                    </a:lnTo>
                    <a:lnTo>
                      <a:pt x="1471" y="55"/>
                    </a:lnTo>
                    <a:lnTo>
                      <a:pt x="1559" y="55"/>
                    </a:lnTo>
                    <a:lnTo>
                      <a:pt x="1583" y="56"/>
                    </a:lnTo>
                    <a:lnTo>
                      <a:pt x="1606" y="57"/>
                    </a:lnTo>
                    <a:lnTo>
                      <a:pt x="1626" y="59"/>
                    </a:lnTo>
                    <a:lnTo>
                      <a:pt x="1646" y="62"/>
                    </a:lnTo>
                    <a:lnTo>
                      <a:pt x="1665" y="65"/>
                    </a:lnTo>
                    <a:lnTo>
                      <a:pt x="1685" y="68"/>
                    </a:lnTo>
                    <a:lnTo>
                      <a:pt x="1705" y="71"/>
                    </a:lnTo>
                    <a:lnTo>
                      <a:pt x="1725" y="73"/>
                    </a:lnTo>
                    <a:lnTo>
                      <a:pt x="1725" y="73"/>
                    </a:lnTo>
                    <a:lnTo>
                      <a:pt x="1730" y="98"/>
                    </a:lnTo>
                    <a:lnTo>
                      <a:pt x="1734" y="120"/>
                    </a:lnTo>
                    <a:lnTo>
                      <a:pt x="1737" y="142"/>
                    </a:lnTo>
                    <a:lnTo>
                      <a:pt x="1737" y="168"/>
                    </a:lnTo>
                    <a:lnTo>
                      <a:pt x="1737" y="185"/>
                    </a:lnTo>
                    <a:lnTo>
                      <a:pt x="1734" y="200"/>
                    </a:lnTo>
                    <a:lnTo>
                      <a:pt x="1731" y="215"/>
                    </a:lnTo>
                    <a:lnTo>
                      <a:pt x="1727" y="228"/>
                    </a:lnTo>
                    <a:lnTo>
                      <a:pt x="1723" y="241"/>
                    </a:lnTo>
                    <a:lnTo>
                      <a:pt x="1717" y="254"/>
                    </a:lnTo>
                    <a:lnTo>
                      <a:pt x="1711" y="266"/>
                    </a:lnTo>
                    <a:lnTo>
                      <a:pt x="1704" y="279"/>
                    </a:lnTo>
                    <a:lnTo>
                      <a:pt x="1689" y="302"/>
                    </a:lnTo>
                    <a:lnTo>
                      <a:pt x="1672" y="326"/>
                    </a:lnTo>
                    <a:lnTo>
                      <a:pt x="1655" y="352"/>
                    </a:lnTo>
                    <a:lnTo>
                      <a:pt x="1638" y="381"/>
                    </a:lnTo>
                    <a:lnTo>
                      <a:pt x="1629" y="393"/>
                    </a:lnTo>
                    <a:lnTo>
                      <a:pt x="1621" y="406"/>
                    </a:lnTo>
                    <a:lnTo>
                      <a:pt x="1617" y="411"/>
                    </a:lnTo>
                    <a:lnTo>
                      <a:pt x="1615" y="417"/>
                    </a:lnTo>
                    <a:lnTo>
                      <a:pt x="1613" y="424"/>
                    </a:lnTo>
                    <a:lnTo>
                      <a:pt x="1612" y="432"/>
                    </a:lnTo>
                    <a:lnTo>
                      <a:pt x="1613" y="447"/>
                    </a:lnTo>
                    <a:lnTo>
                      <a:pt x="1616" y="461"/>
                    </a:lnTo>
                    <a:lnTo>
                      <a:pt x="1620" y="475"/>
                    </a:lnTo>
                    <a:lnTo>
                      <a:pt x="1625" y="487"/>
                    </a:lnTo>
                    <a:lnTo>
                      <a:pt x="1631" y="499"/>
                    </a:lnTo>
                    <a:lnTo>
                      <a:pt x="1639" y="510"/>
                    </a:lnTo>
                    <a:lnTo>
                      <a:pt x="1646" y="520"/>
                    </a:lnTo>
                    <a:lnTo>
                      <a:pt x="1653" y="532"/>
                    </a:lnTo>
                    <a:lnTo>
                      <a:pt x="1661" y="542"/>
                    </a:lnTo>
                    <a:lnTo>
                      <a:pt x="1668" y="553"/>
                    </a:lnTo>
                    <a:lnTo>
                      <a:pt x="1676" y="565"/>
                    </a:lnTo>
                    <a:lnTo>
                      <a:pt x="1682" y="576"/>
                    </a:lnTo>
                    <a:lnTo>
                      <a:pt x="1687" y="588"/>
                    </a:lnTo>
                    <a:lnTo>
                      <a:pt x="1691" y="602"/>
                    </a:lnTo>
                    <a:lnTo>
                      <a:pt x="1693" y="615"/>
                    </a:lnTo>
                    <a:lnTo>
                      <a:pt x="1694" y="631"/>
                    </a:lnTo>
                    <a:lnTo>
                      <a:pt x="1694" y="638"/>
                    </a:lnTo>
                    <a:lnTo>
                      <a:pt x="1693" y="645"/>
                    </a:lnTo>
                    <a:lnTo>
                      <a:pt x="1691" y="651"/>
                    </a:lnTo>
                    <a:lnTo>
                      <a:pt x="1690" y="658"/>
                    </a:lnTo>
                    <a:lnTo>
                      <a:pt x="1688" y="664"/>
                    </a:lnTo>
                    <a:lnTo>
                      <a:pt x="1687" y="670"/>
                    </a:lnTo>
                    <a:lnTo>
                      <a:pt x="1685" y="677"/>
                    </a:lnTo>
                    <a:lnTo>
                      <a:pt x="1685" y="684"/>
                    </a:lnTo>
                    <a:lnTo>
                      <a:pt x="1685" y="732"/>
                    </a:lnTo>
                    <a:lnTo>
                      <a:pt x="1692" y="741"/>
                    </a:lnTo>
                    <a:lnTo>
                      <a:pt x="1722" y="733"/>
                    </a:lnTo>
                    <a:lnTo>
                      <a:pt x="1748" y="725"/>
                    </a:lnTo>
                    <a:lnTo>
                      <a:pt x="1761" y="721"/>
                    </a:lnTo>
                    <a:lnTo>
                      <a:pt x="1775" y="719"/>
                    </a:lnTo>
                    <a:lnTo>
                      <a:pt x="1789" y="716"/>
                    </a:lnTo>
                    <a:lnTo>
                      <a:pt x="1806" y="715"/>
                    </a:lnTo>
                    <a:lnTo>
                      <a:pt x="1809" y="716"/>
                    </a:lnTo>
                    <a:lnTo>
                      <a:pt x="1812" y="719"/>
                    </a:lnTo>
                    <a:lnTo>
                      <a:pt x="1813" y="721"/>
                    </a:lnTo>
                    <a:lnTo>
                      <a:pt x="1814" y="725"/>
                    </a:lnTo>
                    <a:lnTo>
                      <a:pt x="1815" y="733"/>
                    </a:lnTo>
                    <a:lnTo>
                      <a:pt x="1817" y="741"/>
                    </a:lnTo>
                    <a:lnTo>
                      <a:pt x="1822" y="755"/>
                    </a:lnTo>
                    <a:lnTo>
                      <a:pt x="1827" y="765"/>
                    </a:lnTo>
                    <a:lnTo>
                      <a:pt x="1832" y="776"/>
                    </a:lnTo>
                    <a:lnTo>
                      <a:pt x="1839" y="789"/>
                    </a:lnTo>
                    <a:lnTo>
                      <a:pt x="1857" y="824"/>
                    </a:lnTo>
                    <a:lnTo>
                      <a:pt x="1875" y="854"/>
                    </a:lnTo>
                    <a:lnTo>
                      <a:pt x="1883" y="869"/>
                    </a:lnTo>
                    <a:lnTo>
                      <a:pt x="1889" y="886"/>
                    </a:lnTo>
                    <a:lnTo>
                      <a:pt x="1891" y="894"/>
                    </a:lnTo>
                    <a:lnTo>
                      <a:pt x="1893" y="903"/>
                    </a:lnTo>
                    <a:lnTo>
                      <a:pt x="1894" y="913"/>
                    </a:lnTo>
                    <a:lnTo>
                      <a:pt x="1895" y="923"/>
                    </a:lnTo>
                    <a:lnTo>
                      <a:pt x="1894" y="929"/>
                    </a:lnTo>
                    <a:lnTo>
                      <a:pt x="1891" y="933"/>
                    </a:lnTo>
                    <a:lnTo>
                      <a:pt x="1889" y="937"/>
                    </a:lnTo>
                    <a:lnTo>
                      <a:pt x="1885" y="943"/>
                    </a:lnTo>
                    <a:lnTo>
                      <a:pt x="1888" y="952"/>
                    </a:lnTo>
                    <a:lnTo>
                      <a:pt x="1907" y="958"/>
                    </a:lnTo>
                    <a:lnTo>
                      <a:pt x="1924" y="966"/>
                    </a:lnTo>
                    <a:lnTo>
                      <a:pt x="1932" y="972"/>
                    </a:lnTo>
                    <a:lnTo>
                      <a:pt x="1940" y="977"/>
                    </a:lnTo>
                    <a:lnTo>
                      <a:pt x="1947" y="982"/>
                    </a:lnTo>
                    <a:lnTo>
                      <a:pt x="1954" y="987"/>
                    </a:lnTo>
                    <a:lnTo>
                      <a:pt x="1960" y="994"/>
                    </a:lnTo>
                    <a:lnTo>
                      <a:pt x="1965" y="1000"/>
                    </a:lnTo>
                    <a:lnTo>
                      <a:pt x="1971" y="1008"/>
                    </a:lnTo>
                    <a:lnTo>
                      <a:pt x="1975" y="1015"/>
                    </a:lnTo>
                    <a:lnTo>
                      <a:pt x="1978" y="1023"/>
                    </a:lnTo>
                    <a:lnTo>
                      <a:pt x="1980" y="1032"/>
                    </a:lnTo>
                    <a:lnTo>
                      <a:pt x="1982" y="1041"/>
                    </a:lnTo>
                    <a:lnTo>
                      <a:pt x="1982" y="1051"/>
                    </a:lnTo>
                    <a:lnTo>
                      <a:pt x="1981" y="1058"/>
                    </a:lnTo>
                    <a:lnTo>
                      <a:pt x="1979" y="1063"/>
                    </a:lnTo>
                    <a:lnTo>
                      <a:pt x="1975" y="1069"/>
                    </a:lnTo>
                    <a:lnTo>
                      <a:pt x="1970" y="1073"/>
                    </a:lnTo>
                    <a:lnTo>
                      <a:pt x="1957" y="1079"/>
                    </a:lnTo>
                    <a:lnTo>
                      <a:pt x="1942" y="1085"/>
                    </a:lnTo>
                    <a:lnTo>
                      <a:pt x="1927" y="1090"/>
                    </a:lnTo>
                    <a:lnTo>
                      <a:pt x="1915" y="1096"/>
                    </a:lnTo>
                    <a:lnTo>
                      <a:pt x="1910" y="1101"/>
                    </a:lnTo>
                    <a:lnTo>
                      <a:pt x="1906" y="1106"/>
                    </a:lnTo>
                    <a:lnTo>
                      <a:pt x="1903" y="1112"/>
                    </a:lnTo>
                    <a:lnTo>
                      <a:pt x="1902" y="1118"/>
                    </a:lnTo>
                    <a:lnTo>
                      <a:pt x="1903" y="1132"/>
                    </a:lnTo>
                    <a:lnTo>
                      <a:pt x="1904" y="1144"/>
                    </a:lnTo>
                    <a:lnTo>
                      <a:pt x="1905" y="1155"/>
                    </a:lnTo>
                    <a:lnTo>
                      <a:pt x="1905" y="1169"/>
                    </a:lnTo>
                    <a:lnTo>
                      <a:pt x="1914" y="1170"/>
                    </a:lnTo>
                    <a:lnTo>
                      <a:pt x="1923" y="1171"/>
                    </a:lnTo>
                    <a:lnTo>
                      <a:pt x="1931" y="1173"/>
                    </a:lnTo>
                    <a:lnTo>
                      <a:pt x="1940" y="1177"/>
                    </a:lnTo>
                    <a:lnTo>
                      <a:pt x="1948" y="1181"/>
                    </a:lnTo>
                    <a:lnTo>
                      <a:pt x="1955" y="1186"/>
                    </a:lnTo>
                    <a:lnTo>
                      <a:pt x="1962" y="1191"/>
                    </a:lnTo>
                    <a:lnTo>
                      <a:pt x="1969" y="1198"/>
                    </a:lnTo>
                    <a:lnTo>
                      <a:pt x="1974" y="1205"/>
                    </a:lnTo>
                    <a:lnTo>
                      <a:pt x="1979" y="1212"/>
                    </a:lnTo>
                    <a:lnTo>
                      <a:pt x="1983" y="1220"/>
                    </a:lnTo>
                    <a:lnTo>
                      <a:pt x="1987" y="1229"/>
                    </a:lnTo>
                    <a:lnTo>
                      <a:pt x="1990" y="1238"/>
                    </a:lnTo>
                    <a:lnTo>
                      <a:pt x="1992" y="1246"/>
                    </a:lnTo>
                    <a:lnTo>
                      <a:pt x="1993" y="1257"/>
                    </a:lnTo>
                    <a:lnTo>
                      <a:pt x="1994" y="1266"/>
                    </a:lnTo>
                    <a:lnTo>
                      <a:pt x="1993" y="1273"/>
                    </a:lnTo>
                    <a:lnTo>
                      <a:pt x="1992" y="1279"/>
                    </a:lnTo>
                    <a:lnTo>
                      <a:pt x="1989" y="1284"/>
                    </a:lnTo>
                    <a:lnTo>
                      <a:pt x="1986" y="1290"/>
                    </a:lnTo>
                    <a:lnTo>
                      <a:pt x="1978" y="1299"/>
                    </a:lnTo>
                    <a:lnTo>
                      <a:pt x="1969" y="1307"/>
                    </a:lnTo>
                    <a:lnTo>
                      <a:pt x="1958" y="1314"/>
                    </a:lnTo>
                    <a:lnTo>
                      <a:pt x="1948" y="1324"/>
                    </a:lnTo>
                    <a:lnTo>
                      <a:pt x="1944" y="1328"/>
                    </a:lnTo>
                    <a:lnTo>
                      <a:pt x="1939" y="1333"/>
                    </a:lnTo>
                    <a:lnTo>
                      <a:pt x="1936" y="1339"/>
                    </a:lnTo>
                    <a:lnTo>
                      <a:pt x="1932" y="1346"/>
                    </a:lnTo>
                    <a:lnTo>
                      <a:pt x="1920" y="1385"/>
                    </a:lnTo>
                    <a:lnTo>
                      <a:pt x="1910" y="1420"/>
                    </a:lnTo>
                    <a:lnTo>
                      <a:pt x="1906" y="1428"/>
                    </a:lnTo>
                    <a:lnTo>
                      <a:pt x="1903" y="1435"/>
                    </a:lnTo>
                    <a:lnTo>
                      <a:pt x="1898" y="1443"/>
                    </a:lnTo>
                    <a:lnTo>
                      <a:pt x="1893" y="1451"/>
                    </a:lnTo>
                    <a:lnTo>
                      <a:pt x="1888" y="1458"/>
                    </a:lnTo>
                    <a:lnTo>
                      <a:pt x="1882" y="1465"/>
                    </a:lnTo>
                    <a:lnTo>
                      <a:pt x="1875" y="1471"/>
                    </a:lnTo>
                    <a:lnTo>
                      <a:pt x="1866" y="1479"/>
                    </a:lnTo>
                    <a:lnTo>
                      <a:pt x="1851" y="1491"/>
                    </a:lnTo>
                    <a:lnTo>
                      <a:pt x="1839" y="1503"/>
                    </a:lnTo>
                    <a:lnTo>
                      <a:pt x="1828" y="1517"/>
                    </a:lnTo>
                    <a:lnTo>
                      <a:pt x="1820" y="1531"/>
                    </a:lnTo>
                    <a:lnTo>
                      <a:pt x="1812" y="1547"/>
                    </a:lnTo>
                    <a:lnTo>
                      <a:pt x="1805" y="1562"/>
                    </a:lnTo>
                    <a:lnTo>
                      <a:pt x="1798" y="1580"/>
                    </a:lnTo>
                    <a:lnTo>
                      <a:pt x="1791" y="1598"/>
                    </a:lnTo>
                    <a:lnTo>
                      <a:pt x="1786" y="1614"/>
                    </a:lnTo>
                    <a:lnTo>
                      <a:pt x="1781" y="1628"/>
                    </a:lnTo>
                    <a:lnTo>
                      <a:pt x="1776" y="1642"/>
                    </a:lnTo>
                    <a:lnTo>
                      <a:pt x="1770" y="1654"/>
                    </a:lnTo>
                    <a:lnTo>
                      <a:pt x="1766" y="1660"/>
                    </a:lnTo>
                    <a:lnTo>
                      <a:pt x="1762" y="1665"/>
                    </a:lnTo>
                    <a:lnTo>
                      <a:pt x="1758" y="1671"/>
                    </a:lnTo>
                    <a:lnTo>
                      <a:pt x="1753" y="1676"/>
                    </a:lnTo>
                    <a:lnTo>
                      <a:pt x="1748" y="1680"/>
                    </a:lnTo>
                    <a:lnTo>
                      <a:pt x="1742" y="1683"/>
                    </a:lnTo>
                    <a:lnTo>
                      <a:pt x="1734" y="1686"/>
                    </a:lnTo>
                    <a:lnTo>
                      <a:pt x="1727" y="1688"/>
                    </a:lnTo>
                    <a:lnTo>
                      <a:pt x="1720" y="1671"/>
                    </a:lnTo>
                    <a:lnTo>
                      <a:pt x="1714" y="1654"/>
                    </a:lnTo>
                    <a:lnTo>
                      <a:pt x="1707" y="1639"/>
                    </a:lnTo>
                    <a:lnTo>
                      <a:pt x="1697" y="1622"/>
                    </a:lnTo>
                    <a:lnTo>
                      <a:pt x="1678" y="1629"/>
                    </a:lnTo>
                    <a:lnTo>
                      <a:pt x="1660" y="1635"/>
                    </a:lnTo>
                    <a:lnTo>
                      <a:pt x="1651" y="1638"/>
                    </a:lnTo>
                    <a:lnTo>
                      <a:pt x="1642" y="1640"/>
                    </a:lnTo>
                    <a:lnTo>
                      <a:pt x="1632" y="1641"/>
                    </a:lnTo>
                    <a:lnTo>
                      <a:pt x="1621" y="1641"/>
                    </a:lnTo>
                    <a:lnTo>
                      <a:pt x="1613" y="1641"/>
                    </a:lnTo>
                    <a:lnTo>
                      <a:pt x="1605" y="1639"/>
                    </a:lnTo>
                    <a:lnTo>
                      <a:pt x="1597" y="1634"/>
                    </a:lnTo>
                    <a:lnTo>
                      <a:pt x="1591" y="1630"/>
                    </a:lnTo>
                    <a:lnTo>
                      <a:pt x="1585" y="1625"/>
                    </a:lnTo>
                    <a:lnTo>
                      <a:pt x="1580" y="1618"/>
                    </a:lnTo>
                    <a:lnTo>
                      <a:pt x="1576" y="1611"/>
                    </a:lnTo>
                    <a:lnTo>
                      <a:pt x="1572" y="1603"/>
                    </a:lnTo>
                    <a:lnTo>
                      <a:pt x="1535" y="1614"/>
                    </a:lnTo>
                    <a:lnTo>
                      <a:pt x="1502" y="1625"/>
                    </a:lnTo>
                    <a:lnTo>
                      <a:pt x="1495" y="1629"/>
                    </a:lnTo>
                    <a:lnTo>
                      <a:pt x="1488" y="1633"/>
                    </a:lnTo>
                    <a:lnTo>
                      <a:pt x="1482" y="1638"/>
                    </a:lnTo>
                    <a:lnTo>
                      <a:pt x="1476" y="1643"/>
                    </a:lnTo>
                    <a:lnTo>
                      <a:pt x="1469" y="1649"/>
                    </a:lnTo>
                    <a:lnTo>
                      <a:pt x="1464" y="1655"/>
                    </a:lnTo>
                    <a:lnTo>
                      <a:pt x="1459" y="1663"/>
                    </a:lnTo>
                    <a:lnTo>
                      <a:pt x="1454" y="1672"/>
                    </a:lnTo>
                    <a:lnTo>
                      <a:pt x="1446" y="1669"/>
                    </a:lnTo>
                    <a:lnTo>
                      <a:pt x="1438" y="1663"/>
                    </a:lnTo>
                    <a:lnTo>
                      <a:pt x="1432" y="1658"/>
                    </a:lnTo>
                    <a:lnTo>
                      <a:pt x="1426" y="1653"/>
                    </a:lnTo>
                    <a:lnTo>
                      <a:pt x="1420" y="1649"/>
                    </a:lnTo>
                    <a:lnTo>
                      <a:pt x="1414" y="1645"/>
                    </a:lnTo>
                    <a:lnTo>
                      <a:pt x="1407" y="1642"/>
                    </a:lnTo>
                    <a:lnTo>
                      <a:pt x="1397" y="1641"/>
                    </a:lnTo>
                    <a:lnTo>
                      <a:pt x="1393" y="1642"/>
                    </a:lnTo>
                    <a:lnTo>
                      <a:pt x="1389" y="1643"/>
                    </a:lnTo>
                    <a:lnTo>
                      <a:pt x="1386" y="1644"/>
                    </a:lnTo>
                    <a:lnTo>
                      <a:pt x="1382" y="1646"/>
                    </a:lnTo>
                    <a:lnTo>
                      <a:pt x="1377" y="1652"/>
                    </a:lnTo>
                    <a:lnTo>
                      <a:pt x="1371" y="1658"/>
                    </a:lnTo>
                    <a:lnTo>
                      <a:pt x="1367" y="1665"/>
                    </a:lnTo>
                    <a:lnTo>
                      <a:pt x="1362" y="1673"/>
                    </a:lnTo>
                    <a:lnTo>
                      <a:pt x="1359" y="1676"/>
                    </a:lnTo>
                    <a:lnTo>
                      <a:pt x="1356" y="1679"/>
                    </a:lnTo>
                    <a:lnTo>
                      <a:pt x="1352" y="1681"/>
                    </a:lnTo>
                    <a:lnTo>
                      <a:pt x="1348" y="1683"/>
                    </a:lnTo>
                    <a:lnTo>
                      <a:pt x="1335" y="1679"/>
                    </a:lnTo>
                    <a:lnTo>
                      <a:pt x="1322" y="1676"/>
                    </a:lnTo>
                    <a:lnTo>
                      <a:pt x="1316" y="1674"/>
                    </a:lnTo>
                    <a:lnTo>
                      <a:pt x="1311" y="1671"/>
                    </a:lnTo>
                    <a:lnTo>
                      <a:pt x="1304" y="1669"/>
                    </a:lnTo>
                    <a:lnTo>
                      <a:pt x="1298" y="1664"/>
                    </a:lnTo>
                    <a:lnTo>
                      <a:pt x="1296" y="1674"/>
                    </a:lnTo>
                    <a:lnTo>
                      <a:pt x="1300" y="1683"/>
                    </a:lnTo>
                    <a:lnTo>
                      <a:pt x="1300" y="1795"/>
                    </a:lnTo>
                    <a:lnTo>
                      <a:pt x="1294" y="1796"/>
                    </a:lnTo>
                    <a:lnTo>
                      <a:pt x="1287" y="1797"/>
                    </a:lnTo>
                    <a:lnTo>
                      <a:pt x="1278" y="1797"/>
                    </a:lnTo>
                    <a:lnTo>
                      <a:pt x="1268" y="1795"/>
                    </a:lnTo>
                    <a:lnTo>
                      <a:pt x="1260" y="1792"/>
                    </a:lnTo>
                    <a:lnTo>
                      <a:pt x="1253" y="1789"/>
                    </a:lnTo>
                    <a:lnTo>
                      <a:pt x="1246" y="1785"/>
                    </a:lnTo>
                    <a:lnTo>
                      <a:pt x="1238" y="1779"/>
                    </a:lnTo>
                    <a:lnTo>
                      <a:pt x="1232" y="1773"/>
                    </a:lnTo>
                    <a:lnTo>
                      <a:pt x="1225" y="1766"/>
                    </a:lnTo>
                    <a:lnTo>
                      <a:pt x="1220" y="1756"/>
                    </a:lnTo>
                    <a:lnTo>
                      <a:pt x="1216" y="1746"/>
                    </a:lnTo>
                    <a:lnTo>
                      <a:pt x="1214" y="1742"/>
                    </a:lnTo>
                    <a:lnTo>
                      <a:pt x="1211" y="1739"/>
                    </a:lnTo>
                    <a:lnTo>
                      <a:pt x="1206" y="1737"/>
                    </a:lnTo>
                    <a:lnTo>
                      <a:pt x="1201" y="1736"/>
                    </a:lnTo>
                    <a:lnTo>
                      <a:pt x="1193" y="1736"/>
                    </a:lnTo>
                    <a:lnTo>
                      <a:pt x="1185" y="1738"/>
                    </a:lnTo>
                    <a:lnTo>
                      <a:pt x="1178" y="1741"/>
                    </a:lnTo>
                    <a:lnTo>
                      <a:pt x="1170" y="1745"/>
                    </a:lnTo>
                    <a:lnTo>
                      <a:pt x="1156" y="1753"/>
                    </a:lnTo>
                    <a:lnTo>
                      <a:pt x="1140" y="1761"/>
                    </a:lnTo>
                    <a:lnTo>
                      <a:pt x="1151" y="1779"/>
                    </a:lnTo>
                    <a:lnTo>
                      <a:pt x="1159" y="1795"/>
                    </a:lnTo>
                    <a:lnTo>
                      <a:pt x="1167" y="1811"/>
                    </a:lnTo>
                    <a:lnTo>
                      <a:pt x="1173" y="1827"/>
                    </a:lnTo>
                    <a:lnTo>
                      <a:pt x="1179" y="1842"/>
                    </a:lnTo>
                    <a:lnTo>
                      <a:pt x="1183" y="1860"/>
                    </a:lnTo>
                    <a:lnTo>
                      <a:pt x="1185" y="1877"/>
                    </a:lnTo>
                    <a:lnTo>
                      <a:pt x="1185" y="1897"/>
                    </a:lnTo>
                    <a:lnTo>
                      <a:pt x="1185" y="1909"/>
                    </a:lnTo>
                    <a:lnTo>
                      <a:pt x="1183" y="1921"/>
                    </a:lnTo>
                    <a:lnTo>
                      <a:pt x="1179" y="1931"/>
                    </a:lnTo>
                    <a:lnTo>
                      <a:pt x="1174" y="1941"/>
                    </a:lnTo>
                    <a:lnTo>
                      <a:pt x="1169" y="1949"/>
                    </a:lnTo>
                    <a:lnTo>
                      <a:pt x="1163" y="1959"/>
                    </a:lnTo>
                    <a:lnTo>
                      <a:pt x="1157" y="1967"/>
                    </a:lnTo>
                    <a:lnTo>
                      <a:pt x="1151" y="1975"/>
                    </a:lnTo>
                    <a:lnTo>
                      <a:pt x="1137" y="1993"/>
                    </a:lnTo>
                    <a:lnTo>
                      <a:pt x="1124" y="2010"/>
                    </a:lnTo>
                    <a:lnTo>
                      <a:pt x="1119" y="2021"/>
                    </a:lnTo>
                    <a:lnTo>
                      <a:pt x="1114" y="2031"/>
                    </a:lnTo>
                    <a:lnTo>
                      <a:pt x="1111" y="2041"/>
                    </a:lnTo>
                    <a:lnTo>
                      <a:pt x="1107" y="2054"/>
                    </a:lnTo>
                    <a:lnTo>
                      <a:pt x="1107" y="2054"/>
                    </a:lnTo>
                    <a:lnTo>
                      <a:pt x="1084" y="2049"/>
                    </a:lnTo>
                    <a:lnTo>
                      <a:pt x="1062" y="2042"/>
                    </a:lnTo>
                    <a:lnTo>
                      <a:pt x="1041" y="2035"/>
                    </a:lnTo>
                    <a:lnTo>
                      <a:pt x="1022" y="2028"/>
                    </a:lnTo>
                    <a:lnTo>
                      <a:pt x="1002" y="2021"/>
                    </a:lnTo>
                    <a:lnTo>
                      <a:pt x="982" y="2014"/>
                    </a:lnTo>
                    <a:lnTo>
                      <a:pt x="971" y="2012"/>
                    </a:lnTo>
                    <a:lnTo>
                      <a:pt x="960" y="2010"/>
                    </a:lnTo>
                    <a:lnTo>
                      <a:pt x="949" y="2009"/>
                    </a:lnTo>
                    <a:lnTo>
                      <a:pt x="936" y="2009"/>
                    </a:lnTo>
                    <a:lnTo>
                      <a:pt x="928" y="2009"/>
                    </a:lnTo>
                    <a:lnTo>
                      <a:pt x="920" y="2011"/>
                    </a:lnTo>
                    <a:lnTo>
                      <a:pt x="912" y="2013"/>
                    </a:lnTo>
                    <a:lnTo>
                      <a:pt x="904" y="2016"/>
                    </a:lnTo>
                    <a:lnTo>
                      <a:pt x="891" y="2023"/>
                    </a:lnTo>
                    <a:lnTo>
                      <a:pt x="879" y="2030"/>
                    </a:lnTo>
                    <a:lnTo>
                      <a:pt x="865" y="2038"/>
                    </a:lnTo>
                    <a:lnTo>
                      <a:pt x="852" y="2045"/>
                    </a:lnTo>
                    <a:lnTo>
                      <a:pt x="844" y="2048"/>
                    </a:lnTo>
                    <a:lnTo>
                      <a:pt x="837" y="2050"/>
                    </a:lnTo>
                    <a:lnTo>
                      <a:pt x="829" y="2052"/>
                    </a:lnTo>
                    <a:lnTo>
                      <a:pt x="820" y="2052"/>
                    </a:lnTo>
                    <a:lnTo>
                      <a:pt x="815" y="2052"/>
                    </a:lnTo>
                    <a:lnTo>
                      <a:pt x="809" y="2051"/>
                    </a:lnTo>
                    <a:lnTo>
                      <a:pt x="805" y="2049"/>
                    </a:lnTo>
                    <a:lnTo>
                      <a:pt x="801" y="2045"/>
                    </a:lnTo>
                    <a:lnTo>
                      <a:pt x="797" y="2042"/>
                    </a:lnTo>
                    <a:lnTo>
                      <a:pt x="794" y="2039"/>
                    </a:lnTo>
                    <a:lnTo>
                      <a:pt x="792" y="2035"/>
                    </a:lnTo>
                    <a:lnTo>
                      <a:pt x="789" y="2030"/>
                    </a:lnTo>
                    <a:lnTo>
                      <a:pt x="786" y="2020"/>
                    </a:lnTo>
                    <a:lnTo>
                      <a:pt x="783" y="2008"/>
                    </a:lnTo>
                    <a:lnTo>
                      <a:pt x="781" y="1996"/>
                    </a:lnTo>
                    <a:lnTo>
                      <a:pt x="778" y="1983"/>
                    </a:lnTo>
                    <a:lnTo>
                      <a:pt x="776" y="1970"/>
                    </a:lnTo>
                    <a:lnTo>
                      <a:pt x="774" y="1958"/>
                    </a:lnTo>
                    <a:lnTo>
                      <a:pt x="771" y="1946"/>
                    </a:lnTo>
                    <a:lnTo>
                      <a:pt x="767" y="1936"/>
                    </a:lnTo>
                    <a:lnTo>
                      <a:pt x="765" y="1932"/>
                    </a:lnTo>
                    <a:lnTo>
                      <a:pt x="762" y="1928"/>
                    </a:lnTo>
                    <a:lnTo>
                      <a:pt x="759" y="1924"/>
                    </a:lnTo>
                    <a:lnTo>
                      <a:pt x="756" y="1921"/>
                    </a:lnTo>
                    <a:lnTo>
                      <a:pt x="752" y="1918"/>
                    </a:lnTo>
                    <a:lnTo>
                      <a:pt x="748" y="1916"/>
                    </a:lnTo>
                    <a:lnTo>
                      <a:pt x="742" y="1915"/>
                    </a:lnTo>
                    <a:lnTo>
                      <a:pt x="737" y="1914"/>
                    </a:lnTo>
                    <a:lnTo>
                      <a:pt x="689" y="1914"/>
                    </a:lnTo>
                    <a:lnTo>
                      <a:pt x="678" y="1916"/>
                    </a:lnTo>
                    <a:lnTo>
                      <a:pt x="669" y="1919"/>
                    </a:lnTo>
                    <a:lnTo>
                      <a:pt x="669" y="1901"/>
                    </a:lnTo>
                    <a:lnTo>
                      <a:pt x="669" y="1885"/>
                    </a:lnTo>
                    <a:lnTo>
                      <a:pt x="669" y="1869"/>
                    </a:lnTo>
                    <a:lnTo>
                      <a:pt x="669" y="1850"/>
                    </a:lnTo>
                    <a:lnTo>
                      <a:pt x="671" y="1841"/>
                    </a:lnTo>
                    <a:lnTo>
                      <a:pt x="674" y="1833"/>
                    </a:lnTo>
                    <a:lnTo>
                      <a:pt x="677" y="1824"/>
                    </a:lnTo>
                    <a:lnTo>
                      <a:pt x="678" y="1815"/>
                    </a:lnTo>
                    <a:lnTo>
                      <a:pt x="677" y="1809"/>
                    </a:lnTo>
                    <a:lnTo>
                      <a:pt x="676" y="1803"/>
                    </a:lnTo>
                    <a:lnTo>
                      <a:pt x="674" y="1797"/>
                    </a:lnTo>
                    <a:lnTo>
                      <a:pt x="671" y="1791"/>
                    </a:lnTo>
                    <a:lnTo>
                      <a:pt x="667" y="1787"/>
                    </a:lnTo>
                    <a:lnTo>
                      <a:pt x="663" y="1783"/>
                    </a:lnTo>
                    <a:lnTo>
                      <a:pt x="658" y="1779"/>
                    </a:lnTo>
                    <a:lnTo>
                      <a:pt x="653" y="1776"/>
                    </a:lnTo>
                    <a:lnTo>
                      <a:pt x="640" y="1769"/>
                    </a:lnTo>
                    <a:lnTo>
                      <a:pt x="629" y="1763"/>
                    </a:lnTo>
                    <a:lnTo>
                      <a:pt x="617" y="1754"/>
                    </a:lnTo>
                    <a:lnTo>
                      <a:pt x="605" y="1745"/>
                    </a:lnTo>
                    <a:lnTo>
                      <a:pt x="597" y="1735"/>
                    </a:lnTo>
                    <a:lnTo>
                      <a:pt x="590" y="1723"/>
                    </a:lnTo>
                    <a:lnTo>
                      <a:pt x="584" y="1712"/>
                    </a:lnTo>
                    <a:lnTo>
                      <a:pt x="577" y="1701"/>
                    </a:lnTo>
                    <a:lnTo>
                      <a:pt x="574" y="1695"/>
                    </a:lnTo>
                    <a:lnTo>
                      <a:pt x="571" y="1691"/>
                    </a:lnTo>
                    <a:lnTo>
                      <a:pt x="567" y="1687"/>
                    </a:lnTo>
                    <a:lnTo>
                      <a:pt x="563" y="1683"/>
                    </a:lnTo>
                    <a:lnTo>
                      <a:pt x="559" y="1681"/>
                    </a:lnTo>
                    <a:lnTo>
                      <a:pt x="554" y="1678"/>
                    </a:lnTo>
                    <a:lnTo>
                      <a:pt x="549" y="1677"/>
                    </a:lnTo>
                    <a:lnTo>
                      <a:pt x="541" y="1677"/>
                    </a:lnTo>
                    <a:lnTo>
                      <a:pt x="533" y="1677"/>
                    </a:lnTo>
                    <a:lnTo>
                      <a:pt x="525" y="1678"/>
                    </a:lnTo>
                    <a:lnTo>
                      <a:pt x="517" y="1679"/>
                    </a:lnTo>
                    <a:lnTo>
                      <a:pt x="508" y="1681"/>
                    </a:lnTo>
                    <a:lnTo>
                      <a:pt x="494" y="1685"/>
                    </a:lnTo>
                    <a:lnTo>
                      <a:pt x="480" y="1690"/>
                    </a:lnTo>
                    <a:lnTo>
                      <a:pt x="466" y="1695"/>
                    </a:lnTo>
                    <a:lnTo>
                      <a:pt x="452" y="1701"/>
                    </a:lnTo>
                    <a:lnTo>
                      <a:pt x="444" y="1702"/>
                    </a:lnTo>
                    <a:lnTo>
                      <a:pt x="436" y="1704"/>
                    </a:lnTo>
                    <a:lnTo>
                      <a:pt x="428" y="1705"/>
                    </a:lnTo>
                    <a:lnTo>
                      <a:pt x="420" y="1705"/>
                    </a:lnTo>
                    <a:lnTo>
                      <a:pt x="412" y="1704"/>
                    </a:lnTo>
                    <a:lnTo>
                      <a:pt x="406" y="1703"/>
                    </a:lnTo>
                    <a:lnTo>
                      <a:pt x="400" y="1701"/>
                    </a:lnTo>
                    <a:lnTo>
                      <a:pt x="395" y="1697"/>
                    </a:lnTo>
                    <a:lnTo>
                      <a:pt x="391" y="1693"/>
                    </a:lnTo>
                    <a:lnTo>
                      <a:pt x="387" y="1688"/>
                    </a:lnTo>
                    <a:lnTo>
                      <a:pt x="382" y="1683"/>
                    </a:lnTo>
                    <a:lnTo>
                      <a:pt x="379" y="1678"/>
                    </a:lnTo>
                    <a:lnTo>
                      <a:pt x="374" y="1664"/>
                    </a:lnTo>
                    <a:lnTo>
                      <a:pt x="370" y="1651"/>
                    </a:lnTo>
                    <a:lnTo>
                      <a:pt x="366" y="1637"/>
                    </a:lnTo>
                    <a:lnTo>
                      <a:pt x="363" y="1622"/>
                    </a:lnTo>
                    <a:lnTo>
                      <a:pt x="353" y="1620"/>
                    </a:lnTo>
                    <a:lnTo>
                      <a:pt x="327" y="1629"/>
                    </a:lnTo>
                    <a:lnTo>
                      <a:pt x="327" y="1629"/>
                    </a:lnTo>
                    <a:close/>
                  </a:path>
                </a:pathLst>
              </a:custGeom>
              <a:solidFill>
                <a:srgbClr val="65AC1E">
                  <a:alpha val="54902"/>
                </a:srgbClr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Ternopil">
                <a:extLst>
                  <a:ext uri="{FF2B5EF4-FFF2-40B4-BE49-F238E27FC236}">
                    <a16:creationId xmlns:a16="http://schemas.microsoft.com/office/drawing/2014/main" id="{5DD0929E-EED9-4352-94DD-B15435BE61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495" y="2975836"/>
                <a:ext cx="671155" cy="1054085"/>
              </a:xfrm>
              <a:custGeom>
                <a:avLst/>
                <a:gdLst>
                  <a:gd name="T0" fmla="*/ 710 w 1358"/>
                  <a:gd name="T1" fmla="*/ 170 h 2282"/>
                  <a:gd name="T2" fmla="*/ 764 w 1358"/>
                  <a:gd name="T3" fmla="*/ 77 h 2282"/>
                  <a:gd name="T4" fmla="*/ 798 w 1358"/>
                  <a:gd name="T5" fmla="*/ 95 h 2282"/>
                  <a:gd name="T6" fmla="*/ 834 w 1358"/>
                  <a:gd name="T7" fmla="*/ 113 h 2282"/>
                  <a:gd name="T8" fmla="*/ 980 w 1358"/>
                  <a:gd name="T9" fmla="*/ 70 h 2282"/>
                  <a:gd name="T10" fmla="*/ 1184 w 1358"/>
                  <a:gd name="T11" fmla="*/ 3 h 2282"/>
                  <a:gd name="T12" fmla="*/ 1287 w 1358"/>
                  <a:gd name="T13" fmla="*/ 22 h 2282"/>
                  <a:gd name="T14" fmla="*/ 1358 w 1358"/>
                  <a:gd name="T15" fmla="*/ 103 h 2282"/>
                  <a:gd name="T16" fmla="*/ 1281 w 1358"/>
                  <a:gd name="T17" fmla="*/ 284 h 2282"/>
                  <a:gd name="T18" fmla="*/ 1237 w 1358"/>
                  <a:gd name="T19" fmla="*/ 417 h 2282"/>
                  <a:gd name="T20" fmla="*/ 1261 w 1358"/>
                  <a:gd name="T21" fmla="*/ 479 h 2282"/>
                  <a:gd name="T22" fmla="*/ 1319 w 1358"/>
                  <a:gd name="T23" fmla="*/ 639 h 2282"/>
                  <a:gd name="T24" fmla="*/ 1316 w 1358"/>
                  <a:gd name="T25" fmla="*/ 837 h 2282"/>
                  <a:gd name="T26" fmla="*/ 1243 w 1358"/>
                  <a:gd name="T27" fmla="*/ 924 h 2282"/>
                  <a:gd name="T28" fmla="*/ 1249 w 1358"/>
                  <a:gd name="T29" fmla="*/ 974 h 2282"/>
                  <a:gd name="T30" fmla="*/ 1277 w 1358"/>
                  <a:gd name="T31" fmla="*/ 1079 h 2282"/>
                  <a:gd name="T32" fmla="*/ 1268 w 1358"/>
                  <a:gd name="T33" fmla="*/ 1205 h 2282"/>
                  <a:gd name="T34" fmla="*/ 1247 w 1358"/>
                  <a:gd name="T35" fmla="*/ 1567 h 2282"/>
                  <a:gd name="T36" fmla="*/ 1221 w 1358"/>
                  <a:gd name="T37" fmla="*/ 1695 h 2282"/>
                  <a:gd name="T38" fmla="*/ 1233 w 1358"/>
                  <a:gd name="T39" fmla="*/ 1784 h 2282"/>
                  <a:gd name="T40" fmla="*/ 1195 w 1358"/>
                  <a:gd name="T41" fmla="*/ 1935 h 2282"/>
                  <a:gd name="T42" fmla="*/ 1167 w 1358"/>
                  <a:gd name="T43" fmla="*/ 1980 h 2282"/>
                  <a:gd name="T44" fmla="*/ 1193 w 1358"/>
                  <a:gd name="T45" fmla="*/ 2013 h 2282"/>
                  <a:gd name="T46" fmla="*/ 1292 w 1358"/>
                  <a:gd name="T47" fmla="*/ 2109 h 2282"/>
                  <a:gd name="T48" fmla="*/ 1325 w 1358"/>
                  <a:gd name="T49" fmla="*/ 2163 h 2282"/>
                  <a:gd name="T50" fmla="*/ 1292 w 1358"/>
                  <a:gd name="T51" fmla="*/ 2282 h 2282"/>
                  <a:gd name="T52" fmla="*/ 1172 w 1358"/>
                  <a:gd name="T53" fmla="*/ 2245 h 2282"/>
                  <a:gd name="T54" fmla="*/ 1110 w 1358"/>
                  <a:gd name="T55" fmla="*/ 2224 h 2282"/>
                  <a:gd name="T56" fmla="*/ 1096 w 1358"/>
                  <a:gd name="T57" fmla="*/ 2161 h 2282"/>
                  <a:gd name="T58" fmla="*/ 1049 w 1358"/>
                  <a:gd name="T59" fmla="*/ 2193 h 2282"/>
                  <a:gd name="T60" fmla="*/ 1030 w 1358"/>
                  <a:gd name="T61" fmla="*/ 2143 h 2282"/>
                  <a:gd name="T62" fmla="*/ 1039 w 1358"/>
                  <a:gd name="T63" fmla="*/ 2091 h 2282"/>
                  <a:gd name="T64" fmla="*/ 936 w 1358"/>
                  <a:gd name="T65" fmla="*/ 2162 h 2282"/>
                  <a:gd name="T66" fmla="*/ 864 w 1358"/>
                  <a:gd name="T67" fmla="*/ 2146 h 2282"/>
                  <a:gd name="T68" fmla="*/ 759 w 1358"/>
                  <a:gd name="T69" fmla="*/ 1997 h 2282"/>
                  <a:gd name="T70" fmla="*/ 588 w 1358"/>
                  <a:gd name="T71" fmla="*/ 1847 h 2282"/>
                  <a:gd name="T72" fmla="*/ 533 w 1358"/>
                  <a:gd name="T73" fmla="*/ 1793 h 2282"/>
                  <a:gd name="T74" fmla="*/ 495 w 1358"/>
                  <a:gd name="T75" fmla="*/ 1793 h 2282"/>
                  <a:gd name="T76" fmla="*/ 451 w 1358"/>
                  <a:gd name="T77" fmla="*/ 1849 h 2282"/>
                  <a:gd name="T78" fmla="*/ 396 w 1358"/>
                  <a:gd name="T79" fmla="*/ 1876 h 2282"/>
                  <a:gd name="T80" fmla="*/ 372 w 1358"/>
                  <a:gd name="T81" fmla="*/ 1838 h 2282"/>
                  <a:gd name="T82" fmla="*/ 403 w 1358"/>
                  <a:gd name="T83" fmla="*/ 1795 h 2282"/>
                  <a:gd name="T84" fmla="*/ 366 w 1358"/>
                  <a:gd name="T85" fmla="*/ 1754 h 2282"/>
                  <a:gd name="T86" fmla="*/ 332 w 1358"/>
                  <a:gd name="T87" fmla="*/ 1701 h 2282"/>
                  <a:gd name="T88" fmla="*/ 270 w 1358"/>
                  <a:gd name="T89" fmla="*/ 1673 h 2282"/>
                  <a:gd name="T90" fmla="*/ 208 w 1358"/>
                  <a:gd name="T91" fmla="*/ 1603 h 2282"/>
                  <a:gd name="T92" fmla="*/ 131 w 1358"/>
                  <a:gd name="T93" fmla="*/ 1565 h 2282"/>
                  <a:gd name="T94" fmla="*/ 131 w 1358"/>
                  <a:gd name="T95" fmla="*/ 1472 h 2282"/>
                  <a:gd name="T96" fmla="*/ 135 w 1358"/>
                  <a:gd name="T97" fmla="*/ 1339 h 2282"/>
                  <a:gd name="T98" fmla="*/ 76 w 1358"/>
                  <a:gd name="T99" fmla="*/ 1268 h 2282"/>
                  <a:gd name="T100" fmla="*/ 81 w 1358"/>
                  <a:gd name="T101" fmla="*/ 1172 h 2282"/>
                  <a:gd name="T102" fmla="*/ 54 w 1358"/>
                  <a:gd name="T103" fmla="*/ 1084 h 2282"/>
                  <a:gd name="T104" fmla="*/ 41 w 1358"/>
                  <a:gd name="T105" fmla="*/ 968 h 2282"/>
                  <a:gd name="T106" fmla="*/ 17 w 1358"/>
                  <a:gd name="T107" fmla="*/ 859 h 2282"/>
                  <a:gd name="T108" fmla="*/ 81 w 1358"/>
                  <a:gd name="T109" fmla="*/ 800 h 2282"/>
                  <a:gd name="T110" fmla="*/ 233 w 1358"/>
                  <a:gd name="T111" fmla="*/ 719 h 2282"/>
                  <a:gd name="T112" fmla="*/ 334 w 1358"/>
                  <a:gd name="T113" fmla="*/ 637 h 2282"/>
                  <a:gd name="T114" fmla="*/ 357 w 1358"/>
                  <a:gd name="T115" fmla="*/ 507 h 2282"/>
                  <a:gd name="T116" fmla="*/ 475 w 1358"/>
                  <a:gd name="T117" fmla="*/ 490 h 2282"/>
                  <a:gd name="T118" fmla="*/ 545 w 1358"/>
                  <a:gd name="T119" fmla="*/ 471 h 2282"/>
                  <a:gd name="T120" fmla="*/ 614 w 1358"/>
                  <a:gd name="T121" fmla="*/ 372 h 2282"/>
                  <a:gd name="T122" fmla="*/ 606 w 1358"/>
                  <a:gd name="T123" fmla="*/ 278 h 2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358" h="2282">
                    <a:moveTo>
                      <a:pt x="596" y="257"/>
                    </a:moveTo>
                    <a:lnTo>
                      <a:pt x="617" y="245"/>
                    </a:lnTo>
                    <a:lnTo>
                      <a:pt x="634" y="234"/>
                    </a:lnTo>
                    <a:lnTo>
                      <a:pt x="651" y="223"/>
                    </a:lnTo>
                    <a:lnTo>
                      <a:pt x="666" y="211"/>
                    </a:lnTo>
                    <a:lnTo>
                      <a:pt x="681" y="198"/>
                    </a:lnTo>
                    <a:lnTo>
                      <a:pt x="695" y="184"/>
                    </a:lnTo>
                    <a:lnTo>
                      <a:pt x="710" y="170"/>
                    </a:lnTo>
                    <a:lnTo>
                      <a:pt x="726" y="152"/>
                    </a:lnTo>
                    <a:lnTo>
                      <a:pt x="726" y="105"/>
                    </a:lnTo>
                    <a:lnTo>
                      <a:pt x="732" y="99"/>
                    </a:lnTo>
                    <a:lnTo>
                      <a:pt x="737" y="94"/>
                    </a:lnTo>
                    <a:lnTo>
                      <a:pt x="743" y="88"/>
                    </a:lnTo>
                    <a:lnTo>
                      <a:pt x="750" y="83"/>
                    </a:lnTo>
                    <a:lnTo>
                      <a:pt x="757" y="80"/>
                    </a:lnTo>
                    <a:lnTo>
                      <a:pt x="764" y="77"/>
                    </a:lnTo>
                    <a:lnTo>
                      <a:pt x="771" y="75"/>
                    </a:lnTo>
                    <a:lnTo>
                      <a:pt x="781" y="75"/>
                    </a:lnTo>
                    <a:lnTo>
                      <a:pt x="784" y="75"/>
                    </a:lnTo>
                    <a:lnTo>
                      <a:pt x="787" y="76"/>
                    </a:lnTo>
                    <a:lnTo>
                      <a:pt x="790" y="78"/>
                    </a:lnTo>
                    <a:lnTo>
                      <a:pt x="792" y="81"/>
                    </a:lnTo>
                    <a:lnTo>
                      <a:pt x="795" y="87"/>
                    </a:lnTo>
                    <a:lnTo>
                      <a:pt x="798" y="95"/>
                    </a:lnTo>
                    <a:lnTo>
                      <a:pt x="801" y="102"/>
                    </a:lnTo>
                    <a:lnTo>
                      <a:pt x="804" y="109"/>
                    </a:lnTo>
                    <a:lnTo>
                      <a:pt x="806" y="111"/>
                    </a:lnTo>
                    <a:lnTo>
                      <a:pt x="809" y="113"/>
                    </a:lnTo>
                    <a:lnTo>
                      <a:pt x="812" y="114"/>
                    </a:lnTo>
                    <a:lnTo>
                      <a:pt x="816" y="115"/>
                    </a:lnTo>
                    <a:lnTo>
                      <a:pt x="826" y="114"/>
                    </a:lnTo>
                    <a:lnTo>
                      <a:pt x="834" y="113"/>
                    </a:lnTo>
                    <a:lnTo>
                      <a:pt x="844" y="110"/>
                    </a:lnTo>
                    <a:lnTo>
                      <a:pt x="851" y="107"/>
                    </a:lnTo>
                    <a:lnTo>
                      <a:pt x="867" y="101"/>
                    </a:lnTo>
                    <a:lnTo>
                      <a:pt x="887" y="96"/>
                    </a:lnTo>
                    <a:lnTo>
                      <a:pt x="912" y="90"/>
                    </a:lnTo>
                    <a:lnTo>
                      <a:pt x="935" y="84"/>
                    </a:lnTo>
                    <a:lnTo>
                      <a:pt x="958" y="77"/>
                    </a:lnTo>
                    <a:lnTo>
                      <a:pt x="980" y="70"/>
                    </a:lnTo>
                    <a:lnTo>
                      <a:pt x="1020" y="53"/>
                    </a:lnTo>
                    <a:lnTo>
                      <a:pt x="1059" y="38"/>
                    </a:lnTo>
                    <a:lnTo>
                      <a:pt x="1079" y="30"/>
                    </a:lnTo>
                    <a:lnTo>
                      <a:pt x="1098" y="22"/>
                    </a:lnTo>
                    <a:lnTo>
                      <a:pt x="1118" y="16"/>
                    </a:lnTo>
                    <a:lnTo>
                      <a:pt x="1139" y="11"/>
                    </a:lnTo>
                    <a:lnTo>
                      <a:pt x="1161" y="6"/>
                    </a:lnTo>
                    <a:lnTo>
                      <a:pt x="1184" y="3"/>
                    </a:lnTo>
                    <a:lnTo>
                      <a:pt x="1208" y="0"/>
                    </a:lnTo>
                    <a:lnTo>
                      <a:pt x="1233" y="0"/>
                    </a:lnTo>
                    <a:lnTo>
                      <a:pt x="1244" y="0"/>
                    </a:lnTo>
                    <a:lnTo>
                      <a:pt x="1254" y="2"/>
                    </a:lnTo>
                    <a:lnTo>
                      <a:pt x="1263" y="6"/>
                    </a:lnTo>
                    <a:lnTo>
                      <a:pt x="1271" y="10"/>
                    </a:lnTo>
                    <a:lnTo>
                      <a:pt x="1280" y="16"/>
                    </a:lnTo>
                    <a:lnTo>
                      <a:pt x="1287" y="22"/>
                    </a:lnTo>
                    <a:lnTo>
                      <a:pt x="1294" y="30"/>
                    </a:lnTo>
                    <a:lnTo>
                      <a:pt x="1300" y="37"/>
                    </a:lnTo>
                    <a:lnTo>
                      <a:pt x="1313" y="54"/>
                    </a:lnTo>
                    <a:lnTo>
                      <a:pt x="1326" y="71"/>
                    </a:lnTo>
                    <a:lnTo>
                      <a:pt x="1333" y="80"/>
                    </a:lnTo>
                    <a:lnTo>
                      <a:pt x="1341" y="88"/>
                    </a:lnTo>
                    <a:lnTo>
                      <a:pt x="1349" y="96"/>
                    </a:lnTo>
                    <a:lnTo>
                      <a:pt x="1358" y="103"/>
                    </a:lnTo>
                    <a:lnTo>
                      <a:pt x="1358" y="103"/>
                    </a:lnTo>
                    <a:lnTo>
                      <a:pt x="1353" y="128"/>
                    </a:lnTo>
                    <a:lnTo>
                      <a:pt x="1347" y="150"/>
                    </a:lnTo>
                    <a:lnTo>
                      <a:pt x="1340" y="172"/>
                    </a:lnTo>
                    <a:lnTo>
                      <a:pt x="1331" y="192"/>
                    </a:lnTo>
                    <a:lnTo>
                      <a:pt x="1312" y="230"/>
                    </a:lnTo>
                    <a:lnTo>
                      <a:pt x="1291" y="266"/>
                    </a:lnTo>
                    <a:lnTo>
                      <a:pt x="1281" y="284"/>
                    </a:lnTo>
                    <a:lnTo>
                      <a:pt x="1270" y="302"/>
                    </a:lnTo>
                    <a:lnTo>
                      <a:pt x="1261" y="321"/>
                    </a:lnTo>
                    <a:lnTo>
                      <a:pt x="1254" y="340"/>
                    </a:lnTo>
                    <a:lnTo>
                      <a:pt x="1247" y="360"/>
                    </a:lnTo>
                    <a:lnTo>
                      <a:pt x="1242" y="382"/>
                    </a:lnTo>
                    <a:lnTo>
                      <a:pt x="1241" y="393"/>
                    </a:lnTo>
                    <a:lnTo>
                      <a:pt x="1238" y="404"/>
                    </a:lnTo>
                    <a:lnTo>
                      <a:pt x="1237" y="417"/>
                    </a:lnTo>
                    <a:lnTo>
                      <a:pt x="1237" y="429"/>
                    </a:lnTo>
                    <a:lnTo>
                      <a:pt x="1237" y="435"/>
                    </a:lnTo>
                    <a:lnTo>
                      <a:pt x="1238" y="442"/>
                    </a:lnTo>
                    <a:lnTo>
                      <a:pt x="1241" y="447"/>
                    </a:lnTo>
                    <a:lnTo>
                      <a:pt x="1243" y="452"/>
                    </a:lnTo>
                    <a:lnTo>
                      <a:pt x="1248" y="461"/>
                    </a:lnTo>
                    <a:lnTo>
                      <a:pt x="1254" y="470"/>
                    </a:lnTo>
                    <a:lnTo>
                      <a:pt x="1261" y="479"/>
                    </a:lnTo>
                    <a:lnTo>
                      <a:pt x="1268" y="488"/>
                    </a:lnTo>
                    <a:lnTo>
                      <a:pt x="1275" y="497"/>
                    </a:lnTo>
                    <a:lnTo>
                      <a:pt x="1280" y="509"/>
                    </a:lnTo>
                    <a:lnTo>
                      <a:pt x="1291" y="538"/>
                    </a:lnTo>
                    <a:lnTo>
                      <a:pt x="1300" y="563"/>
                    </a:lnTo>
                    <a:lnTo>
                      <a:pt x="1309" y="588"/>
                    </a:lnTo>
                    <a:lnTo>
                      <a:pt x="1315" y="614"/>
                    </a:lnTo>
                    <a:lnTo>
                      <a:pt x="1319" y="639"/>
                    </a:lnTo>
                    <a:lnTo>
                      <a:pt x="1322" y="665"/>
                    </a:lnTo>
                    <a:lnTo>
                      <a:pt x="1324" y="692"/>
                    </a:lnTo>
                    <a:lnTo>
                      <a:pt x="1325" y="723"/>
                    </a:lnTo>
                    <a:lnTo>
                      <a:pt x="1325" y="783"/>
                    </a:lnTo>
                    <a:lnTo>
                      <a:pt x="1324" y="798"/>
                    </a:lnTo>
                    <a:lnTo>
                      <a:pt x="1323" y="812"/>
                    </a:lnTo>
                    <a:lnTo>
                      <a:pt x="1320" y="825"/>
                    </a:lnTo>
                    <a:lnTo>
                      <a:pt x="1316" y="837"/>
                    </a:lnTo>
                    <a:lnTo>
                      <a:pt x="1311" y="848"/>
                    </a:lnTo>
                    <a:lnTo>
                      <a:pt x="1304" y="860"/>
                    </a:lnTo>
                    <a:lnTo>
                      <a:pt x="1296" y="871"/>
                    </a:lnTo>
                    <a:lnTo>
                      <a:pt x="1287" y="882"/>
                    </a:lnTo>
                    <a:lnTo>
                      <a:pt x="1270" y="897"/>
                    </a:lnTo>
                    <a:lnTo>
                      <a:pt x="1255" y="910"/>
                    </a:lnTo>
                    <a:lnTo>
                      <a:pt x="1248" y="917"/>
                    </a:lnTo>
                    <a:lnTo>
                      <a:pt x="1243" y="924"/>
                    </a:lnTo>
                    <a:lnTo>
                      <a:pt x="1241" y="928"/>
                    </a:lnTo>
                    <a:lnTo>
                      <a:pt x="1238" y="933"/>
                    </a:lnTo>
                    <a:lnTo>
                      <a:pt x="1237" y="938"/>
                    </a:lnTo>
                    <a:lnTo>
                      <a:pt x="1237" y="943"/>
                    </a:lnTo>
                    <a:lnTo>
                      <a:pt x="1238" y="953"/>
                    </a:lnTo>
                    <a:lnTo>
                      <a:pt x="1241" y="960"/>
                    </a:lnTo>
                    <a:lnTo>
                      <a:pt x="1245" y="967"/>
                    </a:lnTo>
                    <a:lnTo>
                      <a:pt x="1249" y="974"/>
                    </a:lnTo>
                    <a:lnTo>
                      <a:pt x="1254" y="981"/>
                    </a:lnTo>
                    <a:lnTo>
                      <a:pt x="1258" y="988"/>
                    </a:lnTo>
                    <a:lnTo>
                      <a:pt x="1261" y="996"/>
                    </a:lnTo>
                    <a:lnTo>
                      <a:pt x="1263" y="1004"/>
                    </a:lnTo>
                    <a:lnTo>
                      <a:pt x="1268" y="1031"/>
                    </a:lnTo>
                    <a:lnTo>
                      <a:pt x="1273" y="1055"/>
                    </a:lnTo>
                    <a:lnTo>
                      <a:pt x="1275" y="1066"/>
                    </a:lnTo>
                    <a:lnTo>
                      <a:pt x="1277" y="1079"/>
                    </a:lnTo>
                    <a:lnTo>
                      <a:pt x="1278" y="1092"/>
                    </a:lnTo>
                    <a:lnTo>
                      <a:pt x="1278" y="1106"/>
                    </a:lnTo>
                    <a:lnTo>
                      <a:pt x="1278" y="1154"/>
                    </a:lnTo>
                    <a:lnTo>
                      <a:pt x="1278" y="1163"/>
                    </a:lnTo>
                    <a:lnTo>
                      <a:pt x="1277" y="1173"/>
                    </a:lnTo>
                    <a:lnTo>
                      <a:pt x="1275" y="1181"/>
                    </a:lnTo>
                    <a:lnTo>
                      <a:pt x="1273" y="1189"/>
                    </a:lnTo>
                    <a:lnTo>
                      <a:pt x="1268" y="1205"/>
                    </a:lnTo>
                    <a:lnTo>
                      <a:pt x="1262" y="1219"/>
                    </a:lnTo>
                    <a:lnTo>
                      <a:pt x="1257" y="1235"/>
                    </a:lnTo>
                    <a:lnTo>
                      <a:pt x="1252" y="1250"/>
                    </a:lnTo>
                    <a:lnTo>
                      <a:pt x="1250" y="1258"/>
                    </a:lnTo>
                    <a:lnTo>
                      <a:pt x="1249" y="1267"/>
                    </a:lnTo>
                    <a:lnTo>
                      <a:pt x="1248" y="1276"/>
                    </a:lnTo>
                    <a:lnTo>
                      <a:pt x="1247" y="1285"/>
                    </a:lnTo>
                    <a:lnTo>
                      <a:pt x="1247" y="1567"/>
                    </a:lnTo>
                    <a:lnTo>
                      <a:pt x="1246" y="1586"/>
                    </a:lnTo>
                    <a:lnTo>
                      <a:pt x="1243" y="1601"/>
                    </a:lnTo>
                    <a:lnTo>
                      <a:pt x="1238" y="1617"/>
                    </a:lnTo>
                    <a:lnTo>
                      <a:pt x="1234" y="1631"/>
                    </a:lnTo>
                    <a:lnTo>
                      <a:pt x="1229" y="1646"/>
                    </a:lnTo>
                    <a:lnTo>
                      <a:pt x="1225" y="1661"/>
                    </a:lnTo>
                    <a:lnTo>
                      <a:pt x="1222" y="1678"/>
                    </a:lnTo>
                    <a:lnTo>
                      <a:pt x="1221" y="1695"/>
                    </a:lnTo>
                    <a:lnTo>
                      <a:pt x="1222" y="1708"/>
                    </a:lnTo>
                    <a:lnTo>
                      <a:pt x="1223" y="1719"/>
                    </a:lnTo>
                    <a:lnTo>
                      <a:pt x="1225" y="1729"/>
                    </a:lnTo>
                    <a:lnTo>
                      <a:pt x="1227" y="1740"/>
                    </a:lnTo>
                    <a:lnTo>
                      <a:pt x="1229" y="1750"/>
                    </a:lnTo>
                    <a:lnTo>
                      <a:pt x="1231" y="1760"/>
                    </a:lnTo>
                    <a:lnTo>
                      <a:pt x="1232" y="1772"/>
                    </a:lnTo>
                    <a:lnTo>
                      <a:pt x="1233" y="1784"/>
                    </a:lnTo>
                    <a:lnTo>
                      <a:pt x="1232" y="1803"/>
                    </a:lnTo>
                    <a:lnTo>
                      <a:pt x="1231" y="1820"/>
                    </a:lnTo>
                    <a:lnTo>
                      <a:pt x="1229" y="1837"/>
                    </a:lnTo>
                    <a:lnTo>
                      <a:pt x="1226" y="1852"/>
                    </a:lnTo>
                    <a:lnTo>
                      <a:pt x="1218" y="1883"/>
                    </a:lnTo>
                    <a:lnTo>
                      <a:pt x="1207" y="1918"/>
                    </a:lnTo>
                    <a:lnTo>
                      <a:pt x="1201" y="1928"/>
                    </a:lnTo>
                    <a:lnTo>
                      <a:pt x="1195" y="1935"/>
                    </a:lnTo>
                    <a:lnTo>
                      <a:pt x="1189" y="1942"/>
                    </a:lnTo>
                    <a:lnTo>
                      <a:pt x="1182" y="1948"/>
                    </a:lnTo>
                    <a:lnTo>
                      <a:pt x="1177" y="1954"/>
                    </a:lnTo>
                    <a:lnTo>
                      <a:pt x="1171" y="1962"/>
                    </a:lnTo>
                    <a:lnTo>
                      <a:pt x="1169" y="1966"/>
                    </a:lnTo>
                    <a:lnTo>
                      <a:pt x="1168" y="1970"/>
                    </a:lnTo>
                    <a:lnTo>
                      <a:pt x="1167" y="1975"/>
                    </a:lnTo>
                    <a:lnTo>
                      <a:pt x="1167" y="1980"/>
                    </a:lnTo>
                    <a:lnTo>
                      <a:pt x="1167" y="1985"/>
                    </a:lnTo>
                    <a:lnTo>
                      <a:pt x="1169" y="1989"/>
                    </a:lnTo>
                    <a:lnTo>
                      <a:pt x="1172" y="1994"/>
                    </a:lnTo>
                    <a:lnTo>
                      <a:pt x="1177" y="1997"/>
                    </a:lnTo>
                    <a:lnTo>
                      <a:pt x="1181" y="2001"/>
                    </a:lnTo>
                    <a:lnTo>
                      <a:pt x="1185" y="2004"/>
                    </a:lnTo>
                    <a:lnTo>
                      <a:pt x="1189" y="2008"/>
                    </a:lnTo>
                    <a:lnTo>
                      <a:pt x="1193" y="2013"/>
                    </a:lnTo>
                    <a:lnTo>
                      <a:pt x="1201" y="2029"/>
                    </a:lnTo>
                    <a:lnTo>
                      <a:pt x="1208" y="2043"/>
                    </a:lnTo>
                    <a:lnTo>
                      <a:pt x="1212" y="2050"/>
                    </a:lnTo>
                    <a:lnTo>
                      <a:pt x="1216" y="2057"/>
                    </a:lnTo>
                    <a:lnTo>
                      <a:pt x="1221" y="2064"/>
                    </a:lnTo>
                    <a:lnTo>
                      <a:pt x="1228" y="2069"/>
                    </a:lnTo>
                    <a:lnTo>
                      <a:pt x="1261" y="2091"/>
                    </a:lnTo>
                    <a:lnTo>
                      <a:pt x="1292" y="2109"/>
                    </a:lnTo>
                    <a:lnTo>
                      <a:pt x="1299" y="2114"/>
                    </a:lnTo>
                    <a:lnTo>
                      <a:pt x="1306" y="2120"/>
                    </a:lnTo>
                    <a:lnTo>
                      <a:pt x="1311" y="2125"/>
                    </a:lnTo>
                    <a:lnTo>
                      <a:pt x="1316" y="2131"/>
                    </a:lnTo>
                    <a:lnTo>
                      <a:pt x="1319" y="2138"/>
                    </a:lnTo>
                    <a:lnTo>
                      <a:pt x="1322" y="2145"/>
                    </a:lnTo>
                    <a:lnTo>
                      <a:pt x="1324" y="2154"/>
                    </a:lnTo>
                    <a:lnTo>
                      <a:pt x="1325" y="2163"/>
                    </a:lnTo>
                    <a:lnTo>
                      <a:pt x="1325" y="2267"/>
                    </a:lnTo>
                    <a:lnTo>
                      <a:pt x="1325" y="2267"/>
                    </a:lnTo>
                    <a:lnTo>
                      <a:pt x="1317" y="2272"/>
                    </a:lnTo>
                    <a:lnTo>
                      <a:pt x="1309" y="2277"/>
                    </a:lnTo>
                    <a:lnTo>
                      <a:pt x="1304" y="2279"/>
                    </a:lnTo>
                    <a:lnTo>
                      <a:pt x="1301" y="2281"/>
                    </a:lnTo>
                    <a:lnTo>
                      <a:pt x="1296" y="2282"/>
                    </a:lnTo>
                    <a:lnTo>
                      <a:pt x="1292" y="2282"/>
                    </a:lnTo>
                    <a:lnTo>
                      <a:pt x="1278" y="2281"/>
                    </a:lnTo>
                    <a:lnTo>
                      <a:pt x="1264" y="2279"/>
                    </a:lnTo>
                    <a:lnTo>
                      <a:pt x="1253" y="2274"/>
                    </a:lnTo>
                    <a:lnTo>
                      <a:pt x="1242" y="2270"/>
                    </a:lnTo>
                    <a:lnTo>
                      <a:pt x="1219" y="2259"/>
                    </a:lnTo>
                    <a:lnTo>
                      <a:pt x="1193" y="2249"/>
                    </a:lnTo>
                    <a:lnTo>
                      <a:pt x="1183" y="2247"/>
                    </a:lnTo>
                    <a:lnTo>
                      <a:pt x="1172" y="2245"/>
                    </a:lnTo>
                    <a:lnTo>
                      <a:pt x="1163" y="2245"/>
                    </a:lnTo>
                    <a:lnTo>
                      <a:pt x="1153" y="2244"/>
                    </a:lnTo>
                    <a:lnTo>
                      <a:pt x="1145" y="2242"/>
                    </a:lnTo>
                    <a:lnTo>
                      <a:pt x="1135" y="2241"/>
                    </a:lnTo>
                    <a:lnTo>
                      <a:pt x="1126" y="2237"/>
                    </a:lnTo>
                    <a:lnTo>
                      <a:pt x="1118" y="2232"/>
                    </a:lnTo>
                    <a:lnTo>
                      <a:pt x="1113" y="2228"/>
                    </a:lnTo>
                    <a:lnTo>
                      <a:pt x="1110" y="2224"/>
                    </a:lnTo>
                    <a:lnTo>
                      <a:pt x="1108" y="2220"/>
                    </a:lnTo>
                    <a:lnTo>
                      <a:pt x="1105" y="2215"/>
                    </a:lnTo>
                    <a:lnTo>
                      <a:pt x="1103" y="2204"/>
                    </a:lnTo>
                    <a:lnTo>
                      <a:pt x="1102" y="2193"/>
                    </a:lnTo>
                    <a:lnTo>
                      <a:pt x="1102" y="2182"/>
                    </a:lnTo>
                    <a:lnTo>
                      <a:pt x="1100" y="2171"/>
                    </a:lnTo>
                    <a:lnTo>
                      <a:pt x="1098" y="2166"/>
                    </a:lnTo>
                    <a:lnTo>
                      <a:pt x="1096" y="2161"/>
                    </a:lnTo>
                    <a:lnTo>
                      <a:pt x="1093" y="2157"/>
                    </a:lnTo>
                    <a:lnTo>
                      <a:pt x="1089" y="2152"/>
                    </a:lnTo>
                    <a:lnTo>
                      <a:pt x="1089" y="2214"/>
                    </a:lnTo>
                    <a:lnTo>
                      <a:pt x="1085" y="2223"/>
                    </a:lnTo>
                    <a:lnTo>
                      <a:pt x="1077" y="2214"/>
                    </a:lnTo>
                    <a:lnTo>
                      <a:pt x="1067" y="2206"/>
                    </a:lnTo>
                    <a:lnTo>
                      <a:pt x="1058" y="2199"/>
                    </a:lnTo>
                    <a:lnTo>
                      <a:pt x="1049" y="2193"/>
                    </a:lnTo>
                    <a:lnTo>
                      <a:pt x="1040" y="2186"/>
                    </a:lnTo>
                    <a:lnTo>
                      <a:pt x="1034" y="2177"/>
                    </a:lnTo>
                    <a:lnTo>
                      <a:pt x="1031" y="2173"/>
                    </a:lnTo>
                    <a:lnTo>
                      <a:pt x="1029" y="2168"/>
                    </a:lnTo>
                    <a:lnTo>
                      <a:pt x="1028" y="2163"/>
                    </a:lnTo>
                    <a:lnTo>
                      <a:pt x="1028" y="2157"/>
                    </a:lnTo>
                    <a:lnTo>
                      <a:pt x="1028" y="2150"/>
                    </a:lnTo>
                    <a:lnTo>
                      <a:pt x="1030" y="2143"/>
                    </a:lnTo>
                    <a:lnTo>
                      <a:pt x="1032" y="2137"/>
                    </a:lnTo>
                    <a:lnTo>
                      <a:pt x="1035" y="2131"/>
                    </a:lnTo>
                    <a:lnTo>
                      <a:pt x="1037" y="2126"/>
                    </a:lnTo>
                    <a:lnTo>
                      <a:pt x="1039" y="2120"/>
                    </a:lnTo>
                    <a:lnTo>
                      <a:pt x="1042" y="2112"/>
                    </a:lnTo>
                    <a:lnTo>
                      <a:pt x="1042" y="2105"/>
                    </a:lnTo>
                    <a:lnTo>
                      <a:pt x="1040" y="2098"/>
                    </a:lnTo>
                    <a:lnTo>
                      <a:pt x="1039" y="2091"/>
                    </a:lnTo>
                    <a:lnTo>
                      <a:pt x="1010" y="2116"/>
                    </a:lnTo>
                    <a:lnTo>
                      <a:pt x="983" y="2139"/>
                    </a:lnTo>
                    <a:lnTo>
                      <a:pt x="976" y="2144"/>
                    </a:lnTo>
                    <a:lnTo>
                      <a:pt x="968" y="2150"/>
                    </a:lnTo>
                    <a:lnTo>
                      <a:pt x="961" y="2154"/>
                    </a:lnTo>
                    <a:lnTo>
                      <a:pt x="953" y="2157"/>
                    </a:lnTo>
                    <a:lnTo>
                      <a:pt x="945" y="2160"/>
                    </a:lnTo>
                    <a:lnTo>
                      <a:pt x="936" y="2162"/>
                    </a:lnTo>
                    <a:lnTo>
                      <a:pt x="927" y="2163"/>
                    </a:lnTo>
                    <a:lnTo>
                      <a:pt x="917" y="2164"/>
                    </a:lnTo>
                    <a:lnTo>
                      <a:pt x="906" y="2163"/>
                    </a:lnTo>
                    <a:lnTo>
                      <a:pt x="897" y="2162"/>
                    </a:lnTo>
                    <a:lnTo>
                      <a:pt x="888" y="2159"/>
                    </a:lnTo>
                    <a:lnTo>
                      <a:pt x="880" y="2156"/>
                    </a:lnTo>
                    <a:lnTo>
                      <a:pt x="871" y="2152"/>
                    </a:lnTo>
                    <a:lnTo>
                      <a:pt x="864" y="2146"/>
                    </a:lnTo>
                    <a:lnTo>
                      <a:pt x="857" y="2141"/>
                    </a:lnTo>
                    <a:lnTo>
                      <a:pt x="851" y="2135"/>
                    </a:lnTo>
                    <a:lnTo>
                      <a:pt x="837" y="2121"/>
                    </a:lnTo>
                    <a:lnTo>
                      <a:pt x="826" y="2105"/>
                    </a:lnTo>
                    <a:lnTo>
                      <a:pt x="815" y="2088"/>
                    </a:lnTo>
                    <a:lnTo>
                      <a:pt x="804" y="2069"/>
                    </a:lnTo>
                    <a:lnTo>
                      <a:pt x="780" y="2031"/>
                    </a:lnTo>
                    <a:lnTo>
                      <a:pt x="759" y="1997"/>
                    </a:lnTo>
                    <a:lnTo>
                      <a:pt x="737" y="1963"/>
                    </a:lnTo>
                    <a:lnTo>
                      <a:pt x="712" y="1923"/>
                    </a:lnTo>
                    <a:lnTo>
                      <a:pt x="712" y="1923"/>
                    </a:lnTo>
                    <a:lnTo>
                      <a:pt x="661" y="1897"/>
                    </a:lnTo>
                    <a:lnTo>
                      <a:pt x="616" y="1871"/>
                    </a:lnTo>
                    <a:lnTo>
                      <a:pt x="605" y="1863"/>
                    </a:lnTo>
                    <a:lnTo>
                      <a:pt x="596" y="1855"/>
                    </a:lnTo>
                    <a:lnTo>
                      <a:pt x="588" y="1847"/>
                    </a:lnTo>
                    <a:lnTo>
                      <a:pt x="581" y="1837"/>
                    </a:lnTo>
                    <a:lnTo>
                      <a:pt x="574" y="1826"/>
                    </a:lnTo>
                    <a:lnTo>
                      <a:pt x="568" y="1815"/>
                    </a:lnTo>
                    <a:lnTo>
                      <a:pt x="564" y="1803"/>
                    </a:lnTo>
                    <a:lnTo>
                      <a:pt x="561" y="1788"/>
                    </a:lnTo>
                    <a:lnTo>
                      <a:pt x="552" y="1786"/>
                    </a:lnTo>
                    <a:lnTo>
                      <a:pt x="541" y="1789"/>
                    </a:lnTo>
                    <a:lnTo>
                      <a:pt x="533" y="1793"/>
                    </a:lnTo>
                    <a:lnTo>
                      <a:pt x="529" y="1795"/>
                    </a:lnTo>
                    <a:lnTo>
                      <a:pt x="524" y="1796"/>
                    </a:lnTo>
                    <a:lnTo>
                      <a:pt x="520" y="1797"/>
                    </a:lnTo>
                    <a:lnTo>
                      <a:pt x="514" y="1798"/>
                    </a:lnTo>
                    <a:lnTo>
                      <a:pt x="508" y="1797"/>
                    </a:lnTo>
                    <a:lnTo>
                      <a:pt x="503" y="1796"/>
                    </a:lnTo>
                    <a:lnTo>
                      <a:pt x="499" y="1795"/>
                    </a:lnTo>
                    <a:lnTo>
                      <a:pt x="495" y="1793"/>
                    </a:lnTo>
                    <a:lnTo>
                      <a:pt x="486" y="1789"/>
                    </a:lnTo>
                    <a:lnTo>
                      <a:pt x="476" y="1786"/>
                    </a:lnTo>
                    <a:lnTo>
                      <a:pt x="472" y="1804"/>
                    </a:lnTo>
                    <a:lnTo>
                      <a:pt x="467" y="1820"/>
                    </a:lnTo>
                    <a:lnTo>
                      <a:pt x="464" y="1827"/>
                    </a:lnTo>
                    <a:lnTo>
                      <a:pt x="460" y="1835"/>
                    </a:lnTo>
                    <a:lnTo>
                      <a:pt x="456" y="1842"/>
                    </a:lnTo>
                    <a:lnTo>
                      <a:pt x="451" y="1849"/>
                    </a:lnTo>
                    <a:lnTo>
                      <a:pt x="445" y="1854"/>
                    </a:lnTo>
                    <a:lnTo>
                      <a:pt x="439" y="1859"/>
                    </a:lnTo>
                    <a:lnTo>
                      <a:pt x="434" y="1865"/>
                    </a:lnTo>
                    <a:lnTo>
                      <a:pt x="427" y="1869"/>
                    </a:lnTo>
                    <a:lnTo>
                      <a:pt x="420" y="1872"/>
                    </a:lnTo>
                    <a:lnTo>
                      <a:pt x="412" y="1874"/>
                    </a:lnTo>
                    <a:lnTo>
                      <a:pt x="404" y="1876"/>
                    </a:lnTo>
                    <a:lnTo>
                      <a:pt x="396" y="1876"/>
                    </a:lnTo>
                    <a:lnTo>
                      <a:pt x="390" y="1875"/>
                    </a:lnTo>
                    <a:lnTo>
                      <a:pt x="385" y="1873"/>
                    </a:lnTo>
                    <a:lnTo>
                      <a:pt x="382" y="1869"/>
                    </a:lnTo>
                    <a:lnTo>
                      <a:pt x="377" y="1863"/>
                    </a:lnTo>
                    <a:lnTo>
                      <a:pt x="375" y="1857"/>
                    </a:lnTo>
                    <a:lnTo>
                      <a:pt x="373" y="1851"/>
                    </a:lnTo>
                    <a:lnTo>
                      <a:pt x="372" y="1845"/>
                    </a:lnTo>
                    <a:lnTo>
                      <a:pt x="372" y="1838"/>
                    </a:lnTo>
                    <a:lnTo>
                      <a:pt x="372" y="1834"/>
                    </a:lnTo>
                    <a:lnTo>
                      <a:pt x="373" y="1828"/>
                    </a:lnTo>
                    <a:lnTo>
                      <a:pt x="375" y="1824"/>
                    </a:lnTo>
                    <a:lnTo>
                      <a:pt x="377" y="1821"/>
                    </a:lnTo>
                    <a:lnTo>
                      <a:pt x="383" y="1814"/>
                    </a:lnTo>
                    <a:lnTo>
                      <a:pt x="389" y="1808"/>
                    </a:lnTo>
                    <a:lnTo>
                      <a:pt x="396" y="1802"/>
                    </a:lnTo>
                    <a:lnTo>
                      <a:pt x="403" y="1795"/>
                    </a:lnTo>
                    <a:lnTo>
                      <a:pt x="409" y="1788"/>
                    </a:lnTo>
                    <a:lnTo>
                      <a:pt x="415" y="1779"/>
                    </a:lnTo>
                    <a:lnTo>
                      <a:pt x="402" y="1778"/>
                    </a:lnTo>
                    <a:lnTo>
                      <a:pt x="391" y="1778"/>
                    </a:lnTo>
                    <a:lnTo>
                      <a:pt x="380" y="1779"/>
                    </a:lnTo>
                    <a:lnTo>
                      <a:pt x="368" y="1779"/>
                    </a:lnTo>
                    <a:lnTo>
                      <a:pt x="367" y="1765"/>
                    </a:lnTo>
                    <a:lnTo>
                      <a:pt x="366" y="1754"/>
                    </a:lnTo>
                    <a:lnTo>
                      <a:pt x="365" y="1743"/>
                    </a:lnTo>
                    <a:lnTo>
                      <a:pt x="362" y="1731"/>
                    </a:lnTo>
                    <a:lnTo>
                      <a:pt x="359" y="1721"/>
                    </a:lnTo>
                    <a:lnTo>
                      <a:pt x="355" y="1711"/>
                    </a:lnTo>
                    <a:lnTo>
                      <a:pt x="350" y="1699"/>
                    </a:lnTo>
                    <a:lnTo>
                      <a:pt x="344" y="1687"/>
                    </a:lnTo>
                    <a:lnTo>
                      <a:pt x="337" y="1694"/>
                    </a:lnTo>
                    <a:lnTo>
                      <a:pt x="332" y="1701"/>
                    </a:lnTo>
                    <a:lnTo>
                      <a:pt x="328" y="1709"/>
                    </a:lnTo>
                    <a:lnTo>
                      <a:pt x="324" y="1716"/>
                    </a:lnTo>
                    <a:lnTo>
                      <a:pt x="320" y="1722"/>
                    </a:lnTo>
                    <a:lnTo>
                      <a:pt x="316" y="1729"/>
                    </a:lnTo>
                    <a:lnTo>
                      <a:pt x="310" y="1736"/>
                    </a:lnTo>
                    <a:lnTo>
                      <a:pt x="304" y="1744"/>
                    </a:lnTo>
                    <a:lnTo>
                      <a:pt x="286" y="1707"/>
                    </a:lnTo>
                    <a:lnTo>
                      <a:pt x="270" y="1673"/>
                    </a:lnTo>
                    <a:lnTo>
                      <a:pt x="262" y="1657"/>
                    </a:lnTo>
                    <a:lnTo>
                      <a:pt x="252" y="1643"/>
                    </a:lnTo>
                    <a:lnTo>
                      <a:pt x="246" y="1635"/>
                    </a:lnTo>
                    <a:lnTo>
                      <a:pt x="239" y="1628"/>
                    </a:lnTo>
                    <a:lnTo>
                      <a:pt x="232" y="1621"/>
                    </a:lnTo>
                    <a:lnTo>
                      <a:pt x="224" y="1614"/>
                    </a:lnTo>
                    <a:lnTo>
                      <a:pt x="217" y="1608"/>
                    </a:lnTo>
                    <a:lnTo>
                      <a:pt x="208" y="1603"/>
                    </a:lnTo>
                    <a:lnTo>
                      <a:pt x="199" y="1599"/>
                    </a:lnTo>
                    <a:lnTo>
                      <a:pt x="191" y="1596"/>
                    </a:lnTo>
                    <a:lnTo>
                      <a:pt x="173" y="1589"/>
                    </a:lnTo>
                    <a:lnTo>
                      <a:pt x="157" y="1583"/>
                    </a:lnTo>
                    <a:lnTo>
                      <a:pt x="149" y="1578"/>
                    </a:lnTo>
                    <a:lnTo>
                      <a:pt x="142" y="1574"/>
                    </a:lnTo>
                    <a:lnTo>
                      <a:pt x="136" y="1570"/>
                    </a:lnTo>
                    <a:lnTo>
                      <a:pt x="131" y="1565"/>
                    </a:lnTo>
                    <a:lnTo>
                      <a:pt x="127" y="1559"/>
                    </a:lnTo>
                    <a:lnTo>
                      <a:pt x="123" y="1553"/>
                    </a:lnTo>
                    <a:lnTo>
                      <a:pt x="121" y="1544"/>
                    </a:lnTo>
                    <a:lnTo>
                      <a:pt x="121" y="1536"/>
                    </a:lnTo>
                    <a:lnTo>
                      <a:pt x="121" y="1519"/>
                    </a:lnTo>
                    <a:lnTo>
                      <a:pt x="124" y="1502"/>
                    </a:lnTo>
                    <a:lnTo>
                      <a:pt x="127" y="1487"/>
                    </a:lnTo>
                    <a:lnTo>
                      <a:pt x="131" y="1472"/>
                    </a:lnTo>
                    <a:lnTo>
                      <a:pt x="135" y="1458"/>
                    </a:lnTo>
                    <a:lnTo>
                      <a:pt x="138" y="1442"/>
                    </a:lnTo>
                    <a:lnTo>
                      <a:pt x="140" y="1427"/>
                    </a:lnTo>
                    <a:lnTo>
                      <a:pt x="141" y="1408"/>
                    </a:lnTo>
                    <a:lnTo>
                      <a:pt x="141" y="1383"/>
                    </a:lnTo>
                    <a:lnTo>
                      <a:pt x="140" y="1361"/>
                    </a:lnTo>
                    <a:lnTo>
                      <a:pt x="138" y="1350"/>
                    </a:lnTo>
                    <a:lnTo>
                      <a:pt x="135" y="1339"/>
                    </a:lnTo>
                    <a:lnTo>
                      <a:pt x="130" y="1329"/>
                    </a:lnTo>
                    <a:lnTo>
                      <a:pt x="123" y="1319"/>
                    </a:lnTo>
                    <a:lnTo>
                      <a:pt x="107" y="1304"/>
                    </a:lnTo>
                    <a:lnTo>
                      <a:pt x="92" y="1290"/>
                    </a:lnTo>
                    <a:lnTo>
                      <a:pt x="86" y="1284"/>
                    </a:lnTo>
                    <a:lnTo>
                      <a:pt x="80" y="1277"/>
                    </a:lnTo>
                    <a:lnTo>
                      <a:pt x="78" y="1272"/>
                    </a:lnTo>
                    <a:lnTo>
                      <a:pt x="76" y="1268"/>
                    </a:lnTo>
                    <a:lnTo>
                      <a:pt x="75" y="1262"/>
                    </a:lnTo>
                    <a:lnTo>
                      <a:pt x="75" y="1257"/>
                    </a:lnTo>
                    <a:lnTo>
                      <a:pt x="76" y="1239"/>
                    </a:lnTo>
                    <a:lnTo>
                      <a:pt x="79" y="1223"/>
                    </a:lnTo>
                    <a:lnTo>
                      <a:pt x="81" y="1207"/>
                    </a:lnTo>
                    <a:lnTo>
                      <a:pt x="82" y="1189"/>
                    </a:lnTo>
                    <a:lnTo>
                      <a:pt x="82" y="1180"/>
                    </a:lnTo>
                    <a:lnTo>
                      <a:pt x="81" y="1172"/>
                    </a:lnTo>
                    <a:lnTo>
                      <a:pt x="79" y="1163"/>
                    </a:lnTo>
                    <a:lnTo>
                      <a:pt x="77" y="1156"/>
                    </a:lnTo>
                    <a:lnTo>
                      <a:pt x="73" y="1142"/>
                    </a:lnTo>
                    <a:lnTo>
                      <a:pt x="67" y="1128"/>
                    </a:lnTo>
                    <a:lnTo>
                      <a:pt x="62" y="1114"/>
                    </a:lnTo>
                    <a:lnTo>
                      <a:pt x="57" y="1099"/>
                    </a:lnTo>
                    <a:lnTo>
                      <a:pt x="55" y="1092"/>
                    </a:lnTo>
                    <a:lnTo>
                      <a:pt x="54" y="1084"/>
                    </a:lnTo>
                    <a:lnTo>
                      <a:pt x="53" y="1076"/>
                    </a:lnTo>
                    <a:lnTo>
                      <a:pt x="52" y="1066"/>
                    </a:lnTo>
                    <a:lnTo>
                      <a:pt x="52" y="1008"/>
                    </a:lnTo>
                    <a:lnTo>
                      <a:pt x="52" y="1001"/>
                    </a:lnTo>
                    <a:lnTo>
                      <a:pt x="50" y="993"/>
                    </a:lnTo>
                    <a:lnTo>
                      <a:pt x="48" y="987"/>
                    </a:lnTo>
                    <a:lnTo>
                      <a:pt x="46" y="980"/>
                    </a:lnTo>
                    <a:lnTo>
                      <a:pt x="41" y="968"/>
                    </a:lnTo>
                    <a:lnTo>
                      <a:pt x="34" y="956"/>
                    </a:lnTo>
                    <a:lnTo>
                      <a:pt x="17" y="934"/>
                    </a:lnTo>
                    <a:lnTo>
                      <a:pt x="0" y="908"/>
                    </a:lnTo>
                    <a:lnTo>
                      <a:pt x="0" y="908"/>
                    </a:lnTo>
                    <a:lnTo>
                      <a:pt x="6" y="895"/>
                    </a:lnTo>
                    <a:lnTo>
                      <a:pt x="11" y="882"/>
                    </a:lnTo>
                    <a:lnTo>
                      <a:pt x="15" y="870"/>
                    </a:lnTo>
                    <a:lnTo>
                      <a:pt x="17" y="859"/>
                    </a:lnTo>
                    <a:lnTo>
                      <a:pt x="20" y="847"/>
                    </a:lnTo>
                    <a:lnTo>
                      <a:pt x="21" y="835"/>
                    </a:lnTo>
                    <a:lnTo>
                      <a:pt x="21" y="822"/>
                    </a:lnTo>
                    <a:lnTo>
                      <a:pt x="22" y="806"/>
                    </a:lnTo>
                    <a:lnTo>
                      <a:pt x="37" y="806"/>
                    </a:lnTo>
                    <a:lnTo>
                      <a:pt x="53" y="805"/>
                    </a:lnTo>
                    <a:lnTo>
                      <a:pt x="67" y="803"/>
                    </a:lnTo>
                    <a:lnTo>
                      <a:pt x="81" y="800"/>
                    </a:lnTo>
                    <a:lnTo>
                      <a:pt x="95" y="796"/>
                    </a:lnTo>
                    <a:lnTo>
                      <a:pt x="107" y="792"/>
                    </a:lnTo>
                    <a:lnTo>
                      <a:pt x="120" y="786"/>
                    </a:lnTo>
                    <a:lnTo>
                      <a:pt x="132" y="781"/>
                    </a:lnTo>
                    <a:lnTo>
                      <a:pt x="156" y="768"/>
                    </a:lnTo>
                    <a:lnTo>
                      <a:pt x="180" y="753"/>
                    </a:lnTo>
                    <a:lnTo>
                      <a:pt x="206" y="737"/>
                    </a:lnTo>
                    <a:lnTo>
                      <a:pt x="233" y="719"/>
                    </a:lnTo>
                    <a:lnTo>
                      <a:pt x="254" y="706"/>
                    </a:lnTo>
                    <a:lnTo>
                      <a:pt x="273" y="694"/>
                    </a:lnTo>
                    <a:lnTo>
                      <a:pt x="292" y="681"/>
                    </a:lnTo>
                    <a:lnTo>
                      <a:pt x="308" y="668"/>
                    </a:lnTo>
                    <a:lnTo>
                      <a:pt x="316" y="660"/>
                    </a:lnTo>
                    <a:lnTo>
                      <a:pt x="323" y="653"/>
                    </a:lnTo>
                    <a:lnTo>
                      <a:pt x="329" y="645"/>
                    </a:lnTo>
                    <a:lnTo>
                      <a:pt x="334" y="637"/>
                    </a:lnTo>
                    <a:lnTo>
                      <a:pt x="339" y="627"/>
                    </a:lnTo>
                    <a:lnTo>
                      <a:pt x="343" y="617"/>
                    </a:lnTo>
                    <a:lnTo>
                      <a:pt x="346" y="606"/>
                    </a:lnTo>
                    <a:lnTo>
                      <a:pt x="349" y="594"/>
                    </a:lnTo>
                    <a:lnTo>
                      <a:pt x="339" y="532"/>
                    </a:lnTo>
                    <a:lnTo>
                      <a:pt x="344" y="522"/>
                    </a:lnTo>
                    <a:lnTo>
                      <a:pt x="350" y="514"/>
                    </a:lnTo>
                    <a:lnTo>
                      <a:pt x="357" y="507"/>
                    </a:lnTo>
                    <a:lnTo>
                      <a:pt x="365" y="500"/>
                    </a:lnTo>
                    <a:lnTo>
                      <a:pt x="373" y="496"/>
                    </a:lnTo>
                    <a:lnTo>
                      <a:pt x="383" y="493"/>
                    </a:lnTo>
                    <a:lnTo>
                      <a:pt x="393" y="491"/>
                    </a:lnTo>
                    <a:lnTo>
                      <a:pt x="403" y="489"/>
                    </a:lnTo>
                    <a:lnTo>
                      <a:pt x="427" y="489"/>
                    </a:lnTo>
                    <a:lnTo>
                      <a:pt x="451" y="489"/>
                    </a:lnTo>
                    <a:lnTo>
                      <a:pt x="475" y="490"/>
                    </a:lnTo>
                    <a:lnTo>
                      <a:pt x="500" y="490"/>
                    </a:lnTo>
                    <a:lnTo>
                      <a:pt x="507" y="489"/>
                    </a:lnTo>
                    <a:lnTo>
                      <a:pt x="516" y="488"/>
                    </a:lnTo>
                    <a:lnTo>
                      <a:pt x="522" y="486"/>
                    </a:lnTo>
                    <a:lnTo>
                      <a:pt x="529" y="483"/>
                    </a:lnTo>
                    <a:lnTo>
                      <a:pt x="535" y="480"/>
                    </a:lnTo>
                    <a:lnTo>
                      <a:pt x="540" y="476"/>
                    </a:lnTo>
                    <a:lnTo>
                      <a:pt x="545" y="471"/>
                    </a:lnTo>
                    <a:lnTo>
                      <a:pt x="551" y="467"/>
                    </a:lnTo>
                    <a:lnTo>
                      <a:pt x="561" y="456"/>
                    </a:lnTo>
                    <a:lnTo>
                      <a:pt x="569" y="444"/>
                    </a:lnTo>
                    <a:lnTo>
                      <a:pt x="578" y="431"/>
                    </a:lnTo>
                    <a:lnTo>
                      <a:pt x="587" y="417"/>
                    </a:lnTo>
                    <a:lnTo>
                      <a:pt x="599" y="398"/>
                    </a:lnTo>
                    <a:lnTo>
                      <a:pt x="609" y="382"/>
                    </a:lnTo>
                    <a:lnTo>
                      <a:pt x="614" y="372"/>
                    </a:lnTo>
                    <a:lnTo>
                      <a:pt x="618" y="363"/>
                    </a:lnTo>
                    <a:lnTo>
                      <a:pt x="620" y="353"/>
                    </a:lnTo>
                    <a:lnTo>
                      <a:pt x="620" y="341"/>
                    </a:lnTo>
                    <a:lnTo>
                      <a:pt x="620" y="329"/>
                    </a:lnTo>
                    <a:lnTo>
                      <a:pt x="619" y="319"/>
                    </a:lnTo>
                    <a:lnTo>
                      <a:pt x="617" y="308"/>
                    </a:lnTo>
                    <a:lnTo>
                      <a:pt x="614" y="298"/>
                    </a:lnTo>
                    <a:lnTo>
                      <a:pt x="606" y="278"/>
                    </a:lnTo>
                    <a:lnTo>
                      <a:pt x="596" y="257"/>
                    </a:lnTo>
                    <a:lnTo>
                      <a:pt x="596" y="257"/>
                    </a:lnTo>
                    <a:close/>
                  </a:path>
                </a:pathLst>
              </a:custGeom>
              <a:solidFill>
                <a:srgbClr val="65AC1E">
                  <a:alpha val="54902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L’viv">
                <a:extLst>
                  <a:ext uri="{FF2B5EF4-FFF2-40B4-BE49-F238E27FC236}">
                    <a16:creationId xmlns:a16="http://schemas.microsoft.com/office/drawing/2014/main" id="{7AA15598-13A4-4D75-99F7-2EE1E1D61F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1940" y="2686729"/>
                <a:ext cx="1174520" cy="1128757"/>
              </a:xfrm>
              <a:custGeom>
                <a:avLst/>
                <a:gdLst>
                  <a:gd name="T0" fmla="*/ 1469 w 2389"/>
                  <a:gd name="T1" fmla="*/ 77 h 2419"/>
                  <a:gd name="T2" fmla="*/ 1568 w 2389"/>
                  <a:gd name="T3" fmla="*/ 65 h 2419"/>
                  <a:gd name="T4" fmla="*/ 1645 w 2389"/>
                  <a:gd name="T5" fmla="*/ 71 h 2419"/>
                  <a:gd name="T6" fmla="*/ 1732 w 2389"/>
                  <a:gd name="T7" fmla="*/ 159 h 2419"/>
                  <a:gd name="T8" fmla="*/ 1743 w 2389"/>
                  <a:gd name="T9" fmla="*/ 230 h 2419"/>
                  <a:gd name="T10" fmla="*/ 1830 w 2389"/>
                  <a:gd name="T11" fmla="*/ 301 h 2419"/>
                  <a:gd name="T12" fmla="*/ 1860 w 2389"/>
                  <a:gd name="T13" fmla="*/ 400 h 2419"/>
                  <a:gd name="T14" fmla="*/ 1911 w 2389"/>
                  <a:gd name="T15" fmla="*/ 430 h 2419"/>
                  <a:gd name="T16" fmla="*/ 2023 w 2389"/>
                  <a:gd name="T17" fmla="*/ 389 h 2419"/>
                  <a:gd name="T18" fmla="*/ 2201 w 2389"/>
                  <a:gd name="T19" fmla="*/ 451 h 2419"/>
                  <a:gd name="T20" fmla="*/ 2229 w 2389"/>
                  <a:gd name="T21" fmla="*/ 630 h 2419"/>
                  <a:gd name="T22" fmla="*/ 2289 w 2389"/>
                  <a:gd name="T23" fmla="*/ 822 h 2419"/>
                  <a:gd name="T24" fmla="*/ 2389 w 2389"/>
                  <a:gd name="T25" fmla="*/ 948 h 2419"/>
                  <a:gd name="T26" fmla="*/ 2320 w 2389"/>
                  <a:gd name="T27" fmla="*/ 1086 h 2419"/>
                  <a:gd name="T28" fmla="*/ 2196 w 2389"/>
                  <a:gd name="T29" fmla="*/ 1108 h 2419"/>
                  <a:gd name="T30" fmla="*/ 2115 w 2389"/>
                  <a:gd name="T31" fmla="*/ 1225 h 2419"/>
                  <a:gd name="T32" fmla="*/ 2002 w 2389"/>
                  <a:gd name="T33" fmla="*/ 1338 h 2419"/>
                  <a:gd name="T34" fmla="*/ 1806 w 2389"/>
                  <a:gd name="T35" fmla="*/ 1425 h 2419"/>
                  <a:gd name="T36" fmla="*/ 1745 w 2389"/>
                  <a:gd name="T37" fmla="*/ 1518 h 2419"/>
                  <a:gd name="T38" fmla="*/ 1600 w 2389"/>
                  <a:gd name="T39" fmla="*/ 1487 h 2419"/>
                  <a:gd name="T40" fmla="*/ 1522 w 2389"/>
                  <a:gd name="T41" fmla="*/ 1451 h 2419"/>
                  <a:gd name="T42" fmla="*/ 1470 w 2389"/>
                  <a:gd name="T43" fmla="*/ 1669 h 2419"/>
                  <a:gd name="T44" fmla="*/ 1417 w 2389"/>
                  <a:gd name="T45" fmla="*/ 1753 h 2419"/>
                  <a:gd name="T46" fmla="*/ 1482 w 2389"/>
                  <a:gd name="T47" fmla="*/ 1813 h 2419"/>
                  <a:gd name="T48" fmla="*/ 1440 w 2389"/>
                  <a:gd name="T49" fmla="*/ 1906 h 2419"/>
                  <a:gd name="T50" fmla="*/ 1320 w 2389"/>
                  <a:gd name="T51" fmla="*/ 1905 h 2419"/>
                  <a:gd name="T52" fmla="*/ 1210 w 2389"/>
                  <a:gd name="T53" fmla="*/ 1885 h 2419"/>
                  <a:gd name="T54" fmla="*/ 940 w 2389"/>
                  <a:gd name="T55" fmla="*/ 1933 h 2419"/>
                  <a:gd name="T56" fmla="*/ 832 w 2389"/>
                  <a:gd name="T57" fmla="*/ 1963 h 2419"/>
                  <a:gd name="T58" fmla="*/ 730 w 2389"/>
                  <a:gd name="T59" fmla="*/ 2097 h 2419"/>
                  <a:gd name="T60" fmla="*/ 704 w 2389"/>
                  <a:gd name="T61" fmla="*/ 2419 h 2419"/>
                  <a:gd name="T62" fmla="*/ 507 w 2389"/>
                  <a:gd name="T63" fmla="*/ 2352 h 2419"/>
                  <a:gd name="T64" fmla="*/ 390 w 2389"/>
                  <a:gd name="T65" fmla="*/ 2320 h 2419"/>
                  <a:gd name="T66" fmla="*/ 334 w 2389"/>
                  <a:gd name="T67" fmla="*/ 2223 h 2419"/>
                  <a:gd name="T68" fmla="*/ 271 w 2389"/>
                  <a:gd name="T69" fmla="*/ 2195 h 2419"/>
                  <a:gd name="T70" fmla="*/ 136 w 2389"/>
                  <a:gd name="T71" fmla="*/ 2119 h 2419"/>
                  <a:gd name="T72" fmla="*/ 164 w 2389"/>
                  <a:gd name="T73" fmla="*/ 2045 h 2419"/>
                  <a:gd name="T74" fmla="*/ 152 w 2389"/>
                  <a:gd name="T75" fmla="*/ 1989 h 2419"/>
                  <a:gd name="T76" fmla="*/ 105 w 2389"/>
                  <a:gd name="T77" fmla="*/ 1919 h 2419"/>
                  <a:gd name="T78" fmla="*/ 12 w 2389"/>
                  <a:gd name="T79" fmla="*/ 1807 h 2419"/>
                  <a:gd name="T80" fmla="*/ 22 w 2389"/>
                  <a:gd name="T81" fmla="*/ 1746 h 2419"/>
                  <a:gd name="T82" fmla="*/ 81 w 2389"/>
                  <a:gd name="T83" fmla="*/ 1618 h 2419"/>
                  <a:gd name="T84" fmla="*/ 53 w 2389"/>
                  <a:gd name="T85" fmla="*/ 1470 h 2419"/>
                  <a:gd name="T86" fmla="*/ 64 w 2389"/>
                  <a:gd name="T87" fmla="*/ 1372 h 2419"/>
                  <a:gd name="T88" fmla="*/ 63 w 2389"/>
                  <a:gd name="T89" fmla="*/ 1270 h 2419"/>
                  <a:gd name="T90" fmla="*/ 251 w 2389"/>
                  <a:gd name="T91" fmla="*/ 1081 h 2419"/>
                  <a:gd name="T92" fmla="*/ 292 w 2389"/>
                  <a:gd name="T93" fmla="*/ 1016 h 2419"/>
                  <a:gd name="T94" fmla="*/ 338 w 2389"/>
                  <a:gd name="T95" fmla="*/ 962 h 2419"/>
                  <a:gd name="T96" fmla="*/ 488 w 2389"/>
                  <a:gd name="T97" fmla="*/ 789 h 2419"/>
                  <a:gd name="T98" fmla="*/ 588 w 2389"/>
                  <a:gd name="T99" fmla="*/ 708 h 2419"/>
                  <a:gd name="T100" fmla="*/ 711 w 2389"/>
                  <a:gd name="T101" fmla="*/ 590 h 2419"/>
                  <a:gd name="T102" fmla="*/ 897 w 2389"/>
                  <a:gd name="T103" fmla="*/ 445 h 2419"/>
                  <a:gd name="T104" fmla="*/ 987 w 2389"/>
                  <a:gd name="T105" fmla="*/ 383 h 2419"/>
                  <a:gd name="T106" fmla="*/ 1020 w 2389"/>
                  <a:gd name="T107" fmla="*/ 321 h 2419"/>
                  <a:gd name="T108" fmla="*/ 1145 w 2389"/>
                  <a:gd name="T109" fmla="*/ 279 h 2419"/>
                  <a:gd name="T110" fmla="*/ 1242 w 2389"/>
                  <a:gd name="T111" fmla="*/ 295 h 2419"/>
                  <a:gd name="T112" fmla="*/ 1301 w 2389"/>
                  <a:gd name="T113" fmla="*/ 207 h 2419"/>
                  <a:gd name="T114" fmla="*/ 1382 w 2389"/>
                  <a:gd name="T115" fmla="*/ 120 h 2419"/>
                  <a:gd name="T116" fmla="*/ 1376 w 2389"/>
                  <a:gd name="T117" fmla="*/ 67 h 2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89" h="2419">
                    <a:moveTo>
                      <a:pt x="1401" y="9"/>
                    </a:moveTo>
                    <a:lnTo>
                      <a:pt x="1427" y="0"/>
                    </a:lnTo>
                    <a:lnTo>
                      <a:pt x="1437" y="2"/>
                    </a:lnTo>
                    <a:lnTo>
                      <a:pt x="1440" y="17"/>
                    </a:lnTo>
                    <a:lnTo>
                      <a:pt x="1444" y="31"/>
                    </a:lnTo>
                    <a:lnTo>
                      <a:pt x="1448" y="44"/>
                    </a:lnTo>
                    <a:lnTo>
                      <a:pt x="1453" y="58"/>
                    </a:lnTo>
                    <a:lnTo>
                      <a:pt x="1456" y="63"/>
                    </a:lnTo>
                    <a:lnTo>
                      <a:pt x="1461" y="68"/>
                    </a:lnTo>
                    <a:lnTo>
                      <a:pt x="1465" y="73"/>
                    </a:lnTo>
                    <a:lnTo>
                      <a:pt x="1469" y="77"/>
                    </a:lnTo>
                    <a:lnTo>
                      <a:pt x="1474" y="81"/>
                    </a:lnTo>
                    <a:lnTo>
                      <a:pt x="1480" y="83"/>
                    </a:lnTo>
                    <a:lnTo>
                      <a:pt x="1486" y="84"/>
                    </a:lnTo>
                    <a:lnTo>
                      <a:pt x="1494" y="85"/>
                    </a:lnTo>
                    <a:lnTo>
                      <a:pt x="1502" y="85"/>
                    </a:lnTo>
                    <a:lnTo>
                      <a:pt x="1510" y="84"/>
                    </a:lnTo>
                    <a:lnTo>
                      <a:pt x="1518" y="82"/>
                    </a:lnTo>
                    <a:lnTo>
                      <a:pt x="1526" y="81"/>
                    </a:lnTo>
                    <a:lnTo>
                      <a:pt x="1540" y="75"/>
                    </a:lnTo>
                    <a:lnTo>
                      <a:pt x="1554" y="70"/>
                    </a:lnTo>
                    <a:lnTo>
                      <a:pt x="1568" y="65"/>
                    </a:lnTo>
                    <a:lnTo>
                      <a:pt x="1582" y="61"/>
                    </a:lnTo>
                    <a:lnTo>
                      <a:pt x="1591" y="59"/>
                    </a:lnTo>
                    <a:lnTo>
                      <a:pt x="1599" y="58"/>
                    </a:lnTo>
                    <a:lnTo>
                      <a:pt x="1607" y="57"/>
                    </a:lnTo>
                    <a:lnTo>
                      <a:pt x="1615" y="57"/>
                    </a:lnTo>
                    <a:lnTo>
                      <a:pt x="1623" y="57"/>
                    </a:lnTo>
                    <a:lnTo>
                      <a:pt x="1628" y="58"/>
                    </a:lnTo>
                    <a:lnTo>
                      <a:pt x="1633" y="61"/>
                    </a:lnTo>
                    <a:lnTo>
                      <a:pt x="1637" y="63"/>
                    </a:lnTo>
                    <a:lnTo>
                      <a:pt x="1641" y="67"/>
                    </a:lnTo>
                    <a:lnTo>
                      <a:pt x="1645" y="71"/>
                    </a:lnTo>
                    <a:lnTo>
                      <a:pt x="1648" y="75"/>
                    </a:lnTo>
                    <a:lnTo>
                      <a:pt x="1651" y="81"/>
                    </a:lnTo>
                    <a:lnTo>
                      <a:pt x="1658" y="92"/>
                    </a:lnTo>
                    <a:lnTo>
                      <a:pt x="1664" y="103"/>
                    </a:lnTo>
                    <a:lnTo>
                      <a:pt x="1671" y="115"/>
                    </a:lnTo>
                    <a:lnTo>
                      <a:pt x="1679" y="125"/>
                    </a:lnTo>
                    <a:lnTo>
                      <a:pt x="1691" y="134"/>
                    </a:lnTo>
                    <a:lnTo>
                      <a:pt x="1703" y="143"/>
                    </a:lnTo>
                    <a:lnTo>
                      <a:pt x="1714" y="149"/>
                    </a:lnTo>
                    <a:lnTo>
                      <a:pt x="1727" y="156"/>
                    </a:lnTo>
                    <a:lnTo>
                      <a:pt x="1732" y="159"/>
                    </a:lnTo>
                    <a:lnTo>
                      <a:pt x="1737" y="163"/>
                    </a:lnTo>
                    <a:lnTo>
                      <a:pt x="1741" y="167"/>
                    </a:lnTo>
                    <a:lnTo>
                      <a:pt x="1745" y="171"/>
                    </a:lnTo>
                    <a:lnTo>
                      <a:pt x="1748" y="177"/>
                    </a:lnTo>
                    <a:lnTo>
                      <a:pt x="1750" y="183"/>
                    </a:lnTo>
                    <a:lnTo>
                      <a:pt x="1751" y="189"/>
                    </a:lnTo>
                    <a:lnTo>
                      <a:pt x="1752" y="195"/>
                    </a:lnTo>
                    <a:lnTo>
                      <a:pt x="1751" y="204"/>
                    </a:lnTo>
                    <a:lnTo>
                      <a:pt x="1748" y="213"/>
                    </a:lnTo>
                    <a:lnTo>
                      <a:pt x="1745" y="221"/>
                    </a:lnTo>
                    <a:lnTo>
                      <a:pt x="1743" y="230"/>
                    </a:lnTo>
                    <a:lnTo>
                      <a:pt x="1743" y="249"/>
                    </a:lnTo>
                    <a:lnTo>
                      <a:pt x="1743" y="265"/>
                    </a:lnTo>
                    <a:lnTo>
                      <a:pt x="1743" y="281"/>
                    </a:lnTo>
                    <a:lnTo>
                      <a:pt x="1743" y="299"/>
                    </a:lnTo>
                    <a:lnTo>
                      <a:pt x="1752" y="296"/>
                    </a:lnTo>
                    <a:lnTo>
                      <a:pt x="1763" y="294"/>
                    </a:lnTo>
                    <a:lnTo>
                      <a:pt x="1811" y="294"/>
                    </a:lnTo>
                    <a:lnTo>
                      <a:pt x="1816" y="295"/>
                    </a:lnTo>
                    <a:lnTo>
                      <a:pt x="1822" y="296"/>
                    </a:lnTo>
                    <a:lnTo>
                      <a:pt x="1826" y="298"/>
                    </a:lnTo>
                    <a:lnTo>
                      <a:pt x="1830" y="301"/>
                    </a:lnTo>
                    <a:lnTo>
                      <a:pt x="1833" y="304"/>
                    </a:lnTo>
                    <a:lnTo>
                      <a:pt x="1836" y="308"/>
                    </a:lnTo>
                    <a:lnTo>
                      <a:pt x="1839" y="312"/>
                    </a:lnTo>
                    <a:lnTo>
                      <a:pt x="1841" y="316"/>
                    </a:lnTo>
                    <a:lnTo>
                      <a:pt x="1845" y="326"/>
                    </a:lnTo>
                    <a:lnTo>
                      <a:pt x="1848" y="338"/>
                    </a:lnTo>
                    <a:lnTo>
                      <a:pt x="1850" y="350"/>
                    </a:lnTo>
                    <a:lnTo>
                      <a:pt x="1852" y="363"/>
                    </a:lnTo>
                    <a:lnTo>
                      <a:pt x="1855" y="376"/>
                    </a:lnTo>
                    <a:lnTo>
                      <a:pt x="1857" y="388"/>
                    </a:lnTo>
                    <a:lnTo>
                      <a:pt x="1860" y="400"/>
                    </a:lnTo>
                    <a:lnTo>
                      <a:pt x="1863" y="410"/>
                    </a:lnTo>
                    <a:lnTo>
                      <a:pt x="1866" y="415"/>
                    </a:lnTo>
                    <a:lnTo>
                      <a:pt x="1868" y="419"/>
                    </a:lnTo>
                    <a:lnTo>
                      <a:pt x="1871" y="422"/>
                    </a:lnTo>
                    <a:lnTo>
                      <a:pt x="1875" y="425"/>
                    </a:lnTo>
                    <a:lnTo>
                      <a:pt x="1879" y="429"/>
                    </a:lnTo>
                    <a:lnTo>
                      <a:pt x="1883" y="431"/>
                    </a:lnTo>
                    <a:lnTo>
                      <a:pt x="1889" y="432"/>
                    </a:lnTo>
                    <a:lnTo>
                      <a:pt x="1894" y="432"/>
                    </a:lnTo>
                    <a:lnTo>
                      <a:pt x="1903" y="432"/>
                    </a:lnTo>
                    <a:lnTo>
                      <a:pt x="1911" y="430"/>
                    </a:lnTo>
                    <a:lnTo>
                      <a:pt x="1918" y="428"/>
                    </a:lnTo>
                    <a:lnTo>
                      <a:pt x="1926" y="425"/>
                    </a:lnTo>
                    <a:lnTo>
                      <a:pt x="1939" y="418"/>
                    </a:lnTo>
                    <a:lnTo>
                      <a:pt x="1953" y="410"/>
                    </a:lnTo>
                    <a:lnTo>
                      <a:pt x="1965" y="403"/>
                    </a:lnTo>
                    <a:lnTo>
                      <a:pt x="1978" y="396"/>
                    </a:lnTo>
                    <a:lnTo>
                      <a:pt x="1986" y="393"/>
                    </a:lnTo>
                    <a:lnTo>
                      <a:pt x="1994" y="391"/>
                    </a:lnTo>
                    <a:lnTo>
                      <a:pt x="2002" y="389"/>
                    </a:lnTo>
                    <a:lnTo>
                      <a:pt x="2010" y="389"/>
                    </a:lnTo>
                    <a:lnTo>
                      <a:pt x="2023" y="389"/>
                    </a:lnTo>
                    <a:lnTo>
                      <a:pt x="2034" y="390"/>
                    </a:lnTo>
                    <a:lnTo>
                      <a:pt x="2045" y="392"/>
                    </a:lnTo>
                    <a:lnTo>
                      <a:pt x="2056" y="394"/>
                    </a:lnTo>
                    <a:lnTo>
                      <a:pt x="2076" y="401"/>
                    </a:lnTo>
                    <a:lnTo>
                      <a:pt x="2096" y="408"/>
                    </a:lnTo>
                    <a:lnTo>
                      <a:pt x="2115" y="415"/>
                    </a:lnTo>
                    <a:lnTo>
                      <a:pt x="2136" y="422"/>
                    </a:lnTo>
                    <a:lnTo>
                      <a:pt x="2158" y="429"/>
                    </a:lnTo>
                    <a:lnTo>
                      <a:pt x="2181" y="434"/>
                    </a:lnTo>
                    <a:lnTo>
                      <a:pt x="2181" y="434"/>
                    </a:lnTo>
                    <a:lnTo>
                      <a:pt x="2201" y="451"/>
                    </a:lnTo>
                    <a:lnTo>
                      <a:pt x="2219" y="469"/>
                    </a:lnTo>
                    <a:lnTo>
                      <a:pt x="2226" y="478"/>
                    </a:lnTo>
                    <a:lnTo>
                      <a:pt x="2231" y="488"/>
                    </a:lnTo>
                    <a:lnTo>
                      <a:pt x="2233" y="494"/>
                    </a:lnTo>
                    <a:lnTo>
                      <a:pt x="2234" y="500"/>
                    </a:lnTo>
                    <a:lnTo>
                      <a:pt x="2235" y="506"/>
                    </a:lnTo>
                    <a:lnTo>
                      <a:pt x="2236" y="512"/>
                    </a:lnTo>
                    <a:lnTo>
                      <a:pt x="2235" y="543"/>
                    </a:lnTo>
                    <a:lnTo>
                      <a:pt x="2232" y="571"/>
                    </a:lnTo>
                    <a:lnTo>
                      <a:pt x="2230" y="599"/>
                    </a:lnTo>
                    <a:lnTo>
                      <a:pt x="2229" y="630"/>
                    </a:lnTo>
                    <a:lnTo>
                      <a:pt x="2229" y="651"/>
                    </a:lnTo>
                    <a:lnTo>
                      <a:pt x="2230" y="670"/>
                    </a:lnTo>
                    <a:lnTo>
                      <a:pt x="2233" y="690"/>
                    </a:lnTo>
                    <a:lnTo>
                      <a:pt x="2236" y="709"/>
                    </a:lnTo>
                    <a:lnTo>
                      <a:pt x="2240" y="727"/>
                    </a:lnTo>
                    <a:lnTo>
                      <a:pt x="2245" y="746"/>
                    </a:lnTo>
                    <a:lnTo>
                      <a:pt x="2252" y="762"/>
                    </a:lnTo>
                    <a:lnTo>
                      <a:pt x="2259" y="779"/>
                    </a:lnTo>
                    <a:lnTo>
                      <a:pt x="2268" y="794"/>
                    </a:lnTo>
                    <a:lnTo>
                      <a:pt x="2277" y="809"/>
                    </a:lnTo>
                    <a:lnTo>
                      <a:pt x="2289" y="822"/>
                    </a:lnTo>
                    <a:lnTo>
                      <a:pt x="2301" y="835"/>
                    </a:lnTo>
                    <a:lnTo>
                      <a:pt x="2316" y="847"/>
                    </a:lnTo>
                    <a:lnTo>
                      <a:pt x="2330" y="857"/>
                    </a:lnTo>
                    <a:lnTo>
                      <a:pt x="2347" y="867"/>
                    </a:lnTo>
                    <a:lnTo>
                      <a:pt x="2365" y="876"/>
                    </a:lnTo>
                    <a:lnTo>
                      <a:pt x="2365" y="876"/>
                    </a:lnTo>
                    <a:lnTo>
                      <a:pt x="2375" y="897"/>
                    </a:lnTo>
                    <a:lnTo>
                      <a:pt x="2383" y="917"/>
                    </a:lnTo>
                    <a:lnTo>
                      <a:pt x="2386" y="927"/>
                    </a:lnTo>
                    <a:lnTo>
                      <a:pt x="2388" y="938"/>
                    </a:lnTo>
                    <a:lnTo>
                      <a:pt x="2389" y="948"/>
                    </a:lnTo>
                    <a:lnTo>
                      <a:pt x="2389" y="960"/>
                    </a:lnTo>
                    <a:lnTo>
                      <a:pt x="2389" y="972"/>
                    </a:lnTo>
                    <a:lnTo>
                      <a:pt x="2387" y="982"/>
                    </a:lnTo>
                    <a:lnTo>
                      <a:pt x="2383" y="991"/>
                    </a:lnTo>
                    <a:lnTo>
                      <a:pt x="2378" y="1001"/>
                    </a:lnTo>
                    <a:lnTo>
                      <a:pt x="2368" y="1017"/>
                    </a:lnTo>
                    <a:lnTo>
                      <a:pt x="2356" y="1036"/>
                    </a:lnTo>
                    <a:lnTo>
                      <a:pt x="2347" y="1050"/>
                    </a:lnTo>
                    <a:lnTo>
                      <a:pt x="2338" y="1063"/>
                    </a:lnTo>
                    <a:lnTo>
                      <a:pt x="2330" y="1075"/>
                    </a:lnTo>
                    <a:lnTo>
                      <a:pt x="2320" y="1086"/>
                    </a:lnTo>
                    <a:lnTo>
                      <a:pt x="2314" y="1090"/>
                    </a:lnTo>
                    <a:lnTo>
                      <a:pt x="2309" y="1095"/>
                    </a:lnTo>
                    <a:lnTo>
                      <a:pt x="2304" y="1099"/>
                    </a:lnTo>
                    <a:lnTo>
                      <a:pt x="2298" y="1102"/>
                    </a:lnTo>
                    <a:lnTo>
                      <a:pt x="2291" y="1105"/>
                    </a:lnTo>
                    <a:lnTo>
                      <a:pt x="2285" y="1107"/>
                    </a:lnTo>
                    <a:lnTo>
                      <a:pt x="2276" y="1108"/>
                    </a:lnTo>
                    <a:lnTo>
                      <a:pt x="2269" y="1109"/>
                    </a:lnTo>
                    <a:lnTo>
                      <a:pt x="2244" y="1109"/>
                    </a:lnTo>
                    <a:lnTo>
                      <a:pt x="2220" y="1108"/>
                    </a:lnTo>
                    <a:lnTo>
                      <a:pt x="2196" y="1108"/>
                    </a:lnTo>
                    <a:lnTo>
                      <a:pt x="2172" y="1108"/>
                    </a:lnTo>
                    <a:lnTo>
                      <a:pt x="2162" y="1110"/>
                    </a:lnTo>
                    <a:lnTo>
                      <a:pt x="2152" y="1112"/>
                    </a:lnTo>
                    <a:lnTo>
                      <a:pt x="2142" y="1115"/>
                    </a:lnTo>
                    <a:lnTo>
                      <a:pt x="2134" y="1119"/>
                    </a:lnTo>
                    <a:lnTo>
                      <a:pt x="2126" y="1126"/>
                    </a:lnTo>
                    <a:lnTo>
                      <a:pt x="2119" y="1133"/>
                    </a:lnTo>
                    <a:lnTo>
                      <a:pt x="2113" y="1141"/>
                    </a:lnTo>
                    <a:lnTo>
                      <a:pt x="2108" y="1151"/>
                    </a:lnTo>
                    <a:lnTo>
                      <a:pt x="2118" y="1213"/>
                    </a:lnTo>
                    <a:lnTo>
                      <a:pt x="2115" y="1225"/>
                    </a:lnTo>
                    <a:lnTo>
                      <a:pt x="2112" y="1236"/>
                    </a:lnTo>
                    <a:lnTo>
                      <a:pt x="2108" y="1246"/>
                    </a:lnTo>
                    <a:lnTo>
                      <a:pt x="2103" y="1256"/>
                    </a:lnTo>
                    <a:lnTo>
                      <a:pt x="2098" y="1264"/>
                    </a:lnTo>
                    <a:lnTo>
                      <a:pt x="2092" y="1272"/>
                    </a:lnTo>
                    <a:lnTo>
                      <a:pt x="2085" y="1279"/>
                    </a:lnTo>
                    <a:lnTo>
                      <a:pt x="2077" y="1287"/>
                    </a:lnTo>
                    <a:lnTo>
                      <a:pt x="2061" y="1300"/>
                    </a:lnTo>
                    <a:lnTo>
                      <a:pt x="2042" y="1313"/>
                    </a:lnTo>
                    <a:lnTo>
                      <a:pt x="2023" y="1325"/>
                    </a:lnTo>
                    <a:lnTo>
                      <a:pt x="2002" y="1338"/>
                    </a:lnTo>
                    <a:lnTo>
                      <a:pt x="1975" y="1356"/>
                    </a:lnTo>
                    <a:lnTo>
                      <a:pt x="1949" y="1372"/>
                    </a:lnTo>
                    <a:lnTo>
                      <a:pt x="1925" y="1387"/>
                    </a:lnTo>
                    <a:lnTo>
                      <a:pt x="1901" y="1400"/>
                    </a:lnTo>
                    <a:lnTo>
                      <a:pt x="1889" y="1405"/>
                    </a:lnTo>
                    <a:lnTo>
                      <a:pt x="1876" y="1411"/>
                    </a:lnTo>
                    <a:lnTo>
                      <a:pt x="1864" y="1415"/>
                    </a:lnTo>
                    <a:lnTo>
                      <a:pt x="1850" y="1419"/>
                    </a:lnTo>
                    <a:lnTo>
                      <a:pt x="1836" y="1422"/>
                    </a:lnTo>
                    <a:lnTo>
                      <a:pt x="1822" y="1424"/>
                    </a:lnTo>
                    <a:lnTo>
                      <a:pt x="1806" y="1425"/>
                    </a:lnTo>
                    <a:lnTo>
                      <a:pt x="1791" y="1425"/>
                    </a:lnTo>
                    <a:lnTo>
                      <a:pt x="1790" y="1441"/>
                    </a:lnTo>
                    <a:lnTo>
                      <a:pt x="1790" y="1454"/>
                    </a:lnTo>
                    <a:lnTo>
                      <a:pt x="1789" y="1466"/>
                    </a:lnTo>
                    <a:lnTo>
                      <a:pt x="1786" y="1478"/>
                    </a:lnTo>
                    <a:lnTo>
                      <a:pt x="1784" y="1489"/>
                    </a:lnTo>
                    <a:lnTo>
                      <a:pt x="1780" y="1501"/>
                    </a:lnTo>
                    <a:lnTo>
                      <a:pt x="1775" y="1514"/>
                    </a:lnTo>
                    <a:lnTo>
                      <a:pt x="1769" y="1527"/>
                    </a:lnTo>
                    <a:lnTo>
                      <a:pt x="1769" y="1527"/>
                    </a:lnTo>
                    <a:lnTo>
                      <a:pt x="1745" y="1518"/>
                    </a:lnTo>
                    <a:lnTo>
                      <a:pt x="1725" y="1509"/>
                    </a:lnTo>
                    <a:lnTo>
                      <a:pt x="1714" y="1505"/>
                    </a:lnTo>
                    <a:lnTo>
                      <a:pt x="1703" y="1501"/>
                    </a:lnTo>
                    <a:lnTo>
                      <a:pt x="1692" y="1499"/>
                    </a:lnTo>
                    <a:lnTo>
                      <a:pt x="1679" y="1498"/>
                    </a:lnTo>
                    <a:lnTo>
                      <a:pt x="1633" y="1498"/>
                    </a:lnTo>
                    <a:lnTo>
                      <a:pt x="1625" y="1498"/>
                    </a:lnTo>
                    <a:lnTo>
                      <a:pt x="1618" y="1496"/>
                    </a:lnTo>
                    <a:lnTo>
                      <a:pt x="1611" y="1494"/>
                    </a:lnTo>
                    <a:lnTo>
                      <a:pt x="1606" y="1491"/>
                    </a:lnTo>
                    <a:lnTo>
                      <a:pt x="1600" y="1487"/>
                    </a:lnTo>
                    <a:lnTo>
                      <a:pt x="1595" y="1483"/>
                    </a:lnTo>
                    <a:lnTo>
                      <a:pt x="1591" y="1478"/>
                    </a:lnTo>
                    <a:lnTo>
                      <a:pt x="1586" y="1473"/>
                    </a:lnTo>
                    <a:lnTo>
                      <a:pt x="1571" y="1447"/>
                    </a:lnTo>
                    <a:lnTo>
                      <a:pt x="1554" y="1419"/>
                    </a:lnTo>
                    <a:lnTo>
                      <a:pt x="1547" y="1423"/>
                    </a:lnTo>
                    <a:lnTo>
                      <a:pt x="1541" y="1428"/>
                    </a:lnTo>
                    <a:lnTo>
                      <a:pt x="1535" y="1433"/>
                    </a:lnTo>
                    <a:lnTo>
                      <a:pt x="1530" y="1438"/>
                    </a:lnTo>
                    <a:lnTo>
                      <a:pt x="1526" y="1445"/>
                    </a:lnTo>
                    <a:lnTo>
                      <a:pt x="1522" y="1451"/>
                    </a:lnTo>
                    <a:lnTo>
                      <a:pt x="1519" y="1457"/>
                    </a:lnTo>
                    <a:lnTo>
                      <a:pt x="1516" y="1464"/>
                    </a:lnTo>
                    <a:lnTo>
                      <a:pt x="1507" y="1494"/>
                    </a:lnTo>
                    <a:lnTo>
                      <a:pt x="1498" y="1527"/>
                    </a:lnTo>
                    <a:lnTo>
                      <a:pt x="1491" y="1549"/>
                    </a:lnTo>
                    <a:lnTo>
                      <a:pt x="1484" y="1570"/>
                    </a:lnTo>
                    <a:lnTo>
                      <a:pt x="1479" y="1589"/>
                    </a:lnTo>
                    <a:lnTo>
                      <a:pt x="1475" y="1608"/>
                    </a:lnTo>
                    <a:lnTo>
                      <a:pt x="1473" y="1627"/>
                    </a:lnTo>
                    <a:lnTo>
                      <a:pt x="1471" y="1647"/>
                    </a:lnTo>
                    <a:lnTo>
                      <a:pt x="1470" y="1669"/>
                    </a:lnTo>
                    <a:lnTo>
                      <a:pt x="1470" y="1693"/>
                    </a:lnTo>
                    <a:lnTo>
                      <a:pt x="1469" y="1699"/>
                    </a:lnTo>
                    <a:lnTo>
                      <a:pt x="1467" y="1704"/>
                    </a:lnTo>
                    <a:lnTo>
                      <a:pt x="1465" y="1709"/>
                    </a:lnTo>
                    <a:lnTo>
                      <a:pt x="1461" y="1713"/>
                    </a:lnTo>
                    <a:lnTo>
                      <a:pt x="1452" y="1721"/>
                    </a:lnTo>
                    <a:lnTo>
                      <a:pt x="1442" y="1729"/>
                    </a:lnTo>
                    <a:lnTo>
                      <a:pt x="1433" y="1736"/>
                    </a:lnTo>
                    <a:lnTo>
                      <a:pt x="1423" y="1744"/>
                    </a:lnTo>
                    <a:lnTo>
                      <a:pt x="1420" y="1748"/>
                    </a:lnTo>
                    <a:lnTo>
                      <a:pt x="1417" y="1753"/>
                    </a:lnTo>
                    <a:lnTo>
                      <a:pt x="1416" y="1760"/>
                    </a:lnTo>
                    <a:lnTo>
                      <a:pt x="1415" y="1766"/>
                    </a:lnTo>
                    <a:lnTo>
                      <a:pt x="1416" y="1773"/>
                    </a:lnTo>
                    <a:lnTo>
                      <a:pt x="1418" y="1780"/>
                    </a:lnTo>
                    <a:lnTo>
                      <a:pt x="1421" y="1786"/>
                    </a:lnTo>
                    <a:lnTo>
                      <a:pt x="1425" y="1792"/>
                    </a:lnTo>
                    <a:lnTo>
                      <a:pt x="1430" y="1796"/>
                    </a:lnTo>
                    <a:lnTo>
                      <a:pt x="1436" y="1800"/>
                    </a:lnTo>
                    <a:lnTo>
                      <a:pt x="1442" y="1803"/>
                    </a:lnTo>
                    <a:lnTo>
                      <a:pt x="1449" y="1805"/>
                    </a:lnTo>
                    <a:lnTo>
                      <a:pt x="1482" y="1813"/>
                    </a:lnTo>
                    <a:lnTo>
                      <a:pt x="1516" y="1820"/>
                    </a:lnTo>
                    <a:lnTo>
                      <a:pt x="1514" y="1833"/>
                    </a:lnTo>
                    <a:lnTo>
                      <a:pt x="1511" y="1844"/>
                    </a:lnTo>
                    <a:lnTo>
                      <a:pt x="1506" y="1856"/>
                    </a:lnTo>
                    <a:lnTo>
                      <a:pt x="1500" y="1866"/>
                    </a:lnTo>
                    <a:lnTo>
                      <a:pt x="1493" y="1874"/>
                    </a:lnTo>
                    <a:lnTo>
                      <a:pt x="1483" y="1883"/>
                    </a:lnTo>
                    <a:lnTo>
                      <a:pt x="1474" y="1890"/>
                    </a:lnTo>
                    <a:lnTo>
                      <a:pt x="1464" y="1896"/>
                    </a:lnTo>
                    <a:lnTo>
                      <a:pt x="1452" y="1902"/>
                    </a:lnTo>
                    <a:lnTo>
                      <a:pt x="1440" y="1906"/>
                    </a:lnTo>
                    <a:lnTo>
                      <a:pt x="1428" y="1910"/>
                    </a:lnTo>
                    <a:lnTo>
                      <a:pt x="1415" y="1914"/>
                    </a:lnTo>
                    <a:lnTo>
                      <a:pt x="1402" y="1916"/>
                    </a:lnTo>
                    <a:lnTo>
                      <a:pt x="1388" y="1918"/>
                    </a:lnTo>
                    <a:lnTo>
                      <a:pt x="1375" y="1919"/>
                    </a:lnTo>
                    <a:lnTo>
                      <a:pt x="1361" y="1919"/>
                    </a:lnTo>
                    <a:lnTo>
                      <a:pt x="1353" y="1919"/>
                    </a:lnTo>
                    <a:lnTo>
                      <a:pt x="1346" y="1917"/>
                    </a:lnTo>
                    <a:lnTo>
                      <a:pt x="1339" y="1915"/>
                    </a:lnTo>
                    <a:lnTo>
                      <a:pt x="1333" y="1912"/>
                    </a:lnTo>
                    <a:lnTo>
                      <a:pt x="1320" y="1905"/>
                    </a:lnTo>
                    <a:lnTo>
                      <a:pt x="1309" y="1898"/>
                    </a:lnTo>
                    <a:lnTo>
                      <a:pt x="1298" y="1890"/>
                    </a:lnTo>
                    <a:lnTo>
                      <a:pt x="1286" y="1883"/>
                    </a:lnTo>
                    <a:lnTo>
                      <a:pt x="1279" y="1880"/>
                    </a:lnTo>
                    <a:lnTo>
                      <a:pt x="1273" y="1878"/>
                    </a:lnTo>
                    <a:lnTo>
                      <a:pt x="1266" y="1877"/>
                    </a:lnTo>
                    <a:lnTo>
                      <a:pt x="1257" y="1876"/>
                    </a:lnTo>
                    <a:lnTo>
                      <a:pt x="1244" y="1877"/>
                    </a:lnTo>
                    <a:lnTo>
                      <a:pt x="1233" y="1878"/>
                    </a:lnTo>
                    <a:lnTo>
                      <a:pt x="1221" y="1881"/>
                    </a:lnTo>
                    <a:lnTo>
                      <a:pt x="1210" y="1885"/>
                    </a:lnTo>
                    <a:lnTo>
                      <a:pt x="1190" y="1894"/>
                    </a:lnTo>
                    <a:lnTo>
                      <a:pt x="1171" y="1903"/>
                    </a:lnTo>
                    <a:lnTo>
                      <a:pt x="1151" y="1914"/>
                    </a:lnTo>
                    <a:lnTo>
                      <a:pt x="1132" y="1922"/>
                    </a:lnTo>
                    <a:lnTo>
                      <a:pt x="1120" y="1926"/>
                    </a:lnTo>
                    <a:lnTo>
                      <a:pt x="1110" y="1928"/>
                    </a:lnTo>
                    <a:lnTo>
                      <a:pt x="1098" y="1930"/>
                    </a:lnTo>
                    <a:lnTo>
                      <a:pt x="1084" y="1931"/>
                    </a:lnTo>
                    <a:lnTo>
                      <a:pt x="956" y="1931"/>
                    </a:lnTo>
                    <a:lnTo>
                      <a:pt x="948" y="1931"/>
                    </a:lnTo>
                    <a:lnTo>
                      <a:pt x="940" y="1933"/>
                    </a:lnTo>
                    <a:lnTo>
                      <a:pt x="933" y="1935"/>
                    </a:lnTo>
                    <a:lnTo>
                      <a:pt x="924" y="1935"/>
                    </a:lnTo>
                    <a:lnTo>
                      <a:pt x="878" y="1935"/>
                    </a:lnTo>
                    <a:lnTo>
                      <a:pt x="871" y="1936"/>
                    </a:lnTo>
                    <a:lnTo>
                      <a:pt x="864" y="1937"/>
                    </a:lnTo>
                    <a:lnTo>
                      <a:pt x="857" y="1940"/>
                    </a:lnTo>
                    <a:lnTo>
                      <a:pt x="851" y="1943"/>
                    </a:lnTo>
                    <a:lnTo>
                      <a:pt x="846" y="1948"/>
                    </a:lnTo>
                    <a:lnTo>
                      <a:pt x="841" y="1952"/>
                    </a:lnTo>
                    <a:lnTo>
                      <a:pt x="837" y="1957"/>
                    </a:lnTo>
                    <a:lnTo>
                      <a:pt x="832" y="1963"/>
                    </a:lnTo>
                    <a:lnTo>
                      <a:pt x="823" y="1974"/>
                    </a:lnTo>
                    <a:lnTo>
                      <a:pt x="815" y="1988"/>
                    </a:lnTo>
                    <a:lnTo>
                      <a:pt x="806" y="2001"/>
                    </a:lnTo>
                    <a:lnTo>
                      <a:pt x="795" y="2014"/>
                    </a:lnTo>
                    <a:lnTo>
                      <a:pt x="784" y="2025"/>
                    </a:lnTo>
                    <a:lnTo>
                      <a:pt x="773" y="2037"/>
                    </a:lnTo>
                    <a:lnTo>
                      <a:pt x="762" y="2049"/>
                    </a:lnTo>
                    <a:lnTo>
                      <a:pt x="753" y="2061"/>
                    </a:lnTo>
                    <a:lnTo>
                      <a:pt x="745" y="2073"/>
                    </a:lnTo>
                    <a:lnTo>
                      <a:pt x="738" y="2085"/>
                    </a:lnTo>
                    <a:lnTo>
                      <a:pt x="730" y="2097"/>
                    </a:lnTo>
                    <a:lnTo>
                      <a:pt x="724" y="2110"/>
                    </a:lnTo>
                    <a:lnTo>
                      <a:pt x="718" y="2123"/>
                    </a:lnTo>
                    <a:lnTo>
                      <a:pt x="714" y="2136"/>
                    </a:lnTo>
                    <a:lnTo>
                      <a:pt x="710" y="2150"/>
                    </a:lnTo>
                    <a:lnTo>
                      <a:pt x="707" y="2163"/>
                    </a:lnTo>
                    <a:lnTo>
                      <a:pt x="704" y="2179"/>
                    </a:lnTo>
                    <a:lnTo>
                      <a:pt x="703" y="2193"/>
                    </a:lnTo>
                    <a:lnTo>
                      <a:pt x="702" y="2210"/>
                    </a:lnTo>
                    <a:lnTo>
                      <a:pt x="701" y="2226"/>
                    </a:lnTo>
                    <a:lnTo>
                      <a:pt x="704" y="2419"/>
                    </a:lnTo>
                    <a:lnTo>
                      <a:pt x="704" y="2419"/>
                    </a:lnTo>
                    <a:lnTo>
                      <a:pt x="681" y="2419"/>
                    </a:lnTo>
                    <a:lnTo>
                      <a:pt x="660" y="2418"/>
                    </a:lnTo>
                    <a:lnTo>
                      <a:pt x="641" y="2416"/>
                    </a:lnTo>
                    <a:lnTo>
                      <a:pt x="621" y="2413"/>
                    </a:lnTo>
                    <a:lnTo>
                      <a:pt x="602" y="2409"/>
                    </a:lnTo>
                    <a:lnTo>
                      <a:pt x="583" y="2403"/>
                    </a:lnTo>
                    <a:lnTo>
                      <a:pt x="564" y="2395"/>
                    </a:lnTo>
                    <a:lnTo>
                      <a:pt x="546" y="2384"/>
                    </a:lnTo>
                    <a:lnTo>
                      <a:pt x="528" y="2371"/>
                    </a:lnTo>
                    <a:lnTo>
                      <a:pt x="514" y="2359"/>
                    </a:lnTo>
                    <a:lnTo>
                      <a:pt x="507" y="2352"/>
                    </a:lnTo>
                    <a:lnTo>
                      <a:pt x="498" y="2346"/>
                    </a:lnTo>
                    <a:lnTo>
                      <a:pt x="489" y="2341"/>
                    </a:lnTo>
                    <a:lnTo>
                      <a:pt x="480" y="2337"/>
                    </a:lnTo>
                    <a:lnTo>
                      <a:pt x="468" y="2333"/>
                    </a:lnTo>
                    <a:lnTo>
                      <a:pt x="456" y="2331"/>
                    </a:lnTo>
                    <a:lnTo>
                      <a:pt x="445" y="2330"/>
                    </a:lnTo>
                    <a:lnTo>
                      <a:pt x="435" y="2329"/>
                    </a:lnTo>
                    <a:lnTo>
                      <a:pt x="424" y="2328"/>
                    </a:lnTo>
                    <a:lnTo>
                      <a:pt x="413" y="2327"/>
                    </a:lnTo>
                    <a:lnTo>
                      <a:pt x="402" y="2323"/>
                    </a:lnTo>
                    <a:lnTo>
                      <a:pt x="390" y="2320"/>
                    </a:lnTo>
                    <a:lnTo>
                      <a:pt x="385" y="2318"/>
                    </a:lnTo>
                    <a:lnTo>
                      <a:pt x="380" y="2315"/>
                    </a:lnTo>
                    <a:lnTo>
                      <a:pt x="376" y="2312"/>
                    </a:lnTo>
                    <a:lnTo>
                      <a:pt x="373" y="2309"/>
                    </a:lnTo>
                    <a:lnTo>
                      <a:pt x="365" y="2302"/>
                    </a:lnTo>
                    <a:lnTo>
                      <a:pt x="360" y="2292"/>
                    </a:lnTo>
                    <a:lnTo>
                      <a:pt x="352" y="2273"/>
                    </a:lnTo>
                    <a:lnTo>
                      <a:pt x="345" y="2252"/>
                    </a:lnTo>
                    <a:lnTo>
                      <a:pt x="342" y="2242"/>
                    </a:lnTo>
                    <a:lnTo>
                      <a:pt x="339" y="2233"/>
                    </a:lnTo>
                    <a:lnTo>
                      <a:pt x="334" y="2223"/>
                    </a:lnTo>
                    <a:lnTo>
                      <a:pt x="329" y="2216"/>
                    </a:lnTo>
                    <a:lnTo>
                      <a:pt x="323" y="2209"/>
                    </a:lnTo>
                    <a:lnTo>
                      <a:pt x="317" y="2204"/>
                    </a:lnTo>
                    <a:lnTo>
                      <a:pt x="313" y="2203"/>
                    </a:lnTo>
                    <a:lnTo>
                      <a:pt x="308" y="2201"/>
                    </a:lnTo>
                    <a:lnTo>
                      <a:pt x="304" y="2201"/>
                    </a:lnTo>
                    <a:lnTo>
                      <a:pt x="297" y="2200"/>
                    </a:lnTo>
                    <a:lnTo>
                      <a:pt x="290" y="2200"/>
                    </a:lnTo>
                    <a:lnTo>
                      <a:pt x="283" y="2199"/>
                    </a:lnTo>
                    <a:lnTo>
                      <a:pt x="277" y="2197"/>
                    </a:lnTo>
                    <a:lnTo>
                      <a:pt x="271" y="2195"/>
                    </a:lnTo>
                    <a:lnTo>
                      <a:pt x="258" y="2191"/>
                    </a:lnTo>
                    <a:lnTo>
                      <a:pt x="247" y="2185"/>
                    </a:lnTo>
                    <a:lnTo>
                      <a:pt x="225" y="2171"/>
                    </a:lnTo>
                    <a:lnTo>
                      <a:pt x="201" y="2155"/>
                    </a:lnTo>
                    <a:lnTo>
                      <a:pt x="179" y="2144"/>
                    </a:lnTo>
                    <a:lnTo>
                      <a:pt x="156" y="2134"/>
                    </a:lnTo>
                    <a:lnTo>
                      <a:pt x="152" y="2132"/>
                    </a:lnTo>
                    <a:lnTo>
                      <a:pt x="147" y="2129"/>
                    </a:lnTo>
                    <a:lnTo>
                      <a:pt x="143" y="2126"/>
                    </a:lnTo>
                    <a:lnTo>
                      <a:pt x="140" y="2123"/>
                    </a:lnTo>
                    <a:lnTo>
                      <a:pt x="136" y="2119"/>
                    </a:lnTo>
                    <a:lnTo>
                      <a:pt x="134" y="2114"/>
                    </a:lnTo>
                    <a:lnTo>
                      <a:pt x="133" y="2109"/>
                    </a:lnTo>
                    <a:lnTo>
                      <a:pt x="132" y="2104"/>
                    </a:lnTo>
                    <a:lnTo>
                      <a:pt x="133" y="2096"/>
                    </a:lnTo>
                    <a:lnTo>
                      <a:pt x="134" y="2091"/>
                    </a:lnTo>
                    <a:lnTo>
                      <a:pt x="136" y="2086"/>
                    </a:lnTo>
                    <a:lnTo>
                      <a:pt x="139" y="2081"/>
                    </a:lnTo>
                    <a:lnTo>
                      <a:pt x="145" y="2071"/>
                    </a:lnTo>
                    <a:lnTo>
                      <a:pt x="152" y="2063"/>
                    </a:lnTo>
                    <a:lnTo>
                      <a:pt x="158" y="2054"/>
                    </a:lnTo>
                    <a:lnTo>
                      <a:pt x="164" y="2045"/>
                    </a:lnTo>
                    <a:lnTo>
                      <a:pt x="167" y="2041"/>
                    </a:lnTo>
                    <a:lnTo>
                      <a:pt x="168" y="2034"/>
                    </a:lnTo>
                    <a:lnTo>
                      <a:pt x="171" y="2029"/>
                    </a:lnTo>
                    <a:lnTo>
                      <a:pt x="171" y="2023"/>
                    </a:lnTo>
                    <a:lnTo>
                      <a:pt x="171" y="2017"/>
                    </a:lnTo>
                    <a:lnTo>
                      <a:pt x="168" y="2011"/>
                    </a:lnTo>
                    <a:lnTo>
                      <a:pt x="166" y="2005"/>
                    </a:lnTo>
                    <a:lnTo>
                      <a:pt x="164" y="2000"/>
                    </a:lnTo>
                    <a:lnTo>
                      <a:pt x="160" y="1996"/>
                    </a:lnTo>
                    <a:lnTo>
                      <a:pt x="156" y="1992"/>
                    </a:lnTo>
                    <a:lnTo>
                      <a:pt x="152" y="1989"/>
                    </a:lnTo>
                    <a:lnTo>
                      <a:pt x="147" y="1986"/>
                    </a:lnTo>
                    <a:lnTo>
                      <a:pt x="124" y="1973"/>
                    </a:lnTo>
                    <a:lnTo>
                      <a:pt x="100" y="1962"/>
                    </a:lnTo>
                    <a:lnTo>
                      <a:pt x="100" y="1962"/>
                    </a:lnTo>
                    <a:lnTo>
                      <a:pt x="103" y="1959"/>
                    </a:lnTo>
                    <a:lnTo>
                      <a:pt x="106" y="1955"/>
                    </a:lnTo>
                    <a:lnTo>
                      <a:pt x="107" y="1952"/>
                    </a:lnTo>
                    <a:lnTo>
                      <a:pt x="107" y="1948"/>
                    </a:lnTo>
                    <a:lnTo>
                      <a:pt x="107" y="1937"/>
                    </a:lnTo>
                    <a:lnTo>
                      <a:pt x="106" y="1928"/>
                    </a:lnTo>
                    <a:lnTo>
                      <a:pt x="105" y="1919"/>
                    </a:lnTo>
                    <a:lnTo>
                      <a:pt x="101" y="1910"/>
                    </a:lnTo>
                    <a:lnTo>
                      <a:pt x="99" y="1902"/>
                    </a:lnTo>
                    <a:lnTo>
                      <a:pt x="95" y="1894"/>
                    </a:lnTo>
                    <a:lnTo>
                      <a:pt x="92" y="1887"/>
                    </a:lnTo>
                    <a:lnTo>
                      <a:pt x="87" y="1879"/>
                    </a:lnTo>
                    <a:lnTo>
                      <a:pt x="78" y="1865"/>
                    </a:lnTo>
                    <a:lnTo>
                      <a:pt x="65" y="1853"/>
                    </a:lnTo>
                    <a:lnTo>
                      <a:pt x="51" y="1839"/>
                    </a:lnTo>
                    <a:lnTo>
                      <a:pt x="36" y="1827"/>
                    </a:lnTo>
                    <a:lnTo>
                      <a:pt x="23" y="1817"/>
                    </a:lnTo>
                    <a:lnTo>
                      <a:pt x="12" y="1807"/>
                    </a:lnTo>
                    <a:lnTo>
                      <a:pt x="8" y="1802"/>
                    </a:lnTo>
                    <a:lnTo>
                      <a:pt x="3" y="1796"/>
                    </a:lnTo>
                    <a:lnTo>
                      <a:pt x="1" y="1790"/>
                    </a:lnTo>
                    <a:lnTo>
                      <a:pt x="0" y="1782"/>
                    </a:lnTo>
                    <a:lnTo>
                      <a:pt x="1" y="1777"/>
                    </a:lnTo>
                    <a:lnTo>
                      <a:pt x="2" y="1773"/>
                    </a:lnTo>
                    <a:lnTo>
                      <a:pt x="3" y="1769"/>
                    </a:lnTo>
                    <a:lnTo>
                      <a:pt x="6" y="1765"/>
                    </a:lnTo>
                    <a:lnTo>
                      <a:pt x="10" y="1759"/>
                    </a:lnTo>
                    <a:lnTo>
                      <a:pt x="16" y="1752"/>
                    </a:lnTo>
                    <a:lnTo>
                      <a:pt x="22" y="1746"/>
                    </a:lnTo>
                    <a:lnTo>
                      <a:pt x="28" y="1740"/>
                    </a:lnTo>
                    <a:lnTo>
                      <a:pt x="35" y="1733"/>
                    </a:lnTo>
                    <a:lnTo>
                      <a:pt x="41" y="1726"/>
                    </a:lnTo>
                    <a:lnTo>
                      <a:pt x="50" y="1712"/>
                    </a:lnTo>
                    <a:lnTo>
                      <a:pt x="57" y="1699"/>
                    </a:lnTo>
                    <a:lnTo>
                      <a:pt x="64" y="1686"/>
                    </a:lnTo>
                    <a:lnTo>
                      <a:pt x="69" y="1674"/>
                    </a:lnTo>
                    <a:lnTo>
                      <a:pt x="75" y="1662"/>
                    </a:lnTo>
                    <a:lnTo>
                      <a:pt x="78" y="1648"/>
                    </a:lnTo>
                    <a:lnTo>
                      <a:pt x="80" y="1634"/>
                    </a:lnTo>
                    <a:lnTo>
                      <a:pt x="81" y="1618"/>
                    </a:lnTo>
                    <a:lnTo>
                      <a:pt x="82" y="1589"/>
                    </a:lnTo>
                    <a:lnTo>
                      <a:pt x="81" y="1563"/>
                    </a:lnTo>
                    <a:lnTo>
                      <a:pt x="80" y="1551"/>
                    </a:lnTo>
                    <a:lnTo>
                      <a:pt x="79" y="1538"/>
                    </a:lnTo>
                    <a:lnTo>
                      <a:pt x="76" y="1525"/>
                    </a:lnTo>
                    <a:lnTo>
                      <a:pt x="72" y="1511"/>
                    </a:lnTo>
                    <a:lnTo>
                      <a:pt x="66" y="1498"/>
                    </a:lnTo>
                    <a:lnTo>
                      <a:pt x="60" y="1487"/>
                    </a:lnTo>
                    <a:lnTo>
                      <a:pt x="57" y="1482"/>
                    </a:lnTo>
                    <a:lnTo>
                      <a:pt x="55" y="1477"/>
                    </a:lnTo>
                    <a:lnTo>
                      <a:pt x="53" y="1470"/>
                    </a:lnTo>
                    <a:lnTo>
                      <a:pt x="53" y="1463"/>
                    </a:lnTo>
                    <a:lnTo>
                      <a:pt x="53" y="1453"/>
                    </a:lnTo>
                    <a:lnTo>
                      <a:pt x="55" y="1445"/>
                    </a:lnTo>
                    <a:lnTo>
                      <a:pt x="57" y="1435"/>
                    </a:lnTo>
                    <a:lnTo>
                      <a:pt x="60" y="1428"/>
                    </a:lnTo>
                    <a:lnTo>
                      <a:pt x="62" y="1420"/>
                    </a:lnTo>
                    <a:lnTo>
                      <a:pt x="64" y="1412"/>
                    </a:lnTo>
                    <a:lnTo>
                      <a:pt x="66" y="1402"/>
                    </a:lnTo>
                    <a:lnTo>
                      <a:pt x="66" y="1392"/>
                    </a:lnTo>
                    <a:lnTo>
                      <a:pt x="66" y="1382"/>
                    </a:lnTo>
                    <a:lnTo>
                      <a:pt x="64" y="1372"/>
                    </a:lnTo>
                    <a:lnTo>
                      <a:pt x="61" y="1364"/>
                    </a:lnTo>
                    <a:lnTo>
                      <a:pt x="58" y="1356"/>
                    </a:lnTo>
                    <a:lnTo>
                      <a:pt x="56" y="1348"/>
                    </a:lnTo>
                    <a:lnTo>
                      <a:pt x="53" y="1339"/>
                    </a:lnTo>
                    <a:lnTo>
                      <a:pt x="51" y="1330"/>
                    </a:lnTo>
                    <a:lnTo>
                      <a:pt x="50" y="1320"/>
                    </a:lnTo>
                    <a:lnTo>
                      <a:pt x="51" y="1308"/>
                    </a:lnTo>
                    <a:lnTo>
                      <a:pt x="53" y="1297"/>
                    </a:lnTo>
                    <a:lnTo>
                      <a:pt x="55" y="1288"/>
                    </a:lnTo>
                    <a:lnTo>
                      <a:pt x="59" y="1278"/>
                    </a:lnTo>
                    <a:lnTo>
                      <a:pt x="63" y="1270"/>
                    </a:lnTo>
                    <a:lnTo>
                      <a:pt x="68" y="1262"/>
                    </a:lnTo>
                    <a:lnTo>
                      <a:pt x="75" y="1255"/>
                    </a:lnTo>
                    <a:lnTo>
                      <a:pt x="81" y="1246"/>
                    </a:lnTo>
                    <a:lnTo>
                      <a:pt x="110" y="1217"/>
                    </a:lnTo>
                    <a:lnTo>
                      <a:pt x="140" y="1184"/>
                    </a:lnTo>
                    <a:lnTo>
                      <a:pt x="153" y="1169"/>
                    </a:lnTo>
                    <a:lnTo>
                      <a:pt x="166" y="1155"/>
                    </a:lnTo>
                    <a:lnTo>
                      <a:pt x="179" y="1142"/>
                    </a:lnTo>
                    <a:lnTo>
                      <a:pt x="192" y="1130"/>
                    </a:lnTo>
                    <a:lnTo>
                      <a:pt x="219" y="1107"/>
                    </a:lnTo>
                    <a:lnTo>
                      <a:pt x="251" y="1081"/>
                    </a:lnTo>
                    <a:lnTo>
                      <a:pt x="256" y="1075"/>
                    </a:lnTo>
                    <a:lnTo>
                      <a:pt x="260" y="1068"/>
                    </a:lnTo>
                    <a:lnTo>
                      <a:pt x="263" y="1061"/>
                    </a:lnTo>
                    <a:lnTo>
                      <a:pt x="265" y="1052"/>
                    </a:lnTo>
                    <a:lnTo>
                      <a:pt x="267" y="1045"/>
                    </a:lnTo>
                    <a:lnTo>
                      <a:pt x="270" y="1038"/>
                    </a:lnTo>
                    <a:lnTo>
                      <a:pt x="274" y="1031"/>
                    </a:lnTo>
                    <a:lnTo>
                      <a:pt x="279" y="1024"/>
                    </a:lnTo>
                    <a:lnTo>
                      <a:pt x="283" y="1021"/>
                    </a:lnTo>
                    <a:lnTo>
                      <a:pt x="288" y="1018"/>
                    </a:lnTo>
                    <a:lnTo>
                      <a:pt x="292" y="1016"/>
                    </a:lnTo>
                    <a:lnTo>
                      <a:pt x="297" y="1015"/>
                    </a:lnTo>
                    <a:lnTo>
                      <a:pt x="307" y="1012"/>
                    </a:lnTo>
                    <a:lnTo>
                      <a:pt x="317" y="1008"/>
                    </a:lnTo>
                    <a:lnTo>
                      <a:pt x="322" y="1004"/>
                    </a:lnTo>
                    <a:lnTo>
                      <a:pt x="325" y="999"/>
                    </a:lnTo>
                    <a:lnTo>
                      <a:pt x="327" y="992"/>
                    </a:lnTo>
                    <a:lnTo>
                      <a:pt x="329" y="987"/>
                    </a:lnTo>
                    <a:lnTo>
                      <a:pt x="330" y="981"/>
                    </a:lnTo>
                    <a:lnTo>
                      <a:pt x="331" y="975"/>
                    </a:lnTo>
                    <a:lnTo>
                      <a:pt x="334" y="969"/>
                    </a:lnTo>
                    <a:lnTo>
                      <a:pt x="338" y="962"/>
                    </a:lnTo>
                    <a:lnTo>
                      <a:pt x="353" y="946"/>
                    </a:lnTo>
                    <a:lnTo>
                      <a:pt x="367" y="930"/>
                    </a:lnTo>
                    <a:lnTo>
                      <a:pt x="382" y="917"/>
                    </a:lnTo>
                    <a:lnTo>
                      <a:pt x="396" y="905"/>
                    </a:lnTo>
                    <a:lnTo>
                      <a:pt x="411" y="891"/>
                    </a:lnTo>
                    <a:lnTo>
                      <a:pt x="425" y="878"/>
                    </a:lnTo>
                    <a:lnTo>
                      <a:pt x="439" y="862"/>
                    </a:lnTo>
                    <a:lnTo>
                      <a:pt x="453" y="845"/>
                    </a:lnTo>
                    <a:lnTo>
                      <a:pt x="469" y="821"/>
                    </a:lnTo>
                    <a:lnTo>
                      <a:pt x="481" y="799"/>
                    </a:lnTo>
                    <a:lnTo>
                      <a:pt x="488" y="789"/>
                    </a:lnTo>
                    <a:lnTo>
                      <a:pt x="494" y="779"/>
                    </a:lnTo>
                    <a:lnTo>
                      <a:pt x="503" y="768"/>
                    </a:lnTo>
                    <a:lnTo>
                      <a:pt x="513" y="757"/>
                    </a:lnTo>
                    <a:lnTo>
                      <a:pt x="518" y="752"/>
                    </a:lnTo>
                    <a:lnTo>
                      <a:pt x="524" y="747"/>
                    </a:lnTo>
                    <a:lnTo>
                      <a:pt x="531" y="742"/>
                    </a:lnTo>
                    <a:lnTo>
                      <a:pt x="538" y="738"/>
                    </a:lnTo>
                    <a:lnTo>
                      <a:pt x="551" y="732"/>
                    </a:lnTo>
                    <a:lnTo>
                      <a:pt x="564" y="725"/>
                    </a:lnTo>
                    <a:lnTo>
                      <a:pt x="577" y="718"/>
                    </a:lnTo>
                    <a:lnTo>
                      <a:pt x="588" y="708"/>
                    </a:lnTo>
                    <a:lnTo>
                      <a:pt x="593" y="703"/>
                    </a:lnTo>
                    <a:lnTo>
                      <a:pt x="597" y="697"/>
                    </a:lnTo>
                    <a:lnTo>
                      <a:pt x="602" y="691"/>
                    </a:lnTo>
                    <a:lnTo>
                      <a:pt x="606" y="683"/>
                    </a:lnTo>
                    <a:lnTo>
                      <a:pt x="619" y="675"/>
                    </a:lnTo>
                    <a:lnTo>
                      <a:pt x="630" y="667"/>
                    </a:lnTo>
                    <a:lnTo>
                      <a:pt x="641" y="659"/>
                    </a:lnTo>
                    <a:lnTo>
                      <a:pt x="649" y="651"/>
                    </a:lnTo>
                    <a:lnTo>
                      <a:pt x="666" y="632"/>
                    </a:lnTo>
                    <a:lnTo>
                      <a:pt x="684" y="613"/>
                    </a:lnTo>
                    <a:lnTo>
                      <a:pt x="711" y="590"/>
                    </a:lnTo>
                    <a:lnTo>
                      <a:pt x="735" y="568"/>
                    </a:lnTo>
                    <a:lnTo>
                      <a:pt x="757" y="547"/>
                    </a:lnTo>
                    <a:lnTo>
                      <a:pt x="779" y="528"/>
                    </a:lnTo>
                    <a:lnTo>
                      <a:pt x="802" y="509"/>
                    </a:lnTo>
                    <a:lnTo>
                      <a:pt x="825" y="491"/>
                    </a:lnTo>
                    <a:lnTo>
                      <a:pt x="839" y="481"/>
                    </a:lnTo>
                    <a:lnTo>
                      <a:pt x="852" y="473"/>
                    </a:lnTo>
                    <a:lnTo>
                      <a:pt x="867" y="464"/>
                    </a:lnTo>
                    <a:lnTo>
                      <a:pt x="882" y="455"/>
                    </a:lnTo>
                    <a:lnTo>
                      <a:pt x="890" y="450"/>
                    </a:lnTo>
                    <a:lnTo>
                      <a:pt x="897" y="445"/>
                    </a:lnTo>
                    <a:lnTo>
                      <a:pt x="902" y="440"/>
                    </a:lnTo>
                    <a:lnTo>
                      <a:pt x="907" y="434"/>
                    </a:lnTo>
                    <a:lnTo>
                      <a:pt x="917" y="422"/>
                    </a:lnTo>
                    <a:lnTo>
                      <a:pt x="930" y="410"/>
                    </a:lnTo>
                    <a:lnTo>
                      <a:pt x="938" y="405"/>
                    </a:lnTo>
                    <a:lnTo>
                      <a:pt x="946" y="401"/>
                    </a:lnTo>
                    <a:lnTo>
                      <a:pt x="954" y="397"/>
                    </a:lnTo>
                    <a:lnTo>
                      <a:pt x="963" y="393"/>
                    </a:lnTo>
                    <a:lnTo>
                      <a:pt x="971" y="390"/>
                    </a:lnTo>
                    <a:lnTo>
                      <a:pt x="979" y="387"/>
                    </a:lnTo>
                    <a:lnTo>
                      <a:pt x="987" y="383"/>
                    </a:lnTo>
                    <a:lnTo>
                      <a:pt x="996" y="377"/>
                    </a:lnTo>
                    <a:lnTo>
                      <a:pt x="1000" y="374"/>
                    </a:lnTo>
                    <a:lnTo>
                      <a:pt x="1003" y="371"/>
                    </a:lnTo>
                    <a:lnTo>
                      <a:pt x="1005" y="367"/>
                    </a:lnTo>
                    <a:lnTo>
                      <a:pt x="1007" y="363"/>
                    </a:lnTo>
                    <a:lnTo>
                      <a:pt x="1010" y="355"/>
                    </a:lnTo>
                    <a:lnTo>
                      <a:pt x="1012" y="346"/>
                    </a:lnTo>
                    <a:lnTo>
                      <a:pt x="1014" y="338"/>
                    </a:lnTo>
                    <a:lnTo>
                      <a:pt x="1016" y="328"/>
                    </a:lnTo>
                    <a:lnTo>
                      <a:pt x="1018" y="324"/>
                    </a:lnTo>
                    <a:lnTo>
                      <a:pt x="1020" y="321"/>
                    </a:lnTo>
                    <a:lnTo>
                      <a:pt x="1023" y="317"/>
                    </a:lnTo>
                    <a:lnTo>
                      <a:pt x="1026" y="314"/>
                    </a:lnTo>
                    <a:lnTo>
                      <a:pt x="1039" y="304"/>
                    </a:lnTo>
                    <a:lnTo>
                      <a:pt x="1051" y="295"/>
                    </a:lnTo>
                    <a:lnTo>
                      <a:pt x="1064" y="289"/>
                    </a:lnTo>
                    <a:lnTo>
                      <a:pt x="1076" y="285"/>
                    </a:lnTo>
                    <a:lnTo>
                      <a:pt x="1089" y="282"/>
                    </a:lnTo>
                    <a:lnTo>
                      <a:pt x="1104" y="280"/>
                    </a:lnTo>
                    <a:lnTo>
                      <a:pt x="1118" y="279"/>
                    </a:lnTo>
                    <a:lnTo>
                      <a:pt x="1135" y="278"/>
                    </a:lnTo>
                    <a:lnTo>
                      <a:pt x="1145" y="279"/>
                    </a:lnTo>
                    <a:lnTo>
                      <a:pt x="1155" y="282"/>
                    </a:lnTo>
                    <a:lnTo>
                      <a:pt x="1164" y="286"/>
                    </a:lnTo>
                    <a:lnTo>
                      <a:pt x="1173" y="290"/>
                    </a:lnTo>
                    <a:lnTo>
                      <a:pt x="1181" y="294"/>
                    </a:lnTo>
                    <a:lnTo>
                      <a:pt x="1189" y="298"/>
                    </a:lnTo>
                    <a:lnTo>
                      <a:pt x="1200" y="301"/>
                    </a:lnTo>
                    <a:lnTo>
                      <a:pt x="1210" y="302"/>
                    </a:lnTo>
                    <a:lnTo>
                      <a:pt x="1219" y="302"/>
                    </a:lnTo>
                    <a:lnTo>
                      <a:pt x="1227" y="301"/>
                    </a:lnTo>
                    <a:lnTo>
                      <a:pt x="1235" y="297"/>
                    </a:lnTo>
                    <a:lnTo>
                      <a:pt x="1242" y="295"/>
                    </a:lnTo>
                    <a:lnTo>
                      <a:pt x="1249" y="291"/>
                    </a:lnTo>
                    <a:lnTo>
                      <a:pt x="1255" y="287"/>
                    </a:lnTo>
                    <a:lnTo>
                      <a:pt x="1262" y="282"/>
                    </a:lnTo>
                    <a:lnTo>
                      <a:pt x="1267" y="277"/>
                    </a:lnTo>
                    <a:lnTo>
                      <a:pt x="1272" y="271"/>
                    </a:lnTo>
                    <a:lnTo>
                      <a:pt x="1277" y="263"/>
                    </a:lnTo>
                    <a:lnTo>
                      <a:pt x="1281" y="257"/>
                    </a:lnTo>
                    <a:lnTo>
                      <a:pt x="1285" y="249"/>
                    </a:lnTo>
                    <a:lnTo>
                      <a:pt x="1291" y="233"/>
                    </a:lnTo>
                    <a:lnTo>
                      <a:pt x="1298" y="217"/>
                    </a:lnTo>
                    <a:lnTo>
                      <a:pt x="1301" y="207"/>
                    </a:lnTo>
                    <a:lnTo>
                      <a:pt x="1304" y="196"/>
                    </a:lnTo>
                    <a:lnTo>
                      <a:pt x="1308" y="188"/>
                    </a:lnTo>
                    <a:lnTo>
                      <a:pt x="1312" y="180"/>
                    </a:lnTo>
                    <a:lnTo>
                      <a:pt x="1317" y="171"/>
                    </a:lnTo>
                    <a:lnTo>
                      <a:pt x="1323" y="164"/>
                    </a:lnTo>
                    <a:lnTo>
                      <a:pt x="1332" y="157"/>
                    </a:lnTo>
                    <a:lnTo>
                      <a:pt x="1340" y="151"/>
                    </a:lnTo>
                    <a:lnTo>
                      <a:pt x="1355" y="140"/>
                    </a:lnTo>
                    <a:lnTo>
                      <a:pt x="1371" y="131"/>
                    </a:lnTo>
                    <a:lnTo>
                      <a:pt x="1377" y="126"/>
                    </a:lnTo>
                    <a:lnTo>
                      <a:pt x="1382" y="120"/>
                    </a:lnTo>
                    <a:lnTo>
                      <a:pt x="1384" y="117"/>
                    </a:lnTo>
                    <a:lnTo>
                      <a:pt x="1385" y="113"/>
                    </a:lnTo>
                    <a:lnTo>
                      <a:pt x="1386" y="108"/>
                    </a:lnTo>
                    <a:lnTo>
                      <a:pt x="1387" y="103"/>
                    </a:lnTo>
                    <a:lnTo>
                      <a:pt x="1386" y="97"/>
                    </a:lnTo>
                    <a:lnTo>
                      <a:pt x="1385" y="92"/>
                    </a:lnTo>
                    <a:lnTo>
                      <a:pt x="1383" y="87"/>
                    </a:lnTo>
                    <a:lnTo>
                      <a:pt x="1381" y="83"/>
                    </a:lnTo>
                    <a:lnTo>
                      <a:pt x="1379" y="77"/>
                    </a:lnTo>
                    <a:lnTo>
                      <a:pt x="1377" y="72"/>
                    </a:lnTo>
                    <a:lnTo>
                      <a:pt x="1376" y="67"/>
                    </a:lnTo>
                    <a:lnTo>
                      <a:pt x="1375" y="61"/>
                    </a:lnTo>
                    <a:lnTo>
                      <a:pt x="1376" y="54"/>
                    </a:lnTo>
                    <a:lnTo>
                      <a:pt x="1378" y="48"/>
                    </a:lnTo>
                    <a:lnTo>
                      <a:pt x="1381" y="40"/>
                    </a:lnTo>
                    <a:lnTo>
                      <a:pt x="1384" y="34"/>
                    </a:lnTo>
                    <a:lnTo>
                      <a:pt x="1394" y="22"/>
                    </a:lnTo>
                    <a:lnTo>
                      <a:pt x="1401" y="9"/>
                    </a:lnTo>
                    <a:lnTo>
                      <a:pt x="1401" y="9"/>
                    </a:lnTo>
                    <a:close/>
                  </a:path>
                </a:pathLst>
              </a:custGeom>
              <a:solidFill>
                <a:srgbClr val="65AC1E">
                  <a:alpha val="54902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Chernivtsi">
                <a:extLst>
                  <a:ext uri="{FF2B5EF4-FFF2-40B4-BE49-F238E27FC236}">
                    <a16:creationId xmlns:a16="http://schemas.microsoft.com/office/drawing/2014/main" id="{19EB916A-4C64-4B88-B436-72B513CE5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0753" y="3871509"/>
                <a:ext cx="1164651" cy="606223"/>
              </a:xfrm>
              <a:custGeom>
                <a:avLst/>
                <a:gdLst>
                  <a:gd name="T0" fmla="*/ 2265 w 2348"/>
                  <a:gd name="T1" fmla="*/ 516 h 1304"/>
                  <a:gd name="T2" fmla="*/ 2120 w 2348"/>
                  <a:gd name="T3" fmla="*/ 570 h 1304"/>
                  <a:gd name="T4" fmla="*/ 2028 w 2348"/>
                  <a:gd name="T5" fmla="*/ 567 h 1304"/>
                  <a:gd name="T6" fmla="*/ 1934 w 2348"/>
                  <a:gd name="T7" fmla="*/ 539 h 1304"/>
                  <a:gd name="T8" fmla="*/ 1860 w 2348"/>
                  <a:gd name="T9" fmla="*/ 596 h 1304"/>
                  <a:gd name="T10" fmla="*/ 1693 w 2348"/>
                  <a:gd name="T11" fmla="*/ 582 h 1304"/>
                  <a:gd name="T12" fmla="*/ 1643 w 2348"/>
                  <a:gd name="T13" fmla="*/ 640 h 1304"/>
                  <a:gd name="T14" fmla="*/ 1584 w 2348"/>
                  <a:gd name="T15" fmla="*/ 663 h 1304"/>
                  <a:gd name="T16" fmla="*/ 1497 w 2348"/>
                  <a:gd name="T17" fmla="*/ 747 h 1304"/>
                  <a:gd name="T18" fmla="*/ 1434 w 2348"/>
                  <a:gd name="T19" fmla="*/ 752 h 1304"/>
                  <a:gd name="T20" fmla="*/ 1362 w 2348"/>
                  <a:gd name="T21" fmla="*/ 784 h 1304"/>
                  <a:gd name="T22" fmla="*/ 1293 w 2348"/>
                  <a:gd name="T23" fmla="*/ 791 h 1304"/>
                  <a:gd name="T24" fmla="*/ 1235 w 2348"/>
                  <a:gd name="T25" fmla="*/ 883 h 1304"/>
                  <a:gd name="T26" fmla="*/ 1145 w 2348"/>
                  <a:gd name="T27" fmla="*/ 999 h 1304"/>
                  <a:gd name="T28" fmla="*/ 1023 w 2348"/>
                  <a:gd name="T29" fmla="*/ 1022 h 1304"/>
                  <a:gd name="T30" fmla="*/ 899 w 2348"/>
                  <a:gd name="T31" fmla="*/ 1023 h 1304"/>
                  <a:gd name="T32" fmla="*/ 774 w 2348"/>
                  <a:gd name="T33" fmla="*/ 1053 h 1304"/>
                  <a:gd name="T34" fmla="*/ 658 w 2348"/>
                  <a:gd name="T35" fmla="*/ 1061 h 1304"/>
                  <a:gd name="T36" fmla="*/ 472 w 2348"/>
                  <a:gd name="T37" fmla="*/ 1082 h 1304"/>
                  <a:gd name="T38" fmla="*/ 395 w 2348"/>
                  <a:gd name="T39" fmla="*/ 1073 h 1304"/>
                  <a:gd name="T40" fmla="*/ 266 w 2348"/>
                  <a:gd name="T41" fmla="*/ 1194 h 1304"/>
                  <a:gd name="T42" fmla="*/ 136 w 2348"/>
                  <a:gd name="T43" fmla="*/ 1282 h 1304"/>
                  <a:gd name="T44" fmla="*/ 0 w 2348"/>
                  <a:gd name="T45" fmla="*/ 1268 h 1304"/>
                  <a:gd name="T46" fmla="*/ 70 w 2348"/>
                  <a:gd name="T47" fmla="*/ 1047 h 1304"/>
                  <a:gd name="T48" fmla="*/ 43 w 2348"/>
                  <a:gd name="T49" fmla="*/ 879 h 1304"/>
                  <a:gd name="T50" fmla="*/ 86 w 2348"/>
                  <a:gd name="T51" fmla="*/ 808 h 1304"/>
                  <a:gd name="T52" fmla="*/ 244 w 2348"/>
                  <a:gd name="T53" fmla="*/ 663 h 1304"/>
                  <a:gd name="T54" fmla="*/ 256 w 2348"/>
                  <a:gd name="T55" fmla="*/ 596 h 1304"/>
                  <a:gd name="T56" fmla="*/ 325 w 2348"/>
                  <a:gd name="T57" fmla="*/ 559 h 1304"/>
                  <a:gd name="T58" fmla="*/ 441 w 2348"/>
                  <a:gd name="T59" fmla="*/ 474 h 1304"/>
                  <a:gd name="T60" fmla="*/ 601 w 2348"/>
                  <a:gd name="T61" fmla="*/ 444 h 1304"/>
                  <a:gd name="T62" fmla="*/ 705 w 2348"/>
                  <a:gd name="T63" fmla="*/ 408 h 1304"/>
                  <a:gd name="T64" fmla="*/ 695 w 2348"/>
                  <a:gd name="T65" fmla="*/ 295 h 1304"/>
                  <a:gd name="T66" fmla="*/ 655 w 2348"/>
                  <a:gd name="T67" fmla="*/ 215 h 1304"/>
                  <a:gd name="T68" fmla="*/ 700 w 2348"/>
                  <a:gd name="T69" fmla="*/ 144 h 1304"/>
                  <a:gd name="T70" fmla="*/ 822 w 2348"/>
                  <a:gd name="T71" fmla="*/ 108 h 1304"/>
                  <a:gd name="T72" fmla="*/ 930 w 2348"/>
                  <a:gd name="T73" fmla="*/ 236 h 1304"/>
                  <a:gd name="T74" fmla="*/ 1018 w 2348"/>
                  <a:gd name="T75" fmla="*/ 221 h 1304"/>
                  <a:gd name="T76" fmla="*/ 1074 w 2348"/>
                  <a:gd name="T77" fmla="*/ 214 h 1304"/>
                  <a:gd name="T78" fmla="*/ 1100 w 2348"/>
                  <a:gd name="T79" fmla="*/ 276 h 1304"/>
                  <a:gd name="T80" fmla="*/ 1144 w 2348"/>
                  <a:gd name="T81" fmla="*/ 259 h 1304"/>
                  <a:gd name="T82" fmla="*/ 1187 w 2348"/>
                  <a:gd name="T83" fmla="*/ 319 h 1304"/>
                  <a:gd name="T84" fmla="*/ 1320 w 2348"/>
                  <a:gd name="T85" fmla="*/ 358 h 1304"/>
                  <a:gd name="T86" fmla="*/ 1396 w 2348"/>
                  <a:gd name="T87" fmla="*/ 337 h 1304"/>
                  <a:gd name="T88" fmla="*/ 1490 w 2348"/>
                  <a:gd name="T89" fmla="*/ 425 h 1304"/>
                  <a:gd name="T90" fmla="*/ 1552 w 2348"/>
                  <a:gd name="T91" fmla="*/ 405 h 1304"/>
                  <a:gd name="T92" fmla="*/ 1620 w 2348"/>
                  <a:gd name="T93" fmla="*/ 410 h 1304"/>
                  <a:gd name="T94" fmla="*/ 1614 w 2348"/>
                  <a:gd name="T95" fmla="*/ 367 h 1304"/>
                  <a:gd name="T96" fmla="*/ 1580 w 2348"/>
                  <a:gd name="T97" fmla="*/ 325 h 1304"/>
                  <a:gd name="T98" fmla="*/ 1634 w 2348"/>
                  <a:gd name="T99" fmla="*/ 338 h 1304"/>
                  <a:gd name="T100" fmla="*/ 1671 w 2348"/>
                  <a:gd name="T101" fmla="*/ 308 h 1304"/>
                  <a:gd name="T102" fmla="*/ 1747 w 2348"/>
                  <a:gd name="T103" fmla="*/ 276 h 1304"/>
                  <a:gd name="T104" fmla="*/ 1798 w 2348"/>
                  <a:gd name="T105" fmla="*/ 333 h 1304"/>
                  <a:gd name="T106" fmla="*/ 1878 w 2348"/>
                  <a:gd name="T107" fmla="*/ 303 h 1304"/>
                  <a:gd name="T108" fmla="*/ 2001 w 2348"/>
                  <a:gd name="T109" fmla="*/ 318 h 1304"/>
                  <a:gd name="T110" fmla="*/ 2086 w 2348"/>
                  <a:gd name="T111" fmla="*/ 268 h 1304"/>
                  <a:gd name="T112" fmla="*/ 2142 w 2348"/>
                  <a:gd name="T113" fmla="*/ 287 h 1304"/>
                  <a:gd name="T114" fmla="*/ 2223 w 2348"/>
                  <a:gd name="T115" fmla="*/ 270 h 1304"/>
                  <a:gd name="T116" fmla="*/ 2268 w 2348"/>
                  <a:gd name="T117" fmla="*/ 332 h 1304"/>
                  <a:gd name="T118" fmla="*/ 2334 w 2348"/>
                  <a:gd name="T119" fmla="*/ 400 h 1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48" h="1304">
                    <a:moveTo>
                      <a:pt x="2348" y="465"/>
                    </a:moveTo>
                    <a:lnTo>
                      <a:pt x="2341" y="474"/>
                    </a:lnTo>
                    <a:lnTo>
                      <a:pt x="2332" y="485"/>
                    </a:lnTo>
                    <a:lnTo>
                      <a:pt x="2328" y="489"/>
                    </a:lnTo>
                    <a:lnTo>
                      <a:pt x="2323" y="494"/>
                    </a:lnTo>
                    <a:lnTo>
                      <a:pt x="2318" y="497"/>
                    </a:lnTo>
                    <a:lnTo>
                      <a:pt x="2312" y="500"/>
                    </a:lnTo>
                    <a:lnTo>
                      <a:pt x="2295" y="507"/>
                    </a:lnTo>
                    <a:lnTo>
                      <a:pt x="2281" y="512"/>
                    </a:lnTo>
                    <a:lnTo>
                      <a:pt x="2265" y="516"/>
                    </a:lnTo>
                    <a:lnTo>
                      <a:pt x="2251" y="519"/>
                    </a:lnTo>
                    <a:lnTo>
                      <a:pt x="2221" y="524"/>
                    </a:lnTo>
                    <a:lnTo>
                      <a:pt x="2187" y="531"/>
                    </a:lnTo>
                    <a:lnTo>
                      <a:pt x="2179" y="534"/>
                    </a:lnTo>
                    <a:lnTo>
                      <a:pt x="2171" y="537"/>
                    </a:lnTo>
                    <a:lnTo>
                      <a:pt x="2164" y="540"/>
                    </a:lnTo>
                    <a:lnTo>
                      <a:pt x="2157" y="545"/>
                    </a:lnTo>
                    <a:lnTo>
                      <a:pt x="2145" y="553"/>
                    </a:lnTo>
                    <a:lnTo>
                      <a:pt x="2132" y="562"/>
                    </a:lnTo>
                    <a:lnTo>
                      <a:pt x="2120" y="570"/>
                    </a:lnTo>
                    <a:lnTo>
                      <a:pt x="2108" y="577"/>
                    </a:lnTo>
                    <a:lnTo>
                      <a:pt x="2100" y="580"/>
                    </a:lnTo>
                    <a:lnTo>
                      <a:pt x="2093" y="582"/>
                    </a:lnTo>
                    <a:lnTo>
                      <a:pt x="2085" y="583"/>
                    </a:lnTo>
                    <a:lnTo>
                      <a:pt x="2077" y="583"/>
                    </a:lnTo>
                    <a:lnTo>
                      <a:pt x="2067" y="583"/>
                    </a:lnTo>
                    <a:lnTo>
                      <a:pt x="2058" y="581"/>
                    </a:lnTo>
                    <a:lnTo>
                      <a:pt x="2051" y="579"/>
                    </a:lnTo>
                    <a:lnTo>
                      <a:pt x="2043" y="576"/>
                    </a:lnTo>
                    <a:lnTo>
                      <a:pt x="2028" y="567"/>
                    </a:lnTo>
                    <a:lnTo>
                      <a:pt x="2015" y="558"/>
                    </a:lnTo>
                    <a:lnTo>
                      <a:pt x="2001" y="550"/>
                    </a:lnTo>
                    <a:lnTo>
                      <a:pt x="1987" y="541"/>
                    </a:lnTo>
                    <a:lnTo>
                      <a:pt x="1980" y="538"/>
                    </a:lnTo>
                    <a:lnTo>
                      <a:pt x="1971" y="535"/>
                    </a:lnTo>
                    <a:lnTo>
                      <a:pt x="1963" y="534"/>
                    </a:lnTo>
                    <a:lnTo>
                      <a:pt x="1954" y="533"/>
                    </a:lnTo>
                    <a:lnTo>
                      <a:pt x="1947" y="534"/>
                    </a:lnTo>
                    <a:lnTo>
                      <a:pt x="1940" y="536"/>
                    </a:lnTo>
                    <a:lnTo>
                      <a:pt x="1934" y="539"/>
                    </a:lnTo>
                    <a:lnTo>
                      <a:pt x="1929" y="544"/>
                    </a:lnTo>
                    <a:lnTo>
                      <a:pt x="1920" y="554"/>
                    </a:lnTo>
                    <a:lnTo>
                      <a:pt x="1912" y="565"/>
                    </a:lnTo>
                    <a:lnTo>
                      <a:pt x="1903" y="578"/>
                    </a:lnTo>
                    <a:lnTo>
                      <a:pt x="1894" y="587"/>
                    </a:lnTo>
                    <a:lnTo>
                      <a:pt x="1889" y="591"/>
                    </a:lnTo>
                    <a:lnTo>
                      <a:pt x="1883" y="594"/>
                    </a:lnTo>
                    <a:lnTo>
                      <a:pt x="1877" y="596"/>
                    </a:lnTo>
                    <a:lnTo>
                      <a:pt x="1869" y="597"/>
                    </a:lnTo>
                    <a:lnTo>
                      <a:pt x="1860" y="596"/>
                    </a:lnTo>
                    <a:lnTo>
                      <a:pt x="1853" y="594"/>
                    </a:lnTo>
                    <a:lnTo>
                      <a:pt x="1846" y="590"/>
                    </a:lnTo>
                    <a:lnTo>
                      <a:pt x="1839" y="585"/>
                    </a:lnTo>
                    <a:lnTo>
                      <a:pt x="1828" y="574"/>
                    </a:lnTo>
                    <a:lnTo>
                      <a:pt x="1815" y="562"/>
                    </a:lnTo>
                    <a:lnTo>
                      <a:pt x="1781" y="563"/>
                    </a:lnTo>
                    <a:lnTo>
                      <a:pt x="1751" y="563"/>
                    </a:lnTo>
                    <a:lnTo>
                      <a:pt x="1721" y="562"/>
                    </a:lnTo>
                    <a:lnTo>
                      <a:pt x="1688" y="562"/>
                    </a:lnTo>
                    <a:lnTo>
                      <a:pt x="1693" y="582"/>
                    </a:lnTo>
                    <a:lnTo>
                      <a:pt x="1698" y="599"/>
                    </a:lnTo>
                    <a:lnTo>
                      <a:pt x="1700" y="609"/>
                    </a:lnTo>
                    <a:lnTo>
                      <a:pt x="1701" y="618"/>
                    </a:lnTo>
                    <a:lnTo>
                      <a:pt x="1702" y="627"/>
                    </a:lnTo>
                    <a:lnTo>
                      <a:pt x="1702" y="639"/>
                    </a:lnTo>
                    <a:lnTo>
                      <a:pt x="1702" y="665"/>
                    </a:lnTo>
                    <a:lnTo>
                      <a:pt x="1686" y="660"/>
                    </a:lnTo>
                    <a:lnTo>
                      <a:pt x="1670" y="654"/>
                    </a:lnTo>
                    <a:lnTo>
                      <a:pt x="1657" y="648"/>
                    </a:lnTo>
                    <a:lnTo>
                      <a:pt x="1643" y="640"/>
                    </a:lnTo>
                    <a:lnTo>
                      <a:pt x="1632" y="630"/>
                    </a:lnTo>
                    <a:lnTo>
                      <a:pt x="1622" y="620"/>
                    </a:lnTo>
                    <a:lnTo>
                      <a:pt x="1612" y="607"/>
                    </a:lnTo>
                    <a:lnTo>
                      <a:pt x="1602" y="590"/>
                    </a:lnTo>
                    <a:lnTo>
                      <a:pt x="1593" y="595"/>
                    </a:lnTo>
                    <a:lnTo>
                      <a:pt x="1592" y="613"/>
                    </a:lnTo>
                    <a:lnTo>
                      <a:pt x="1590" y="629"/>
                    </a:lnTo>
                    <a:lnTo>
                      <a:pt x="1588" y="646"/>
                    </a:lnTo>
                    <a:lnTo>
                      <a:pt x="1584" y="663"/>
                    </a:lnTo>
                    <a:lnTo>
                      <a:pt x="1584" y="663"/>
                    </a:lnTo>
                    <a:lnTo>
                      <a:pt x="1577" y="676"/>
                    </a:lnTo>
                    <a:lnTo>
                      <a:pt x="1571" y="685"/>
                    </a:lnTo>
                    <a:lnTo>
                      <a:pt x="1564" y="693"/>
                    </a:lnTo>
                    <a:lnTo>
                      <a:pt x="1556" y="701"/>
                    </a:lnTo>
                    <a:lnTo>
                      <a:pt x="1537" y="714"/>
                    </a:lnTo>
                    <a:lnTo>
                      <a:pt x="1516" y="727"/>
                    </a:lnTo>
                    <a:lnTo>
                      <a:pt x="1509" y="731"/>
                    </a:lnTo>
                    <a:lnTo>
                      <a:pt x="1505" y="737"/>
                    </a:lnTo>
                    <a:lnTo>
                      <a:pt x="1501" y="742"/>
                    </a:lnTo>
                    <a:lnTo>
                      <a:pt x="1497" y="747"/>
                    </a:lnTo>
                    <a:lnTo>
                      <a:pt x="1492" y="752"/>
                    </a:lnTo>
                    <a:lnTo>
                      <a:pt x="1488" y="756"/>
                    </a:lnTo>
                    <a:lnTo>
                      <a:pt x="1482" y="759"/>
                    </a:lnTo>
                    <a:lnTo>
                      <a:pt x="1475" y="760"/>
                    </a:lnTo>
                    <a:lnTo>
                      <a:pt x="1467" y="759"/>
                    </a:lnTo>
                    <a:lnTo>
                      <a:pt x="1460" y="758"/>
                    </a:lnTo>
                    <a:lnTo>
                      <a:pt x="1454" y="757"/>
                    </a:lnTo>
                    <a:lnTo>
                      <a:pt x="1447" y="755"/>
                    </a:lnTo>
                    <a:lnTo>
                      <a:pt x="1440" y="754"/>
                    </a:lnTo>
                    <a:lnTo>
                      <a:pt x="1434" y="752"/>
                    </a:lnTo>
                    <a:lnTo>
                      <a:pt x="1427" y="751"/>
                    </a:lnTo>
                    <a:lnTo>
                      <a:pt x="1419" y="751"/>
                    </a:lnTo>
                    <a:lnTo>
                      <a:pt x="1412" y="751"/>
                    </a:lnTo>
                    <a:lnTo>
                      <a:pt x="1407" y="752"/>
                    </a:lnTo>
                    <a:lnTo>
                      <a:pt x="1402" y="754"/>
                    </a:lnTo>
                    <a:lnTo>
                      <a:pt x="1397" y="757"/>
                    </a:lnTo>
                    <a:lnTo>
                      <a:pt x="1388" y="764"/>
                    </a:lnTo>
                    <a:lnTo>
                      <a:pt x="1379" y="771"/>
                    </a:lnTo>
                    <a:lnTo>
                      <a:pt x="1371" y="778"/>
                    </a:lnTo>
                    <a:lnTo>
                      <a:pt x="1362" y="784"/>
                    </a:lnTo>
                    <a:lnTo>
                      <a:pt x="1357" y="787"/>
                    </a:lnTo>
                    <a:lnTo>
                      <a:pt x="1352" y="789"/>
                    </a:lnTo>
                    <a:lnTo>
                      <a:pt x="1346" y="790"/>
                    </a:lnTo>
                    <a:lnTo>
                      <a:pt x="1340" y="791"/>
                    </a:lnTo>
                    <a:lnTo>
                      <a:pt x="1332" y="790"/>
                    </a:lnTo>
                    <a:lnTo>
                      <a:pt x="1325" y="789"/>
                    </a:lnTo>
                    <a:lnTo>
                      <a:pt x="1317" y="789"/>
                    </a:lnTo>
                    <a:lnTo>
                      <a:pt x="1308" y="788"/>
                    </a:lnTo>
                    <a:lnTo>
                      <a:pt x="1300" y="789"/>
                    </a:lnTo>
                    <a:lnTo>
                      <a:pt x="1293" y="791"/>
                    </a:lnTo>
                    <a:lnTo>
                      <a:pt x="1287" y="794"/>
                    </a:lnTo>
                    <a:lnTo>
                      <a:pt x="1280" y="798"/>
                    </a:lnTo>
                    <a:lnTo>
                      <a:pt x="1276" y="803"/>
                    </a:lnTo>
                    <a:lnTo>
                      <a:pt x="1271" y="809"/>
                    </a:lnTo>
                    <a:lnTo>
                      <a:pt x="1267" y="815"/>
                    </a:lnTo>
                    <a:lnTo>
                      <a:pt x="1264" y="821"/>
                    </a:lnTo>
                    <a:lnTo>
                      <a:pt x="1257" y="837"/>
                    </a:lnTo>
                    <a:lnTo>
                      <a:pt x="1251" y="852"/>
                    </a:lnTo>
                    <a:lnTo>
                      <a:pt x="1243" y="868"/>
                    </a:lnTo>
                    <a:lnTo>
                      <a:pt x="1235" y="883"/>
                    </a:lnTo>
                    <a:lnTo>
                      <a:pt x="1226" y="895"/>
                    </a:lnTo>
                    <a:lnTo>
                      <a:pt x="1217" y="904"/>
                    </a:lnTo>
                    <a:lnTo>
                      <a:pt x="1207" y="912"/>
                    </a:lnTo>
                    <a:lnTo>
                      <a:pt x="1197" y="920"/>
                    </a:lnTo>
                    <a:lnTo>
                      <a:pt x="1188" y="929"/>
                    </a:lnTo>
                    <a:lnTo>
                      <a:pt x="1179" y="938"/>
                    </a:lnTo>
                    <a:lnTo>
                      <a:pt x="1171" y="948"/>
                    </a:lnTo>
                    <a:lnTo>
                      <a:pt x="1164" y="961"/>
                    </a:lnTo>
                    <a:lnTo>
                      <a:pt x="1155" y="981"/>
                    </a:lnTo>
                    <a:lnTo>
                      <a:pt x="1145" y="999"/>
                    </a:lnTo>
                    <a:lnTo>
                      <a:pt x="1139" y="1006"/>
                    </a:lnTo>
                    <a:lnTo>
                      <a:pt x="1133" y="1012"/>
                    </a:lnTo>
                    <a:lnTo>
                      <a:pt x="1129" y="1014"/>
                    </a:lnTo>
                    <a:lnTo>
                      <a:pt x="1124" y="1017"/>
                    </a:lnTo>
                    <a:lnTo>
                      <a:pt x="1120" y="1018"/>
                    </a:lnTo>
                    <a:lnTo>
                      <a:pt x="1114" y="1018"/>
                    </a:lnTo>
                    <a:lnTo>
                      <a:pt x="1063" y="1018"/>
                    </a:lnTo>
                    <a:lnTo>
                      <a:pt x="1048" y="1018"/>
                    </a:lnTo>
                    <a:lnTo>
                      <a:pt x="1035" y="1020"/>
                    </a:lnTo>
                    <a:lnTo>
                      <a:pt x="1023" y="1022"/>
                    </a:lnTo>
                    <a:lnTo>
                      <a:pt x="1011" y="1024"/>
                    </a:lnTo>
                    <a:lnTo>
                      <a:pt x="999" y="1026"/>
                    </a:lnTo>
                    <a:lnTo>
                      <a:pt x="987" y="1028"/>
                    </a:lnTo>
                    <a:lnTo>
                      <a:pt x="973" y="1029"/>
                    </a:lnTo>
                    <a:lnTo>
                      <a:pt x="959" y="1029"/>
                    </a:lnTo>
                    <a:lnTo>
                      <a:pt x="945" y="1029"/>
                    </a:lnTo>
                    <a:lnTo>
                      <a:pt x="933" y="1028"/>
                    </a:lnTo>
                    <a:lnTo>
                      <a:pt x="922" y="1027"/>
                    </a:lnTo>
                    <a:lnTo>
                      <a:pt x="910" y="1025"/>
                    </a:lnTo>
                    <a:lnTo>
                      <a:pt x="899" y="1023"/>
                    </a:lnTo>
                    <a:lnTo>
                      <a:pt x="888" y="1022"/>
                    </a:lnTo>
                    <a:lnTo>
                      <a:pt x="875" y="1021"/>
                    </a:lnTo>
                    <a:lnTo>
                      <a:pt x="861" y="1020"/>
                    </a:lnTo>
                    <a:lnTo>
                      <a:pt x="850" y="1021"/>
                    </a:lnTo>
                    <a:lnTo>
                      <a:pt x="840" y="1022"/>
                    </a:lnTo>
                    <a:lnTo>
                      <a:pt x="831" y="1025"/>
                    </a:lnTo>
                    <a:lnTo>
                      <a:pt x="823" y="1027"/>
                    </a:lnTo>
                    <a:lnTo>
                      <a:pt x="806" y="1035"/>
                    </a:lnTo>
                    <a:lnTo>
                      <a:pt x="790" y="1043"/>
                    </a:lnTo>
                    <a:lnTo>
                      <a:pt x="774" y="1053"/>
                    </a:lnTo>
                    <a:lnTo>
                      <a:pt x="758" y="1060"/>
                    </a:lnTo>
                    <a:lnTo>
                      <a:pt x="748" y="1063"/>
                    </a:lnTo>
                    <a:lnTo>
                      <a:pt x="739" y="1065"/>
                    </a:lnTo>
                    <a:lnTo>
                      <a:pt x="729" y="1066"/>
                    </a:lnTo>
                    <a:lnTo>
                      <a:pt x="718" y="1067"/>
                    </a:lnTo>
                    <a:lnTo>
                      <a:pt x="706" y="1066"/>
                    </a:lnTo>
                    <a:lnTo>
                      <a:pt x="695" y="1064"/>
                    </a:lnTo>
                    <a:lnTo>
                      <a:pt x="683" y="1061"/>
                    </a:lnTo>
                    <a:lnTo>
                      <a:pt x="671" y="1060"/>
                    </a:lnTo>
                    <a:lnTo>
                      <a:pt x="658" y="1061"/>
                    </a:lnTo>
                    <a:lnTo>
                      <a:pt x="645" y="1062"/>
                    </a:lnTo>
                    <a:lnTo>
                      <a:pt x="551" y="1062"/>
                    </a:lnTo>
                    <a:lnTo>
                      <a:pt x="540" y="1063"/>
                    </a:lnTo>
                    <a:lnTo>
                      <a:pt x="531" y="1065"/>
                    </a:lnTo>
                    <a:lnTo>
                      <a:pt x="520" y="1068"/>
                    </a:lnTo>
                    <a:lnTo>
                      <a:pt x="512" y="1072"/>
                    </a:lnTo>
                    <a:lnTo>
                      <a:pt x="503" y="1075"/>
                    </a:lnTo>
                    <a:lnTo>
                      <a:pt x="494" y="1078"/>
                    </a:lnTo>
                    <a:lnTo>
                      <a:pt x="483" y="1081"/>
                    </a:lnTo>
                    <a:lnTo>
                      <a:pt x="472" y="1082"/>
                    </a:lnTo>
                    <a:lnTo>
                      <a:pt x="466" y="1081"/>
                    </a:lnTo>
                    <a:lnTo>
                      <a:pt x="460" y="1079"/>
                    </a:lnTo>
                    <a:lnTo>
                      <a:pt x="454" y="1077"/>
                    </a:lnTo>
                    <a:lnTo>
                      <a:pt x="449" y="1075"/>
                    </a:lnTo>
                    <a:lnTo>
                      <a:pt x="444" y="1073"/>
                    </a:lnTo>
                    <a:lnTo>
                      <a:pt x="439" y="1071"/>
                    </a:lnTo>
                    <a:lnTo>
                      <a:pt x="433" y="1070"/>
                    </a:lnTo>
                    <a:lnTo>
                      <a:pt x="427" y="1069"/>
                    </a:lnTo>
                    <a:lnTo>
                      <a:pt x="410" y="1070"/>
                    </a:lnTo>
                    <a:lnTo>
                      <a:pt x="395" y="1073"/>
                    </a:lnTo>
                    <a:lnTo>
                      <a:pt x="381" y="1078"/>
                    </a:lnTo>
                    <a:lnTo>
                      <a:pt x="369" y="1084"/>
                    </a:lnTo>
                    <a:lnTo>
                      <a:pt x="356" y="1092"/>
                    </a:lnTo>
                    <a:lnTo>
                      <a:pt x="346" y="1100"/>
                    </a:lnTo>
                    <a:lnTo>
                      <a:pt x="336" y="1110"/>
                    </a:lnTo>
                    <a:lnTo>
                      <a:pt x="326" y="1121"/>
                    </a:lnTo>
                    <a:lnTo>
                      <a:pt x="307" y="1145"/>
                    </a:lnTo>
                    <a:lnTo>
                      <a:pt x="287" y="1169"/>
                    </a:lnTo>
                    <a:lnTo>
                      <a:pt x="277" y="1182"/>
                    </a:lnTo>
                    <a:lnTo>
                      <a:pt x="266" y="1194"/>
                    </a:lnTo>
                    <a:lnTo>
                      <a:pt x="254" y="1207"/>
                    </a:lnTo>
                    <a:lnTo>
                      <a:pt x="242" y="1218"/>
                    </a:lnTo>
                    <a:lnTo>
                      <a:pt x="229" y="1229"/>
                    </a:lnTo>
                    <a:lnTo>
                      <a:pt x="215" y="1240"/>
                    </a:lnTo>
                    <a:lnTo>
                      <a:pt x="203" y="1249"/>
                    </a:lnTo>
                    <a:lnTo>
                      <a:pt x="189" y="1257"/>
                    </a:lnTo>
                    <a:lnTo>
                      <a:pt x="176" y="1264"/>
                    </a:lnTo>
                    <a:lnTo>
                      <a:pt x="163" y="1272"/>
                    </a:lnTo>
                    <a:lnTo>
                      <a:pt x="149" y="1277"/>
                    </a:lnTo>
                    <a:lnTo>
                      <a:pt x="136" y="1282"/>
                    </a:lnTo>
                    <a:lnTo>
                      <a:pt x="122" y="1286"/>
                    </a:lnTo>
                    <a:lnTo>
                      <a:pt x="108" y="1290"/>
                    </a:lnTo>
                    <a:lnTo>
                      <a:pt x="92" y="1293"/>
                    </a:lnTo>
                    <a:lnTo>
                      <a:pt x="78" y="1295"/>
                    </a:lnTo>
                    <a:lnTo>
                      <a:pt x="46" y="1299"/>
                    </a:lnTo>
                    <a:lnTo>
                      <a:pt x="11" y="1304"/>
                    </a:lnTo>
                    <a:lnTo>
                      <a:pt x="8" y="1294"/>
                    </a:lnTo>
                    <a:lnTo>
                      <a:pt x="6" y="1285"/>
                    </a:lnTo>
                    <a:lnTo>
                      <a:pt x="3" y="1277"/>
                    </a:lnTo>
                    <a:lnTo>
                      <a:pt x="0" y="1268"/>
                    </a:lnTo>
                    <a:lnTo>
                      <a:pt x="0" y="1268"/>
                    </a:lnTo>
                    <a:lnTo>
                      <a:pt x="12" y="1255"/>
                    </a:lnTo>
                    <a:lnTo>
                      <a:pt x="23" y="1243"/>
                    </a:lnTo>
                    <a:lnTo>
                      <a:pt x="34" y="1230"/>
                    </a:lnTo>
                    <a:lnTo>
                      <a:pt x="43" y="1217"/>
                    </a:lnTo>
                    <a:lnTo>
                      <a:pt x="51" y="1203"/>
                    </a:lnTo>
                    <a:lnTo>
                      <a:pt x="58" y="1189"/>
                    </a:lnTo>
                    <a:lnTo>
                      <a:pt x="65" y="1173"/>
                    </a:lnTo>
                    <a:lnTo>
                      <a:pt x="70" y="1157"/>
                    </a:lnTo>
                    <a:lnTo>
                      <a:pt x="70" y="1047"/>
                    </a:lnTo>
                    <a:lnTo>
                      <a:pt x="70" y="1034"/>
                    </a:lnTo>
                    <a:lnTo>
                      <a:pt x="69" y="1021"/>
                    </a:lnTo>
                    <a:lnTo>
                      <a:pt x="68" y="1007"/>
                    </a:lnTo>
                    <a:lnTo>
                      <a:pt x="66" y="996"/>
                    </a:lnTo>
                    <a:lnTo>
                      <a:pt x="62" y="972"/>
                    </a:lnTo>
                    <a:lnTo>
                      <a:pt x="56" y="950"/>
                    </a:lnTo>
                    <a:lnTo>
                      <a:pt x="51" y="928"/>
                    </a:lnTo>
                    <a:lnTo>
                      <a:pt x="46" y="904"/>
                    </a:lnTo>
                    <a:lnTo>
                      <a:pt x="44" y="893"/>
                    </a:lnTo>
                    <a:lnTo>
                      <a:pt x="43" y="879"/>
                    </a:lnTo>
                    <a:lnTo>
                      <a:pt x="42" y="867"/>
                    </a:lnTo>
                    <a:lnTo>
                      <a:pt x="42" y="852"/>
                    </a:lnTo>
                    <a:lnTo>
                      <a:pt x="42" y="848"/>
                    </a:lnTo>
                    <a:lnTo>
                      <a:pt x="43" y="844"/>
                    </a:lnTo>
                    <a:lnTo>
                      <a:pt x="45" y="840"/>
                    </a:lnTo>
                    <a:lnTo>
                      <a:pt x="46" y="837"/>
                    </a:lnTo>
                    <a:lnTo>
                      <a:pt x="51" y="832"/>
                    </a:lnTo>
                    <a:lnTo>
                      <a:pt x="57" y="826"/>
                    </a:lnTo>
                    <a:lnTo>
                      <a:pt x="73" y="818"/>
                    </a:lnTo>
                    <a:lnTo>
                      <a:pt x="86" y="808"/>
                    </a:lnTo>
                    <a:lnTo>
                      <a:pt x="112" y="780"/>
                    </a:lnTo>
                    <a:lnTo>
                      <a:pt x="133" y="755"/>
                    </a:lnTo>
                    <a:lnTo>
                      <a:pt x="144" y="744"/>
                    </a:lnTo>
                    <a:lnTo>
                      <a:pt x="155" y="731"/>
                    </a:lnTo>
                    <a:lnTo>
                      <a:pt x="169" y="720"/>
                    </a:lnTo>
                    <a:lnTo>
                      <a:pt x="183" y="709"/>
                    </a:lnTo>
                    <a:lnTo>
                      <a:pt x="210" y="690"/>
                    </a:lnTo>
                    <a:lnTo>
                      <a:pt x="235" y="673"/>
                    </a:lnTo>
                    <a:lnTo>
                      <a:pt x="240" y="669"/>
                    </a:lnTo>
                    <a:lnTo>
                      <a:pt x="244" y="663"/>
                    </a:lnTo>
                    <a:lnTo>
                      <a:pt x="248" y="658"/>
                    </a:lnTo>
                    <a:lnTo>
                      <a:pt x="252" y="652"/>
                    </a:lnTo>
                    <a:lnTo>
                      <a:pt x="254" y="646"/>
                    </a:lnTo>
                    <a:lnTo>
                      <a:pt x="257" y="640"/>
                    </a:lnTo>
                    <a:lnTo>
                      <a:pt x="259" y="632"/>
                    </a:lnTo>
                    <a:lnTo>
                      <a:pt x="259" y="624"/>
                    </a:lnTo>
                    <a:lnTo>
                      <a:pt x="256" y="617"/>
                    </a:lnTo>
                    <a:lnTo>
                      <a:pt x="254" y="610"/>
                    </a:lnTo>
                    <a:lnTo>
                      <a:pt x="254" y="602"/>
                    </a:lnTo>
                    <a:lnTo>
                      <a:pt x="256" y="596"/>
                    </a:lnTo>
                    <a:lnTo>
                      <a:pt x="260" y="591"/>
                    </a:lnTo>
                    <a:lnTo>
                      <a:pt x="263" y="587"/>
                    </a:lnTo>
                    <a:lnTo>
                      <a:pt x="268" y="584"/>
                    </a:lnTo>
                    <a:lnTo>
                      <a:pt x="273" y="581"/>
                    </a:lnTo>
                    <a:lnTo>
                      <a:pt x="278" y="578"/>
                    </a:lnTo>
                    <a:lnTo>
                      <a:pt x="284" y="576"/>
                    </a:lnTo>
                    <a:lnTo>
                      <a:pt x="298" y="570"/>
                    </a:lnTo>
                    <a:lnTo>
                      <a:pt x="312" y="565"/>
                    </a:lnTo>
                    <a:lnTo>
                      <a:pt x="318" y="563"/>
                    </a:lnTo>
                    <a:lnTo>
                      <a:pt x="325" y="559"/>
                    </a:lnTo>
                    <a:lnTo>
                      <a:pt x="331" y="555"/>
                    </a:lnTo>
                    <a:lnTo>
                      <a:pt x="337" y="550"/>
                    </a:lnTo>
                    <a:lnTo>
                      <a:pt x="354" y="533"/>
                    </a:lnTo>
                    <a:lnTo>
                      <a:pt x="371" y="518"/>
                    </a:lnTo>
                    <a:lnTo>
                      <a:pt x="387" y="504"/>
                    </a:lnTo>
                    <a:lnTo>
                      <a:pt x="404" y="493"/>
                    </a:lnTo>
                    <a:lnTo>
                      <a:pt x="413" y="488"/>
                    </a:lnTo>
                    <a:lnTo>
                      <a:pt x="421" y="483"/>
                    </a:lnTo>
                    <a:lnTo>
                      <a:pt x="431" y="478"/>
                    </a:lnTo>
                    <a:lnTo>
                      <a:pt x="441" y="474"/>
                    </a:lnTo>
                    <a:lnTo>
                      <a:pt x="451" y="471"/>
                    </a:lnTo>
                    <a:lnTo>
                      <a:pt x="462" y="468"/>
                    </a:lnTo>
                    <a:lnTo>
                      <a:pt x="473" y="465"/>
                    </a:lnTo>
                    <a:lnTo>
                      <a:pt x="485" y="463"/>
                    </a:lnTo>
                    <a:lnTo>
                      <a:pt x="507" y="459"/>
                    </a:lnTo>
                    <a:lnTo>
                      <a:pt x="527" y="456"/>
                    </a:lnTo>
                    <a:lnTo>
                      <a:pt x="546" y="453"/>
                    </a:lnTo>
                    <a:lnTo>
                      <a:pt x="564" y="451"/>
                    </a:lnTo>
                    <a:lnTo>
                      <a:pt x="582" y="448"/>
                    </a:lnTo>
                    <a:lnTo>
                      <a:pt x="601" y="444"/>
                    </a:lnTo>
                    <a:lnTo>
                      <a:pt x="622" y="441"/>
                    </a:lnTo>
                    <a:lnTo>
                      <a:pt x="643" y="437"/>
                    </a:lnTo>
                    <a:lnTo>
                      <a:pt x="656" y="434"/>
                    </a:lnTo>
                    <a:lnTo>
                      <a:pt x="668" y="431"/>
                    </a:lnTo>
                    <a:lnTo>
                      <a:pt x="679" y="427"/>
                    </a:lnTo>
                    <a:lnTo>
                      <a:pt x="690" y="422"/>
                    </a:lnTo>
                    <a:lnTo>
                      <a:pt x="694" y="420"/>
                    </a:lnTo>
                    <a:lnTo>
                      <a:pt x="699" y="416"/>
                    </a:lnTo>
                    <a:lnTo>
                      <a:pt x="702" y="412"/>
                    </a:lnTo>
                    <a:lnTo>
                      <a:pt x="705" y="408"/>
                    </a:lnTo>
                    <a:lnTo>
                      <a:pt x="708" y="403"/>
                    </a:lnTo>
                    <a:lnTo>
                      <a:pt x="710" y="399"/>
                    </a:lnTo>
                    <a:lnTo>
                      <a:pt x="711" y="393"/>
                    </a:lnTo>
                    <a:lnTo>
                      <a:pt x="711" y="388"/>
                    </a:lnTo>
                    <a:lnTo>
                      <a:pt x="711" y="362"/>
                    </a:lnTo>
                    <a:lnTo>
                      <a:pt x="709" y="340"/>
                    </a:lnTo>
                    <a:lnTo>
                      <a:pt x="707" y="329"/>
                    </a:lnTo>
                    <a:lnTo>
                      <a:pt x="704" y="318"/>
                    </a:lnTo>
                    <a:lnTo>
                      <a:pt x="700" y="307"/>
                    </a:lnTo>
                    <a:lnTo>
                      <a:pt x="695" y="295"/>
                    </a:lnTo>
                    <a:lnTo>
                      <a:pt x="690" y="284"/>
                    </a:lnTo>
                    <a:lnTo>
                      <a:pt x="682" y="274"/>
                    </a:lnTo>
                    <a:lnTo>
                      <a:pt x="676" y="265"/>
                    </a:lnTo>
                    <a:lnTo>
                      <a:pt x="670" y="256"/>
                    </a:lnTo>
                    <a:lnTo>
                      <a:pt x="664" y="247"/>
                    </a:lnTo>
                    <a:lnTo>
                      <a:pt x="659" y="238"/>
                    </a:lnTo>
                    <a:lnTo>
                      <a:pt x="658" y="233"/>
                    </a:lnTo>
                    <a:lnTo>
                      <a:pt x="656" y="228"/>
                    </a:lnTo>
                    <a:lnTo>
                      <a:pt x="656" y="221"/>
                    </a:lnTo>
                    <a:lnTo>
                      <a:pt x="655" y="215"/>
                    </a:lnTo>
                    <a:lnTo>
                      <a:pt x="656" y="209"/>
                    </a:lnTo>
                    <a:lnTo>
                      <a:pt x="657" y="204"/>
                    </a:lnTo>
                    <a:lnTo>
                      <a:pt x="658" y="199"/>
                    </a:lnTo>
                    <a:lnTo>
                      <a:pt x="660" y="195"/>
                    </a:lnTo>
                    <a:lnTo>
                      <a:pt x="666" y="186"/>
                    </a:lnTo>
                    <a:lnTo>
                      <a:pt x="672" y="178"/>
                    </a:lnTo>
                    <a:lnTo>
                      <a:pt x="680" y="171"/>
                    </a:lnTo>
                    <a:lnTo>
                      <a:pt x="688" y="164"/>
                    </a:lnTo>
                    <a:lnTo>
                      <a:pt x="694" y="154"/>
                    </a:lnTo>
                    <a:lnTo>
                      <a:pt x="700" y="144"/>
                    </a:lnTo>
                    <a:lnTo>
                      <a:pt x="716" y="107"/>
                    </a:lnTo>
                    <a:lnTo>
                      <a:pt x="732" y="74"/>
                    </a:lnTo>
                    <a:lnTo>
                      <a:pt x="738" y="57"/>
                    </a:lnTo>
                    <a:lnTo>
                      <a:pt x="743" y="40"/>
                    </a:lnTo>
                    <a:lnTo>
                      <a:pt x="749" y="21"/>
                    </a:lnTo>
                    <a:lnTo>
                      <a:pt x="754" y="0"/>
                    </a:lnTo>
                    <a:lnTo>
                      <a:pt x="754" y="0"/>
                    </a:lnTo>
                    <a:lnTo>
                      <a:pt x="779" y="40"/>
                    </a:lnTo>
                    <a:lnTo>
                      <a:pt x="801" y="74"/>
                    </a:lnTo>
                    <a:lnTo>
                      <a:pt x="822" y="108"/>
                    </a:lnTo>
                    <a:lnTo>
                      <a:pt x="846" y="146"/>
                    </a:lnTo>
                    <a:lnTo>
                      <a:pt x="857" y="165"/>
                    </a:lnTo>
                    <a:lnTo>
                      <a:pt x="868" y="182"/>
                    </a:lnTo>
                    <a:lnTo>
                      <a:pt x="879" y="198"/>
                    </a:lnTo>
                    <a:lnTo>
                      <a:pt x="893" y="212"/>
                    </a:lnTo>
                    <a:lnTo>
                      <a:pt x="899" y="218"/>
                    </a:lnTo>
                    <a:lnTo>
                      <a:pt x="906" y="223"/>
                    </a:lnTo>
                    <a:lnTo>
                      <a:pt x="913" y="229"/>
                    </a:lnTo>
                    <a:lnTo>
                      <a:pt x="922" y="233"/>
                    </a:lnTo>
                    <a:lnTo>
                      <a:pt x="930" y="236"/>
                    </a:lnTo>
                    <a:lnTo>
                      <a:pt x="939" y="239"/>
                    </a:lnTo>
                    <a:lnTo>
                      <a:pt x="948" y="240"/>
                    </a:lnTo>
                    <a:lnTo>
                      <a:pt x="959" y="241"/>
                    </a:lnTo>
                    <a:lnTo>
                      <a:pt x="969" y="240"/>
                    </a:lnTo>
                    <a:lnTo>
                      <a:pt x="978" y="239"/>
                    </a:lnTo>
                    <a:lnTo>
                      <a:pt x="987" y="237"/>
                    </a:lnTo>
                    <a:lnTo>
                      <a:pt x="995" y="234"/>
                    </a:lnTo>
                    <a:lnTo>
                      <a:pt x="1003" y="231"/>
                    </a:lnTo>
                    <a:lnTo>
                      <a:pt x="1010" y="227"/>
                    </a:lnTo>
                    <a:lnTo>
                      <a:pt x="1018" y="221"/>
                    </a:lnTo>
                    <a:lnTo>
                      <a:pt x="1025" y="216"/>
                    </a:lnTo>
                    <a:lnTo>
                      <a:pt x="1052" y="193"/>
                    </a:lnTo>
                    <a:lnTo>
                      <a:pt x="1081" y="168"/>
                    </a:lnTo>
                    <a:lnTo>
                      <a:pt x="1082" y="175"/>
                    </a:lnTo>
                    <a:lnTo>
                      <a:pt x="1084" y="182"/>
                    </a:lnTo>
                    <a:lnTo>
                      <a:pt x="1084" y="189"/>
                    </a:lnTo>
                    <a:lnTo>
                      <a:pt x="1081" y="197"/>
                    </a:lnTo>
                    <a:lnTo>
                      <a:pt x="1079" y="203"/>
                    </a:lnTo>
                    <a:lnTo>
                      <a:pt x="1077" y="208"/>
                    </a:lnTo>
                    <a:lnTo>
                      <a:pt x="1074" y="214"/>
                    </a:lnTo>
                    <a:lnTo>
                      <a:pt x="1072" y="220"/>
                    </a:lnTo>
                    <a:lnTo>
                      <a:pt x="1070" y="227"/>
                    </a:lnTo>
                    <a:lnTo>
                      <a:pt x="1070" y="234"/>
                    </a:lnTo>
                    <a:lnTo>
                      <a:pt x="1070" y="240"/>
                    </a:lnTo>
                    <a:lnTo>
                      <a:pt x="1071" y="245"/>
                    </a:lnTo>
                    <a:lnTo>
                      <a:pt x="1073" y="250"/>
                    </a:lnTo>
                    <a:lnTo>
                      <a:pt x="1076" y="254"/>
                    </a:lnTo>
                    <a:lnTo>
                      <a:pt x="1082" y="263"/>
                    </a:lnTo>
                    <a:lnTo>
                      <a:pt x="1091" y="270"/>
                    </a:lnTo>
                    <a:lnTo>
                      <a:pt x="1100" y="276"/>
                    </a:lnTo>
                    <a:lnTo>
                      <a:pt x="1109" y="283"/>
                    </a:lnTo>
                    <a:lnTo>
                      <a:pt x="1119" y="291"/>
                    </a:lnTo>
                    <a:lnTo>
                      <a:pt x="1127" y="300"/>
                    </a:lnTo>
                    <a:lnTo>
                      <a:pt x="1131" y="291"/>
                    </a:lnTo>
                    <a:lnTo>
                      <a:pt x="1131" y="229"/>
                    </a:lnTo>
                    <a:lnTo>
                      <a:pt x="1135" y="234"/>
                    </a:lnTo>
                    <a:lnTo>
                      <a:pt x="1138" y="238"/>
                    </a:lnTo>
                    <a:lnTo>
                      <a:pt x="1140" y="243"/>
                    </a:lnTo>
                    <a:lnTo>
                      <a:pt x="1142" y="248"/>
                    </a:lnTo>
                    <a:lnTo>
                      <a:pt x="1144" y="259"/>
                    </a:lnTo>
                    <a:lnTo>
                      <a:pt x="1144" y="270"/>
                    </a:lnTo>
                    <a:lnTo>
                      <a:pt x="1145" y="281"/>
                    </a:lnTo>
                    <a:lnTo>
                      <a:pt x="1147" y="292"/>
                    </a:lnTo>
                    <a:lnTo>
                      <a:pt x="1150" y="297"/>
                    </a:lnTo>
                    <a:lnTo>
                      <a:pt x="1152" y="301"/>
                    </a:lnTo>
                    <a:lnTo>
                      <a:pt x="1155" y="305"/>
                    </a:lnTo>
                    <a:lnTo>
                      <a:pt x="1160" y="309"/>
                    </a:lnTo>
                    <a:lnTo>
                      <a:pt x="1168" y="314"/>
                    </a:lnTo>
                    <a:lnTo>
                      <a:pt x="1177" y="318"/>
                    </a:lnTo>
                    <a:lnTo>
                      <a:pt x="1187" y="319"/>
                    </a:lnTo>
                    <a:lnTo>
                      <a:pt x="1195" y="321"/>
                    </a:lnTo>
                    <a:lnTo>
                      <a:pt x="1205" y="322"/>
                    </a:lnTo>
                    <a:lnTo>
                      <a:pt x="1214" y="322"/>
                    </a:lnTo>
                    <a:lnTo>
                      <a:pt x="1225" y="324"/>
                    </a:lnTo>
                    <a:lnTo>
                      <a:pt x="1235" y="326"/>
                    </a:lnTo>
                    <a:lnTo>
                      <a:pt x="1261" y="336"/>
                    </a:lnTo>
                    <a:lnTo>
                      <a:pt x="1284" y="347"/>
                    </a:lnTo>
                    <a:lnTo>
                      <a:pt x="1295" y="351"/>
                    </a:lnTo>
                    <a:lnTo>
                      <a:pt x="1306" y="356"/>
                    </a:lnTo>
                    <a:lnTo>
                      <a:pt x="1320" y="358"/>
                    </a:lnTo>
                    <a:lnTo>
                      <a:pt x="1334" y="359"/>
                    </a:lnTo>
                    <a:lnTo>
                      <a:pt x="1338" y="359"/>
                    </a:lnTo>
                    <a:lnTo>
                      <a:pt x="1343" y="358"/>
                    </a:lnTo>
                    <a:lnTo>
                      <a:pt x="1346" y="356"/>
                    </a:lnTo>
                    <a:lnTo>
                      <a:pt x="1351" y="354"/>
                    </a:lnTo>
                    <a:lnTo>
                      <a:pt x="1359" y="349"/>
                    </a:lnTo>
                    <a:lnTo>
                      <a:pt x="1367" y="344"/>
                    </a:lnTo>
                    <a:lnTo>
                      <a:pt x="1367" y="344"/>
                    </a:lnTo>
                    <a:lnTo>
                      <a:pt x="1382" y="340"/>
                    </a:lnTo>
                    <a:lnTo>
                      <a:pt x="1396" y="337"/>
                    </a:lnTo>
                    <a:lnTo>
                      <a:pt x="1410" y="336"/>
                    </a:lnTo>
                    <a:lnTo>
                      <a:pt x="1426" y="335"/>
                    </a:lnTo>
                    <a:lnTo>
                      <a:pt x="1432" y="336"/>
                    </a:lnTo>
                    <a:lnTo>
                      <a:pt x="1438" y="338"/>
                    </a:lnTo>
                    <a:lnTo>
                      <a:pt x="1443" y="342"/>
                    </a:lnTo>
                    <a:lnTo>
                      <a:pt x="1448" y="346"/>
                    </a:lnTo>
                    <a:lnTo>
                      <a:pt x="1455" y="359"/>
                    </a:lnTo>
                    <a:lnTo>
                      <a:pt x="1461" y="371"/>
                    </a:lnTo>
                    <a:lnTo>
                      <a:pt x="1476" y="400"/>
                    </a:lnTo>
                    <a:lnTo>
                      <a:pt x="1490" y="425"/>
                    </a:lnTo>
                    <a:lnTo>
                      <a:pt x="1498" y="436"/>
                    </a:lnTo>
                    <a:lnTo>
                      <a:pt x="1508" y="446"/>
                    </a:lnTo>
                    <a:lnTo>
                      <a:pt x="1514" y="452"/>
                    </a:lnTo>
                    <a:lnTo>
                      <a:pt x="1520" y="456"/>
                    </a:lnTo>
                    <a:lnTo>
                      <a:pt x="1527" y="459"/>
                    </a:lnTo>
                    <a:lnTo>
                      <a:pt x="1534" y="463"/>
                    </a:lnTo>
                    <a:lnTo>
                      <a:pt x="1553" y="461"/>
                    </a:lnTo>
                    <a:lnTo>
                      <a:pt x="1554" y="440"/>
                    </a:lnTo>
                    <a:lnTo>
                      <a:pt x="1553" y="423"/>
                    </a:lnTo>
                    <a:lnTo>
                      <a:pt x="1552" y="405"/>
                    </a:lnTo>
                    <a:lnTo>
                      <a:pt x="1553" y="385"/>
                    </a:lnTo>
                    <a:lnTo>
                      <a:pt x="1562" y="387"/>
                    </a:lnTo>
                    <a:lnTo>
                      <a:pt x="1570" y="390"/>
                    </a:lnTo>
                    <a:lnTo>
                      <a:pt x="1577" y="394"/>
                    </a:lnTo>
                    <a:lnTo>
                      <a:pt x="1585" y="399"/>
                    </a:lnTo>
                    <a:lnTo>
                      <a:pt x="1592" y="403"/>
                    </a:lnTo>
                    <a:lnTo>
                      <a:pt x="1599" y="407"/>
                    </a:lnTo>
                    <a:lnTo>
                      <a:pt x="1607" y="410"/>
                    </a:lnTo>
                    <a:lnTo>
                      <a:pt x="1617" y="410"/>
                    </a:lnTo>
                    <a:lnTo>
                      <a:pt x="1620" y="410"/>
                    </a:lnTo>
                    <a:lnTo>
                      <a:pt x="1623" y="409"/>
                    </a:lnTo>
                    <a:lnTo>
                      <a:pt x="1625" y="407"/>
                    </a:lnTo>
                    <a:lnTo>
                      <a:pt x="1627" y="405"/>
                    </a:lnTo>
                    <a:lnTo>
                      <a:pt x="1630" y="399"/>
                    </a:lnTo>
                    <a:lnTo>
                      <a:pt x="1631" y="392"/>
                    </a:lnTo>
                    <a:lnTo>
                      <a:pt x="1630" y="387"/>
                    </a:lnTo>
                    <a:lnTo>
                      <a:pt x="1628" y="381"/>
                    </a:lnTo>
                    <a:lnTo>
                      <a:pt x="1626" y="377"/>
                    </a:lnTo>
                    <a:lnTo>
                      <a:pt x="1623" y="373"/>
                    </a:lnTo>
                    <a:lnTo>
                      <a:pt x="1614" y="367"/>
                    </a:lnTo>
                    <a:lnTo>
                      <a:pt x="1603" y="361"/>
                    </a:lnTo>
                    <a:lnTo>
                      <a:pt x="1594" y="356"/>
                    </a:lnTo>
                    <a:lnTo>
                      <a:pt x="1585" y="349"/>
                    </a:lnTo>
                    <a:lnTo>
                      <a:pt x="1582" y="345"/>
                    </a:lnTo>
                    <a:lnTo>
                      <a:pt x="1579" y="341"/>
                    </a:lnTo>
                    <a:lnTo>
                      <a:pt x="1577" y="336"/>
                    </a:lnTo>
                    <a:lnTo>
                      <a:pt x="1576" y="331"/>
                    </a:lnTo>
                    <a:lnTo>
                      <a:pt x="1577" y="329"/>
                    </a:lnTo>
                    <a:lnTo>
                      <a:pt x="1577" y="327"/>
                    </a:lnTo>
                    <a:lnTo>
                      <a:pt x="1580" y="325"/>
                    </a:lnTo>
                    <a:lnTo>
                      <a:pt x="1582" y="324"/>
                    </a:lnTo>
                    <a:lnTo>
                      <a:pt x="1586" y="322"/>
                    </a:lnTo>
                    <a:lnTo>
                      <a:pt x="1591" y="322"/>
                    </a:lnTo>
                    <a:lnTo>
                      <a:pt x="1597" y="322"/>
                    </a:lnTo>
                    <a:lnTo>
                      <a:pt x="1602" y="324"/>
                    </a:lnTo>
                    <a:lnTo>
                      <a:pt x="1607" y="327"/>
                    </a:lnTo>
                    <a:lnTo>
                      <a:pt x="1612" y="331"/>
                    </a:lnTo>
                    <a:lnTo>
                      <a:pt x="1621" y="339"/>
                    </a:lnTo>
                    <a:lnTo>
                      <a:pt x="1631" y="347"/>
                    </a:lnTo>
                    <a:lnTo>
                      <a:pt x="1634" y="338"/>
                    </a:lnTo>
                    <a:lnTo>
                      <a:pt x="1637" y="331"/>
                    </a:lnTo>
                    <a:lnTo>
                      <a:pt x="1639" y="323"/>
                    </a:lnTo>
                    <a:lnTo>
                      <a:pt x="1641" y="315"/>
                    </a:lnTo>
                    <a:lnTo>
                      <a:pt x="1643" y="299"/>
                    </a:lnTo>
                    <a:lnTo>
                      <a:pt x="1648" y="281"/>
                    </a:lnTo>
                    <a:lnTo>
                      <a:pt x="1655" y="284"/>
                    </a:lnTo>
                    <a:lnTo>
                      <a:pt x="1660" y="290"/>
                    </a:lnTo>
                    <a:lnTo>
                      <a:pt x="1665" y="295"/>
                    </a:lnTo>
                    <a:lnTo>
                      <a:pt x="1668" y="301"/>
                    </a:lnTo>
                    <a:lnTo>
                      <a:pt x="1671" y="308"/>
                    </a:lnTo>
                    <a:lnTo>
                      <a:pt x="1675" y="314"/>
                    </a:lnTo>
                    <a:lnTo>
                      <a:pt x="1680" y="322"/>
                    </a:lnTo>
                    <a:lnTo>
                      <a:pt x="1685" y="328"/>
                    </a:lnTo>
                    <a:lnTo>
                      <a:pt x="1696" y="309"/>
                    </a:lnTo>
                    <a:lnTo>
                      <a:pt x="1706" y="293"/>
                    </a:lnTo>
                    <a:lnTo>
                      <a:pt x="1718" y="277"/>
                    </a:lnTo>
                    <a:lnTo>
                      <a:pt x="1732" y="260"/>
                    </a:lnTo>
                    <a:lnTo>
                      <a:pt x="1738" y="265"/>
                    </a:lnTo>
                    <a:lnTo>
                      <a:pt x="1742" y="270"/>
                    </a:lnTo>
                    <a:lnTo>
                      <a:pt x="1747" y="276"/>
                    </a:lnTo>
                    <a:lnTo>
                      <a:pt x="1749" y="283"/>
                    </a:lnTo>
                    <a:lnTo>
                      <a:pt x="1751" y="291"/>
                    </a:lnTo>
                    <a:lnTo>
                      <a:pt x="1753" y="298"/>
                    </a:lnTo>
                    <a:lnTo>
                      <a:pt x="1756" y="305"/>
                    </a:lnTo>
                    <a:lnTo>
                      <a:pt x="1760" y="311"/>
                    </a:lnTo>
                    <a:lnTo>
                      <a:pt x="1767" y="318"/>
                    </a:lnTo>
                    <a:lnTo>
                      <a:pt x="1774" y="324"/>
                    </a:lnTo>
                    <a:lnTo>
                      <a:pt x="1782" y="328"/>
                    </a:lnTo>
                    <a:lnTo>
                      <a:pt x="1790" y="331"/>
                    </a:lnTo>
                    <a:lnTo>
                      <a:pt x="1798" y="333"/>
                    </a:lnTo>
                    <a:lnTo>
                      <a:pt x="1807" y="336"/>
                    </a:lnTo>
                    <a:lnTo>
                      <a:pt x="1816" y="340"/>
                    </a:lnTo>
                    <a:lnTo>
                      <a:pt x="1824" y="344"/>
                    </a:lnTo>
                    <a:lnTo>
                      <a:pt x="1830" y="336"/>
                    </a:lnTo>
                    <a:lnTo>
                      <a:pt x="1837" y="328"/>
                    </a:lnTo>
                    <a:lnTo>
                      <a:pt x="1844" y="321"/>
                    </a:lnTo>
                    <a:lnTo>
                      <a:pt x="1851" y="314"/>
                    </a:lnTo>
                    <a:lnTo>
                      <a:pt x="1859" y="309"/>
                    </a:lnTo>
                    <a:lnTo>
                      <a:pt x="1867" y="305"/>
                    </a:lnTo>
                    <a:lnTo>
                      <a:pt x="1878" y="303"/>
                    </a:lnTo>
                    <a:lnTo>
                      <a:pt x="1888" y="302"/>
                    </a:lnTo>
                    <a:lnTo>
                      <a:pt x="1901" y="303"/>
                    </a:lnTo>
                    <a:lnTo>
                      <a:pt x="1915" y="306"/>
                    </a:lnTo>
                    <a:lnTo>
                      <a:pt x="1926" y="310"/>
                    </a:lnTo>
                    <a:lnTo>
                      <a:pt x="1937" y="314"/>
                    </a:lnTo>
                    <a:lnTo>
                      <a:pt x="1949" y="318"/>
                    </a:lnTo>
                    <a:lnTo>
                      <a:pt x="1960" y="323"/>
                    </a:lnTo>
                    <a:lnTo>
                      <a:pt x="1972" y="325"/>
                    </a:lnTo>
                    <a:lnTo>
                      <a:pt x="1987" y="326"/>
                    </a:lnTo>
                    <a:lnTo>
                      <a:pt x="2001" y="318"/>
                    </a:lnTo>
                    <a:lnTo>
                      <a:pt x="2015" y="311"/>
                    </a:lnTo>
                    <a:lnTo>
                      <a:pt x="2030" y="313"/>
                    </a:lnTo>
                    <a:lnTo>
                      <a:pt x="2044" y="316"/>
                    </a:lnTo>
                    <a:lnTo>
                      <a:pt x="2057" y="319"/>
                    </a:lnTo>
                    <a:lnTo>
                      <a:pt x="2072" y="322"/>
                    </a:lnTo>
                    <a:lnTo>
                      <a:pt x="2084" y="321"/>
                    </a:lnTo>
                    <a:lnTo>
                      <a:pt x="2095" y="318"/>
                    </a:lnTo>
                    <a:lnTo>
                      <a:pt x="2095" y="300"/>
                    </a:lnTo>
                    <a:lnTo>
                      <a:pt x="2081" y="272"/>
                    </a:lnTo>
                    <a:lnTo>
                      <a:pt x="2086" y="268"/>
                    </a:lnTo>
                    <a:lnTo>
                      <a:pt x="2091" y="265"/>
                    </a:lnTo>
                    <a:lnTo>
                      <a:pt x="2097" y="266"/>
                    </a:lnTo>
                    <a:lnTo>
                      <a:pt x="2102" y="268"/>
                    </a:lnTo>
                    <a:lnTo>
                      <a:pt x="2108" y="272"/>
                    </a:lnTo>
                    <a:lnTo>
                      <a:pt x="2112" y="276"/>
                    </a:lnTo>
                    <a:lnTo>
                      <a:pt x="2116" y="280"/>
                    </a:lnTo>
                    <a:lnTo>
                      <a:pt x="2121" y="284"/>
                    </a:lnTo>
                    <a:lnTo>
                      <a:pt x="2126" y="287"/>
                    </a:lnTo>
                    <a:lnTo>
                      <a:pt x="2133" y="288"/>
                    </a:lnTo>
                    <a:lnTo>
                      <a:pt x="2142" y="287"/>
                    </a:lnTo>
                    <a:lnTo>
                      <a:pt x="2149" y="284"/>
                    </a:lnTo>
                    <a:lnTo>
                      <a:pt x="2155" y="280"/>
                    </a:lnTo>
                    <a:lnTo>
                      <a:pt x="2161" y="276"/>
                    </a:lnTo>
                    <a:lnTo>
                      <a:pt x="2167" y="272"/>
                    </a:lnTo>
                    <a:lnTo>
                      <a:pt x="2174" y="268"/>
                    </a:lnTo>
                    <a:lnTo>
                      <a:pt x="2181" y="266"/>
                    </a:lnTo>
                    <a:lnTo>
                      <a:pt x="2190" y="265"/>
                    </a:lnTo>
                    <a:lnTo>
                      <a:pt x="2201" y="265"/>
                    </a:lnTo>
                    <a:lnTo>
                      <a:pt x="2213" y="267"/>
                    </a:lnTo>
                    <a:lnTo>
                      <a:pt x="2223" y="270"/>
                    </a:lnTo>
                    <a:lnTo>
                      <a:pt x="2232" y="273"/>
                    </a:lnTo>
                    <a:lnTo>
                      <a:pt x="2252" y="281"/>
                    </a:lnTo>
                    <a:lnTo>
                      <a:pt x="2275" y="288"/>
                    </a:lnTo>
                    <a:lnTo>
                      <a:pt x="2275" y="288"/>
                    </a:lnTo>
                    <a:lnTo>
                      <a:pt x="2270" y="297"/>
                    </a:lnTo>
                    <a:lnTo>
                      <a:pt x="2268" y="304"/>
                    </a:lnTo>
                    <a:lnTo>
                      <a:pt x="2267" y="312"/>
                    </a:lnTo>
                    <a:lnTo>
                      <a:pt x="2267" y="322"/>
                    </a:lnTo>
                    <a:lnTo>
                      <a:pt x="2267" y="327"/>
                    </a:lnTo>
                    <a:lnTo>
                      <a:pt x="2268" y="332"/>
                    </a:lnTo>
                    <a:lnTo>
                      <a:pt x="2270" y="336"/>
                    </a:lnTo>
                    <a:lnTo>
                      <a:pt x="2273" y="340"/>
                    </a:lnTo>
                    <a:lnTo>
                      <a:pt x="2279" y="347"/>
                    </a:lnTo>
                    <a:lnTo>
                      <a:pt x="2287" y="354"/>
                    </a:lnTo>
                    <a:lnTo>
                      <a:pt x="2295" y="360"/>
                    </a:lnTo>
                    <a:lnTo>
                      <a:pt x="2305" y="365"/>
                    </a:lnTo>
                    <a:lnTo>
                      <a:pt x="2314" y="372"/>
                    </a:lnTo>
                    <a:lnTo>
                      <a:pt x="2322" y="380"/>
                    </a:lnTo>
                    <a:lnTo>
                      <a:pt x="2329" y="390"/>
                    </a:lnTo>
                    <a:lnTo>
                      <a:pt x="2334" y="400"/>
                    </a:lnTo>
                    <a:lnTo>
                      <a:pt x="2340" y="409"/>
                    </a:lnTo>
                    <a:lnTo>
                      <a:pt x="2343" y="420"/>
                    </a:lnTo>
                    <a:lnTo>
                      <a:pt x="2346" y="441"/>
                    </a:lnTo>
                    <a:lnTo>
                      <a:pt x="2348" y="465"/>
                    </a:lnTo>
                    <a:lnTo>
                      <a:pt x="2348" y="465"/>
                    </a:lnTo>
                    <a:close/>
                  </a:path>
                </a:pathLst>
              </a:custGeom>
              <a:solidFill>
                <a:srgbClr val="65AC1E">
                  <a:alpha val="54902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Zakarpattya">
                <a:extLst>
                  <a:ext uri="{FF2B5EF4-FFF2-40B4-BE49-F238E27FC236}">
                    <a16:creationId xmlns:a16="http://schemas.microsoft.com/office/drawing/2014/main" id="{DB7381EB-13F1-435D-B11A-0EFF8E25C9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5454" y="3514405"/>
                <a:ext cx="978911" cy="868539"/>
              </a:xfrm>
              <a:custGeom>
                <a:avLst/>
                <a:gdLst>
                  <a:gd name="T0" fmla="*/ 1924 w 1994"/>
                  <a:gd name="T1" fmla="*/ 1598 h 1659"/>
                  <a:gd name="T2" fmla="*/ 1842 w 1994"/>
                  <a:gd name="T3" fmla="*/ 1633 h 1659"/>
                  <a:gd name="T4" fmla="*/ 1735 w 1994"/>
                  <a:gd name="T5" fmla="*/ 1637 h 1659"/>
                  <a:gd name="T6" fmla="*/ 1562 w 1994"/>
                  <a:gd name="T7" fmla="*/ 1583 h 1659"/>
                  <a:gd name="T8" fmla="*/ 1472 w 1994"/>
                  <a:gd name="T9" fmla="*/ 1563 h 1659"/>
                  <a:gd name="T10" fmla="*/ 1408 w 1994"/>
                  <a:gd name="T11" fmla="*/ 1599 h 1659"/>
                  <a:gd name="T12" fmla="*/ 1356 w 1994"/>
                  <a:gd name="T13" fmla="*/ 1541 h 1659"/>
                  <a:gd name="T14" fmla="*/ 1188 w 1994"/>
                  <a:gd name="T15" fmla="*/ 1523 h 1659"/>
                  <a:gd name="T16" fmla="*/ 1067 w 1994"/>
                  <a:gd name="T17" fmla="*/ 1488 h 1659"/>
                  <a:gd name="T18" fmla="*/ 957 w 1994"/>
                  <a:gd name="T19" fmla="*/ 1431 h 1659"/>
                  <a:gd name="T20" fmla="*/ 913 w 1994"/>
                  <a:gd name="T21" fmla="*/ 1378 h 1659"/>
                  <a:gd name="T22" fmla="*/ 857 w 1994"/>
                  <a:gd name="T23" fmla="*/ 1333 h 1659"/>
                  <a:gd name="T24" fmla="*/ 803 w 1994"/>
                  <a:gd name="T25" fmla="*/ 1310 h 1659"/>
                  <a:gd name="T26" fmla="*/ 738 w 1994"/>
                  <a:gd name="T27" fmla="*/ 1408 h 1659"/>
                  <a:gd name="T28" fmla="*/ 692 w 1994"/>
                  <a:gd name="T29" fmla="*/ 1455 h 1659"/>
                  <a:gd name="T30" fmla="*/ 620 w 1994"/>
                  <a:gd name="T31" fmla="*/ 1432 h 1659"/>
                  <a:gd name="T32" fmla="*/ 578 w 1994"/>
                  <a:gd name="T33" fmla="*/ 1443 h 1659"/>
                  <a:gd name="T34" fmla="*/ 563 w 1994"/>
                  <a:gd name="T35" fmla="*/ 1371 h 1659"/>
                  <a:gd name="T36" fmla="*/ 545 w 1994"/>
                  <a:gd name="T37" fmla="*/ 1320 h 1659"/>
                  <a:gd name="T38" fmla="*/ 495 w 1994"/>
                  <a:gd name="T39" fmla="*/ 1260 h 1659"/>
                  <a:gd name="T40" fmla="*/ 399 w 1994"/>
                  <a:gd name="T41" fmla="*/ 1273 h 1659"/>
                  <a:gd name="T42" fmla="*/ 350 w 1994"/>
                  <a:gd name="T43" fmla="*/ 1259 h 1659"/>
                  <a:gd name="T44" fmla="*/ 329 w 1994"/>
                  <a:gd name="T45" fmla="*/ 1144 h 1659"/>
                  <a:gd name="T46" fmla="*/ 222 w 1994"/>
                  <a:gd name="T47" fmla="*/ 1056 h 1659"/>
                  <a:gd name="T48" fmla="*/ 142 w 1994"/>
                  <a:gd name="T49" fmla="*/ 955 h 1659"/>
                  <a:gd name="T50" fmla="*/ 85 w 1994"/>
                  <a:gd name="T51" fmla="*/ 886 h 1659"/>
                  <a:gd name="T52" fmla="*/ 62 w 1994"/>
                  <a:gd name="T53" fmla="*/ 822 h 1659"/>
                  <a:gd name="T54" fmla="*/ 1 w 1994"/>
                  <a:gd name="T55" fmla="*/ 749 h 1659"/>
                  <a:gd name="T56" fmla="*/ 25 w 1994"/>
                  <a:gd name="T57" fmla="*/ 691 h 1659"/>
                  <a:gd name="T58" fmla="*/ 15 w 1994"/>
                  <a:gd name="T59" fmla="*/ 630 h 1659"/>
                  <a:gd name="T60" fmla="*/ 129 w 1994"/>
                  <a:gd name="T61" fmla="*/ 535 h 1659"/>
                  <a:gd name="T62" fmla="*/ 198 w 1994"/>
                  <a:gd name="T63" fmla="*/ 452 h 1659"/>
                  <a:gd name="T64" fmla="*/ 224 w 1994"/>
                  <a:gd name="T65" fmla="*/ 373 h 1659"/>
                  <a:gd name="T66" fmla="*/ 243 w 1994"/>
                  <a:gd name="T67" fmla="*/ 289 h 1659"/>
                  <a:gd name="T68" fmla="*/ 309 w 1994"/>
                  <a:gd name="T69" fmla="*/ 204 h 1659"/>
                  <a:gd name="T70" fmla="*/ 390 w 1994"/>
                  <a:gd name="T71" fmla="*/ 108 h 1659"/>
                  <a:gd name="T72" fmla="*/ 427 w 1994"/>
                  <a:gd name="T73" fmla="*/ 83 h 1659"/>
                  <a:gd name="T74" fmla="*/ 473 w 1994"/>
                  <a:gd name="T75" fmla="*/ 0 h 1659"/>
                  <a:gd name="T76" fmla="*/ 560 w 1994"/>
                  <a:gd name="T77" fmla="*/ 55 h 1659"/>
                  <a:gd name="T78" fmla="*/ 640 w 1994"/>
                  <a:gd name="T79" fmla="*/ 77 h 1659"/>
                  <a:gd name="T80" fmla="*/ 710 w 1994"/>
                  <a:gd name="T81" fmla="*/ 116 h 1659"/>
                  <a:gd name="T82" fmla="*/ 696 w 1994"/>
                  <a:gd name="T83" fmla="*/ 174 h 1659"/>
                  <a:gd name="T84" fmla="*/ 680 w 1994"/>
                  <a:gd name="T85" fmla="*/ 230 h 1659"/>
                  <a:gd name="T86" fmla="*/ 791 w 1994"/>
                  <a:gd name="T87" fmla="*/ 296 h 1659"/>
                  <a:gd name="T88" fmla="*/ 857 w 1994"/>
                  <a:gd name="T89" fmla="*/ 314 h 1659"/>
                  <a:gd name="T90" fmla="*/ 904 w 1994"/>
                  <a:gd name="T91" fmla="*/ 403 h 1659"/>
                  <a:gd name="T92" fmla="*/ 968 w 1994"/>
                  <a:gd name="T93" fmla="*/ 439 h 1659"/>
                  <a:gd name="T94" fmla="*/ 1058 w 1994"/>
                  <a:gd name="T95" fmla="*/ 470 h 1659"/>
                  <a:gd name="T96" fmla="*/ 1225 w 1994"/>
                  <a:gd name="T97" fmla="*/ 530 h 1659"/>
                  <a:gd name="T98" fmla="*/ 1276 w 1994"/>
                  <a:gd name="T99" fmla="*/ 617 h 1659"/>
                  <a:gd name="T100" fmla="*/ 1403 w 1994"/>
                  <a:gd name="T101" fmla="*/ 660 h 1659"/>
                  <a:gd name="T102" fmla="*/ 1428 w 1994"/>
                  <a:gd name="T103" fmla="*/ 794 h 1659"/>
                  <a:gd name="T104" fmla="*/ 1515 w 1994"/>
                  <a:gd name="T105" fmla="*/ 876 h 1659"/>
                  <a:gd name="T106" fmla="*/ 1583 w 1994"/>
                  <a:gd name="T107" fmla="*/ 876 h 1659"/>
                  <a:gd name="T108" fmla="*/ 1678 w 1994"/>
                  <a:gd name="T109" fmla="*/ 819 h 1659"/>
                  <a:gd name="T110" fmla="*/ 1697 w 1994"/>
                  <a:gd name="T111" fmla="*/ 872 h 1659"/>
                  <a:gd name="T112" fmla="*/ 1716 w 1994"/>
                  <a:gd name="T113" fmla="*/ 981 h 1659"/>
                  <a:gd name="T114" fmla="*/ 1834 w 1994"/>
                  <a:gd name="T115" fmla="*/ 1019 h 1659"/>
                  <a:gd name="T116" fmla="*/ 1886 w 1994"/>
                  <a:gd name="T117" fmla="*/ 1083 h 1659"/>
                  <a:gd name="T118" fmla="*/ 1970 w 1994"/>
                  <a:gd name="T119" fmla="*/ 1300 h 1659"/>
                  <a:gd name="T120" fmla="*/ 1967 w 1994"/>
                  <a:gd name="T121" fmla="*/ 1414 h 1659"/>
                  <a:gd name="T122" fmla="*/ 1977 w 1994"/>
                  <a:gd name="T123" fmla="*/ 1478 h 1659"/>
                  <a:gd name="T124" fmla="*/ 1991 w 1994"/>
                  <a:gd name="T125" fmla="*/ 1603 h 16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994" h="1659">
                    <a:moveTo>
                      <a:pt x="1994" y="1623"/>
                    </a:moveTo>
                    <a:lnTo>
                      <a:pt x="1987" y="1622"/>
                    </a:lnTo>
                    <a:lnTo>
                      <a:pt x="1981" y="1621"/>
                    </a:lnTo>
                    <a:lnTo>
                      <a:pt x="1970" y="1619"/>
                    </a:lnTo>
                    <a:lnTo>
                      <a:pt x="1959" y="1615"/>
                    </a:lnTo>
                    <a:lnTo>
                      <a:pt x="1951" y="1611"/>
                    </a:lnTo>
                    <a:lnTo>
                      <a:pt x="1942" y="1607"/>
                    </a:lnTo>
                    <a:lnTo>
                      <a:pt x="1933" y="1602"/>
                    </a:lnTo>
                    <a:lnTo>
                      <a:pt x="1924" y="1598"/>
                    </a:lnTo>
                    <a:lnTo>
                      <a:pt x="1914" y="1596"/>
                    </a:lnTo>
                    <a:lnTo>
                      <a:pt x="1903" y="1595"/>
                    </a:lnTo>
                    <a:lnTo>
                      <a:pt x="1896" y="1596"/>
                    </a:lnTo>
                    <a:lnTo>
                      <a:pt x="1891" y="1598"/>
                    </a:lnTo>
                    <a:lnTo>
                      <a:pt x="1887" y="1601"/>
                    </a:lnTo>
                    <a:lnTo>
                      <a:pt x="1883" y="1604"/>
                    </a:lnTo>
                    <a:lnTo>
                      <a:pt x="1875" y="1614"/>
                    </a:lnTo>
                    <a:lnTo>
                      <a:pt x="1865" y="1621"/>
                    </a:lnTo>
                    <a:lnTo>
                      <a:pt x="1842" y="1633"/>
                    </a:lnTo>
                    <a:lnTo>
                      <a:pt x="1821" y="1642"/>
                    </a:lnTo>
                    <a:lnTo>
                      <a:pt x="1810" y="1645"/>
                    </a:lnTo>
                    <a:lnTo>
                      <a:pt x="1798" y="1648"/>
                    </a:lnTo>
                    <a:lnTo>
                      <a:pt x="1786" y="1649"/>
                    </a:lnTo>
                    <a:lnTo>
                      <a:pt x="1773" y="1649"/>
                    </a:lnTo>
                    <a:lnTo>
                      <a:pt x="1762" y="1648"/>
                    </a:lnTo>
                    <a:lnTo>
                      <a:pt x="1754" y="1645"/>
                    </a:lnTo>
                    <a:lnTo>
                      <a:pt x="1745" y="1642"/>
                    </a:lnTo>
                    <a:lnTo>
                      <a:pt x="1735" y="1637"/>
                    </a:lnTo>
                    <a:lnTo>
                      <a:pt x="1669" y="1659"/>
                    </a:lnTo>
                    <a:lnTo>
                      <a:pt x="1656" y="1653"/>
                    </a:lnTo>
                    <a:lnTo>
                      <a:pt x="1644" y="1646"/>
                    </a:lnTo>
                    <a:lnTo>
                      <a:pt x="1632" y="1639"/>
                    </a:lnTo>
                    <a:lnTo>
                      <a:pt x="1622" y="1630"/>
                    </a:lnTo>
                    <a:lnTo>
                      <a:pt x="1601" y="1614"/>
                    </a:lnTo>
                    <a:lnTo>
                      <a:pt x="1582" y="1598"/>
                    </a:lnTo>
                    <a:lnTo>
                      <a:pt x="1573" y="1590"/>
                    </a:lnTo>
                    <a:lnTo>
                      <a:pt x="1562" y="1583"/>
                    </a:lnTo>
                    <a:lnTo>
                      <a:pt x="1552" y="1577"/>
                    </a:lnTo>
                    <a:lnTo>
                      <a:pt x="1542" y="1570"/>
                    </a:lnTo>
                    <a:lnTo>
                      <a:pt x="1530" y="1566"/>
                    </a:lnTo>
                    <a:lnTo>
                      <a:pt x="1518" y="1562"/>
                    </a:lnTo>
                    <a:lnTo>
                      <a:pt x="1504" y="1560"/>
                    </a:lnTo>
                    <a:lnTo>
                      <a:pt x="1490" y="1560"/>
                    </a:lnTo>
                    <a:lnTo>
                      <a:pt x="1484" y="1560"/>
                    </a:lnTo>
                    <a:lnTo>
                      <a:pt x="1478" y="1561"/>
                    </a:lnTo>
                    <a:lnTo>
                      <a:pt x="1472" y="1563"/>
                    </a:lnTo>
                    <a:lnTo>
                      <a:pt x="1467" y="1566"/>
                    </a:lnTo>
                    <a:lnTo>
                      <a:pt x="1458" y="1572"/>
                    </a:lnTo>
                    <a:lnTo>
                      <a:pt x="1449" y="1580"/>
                    </a:lnTo>
                    <a:lnTo>
                      <a:pt x="1439" y="1587"/>
                    </a:lnTo>
                    <a:lnTo>
                      <a:pt x="1430" y="1593"/>
                    </a:lnTo>
                    <a:lnTo>
                      <a:pt x="1425" y="1596"/>
                    </a:lnTo>
                    <a:lnTo>
                      <a:pt x="1420" y="1598"/>
                    </a:lnTo>
                    <a:lnTo>
                      <a:pt x="1414" y="1599"/>
                    </a:lnTo>
                    <a:lnTo>
                      <a:pt x="1408" y="1599"/>
                    </a:lnTo>
                    <a:lnTo>
                      <a:pt x="1401" y="1599"/>
                    </a:lnTo>
                    <a:lnTo>
                      <a:pt x="1396" y="1597"/>
                    </a:lnTo>
                    <a:lnTo>
                      <a:pt x="1391" y="1594"/>
                    </a:lnTo>
                    <a:lnTo>
                      <a:pt x="1387" y="1590"/>
                    </a:lnTo>
                    <a:lnTo>
                      <a:pt x="1380" y="1580"/>
                    </a:lnTo>
                    <a:lnTo>
                      <a:pt x="1373" y="1568"/>
                    </a:lnTo>
                    <a:lnTo>
                      <a:pt x="1367" y="1556"/>
                    </a:lnTo>
                    <a:lnTo>
                      <a:pt x="1360" y="1546"/>
                    </a:lnTo>
                    <a:lnTo>
                      <a:pt x="1356" y="1541"/>
                    </a:lnTo>
                    <a:lnTo>
                      <a:pt x="1351" y="1538"/>
                    </a:lnTo>
                    <a:lnTo>
                      <a:pt x="1345" y="1536"/>
                    </a:lnTo>
                    <a:lnTo>
                      <a:pt x="1338" y="1536"/>
                    </a:lnTo>
                    <a:lnTo>
                      <a:pt x="1273" y="1536"/>
                    </a:lnTo>
                    <a:lnTo>
                      <a:pt x="1253" y="1535"/>
                    </a:lnTo>
                    <a:lnTo>
                      <a:pt x="1233" y="1534"/>
                    </a:lnTo>
                    <a:lnTo>
                      <a:pt x="1215" y="1531"/>
                    </a:lnTo>
                    <a:lnTo>
                      <a:pt x="1197" y="1526"/>
                    </a:lnTo>
                    <a:lnTo>
                      <a:pt x="1188" y="1523"/>
                    </a:lnTo>
                    <a:lnTo>
                      <a:pt x="1180" y="1520"/>
                    </a:lnTo>
                    <a:lnTo>
                      <a:pt x="1172" y="1516"/>
                    </a:lnTo>
                    <a:lnTo>
                      <a:pt x="1164" y="1510"/>
                    </a:lnTo>
                    <a:lnTo>
                      <a:pt x="1156" y="1505"/>
                    </a:lnTo>
                    <a:lnTo>
                      <a:pt x="1149" y="1499"/>
                    </a:lnTo>
                    <a:lnTo>
                      <a:pt x="1141" y="1492"/>
                    </a:lnTo>
                    <a:lnTo>
                      <a:pt x="1134" y="1484"/>
                    </a:lnTo>
                    <a:lnTo>
                      <a:pt x="1083" y="1496"/>
                    </a:lnTo>
                    <a:lnTo>
                      <a:pt x="1067" y="1488"/>
                    </a:lnTo>
                    <a:lnTo>
                      <a:pt x="1052" y="1482"/>
                    </a:lnTo>
                    <a:lnTo>
                      <a:pt x="1030" y="1472"/>
                    </a:lnTo>
                    <a:lnTo>
                      <a:pt x="1009" y="1465"/>
                    </a:lnTo>
                    <a:lnTo>
                      <a:pt x="999" y="1461"/>
                    </a:lnTo>
                    <a:lnTo>
                      <a:pt x="989" y="1456"/>
                    </a:lnTo>
                    <a:lnTo>
                      <a:pt x="980" y="1451"/>
                    </a:lnTo>
                    <a:lnTo>
                      <a:pt x="969" y="1444"/>
                    </a:lnTo>
                    <a:lnTo>
                      <a:pt x="962" y="1438"/>
                    </a:lnTo>
                    <a:lnTo>
                      <a:pt x="957" y="1431"/>
                    </a:lnTo>
                    <a:lnTo>
                      <a:pt x="952" y="1424"/>
                    </a:lnTo>
                    <a:lnTo>
                      <a:pt x="949" y="1417"/>
                    </a:lnTo>
                    <a:lnTo>
                      <a:pt x="944" y="1409"/>
                    </a:lnTo>
                    <a:lnTo>
                      <a:pt x="940" y="1402"/>
                    </a:lnTo>
                    <a:lnTo>
                      <a:pt x="935" y="1395"/>
                    </a:lnTo>
                    <a:lnTo>
                      <a:pt x="929" y="1388"/>
                    </a:lnTo>
                    <a:lnTo>
                      <a:pt x="924" y="1383"/>
                    </a:lnTo>
                    <a:lnTo>
                      <a:pt x="919" y="1380"/>
                    </a:lnTo>
                    <a:lnTo>
                      <a:pt x="913" y="1378"/>
                    </a:lnTo>
                    <a:lnTo>
                      <a:pt x="907" y="1377"/>
                    </a:lnTo>
                    <a:lnTo>
                      <a:pt x="895" y="1374"/>
                    </a:lnTo>
                    <a:lnTo>
                      <a:pt x="882" y="1371"/>
                    </a:lnTo>
                    <a:lnTo>
                      <a:pt x="876" y="1368"/>
                    </a:lnTo>
                    <a:lnTo>
                      <a:pt x="872" y="1364"/>
                    </a:lnTo>
                    <a:lnTo>
                      <a:pt x="869" y="1360"/>
                    </a:lnTo>
                    <a:lnTo>
                      <a:pt x="866" y="1355"/>
                    </a:lnTo>
                    <a:lnTo>
                      <a:pt x="861" y="1344"/>
                    </a:lnTo>
                    <a:lnTo>
                      <a:pt x="857" y="1333"/>
                    </a:lnTo>
                    <a:lnTo>
                      <a:pt x="853" y="1323"/>
                    </a:lnTo>
                    <a:lnTo>
                      <a:pt x="848" y="1313"/>
                    </a:lnTo>
                    <a:lnTo>
                      <a:pt x="844" y="1310"/>
                    </a:lnTo>
                    <a:lnTo>
                      <a:pt x="840" y="1307"/>
                    </a:lnTo>
                    <a:lnTo>
                      <a:pt x="835" y="1305"/>
                    </a:lnTo>
                    <a:lnTo>
                      <a:pt x="830" y="1305"/>
                    </a:lnTo>
                    <a:lnTo>
                      <a:pt x="821" y="1305"/>
                    </a:lnTo>
                    <a:lnTo>
                      <a:pt x="811" y="1307"/>
                    </a:lnTo>
                    <a:lnTo>
                      <a:pt x="803" y="1310"/>
                    </a:lnTo>
                    <a:lnTo>
                      <a:pt x="796" y="1314"/>
                    </a:lnTo>
                    <a:lnTo>
                      <a:pt x="790" y="1318"/>
                    </a:lnTo>
                    <a:lnTo>
                      <a:pt x="784" y="1325"/>
                    </a:lnTo>
                    <a:lnTo>
                      <a:pt x="777" y="1331"/>
                    </a:lnTo>
                    <a:lnTo>
                      <a:pt x="772" y="1338"/>
                    </a:lnTo>
                    <a:lnTo>
                      <a:pt x="763" y="1355"/>
                    </a:lnTo>
                    <a:lnTo>
                      <a:pt x="755" y="1372"/>
                    </a:lnTo>
                    <a:lnTo>
                      <a:pt x="746" y="1390"/>
                    </a:lnTo>
                    <a:lnTo>
                      <a:pt x="738" y="1408"/>
                    </a:lnTo>
                    <a:lnTo>
                      <a:pt x="732" y="1425"/>
                    </a:lnTo>
                    <a:lnTo>
                      <a:pt x="726" y="1440"/>
                    </a:lnTo>
                    <a:lnTo>
                      <a:pt x="722" y="1446"/>
                    </a:lnTo>
                    <a:lnTo>
                      <a:pt x="717" y="1452"/>
                    </a:lnTo>
                    <a:lnTo>
                      <a:pt x="713" y="1453"/>
                    </a:lnTo>
                    <a:lnTo>
                      <a:pt x="710" y="1455"/>
                    </a:lnTo>
                    <a:lnTo>
                      <a:pt x="707" y="1456"/>
                    </a:lnTo>
                    <a:lnTo>
                      <a:pt x="703" y="1456"/>
                    </a:lnTo>
                    <a:lnTo>
                      <a:pt x="692" y="1455"/>
                    </a:lnTo>
                    <a:lnTo>
                      <a:pt x="683" y="1452"/>
                    </a:lnTo>
                    <a:lnTo>
                      <a:pt x="674" y="1447"/>
                    </a:lnTo>
                    <a:lnTo>
                      <a:pt x="666" y="1442"/>
                    </a:lnTo>
                    <a:lnTo>
                      <a:pt x="658" y="1438"/>
                    </a:lnTo>
                    <a:lnTo>
                      <a:pt x="650" y="1434"/>
                    </a:lnTo>
                    <a:lnTo>
                      <a:pt x="640" y="1431"/>
                    </a:lnTo>
                    <a:lnTo>
                      <a:pt x="630" y="1430"/>
                    </a:lnTo>
                    <a:lnTo>
                      <a:pt x="624" y="1431"/>
                    </a:lnTo>
                    <a:lnTo>
                      <a:pt x="620" y="1432"/>
                    </a:lnTo>
                    <a:lnTo>
                      <a:pt x="614" y="1435"/>
                    </a:lnTo>
                    <a:lnTo>
                      <a:pt x="610" y="1438"/>
                    </a:lnTo>
                    <a:lnTo>
                      <a:pt x="606" y="1441"/>
                    </a:lnTo>
                    <a:lnTo>
                      <a:pt x="602" y="1443"/>
                    </a:lnTo>
                    <a:lnTo>
                      <a:pt x="598" y="1445"/>
                    </a:lnTo>
                    <a:lnTo>
                      <a:pt x="592" y="1446"/>
                    </a:lnTo>
                    <a:lnTo>
                      <a:pt x="588" y="1446"/>
                    </a:lnTo>
                    <a:lnTo>
                      <a:pt x="583" y="1445"/>
                    </a:lnTo>
                    <a:lnTo>
                      <a:pt x="578" y="1443"/>
                    </a:lnTo>
                    <a:lnTo>
                      <a:pt x="575" y="1441"/>
                    </a:lnTo>
                    <a:lnTo>
                      <a:pt x="569" y="1437"/>
                    </a:lnTo>
                    <a:lnTo>
                      <a:pt x="563" y="1430"/>
                    </a:lnTo>
                    <a:lnTo>
                      <a:pt x="554" y="1414"/>
                    </a:lnTo>
                    <a:lnTo>
                      <a:pt x="544" y="1397"/>
                    </a:lnTo>
                    <a:lnTo>
                      <a:pt x="544" y="1397"/>
                    </a:lnTo>
                    <a:lnTo>
                      <a:pt x="554" y="1387"/>
                    </a:lnTo>
                    <a:lnTo>
                      <a:pt x="561" y="1376"/>
                    </a:lnTo>
                    <a:lnTo>
                      <a:pt x="563" y="1371"/>
                    </a:lnTo>
                    <a:lnTo>
                      <a:pt x="565" y="1365"/>
                    </a:lnTo>
                    <a:lnTo>
                      <a:pt x="566" y="1359"/>
                    </a:lnTo>
                    <a:lnTo>
                      <a:pt x="566" y="1351"/>
                    </a:lnTo>
                    <a:lnTo>
                      <a:pt x="565" y="1345"/>
                    </a:lnTo>
                    <a:lnTo>
                      <a:pt x="563" y="1339"/>
                    </a:lnTo>
                    <a:lnTo>
                      <a:pt x="560" y="1334"/>
                    </a:lnTo>
                    <a:lnTo>
                      <a:pt x="556" y="1330"/>
                    </a:lnTo>
                    <a:lnTo>
                      <a:pt x="551" y="1325"/>
                    </a:lnTo>
                    <a:lnTo>
                      <a:pt x="545" y="1320"/>
                    </a:lnTo>
                    <a:lnTo>
                      <a:pt x="541" y="1315"/>
                    </a:lnTo>
                    <a:lnTo>
                      <a:pt x="538" y="1309"/>
                    </a:lnTo>
                    <a:lnTo>
                      <a:pt x="532" y="1300"/>
                    </a:lnTo>
                    <a:lnTo>
                      <a:pt x="527" y="1291"/>
                    </a:lnTo>
                    <a:lnTo>
                      <a:pt x="521" y="1281"/>
                    </a:lnTo>
                    <a:lnTo>
                      <a:pt x="514" y="1273"/>
                    </a:lnTo>
                    <a:lnTo>
                      <a:pt x="507" y="1267"/>
                    </a:lnTo>
                    <a:lnTo>
                      <a:pt x="499" y="1262"/>
                    </a:lnTo>
                    <a:lnTo>
                      <a:pt x="495" y="1260"/>
                    </a:lnTo>
                    <a:lnTo>
                      <a:pt x="490" y="1259"/>
                    </a:lnTo>
                    <a:lnTo>
                      <a:pt x="485" y="1257"/>
                    </a:lnTo>
                    <a:lnTo>
                      <a:pt x="478" y="1257"/>
                    </a:lnTo>
                    <a:lnTo>
                      <a:pt x="464" y="1259"/>
                    </a:lnTo>
                    <a:lnTo>
                      <a:pt x="449" y="1261"/>
                    </a:lnTo>
                    <a:lnTo>
                      <a:pt x="437" y="1264"/>
                    </a:lnTo>
                    <a:lnTo>
                      <a:pt x="425" y="1267"/>
                    </a:lnTo>
                    <a:lnTo>
                      <a:pt x="412" y="1270"/>
                    </a:lnTo>
                    <a:lnTo>
                      <a:pt x="399" y="1273"/>
                    </a:lnTo>
                    <a:lnTo>
                      <a:pt x="386" y="1275"/>
                    </a:lnTo>
                    <a:lnTo>
                      <a:pt x="370" y="1276"/>
                    </a:lnTo>
                    <a:lnTo>
                      <a:pt x="366" y="1276"/>
                    </a:lnTo>
                    <a:lnTo>
                      <a:pt x="362" y="1275"/>
                    </a:lnTo>
                    <a:lnTo>
                      <a:pt x="359" y="1273"/>
                    </a:lnTo>
                    <a:lnTo>
                      <a:pt x="356" y="1270"/>
                    </a:lnTo>
                    <a:lnTo>
                      <a:pt x="354" y="1267"/>
                    </a:lnTo>
                    <a:lnTo>
                      <a:pt x="352" y="1263"/>
                    </a:lnTo>
                    <a:lnTo>
                      <a:pt x="350" y="1259"/>
                    </a:lnTo>
                    <a:lnTo>
                      <a:pt x="349" y="1254"/>
                    </a:lnTo>
                    <a:lnTo>
                      <a:pt x="348" y="1234"/>
                    </a:lnTo>
                    <a:lnTo>
                      <a:pt x="346" y="1213"/>
                    </a:lnTo>
                    <a:lnTo>
                      <a:pt x="344" y="1199"/>
                    </a:lnTo>
                    <a:lnTo>
                      <a:pt x="341" y="1187"/>
                    </a:lnTo>
                    <a:lnTo>
                      <a:pt x="338" y="1176"/>
                    </a:lnTo>
                    <a:lnTo>
                      <a:pt x="335" y="1164"/>
                    </a:lnTo>
                    <a:lnTo>
                      <a:pt x="332" y="1153"/>
                    </a:lnTo>
                    <a:lnTo>
                      <a:pt x="329" y="1144"/>
                    </a:lnTo>
                    <a:lnTo>
                      <a:pt x="325" y="1137"/>
                    </a:lnTo>
                    <a:lnTo>
                      <a:pt x="321" y="1128"/>
                    </a:lnTo>
                    <a:lnTo>
                      <a:pt x="315" y="1122"/>
                    </a:lnTo>
                    <a:lnTo>
                      <a:pt x="309" y="1116"/>
                    </a:lnTo>
                    <a:lnTo>
                      <a:pt x="304" y="1110"/>
                    </a:lnTo>
                    <a:lnTo>
                      <a:pt x="297" y="1105"/>
                    </a:lnTo>
                    <a:lnTo>
                      <a:pt x="268" y="1084"/>
                    </a:lnTo>
                    <a:lnTo>
                      <a:pt x="234" y="1063"/>
                    </a:lnTo>
                    <a:lnTo>
                      <a:pt x="222" y="1056"/>
                    </a:lnTo>
                    <a:lnTo>
                      <a:pt x="211" y="1049"/>
                    </a:lnTo>
                    <a:lnTo>
                      <a:pt x="202" y="1041"/>
                    </a:lnTo>
                    <a:lnTo>
                      <a:pt x="193" y="1032"/>
                    </a:lnTo>
                    <a:lnTo>
                      <a:pt x="184" y="1024"/>
                    </a:lnTo>
                    <a:lnTo>
                      <a:pt x="177" y="1015"/>
                    </a:lnTo>
                    <a:lnTo>
                      <a:pt x="170" y="1006"/>
                    </a:lnTo>
                    <a:lnTo>
                      <a:pt x="164" y="996"/>
                    </a:lnTo>
                    <a:lnTo>
                      <a:pt x="152" y="977"/>
                    </a:lnTo>
                    <a:lnTo>
                      <a:pt x="142" y="955"/>
                    </a:lnTo>
                    <a:lnTo>
                      <a:pt x="133" y="931"/>
                    </a:lnTo>
                    <a:lnTo>
                      <a:pt x="123" y="905"/>
                    </a:lnTo>
                    <a:lnTo>
                      <a:pt x="121" y="902"/>
                    </a:lnTo>
                    <a:lnTo>
                      <a:pt x="118" y="899"/>
                    </a:lnTo>
                    <a:lnTo>
                      <a:pt x="115" y="896"/>
                    </a:lnTo>
                    <a:lnTo>
                      <a:pt x="111" y="894"/>
                    </a:lnTo>
                    <a:lnTo>
                      <a:pt x="103" y="891"/>
                    </a:lnTo>
                    <a:lnTo>
                      <a:pt x="94" y="889"/>
                    </a:lnTo>
                    <a:lnTo>
                      <a:pt x="85" y="886"/>
                    </a:lnTo>
                    <a:lnTo>
                      <a:pt x="78" y="883"/>
                    </a:lnTo>
                    <a:lnTo>
                      <a:pt x="75" y="881"/>
                    </a:lnTo>
                    <a:lnTo>
                      <a:pt x="73" y="877"/>
                    </a:lnTo>
                    <a:lnTo>
                      <a:pt x="71" y="874"/>
                    </a:lnTo>
                    <a:lnTo>
                      <a:pt x="71" y="870"/>
                    </a:lnTo>
                    <a:lnTo>
                      <a:pt x="74" y="857"/>
                    </a:lnTo>
                    <a:lnTo>
                      <a:pt x="78" y="842"/>
                    </a:lnTo>
                    <a:lnTo>
                      <a:pt x="78" y="822"/>
                    </a:lnTo>
                    <a:lnTo>
                      <a:pt x="62" y="822"/>
                    </a:lnTo>
                    <a:lnTo>
                      <a:pt x="47" y="823"/>
                    </a:lnTo>
                    <a:lnTo>
                      <a:pt x="32" y="822"/>
                    </a:lnTo>
                    <a:lnTo>
                      <a:pt x="16" y="819"/>
                    </a:lnTo>
                    <a:lnTo>
                      <a:pt x="16" y="819"/>
                    </a:lnTo>
                    <a:lnTo>
                      <a:pt x="10" y="797"/>
                    </a:lnTo>
                    <a:lnTo>
                      <a:pt x="5" y="779"/>
                    </a:lnTo>
                    <a:lnTo>
                      <a:pt x="3" y="770"/>
                    </a:lnTo>
                    <a:lnTo>
                      <a:pt x="1" y="761"/>
                    </a:lnTo>
                    <a:lnTo>
                      <a:pt x="1" y="749"/>
                    </a:lnTo>
                    <a:lnTo>
                      <a:pt x="0" y="738"/>
                    </a:lnTo>
                    <a:lnTo>
                      <a:pt x="1" y="733"/>
                    </a:lnTo>
                    <a:lnTo>
                      <a:pt x="2" y="729"/>
                    </a:lnTo>
                    <a:lnTo>
                      <a:pt x="3" y="724"/>
                    </a:lnTo>
                    <a:lnTo>
                      <a:pt x="5" y="719"/>
                    </a:lnTo>
                    <a:lnTo>
                      <a:pt x="9" y="712"/>
                    </a:lnTo>
                    <a:lnTo>
                      <a:pt x="14" y="705"/>
                    </a:lnTo>
                    <a:lnTo>
                      <a:pt x="19" y="698"/>
                    </a:lnTo>
                    <a:lnTo>
                      <a:pt x="25" y="691"/>
                    </a:lnTo>
                    <a:lnTo>
                      <a:pt x="26" y="686"/>
                    </a:lnTo>
                    <a:lnTo>
                      <a:pt x="28" y="681"/>
                    </a:lnTo>
                    <a:lnTo>
                      <a:pt x="28" y="677"/>
                    </a:lnTo>
                    <a:lnTo>
                      <a:pt x="29" y="672"/>
                    </a:lnTo>
                    <a:lnTo>
                      <a:pt x="28" y="663"/>
                    </a:lnTo>
                    <a:lnTo>
                      <a:pt x="26" y="653"/>
                    </a:lnTo>
                    <a:lnTo>
                      <a:pt x="23" y="645"/>
                    </a:lnTo>
                    <a:lnTo>
                      <a:pt x="19" y="638"/>
                    </a:lnTo>
                    <a:lnTo>
                      <a:pt x="15" y="630"/>
                    </a:lnTo>
                    <a:lnTo>
                      <a:pt x="12" y="622"/>
                    </a:lnTo>
                    <a:lnTo>
                      <a:pt x="10" y="613"/>
                    </a:lnTo>
                    <a:lnTo>
                      <a:pt x="10" y="604"/>
                    </a:lnTo>
                    <a:lnTo>
                      <a:pt x="36" y="588"/>
                    </a:lnTo>
                    <a:lnTo>
                      <a:pt x="62" y="575"/>
                    </a:lnTo>
                    <a:lnTo>
                      <a:pt x="85" y="561"/>
                    </a:lnTo>
                    <a:lnTo>
                      <a:pt x="107" y="548"/>
                    </a:lnTo>
                    <a:lnTo>
                      <a:pt x="118" y="542"/>
                    </a:lnTo>
                    <a:lnTo>
                      <a:pt x="129" y="535"/>
                    </a:lnTo>
                    <a:lnTo>
                      <a:pt x="139" y="526"/>
                    </a:lnTo>
                    <a:lnTo>
                      <a:pt x="149" y="518"/>
                    </a:lnTo>
                    <a:lnTo>
                      <a:pt x="160" y="509"/>
                    </a:lnTo>
                    <a:lnTo>
                      <a:pt x="169" y="498"/>
                    </a:lnTo>
                    <a:lnTo>
                      <a:pt x="179" y="488"/>
                    </a:lnTo>
                    <a:lnTo>
                      <a:pt x="189" y="476"/>
                    </a:lnTo>
                    <a:lnTo>
                      <a:pt x="194" y="469"/>
                    </a:lnTo>
                    <a:lnTo>
                      <a:pt x="197" y="460"/>
                    </a:lnTo>
                    <a:lnTo>
                      <a:pt x="198" y="452"/>
                    </a:lnTo>
                    <a:lnTo>
                      <a:pt x="198" y="444"/>
                    </a:lnTo>
                    <a:lnTo>
                      <a:pt x="198" y="435"/>
                    </a:lnTo>
                    <a:lnTo>
                      <a:pt x="198" y="426"/>
                    </a:lnTo>
                    <a:lnTo>
                      <a:pt x="199" y="417"/>
                    </a:lnTo>
                    <a:lnTo>
                      <a:pt x="201" y="408"/>
                    </a:lnTo>
                    <a:lnTo>
                      <a:pt x="205" y="397"/>
                    </a:lnTo>
                    <a:lnTo>
                      <a:pt x="210" y="388"/>
                    </a:lnTo>
                    <a:lnTo>
                      <a:pt x="216" y="380"/>
                    </a:lnTo>
                    <a:lnTo>
                      <a:pt x="224" y="373"/>
                    </a:lnTo>
                    <a:lnTo>
                      <a:pt x="230" y="365"/>
                    </a:lnTo>
                    <a:lnTo>
                      <a:pt x="236" y="357"/>
                    </a:lnTo>
                    <a:lnTo>
                      <a:pt x="238" y="353"/>
                    </a:lnTo>
                    <a:lnTo>
                      <a:pt x="240" y="348"/>
                    </a:lnTo>
                    <a:lnTo>
                      <a:pt x="242" y="343"/>
                    </a:lnTo>
                    <a:lnTo>
                      <a:pt x="243" y="336"/>
                    </a:lnTo>
                    <a:lnTo>
                      <a:pt x="244" y="317"/>
                    </a:lnTo>
                    <a:lnTo>
                      <a:pt x="243" y="298"/>
                    </a:lnTo>
                    <a:lnTo>
                      <a:pt x="243" y="289"/>
                    </a:lnTo>
                    <a:lnTo>
                      <a:pt x="245" y="281"/>
                    </a:lnTo>
                    <a:lnTo>
                      <a:pt x="246" y="277"/>
                    </a:lnTo>
                    <a:lnTo>
                      <a:pt x="248" y="273"/>
                    </a:lnTo>
                    <a:lnTo>
                      <a:pt x="251" y="269"/>
                    </a:lnTo>
                    <a:lnTo>
                      <a:pt x="255" y="266"/>
                    </a:lnTo>
                    <a:lnTo>
                      <a:pt x="271" y="251"/>
                    </a:lnTo>
                    <a:lnTo>
                      <a:pt x="286" y="235"/>
                    </a:lnTo>
                    <a:lnTo>
                      <a:pt x="298" y="220"/>
                    </a:lnTo>
                    <a:lnTo>
                      <a:pt x="309" y="204"/>
                    </a:lnTo>
                    <a:lnTo>
                      <a:pt x="320" y="188"/>
                    </a:lnTo>
                    <a:lnTo>
                      <a:pt x="329" y="170"/>
                    </a:lnTo>
                    <a:lnTo>
                      <a:pt x="337" y="150"/>
                    </a:lnTo>
                    <a:lnTo>
                      <a:pt x="344" y="129"/>
                    </a:lnTo>
                    <a:lnTo>
                      <a:pt x="340" y="110"/>
                    </a:lnTo>
                    <a:lnTo>
                      <a:pt x="346" y="106"/>
                    </a:lnTo>
                    <a:lnTo>
                      <a:pt x="354" y="103"/>
                    </a:lnTo>
                    <a:lnTo>
                      <a:pt x="372" y="105"/>
                    </a:lnTo>
                    <a:lnTo>
                      <a:pt x="390" y="108"/>
                    </a:lnTo>
                    <a:lnTo>
                      <a:pt x="397" y="108"/>
                    </a:lnTo>
                    <a:lnTo>
                      <a:pt x="404" y="107"/>
                    </a:lnTo>
                    <a:lnTo>
                      <a:pt x="408" y="106"/>
                    </a:lnTo>
                    <a:lnTo>
                      <a:pt x="411" y="104"/>
                    </a:lnTo>
                    <a:lnTo>
                      <a:pt x="414" y="102"/>
                    </a:lnTo>
                    <a:lnTo>
                      <a:pt x="418" y="99"/>
                    </a:lnTo>
                    <a:lnTo>
                      <a:pt x="422" y="94"/>
                    </a:lnTo>
                    <a:lnTo>
                      <a:pt x="425" y="89"/>
                    </a:lnTo>
                    <a:lnTo>
                      <a:pt x="427" y="83"/>
                    </a:lnTo>
                    <a:lnTo>
                      <a:pt x="429" y="78"/>
                    </a:lnTo>
                    <a:lnTo>
                      <a:pt x="431" y="68"/>
                    </a:lnTo>
                    <a:lnTo>
                      <a:pt x="432" y="57"/>
                    </a:lnTo>
                    <a:lnTo>
                      <a:pt x="431" y="34"/>
                    </a:lnTo>
                    <a:lnTo>
                      <a:pt x="432" y="9"/>
                    </a:lnTo>
                    <a:lnTo>
                      <a:pt x="432" y="9"/>
                    </a:lnTo>
                    <a:lnTo>
                      <a:pt x="445" y="3"/>
                    </a:lnTo>
                    <a:lnTo>
                      <a:pt x="460" y="0"/>
                    </a:lnTo>
                    <a:lnTo>
                      <a:pt x="473" y="0"/>
                    </a:lnTo>
                    <a:lnTo>
                      <a:pt x="485" y="3"/>
                    </a:lnTo>
                    <a:lnTo>
                      <a:pt x="496" y="7"/>
                    </a:lnTo>
                    <a:lnTo>
                      <a:pt x="505" y="12"/>
                    </a:lnTo>
                    <a:lnTo>
                      <a:pt x="515" y="18"/>
                    </a:lnTo>
                    <a:lnTo>
                      <a:pt x="525" y="26"/>
                    </a:lnTo>
                    <a:lnTo>
                      <a:pt x="533" y="33"/>
                    </a:lnTo>
                    <a:lnTo>
                      <a:pt x="542" y="41"/>
                    </a:lnTo>
                    <a:lnTo>
                      <a:pt x="551" y="48"/>
                    </a:lnTo>
                    <a:lnTo>
                      <a:pt x="560" y="55"/>
                    </a:lnTo>
                    <a:lnTo>
                      <a:pt x="568" y="63"/>
                    </a:lnTo>
                    <a:lnTo>
                      <a:pt x="578" y="69"/>
                    </a:lnTo>
                    <a:lnTo>
                      <a:pt x="589" y="74"/>
                    </a:lnTo>
                    <a:lnTo>
                      <a:pt x="599" y="78"/>
                    </a:lnTo>
                    <a:lnTo>
                      <a:pt x="611" y="81"/>
                    </a:lnTo>
                    <a:lnTo>
                      <a:pt x="624" y="82"/>
                    </a:lnTo>
                    <a:lnTo>
                      <a:pt x="630" y="81"/>
                    </a:lnTo>
                    <a:lnTo>
                      <a:pt x="635" y="79"/>
                    </a:lnTo>
                    <a:lnTo>
                      <a:pt x="640" y="77"/>
                    </a:lnTo>
                    <a:lnTo>
                      <a:pt x="644" y="73"/>
                    </a:lnTo>
                    <a:lnTo>
                      <a:pt x="644" y="73"/>
                    </a:lnTo>
                    <a:lnTo>
                      <a:pt x="668" y="84"/>
                    </a:lnTo>
                    <a:lnTo>
                      <a:pt x="691" y="97"/>
                    </a:lnTo>
                    <a:lnTo>
                      <a:pt x="696" y="100"/>
                    </a:lnTo>
                    <a:lnTo>
                      <a:pt x="700" y="103"/>
                    </a:lnTo>
                    <a:lnTo>
                      <a:pt x="704" y="107"/>
                    </a:lnTo>
                    <a:lnTo>
                      <a:pt x="708" y="111"/>
                    </a:lnTo>
                    <a:lnTo>
                      <a:pt x="710" y="116"/>
                    </a:lnTo>
                    <a:lnTo>
                      <a:pt x="712" y="122"/>
                    </a:lnTo>
                    <a:lnTo>
                      <a:pt x="715" y="128"/>
                    </a:lnTo>
                    <a:lnTo>
                      <a:pt x="715" y="134"/>
                    </a:lnTo>
                    <a:lnTo>
                      <a:pt x="715" y="140"/>
                    </a:lnTo>
                    <a:lnTo>
                      <a:pt x="712" y="145"/>
                    </a:lnTo>
                    <a:lnTo>
                      <a:pt x="711" y="152"/>
                    </a:lnTo>
                    <a:lnTo>
                      <a:pt x="708" y="156"/>
                    </a:lnTo>
                    <a:lnTo>
                      <a:pt x="702" y="165"/>
                    </a:lnTo>
                    <a:lnTo>
                      <a:pt x="696" y="174"/>
                    </a:lnTo>
                    <a:lnTo>
                      <a:pt x="689" y="182"/>
                    </a:lnTo>
                    <a:lnTo>
                      <a:pt x="683" y="192"/>
                    </a:lnTo>
                    <a:lnTo>
                      <a:pt x="680" y="197"/>
                    </a:lnTo>
                    <a:lnTo>
                      <a:pt x="678" y="202"/>
                    </a:lnTo>
                    <a:lnTo>
                      <a:pt x="677" y="207"/>
                    </a:lnTo>
                    <a:lnTo>
                      <a:pt x="676" y="215"/>
                    </a:lnTo>
                    <a:lnTo>
                      <a:pt x="677" y="220"/>
                    </a:lnTo>
                    <a:lnTo>
                      <a:pt x="678" y="225"/>
                    </a:lnTo>
                    <a:lnTo>
                      <a:pt x="680" y="230"/>
                    </a:lnTo>
                    <a:lnTo>
                      <a:pt x="684" y="234"/>
                    </a:lnTo>
                    <a:lnTo>
                      <a:pt x="687" y="237"/>
                    </a:lnTo>
                    <a:lnTo>
                      <a:pt x="691" y="240"/>
                    </a:lnTo>
                    <a:lnTo>
                      <a:pt x="696" y="243"/>
                    </a:lnTo>
                    <a:lnTo>
                      <a:pt x="700" y="245"/>
                    </a:lnTo>
                    <a:lnTo>
                      <a:pt x="723" y="255"/>
                    </a:lnTo>
                    <a:lnTo>
                      <a:pt x="745" y="266"/>
                    </a:lnTo>
                    <a:lnTo>
                      <a:pt x="769" y="282"/>
                    </a:lnTo>
                    <a:lnTo>
                      <a:pt x="791" y="296"/>
                    </a:lnTo>
                    <a:lnTo>
                      <a:pt x="802" y="302"/>
                    </a:lnTo>
                    <a:lnTo>
                      <a:pt x="815" y="306"/>
                    </a:lnTo>
                    <a:lnTo>
                      <a:pt x="821" y="308"/>
                    </a:lnTo>
                    <a:lnTo>
                      <a:pt x="827" y="310"/>
                    </a:lnTo>
                    <a:lnTo>
                      <a:pt x="834" y="311"/>
                    </a:lnTo>
                    <a:lnTo>
                      <a:pt x="841" y="311"/>
                    </a:lnTo>
                    <a:lnTo>
                      <a:pt x="848" y="312"/>
                    </a:lnTo>
                    <a:lnTo>
                      <a:pt x="852" y="312"/>
                    </a:lnTo>
                    <a:lnTo>
                      <a:pt x="857" y="314"/>
                    </a:lnTo>
                    <a:lnTo>
                      <a:pt x="861" y="315"/>
                    </a:lnTo>
                    <a:lnTo>
                      <a:pt x="867" y="320"/>
                    </a:lnTo>
                    <a:lnTo>
                      <a:pt x="873" y="327"/>
                    </a:lnTo>
                    <a:lnTo>
                      <a:pt x="878" y="334"/>
                    </a:lnTo>
                    <a:lnTo>
                      <a:pt x="883" y="344"/>
                    </a:lnTo>
                    <a:lnTo>
                      <a:pt x="886" y="353"/>
                    </a:lnTo>
                    <a:lnTo>
                      <a:pt x="889" y="363"/>
                    </a:lnTo>
                    <a:lnTo>
                      <a:pt x="896" y="384"/>
                    </a:lnTo>
                    <a:lnTo>
                      <a:pt x="904" y="403"/>
                    </a:lnTo>
                    <a:lnTo>
                      <a:pt x="909" y="413"/>
                    </a:lnTo>
                    <a:lnTo>
                      <a:pt x="917" y="420"/>
                    </a:lnTo>
                    <a:lnTo>
                      <a:pt x="920" y="423"/>
                    </a:lnTo>
                    <a:lnTo>
                      <a:pt x="924" y="426"/>
                    </a:lnTo>
                    <a:lnTo>
                      <a:pt x="929" y="429"/>
                    </a:lnTo>
                    <a:lnTo>
                      <a:pt x="934" y="431"/>
                    </a:lnTo>
                    <a:lnTo>
                      <a:pt x="946" y="434"/>
                    </a:lnTo>
                    <a:lnTo>
                      <a:pt x="957" y="438"/>
                    </a:lnTo>
                    <a:lnTo>
                      <a:pt x="968" y="439"/>
                    </a:lnTo>
                    <a:lnTo>
                      <a:pt x="979" y="440"/>
                    </a:lnTo>
                    <a:lnTo>
                      <a:pt x="989" y="441"/>
                    </a:lnTo>
                    <a:lnTo>
                      <a:pt x="1000" y="442"/>
                    </a:lnTo>
                    <a:lnTo>
                      <a:pt x="1012" y="444"/>
                    </a:lnTo>
                    <a:lnTo>
                      <a:pt x="1024" y="448"/>
                    </a:lnTo>
                    <a:lnTo>
                      <a:pt x="1033" y="452"/>
                    </a:lnTo>
                    <a:lnTo>
                      <a:pt x="1042" y="457"/>
                    </a:lnTo>
                    <a:lnTo>
                      <a:pt x="1051" y="463"/>
                    </a:lnTo>
                    <a:lnTo>
                      <a:pt x="1058" y="470"/>
                    </a:lnTo>
                    <a:lnTo>
                      <a:pt x="1072" y="482"/>
                    </a:lnTo>
                    <a:lnTo>
                      <a:pt x="1090" y="495"/>
                    </a:lnTo>
                    <a:lnTo>
                      <a:pt x="1108" y="506"/>
                    </a:lnTo>
                    <a:lnTo>
                      <a:pt x="1127" y="514"/>
                    </a:lnTo>
                    <a:lnTo>
                      <a:pt x="1146" y="520"/>
                    </a:lnTo>
                    <a:lnTo>
                      <a:pt x="1165" y="524"/>
                    </a:lnTo>
                    <a:lnTo>
                      <a:pt x="1185" y="527"/>
                    </a:lnTo>
                    <a:lnTo>
                      <a:pt x="1204" y="529"/>
                    </a:lnTo>
                    <a:lnTo>
                      <a:pt x="1225" y="530"/>
                    </a:lnTo>
                    <a:lnTo>
                      <a:pt x="1248" y="530"/>
                    </a:lnTo>
                    <a:lnTo>
                      <a:pt x="1248" y="530"/>
                    </a:lnTo>
                    <a:lnTo>
                      <a:pt x="1253" y="556"/>
                    </a:lnTo>
                    <a:lnTo>
                      <a:pt x="1257" y="580"/>
                    </a:lnTo>
                    <a:lnTo>
                      <a:pt x="1261" y="591"/>
                    </a:lnTo>
                    <a:lnTo>
                      <a:pt x="1265" y="603"/>
                    </a:lnTo>
                    <a:lnTo>
                      <a:pt x="1268" y="608"/>
                    </a:lnTo>
                    <a:lnTo>
                      <a:pt x="1271" y="613"/>
                    </a:lnTo>
                    <a:lnTo>
                      <a:pt x="1276" y="617"/>
                    </a:lnTo>
                    <a:lnTo>
                      <a:pt x="1281" y="622"/>
                    </a:lnTo>
                    <a:lnTo>
                      <a:pt x="1290" y="631"/>
                    </a:lnTo>
                    <a:lnTo>
                      <a:pt x="1299" y="636"/>
                    </a:lnTo>
                    <a:lnTo>
                      <a:pt x="1310" y="641"/>
                    </a:lnTo>
                    <a:lnTo>
                      <a:pt x="1319" y="645"/>
                    </a:lnTo>
                    <a:lnTo>
                      <a:pt x="1339" y="649"/>
                    </a:lnTo>
                    <a:lnTo>
                      <a:pt x="1361" y="652"/>
                    </a:lnTo>
                    <a:lnTo>
                      <a:pt x="1382" y="654"/>
                    </a:lnTo>
                    <a:lnTo>
                      <a:pt x="1403" y="660"/>
                    </a:lnTo>
                    <a:lnTo>
                      <a:pt x="1414" y="663"/>
                    </a:lnTo>
                    <a:lnTo>
                      <a:pt x="1423" y="668"/>
                    </a:lnTo>
                    <a:lnTo>
                      <a:pt x="1433" y="674"/>
                    </a:lnTo>
                    <a:lnTo>
                      <a:pt x="1443" y="681"/>
                    </a:lnTo>
                    <a:lnTo>
                      <a:pt x="1420" y="776"/>
                    </a:lnTo>
                    <a:lnTo>
                      <a:pt x="1421" y="781"/>
                    </a:lnTo>
                    <a:lnTo>
                      <a:pt x="1423" y="786"/>
                    </a:lnTo>
                    <a:lnTo>
                      <a:pt x="1425" y="790"/>
                    </a:lnTo>
                    <a:lnTo>
                      <a:pt x="1428" y="794"/>
                    </a:lnTo>
                    <a:lnTo>
                      <a:pt x="1434" y="800"/>
                    </a:lnTo>
                    <a:lnTo>
                      <a:pt x="1443" y="805"/>
                    </a:lnTo>
                    <a:lnTo>
                      <a:pt x="1452" y="810"/>
                    </a:lnTo>
                    <a:lnTo>
                      <a:pt x="1460" y="816"/>
                    </a:lnTo>
                    <a:lnTo>
                      <a:pt x="1468" y="823"/>
                    </a:lnTo>
                    <a:lnTo>
                      <a:pt x="1476" y="830"/>
                    </a:lnTo>
                    <a:lnTo>
                      <a:pt x="1491" y="851"/>
                    </a:lnTo>
                    <a:lnTo>
                      <a:pt x="1507" y="869"/>
                    </a:lnTo>
                    <a:lnTo>
                      <a:pt x="1515" y="876"/>
                    </a:lnTo>
                    <a:lnTo>
                      <a:pt x="1524" y="882"/>
                    </a:lnTo>
                    <a:lnTo>
                      <a:pt x="1529" y="884"/>
                    </a:lnTo>
                    <a:lnTo>
                      <a:pt x="1534" y="886"/>
                    </a:lnTo>
                    <a:lnTo>
                      <a:pt x="1541" y="887"/>
                    </a:lnTo>
                    <a:lnTo>
                      <a:pt x="1547" y="887"/>
                    </a:lnTo>
                    <a:lnTo>
                      <a:pt x="1557" y="886"/>
                    </a:lnTo>
                    <a:lnTo>
                      <a:pt x="1566" y="884"/>
                    </a:lnTo>
                    <a:lnTo>
                      <a:pt x="1575" y="881"/>
                    </a:lnTo>
                    <a:lnTo>
                      <a:pt x="1583" y="876"/>
                    </a:lnTo>
                    <a:lnTo>
                      <a:pt x="1597" y="865"/>
                    </a:lnTo>
                    <a:lnTo>
                      <a:pt x="1611" y="853"/>
                    </a:lnTo>
                    <a:lnTo>
                      <a:pt x="1624" y="840"/>
                    </a:lnTo>
                    <a:lnTo>
                      <a:pt x="1639" y="829"/>
                    </a:lnTo>
                    <a:lnTo>
                      <a:pt x="1646" y="825"/>
                    </a:lnTo>
                    <a:lnTo>
                      <a:pt x="1655" y="822"/>
                    </a:lnTo>
                    <a:lnTo>
                      <a:pt x="1664" y="819"/>
                    </a:lnTo>
                    <a:lnTo>
                      <a:pt x="1674" y="819"/>
                    </a:lnTo>
                    <a:lnTo>
                      <a:pt x="1678" y="819"/>
                    </a:lnTo>
                    <a:lnTo>
                      <a:pt x="1682" y="820"/>
                    </a:lnTo>
                    <a:lnTo>
                      <a:pt x="1685" y="822"/>
                    </a:lnTo>
                    <a:lnTo>
                      <a:pt x="1688" y="824"/>
                    </a:lnTo>
                    <a:lnTo>
                      <a:pt x="1692" y="830"/>
                    </a:lnTo>
                    <a:lnTo>
                      <a:pt x="1694" y="837"/>
                    </a:lnTo>
                    <a:lnTo>
                      <a:pt x="1696" y="845"/>
                    </a:lnTo>
                    <a:lnTo>
                      <a:pt x="1697" y="855"/>
                    </a:lnTo>
                    <a:lnTo>
                      <a:pt x="1697" y="864"/>
                    </a:lnTo>
                    <a:lnTo>
                      <a:pt x="1697" y="872"/>
                    </a:lnTo>
                    <a:lnTo>
                      <a:pt x="1696" y="905"/>
                    </a:lnTo>
                    <a:lnTo>
                      <a:pt x="1696" y="935"/>
                    </a:lnTo>
                    <a:lnTo>
                      <a:pt x="1697" y="943"/>
                    </a:lnTo>
                    <a:lnTo>
                      <a:pt x="1698" y="949"/>
                    </a:lnTo>
                    <a:lnTo>
                      <a:pt x="1700" y="956"/>
                    </a:lnTo>
                    <a:lnTo>
                      <a:pt x="1703" y="962"/>
                    </a:lnTo>
                    <a:lnTo>
                      <a:pt x="1707" y="968"/>
                    </a:lnTo>
                    <a:lnTo>
                      <a:pt x="1711" y="975"/>
                    </a:lnTo>
                    <a:lnTo>
                      <a:pt x="1716" y="981"/>
                    </a:lnTo>
                    <a:lnTo>
                      <a:pt x="1721" y="986"/>
                    </a:lnTo>
                    <a:lnTo>
                      <a:pt x="1731" y="993"/>
                    </a:lnTo>
                    <a:lnTo>
                      <a:pt x="1742" y="999"/>
                    </a:lnTo>
                    <a:lnTo>
                      <a:pt x="1753" y="1003"/>
                    </a:lnTo>
                    <a:lnTo>
                      <a:pt x="1764" y="1008"/>
                    </a:lnTo>
                    <a:lnTo>
                      <a:pt x="1788" y="1012"/>
                    </a:lnTo>
                    <a:lnTo>
                      <a:pt x="1812" y="1015"/>
                    </a:lnTo>
                    <a:lnTo>
                      <a:pt x="1823" y="1017"/>
                    </a:lnTo>
                    <a:lnTo>
                      <a:pt x="1834" y="1019"/>
                    </a:lnTo>
                    <a:lnTo>
                      <a:pt x="1845" y="1022"/>
                    </a:lnTo>
                    <a:lnTo>
                      <a:pt x="1854" y="1026"/>
                    </a:lnTo>
                    <a:lnTo>
                      <a:pt x="1862" y="1032"/>
                    </a:lnTo>
                    <a:lnTo>
                      <a:pt x="1870" y="1040"/>
                    </a:lnTo>
                    <a:lnTo>
                      <a:pt x="1873" y="1044"/>
                    </a:lnTo>
                    <a:lnTo>
                      <a:pt x="1875" y="1048"/>
                    </a:lnTo>
                    <a:lnTo>
                      <a:pt x="1877" y="1053"/>
                    </a:lnTo>
                    <a:lnTo>
                      <a:pt x="1879" y="1059"/>
                    </a:lnTo>
                    <a:lnTo>
                      <a:pt x="1886" y="1083"/>
                    </a:lnTo>
                    <a:lnTo>
                      <a:pt x="1894" y="1105"/>
                    </a:lnTo>
                    <a:lnTo>
                      <a:pt x="1903" y="1126"/>
                    </a:lnTo>
                    <a:lnTo>
                      <a:pt x="1911" y="1146"/>
                    </a:lnTo>
                    <a:lnTo>
                      <a:pt x="1927" y="1185"/>
                    </a:lnTo>
                    <a:lnTo>
                      <a:pt x="1944" y="1222"/>
                    </a:lnTo>
                    <a:lnTo>
                      <a:pt x="1951" y="1241"/>
                    </a:lnTo>
                    <a:lnTo>
                      <a:pt x="1958" y="1260"/>
                    </a:lnTo>
                    <a:lnTo>
                      <a:pt x="1964" y="1279"/>
                    </a:lnTo>
                    <a:lnTo>
                      <a:pt x="1970" y="1300"/>
                    </a:lnTo>
                    <a:lnTo>
                      <a:pt x="1975" y="1320"/>
                    </a:lnTo>
                    <a:lnTo>
                      <a:pt x="1978" y="1342"/>
                    </a:lnTo>
                    <a:lnTo>
                      <a:pt x="1980" y="1365"/>
                    </a:lnTo>
                    <a:lnTo>
                      <a:pt x="1981" y="1390"/>
                    </a:lnTo>
                    <a:lnTo>
                      <a:pt x="1980" y="1396"/>
                    </a:lnTo>
                    <a:lnTo>
                      <a:pt x="1978" y="1401"/>
                    </a:lnTo>
                    <a:lnTo>
                      <a:pt x="1975" y="1405"/>
                    </a:lnTo>
                    <a:lnTo>
                      <a:pt x="1971" y="1409"/>
                    </a:lnTo>
                    <a:lnTo>
                      <a:pt x="1967" y="1414"/>
                    </a:lnTo>
                    <a:lnTo>
                      <a:pt x="1964" y="1419"/>
                    </a:lnTo>
                    <a:lnTo>
                      <a:pt x="1962" y="1424"/>
                    </a:lnTo>
                    <a:lnTo>
                      <a:pt x="1961" y="1430"/>
                    </a:lnTo>
                    <a:lnTo>
                      <a:pt x="1962" y="1437"/>
                    </a:lnTo>
                    <a:lnTo>
                      <a:pt x="1963" y="1443"/>
                    </a:lnTo>
                    <a:lnTo>
                      <a:pt x="1964" y="1450"/>
                    </a:lnTo>
                    <a:lnTo>
                      <a:pt x="1966" y="1456"/>
                    </a:lnTo>
                    <a:lnTo>
                      <a:pt x="1972" y="1467"/>
                    </a:lnTo>
                    <a:lnTo>
                      <a:pt x="1977" y="1478"/>
                    </a:lnTo>
                    <a:lnTo>
                      <a:pt x="1983" y="1489"/>
                    </a:lnTo>
                    <a:lnTo>
                      <a:pt x="1988" y="1500"/>
                    </a:lnTo>
                    <a:lnTo>
                      <a:pt x="1990" y="1506"/>
                    </a:lnTo>
                    <a:lnTo>
                      <a:pt x="1992" y="1513"/>
                    </a:lnTo>
                    <a:lnTo>
                      <a:pt x="1994" y="1520"/>
                    </a:lnTo>
                    <a:lnTo>
                      <a:pt x="1994" y="1527"/>
                    </a:lnTo>
                    <a:lnTo>
                      <a:pt x="1987" y="1583"/>
                    </a:lnTo>
                    <a:lnTo>
                      <a:pt x="1990" y="1594"/>
                    </a:lnTo>
                    <a:lnTo>
                      <a:pt x="1991" y="1603"/>
                    </a:lnTo>
                    <a:lnTo>
                      <a:pt x="1993" y="1612"/>
                    </a:lnTo>
                    <a:lnTo>
                      <a:pt x="1994" y="1623"/>
                    </a:lnTo>
                    <a:lnTo>
                      <a:pt x="1994" y="1623"/>
                    </a:lnTo>
                    <a:close/>
                  </a:path>
                </a:pathLst>
              </a:custGeom>
              <a:solidFill>
                <a:srgbClr val="65AC1E">
                  <a:alpha val="54902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IvanoFrankivsk">
                <a:extLst>
                  <a:ext uri="{FF2B5EF4-FFF2-40B4-BE49-F238E27FC236}">
                    <a16:creationId xmlns:a16="http://schemas.microsoft.com/office/drawing/2014/main" id="{98A398D3-BE30-4663-8634-3808A4E234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7389" y="3348974"/>
                <a:ext cx="878424" cy="1110083"/>
              </a:xfrm>
              <a:custGeom>
                <a:avLst/>
                <a:gdLst>
                  <a:gd name="T0" fmla="*/ 1120 w 1780"/>
                  <a:gd name="T1" fmla="*/ 208 h 2391"/>
                  <a:gd name="T2" fmla="*/ 1145 w 1780"/>
                  <a:gd name="T3" fmla="*/ 356 h 2391"/>
                  <a:gd name="T4" fmla="*/ 1143 w 1780"/>
                  <a:gd name="T5" fmla="*/ 462 h 2391"/>
                  <a:gd name="T6" fmla="*/ 1203 w 1780"/>
                  <a:gd name="T7" fmla="*/ 539 h 2391"/>
                  <a:gd name="T8" fmla="*/ 1195 w 1780"/>
                  <a:gd name="T9" fmla="*/ 687 h 2391"/>
                  <a:gd name="T10" fmla="*/ 1210 w 1780"/>
                  <a:gd name="T11" fmla="*/ 774 h 2391"/>
                  <a:gd name="T12" fmla="*/ 1300 w 1780"/>
                  <a:gd name="T13" fmla="*/ 821 h 2391"/>
                  <a:gd name="T14" fmla="*/ 1384 w 1780"/>
                  <a:gd name="T15" fmla="*/ 929 h 2391"/>
                  <a:gd name="T16" fmla="*/ 1427 w 1780"/>
                  <a:gd name="T17" fmla="*/ 921 h 2391"/>
                  <a:gd name="T18" fmla="*/ 1483 w 1780"/>
                  <a:gd name="T19" fmla="*/ 979 h 2391"/>
                  <a:gd name="T20" fmla="*/ 1440 w 1780"/>
                  <a:gd name="T21" fmla="*/ 1034 h 2391"/>
                  <a:gd name="T22" fmla="*/ 1464 w 1780"/>
                  <a:gd name="T23" fmla="*/ 1076 h 2391"/>
                  <a:gd name="T24" fmla="*/ 1524 w 1780"/>
                  <a:gd name="T25" fmla="*/ 1042 h 2391"/>
                  <a:gd name="T26" fmla="*/ 1571 w 1780"/>
                  <a:gd name="T27" fmla="*/ 996 h 2391"/>
                  <a:gd name="T28" fmla="*/ 1629 w 1780"/>
                  <a:gd name="T29" fmla="*/ 988 h 2391"/>
                  <a:gd name="T30" fmla="*/ 1729 w 1780"/>
                  <a:gd name="T31" fmla="*/ 1097 h 2391"/>
                  <a:gd name="T32" fmla="*/ 1720 w 1780"/>
                  <a:gd name="T33" fmla="*/ 1277 h 2391"/>
                  <a:gd name="T34" fmla="*/ 1681 w 1780"/>
                  <a:gd name="T35" fmla="*/ 1338 h 2391"/>
                  <a:gd name="T36" fmla="*/ 1716 w 1780"/>
                  <a:gd name="T37" fmla="*/ 1407 h 2391"/>
                  <a:gd name="T38" fmla="*/ 1736 w 1780"/>
                  <a:gd name="T39" fmla="*/ 1522 h 2391"/>
                  <a:gd name="T40" fmla="*/ 1682 w 1780"/>
                  <a:gd name="T41" fmla="*/ 1557 h 2391"/>
                  <a:gd name="T42" fmla="*/ 1511 w 1780"/>
                  <a:gd name="T43" fmla="*/ 1586 h 2391"/>
                  <a:gd name="T44" fmla="*/ 1413 w 1780"/>
                  <a:gd name="T45" fmla="*/ 1627 h 2391"/>
                  <a:gd name="T46" fmla="*/ 1310 w 1780"/>
                  <a:gd name="T47" fmla="*/ 1699 h 2391"/>
                  <a:gd name="T48" fmla="*/ 1282 w 1780"/>
                  <a:gd name="T49" fmla="*/ 1740 h 2391"/>
                  <a:gd name="T50" fmla="*/ 1261 w 1780"/>
                  <a:gd name="T51" fmla="*/ 1796 h 2391"/>
                  <a:gd name="T52" fmla="*/ 1099 w 1780"/>
                  <a:gd name="T53" fmla="*/ 1941 h 2391"/>
                  <a:gd name="T54" fmla="*/ 1069 w 1780"/>
                  <a:gd name="T55" fmla="*/ 2002 h 2391"/>
                  <a:gd name="T56" fmla="*/ 1096 w 1780"/>
                  <a:gd name="T57" fmla="*/ 2157 h 2391"/>
                  <a:gd name="T58" fmla="*/ 1038 w 1780"/>
                  <a:gd name="T59" fmla="*/ 2378 h 2391"/>
                  <a:gd name="T60" fmla="*/ 953 w 1780"/>
                  <a:gd name="T61" fmla="*/ 2281 h 2391"/>
                  <a:gd name="T62" fmla="*/ 865 w 1780"/>
                  <a:gd name="T63" fmla="*/ 2238 h 2391"/>
                  <a:gd name="T64" fmla="*/ 840 w 1780"/>
                  <a:gd name="T65" fmla="*/ 2133 h 2391"/>
                  <a:gd name="T66" fmla="*/ 749 w 1780"/>
                  <a:gd name="T67" fmla="*/ 2093 h 2391"/>
                  <a:gd name="T68" fmla="*/ 743 w 1780"/>
                  <a:gd name="T69" fmla="*/ 1970 h 2391"/>
                  <a:gd name="T70" fmla="*/ 717 w 1780"/>
                  <a:gd name="T71" fmla="*/ 1894 h 2391"/>
                  <a:gd name="T72" fmla="*/ 733 w 1780"/>
                  <a:gd name="T73" fmla="*/ 1812 h 2391"/>
                  <a:gd name="T74" fmla="*/ 658 w 1780"/>
                  <a:gd name="T75" fmla="*/ 1596 h 2391"/>
                  <a:gd name="T76" fmla="*/ 609 w 1780"/>
                  <a:gd name="T77" fmla="*/ 1496 h 2391"/>
                  <a:gd name="T78" fmla="*/ 486 w 1780"/>
                  <a:gd name="T79" fmla="*/ 1463 h 2391"/>
                  <a:gd name="T80" fmla="*/ 451 w 1780"/>
                  <a:gd name="T81" fmla="*/ 1405 h 2391"/>
                  <a:gd name="T82" fmla="*/ 440 w 1780"/>
                  <a:gd name="T83" fmla="*/ 1292 h 2391"/>
                  <a:gd name="T84" fmla="*/ 366 w 1780"/>
                  <a:gd name="T85" fmla="*/ 1323 h 2391"/>
                  <a:gd name="T86" fmla="*/ 284 w 1780"/>
                  <a:gd name="T87" fmla="*/ 1354 h 2391"/>
                  <a:gd name="T88" fmla="*/ 198 w 1780"/>
                  <a:gd name="T89" fmla="*/ 1275 h 2391"/>
                  <a:gd name="T90" fmla="*/ 178 w 1780"/>
                  <a:gd name="T91" fmla="*/ 1138 h 2391"/>
                  <a:gd name="T92" fmla="*/ 45 w 1780"/>
                  <a:gd name="T93" fmla="*/ 1101 h 2391"/>
                  <a:gd name="T94" fmla="*/ 3 w 1780"/>
                  <a:gd name="T95" fmla="*/ 1000 h 2391"/>
                  <a:gd name="T96" fmla="*/ 17 w 1780"/>
                  <a:gd name="T97" fmla="*/ 704 h 2391"/>
                  <a:gd name="T98" fmla="*/ 94 w 1780"/>
                  <a:gd name="T99" fmla="*/ 595 h 2391"/>
                  <a:gd name="T100" fmla="*/ 156 w 1780"/>
                  <a:gd name="T101" fmla="*/ 521 h 2391"/>
                  <a:gd name="T102" fmla="*/ 383 w 1780"/>
                  <a:gd name="T103" fmla="*/ 512 h 2391"/>
                  <a:gd name="T104" fmla="*/ 520 w 1780"/>
                  <a:gd name="T105" fmla="*/ 462 h 2391"/>
                  <a:gd name="T106" fmla="*/ 608 w 1780"/>
                  <a:gd name="T107" fmla="*/ 479 h 2391"/>
                  <a:gd name="T108" fmla="*/ 701 w 1780"/>
                  <a:gd name="T109" fmla="*/ 497 h 2391"/>
                  <a:gd name="T110" fmla="*/ 799 w 1780"/>
                  <a:gd name="T111" fmla="*/ 447 h 2391"/>
                  <a:gd name="T112" fmla="*/ 729 w 1780"/>
                  <a:gd name="T113" fmla="*/ 377 h 2391"/>
                  <a:gd name="T114" fmla="*/ 722 w 1780"/>
                  <a:gd name="T115" fmla="*/ 325 h 2391"/>
                  <a:gd name="T116" fmla="*/ 769 w 1780"/>
                  <a:gd name="T117" fmla="*/ 250 h 2391"/>
                  <a:gd name="T118" fmla="*/ 815 w 1780"/>
                  <a:gd name="T119" fmla="*/ 45 h 2391"/>
                  <a:gd name="T120" fmla="*/ 870 w 1780"/>
                  <a:gd name="T121" fmla="*/ 28 h 2391"/>
                  <a:gd name="T122" fmla="*/ 932 w 1780"/>
                  <a:gd name="T123" fmla="*/ 79 h 23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80" h="2391">
                    <a:moveTo>
                      <a:pt x="1068" y="108"/>
                    </a:moveTo>
                    <a:lnTo>
                      <a:pt x="1085" y="134"/>
                    </a:lnTo>
                    <a:lnTo>
                      <a:pt x="1102" y="156"/>
                    </a:lnTo>
                    <a:lnTo>
                      <a:pt x="1109" y="168"/>
                    </a:lnTo>
                    <a:lnTo>
                      <a:pt x="1114" y="180"/>
                    </a:lnTo>
                    <a:lnTo>
                      <a:pt x="1116" y="187"/>
                    </a:lnTo>
                    <a:lnTo>
                      <a:pt x="1118" y="193"/>
                    </a:lnTo>
                    <a:lnTo>
                      <a:pt x="1120" y="201"/>
                    </a:lnTo>
                    <a:lnTo>
                      <a:pt x="1120" y="208"/>
                    </a:lnTo>
                    <a:lnTo>
                      <a:pt x="1120" y="266"/>
                    </a:lnTo>
                    <a:lnTo>
                      <a:pt x="1121" y="276"/>
                    </a:lnTo>
                    <a:lnTo>
                      <a:pt x="1122" y="284"/>
                    </a:lnTo>
                    <a:lnTo>
                      <a:pt x="1123" y="292"/>
                    </a:lnTo>
                    <a:lnTo>
                      <a:pt x="1125" y="299"/>
                    </a:lnTo>
                    <a:lnTo>
                      <a:pt x="1130" y="314"/>
                    </a:lnTo>
                    <a:lnTo>
                      <a:pt x="1135" y="328"/>
                    </a:lnTo>
                    <a:lnTo>
                      <a:pt x="1141" y="342"/>
                    </a:lnTo>
                    <a:lnTo>
                      <a:pt x="1145" y="356"/>
                    </a:lnTo>
                    <a:lnTo>
                      <a:pt x="1147" y="363"/>
                    </a:lnTo>
                    <a:lnTo>
                      <a:pt x="1149" y="372"/>
                    </a:lnTo>
                    <a:lnTo>
                      <a:pt x="1150" y="380"/>
                    </a:lnTo>
                    <a:lnTo>
                      <a:pt x="1150" y="389"/>
                    </a:lnTo>
                    <a:lnTo>
                      <a:pt x="1149" y="407"/>
                    </a:lnTo>
                    <a:lnTo>
                      <a:pt x="1147" y="423"/>
                    </a:lnTo>
                    <a:lnTo>
                      <a:pt x="1144" y="439"/>
                    </a:lnTo>
                    <a:lnTo>
                      <a:pt x="1143" y="457"/>
                    </a:lnTo>
                    <a:lnTo>
                      <a:pt x="1143" y="462"/>
                    </a:lnTo>
                    <a:lnTo>
                      <a:pt x="1144" y="468"/>
                    </a:lnTo>
                    <a:lnTo>
                      <a:pt x="1146" y="472"/>
                    </a:lnTo>
                    <a:lnTo>
                      <a:pt x="1148" y="477"/>
                    </a:lnTo>
                    <a:lnTo>
                      <a:pt x="1154" y="484"/>
                    </a:lnTo>
                    <a:lnTo>
                      <a:pt x="1160" y="490"/>
                    </a:lnTo>
                    <a:lnTo>
                      <a:pt x="1175" y="504"/>
                    </a:lnTo>
                    <a:lnTo>
                      <a:pt x="1191" y="519"/>
                    </a:lnTo>
                    <a:lnTo>
                      <a:pt x="1198" y="529"/>
                    </a:lnTo>
                    <a:lnTo>
                      <a:pt x="1203" y="539"/>
                    </a:lnTo>
                    <a:lnTo>
                      <a:pt x="1206" y="550"/>
                    </a:lnTo>
                    <a:lnTo>
                      <a:pt x="1208" y="561"/>
                    </a:lnTo>
                    <a:lnTo>
                      <a:pt x="1209" y="583"/>
                    </a:lnTo>
                    <a:lnTo>
                      <a:pt x="1209" y="608"/>
                    </a:lnTo>
                    <a:lnTo>
                      <a:pt x="1208" y="627"/>
                    </a:lnTo>
                    <a:lnTo>
                      <a:pt x="1206" y="642"/>
                    </a:lnTo>
                    <a:lnTo>
                      <a:pt x="1203" y="658"/>
                    </a:lnTo>
                    <a:lnTo>
                      <a:pt x="1199" y="672"/>
                    </a:lnTo>
                    <a:lnTo>
                      <a:pt x="1195" y="687"/>
                    </a:lnTo>
                    <a:lnTo>
                      <a:pt x="1192" y="702"/>
                    </a:lnTo>
                    <a:lnTo>
                      <a:pt x="1189" y="719"/>
                    </a:lnTo>
                    <a:lnTo>
                      <a:pt x="1189" y="736"/>
                    </a:lnTo>
                    <a:lnTo>
                      <a:pt x="1189" y="744"/>
                    </a:lnTo>
                    <a:lnTo>
                      <a:pt x="1191" y="753"/>
                    </a:lnTo>
                    <a:lnTo>
                      <a:pt x="1195" y="759"/>
                    </a:lnTo>
                    <a:lnTo>
                      <a:pt x="1199" y="765"/>
                    </a:lnTo>
                    <a:lnTo>
                      <a:pt x="1204" y="770"/>
                    </a:lnTo>
                    <a:lnTo>
                      <a:pt x="1210" y="774"/>
                    </a:lnTo>
                    <a:lnTo>
                      <a:pt x="1217" y="778"/>
                    </a:lnTo>
                    <a:lnTo>
                      <a:pt x="1225" y="783"/>
                    </a:lnTo>
                    <a:lnTo>
                      <a:pt x="1241" y="789"/>
                    </a:lnTo>
                    <a:lnTo>
                      <a:pt x="1259" y="796"/>
                    </a:lnTo>
                    <a:lnTo>
                      <a:pt x="1267" y="799"/>
                    </a:lnTo>
                    <a:lnTo>
                      <a:pt x="1276" y="803"/>
                    </a:lnTo>
                    <a:lnTo>
                      <a:pt x="1285" y="808"/>
                    </a:lnTo>
                    <a:lnTo>
                      <a:pt x="1292" y="814"/>
                    </a:lnTo>
                    <a:lnTo>
                      <a:pt x="1300" y="821"/>
                    </a:lnTo>
                    <a:lnTo>
                      <a:pt x="1307" y="828"/>
                    </a:lnTo>
                    <a:lnTo>
                      <a:pt x="1314" y="835"/>
                    </a:lnTo>
                    <a:lnTo>
                      <a:pt x="1320" y="843"/>
                    </a:lnTo>
                    <a:lnTo>
                      <a:pt x="1330" y="857"/>
                    </a:lnTo>
                    <a:lnTo>
                      <a:pt x="1338" y="873"/>
                    </a:lnTo>
                    <a:lnTo>
                      <a:pt x="1354" y="907"/>
                    </a:lnTo>
                    <a:lnTo>
                      <a:pt x="1372" y="944"/>
                    </a:lnTo>
                    <a:lnTo>
                      <a:pt x="1378" y="936"/>
                    </a:lnTo>
                    <a:lnTo>
                      <a:pt x="1384" y="929"/>
                    </a:lnTo>
                    <a:lnTo>
                      <a:pt x="1388" y="922"/>
                    </a:lnTo>
                    <a:lnTo>
                      <a:pt x="1392" y="916"/>
                    </a:lnTo>
                    <a:lnTo>
                      <a:pt x="1396" y="909"/>
                    </a:lnTo>
                    <a:lnTo>
                      <a:pt x="1400" y="901"/>
                    </a:lnTo>
                    <a:lnTo>
                      <a:pt x="1405" y="894"/>
                    </a:lnTo>
                    <a:lnTo>
                      <a:pt x="1412" y="887"/>
                    </a:lnTo>
                    <a:lnTo>
                      <a:pt x="1418" y="899"/>
                    </a:lnTo>
                    <a:lnTo>
                      <a:pt x="1423" y="911"/>
                    </a:lnTo>
                    <a:lnTo>
                      <a:pt x="1427" y="921"/>
                    </a:lnTo>
                    <a:lnTo>
                      <a:pt x="1430" y="931"/>
                    </a:lnTo>
                    <a:lnTo>
                      <a:pt x="1433" y="943"/>
                    </a:lnTo>
                    <a:lnTo>
                      <a:pt x="1434" y="954"/>
                    </a:lnTo>
                    <a:lnTo>
                      <a:pt x="1435" y="965"/>
                    </a:lnTo>
                    <a:lnTo>
                      <a:pt x="1436" y="979"/>
                    </a:lnTo>
                    <a:lnTo>
                      <a:pt x="1448" y="979"/>
                    </a:lnTo>
                    <a:lnTo>
                      <a:pt x="1459" y="978"/>
                    </a:lnTo>
                    <a:lnTo>
                      <a:pt x="1470" y="978"/>
                    </a:lnTo>
                    <a:lnTo>
                      <a:pt x="1483" y="979"/>
                    </a:lnTo>
                    <a:lnTo>
                      <a:pt x="1477" y="988"/>
                    </a:lnTo>
                    <a:lnTo>
                      <a:pt x="1471" y="995"/>
                    </a:lnTo>
                    <a:lnTo>
                      <a:pt x="1464" y="1002"/>
                    </a:lnTo>
                    <a:lnTo>
                      <a:pt x="1457" y="1008"/>
                    </a:lnTo>
                    <a:lnTo>
                      <a:pt x="1451" y="1014"/>
                    </a:lnTo>
                    <a:lnTo>
                      <a:pt x="1445" y="1021"/>
                    </a:lnTo>
                    <a:lnTo>
                      <a:pt x="1443" y="1024"/>
                    </a:lnTo>
                    <a:lnTo>
                      <a:pt x="1441" y="1028"/>
                    </a:lnTo>
                    <a:lnTo>
                      <a:pt x="1440" y="1034"/>
                    </a:lnTo>
                    <a:lnTo>
                      <a:pt x="1440" y="1038"/>
                    </a:lnTo>
                    <a:lnTo>
                      <a:pt x="1440" y="1045"/>
                    </a:lnTo>
                    <a:lnTo>
                      <a:pt x="1441" y="1051"/>
                    </a:lnTo>
                    <a:lnTo>
                      <a:pt x="1443" y="1057"/>
                    </a:lnTo>
                    <a:lnTo>
                      <a:pt x="1445" y="1063"/>
                    </a:lnTo>
                    <a:lnTo>
                      <a:pt x="1450" y="1069"/>
                    </a:lnTo>
                    <a:lnTo>
                      <a:pt x="1453" y="1073"/>
                    </a:lnTo>
                    <a:lnTo>
                      <a:pt x="1458" y="1075"/>
                    </a:lnTo>
                    <a:lnTo>
                      <a:pt x="1464" y="1076"/>
                    </a:lnTo>
                    <a:lnTo>
                      <a:pt x="1472" y="1076"/>
                    </a:lnTo>
                    <a:lnTo>
                      <a:pt x="1480" y="1074"/>
                    </a:lnTo>
                    <a:lnTo>
                      <a:pt x="1488" y="1072"/>
                    </a:lnTo>
                    <a:lnTo>
                      <a:pt x="1495" y="1069"/>
                    </a:lnTo>
                    <a:lnTo>
                      <a:pt x="1502" y="1065"/>
                    </a:lnTo>
                    <a:lnTo>
                      <a:pt x="1507" y="1059"/>
                    </a:lnTo>
                    <a:lnTo>
                      <a:pt x="1513" y="1054"/>
                    </a:lnTo>
                    <a:lnTo>
                      <a:pt x="1519" y="1049"/>
                    </a:lnTo>
                    <a:lnTo>
                      <a:pt x="1524" y="1042"/>
                    </a:lnTo>
                    <a:lnTo>
                      <a:pt x="1528" y="1035"/>
                    </a:lnTo>
                    <a:lnTo>
                      <a:pt x="1532" y="1027"/>
                    </a:lnTo>
                    <a:lnTo>
                      <a:pt x="1535" y="1020"/>
                    </a:lnTo>
                    <a:lnTo>
                      <a:pt x="1540" y="1004"/>
                    </a:lnTo>
                    <a:lnTo>
                      <a:pt x="1544" y="986"/>
                    </a:lnTo>
                    <a:lnTo>
                      <a:pt x="1554" y="989"/>
                    </a:lnTo>
                    <a:lnTo>
                      <a:pt x="1563" y="993"/>
                    </a:lnTo>
                    <a:lnTo>
                      <a:pt x="1567" y="995"/>
                    </a:lnTo>
                    <a:lnTo>
                      <a:pt x="1571" y="996"/>
                    </a:lnTo>
                    <a:lnTo>
                      <a:pt x="1576" y="997"/>
                    </a:lnTo>
                    <a:lnTo>
                      <a:pt x="1582" y="998"/>
                    </a:lnTo>
                    <a:lnTo>
                      <a:pt x="1588" y="997"/>
                    </a:lnTo>
                    <a:lnTo>
                      <a:pt x="1592" y="996"/>
                    </a:lnTo>
                    <a:lnTo>
                      <a:pt x="1597" y="995"/>
                    </a:lnTo>
                    <a:lnTo>
                      <a:pt x="1601" y="993"/>
                    </a:lnTo>
                    <a:lnTo>
                      <a:pt x="1609" y="989"/>
                    </a:lnTo>
                    <a:lnTo>
                      <a:pt x="1620" y="986"/>
                    </a:lnTo>
                    <a:lnTo>
                      <a:pt x="1629" y="988"/>
                    </a:lnTo>
                    <a:lnTo>
                      <a:pt x="1632" y="1003"/>
                    </a:lnTo>
                    <a:lnTo>
                      <a:pt x="1636" y="1015"/>
                    </a:lnTo>
                    <a:lnTo>
                      <a:pt x="1642" y="1026"/>
                    </a:lnTo>
                    <a:lnTo>
                      <a:pt x="1649" y="1037"/>
                    </a:lnTo>
                    <a:lnTo>
                      <a:pt x="1656" y="1047"/>
                    </a:lnTo>
                    <a:lnTo>
                      <a:pt x="1664" y="1055"/>
                    </a:lnTo>
                    <a:lnTo>
                      <a:pt x="1673" y="1063"/>
                    </a:lnTo>
                    <a:lnTo>
                      <a:pt x="1684" y="1071"/>
                    </a:lnTo>
                    <a:lnTo>
                      <a:pt x="1729" y="1097"/>
                    </a:lnTo>
                    <a:lnTo>
                      <a:pt x="1780" y="1123"/>
                    </a:lnTo>
                    <a:lnTo>
                      <a:pt x="1780" y="1123"/>
                    </a:lnTo>
                    <a:lnTo>
                      <a:pt x="1775" y="1144"/>
                    </a:lnTo>
                    <a:lnTo>
                      <a:pt x="1769" y="1163"/>
                    </a:lnTo>
                    <a:lnTo>
                      <a:pt x="1764" y="1180"/>
                    </a:lnTo>
                    <a:lnTo>
                      <a:pt x="1758" y="1197"/>
                    </a:lnTo>
                    <a:lnTo>
                      <a:pt x="1742" y="1230"/>
                    </a:lnTo>
                    <a:lnTo>
                      <a:pt x="1726" y="1267"/>
                    </a:lnTo>
                    <a:lnTo>
                      <a:pt x="1720" y="1277"/>
                    </a:lnTo>
                    <a:lnTo>
                      <a:pt x="1714" y="1287"/>
                    </a:lnTo>
                    <a:lnTo>
                      <a:pt x="1706" y="1294"/>
                    </a:lnTo>
                    <a:lnTo>
                      <a:pt x="1698" y="1301"/>
                    </a:lnTo>
                    <a:lnTo>
                      <a:pt x="1692" y="1309"/>
                    </a:lnTo>
                    <a:lnTo>
                      <a:pt x="1686" y="1318"/>
                    </a:lnTo>
                    <a:lnTo>
                      <a:pt x="1684" y="1322"/>
                    </a:lnTo>
                    <a:lnTo>
                      <a:pt x="1683" y="1327"/>
                    </a:lnTo>
                    <a:lnTo>
                      <a:pt x="1682" y="1332"/>
                    </a:lnTo>
                    <a:lnTo>
                      <a:pt x="1681" y="1338"/>
                    </a:lnTo>
                    <a:lnTo>
                      <a:pt x="1682" y="1344"/>
                    </a:lnTo>
                    <a:lnTo>
                      <a:pt x="1682" y="1351"/>
                    </a:lnTo>
                    <a:lnTo>
                      <a:pt x="1684" y="1356"/>
                    </a:lnTo>
                    <a:lnTo>
                      <a:pt x="1685" y="1361"/>
                    </a:lnTo>
                    <a:lnTo>
                      <a:pt x="1690" y="1370"/>
                    </a:lnTo>
                    <a:lnTo>
                      <a:pt x="1696" y="1379"/>
                    </a:lnTo>
                    <a:lnTo>
                      <a:pt x="1702" y="1388"/>
                    </a:lnTo>
                    <a:lnTo>
                      <a:pt x="1708" y="1397"/>
                    </a:lnTo>
                    <a:lnTo>
                      <a:pt x="1716" y="1407"/>
                    </a:lnTo>
                    <a:lnTo>
                      <a:pt x="1721" y="1418"/>
                    </a:lnTo>
                    <a:lnTo>
                      <a:pt x="1726" y="1430"/>
                    </a:lnTo>
                    <a:lnTo>
                      <a:pt x="1730" y="1441"/>
                    </a:lnTo>
                    <a:lnTo>
                      <a:pt x="1733" y="1452"/>
                    </a:lnTo>
                    <a:lnTo>
                      <a:pt x="1735" y="1463"/>
                    </a:lnTo>
                    <a:lnTo>
                      <a:pt x="1737" y="1485"/>
                    </a:lnTo>
                    <a:lnTo>
                      <a:pt x="1737" y="1511"/>
                    </a:lnTo>
                    <a:lnTo>
                      <a:pt x="1737" y="1516"/>
                    </a:lnTo>
                    <a:lnTo>
                      <a:pt x="1736" y="1522"/>
                    </a:lnTo>
                    <a:lnTo>
                      <a:pt x="1734" y="1526"/>
                    </a:lnTo>
                    <a:lnTo>
                      <a:pt x="1731" y="1531"/>
                    </a:lnTo>
                    <a:lnTo>
                      <a:pt x="1728" y="1535"/>
                    </a:lnTo>
                    <a:lnTo>
                      <a:pt x="1725" y="1539"/>
                    </a:lnTo>
                    <a:lnTo>
                      <a:pt x="1720" y="1543"/>
                    </a:lnTo>
                    <a:lnTo>
                      <a:pt x="1716" y="1545"/>
                    </a:lnTo>
                    <a:lnTo>
                      <a:pt x="1705" y="1550"/>
                    </a:lnTo>
                    <a:lnTo>
                      <a:pt x="1694" y="1554"/>
                    </a:lnTo>
                    <a:lnTo>
                      <a:pt x="1682" y="1557"/>
                    </a:lnTo>
                    <a:lnTo>
                      <a:pt x="1669" y="1560"/>
                    </a:lnTo>
                    <a:lnTo>
                      <a:pt x="1648" y="1564"/>
                    </a:lnTo>
                    <a:lnTo>
                      <a:pt x="1627" y="1567"/>
                    </a:lnTo>
                    <a:lnTo>
                      <a:pt x="1608" y="1571"/>
                    </a:lnTo>
                    <a:lnTo>
                      <a:pt x="1590" y="1574"/>
                    </a:lnTo>
                    <a:lnTo>
                      <a:pt x="1572" y="1576"/>
                    </a:lnTo>
                    <a:lnTo>
                      <a:pt x="1553" y="1579"/>
                    </a:lnTo>
                    <a:lnTo>
                      <a:pt x="1533" y="1582"/>
                    </a:lnTo>
                    <a:lnTo>
                      <a:pt x="1511" y="1586"/>
                    </a:lnTo>
                    <a:lnTo>
                      <a:pt x="1499" y="1588"/>
                    </a:lnTo>
                    <a:lnTo>
                      <a:pt x="1488" y="1591"/>
                    </a:lnTo>
                    <a:lnTo>
                      <a:pt x="1477" y="1594"/>
                    </a:lnTo>
                    <a:lnTo>
                      <a:pt x="1467" y="1597"/>
                    </a:lnTo>
                    <a:lnTo>
                      <a:pt x="1457" y="1601"/>
                    </a:lnTo>
                    <a:lnTo>
                      <a:pt x="1447" y="1606"/>
                    </a:lnTo>
                    <a:lnTo>
                      <a:pt x="1439" y="1611"/>
                    </a:lnTo>
                    <a:lnTo>
                      <a:pt x="1430" y="1616"/>
                    </a:lnTo>
                    <a:lnTo>
                      <a:pt x="1413" y="1627"/>
                    </a:lnTo>
                    <a:lnTo>
                      <a:pt x="1397" y="1641"/>
                    </a:lnTo>
                    <a:lnTo>
                      <a:pt x="1380" y="1656"/>
                    </a:lnTo>
                    <a:lnTo>
                      <a:pt x="1363" y="1673"/>
                    </a:lnTo>
                    <a:lnTo>
                      <a:pt x="1357" y="1678"/>
                    </a:lnTo>
                    <a:lnTo>
                      <a:pt x="1351" y="1682"/>
                    </a:lnTo>
                    <a:lnTo>
                      <a:pt x="1344" y="1686"/>
                    </a:lnTo>
                    <a:lnTo>
                      <a:pt x="1338" y="1688"/>
                    </a:lnTo>
                    <a:lnTo>
                      <a:pt x="1324" y="1693"/>
                    </a:lnTo>
                    <a:lnTo>
                      <a:pt x="1310" y="1699"/>
                    </a:lnTo>
                    <a:lnTo>
                      <a:pt x="1304" y="1701"/>
                    </a:lnTo>
                    <a:lnTo>
                      <a:pt x="1299" y="1704"/>
                    </a:lnTo>
                    <a:lnTo>
                      <a:pt x="1294" y="1707"/>
                    </a:lnTo>
                    <a:lnTo>
                      <a:pt x="1289" y="1710"/>
                    </a:lnTo>
                    <a:lnTo>
                      <a:pt x="1286" y="1714"/>
                    </a:lnTo>
                    <a:lnTo>
                      <a:pt x="1282" y="1719"/>
                    </a:lnTo>
                    <a:lnTo>
                      <a:pt x="1280" y="1725"/>
                    </a:lnTo>
                    <a:lnTo>
                      <a:pt x="1280" y="1733"/>
                    </a:lnTo>
                    <a:lnTo>
                      <a:pt x="1282" y="1740"/>
                    </a:lnTo>
                    <a:lnTo>
                      <a:pt x="1285" y="1747"/>
                    </a:lnTo>
                    <a:lnTo>
                      <a:pt x="1285" y="1755"/>
                    </a:lnTo>
                    <a:lnTo>
                      <a:pt x="1283" y="1763"/>
                    </a:lnTo>
                    <a:lnTo>
                      <a:pt x="1280" y="1769"/>
                    </a:lnTo>
                    <a:lnTo>
                      <a:pt x="1278" y="1775"/>
                    </a:lnTo>
                    <a:lnTo>
                      <a:pt x="1274" y="1781"/>
                    </a:lnTo>
                    <a:lnTo>
                      <a:pt x="1270" y="1786"/>
                    </a:lnTo>
                    <a:lnTo>
                      <a:pt x="1266" y="1792"/>
                    </a:lnTo>
                    <a:lnTo>
                      <a:pt x="1261" y="1796"/>
                    </a:lnTo>
                    <a:lnTo>
                      <a:pt x="1236" y="1813"/>
                    </a:lnTo>
                    <a:lnTo>
                      <a:pt x="1209" y="1832"/>
                    </a:lnTo>
                    <a:lnTo>
                      <a:pt x="1195" y="1843"/>
                    </a:lnTo>
                    <a:lnTo>
                      <a:pt x="1181" y="1854"/>
                    </a:lnTo>
                    <a:lnTo>
                      <a:pt x="1170" y="1867"/>
                    </a:lnTo>
                    <a:lnTo>
                      <a:pt x="1159" y="1878"/>
                    </a:lnTo>
                    <a:lnTo>
                      <a:pt x="1138" y="1903"/>
                    </a:lnTo>
                    <a:lnTo>
                      <a:pt x="1112" y="1931"/>
                    </a:lnTo>
                    <a:lnTo>
                      <a:pt x="1099" y="1941"/>
                    </a:lnTo>
                    <a:lnTo>
                      <a:pt x="1083" y="1949"/>
                    </a:lnTo>
                    <a:lnTo>
                      <a:pt x="1077" y="1955"/>
                    </a:lnTo>
                    <a:lnTo>
                      <a:pt x="1072" y="1960"/>
                    </a:lnTo>
                    <a:lnTo>
                      <a:pt x="1071" y="1963"/>
                    </a:lnTo>
                    <a:lnTo>
                      <a:pt x="1069" y="1967"/>
                    </a:lnTo>
                    <a:lnTo>
                      <a:pt x="1068" y="1971"/>
                    </a:lnTo>
                    <a:lnTo>
                      <a:pt x="1068" y="1975"/>
                    </a:lnTo>
                    <a:lnTo>
                      <a:pt x="1068" y="1990"/>
                    </a:lnTo>
                    <a:lnTo>
                      <a:pt x="1069" y="2002"/>
                    </a:lnTo>
                    <a:lnTo>
                      <a:pt x="1070" y="2016"/>
                    </a:lnTo>
                    <a:lnTo>
                      <a:pt x="1072" y="2027"/>
                    </a:lnTo>
                    <a:lnTo>
                      <a:pt x="1077" y="2051"/>
                    </a:lnTo>
                    <a:lnTo>
                      <a:pt x="1082" y="2073"/>
                    </a:lnTo>
                    <a:lnTo>
                      <a:pt x="1088" y="2095"/>
                    </a:lnTo>
                    <a:lnTo>
                      <a:pt x="1092" y="2119"/>
                    </a:lnTo>
                    <a:lnTo>
                      <a:pt x="1094" y="2130"/>
                    </a:lnTo>
                    <a:lnTo>
                      <a:pt x="1095" y="2144"/>
                    </a:lnTo>
                    <a:lnTo>
                      <a:pt x="1096" y="2157"/>
                    </a:lnTo>
                    <a:lnTo>
                      <a:pt x="1096" y="2170"/>
                    </a:lnTo>
                    <a:lnTo>
                      <a:pt x="1096" y="2280"/>
                    </a:lnTo>
                    <a:lnTo>
                      <a:pt x="1091" y="2296"/>
                    </a:lnTo>
                    <a:lnTo>
                      <a:pt x="1084" y="2312"/>
                    </a:lnTo>
                    <a:lnTo>
                      <a:pt x="1077" y="2326"/>
                    </a:lnTo>
                    <a:lnTo>
                      <a:pt x="1069" y="2340"/>
                    </a:lnTo>
                    <a:lnTo>
                      <a:pt x="1060" y="2353"/>
                    </a:lnTo>
                    <a:lnTo>
                      <a:pt x="1049" y="2366"/>
                    </a:lnTo>
                    <a:lnTo>
                      <a:pt x="1038" y="2378"/>
                    </a:lnTo>
                    <a:lnTo>
                      <a:pt x="1026" y="2391"/>
                    </a:lnTo>
                    <a:lnTo>
                      <a:pt x="1026" y="2391"/>
                    </a:lnTo>
                    <a:lnTo>
                      <a:pt x="1018" y="2373"/>
                    </a:lnTo>
                    <a:lnTo>
                      <a:pt x="1011" y="2354"/>
                    </a:lnTo>
                    <a:lnTo>
                      <a:pt x="1002" y="2338"/>
                    </a:lnTo>
                    <a:lnTo>
                      <a:pt x="993" y="2322"/>
                    </a:lnTo>
                    <a:lnTo>
                      <a:pt x="981" y="2308"/>
                    </a:lnTo>
                    <a:lnTo>
                      <a:pt x="969" y="2293"/>
                    </a:lnTo>
                    <a:lnTo>
                      <a:pt x="953" y="2281"/>
                    </a:lnTo>
                    <a:lnTo>
                      <a:pt x="936" y="2268"/>
                    </a:lnTo>
                    <a:lnTo>
                      <a:pt x="925" y="2262"/>
                    </a:lnTo>
                    <a:lnTo>
                      <a:pt x="914" y="2258"/>
                    </a:lnTo>
                    <a:lnTo>
                      <a:pt x="903" y="2255"/>
                    </a:lnTo>
                    <a:lnTo>
                      <a:pt x="893" y="2252"/>
                    </a:lnTo>
                    <a:lnTo>
                      <a:pt x="882" y="2249"/>
                    </a:lnTo>
                    <a:lnTo>
                      <a:pt x="873" y="2244"/>
                    </a:lnTo>
                    <a:lnTo>
                      <a:pt x="869" y="2241"/>
                    </a:lnTo>
                    <a:lnTo>
                      <a:pt x="865" y="2238"/>
                    </a:lnTo>
                    <a:lnTo>
                      <a:pt x="862" y="2233"/>
                    </a:lnTo>
                    <a:lnTo>
                      <a:pt x="859" y="2228"/>
                    </a:lnTo>
                    <a:lnTo>
                      <a:pt x="865" y="2185"/>
                    </a:lnTo>
                    <a:lnTo>
                      <a:pt x="864" y="2175"/>
                    </a:lnTo>
                    <a:lnTo>
                      <a:pt x="861" y="2165"/>
                    </a:lnTo>
                    <a:lnTo>
                      <a:pt x="857" y="2156"/>
                    </a:lnTo>
                    <a:lnTo>
                      <a:pt x="852" y="2148"/>
                    </a:lnTo>
                    <a:lnTo>
                      <a:pt x="846" y="2141"/>
                    </a:lnTo>
                    <a:lnTo>
                      <a:pt x="840" y="2133"/>
                    </a:lnTo>
                    <a:lnTo>
                      <a:pt x="833" y="2127"/>
                    </a:lnTo>
                    <a:lnTo>
                      <a:pt x="826" y="2122"/>
                    </a:lnTo>
                    <a:lnTo>
                      <a:pt x="817" y="2117"/>
                    </a:lnTo>
                    <a:lnTo>
                      <a:pt x="809" y="2112"/>
                    </a:lnTo>
                    <a:lnTo>
                      <a:pt x="800" y="2107"/>
                    </a:lnTo>
                    <a:lnTo>
                      <a:pt x="790" y="2104"/>
                    </a:lnTo>
                    <a:lnTo>
                      <a:pt x="770" y="2098"/>
                    </a:lnTo>
                    <a:lnTo>
                      <a:pt x="749" y="2093"/>
                    </a:lnTo>
                    <a:lnTo>
                      <a:pt x="749" y="2093"/>
                    </a:lnTo>
                    <a:lnTo>
                      <a:pt x="748" y="2082"/>
                    </a:lnTo>
                    <a:lnTo>
                      <a:pt x="746" y="2073"/>
                    </a:lnTo>
                    <a:lnTo>
                      <a:pt x="745" y="2064"/>
                    </a:lnTo>
                    <a:lnTo>
                      <a:pt x="742" y="2053"/>
                    </a:lnTo>
                    <a:lnTo>
                      <a:pt x="749" y="1997"/>
                    </a:lnTo>
                    <a:lnTo>
                      <a:pt x="749" y="1990"/>
                    </a:lnTo>
                    <a:lnTo>
                      <a:pt x="747" y="1983"/>
                    </a:lnTo>
                    <a:lnTo>
                      <a:pt x="745" y="1976"/>
                    </a:lnTo>
                    <a:lnTo>
                      <a:pt x="743" y="1970"/>
                    </a:lnTo>
                    <a:lnTo>
                      <a:pt x="738" y="1959"/>
                    </a:lnTo>
                    <a:lnTo>
                      <a:pt x="732" y="1948"/>
                    </a:lnTo>
                    <a:lnTo>
                      <a:pt x="727" y="1937"/>
                    </a:lnTo>
                    <a:lnTo>
                      <a:pt x="721" y="1926"/>
                    </a:lnTo>
                    <a:lnTo>
                      <a:pt x="719" y="1920"/>
                    </a:lnTo>
                    <a:lnTo>
                      <a:pt x="718" y="1913"/>
                    </a:lnTo>
                    <a:lnTo>
                      <a:pt x="717" y="1907"/>
                    </a:lnTo>
                    <a:lnTo>
                      <a:pt x="716" y="1900"/>
                    </a:lnTo>
                    <a:lnTo>
                      <a:pt x="717" y="1894"/>
                    </a:lnTo>
                    <a:lnTo>
                      <a:pt x="719" y="1889"/>
                    </a:lnTo>
                    <a:lnTo>
                      <a:pt x="722" y="1884"/>
                    </a:lnTo>
                    <a:lnTo>
                      <a:pt x="726" y="1879"/>
                    </a:lnTo>
                    <a:lnTo>
                      <a:pt x="730" y="1875"/>
                    </a:lnTo>
                    <a:lnTo>
                      <a:pt x="733" y="1871"/>
                    </a:lnTo>
                    <a:lnTo>
                      <a:pt x="735" y="1866"/>
                    </a:lnTo>
                    <a:lnTo>
                      <a:pt x="736" y="1860"/>
                    </a:lnTo>
                    <a:lnTo>
                      <a:pt x="735" y="1835"/>
                    </a:lnTo>
                    <a:lnTo>
                      <a:pt x="733" y="1812"/>
                    </a:lnTo>
                    <a:lnTo>
                      <a:pt x="730" y="1790"/>
                    </a:lnTo>
                    <a:lnTo>
                      <a:pt x="725" y="1770"/>
                    </a:lnTo>
                    <a:lnTo>
                      <a:pt x="719" y="1749"/>
                    </a:lnTo>
                    <a:lnTo>
                      <a:pt x="713" y="1730"/>
                    </a:lnTo>
                    <a:lnTo>
                      <a:pt x="706" y="1711"/>
                    </a:lnTo>
                    <a:lnTo>
                      <a:pt x="699" y="1692"/>
                    </a:lnTo>
                    <a:lnTo>
                      <a:pt x="682" y="1655"/>
                    </a:lnTo>
                    <a:lnTo>
                      <a:pt x="666" y="1616"/>
                    </a:lnTo>
                    <a:lnTo>
                      <a:pt x="658" y="1596"/>
                    </a:lnTo>
                    <a:lnTo>
                      <a:pt x="649" y="1575"/>
                    </a:lnTo>
                    <a:lnTo>
                      <a:pt x="641" y="1553"/>
                    </a:lnTo>
                    <a:lnTo>
                      <a:pt x="634" y="1529"/>
                    </a:lnTo>
                    <a:lnTo>
                      <a:pt x="632" y="1523"/>
                    </a:lnTo>
                    <a:lnTo>
                      <a:pt x="630" y="1518"/>
                    </a:lnTo>
                    <a:lnTo>
                      <a:pt x="628" y="1514"/>
                    </a:lnTo>
                    <a:lnTo>
                      <a:pt x="625" y="1510"/>
                    </a:lnTo>
                    <a:lnTo>
                      <a:pt x="617" y="1502"/>
                    </a:lnTo>
                    <a:lnTo>
                      <a:pt x="609" y="1496"/>
                    </a:lnTo>
                    <a:lnTo>
                      <a:pt x="600" y="1492"/>
                    </a:lnTo>
                    <a:lnTo>
                      <a:pt x="589" y="1489"/>
                    </a:lnTo>
                    <a:lnTo>
                      <a:pt x="578" y="1487"/>
                    </a:lnTo>
                    <a:lnTo>
                      <a:pt x="567" y="1485"/>
                    </a:lnTo>
                    <a:lnTo>
                      <a:pt x="543" y="1482"/>
                    </a:lnTo>
                    <a:lnTo>
                      <a:pt x="519" y="1478"/>
                    </a:lnTo>
                    <a:lnTo>
                      <a:pt x="508" y="1473"/>
                    </a:lnTo>
                    <a:lnTo>
                      <a:pt x="497" y="1469"/>
                    </a:lnTo>
                    <a:lnTo>
                      <a:pt x="486" y="1463"/>
                    </a:lnTo>
                    <a:lnTo>
                      <a:pt x="476" y="1456"/>
                    </a:lnTo>
                    <a:lnTo>
                      <a:pt x="471" y="1451"/>
                    </a:lnTo>
                    <a:lnTo>
                      <a:pt x="466" y="1445"/>
                    </a:lnTo>
                    <a:lnTo>
                      <a:pt x="462" y="1438"/>
                    </a:lnTo>
                    <a:lnTo>
                      <a:pt x="458" y="1432"/>
                    </a:lnTo>
                    <a:lnTo>
                      <a:pt x="455" y="1426"/>
                    </a:lnTo>
                    <a:lnTo>
                      <a:pt x="453" y="1419"/>
                    </a:lnTo>
                    <a:lnTo>
                      <a:pt x="452" y="1413"/>
                    </a:lnTo>
                    <a:lnTo>
                      <a:pt x="451" y="1405"/>
                    </a:lnTo>
                    <a:lnTo>
                      <a:pt x="451" y="1375"/>
                    </a:lnTo>
                    <a:lnTo>
                      <a:pt x="452" y="1342"/>
                    </a:lnTo>
                    <a:lnTo>
                      <a:pt x="452" y="1334"/>
                    </a:lnTo>
                    <a:lnTo>
                      <a:pt x="452" y="1325"/>
                    </a:lnTo>
                    <a:lnTo>
                      <a:pt x="451" y="1315"/>
                    </a:lnTo>
                    <a:lnTo>
                      <a:pt x="449" y="1307"/>
                    </a:lnTo>
                    <a:lnTo>
                      <a:pt x="447" y="1300"/>
                    </a:lnTo>
                    <a:lnTo>
                      <a:pt x="443" y="1294"/>
                    </a:lnTo>
                    <a:lnTo>
                      <a:pt x="440" y="1292"/>
                    </a:lnTo>
                    <a:lnTo>
                      <a:pt x="437" y="1290"/>
                    </a:lnTo>
                    <a:lnTo>
                      <a:pt x="433" y="1289"/>
                    </a:lnTo>
                    <a:lnTo>
                      <a:pt x="429" y="1289"/>
                    </a:lnTo>
                    <a:lnTo>
                      <a:pt x="419" y="1289"/>
                    </a:lnTo>
                    <a:lnTo>
                      <a:pt x="410" y="1292"/>
                    </a:lnTo>
                    <a:lnTo>
                      <a:pt x="401" y="1295"/>
                    </a:lnTo>
                    <a:lnTo>
                      <a:pt x="394" y="1299"/>
                    </a:lnTo>
                    <a:lnTo>
                      <a:pt x="379" y="1310"/>
                    </a:lnTo>
                    <a:lnTo>
                      <a:pt x="366" y="1323"/>
                    </a:lnTo>
                    <a:lnTo>
                      <a:pt x="352" y="1335"/>
                    </a:lnTo>
                    <a:lnTo>
                      <a:pt x="338" y="1346"/>
                    </a:lnTo>
                    <a:lnTo>
                      <a:pt x="330" y="1351"/>
                    </a:lnTo>
                    <a:lnTo>
                      <a:pt x="321" y="1354"/>
                    </a:lnTo>
                    <a:lnTo>
                      <a:pt x="312" y="1356"/>
                    </a:lnTo>
                    <a:lnTo>
                      <a:pt x="302" y="1357"/>
                    </a:lnTo>
                    <a:lnTo>
                      <a:pt x="296" y="1357"/>
                    </a:lnTo>
                    <a:lnTo>
                      <a:pt x="289" y="1356"/>
                    </a:lnTo>
                    <a:lnTo>
                      <a:pt x="284" y="1354"/>
                    </a:lnTo>
                    <a:lnTo>
                      <a:pt x="279" y="1352"/>
                    </a:lnTo>
                    <a:lnTo>
                      <a:pt x="270" y="1346"/>
                    </a:lnTo>
                    <a:lnTo>
                      <a:pt x="262" y="1339"/>
                    </a:lnTo>
                    <a:lnTo>
                      <a:pt x="246" y="1321"/>
                    </a:lnTo>
                    <a:lnTo>
                      <a:pt x="231" y="1300"/>
                    </a:lnTo>
                    <a:lnTo>
                      <a:pt x="223" y="1293"/>
                    </a:lnTo>
                    <a:lnTo>
                      <a:pt x="215" y="1286"/>
                    </a:lnTo>
                    <a:lnTo>
                      <a:pt x="207" y="1280"/>
                    </a:lnTo>
                    <a:lnTo>
                      <a:pt x="198" y="1275"/>
                    </a:lnTo>
                    <a:lnTo>
                      <a:pt x="189" y="1270"/>
                    </a:lnTo>
                    <a:lnTo>
                      <a:pt x="183" y="1264"/>
                    </a:lnTo>
                    <a:lnTo>
                      <a:pt x="180" y="1260"/>
                    </a:lnTo>
                    <a:lnTo>
                      <a:pt x="178" y="1256"/>
                    </a:lnTo>
                    <a:lnTo>
                      <a:pt x="176" y="1251"/>
                    </a:lnTo>
                    <a:lnTo>
                      <a:pt x="175" y="1246"/>
                    </a:lnTo>
                    <a:lnTo>
                      <a:pt x="198" y="1151"/>
                    </a:lnTo>
                    <a:lnTo>
                      <a:pt x="188" y="1144"/>
                    </a:lnTo>
                    <a:lnTo>
                      <a:pt x="178" y="1138"/>
                    </a:lnTo>
                    <a:lnTo>
                      <a:pt x="169" y="1133"/>
                    </a:lnTo>
                    <a:lnTo>
                      <a:pt x="158" y="1130"/>
                    </a:lnTo>
                    <a:lnTo>
                      <a:pt x="137" y="1124"/>
                    </a:lnTo>
                    <a:lnTo>
                      <a:pt x="116" y="1122"/>
                    </a:lnTo>
                    <a:lnTo>
                      <a:pt x="94" y="1119"/>
                    </a:lnTo>
                    <a:lnTo>
                      <a:pt x="74" y="1115"/>
                    </a:lnTo>
                    <a:lnTo>
                      <a:pt x="65" y="1111"/>
                    </a:lnTo>
                    <a:lnTo>
                      <a:pt x="54" y="1106"/>
                    </a:lnTo>
                    <a:lnTo>
                      <a:pt x="45" y="1101"/>
                    </a:lnTo>
                    <a:lnTo>
                      <a:pt x="36" y="1092"/>
                    </a:lnTo>
                    <a:lnTo>
                      <a:pt x="31" y="1087"/>
                    </a:lnTo>
                    <a:lnTo>
                      <a:pt x="26" y="1083"/>
                    </a:lnTo>
                    <a:lnTo>
                      <a:pt x="23" y="1078"/>
                    </a:lnTo>
                    <a:lnTo>
                      <a:pt x="20" y="1073"/>
                    </a:lnTo>
                    <a:lnTo>
                      <a:pt x="16" y="1061"/>
                    </a:lnTo>
                    <a:lnTo>
                      <a:pt x="12" y="1050"/>
                    </a:lnTo>
                    <a:lnTo>
                      <a:pt x="8" y="1026"/>
                    </a:lnTo>
                    <a:lnTo>
                      <a:pt x="3" y="1000"/>
                    </a:lnTo>
                    <a:lnTo>
                      <a:pt x="3" y="1000"/>
                    </a:lnTo>
                    <a:lnTo>
                      <a:pt x="0" y="807"/>
                    </a:lnTo>
                    <a:lnTo>
                      <a:pt x="1" y="791"/>
                    </a:lnTo>
                    <a:lnTo>
                      <a:pt x="2" y="774"/>
                    </a:lnTo>
                    <a:lnTo>
                      <a:pt x="3" y="760"/>
                    </a:lnTo>
                    <a:lnTo>
                      <a:pt x="6" y="744"/>
                    </a:lnTo>
                    <a:lnTo>
                      <a:pt x="9" y="731"/>
                    </a:lnTo>
                    <a:lnTo>
                      <a:pt x="13" y="717"/>
                    </a:lnTo>
                    <a:lnTo>
                      <a:pt x="17" y="704"/>
                    </a:lnTo>
                    <a:lnTo>
                      <a:pt x="23" y="691"/>
                    </a:lnTo>
                    <a:lnTo>
                      <a:pt x="29" y="678"/>
                    </a:lnTo>
                    <a:lnTo>
                      <a:pt x="37" y="666"/>
                    </a:lnTo>
                    <a:lnTo>
                      <a:pt x="44" y="654"/>
                    </a:lnTo>
                    <a:lnTo>
                      <a:pt x="52" y="642"/>
                    </a:lnTo>
                    <a:lnTo>
                      <a:pt x="61" y="630"/>
                    </a:lnTo>
                    <a:lnTo>
                      <a:pt x="72" y="618"/>
                    </a:lnTo>
                    <a:lnTo>
                      <a:pt x="83" y="606"/>
                    </a:lnTo>
                    <a:lnTo>
                      <a:pt x="94" y="595"/>
                    </a:lnTo>
                    <a:lnTo>
                      <a:pt x="105" y="582"/>
                    </a:lnTo>
                    <a:lnTo>
                      <a:pt x="114" y="569"/>
                    </a:lnTo>
                    <a:lnTo>
                      <a:pt x="122" y="555"/>
                    </a:lnTo>
                    <a:lnTo>
                      <a:pt x="131" y="544"/>
                    </a:lnTo>
                    <a:lnTo>
                      <a:pt x="136" y="538"/>
                    </a:lnTo>
                    <a:lnTo>
                      <a:pt x="140" y="533"/>
                    </a:lnTo>
                    <a:lnTo>
                      <a:pt x="145" y="529"/>
                    </a:lnTo>
                    <a:lnTo>
                      <a:pt x="150" y="524"/>
                    </a:lnTo>
                    <a:lnTo>
                      <a:pt x="156" y="521"/>
                    </a:lnTo>
                    <a:lnTo>
                      <a:pt x="163" y="518"/>
                    </a:lnTo>
                    <a:lnTo>
                      <a:pt x="170" y="517"/>
                    </a:lnTo>
                    <a:lnTo>
                      <a:pt x="177" y="516"/>
                    </a:lnTo>
                    <a:lnTo>
                      <a:pt x="223" y="516"/>
                    </a:lnTo>
                    <a:lnTo>
                      <a:pt x="232" y="516"/>
                    </a:lnTo>
                    <a:lnTo>
                      <a:pt x="239" y="514"/>
                    </a:lnTo>
                    <a:lnTo>
                      <a:pt x="247" y="512"/>
                    </a:lnTo>
                    <a:lnTo>
                      <a:pt x="255" y="512"/>
                    </a:lnTo>
                    <a:lnTo>
                      <a:pt x="383" y="512"/>
                    </a:lnTo>
                    <a:lnTo>
                      <a:pt x="397" y="511"/>
                    </a:lnTo>
                    <a:lnTo>
                      <a:pt x="409" y="509"/>
                    </a:lnTo>
                    <a:lnTo>
                      <a:pt x="419" y="507"/>
                    </a:lnTo>
                    <a:lnTo>
                      <a:pt x="431" y="503"/>
                    </a:lnTo>
                    <a:lnTo>
                      <a:pt x="450" y="495"/>
                    </a:lnTo>
                    <a:lnTo>
                      <a:pt x="470" y="484"/>
                    </a:lnTo>
                    <a:lnTo>
                      <a:pt x="489" y="475"/>
                    </a:lnTo>
                    <a:lnTo>
                      <a:pt x="509" y="466"/>
                    </a:lnTo>
                    <a:lnTo>
                      <a:pt x="520" y="462"/>
                    </a:lnTo>
                    <a:lnTo>
                      <a:pt x="532" y="459"/>
                    </a:lnTo>
                    <a:lnTo>
                      <a:pt x="543" y="458"/>
                    </a:lnTo>
                    <a:lnTo>
                      <a:pt x="556" y="457"/>
                    </a:lnTo>
                    <a:lnTo>
                      <a:pt x="565" y="458"/>
                    </a:lnTo>
                    <a:lnTo>
                      <a:pt x="572" y="459"/>
                    </a:lnTo>
                    <a:lnTo>
                      <a:pt x="578" y="461"/>
                    </a:lnTo>
                    <a:lnTo>
                      <a:pt x="585" y="464"/>
                    </a:lnTo>
                    <a:lnTo>
                      <a:pt x="597" y="471"/>
                    </a:lnTo>
                    <a:lnTo>
                      <a:pt x="608" y="479"/>
                    </a:lnTo>
                    <a:lnTo>
                      <a:pt x="619" y="486"/>
                    </a:lnTo>
                    <a:lnTo>
                      <a:pt x="632" y="493"/>
                    </a:lnTo>
                    <a:lnTo>
                      <a:pt x="638" y="496"/>
                    </a:lnTo>
                    <a:lnTo>
                      <a:pt x="645" y="498"/>
                    </a:lnTo>
                    <a:lnTo>
                      <a:pt x="652" y="500"/>
                    </a:lnTo>
                    <a:lnTo>
                      <a:pt x="660" y="500"/>
                    </a:lnTo>
                    <a:lnTo>
                      <a:pt x="674" y="500"/>
                    </a:lnTo>
                    <a:lnTo>
                      <a:pt x="687" y="499"/>
                    </a:lnTo>
                    <a:lnTo>
                      <a:pt x="701" y="497"/>
                    </a:lnTo>
                    <a:lnTo>
                      <a:pt x="714" y="495"/>
                    </a:lnTo>
                    <a:lnTo>
                      <a:pt x="727" y="491"/>
                    </a:lnTo>
                    <a:lnTo>
                      <a:pt x="739" y="487"/>
                    </a:lnTo>
                    <a:lnTo>
                      <a:pt x="751" y="483"/>
                    </a:lnTo>
                    <a:lnTo>
                      <a:pt x="763" y="477"/>
                    </a:lnTo>
                    <a:lnTo>
                      <a:pt x="773" y="471"/>
                    </a:lnTo>
                    <a:lnTo>
                      <a:pt x="782" y="464"/>
                    </a:lnTo>
                    <a:lnTo>
                      <a:pt x="792" y="455"/>
                    </a:lnTo>
                    <a:lnTo>
                      <a:pt x="799" y="447"/>
                    </a:lnTo>
                    <a:lnTo>
                      <a:pt x="805" y="437"/>
                    </a:lnTo>
                    <a:lnTo>
                      <a:pt x="810" y="425"/>
                    </a:lnTo>
                    <a:lnTo>
                      <a:pt x="813" y="414"/>
                    </a:lnTo>
                    <a:lnTo>
                      <a:pt x="815" y="401"/>
                    </a:lnTo>
                    <a:lnTo>
                      <a:pt x="781" y="394"/>
                    </a:lnTo>
                    <a:lnTo>
                      <a:pt x="748" y="386"/>
                    </a:lnTo>
                    <a:lnTo>
                      <a:pt x="741" y="384"/>
                    </a:lnTo>
                    <a:lnTo>
                      <a:pt x="735" y="381"/>
                    </a:lnTo>
                    <a:lnTo>
                      <a:pt x="729" y="377"/>
                    </a:lnTo>
                    <a:lnTo>
                      <a:pt x="724" y="373"/>
                    </a:lnTo>
                    <a:lnTo>
                      <a:pt x="720" y="367"/>
                    </a:lnTo>
                    <a:lnTo>
                      <a:pt x="717" y="361"/>
                    </a:lnTo>
                    <a:lnTo>
                      <a:pt x="715" y="354"/>
                    </a:lnTo>
                    <a:lnTo>
                      <a:pt x="714" y="347"/>
                    </a:lnTo>
                    <a:lnTo>
                      <a:pt x="715" y="341"/>
                    </a:lnTo>
                    <a:lnTo>
                      <a:pt x="716" y="334"/>
                    </a:lnTo>
                    <a:lnTo>
                      <a:pt x="719" y="329"/>
                    </a:lnTo>
                    <a:lnTo>
                      <a:pt x="722" y="325"/>
                    </a:lnTo>
                    <a:lnTo>
                      <a:pt x="732" y="317"/>
                    </a:lnTo>
                    <a:lnTo>
                      <a:pt x="741" y="310"/>
                    </a:lnTo>
                    <a:lnTo>
                      <a:pt x="751" y="302"/>
                    </a:lnTo>
                    <a:lnTo>
                      <a:pt x="760" y="294"/>
                    </a:lnTo>
                    <a:lnTo>
                      <a:pt x="764" y="290"/>
                    </a:lnTo>
                    <a:lnTo>
                      <a:pt x="766" y="285"/>
                    </a:lnTo>
                    <a:lnTo>
                      <a:pt x="768" y="280"/>
                    </a:lnTo>
                    <a:lnTo>
                      <a:pt x="769" y="274"/>
                    </a:lnTo>
                    <a:lnTo>
                      <a:pt x="769" y="250"/>
                    </a:lnTo>
                    <a:lnTo>
                      <a:pt x="770" y="228"/>
                    </a:lnTo>
                    <a:lnTo>
                      <a:pt x="772" y="208"/>
                    </a:lnTo>
                    <a:lnTo>
                      <a:pt x="774" y="189"/>
                    </a:lnTo>
                    <a:lnTo>
                      <a:pt x="778" y="170"/>
                    </a:lnTo>
                    <a:lnTo>
                      <a:pt x="783" y="151"/>
                    </a:lnTo>
                    <a:lnTo>
                      <a:pt x="790" y="130"/>
                    </a:lnTo>
                    <a:lnTo>
                      <a:pt x="797" y="108"/>
                    </a:lnTo>
                    <a:lnTo>
                      <a:pt x="806" y="75"/>
                    </a:lnTo>
                    <a:lnTo>
                      <a:pt x="815" y="45"/>
                    </a:lnTo>
                    <a:lnTo>
                      <a:pt x="818" y="38"/>
                    </a:lnTo>
                    <a:lnTo>
                      <a:pt x="821" y="32"/>
                    </a:lnTo>
                    <a:lnTo>
                      <a:pt x="825" y="26"/>
                    </a:lnTo>
                    <a:lnTo>
                      <a:pt x="829" y="19"/>
                    </a:lnTo>
                    <a:lnTo>
                      <a:pt x="834" y="14"/>
                    </a:lnTo>
                    <a:lnTo>
                      <a:pt x="840" y="9"/>
                    </a:lnTo>
                    <a:lnTo>
                      <a:pt x="846" y="4"/>
                    </a:lnTo>
                    <a:lnTo>
                      <a:pt x="853" y="0"/>
                    </a:lnTo>
                    <a:lnTo>
                      <a:pt x="870" y="28"/>
                    </a:lnTo>
                    <a:lnTo>
                      <a:pt x="885" y="54"/>
                    </a:lnTo>
                    <a:lnTo>
                      <a:pt x="890" y="59"/>
                    </a:lnTo>
                    <a:lnTo>
                      <a:pt x="894" y="64"/>
                    </a:lnTo>
                    <a:lnTo>
                      <a:pt x="899" y="68"/>
                    </a:lnTo>
                    <a:lnTo>
                      <a:pt x="905" y="72"/>
                    </a:lnTo>
                    <a:lnTo>
                      <a:pt x="910" y="75"/>
                    </a:lnTo>
                    <a:lnTo>
                      <a:pt x="917" y="77"/>
                    </a:lnTo>
                    <a:lnTo>
                      <a:pt x="924" y="79"/>
                    </a:lnTo>
                    <a:lnTo>
                      <a:pt x="932" y="79"/>
                    </a:lnTo>
                    <a:lnTo>
                      <a:pt x="978" y="79"/>
                    </a:lnTo>
                    <a:lnTo>
                      <a:pt x="991" y="80"/>
                    </a:lnTo>
                    <a:lnTo>
                      <a:pt x="1002" y="82"/>
                    </a:lnTo>
                    <a:lnTo>
                      <a:pt x="1013" y="86"/>
                    </a:lnTo>
                    <a:lnTo>
                      <a:pt x="1024" y="90"/>
                    </a:lnTo>
                    <a:lnTo>
                      <a:pt x="1044" y="99"/>
                    </a:lnTo>
                    <a:lnTo>
                      <a:pt x="1068" y="108"/>
                    </a:lnTo>
                    <a:lnTo>
                      <a:pt x="1068" y="108"/>
                    </a:lnTo>
                    <a:close/>
                  </a:path>
                </a:pathLst>
              </a:custGeom>
              <a:solidFill>
                <a:srgbClr val="65AC1E">
                  <a:alpha val="54902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ru-RU" sz="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Cherkasy">
                <a:extLst>
                  <a:ext uri="{FF2B5EF4-FFF2-40B4-BE49-F238E27FC236}">
                    <a16:creationId xmlns:a16="http://schemas.microsoft.com/office/drawing/2014/main" id="{37415EAE-8070-40D3-B8A2-CB109AD3D0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0123" y="3018026"/>
                <a:ext cx="1362049" cy="1091408"/>
              </a:xfrm>
              <a:custGeom>
                <a:avLst/>
                <a:gdLst>
                  <a:gd name="T0" fmla="*/ 2209 w 2765"/>
                  <a:gd name="T1" fmla="*/ 110 h 2344"/>
                  <a:gd name="T2" fmla="*/ 2302 w 2765"/>
                  <a:gd name="T3" fmla="*/ 225 h 2344"/>
                  <a:gd name="T4" fmla="*/ 2349 w 2765"/>
                  <a:gd name="T5" fmla="*/ 381 h 2344"/>
                  <a:gd name="T6" fmla="*/ 2367 w 2765"/>
                  <a:gd name="T7" fmla="*/ 487 h 2344"/>
                  <a:gd name="T8" fmla="*/ 2461 w 2765"/>
                  <a:gd name="T9" fmla="*/ 611 h 2344"/>
                  <a:gd name="T10" fmla="*/ 2541 w 2765"/>
                  <a:gd name="T11" fmla="*/ 713 h 2344"/>
                  <a:gd name="T12" fmla="*/ 2578 w 2765"/>
                  <a:gd name="T13" fmla="*/ 931 h 2344"/>
                  <a:gd name="T14" fmla="*/ 2603 w 2765"/>
                  <a:gd name="T15" fmla="*/ 1028 h 2344"/>
                  <a:gd name="T16" fmla="*/ 2736 w 2765"/>
                  <a:gd name="T17" fmla="*/ 1197 h 2344"/>
                  <a:gd name="T18" fmla="*/ 2687 w 2765"/>
                  <a:gd name="T19" fmla="*/ 1329 h 2344"/>
                  <a:gd name="T20" fmla="*/ 2753 w 2765"/>
                  <a:gd name="T21" fmla="*/ 1453 h 2344"/>
                  <a:gd name="T22" fmla="*/ 2710 w 2765"/>
                  <a:gd name="T23" fmla="*/ 1609 h 2344"/>
                  <a:gd name="T24" fmla="*/ 2540 w 2765"/>
                  <a:gd name="T25" fmla="*/ 1677 h 2344"/>
                  <a:gd name="T26" fmla="*/ 2461 w 2765"/>
                  <a:gd name="T27" fmla="*/ 1634 h 2344"/>
                  <a:gd name="T28" fmla="*/ 2338 w 2765"/>
                  <a:gd name="T29" fmla="*/ 1516 h 2344"/>
                  <a:gd name="T30" fmla="*/ 2187 w 2765"/>
                  <a:gd name="T31" fmla="*/ 1619 h 2344"/>
                  <a:gd name="T32" fmla="*/ 2114 w 2765"/>
                  <a:gd name="T33" fmla="*/ 1704 h 2344"/>
                  <a:gd name="T34" fmla="*/ 1985 w 2765"/>
                  <a:gd name="T35" fmla="*/ 1764 h 2344"/>
                  <a:gd name="T36" fmla="*/ 1918 w 2765"/>
                  <a:gd name="T37" fmla="*/ 1740 h 2344"/>
                  <a:gd name="T38" fmla="*/ 1821 w 2765"/>
                  <a:gd name="T39" fmla="*/ 1687 h 2344"/>
                  <a:gd name="T40" fmla="*/ 1739 w 2765"/>
                  <a:gd name="T41" fmla="*/ 1686 h 2344"/>
                  <a:gd name="T42" fmla="*/ 1560 w 2765"/>
                  <a:gd name="T43" fmla="*/ 1847 h 2344"/>
                  <a:gd name="T44" fmla="*/ 1480 w 2765"/>
                  <a:gd name="T45" fmla="*/ 1977 h 2344"/>
                  <a:gd name="T46" fmla="*/ 1412 w 2765"/>
                  <a:gd name="T47" fmla="*/ 1944 h 2344"/>
                  <a:gd name="T48" fmla="*/ 1315 w 2765"/>
                  <a:gd name="T49" fmla="*/ 1938 h 2344"/>
                  <a:gd name="T50" fmla="*/ 1250 w 2765"/>
                  <a:gd name="T51" fmla="*/ 1973 h 2344"/>
                  <a:gd name="T52" fmla="*/ 1054 w 2765"/>
                  <a:gd name="T53" fmla="*/ 1917 h 2344"/>
                  <a:gd name="T54" fmla="*/ 950 w 2765"/>
                  <a:gd name="T55" fmla="*/ 1852 h 2344"/>
                  <a:gd name="T56" fmla="*/ 851 w 2765"/>
                  <a:gd name="T57" fmla="*/ 1962 h 2344"/>
                  <a:gd name="T58" fmla="*/ 832 w 2765"/>
                  <a:gd name="T59" fmla="*/ 2065 h 2344"/>
                  <a:gd name="T60" fmla="*/ 805 w 2765"/>
                  <a:gd name="T61" fmla="*/ 2170 h 2344"/>
                  <a:gd name="T62" fmla="*/ 671 w 2765"/>
                  <a:gd name="T63" fmla="*/ 2224 h 2344"/>
                  <a:gd name="T64" fmla="*/ 570 w 2765"/>
                  <a:gd name="T65" fmla="*/ 2248 h 2344"/>
                  <a:gd name="T66" fmla="*/ 474 w 2765"/>
                  <a:gd name="T67" fmla="*/ 2298 h 2344"/>
                  <a:gd name="T68" fmla="*/ 369 w 2765"/>
                  <a:gd name="T69" fmla="*/ 2328 h 2344"/>
                  <a:gd name="T70" fmla="*/ 311 w 2765"/>
                  <a:gd name="T71" fmla="*/ 2162 h 2344"/>
                  <a:gd name="T72" fmla="*/ 250 w 2765"/>
                  <a:gd name="T73" fmla="*/ 2044 h 2344"/>
                  <a:gd name="T74" fmla="*/ 195 w 2765"/>
                  <a:gd name="T75" fmla="*/ 1909 h 2344"/>
                  <a:gd name="T76" fmla="*/ 104 w 2765"/>
                  <a:gd name="T77" fmla="*/ 1756 h 2344"/>
                  <a:gd name="T78" fmla="*/ 10 w 2765"/>
                  <a:gd name="T79" fmla="*/ 1532 h 2344"/>
                  <a:gd name="T80" fmla="*/ 96 w 2765"/>
                  <a:gd name="T81" fmla="*/ 1488 h 2344"/>
                  <a:gd name="T82" fmla="*/ 145 w 2765"/>
                  <a:gd name="T83" fmla="*/ 1392 h 2344"/>
                  <a:gd name="T84" fmla="*/ 229 w 2765"/>
                  <a:gd name="T85" fmla="*/ 1385 h 2344"/>
                  <a:gd name="T86" fmla="*/ 332 w 2765"/>
                  <a:gd name="T87" fmla="*/ 1223 h 2344"/>
                  <a:gd name="T88" fmla="*/ 403 w 2765"/>
                  <a:gd name="T89" fmla="*/ 1235 h 2344"/>
                  <a:gd name="T90" fmla="*/ 497 w 2765"/>
                  <a:gd name="T91" fmla="*/ 1165 h 2344"/>
                  <a:gd name="T92" fmla="*/ 552 w 2765"/>
                  <a:gd name="T93" fmla="*/ 1255 h 2344"/>
                  <a:gd name="T94" fmla="*/ 618 w 2765"/>
                  <a:gd name="T95" fmla="*/ 1255 h 2344"/>
                  <a:gd name="T96" fmla="*/ 712 w 2765"/>
                  <a:gd name="T97" fmla="*/ 1259 h 2344"/>
                  <a:gd name="T98" fmla="*/ 770 w 2765"/>
                  <a:gd name="T99" fmla="*/ 1132 h 2344"/>
                  <a:gd name="T100" fmla="*/ 917 w 2765"/>
                  <a:gd name="T101" fmla="*/ 1147 h 2344"/>
                  <a:gd name="T102" fmla="*/ 1037 w 2765"/>
                  <a:gd name="T103" fmla="*/ 1160 h 2344"/>
                  <a:gd name="T104" fmla="*/ 1188 w 2765"/>
                  <a:gd name="T105" fmla="*/ 1027 h 2344"/>
                  <a:gd name="T106" fmla="*/ 1340 w 2765"/>
                  <a:gd name="T107" fmla="*/ 734 h 2344"/>
                  <a:gd name="T108" fmla="*/ 1362 w 2765"/>
                  <a:gd name="T109" fmla="*/ 633 h 2344"/>
                  <a:gd name="T110" fmla="*/ 1343 w 2765"/>
                  <a:gd name="T111" fmla="*/ 529 h 2344"/>
                  <a:gd name="T112" fmla="*/ 1442 w 2765"/>
                  <a:gd name="T113" fmla="*/ 447 h 2344"/>
                  <a:gd name="T114" fmla="*/ 1656 w 2765"/>
                  <a:gd name="T115" fmla="*/ 435 h 2344"/>
                  <a:gd name="T116" fmla="*/ 1759 w 2765"/>
                  <a:gd name="T117" fmla="*/ 470 h 2344"/>
                  <a:gd name="T118" fmla="*/ 1852 w 2765"/>
                  <a:gd name="T119" fmla="*/ 381 h 2344"/>
                  <a:gd name="T120" fmla="*/ 1951 w 2765"/>
                  <a:gd name="T121" fmla="*/ 240 h 2344"/>
                  <a:gd name="T122" fmla="*/ 1961 w 2765"/>
                  <a:gd name="T123" fmla="*/ 131 h 2344"/>
                  <a:gd name="T124" fmla="*/ 2016 w 2765"/>
                  <a:gd name="T125" fmla="*/ 27 h 2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65" h="2344">
                    <a:moveTo>
                      <a:pt x="2121" y="0"/>
                    </a:moveTo>
                    <a:lnTo>
                      <a:pt x="2133" y="12"/>
                    </a:lnTo>
                    <a:lnTo>
                      <a:pt x="2144" y="22"/>
                    </a:lnTo>
                    <a:lnTo>
                      <a:pt x="2155" y="30"/>
                    </a:lnTo>
                    <a:lnTo>
                      <a:pt x="2167" y="38"/>
                    </a:lnTo>
                    <a:lnTo>
                      <a:pt x="2177" y="47"/>
                    </a:lnTo>
                    <a:lnTo>
                      <a:pt x="2186" y="57"/>
                    </a:lnTo>
                    <a:lnTo>
                      <a:pt x="2191" y="62"/>
                    </a:lnTo>
                    <a:lnTo>
                      <a:pt x="2195" y="68"/>
                    </a:lnTo>
                    <a:lnTo>
                      <a:pt x="2199" y="76"/>
                    </a:lnTo>
                    <a:lnTo>
                      <a:pt x="2202" y="83"/>
                    </a:lnTo>
                    <a:lnTo>
                      <a:pt x="2209" y="110"/>
                    </a:lnTo>
                    <a:lnTo>
                      <a:pt x="2215" y="136"/>
                    </a:lnTo>
                    <a:lnTo>
                      <a:pt x="2218" y="148"/>
                    </a:lnTo>
                    <a:lnTo>
                      <a:pt x="2224" y="158"/>
                    </a:lnTo>
                    <a:lnTo>
                      <a:pt x="2229" y="162"/>
                    </a:lnTo>
                    <a:lnTo>
                      <a:pt x="2233" y="168"/>
                    </a:lnTo>
                    <a:lnTo>
                      <a:pt x="2238" y="171"/>
                    </a:lnTo>
                    <a:lnTo>
                      <a:pt x="2244" y="175"/>
                    </a:lnTo>
                    <a:lnTo>
                      <a:pt x="2260" y="183"/>
                    </a:lnTo>
                    <a:lnTo>
                      <a:pt x="2272" y="192"/>
                    </a:lnTo>
                    <a:lnTo>
                      <a:pt x="2283" y="203"/>
                    </a:lnTo>
                    <a:lnTo>
                      <a:pt x="2294" y="213"/>
                    </a:lnTo>
                    <a:lnTo>
                      <a:pt x="2302" y="225"/>
                    </a:lnTo>
                    <a:lnTo>
                      <a:pt x="2310" y="239"/>
                    </a:lnTo>
                    <a:lnTo>
                      <a:pt x="2317" y="253"/>
                    </a:lnTo>
                    <a:lnTo>
                      <a:pt x="2324" y="269"/>
                    </a:lnTo>
                    <a:lnTo>
                      <a:pt x="2335" y="287"/>
                    </a:lnTo>
                    <a:lnTo>
                      <a:pt x="2344" y="303"/>
                    </a:lnTo>
                    <a:lnTo>
                      <a:pt x="2348" y="311"/>
                    </a:lnTo>
                    <a:lnTo>
                      <a:pt x="2352" y="320"/>
                    </a:lnTo>
                    <a:lnTo>
                      <a:pt x="2354" y="330"/>
                    </a:lnTo>
                    <a:lnTo>
                      <a:pt x="2355" y="340"/>
                    </a:lnTo>
                    <a:lnTo>
                      <a:pt x="2354" y="354"/>
                    </a:lnTo>
                    <a:lnTo>
                      <a:pt x="2352" y="368"/>
                    </a:lnTo>
                    <a:lnTo>
                      <a:pt x="2349" y="381"/>
                    </a:lnTo>
                    <a:lnTo>
                      <a:pt x="2345" y="393"/>
                    </a:lnTo>
                    <a:lnTo>
                      <a:pt x="2342" y="405"/>
                    </a:lnTo>
                    <a:lnTo>
                      <a:pt x="2339" y="417"/>
                    </a:lnTo>
                    <a:lnTo>
                      <a:pt x="2337" y="431"/>
                    </a:lnTo>
                    <a:lnTo>
                      <a:pt x="2336" y="446"/>
                    </a:lnTo>
                    <a:lnTo>
                      <a:pt x="2337" y="450"/>
                    </a:lnTo>
                    <a:lnTo>
                      <a:pt x="2337" y="456"/>
                    </a:lnTo>
                    <a:lnTo>
                      <a:pt x="2339" y="460"/>
                    </a:lnTo>
                    <a:lnTo>
                      <a:pt x="2341" y="463"/>
                    </a:lnTo>
                    <a:lnTo>
                      <a:pt x="2345" y="470"/>
                    </a:lnTo>
                    <a:lnTo>
                      <a:pt x="2351" y="476"/>
                    </a:lnTo>
                    <a:lnTo>
                      <a:pt x="2367" y="487"/>
                    </a:lnTo>
                    <a:lnTo>
                      <a:pt x="2383" y="498"/>
                    </a:lnTo>
                    <a:lnTo>
                      <a:pt x="2397" y="508"/>
                    </a:lnTo>
                    <a:lnTo>
                      <a:pt x="2409" y="519"/>
                    </a:lnTo>
                    <a:lnTo>
                      <a:pt x="2420" y="528"/>
                    </a:lnTo>
                    <a:lnTo>
                      <a:pt x="2430" y="539"/>
                    </a:lnTo>
                    <a:lnTo>
                      <a:pt x="2439" y="550"/>
                    </a:lnTo>
                    <a:lnTo>
                      <a:pt x="2446" y="562"/>
                    </a:lnTo>
                    <a:lnTo>
                      <a:pt x="2449" y="569"/>
                    </a:lnTo>
                    <a:lnTo>
                      <a:pt x="2452" y="576"/>
                    </a:lnTo>
                    <a:lnTo>
                      <a:pt x="2454" y="584"/>
                    </a:lnTo>
                    <a:lnTo>
                      <a:pt x="2456" y="592"/>
                    </a:lnTo>
                    <a:lnTo>
                      <a:pt x="2461" y="611"/>
                    </a:lnTo>
                    <a:lnTo>
                      <a:pt x="2465" y="628"/>
                    </a:lnTo>
                    <a:lnTo>
                      <a:pt x="2470" y="645"/>
                    </a:lnTo>
                    <a:lnTo>
                      <a:pt x="2476" y="660"/>
                    </a:lnTo>
                    <a:lnTo>
                      <a:pt x="2479" y="667"/>
                    </a:lnTo>
                    <a:lnTo>
                      <a:pt x="2484" y="674"/>
                    </a:lnTo>
                    <a:lnTo>
                      <a:pt x="2488" y="680"/>
                    </a:lnTo>
                    <a:lnTo>
                      <a:pt x="2494" y="686"/>
                    </a:lnTo>
                    <a:lnTo>
                      <a:pt x="2500" y="692"/>
                    </a:lnTo>
                    <a:lnTo>
                      <a:pt x="2507" y="697"/>
                    </a:lnTo>
                    <a:lnTo>
                      <a:pt x="2514" y="701"/>
                    </a:lnTo>
                    <a:lnTo>
                      <a:pt x="2522" y="706"/>
                    </a:lnTo>
                    <a:lnTo>
                      <a:pt x="2541" y="713"/>
                    </a:lnTo>
                    <a:lnTo>
                      <a:pt x="2558" y="720"/>
                    </a:lnTo>
                    <a:lnTo>
                      <a:pt x="2565" y="723"/>
                    </a:lnTo>
                    <a:lnTo>
                      <a:pt x="2573" y="727"/>
                    </a:lnTo>
                    <a:lnTo>
                      <a:pt x="2580" y="732"/>
                    </a:lnTo>
                    <a:lnTo>
                      <a:pt x="2588" y="739"/>
                    </a:lnTo>
                    <a:lnTo>
                      <a:pt x="2588" y="786"/>
                    </a:lnTo>
                    <a:lnTo>
                      <a:pt x="2600" y="861"/>
                    </a:lnTo>
                    <a:lnTo>
                      <a:pt x="2598" y="878"/>
                    </a:lnTo>
                    <a:lnTo>
                      <a:pt x="2594" y="892"/>
                    </a:lnTo>
                    <a:lnTo>
                      <a:pt x="2588" y="905"/>
                    </a:lnTo>
                    <a:lnTo>
                      <a:pt x="2583" y="918"/>
                    </a:lnTo>
                    <a:lnTo>
                      <a:pt x="2578" y="931"/>
                    </a:lnTo>
                    <a:lnTo>
                      <a:pt x="2574" y="944"/>
                    </a:lnTo>
                    <a:lnTo>
                      <a:pt x="2572" y="951"/>
                    </a:lnTo>
                    <a:lnTo>
                      <a:pt x="2571" y="959"/>
                    </a:lnTo>
                    <a:lnTo>
                      <a:pt x="2570" y="967"/>
                    </a:lnTo>
                    <a:lnTo>
                      <a:pt x="2570" y="975"/>
                    </a:lnTo>
                    <a:lnTo>
                      <a:pt x="2570" y="981"/>
                    </a:lnTo>
                    <a:lnTo>
                      <a:pt x="2571" y="986"/>
                    </a:lnTo>
                    <a:lnTo>
                      <a:pt x="2572" y="992"/>
                    </a:lnTo>
                    <a:lnTo>
                      <a:pt x="2574" y="997"/>
                    </a:lnTo>
                    <a:lnTo>
                      <a:pt x="2579" y="1005"/>
                    </a:lnTo>
                    <a:lnTo>
                      <a:pt x="2586" y="1013"/>
                    </a:lnTo>
                    <a:lnTo>
                      <a:pt x="2603" y="1028"/>
                    </a:lnTo>
                    <a:lnTo>
                      <a:pt x="2621" y="1043"/>
                    </a:lnTo>
                    <a:lnTo>
                      <a:pt x="2662" y="1075"/>
                    </a:lnTo>
                    <a:lnTo>
                      <a:pt x="2699" y="1104"/>
                    </a:lnTo>
                    <a:lnTo>
                      <a:pt x="2707" y="1112"/>
                    </a:lnTo>
                    <a:lnTo>
                      <a:pt x="2714" y="1121"/>
                    </a:lnTo>
                    <a:lnTo>
                      <a:pt x="2720" y="1130"/>
                    </a:lnTo>
                    <a:lnTo>
                      <a:pt x="2727" y="1139"/>
                    </a:lnTo>
                    <a:lnTo>
                      <a:pt x="2731" y="1150"/>
                    </a:lnTo>
                    <a:lnTo>
                      <a:pt x="2734" y="1160"/>
                    </a:lnTo>
                    <a:lnTo>
                      <a:pt x="2736" y="1172"/>
                    </a:lnTo>
                    <a:lnTo>
                      <a:pt x="2737" y="1185"/>
                    </a:lnTo>
                    <a:lnTo>
                      <a:pt x="2736" y="1197"/>
                    </a:lnTo>
                    <a:lnTo>
                      <a:pt x="2735" y="1207"/>
                    </a:lnTo>
                    <a:lnTo>
                      <a:pt x="2733" y="1217"/>
                    </a:lnTo>
                    <a:lnTo>
                      <a:pt x="2730" y="1226"/>
                    </a:lnTo>
                    <a:lnTo>
                      <a:pt x="2724" y="1245"/>
                    </a:lnTo>
                    <a:lnTo>
                      <a:pt x="2715" y="1265"/>
                    </a:lnTo>
                    <a:lnTo>
                      <a:pt x="2715" y="1265"/>
                    </a:lnTo>
                    <a:lnTo>
                      <a:pt x="2706" y="1281"/>
                    </a:lnTo>
                    <a:lnTo>
                      <a:pt x="2697" y="1296"/>
                    </a:lnTo>
                    <a:lnTo>
                      <a:pt x="2693" y="1303"/>
                    </a:lnTo>
                    <a:lnTo>
                      <a:pt x="2690" y="1312"/>
                    </a:lnTo>
                    <a:lnTo>
                      <a:pt x="2689" y="1320"/>
                    </a:lnTo>
                    <a:lnTo>
                      <a:pt x="2687" y="1329"/>
                    </a:lnTo>
                    <a:lnTo>
                      <a:pt x="2689" y="1343"/>
                    </a:lnTo>
                    <a:lnTo>
                      <a:pt x="2691" y="1354"/>
                    </a:lnTo>
                    <a:lnTo>
                      <a:pt x="2695" y="1365"/>
                    </a:lnTo>
                    <a:lnTo>
                      <a:pt x="2700" y="1377"/>
                    </a:lnTo>
                    <a:lnTo>
                      <a:pt x="2705" y="1387"/>
                    </a:lnTo>
                    <a:lnTo>
                      <a:pt x="2712" y="1396"/>
                    </a:lnTo>
                    <a:lnTo>
                      <a:pt x="2719" y="1406"/>
                    </a:lnTo>
                    <a:lnTo>
                      <a:pt x="2727" y="1415"/>
                    </a:lnTo>
                    <a:lnTo>
                      <a:pt x="2734" y="1424"/>
                    </a:lnTo>
                    <a:lnTo>
                      <a:pt x="2740" y="1434"/>
                    </a:lnTo>
                    <a:lnTo>
                      <a:pt x="2747" y="1444"/>
                    </a:lnTo>
                    <a:lnTo>
                      <a:pt x="2753" y="1453"/>
                    </a:lnTo>
                    <a:lnTo>
                      <a:pt x="2758" y="1465"/>
                    </a:lnTo>
                    <a:lnTo>
                      <a:pt x="2762" y="1476"/>
                    </a:lnTo>
                    <a:lnTo>
                      <a:pt x="2764" y="1488"/>
                    </a:lnTo>
                    <a:lnTo>
                      <a:pt x="2765" y="1502"/>
                    </a:lnTo>
                    <a:lnTo>
                      <a:pt x="2764" y="1518"/>
                    </a:lnTo>
                    <a:lnTo>
                      <a:pt x="2762" y="1535"/>
                    </a:lnTo>
                    <a:lnTo>
                      <a:pt x="2757" y="1549"/>
                    </a:lnTo>
                    <a:lnTo>
                      <a:pt x="2750" y="1563"/>
                    </a:lnTo>
                    <a:lnTo>
                      <a:pt x="2742" y="1576"/>
                    </a:lnTo>
                    <a:lnTo>
                      <a:pt x="2733" y="1588"/>
                    </a:lnTo>
                    <a:lnTo>
                      <a:pt x="2722" y="1599"/>
                    </a:lnTo>
                    <a:lnTo>
                      <a:pt x="2710" y="1609"/>
                    </a:lnTo>
                    <a:lnTo>
                      <a:pt x="2697" y="1618"/>
                    </a:lnTo>
                    <a:lnTo>
                      <a:pt x="2683" y="1627"/>
                    </a:lnTo>
                    <a:lnTo>
                      <a:pt x="2668" y="1635"/>
                    </a:lnTo>
                    <a:lnTo>
                      <a:pt x="2652" y="1641"/>
                    </a:lnTo>
                    <a:lnTo>
                      <a:pt x="2637" y="1647"/>
                    </a:lnTo>
                    <a:lnTo>
                      <a:pt x="2620" y="1652"/>
                    </a:lnTo>
                    <a:lnTo>
                      <a:pt x="2603" y="1658"/>
                    </a:lnTo>
                    <a:lnTo>
                      <a:pt x="2586" y="1662"/>
                    </a:lnTo>
                    <a:lnTo>
                      <a:pt x="2573" y="1665"/>
                    </a:lnTo>
                    <a:lnTo>
                      <a:pt x="2562" y="1669"/>
                    </a:lnTo>
                    <a:lnTo>
                      <a:pt x="2550" y="1673"/>
                    </a:lnTo>
                    <a:lnTo>
                      <a:pt x="2540" y="1677"/>
                    </a:lnTo>
                    <a:lnTo>
                      <a:pt x="2530" y="1681"/>
                    </a:lnTo>
                    <a:lnTo>
                      <a:pt x="2519" y="1685"/>
                    </a:lnTo>
                    <a:lnTo>
                      <a:pt x="2507" y="1687"/>
                    </a:lnTo>
                    <a:lnTo>
                      <a:pt x="2494" y="1688"/>
                    </a:lnTo>
                    <a:lnTo>
                      <a:pt x="2489" y="1688"/>
                    </a:lnTo>
                    <a:lnTo>
                      <a:pt x="2485" y="1687"/>
                    </a:lnTo>
                    <a:lnTo>
                      <a:pt x="2482" y="1685"/>
                    </a:lnTo>
                    <a:lnTo>
                      <a:pt x="2479" y="1682"/>
                    </a:lnTo>
                    <a:lnTo>
                      <a:pt x="2475" y="1677"/>
                    </a:lnTo>
                    <a:lnTo>
                      <a:pt x="2471" y="1669"/>
                    </a:lnTo>
                    <a:lnTo>
                      <a:pt x="2466" y="1651"/>
                    </a:lnTo>
                    <a:lnTo>
                      <a:pt x="2461" y="1634"/>
                    </a:lnTo>
                    <a:lnTo>
                      <a:pt x="2456" y="1623"/>
                    </a:lnTo>
                    <a:lnTo>
                      <a:pt x="2451" y="1612"/>
                    </a:lnTo>
                    <a:lnTo>
                      <a:pt x="2444" y="1604"/>
                    </a:lnTo>
                    <a:lnTo>
                      <a:pt x="2437" y="1597"/>
                    </a:lnTo>
                    <a:lnTo>
                      <a:pt x="2421" y="1582"/>
                    </a:lnTo>
                    <a:lnTo>
                      <a:pt x="2405" y="1565"/>
                    </a:lnTo>
                    <a:lnTo>
                      <a:pt x="2397" y="1556"/>
                    </a:lnTo>
                    <a:lnTo>
                      <a:pt x="2388" y="1548"/>
                    </a:lnTo>
                    <a:lnTo>
                      <a:pt x="2380" y="1542"/>
                    </a:lnTo>
                    <a:lnTo>
                      <a:pt x="2372" y="1536"/>
                    </a:lnTo>
                    <a:lnTo>
                      <a:pt x="2355" y="1525"/>
                    </a:lnTo>
                    <a:lnTo>
                      <a:pt x="2338" y="1516"/>
                    </a:lnTo>
                    <a:lnTo>
                      <a:pt x="2320" y="1508"/>
                    </a:lnTo>
                    <a:lnTo>
                      <a:pt x="2302" y="1500"/>
                    </a:lnTo>
                    <a:lnTo>
                      <a:pt x="2283" y="1489"/>
                    </a:lnTo>
                    <a:lnTo>
                      <a:pt x="2263" y="1478"/>
                    </a:lnTo>
                    <a:lnTo>
                      <a:pt x="2248" y="1495"/>
                    </a:lnTo>
                    <a:lnTo>
                      <a:pt x="2236" y="1511"/>
                    </a:lnTo>
                    <a:lnTo>
                      <a:pt x="2227" y="1528"/>
                    </a:lnTo>
                    <a:lnTo>
                      <a:pt x="2217" y="1544"/>
                    </a:lnTo>
                    <a:lnTo>
                      <a:pt x="2210" y="1561"/>
                    </a:lnTo>
                    <a:lnTo>
                      <a:pt x="2203" y="1579"/>
                    </a:lnTo>
                    <a:lnTo>
                      <a:pt x="2196" y="1598"/>
                    </a:lnTo>
                    <a:lnTo>
                      <a:pt x="2187" y="1619"/>
                    </a:lnTo>
                    <a:lnTo>
                      <a:pt x="2182" y="1642"/>
                    </a:lnTo>
                    <a:lnTo>
                      <a:pt x="2178" y="1664"/>
                    </a:lnTo>
                    <a:lnTo>
                      <a:pt x="2175" y="1674"/>
                    </a:lnTo>
                    <a:lnTo>
                      <a:pt x="2171" y="1682"/>
                    </a:lnTo>
                    <a:lnTo>
                      <a:pt x="2168" y="1687"/>
                    </a:lnTo>
                    <a:lnTo>
                      <a:pt x="2164" y="1690"/>
                    </a:lnTo>
                    <a:lnTo>
                      <a:pt x="2159" y="1693"/>
                    </a:lnTo>
                    <a:lnTo>
                      <a:pt x="2154" y="1695"/>
                    </a:lnTo>
                    <a:lnTo>
                      <a:pt x="2144" y="1698"/>
                    </a:lnTo>
                    <a:lnTo>
                      <a:pt x="2134" y="1701"/>
                    </a:lnTo>
                    <a:lnTo>
                      <a:pt x="2124" y="1703"/>
                    </a:lnTo>
                    <a:lnTo>
                      <a:pt x="2114" y="1704"/>
                    </a:lnTo>
                    <a:lnTo>
                      <a:pt x="2095" y="1706"/>
                    </a:lnTo>
                    <a:lnTo>
                      <a:pt x="2076" y="1707"/>
                    </a:lnTo>
                    <a:lnTo>
                      <a:pt x="2058" y="1709"/>
                    </a:lnTo>
                    <a:lnTo>
                      <a:pt x="2041" y="1713"/>
                    </a:lnTo>
                    <a:lnTo>
                      <a:pt x="2032" y="1717"/>
                    </a:lnTo>
                    <a:lnTo>
                      <a:pt x="2023" y="1721"/>
                    </a:lnTo>
                    <a:lnTo>
                      <a:pt x="2014" y="1726"/>
                    </a:lnTo>
                    <a:lnTo>
                      <a:pt x="2006" y="1733"/>
                    </a:lnTo>
                    <a:lnTo>
                      <a:pt x="1999" y="1740"/>
                    </a:lnTo>
                    <a:lnTo>
                      <a:pt x="1992" y="1748"/>
                    </a:lnTo>
                    <a:lnTo>
                      <a:pt x="1988" y="1756"/>
                    </a:lnTo>
                    <a:lnTo>
                      <a:pt x="1985" y="1764"/>
                    </a:lnTo>
                    <a:lnTo>
                      <a:pt x="1979" y="1782"/>
                    </a:lnTo>
                    <a:lnTo>
                      <a:pt x="1971" y="1801"/>
                    </a:lnTo>
                    <a:lnTo>
                      <a:pt x="1965" y="1798"/>
                    </a:lnTo>
                    <a:lnTo>
                      <a:pt x="1960" y="1795"/>
                    </a:lnTo>
                    <a:lnTo>
                      <a:pt x="1955" y="1791"/>
                    </a:lnTo>
                    <a:lnTo>
                      <a:pt x="1952" y="1787"/>
                    </a:lnTo>
                    <a:lnTo>
                      <a:pt x="1945" y="1777"/>
                    </a:lnTo>
                    <a:lnTo>
                      <a:pt x="1939" y="1767"/>
                    </a:lnTo>
                    <a:lnTo>
                      <a:pt x="1934" y="1758"/>
                    </a:lnTo>
                    <a:lnTo>
                      <a:pt x="1926" y="1749"/>
                    </a:lnTo>
                    <a:lnTo>
                      <a:pt x="1922" y="1744"/>
                    </a:lnTo>
                    <a:lnTo>
                      <a:pt x="1918" y="1740"/>
                    </a:lnTo>
                    <a:lnTo>
                      <a:pt x="1913" y="1737"/>
                    </a:lnTo>
                    <a:lnTo>
                      <a:pt x="1907" y="1735"/>
                    </a:lnTo>
                    <a:lnTo>
                      <a:pt x="1890" y="1731"/>
                    </a:lnTo>
                    <a:lnTo>
                      <a:pt x="1875" y="1729"/>
                    </a:lnTo>
                    <a:lnTo>
                      <a:pt x="1868" y="1727"/>
                    </a:lnTo>
                    <a:lnTo>
                      <a:pt x="1860" y="1725"/>
                    </a:lnTo>
                    <a:lnTo>
                      <a:pt x="1853" y="1721"/>
                    </a:lnTo>
                    <a:lnTo>
                      <a:pt x="1846" y="1717"/>
                    </a:lnTo>
                    <a:lnTo>
                      <a:pt x="1839" y="1709"/>
                    </a:lnTo>
                    <a:lnTo>
                      <a:pt x="1832" y="1701"/>
                    </a:lnTo>
                    <a:lnTo>
                      <a:pt x="1826" y="1694"/>
                    </a:lnTo>
                    <a:lnTo>
                      <a:pt x="1821" y="1687"/>
                    </a:lnTo>
                    <a:lnTo>
                      <a:pt x="1815" y="1679"/>
                    </a:lnTo>
                    <a:lnTo>
                      <a:pt x="1809" y="1674"/>
                    </a:lnTo>
                    <a:lnTo>
                      <a:pt x="1805" y="1672"/>
                    </a:lnTo>
                    <a:lnTo>
                      <a:pt x="1801" y="1670"/>
                    </a:lnTo>
                    <a:lnTo>
                      <a:pt x="1796" y="1669"/>
                    </a:lnTo>
                    <a:lnTo>
                      <a:pt x="1791" y="1669"/>
                    </a:lnTo>
                    <a:lnTo>
                      <a:pt x="1783" y="1669"/>
                    </a:lnTo>
                    <a:lnTo>
                      <a:pt x="1776" y="1670"/>
                    </a:lnTo>
                    <a:lnTo>
                      <a:pt x="1769" y="1671"/>
                    </a:lnTo>
                    <a:lnTo>
                      <a:pt x="1762" y="1673"/>
                    </a:lnTo>
                    <a:lnTo>
                      <a:pt x="1750" y="1678"/>
                    </a:lnTo>
                    <a:lnTo>
                      <a:pt x="1739" y="1686"/>
                    </a:lnTo>
                    <a:lnTo>
                      <a:pt x="1728" y="1694"/>
                    </a:lnTo>
                    <a:lnTo>
                      <a:pt x="1719" y="1703"/>
                    </a:lnTo>
                    <a:lnTo>
                      <a:pt x="1710" y="1713"/>
                    </a:lnTo>
                    <a:lnTo>
                      <a:pt x="1702" y="1725"/>
                    </a:lnTo>
                    <a:lnTo>
                      <a:pt x="1685" y="1749"/>
                    </a:lnTo>
                    <a:lnTo>
                      <a:pt x="1668" y="1773"/>
                    </a:lnTo>
                    <a:lnTo>
                      <a:pt x="1657" y="1785"/>
                    </a:lnTo>
                    <a:lnTo>
                      <a:pt x="1647" y="1796"/>
                    </a:lnTo>
                    <a:lnTo>
                      <a:pt x="1635" y="1806"/>
                    </a:lnTo>
                    <a:lnTo>
                      <a:pt x="1622" y="1816"/>
                    </a:lnTo>
                    <a:lnTo>
                      <a:pt x="1590" y="1832"/>
                    </a:lnTo>
                    <a:lnTo>
                      <a:pt x="1560" y="1847"/>
                    </a:lnTo>
                    <a:lnTo>
                      <a:pt x="1547" y="1856"/>
                    </a:lnTo>
                    <a:lnTo>
                      <a:pt x="1535" y="1865"/>
                    </a:lnTo>
                    <a:lnTo>
                      <a:pt x="1528" y="1871"/>
                    </a:lnTo>
                    <a:lnTo>
                      <a:pt x="1523" y="1878"/>
                    </a:lnTo>
                    <a:lnTo>
                      <a:pt x="1518" y="1885"/>
                    </a:lnTo>
                    <a:lnTo>
                      <a:pt x="1513" y="1893"/>
                    </a:lnTo>
                    <a:lnTo>
                      <a:pt x="1506" y="1909"/>
                    </a:lnTo>
                    <a:lnTo>
                      <a:pt x="1499" y="1923"/>
                    </a:lnTo>
                    <a:lnTo>
                      <a:pt x="1493" y="1938"/>
                    </a:lnTo>
                    <a:lnTo>
                      <a:pt x="1487" y="1954"/>
                    </a:lnTo>
                    <a:lnTo>
                      <a:pt x="1484" y="1965"/>
                    </a:lnTo>
                    <a:lnTo>
                      <a:pt x="1480" y="1977"/>
                    </a:lnTo>
                    <a:lnTo>
                      <a:pt x="1477" y="1981"/>
                    </a:lnTo>
                    <a:lnTo>
                      <a:pt x="1474" y="1984"/>
                    </a:lnTo>
                    <a:lnTo>
                      <a:pt x="1470" y="1987"/>
                    </a:lnTo>
                    <a:lnTo>
                      <a:pt x="1463" y="1987"/>
                    </a:lnTo>
                    <a:lnTo>
                      <a:pt x="1454" y="1987"/>
                    </a:lnTo>
                    <a:lnTo>
                      <a:pt x="1446" y="1984"/>
                    </a:lnTo>
                    <a:lnTo>
                      <a:pt x="1439" y="1980"/>
                    </a:lnTo>
                    <a:lnTo>
                      <a:pt x="1431" y="1975"/>
                    </a:lnTo>
                    <a:lnTo>
                      <a:pt x="1426" y="1967"/>
                    </a:lnTo>
                    <a:lnTo>
                      <a:pt x="1421" y="1960"/>
                    </a:lnTo>
                    <a:lnTo>
                      <a:pt x="1417" y="1952"/>
                    </a:lnTo>
                    <a:lnTo>
                      <a:pt x="1412" y="1944"/>
                    </a:lnTo>
                    <a:lnTo>
                      <a:pt x="1404" y="1926"/>
                    </a:lnTo>
                    <a:lnTo>
                      <a:pt x="1393" y="1910"/>
                    </a:lnTo>
                    <a:lnTo>
                      <a:pt x="1387" y="1902"/>
                    </a:lnTo>
                    <a:lnTo>
                      <a:pt x="1380" y="1895"/>
                    </a:lnTo>
                    <a:lnTo>
                      <a:pt x="1372" y="1890"/>
                    </a:lnTo>
                    <a:lnTo>
                      <a:pt x="1362" y="1886"/>
                    </a:lnTo>
                    <a:lnTo>
                      <a:pt x="1357" y="1894"/>
                    </a:lnTo>
                    <a:lnTo>
                      <a:pt x="1352" y="1901"/>
                    </a:lnTo>
                    <a:lnTo>
                      <a:pt x="1346" y="1908"/>
                    </a:lnTo>
                    <a:lnTo>
                      <a:pt x="1340" y="1913"/>
                    </a:lnTo>
                    <a:lnTo>
                      <a:pt x="1327" y="1924"/>
                    </a:lnTo>
                    <a:lnTo>
                      <a:pt x="1315" y="1938"/>
                    </a:lnTo>
                    <a:lnTo>
                      <a:pt x="1307" y="1952"/>
                    </a:lnTo>
                    <a:lnTo>
                      <a:pt x="1300" y="1967"/>
                    </a:lnTo>
                    <a:lnTo>
                      <a:pt x="1296" y="1974"/>
                    </a:lnTo>
                    <a:lnTo>
                      <a:pt x="1291" y="1979"/>
                    </a:lnTo>
                    <a:lnTo>
                      <a:pt x="1288" y="1980"/>
                    </a:lnTo>
                    <a:lnTo>
                      <a:pt x="1285" y="1982"/>
                    </a:lnTo>
                    <a:lnTo>
                      <a:pt x="1282" y="1983"/>
                    </a:lnTo>
                    <a:lnTo>
                      <a:pt x="1278" y="1983"/>
                    </a:lnTo>
                    <a:lnTo>
                      <a:pt x="1270" y="1982"/>
                    </a:lnTo>
                    <a:lnTo>
                      <a:pt x="1262" y="1980"/>
                    </a:lnTo>
                    <a:lnTo>
                      <a:pt x="1255" y="1977"/>
                    </a:lnTo>
                    <a:lnTo>
                      <a:pt x="1250" y="1973"/>
                    </a:lnTo>
                    <a:lnTo>
                      <a:pt x="1246" y="1967"/>
                    </a:lnTo>
                    <a:lnTo>
                      <a:pt x="1241" y="1961"/>
                    </a:lnTo>
                    <a:lnTo>
                      <a:pt x="1238" y="1954"/>
                    </a:lnTo>
                    <a:lnTo>
                      <a:pt x="1233" y="1947"/>
                    </a:lnTo>
                    <a:lnTo>
                      <a:pt x="1227" y="1931"/>
                    </a:lnTo>
                    <a:lnTo>
                      <a:pt x="1219" y="1916"/>
                    </a:lnTo>
                    <a:lnTo>
                      <a:pt x="1215" y="1909"/>
                    </a:lnTo>
                    <a:lnTo>
                      <a:pt x="1210" y="1901"/>
                    </a:lnTo>
                    <a:lnTo>
                      <a:pt x="1205" y="1894"/>
                    </a:lnTo>
                    <a:lnTo>
                      <a:pt x="1197" y="1888"/>
                    </a:lnTo>
                    <a:lnTo>
                      <a:pt x="1067" y="1919"/>
                    </a:lnTo>
                    <a:lnTo>
                      <a:pt x="1054" y="1917"/>
                    </a:lnTo>
                    <a:lnTo>
                      <a:pt x="1042" y="1915"/>
                    </a:lnTo>
                    <a:lnTo>
                      <a:pt x="1030" y="1913"/>
                    </a:lnTo>
                    <a:lnTo>
                      <a:pt x="1019" y="1910"/>
                    </a:lnTo>
                    <a:lnTo>
                      <a:pt x="1008" y="1905"/>
                    </a:lnTo>
                    <a:lnTo>
                      <a:pt x="997" y="1900"/>
                    </a:lnTo>
                    <a:lnTo>
                      <a:pt x="987" y="1894"/>
                    </a:lnTo>
                    <a:lnTo>
                      <a:pt x="976" y="1886"/>
                    </a:lnTo>
                    <a:lnTo>
                      <a:pt x="969" y="1880"/>
                    </a:lnTo>
                    <a:lnTo>
                      <a:pt x="963" y="1872"/>
                    </a:lnTo>
                    <a:lnTo>
                      <a:pt x="959" y="1866"/>
                    </a:lnTo>
                    <a:lnTo>
                      <a:pt x="955" y="1859"/>
                    </a:lnTo>
                    <a:lnTo>
                      <a:pt x="950" y="1852"/>
                    </a:lnTo>
                    <a:lnTo>
                      <a:pt x="945" y="1846"/>
                    </a:lnTo>
                    <a:lnTo>
                      <a:pt x="938" y="1840"/>
                    </a:lnTo>
                    <a:lnTo>
                      <a:pt x="931" y="1836"/>
                    </a:lnTo>
                    <a:lnTo>
                      <a:pt x="924" y="1850"/>
                    </a:lnTo>
                    <a:lnTo>
                      <a:pt x="916" y="1863"/>
                    </a:lnTo>
                    <a:lnTo>
                      <a:pt x="909" y="1876"/>
                    </a:lnTo>
                    <a:lnTo>
                      <a:pt x="900" y="1887"/>
                    </a:lnTo>
                    <a:lnTo>
                      <a:pt x="885" y="1909"/>
                    </a:lnTo>
                    <a:lnTo>
                      <a:pt x="869" y="1929"/>
                    </a:lnTo>
                    <a:lnTo>
                      <a:pt x="863" y="1941"/>
                    </a:lnTo>
                    <a:lnTo>
                      <a:pt x="857" y="1951"/>
                    </a:lnTo>
                    <a:lnTo>
                      <a:pt x="851" y="1962"/>
                    </a:lnTo>
                    <a:lnTo>
                      <a:pt x="846" y="1974"/>
                    </a:lnTo>
                    <a:lnTo>
                      <a:pt x="843" y="1986"/>
                    </a:lnTo>
                    <a:lnTo>
                      <a:pt x="839" y="1999"/>
                    </a:lnTo>
                    <a:lnTo>
                      <a:pt x="837" y="2014"/>
                    </a:lnTo>
                    <a:lnTo>
                      <a:pt x="836" y="2028"/>
                    </a:lnTo>
                    <a:lnTo>
                      <a:pt x="839" y="2039"/>
                    </a:lnTo>
                    <a:lnTo>
                      <a:pt x="842" y="2049"/>
                    </a:lnTo>
                    <a:lnTo>
                      <a:pt x="842" y="2052"/>
                    </a:lnTo>
                    <a:lnTo>
                      <a:pt x="841" y="2055"/>
                    </a:lnTo>
                    <a:lnTo>
                      <a:pt x="839" y="2058"/>
                    </a:lnTo>
                    <a:lnTo>
                      <a:pt x="837" y="2060"/>
                    </a:lnTo>
                    <a:lnTo>
                      <a:pt x="832" y="2065"/>
                    </a:lnTo>
                    <a:lnTo>
                      <a:pt x="826" y="2068"/>
                    </a:lnTo>
                    <a:lnTo>
                      <a:pt x="820" y="2071"/>
                    </a:lnTo>
                    <a:lnTo>
                      <a:pt x="812" y="2072"/>
                    </a:lnTo>
                    <a:lnTo>
                      <a:pt x="804" y="2073"/>
                    </a:lnTo>
                    <a:lnTo>
                      <a:pt x="796" y="2073"/>
                    </a:lnTo>
                    <a:lnTo>
                      <a:pt x="785" y="2073"/>
                    </a:lnTo>
                    <a:lnTo>
                      <a:pt x="773" y="2075"/>
                    </a:lnTo>
                    <a:lnTo>
                      <a:pt x="784" y="2104"/>
                    </a:lnTo>
                    <a:lnTo>
                      <a:pt x="795" y="2130"/>
                    </a:lnTo>
                    <a:lnTo>
                      <a:pt x="799" y="2142"/>
                    </a:lnTo>
                    <a:lnTo>
                      <a:pt x="803" y="2155"/>
                    </a:lnTo>
                    <a:lnTo>
                      <a:pt x="805" y="2170"/>
                    </a:lnTo>
                    <a:lnTo>
                      <a:pt x="806" y="2185"/>
                    </a:lnTo>
                    <a:lnTo>
                      <a:pt x="804" y="2192"/>
                    </a:lnTo>
                    <a:lnTo>
                      <a:pt x="801" y="2198"/>
                    </a:lnTo>
                    <a:lnTo>
                      <a:pt x="783" y="2198"/>
                    </a:lnTo>
                    <a:lnTo>
                      <a:pt x="693" y="2179"/>
                    </a:lnTo>
                    <a:lnTo>
                      <a:pt x="686" y="2180"/>
                    </a:lnTo>
                    <a:lnTo>
                      <a:pt x="679" y="2181"/>
                    </a:lnTo>
                    <a:lnTo>
                      <a:pt x="679" y="2195"/>
                    </a:lnTo>
                    <a:lnTo>
                      <a:pt x="679" y="2208"/>
                    </a:lnTo>
                    <a:lnTo>
                      <a:pt x="678" y="2213"/>
                    </a:lnTo>
                    <a:lnTo>
                      <a:pt x="676" y="2218"/>
                    </a:lnTo>
                    <a:lnTo>
                      <a:pt x="671" y="2224"/>
                    </a:lnTo>
                    <a:lnTo>
                      <a:pt x="667" y="2229"/>
                    </a:lnTo>
                    <a:lnTo>
                      <a:pt x="662" y="2232"/>
                    </a:lnTo>
                    <a:lnTo>
                      <a:pt x="657" y="2235"/>
                    </a:lnTo>
                    <a:lnTo>
                      <a:pt x="652" y="2237"/>
                    </a:lnTo>
                    <a:lnTo>
                      <a:pt x="646" y="2238"/>
                    </a:lnTo>
                    <a:lnTo>
                      <a:pt x="635" y="2240"/>
                    </a:lnTo>
                    <a:lnTo>
                      <a:pt x="624" y="2240"/>
                    </a:lnTo>
                    <a:lnTo>
                      <a:pt x="613" y="2240"/>
                    </a:lnTo>
                    <a:lnTo>
                      <a:pt x="601" y="2240"/>
                    </a:lnTo>
                    <a:lnTo>
                      <a:pt x="590" y="2241"/>
                    </a:lnTo>
                    <a:lnTo>
                      <a:pt x="578" y="2245"/>
                    </a:lnTo>
                    <a:lnTo>
                      <a:pt x="570" y="2248"/>
                    </a:lnTo>
                    <a:lnTo>
                      <a:pt x="563" y="2251"/>
                    </a:lnTo>
                    <a:lnTo>
                      <a:pt x="557" y="2256"/>
                    </a:lnTo>
                    <a:lnTo>
                      <a:pt x="552" y="2260"/>
                    </a:lnTo>
                    <a:lnTo>
                      <a:pt x="540" y="2269"/>
                    </a:lnTo>
                    <a:lnTo>
                      <a:pt x="530" y="2277"/>
                    </a:lnTo>
                    <a:lnTo>
                      <a:pt x="520" y="2286"/>
                    </a:lnTo>
                    <a:lnTo>
                      <a:pt x="508" y="2293"/>
                    </a:lnTo>
                    <a:lnTo>
                      <a:pt x="502" y="2296"/>
                    </a:lnTo>
                    <a:lnTo>
                      <a:pt x="496" y="2298"/>
                    </a:lnTo>
                    <a:lnTo>
                      <a:pt x="489" y="2299"/>
                    </a:lnTo>
                    <a:lnTo>
                      <a:pt x="481" y="2299"/>
                    </a:lnTo>
                    <a:lnTo>
                      <a:pt x="474" y="2298"/>
                    </a:lnTo>
                    <a:lnTo>
                      <a:pt x="468" y="2296"/>
                    </a:lnTo>
                    <a:lnTo>
                      <a:pt x="463" y="2293"/>
                    </a:lnTo>
                    <a:lnTo>
                      <a:pt x="459" y="2288"/>
                    </a:lnTo>
                    <a:lnTo>
                      <a:pt x="451" y="2278"/>
                    </a:lnTo>
                    <a:lnTo>
                      <a:pt x="440" y="2269"/>
                    </a:lnTo>
                    <a:lnTo>
                      <a:pt x="428" y="2291"/>
                    </a:lnTo>
                    <a:lnTo>
                      <a:pt x="416" y="2310"/>
                    </a:lnTo>
                    <a:lnTo>
                      <a:pt x="409" y="2319"/>
                    </a:lnTo>
                    <a:lnTo>
                      <a:pt x="402" y="2328"/>
                    </a:lnTo>
                    <a:lnTo>
                      <a:pt x="394" y="2336"/>
                    </a:lnTo>
                    <a:lnTo>
                      <a:pt x="384" y="2344"/>
                    </a:lnTo>
                    <a:lnTo>
                      <a:pt x="369" y="2328"/>
                    </a:lnTo>
                    <a:lnTo>
                      <a:pt x="356" y="2313"/>
                    </a:lnTo>
                    <a:lnTo>
                      <a:pt x="342" y="2298"/>
                    </a:lnTo>
                    <a:lnTo>
                      <a:pt x="330" y="2280"/>
                    </a:lnTo>
                    <a:lnTo>
                      <a:pt x="330" y="2280"/>
                    </a:lnTo>
                    <a:lnTo>
                      <a:pt x="325" y="2270"/>
                    </a:lnTo>
                    <a:lnTo>
                      <a:pt x="322" y="2260"/>
                    </a:lnTo>
                    <a:lnTo>
                      <a:pt x="319" y="2249"/>
                    </a:lnTo>
                    <a:lnTo>
                      <a:pt x="317" y="2239"/>
                    </a:lnTo>
                    <a:lnTo>
                      <a:pt x="315" y="2219"/>
                    </a:lnTo>
                    <a:lnTo>
                      <a:pt x="314" y="2200"/>
                    </a:lnTo>
                    <a:lnTo>
                      <a:pt x="313" y="2181"/>
                    </a:lnTo>
                    <a:lnTo>
                      <a:pt x="311" y="2162"/>
                    </a:lnTo>
                    <a:lnTo>
                      <a:pt x="309" y="2151"/>
                    </a:lnTo>
                    <a:lnTo>
                      <a:pt x="306" y="2141"/>
                    </a:lnTo>
                    <a:lnTo>
                      <a:pt x="303" y="2131"/>
                    </a:lnTo>
                    <a:lnTo>
                      <a:pt x="299" y="2119"/>
                    </a:lnTo>
                    <a:lnTo>
                      <a:pt x="294" y="2109"/>
                    </a:lnTo>
                    <a:lnTo>
                      <a:pt x="288" y="2100"/>
                    </a:lnTo>
                    <a:lnTo>
                      <a:pt x="281" y="2090"/>
                    </a:lnTo>
                    <a:lnTo>
                      <a:pt x="273" y="2082"/>
                    </a:lnTo>
                    <a:lnTo>
                      <a:pt x="267" y="2074"/>
                    </a:lnTo>
                    <a:lnTo>
                      <a:pt x="261" y="2066"/>
                    </a:lnTo>
                    <a:lnTo>
                      <a:pt x="255" y="2055"/>
                    </a:lnTo>
                    <a:lnTo>
                      <a:pt x="250" y="2044"/>
                    </a:lnTo>
                    <a:lnTo>
                      <a:pt x="245" y="2030"/>
                    </a:lnTo>
                    <a:lnTo>
                      <a:pt x="243" y="2017"/>
                    </a:lnTo>
                    <a:lnTo>
                      <a:pt x="241" y="2004"/>
                    </a:lnTo>
                    <a:lnTo>
                      <a:pt x="240" y="1991"/>
                    </a:lnTo>
                    <a:lnTo>
                      <a:pt x="239" y="1979"/>
                    </a:lnTo>
                    <a:lnTo>
                      <a:pt x="236" y="1966"/>
                    </a:lnTo>
                    <a:lnTo>
                      <a:pt x="234" y="1960"/>
                    </a:lnTo>
                    <a:lnTo>
                      <a:pt x="231" y="1955"/>
                    </a:lnTo>
                    <a:lnTo>
                      <a:pt x="228" y="1949"/>
                    </a:lnTo>
                    <a:lnTo>
                      <a:pt x="224" y="1943"/>
                    </a:lnTo>
                    <a:lnTo>
                      <a:pt x="209" y="1925"/>
                    </a:lnTo>
                    <a:lnTo>
                      <a:pt x="195" y="1909"/>
                    </a:lnTo>
                    <a:lnTo>
                      <a:pt x="181" y="1895"/>
                    </a:lnTo>
                    <a:lnTo>
                      <a:pt x="167" y="1881"/>
                    </a:lnTo>
                    <a:lnTo>
                      <a:pt x="154" y="1867"/>
                    </a:lnTo>
                    <a:lnTo>
                      <a:pt x="140" y="1852"/>
                    </a:lnTo>
                    <a:lnTo>
                      <a:pt x="128" y="1835"/>
                    </a:lnTo>
                    <a:lnTo>
                      <a:pt x="116" y="1816"/>
                    </a:lnTo>
                    <a:lnTo>
                      <a:pt x="110" y="1805"/>
                    </a:lnTo>
                    <a:lnTo>
                      <a:pt x="108" y="1795"/>
                    </a:lnTo>
                    <a:lnTo>
                      <a:pt x="106" y="1786"/>
                    </a:lnTo>
                    <a:lnTo>
                      <a:pt x="105" y="1775"/>
                    </a:lnTo>
                    <a:lnTo>
                      <a:pt x="104" y="1766"/>
                    </a:lnTo>
                    <a:lnTo>
                      <a:pt x="104" y="1756"/>
                    </a:lnTo>
                    <a:lnTo>
                      <a:pt x="102" y="1745"/>
                    </a:lnTo>
                    <a:lnTo>
                      <a:pt x="99" y="1735"/>
                    </a:lnTo>
                    <a:lnTo>
                      <a:pt x="88" y="1706"/>
                    </a:lnTo>
                    <a:lnTo>
                      <a:pt x="78" y="1680"/>
                    </a:lnTo>
                    <a:lnTo>
                      <a:pt x="68" y="1656"/>
                    </a:lnTo>
                    <a:lnTo>
                      <a:pt x="58" y="1633"/>
                    </a:lnTo>
                    <a:lnTo>
                      <a:pt x="45" y="1610"/>
                    </a:lnTo>
                    <a:lnTo>
                      <a:pt x="33" y="1587"/>
                    </a:lnTo>
                    <a:lnTo>
                      <a:pt x="18" y="1564"/>
                    </a:lnTo>
                    <a:lnTo>
                      <a:pt x="0" y="1539"/>
                    </a:lnTo>
                    <a:lnTo>
                      <a:pt x="5" y="1535"/>
                    </a:lnTo>
                    <a:lnTo>
                      <a:pt x="10" y="1532"/>
                    </a:lnTo>
                    <a:lnTo>
                      <a:pt x="16" y="1529"/>
                    </a:lnTo>
                    <a:lnTo>
                      <a:pt x="22" y="1525"/>
                    </a:lnTo>
                    <a:lnTo>
                      <a:pt x="33" y="1522"/>
                    </a:lnTo>
                    <a:lnTo>
                      <a:pt x="44" y="1519"/>
                    </a:lnTo>
                    <a:lnTo>
                      <a:pt x="55" y="1516"/>
                    </a:lnTo>
                    <a:lnTo>
                      <a:pt x="66" y="1512"/>
                    </a:lnTo>
                    <a:lnTo>
                      <a:pt x="71" y="1510"/>
                    </a:lnTo>
                    <a:lnTo>
                      <a:pt x="76" y="1507"/>
                    </a:lnTo>
                    <a:lnTo>
                      <a:pt x="82" y="1503"/>
                    </a:lnTo>
                    <a:lnTo>
                      <a:pt x="87" y="1499"/>
                    </a:lnTo>
                    <a:lnTo>
                      <a:pt x="92" y="1493"/>
                    </a:lnTo>
                    <a:lnTo>
                      <a:pt x="96" y="1488"/>
                    </a:lnTo>
                    <a:lnTo>
                      <a:pt x="100" y="1482"/>
                    </a:lnTo>
                    <a:lnTo>
                      <a:pt x="102" y="1476"/>
                    </a:lnTo>
                    <a:lnTo>
                      <a:pt x="106" y="1462"/>
                    </a:lnTo>
                    <a:lnTo>
                      <a:pt x="108" y="1448"/>
                    </a:lnTo>
                    <a:lnTo>
                      <a:pt x="109" y="1434"/>
                    </a:lnTo>
                    <a:lnTo>
                      <a:pt x="110" y="1418"/>
                    </a:lnTo>
                    <a:lnTo>
                      <a:pt x="112" y="1403"/>
                    </a:lnTo>
                    <a:lnTo>
                      <a:pt x="116" y="1388"/>
                    </a:lnTo>
                    <a:lnTo>
                      <a:pt x="116" y="1388"/>
                    </a:lnTo>
                    <a:lnTo>
                      <a:pt x="126" y="1388"/>
                    </a:lnTo>
                    <a:lnTo>
                      <a:pt x="136" y="1390"/>
                    </a:lnTo>
                    <a:lnTo>
                      <a:pt x="145" y="1392"/>
                    </a:lnTo>
                    <a:lnTo>
                      <a:pt x="155" y="1395"/>
                    </a:lnTo>
                    <a:lnTo>
                      <a:pt x="163" y="1397"/>
                    </a:lnTo>
                    <a:lnTo>
                      <a:pt x="172" y="1399"/>
                    </a:lnTo>
                    <a:lnTo>
                      <a:pt x="183" y="1402"/>
                    </a:lnTo>
                    <a:lnTo>
                      <a:pt x="193" y="1403"/>
                    </a:lnTo>
                    <a:lnTo>
                      <a:pt x="200" y="1402"/>
                    </a:lnTo>
                    <a:lnTo>
                      <a:pt x="205" y="1401"/>
                    </a:lnTo>
                    <a:lnTo>
                      <a:pt x="211" y="1398"/>
                    </a:lnTo>
                    <a:lnTo>
                      <a:pt x="217" y="1396"/>
                    </a:lnTo>
                    <a:lnTo>
                      <a:pt x="221" y="1392"/>
                    </a:lnTo>
                    <a:lnTo>
                      <a:pt x="225" y="1389"/>
                    </a:lnTo>
                    <a:lnTo>
                      <a:pt x="229" y="1385"/>
                    </a:lnTo>
                    <a:lnTo>
                      <a:pt x="232" y="1380"/>
                    </a:lnTo>
                    <a:lnTo>
                      <a:pt x="244" y="1358"/>
                    </a:lnTo>
                    <a:lnTo>
                      <a:pt x="257" y="1333"/>
                    </a:lnTo>
                    <a:lnTo>
                      <a:pt x="274" y="1302"/>
                    </a:lnTo>
                    <a:lnTo>
                      <a:pt x="288" y="1274"/>
                    </a:lnTo>
                    <a:lnTo>
                      <a:pt x="294" y="1259"/>
                    </a:lnTo>
                    <a:lnTo>
                      <a:pt x="298" y="1244"/>
                    </a:lnTo>
                    <a:lnTo>
                      <a:pt x="301" y="1227"/>
                    </a:lnTo>
                    <a:lnTo>
                      <a:pt x="301" y="1208"/>
                    </a:lnTo>
                    <a:lnTo>
                      <a:pt x="314" y="1213"/>
                    </a:lnTo>
                    <a:lnTo>
                      <a:pt x="323" y="1218"/>
                    </a:lnTo>
                    <a:lnTo>
                      <a:pt x="332" y="1223"/>
                    </a:lnTo>
                    <a:lnTo>
                      <a:pt x="341" y="1229"/>
                    </a:lnTo>
                    <a:lnTo>
                      <a:pt x="350" y="1235"/>
                    </a:lnTo>
                    <a:lnTo>
                      <a:pt x="360" y="1239"/>
                    </a:lnTo>
                    <a:lnTo>
                      <a:pt x="364" y="1242"/>
                    </a:lnTo>
                    <a:lnTo>
                      <a:pt x="370" y="1243"/>
                    </a:lnTo>
                    <a:lnTo>
                      <a:pt x="375" y="1244"/>
                    </a:lnTo>
                    <a:lnTo>
                      <a:pt x="382" y="1244"/>
                    </a:lnTo>
                    <a:lnTo>
                      <a:pt x="386" y="1244"/>
                    </a:lnTo>
                    <a:lnTo>
                      <a:pt x="390" y="1243"/>
                    </a:lnTo>
                    <a:lnTo>
                      <a:pt x="394" y="1242"/>
                    </a:lnTo>
                    <a:lnTo>
                      <a:pt x="397" y="1240"/>
                    </a:lnTo>
                    <a:lnTo>
                      <a:pt x="403" y="1235"/>
                    </a:lnTo>
                    <a:lnTo>
                      <a:pt x="409" y="1230"/>
                    </a:lnTo>
                    <a:lnTo>
                      <a:pt x="419" y="1216"/>
                    </a:lnTo>
                    <a:lnTo>
                      <a:pt x="429" y="1201"/>
                    </a:lnTo>
                    <a:lnTo>
                      <a:pt x="441" y="1186"/>
                    </a:lnTo>
                    <a:lnTo>
                      <a:pt x="453" y="1172"/>
                    </a:lnTo>
                    <a:lnTo>
                      <a:pt x="458" y="1166"/>
                    </a:lnTo>
                    <a:lnTo>
                      <a:pt x="463" y="1158"/>
                    </a:lnTo>
                    <a:lnTo>
                      <a:pt x="468" y="1150"/>
                    </a:lnTo>
                    <a:lnTo>
                      <a:pt x="473" y="1140"/>
                    </a:lnTo>
                    <a:lnTo>
                      <a:pt x="483" y="1148"/>
                    </a:lnTo>
                    <a:lnTo>
                      <a:pt x="491" y="1156"/>
                    </a:lnTo>
                    <a:lnTo>
                      <a:pt x="497" y="1165"/>
                    </a:lnTo>
                    <a:lnTo>
                      <a:pt x="502" y="1174"/>
                    </a:lnTo>
                    <a:lnTo>
                      <a:pt x="511" y="1194"/>
                    </a:lnTo>
                    <a:lnTo>
                      <a:pt x="521" y="1216"/>
                    </a:lnTo>
                    <a:lnTo>
                      <a:pt x="526" y="1229"/>
                    </a:lnTo>
                    <a:lnTo>
                      <a:pt x="530" y="1242"/>
                    </a:lnTo>
                    <a:lnTo>
                      <a:pt x="532" y="1248"/>
                    </a:lnTo>
                    <a:lnTo>
                      <a:pt x="536" y="1252"/>
                    </a:lnTo>
                    <a:lnTo>
                      <a:pt x="538" y="1254"/>
                    </a:lnTo>
                    <a:lnTo>
                      <a:pt x="540" y="1255"/>
                    </a:lnTo>
                    <a:lnTo>
                      <a:pt x="544" y="1256"/>
                    </a:lnTo>
                    <a:lnTo>
                      <a:pt x="547" y="1256"/>
                    </a:lnTo>
                    <a:lnTo>
                      <a:pt x="552" y="1255"/>
                    </a:lnTo>
                    <a:lnTo>
                      <a:pt x="557" y="1254"/>
                    </a:lnTo>
                    <a:lnTo>
                      <a:pt x="561" y="1252"/>
                    </a:lnTo>
                    <a:lnTo>
                      <a:pt x="564" y="1250"/>
                    </a:lnTo>
                    <a:lnTo>
                      <a:pt x="568" y="1248"/>
                    </a:lnTo>
                    <a:lnTo>
                      <a:pt x="572" y="1246"/>
                    </a:lnTo>
                    <a:lnTo>
                      <a:pt x="577" y="1245"/>
                    </a:lnTo>
                    <a:lnTo>
                      <a:pt x="582" y="1244"/>
                    </a:lnTo>
                    <a:lnTo>
                      <a:pt x="589" y="1245"/>
                    </a:lnTo>
                    <a:lnTo>
                      <a:pt x="595" y="1246"/>
                    </a:lnTo>
                    <a:lnTo>
                      <a:pt x="601" y="1247"/>
                    </a:lnTo>
                    <a:lnTo>
                      <a:pt x="607" y="1249"/>
                    </a:lnTo>
                    <a:lnTo>
                      <a:pt x="618" y="1255"/>
                    </a:lnTo>
                    <a:lnTo>
                      <a:pt x="628" y="1260"/>
                    </a:lnTo>
                    <a:lnTo>
                      <a:pt x="638" y="1266"/>
                    </a:lnTo>
                    <a:lnTo>
                      <a:pt x="649" y="1271"/>
                    </a:lnTo>
                    <a:lnTo>
                      <a:pt x="655" y="1274"/>
                    </a:lnTo>
                    <a:lnTo>
                      <a:pt x="661" y="1276"/>
                    </a:lnTo>
                    <a:lnTo>
                      <a:pt x="667" y="1277"/>
                    </a:lnTo>
                    <a:lnTo>
                      <a:pt x="674" y="1277"/>
                    </a:lnTo>
                    <a:lnTo>
                      <a:pt x="684" y="1277"/>
                    </a:lnTo>
                    <a:lnTo>
                      <a:pt x="692" y="1274"/>
                    </a:lnTo>
                    <a:lnTo>
                      <a:pt x="699" y="1270"/>
                    </a:lnTo>
                    <a:lnTo>
                      <a:pt x="705" y="1265"/>
                    </a:lnTo>
                    <a:lnTo>
                      <a:pt x="712" y="1259"/>
                    </a:lnTo>
                    <a:lnTo>
                      <a:pt x="716" y="1252"/>
                    </a:lnTo>
                    <a:lnTo>
                      <a:pt x="720" y="1244"/>
                    </a:lnTo>
                    <a:lnTo>
                      <a:pt x="724" y="1235"/>
                    </a:lnTo>
                    <a:lnTo>
                      <a:pt x="730" y="1217"/>
                    </a:lnTo>
                    <a:lnTo>
                      <a:pt x="736" y="1197"/>
                    </a:lnTo>
                    <a:lnTo>
                      <a:pt x="740" y="1187"/>
                    </a:lnTo>
                    <a:lnTo>
                      <a:pt x="745" y="1177"/>
                    </a:lnTo>
                    <a:lnTo>
                      <a:pt x="749" y="1168"/>
                    </a:lnTo>
                    <a:lnTo>
                      <a:pt x="754" y="1159"/>
                    </a:lnTo>
                    <a:lnTo>
                      <a:pt x="761" y="1148"/>
                    </a:lnTo>
                    <a:lnTo>
                      <a:pt x="766" y="1137"/>
                    </a:lnTo>
                    <a:lnTo>
                      <a:pt x="770" y="1132"/>
                    </a:lnTo>
                    <a:lnTo>
                      <a:pt x="775" y="1129"/>
                    </a:lnTo>
                    <a:lnTo>
                      <a:pt x="780" y="1127"/>
                    </a:lnTo>
                    <a:lnTo>
                      <a:pt x="786" y="1126"/>
                    </a:lnTo>
                    <a:lnTo>
                      <a:pt x="811" y="1126"/>
                    </a:lnTo>
                    <a:lnTo>
                      <a:pt x="833" y="1127"/>
                    </a:lnTo>
                    <a:lnTo>
                      <a:pt x="856" y="1128"/>
                    </a:lnTo>
                    <a:lnTo>
                      <a:pt x="881" y="1128"/>
                    </a:lnTo>
                    <a:lnTo>
                      <a:pt x="888" y="1129"/>
                    </a:lnTo>
                    <a:lnTo>
                      <a:pt x="895" y="1131"/>
                    </a:lnTo>
                    <a:lnTo>
                      <a:pt x="901" y="1133"/>
                    </a:lnTo>
                    <a:lnTo>
                      <a:pt x="907" y="1137"/>
                    </a:lnTo>
                    <a:lnTo>
                      <a:pt x="917" y="1147"/>
                    </a:lnTo>
                    <a:lnTo>
                      <a:pt x="926" y="1157"/>
                    </a:lnTo>
                    <a:lnTo>
                      <a:pt x="935" y="1167"/>
                    </a:lnTo>
                    <a:lnTo>
                      <a:pt x="946" y="1176"/>
                    </a:lnTo>
                    <a:lnTo>
                      <a:pt x="951" y="1180"/>
                    </a:lnTo>
                    <a:lnTo>
                      <a:pt x="957" y="1183"/>
                    </a:lnTo>
                    <a:lnTo>
                      <a:pt x="964" y="1185"/>
                    </a:lnTo>
                    <a:lnTo>
                      <a:pt x="971" y="1185"/>
                    </a:lnTo>
                    <a:lnTo>
                      <a:pt x="985" y="1184"/>
                    </a:lnTo>
                    <a:lnTo>
                      <a:pt x="996" y="1182"/>
                    </a:lnTo>
                    <a:lnTo>
                      <a:pt x="1007" y="1177"/>
                    </a:lnTo>
                    <a:lnTo>
                      <a:pt x="1017" y="1172"/>
                    </a:lnTo>
                    <a:lnTo>
                      <a:pt x="1037" y="1160"/>
                    </a:lnTo>
                    <a:lnTo>
                      <a:pt x="1061" y="1148"/>
                    </a:lnTo>
                    <a:lnTo>
                      <a:pt x="1077" y="1139"/>
                    </a:lnTo>
                    <a:lnTo>
                      <a:pt x="1092" y="1130"/>
                    </a:lnTo>
                    <a:lnTo>
                      <a:pt x="1107" y="1121"/>
                    </a:lnTo>
                    <a:lnTo>
                      <a:pt x="1119" y="1111"/>
                    </a:lnTo>
                    <a:lnTo>
                      <a:pt x="1131" y="1101"/>
                    </a:lnTo>
                    <a:lnTo>
                      <a:pt x="1142" y="1090"/>
                    </a:lnTo>
                    <a:lnTo>
                      <a:pt x="1152" y="1078"/>
                    </a:lnTo>
                    <a:lnTo>
                      <a:pt x="1161" y="1066"/>
                    </a:lnTo>
                    <a:lnTo>
                      <a:pt x="1171" y="1054"/>
                    </a:lnTo>
                    <a:lnTo>
                      <a:pt x="1179" y="1040"/>
                    </a:lnTo>
                    <a:lnTo>
                      <a:pt x="1188" y="1027"/>
                    </a:lnTo>
                    <a:lnTo>
                      <a:pt x="1195" y="1012"/>
                    </a:lnTo>
                    <a:lnTo>
                      <a:pt x="1212" y="981"/>
                    </a:lnTo>
                    <a:lnTo>
                      <a:pt x="1228" y="949"/>
                    </a:lnTo>
                    <a:lnTo>
                      <a:pt x="1241" y="923"/>
                    </a:lnTo>
                    <a:lnTo>
                      <a:pt x="1253" y="900"/>
                    </a:lnTo>
                    <a:lnTo>
                      <a:pt x="1264" y="878"/>
                    </a:lnTo>
                    <a:lnTo>
                      <a:pt x="1275" y="857"/>
                    </a:lnTo>
                    <a:lnTo>
                      <a:pt x="1286" y="836"/>
                    </a:lnTo>
                    <a:lnTo>
                      <a:pt x="1297" y="814"/>
                    </a:lnTo>
                    <a:lnTo>
                      <a:pt x="1310" y="790"/>
                    </a:lnTo>
                    <a:lnTo>
                      <a:pt x="1322" y="764"/>
                    </a:lnTo>
                    <a:lnTo>
                      <a:pt x="1340" y="734"/>
                    </a:lnTo>
                    <a:lnTo>
                      <a:pt x="1357" y="708"/>
                    </a:lnTo>
                    <a:lnTo>
                      <a:pt x="1363" y="694"/>
                    </a:lnTo>
                    <a:lnTo>
                      <a:pt x="1370" y="680"/>
                    </a:lnTo>
                    <a:lnTo>
                      <a:pt x="1372" y="673"/>
                    </a:lnTo>
                    <a:lnTo>
                      <a:pt x="1373" y="664"/>
                    </a:lnTo>
                    <a:lnTo>
                      <a:pt x="1374" y="656"/>
                    </a:lnTo>
                    <a:lnTo>
                      <a:pt x="1375" y="647"/>
                    </a:lnTo>
                    <a:lnTo>
                      <a:pt x="1374" y="643"/>
                    </a:lnTo>
                    <a:lnTo>
                      <a:pt x="1372" y="639"/>
                    </a:lnTo>
                    <a:lnTo>
                      <a:pt x="1369" y="637"/>
                    </a:lnTo>
                    <a:lnTo>
                      <a:pt x="1365" y="635"/>
                    </a:lnTo>
                    <a:lnTo>
                      <a:pt x="1362" y="633"/>
                    </a:lnTo>
                    <a:lnTo>
                      <a:pt x="1358" y="631"/>
                    </a:lnTo>
                    <a:lnTo>
                      <a:pt x="1355" y="629"/>
                    </a:lnTo>
                    <a:lnTo>
                      <a:pt x="1353" y="625"/>
                    </a:lnTo>
                    <a:lnTo>
                      <a:pt x="1349" y="617"/>
                    </a:lnTo>
                    <a:lnTo>
                      <a:pt x="1346" y="608"/>
                    </a:lnTo>
                    <a:lnTo>
                      <a:pt x="1343" y="600"/>
                    </a:lnTo>
                    <a:lnTo>
                      <a:pt x="1341" y="593"/>
                    </a:lnTo>
                    <a:lnTo>
                      <a:pt x="1340" y="575"/>
                    </a:lnTo>
                    <a:lnTo>
                      <a:pt x="1339" y="557"/>
                    </a:lnTo>
                    <a:lnTo>
                      <a:pt x="1340" y="547"/>
                    </a:lnTo>
                    <a:lnTo>
                      <a:pt x="1341" y="537"/>
                    </a:lnTo>
                    <a:lnTo>
                      <a:pt x="1343" y="529"/>
                    </a:lnTo>
                    <a:lnTo>
                      <a:pt x="1345" y="521"/>
                    </a:lnTo>
                    <a:lnTo>
                      <a:pt x="1349" y="512"/>
                    </a:lnTo>
                    <a:lnTo>
                      <a:pt x="1353" y="505"/>
                    </a:lnTo>
                    <a:lnTo>
                      <a:pt x="1357" y="498"/>
                    </a:lnTo>
                    <a:lnTo>
                      <a:pt x="1362" y="492"/>
                    </a:lnTo>
                    <a:lnTo>
                      <a:pt x="1369" y="486"/>
                    </a:lnTo>
                    <a:lnTo>
                      <a:pt x="1375" y="479"/>
                    </a:lnTo>
                    <a:lnTo>
                      <a:pt x="1382" y="474"/>
                    </a:lnTo>
                    <a:lnTo>
                      <a:pt x="1389" y="469"/>
                    </a:lnTo>
                    <a:lnTo>
                      <a:pt x="1406" y="461"/>
                    </a:lnTo>
                    <a:lnTo>
                      <a:pt x="1423" y="454"/>
                    </a:lnTo>
                    <a:lnTo>
                      <a:pt x="1442" y="447"/>
                    </a:lnTo>
                    <a:lnTo>
                      <a:pt x="1461" y="442"/>
                    </a:lnTo>
                    <a:lnTo>
                      <a:pt x="1483" y="439"/>
                    </a:lnTo>
                    <a:lnTo>
                      <a:pt x="1504" y="436"/>
                    </a:lnTo>
                    <a:lnTo>
                      <a:pt x="1525" y="434"/>
                    </a:lnTo>
                    <a:lnTo>
                      <a:pt x="1547" y="433"/>
                    </a:lnTo>
                    <a:lnTo>
                      <a:pt x="1568" y="432"/>
                    </a:lnTo>
                    <a:lnTo>
                      <a:pt x="1589" y="432"/>
                    </a:lnTo>
                    <a:lnTo>
                      <a:pt x="1610" y="431"/>
                    </a:lnTo>
                    <a:lnTo>
                      <a:pt x="1628" y="431"/>
                    </a:lnTo>
                    <a:lnTo>
                      <a:pt x="1638" y="431"/>
                    </a:lnTo>
                    <a:lnTo>
                      <a:pt x="1647" y="433"/>
                    </a:lnTo>
                    <a:lnTo>
                      <a:pt x="1656" y="435"/>
                    </a:lnTo>
                    <a:lnTo>
                      <a:pt x="1667" y="439"/>
                    </a:lnTo>
                    <a:lnTo>
                      <a:pt x="1676" y="444"/>
                    </a:lnTo>
                    <a:lnTo>
                      <a:pt x="1685" y="449"/>
                    </a:lnTo>
                    <a:lnTo>
                      <a:pt x="1693" y="456"/>
                    </a:lnTo>
                    <a:lnTo>
                      <a:pt x="1701" y="461"/>
                    </a:lnTo>
                    <a:lnTo>
                      <a:pt x="1709" y="466"/>
                    </a:lnTo>
                    <a:lnTo>
                      <a:pt x="1717" y="470"/>
                    </a:lnTo>
                    <a:lnTo>
                      <a:pt x="1726" y="473"/>
                    </a:lnTo>
                    <a:lnTo>
                      <a:pt x="1738" y="474"/>
                    </a:lnTo>
                    <a:lnTo>
                      <a:pt x="1745" y="474"/>
                    </a:lnTo>
                    <a:lnTo>
                      <a:pt x="1752" y="472"/>
                    </a:lnTo>
                    <a:lnTo>
                      <a:pt x="1759" y="470"/>
                    </a:lnTo>
                    <a:lnTo>
                      <a:pt x="1766" y="466"/>
                    </a:lnTo>
                    <a:lnTo>
                      <a:pt x="1771" y="462"/>
                    </a:lnTo>
                    <a:lnTo>
                      <a:pt x="1776" y="458"/>
                    </a:lnTo>
                    <a:lnTo>
                      <a:pt x="1780" y="452"/>
                    </a:lnTo>
                    <a:lnTo>
                      <a:pt x="1785" y="446"/>
                    </a:lnTo>
                    <a:lnTo>
                      <a:pt x="1794" y="434"/>
                    </a:lnTo>
                    <a:lnTo>
                      <a:pt x="1804" y="422"/>
                    </a:lnTo>
                    <a:lnTo>
                      <a:pt x="1809" y="415"/>
                    </a:lnTo>
                    <a:lnTo>
                      <a:pt x="1814" y="409"/>
                    </a:lnTo>
                    <a:lnTo>
                      <a:pt x="1820" y="404"/>
                    </a:lnTo>
                    <a:lnTo>
                      <a:pt x="1826" y="399"/>
                    </a:lnTo>
                    <a:lnTo>
                      <a:pt x="1852" y="381"/>
                    </a:lnTo>
                    <a:lnTo>
                      <a:pt x="1876" y="363"/>
                    </a:lnTo>
                    <a:lnTo>
                      <a:pt x="1886" y="354"/>
                    </a:lnTo>
                    <a:lnTo>
                      <a:pt x="1897" y="345"/>
                    </a:lnTo>
                    <a:lnTo>
                      <a:pt x="1907" y="335"/>
                    </a:lnTo>
                    <a:lnTo>
                      <a:pt x="1915" y="325"/>
                    </a:lnTo>
                    <a:lnTo>
                      <a:pt x="1923" y="314"/>
                    </a:lnTo>
                    <a:lnTo>
                      <a:pt x="1931" y="304"/>
                    </a:lnTo>
                    <a:lnTo>
                      <a:pt x="1937" y="293"/>
                    </a:lnTo>
                    <a:lnTo>
                      <a:pt x="1942" y="280"/>
                    </a:lnTo>
                    <a:lnTo>
                      <a:pt x="1946" y="268"/>
                    </a:lnTo>
                    <a:lnTo>
                      <a:pt x="1949" y="253"/>
                    </a:lnTo>
                    <a:lnTo>
                      <a:pt x="1951" y="240"/>
                    </a:lnTo>
                    <a:lnTo>
                      <a:pt x="1952" y="224"/>
                    </a:lnTo>
                    <a:lnTo>
                      <a:pt x="1952" y="214"/>
                    </a:lnTo>
                    <a:lnTo>
                      <a:pt x="1954" y="205"/>
                    </a:lnTo>
                    <a:lnTo>
                      <a:pt x="1956" y="196"/>
                    </a:lnTo>
                    <a:lnTo>
                      <a:pt x="1958" y="188"/>
                    </a:lnTo>
                    <a:lnTo>
                      <a:pt x="1961" y="180"/>
                    </a:lnTo>
                    <a:lnTo>
                      <a:pt x="1964" y="172"/>
                    </a:lnTo>
                    <a:lnTo>
                      <a:pt x="1966" y="162"/>
                    </a:lnTo>
                    <a:lnTo>
                      <a:pt x="1966" y="152"/>
                    </a:lnTo>
                    <a:lnTo>
                      <a:pt x="1966" y="145"/>
                    </a:lnTo>
                    <a:lnTo>
                      <a:pt x="1965" y="139"/>
                    </a:lnTo>
                    <a:lnTo>
                      <a:pt x="1961" y="131"/>
                    </a:lnTo>
                    <a:lnTo>
                      <a:pt x="1958" y="125"/>
                    </a:lnTo>
                    <a:lnTo>
                      <a:pt x="1963" y="107"/>
                    </a:lnTo>
                    <a:lnTo>
                      <a:pt x="1965" y="90"/>
                    </a:lnTo>
                    <a:lnTo>
                      <a:pt x="1967" y="82"/>
                    </a:lnTo>
                    <a:lnTo>
                      <a:pt x="1969" y="75"/>
                    </a:lnTo>
                    <a:lnTo>
                      <a:pt x="1973" y="66"/>
                    </a:lnTo>
                    <a:lnTo>
                      <a:pt x="1978" y="59"/>
                    </a:lnTo>
                    <a:lnTo>
                      <a:pt x="1985" y="51"/>
                    </a:lnTo>
                    <a:lnTo>
                      <a:pt x="1992" y="44"/>
                    </a:lnTo>
                    <a:lnTo>
                      <a:pt x="2000" y="37"/>
                    </a:lnTo>
                    <a:lnTo>
                      <a:pt x="2008" y="32"/>
                    </a:lnTo>
                    <a:lnTo>
                      <a:pt x="2016" y="27"/>
                    </a:lnTo>
                    <a:lnTo>
                      <a:pt x="2024" y="23"/>
                    </a:lnTo>
                    <a:lnTo>
                      <a:pt x="2033" y="20"/>
                    </a:lnTo>
                    <a:lnTo>
                      <a:pt x="2042" y="17"/>
                    </a:lnTo>
                    <a:lnTo>
                      <a:pt x="2080" y="9"/>
                    </a:lnTo>
                    <a:lnTo>
                      <a:pt x="2121" y="0"/>
                    </a:lnTo>
                    <a:lnTo>
                      <a:pt x="2121" y="0"/>
                    </a:lnTo>
                    <a:close/>
                  </a:path>
                </a:pathLst>
              </a:custGeom>
              <a:solidFill>
                <a:srgbClr val="65AC1E">
                  <a:alpha val="80000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sz="500" dirty="0">
                  <a:solidFill>
                    <a:srgbClr val="000000"/>
                  </a:solidFill>
                </a:endParaRPr>
              </a:p>
              <a:p>
                <a:pPr algn="ctr"/>
                <a:endParaRPr lang="de-DE" sz="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Rivne">
                <a:extLst>
                  <a:ext uri="{FF2B5EF4-FFF2-40B4-BE49-F238E27FC236}">
                    <a16:creationId xmlns:a16="http://schemas.microsoft.com/office/drawing/2014/main" id="{E42FFC11-2255-4DFD-9E89-885EE08348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7763" y="1940451"/>
                <a:ext cx="1085692" cy="1147432"/>
              </a:xfrm>
              <a:custGeom>
                <a:avLst/>
                <a:gdLst>
                  <a:gd name="T0" fmla="*/ 610 w 2191"/>
                  <a:gd name="T1" fmla="*/ 235 h 2477"/>
                  <a:gd name="T2" fmla="*/ 506 w 2191"/>
                  <a:gd name="T3" fmla="*/ 405 h 2477"/>
                  <a:gd name="T4" fmla="*/ 561 w 2191"/>
                  <a:gd name="T5" fmla="*/ 534 h 2477"/>
                  <a:gd name="T6" fmla="*/ 581 w 2191"/>
                  <a:gd name="T7" fmla="*/ 645 h 2477"/>
                  <a:gd name="T8" fmla="*/ 699 w 2191"/>
                  <a:gd name="T9" fmla="*/ 696 h 2477"/>
                  <a:gd name="T10" fmla="*/ 750 w 2191"/>
                  <a:gd name="T11" fmla="*/ 805 h 2477"/>
                  <a:gd name="T12" fmla="*/ 778 w 2191"/>
                  <a:gd name="T13" fmla="*/ 924 h 2477"/>
                  <a:gd name="T14" fmla="*/ 868 w 2191"/>
                  <a:gd name="T15" fmla="*/ 996 h 2477"/>
                  <a:gd name="T16" fmla="*/ 820 w 2191"/>
                  <a:gd name="T17" fmla="*/ 1071 h 2477"/>
                  <a:gd name="T18" fmla="*/ 816 w 2191"/>
                  <a:gd name="T19" fmla="*/ 1152 h 2477"/>
                  <a:gd name="T20" fmla="*/ 883 w 2191"/>
                  <a:gd name="T21" fmla="*/ 1219 h 2477"/>
                  <a:gd name="T22" fmla="*/ 841 w 2191"/>
                  <a:gd name="T23" fmla="*/ 1305 h 2477"/>
                  <a:gd name="T24" fmla="*/ 781 w 2191"/>
                  <a:gd name="T25" fmla="*/ 1439 h 2477"/>
                  <a:gd name="T26" fmla="*/ 684 w 2191"/>
                  <a:gd name="T27" fmla="*/ 1579 h 2477"/>
                  <a:gd name="T28" fmla="*/ 627 w 2191"/>
                  <a:gd name="T29" fmla="*/ 1667 h 2477"/>
                  <a:gd name="T30" fmla="*/ 514 w 2191"/>
                  <a:gd name="T31" fmla="*/ 1622 h 2477"/>
                  <a:gd name="T32" fmla="*/ 388 w 2191"/>
                  <a:gd name="T33" fmla="*/ 1610 h 2477"/>
                  <a:gd name="T34" fmla="*/ 319 w 2191"/>
                  <a:gd name="T35" fmla="*/ 1634 h 2477"/>
                  <a:gd name="T36" fmla="*/ 260 w 2191"/>
                  <a:gd name="T37" fmla="*/ 1646 h 2477"/>
                  <a:gd name="T38" fmla="*/ 191 w 2191"/>
                  <a:gd name="T39" fmla="*/ 1645 h 2477"/>
                  <a:gd name="T40" fmla="*/ 131 w 2191"/>
                  <a:gd name="T41" fmla="*/ 1760 h 2477"/>
                  <a:gd name="T42" fmla="*/ 71 w 2191"/>
                  <a:gd name="T43" fmla="*/ 1722 h 2477"/>
                  <a:gd name="T44" fmla="*/ 78 w 2191"/>
                  <a:gd name="T45" fmla="*/ 1878 h 2477"/>
                  <a:gd name="T46" fmla="*/ 12 w 2191"/>
                  <a:gd name="T47" fmla="*/ 2002 h 2477"/>
                  <a:gd name="T48" fmla="*/ 54 w 2191"/>
                  <a:gd name="T49" fmla="*/ 2107 h 2477"/>
                  <a:gd name="T50" fmla="*/ 64 w 2191"/>
                  <a:gd name="T51" fmla="*/ 2347 h 2477"/>
                  <a:gd name="T52" fmla="*/ 184 w 2191"/>
                  <a:gd name="T53" fmla="*/ 2477 h 2477"/>
                  <a:gd name="T54" fmla="*/ 325 w 2191"/>
                  <a:gd name="T55" fmla="*/ 2314 h 2477"/>
                  <a:gd name="T56" fmla="*/ 383 w 2191"/>
                  <a:gd name="T57" fmla="*/ 2307 h 2477"/>
                  <a:gd name="T58" fmla="*/ 439 w 2191"/>
                  <a:gd name="T59" fmla="*/ 2327 h 2477"/>
                  <a:gd name="T60" fmla="*/ 706 w 2191"/>
                  <a:gd name="T61" fmla="*/ 2236 h 2477"/>
                  <a:gd name="T62" fmla="*/ 875 w 2191"/>
                  <a:gd name="T63" fmla="*/ 2242 h 2477"/>
                  <a:gd name="T64" fmla="*/ 976 w 2191"/>
                  <a:gd name="T65" fmla="*/ 2307 h 2477"/>
                  <a:gd name="T66" fmla="*/ 1137 w 2191"/>
                  <a:gd name="T67" fmla="*/ 2201 h 2477"/>
                  <a:gd name="T68" fmla="*/ 1280 w 2191"/>
                  <a:gd name="T69" fmla="*/ 2148 h 2477"/>
                  <a:gd name="T70" fmla="*/ 1364 w 2191"/>
                  <a:gd name="T71" fmla="*/ 2019 h 2477"/>
                  <a:gd name="T72" fmla="*/ 1443 w 2191"/>
                  <a:gd name="T73" fmla="*/ 1908 h 2477"/>
                  <a:gd name="T74" fmla="*/ 1555 w 2191"/>
                  <a:gd name="T75" fmla="*/ 1889 h 2477"/>
                  <a:gd name="T76" fmla="*/ 1662 w 2191"/>
                  <a:gd name="T77" fmla="*/ 1839 h 2477"/>
                  <a:gd name="T78" fmla="*/ 1768 w 2191"/>
                  <a:gd name="T79" fmla="*/ 1798 h 2477"/>
                  <a:gd name="T80" fmla="*/ 1829 w 2191"/>
                  <a:gd name="T81" fmla="*/ 1646 h 2477"/>
                  <a:gd name="T82" fmla="*/ 1802 w 2191"/>
                  <a:gd name="T83" fmla="*/ 1481 h 2477"/>
                  <a:gd name="T84" fmla="*/ 1812 w 2191"/>
                  <a:gd name="T85" fmla="*/ 1330 h 2477"/>
                  <a:gd name="T86" fmla="*/ 1844 w 2191"/>
                  <a:gd name="T87" fmla="*/ 1243 h 2477"/>
                  <a:gd name="T88" fmla="*/ 1950 w 2191"/>
                  <a:gd name="T89" fmla="*/ 1146 h 2477"/>
                  <a:gd name="T90" fmla="*/ 2009 w 2191"/>
                  <a:gd name="T91" fmla="*/ 1015 h 2477"/>
                  <a:gd name="T92" fmla="*/ 2059 w 2191"/>
                  <a:gd name="T93" fmla="*/ 819 h 2477"/>
                  <a:gd name="T94" fmla="*/ 2110 w 2191"/>
                  <a:gd name="T95" fmla="*/ 772 h 2477"/>
                  <a:gd name="T96" fmla="*/ 2177 w 2191"/>
                  <a:gd name="T97" fmla="*/ 670 h 2477"/>
                  <a:gd name="T98" fmla="*/ 2191 w 2191"/>
                  <a:gd name="T99" fmla="*/ 567 h 2477"/>
                  <a:gd name="T100" fmla="*/ 2119 w 2191"/>
                  <a:gd name="T101" fmla="*/ 512 h 2477"/>
                  <a:gd name="T102" fmla="*/ 1999 w 2191"/>
                  <a:gd name="T103" fmla="*/ 533 h 2477"/>
                  <a:gd name="T104" fmla="*/ 1885 w 2191"/>
                  <a:gd name="T105" fmla="*/ 492 h 2477"/>
                  <a:gd name="T106" fmla="*/ 1821 w 2191"/>
                  <a:gd name="T107" fmla="*/ 393 h 2477"/>
                  <a:gd name="T108" fmla="*/ 1753 w 2191"/>
                  <a:gd name="T109" fmla="*/ 293 h 2477"/>
                  <a:gd name="T110" fmla="*/ 1582 w 2191"/>
                  <a:gd name="T111" fmla="*/ 326 h 2477"/>
                  <a:gd name="T112" fmla="*/ 1459 w 2191"/>
                  <a:gd name="T113" fmla="*/ 272 h 2477"/>
                  <a:gd name="T114" fmla="*/ 1316 w 2191"/>
                  <a:gd name="T115" fmla="*/ 252 h 2477"/>
                  <a:gd name="T116" fmla="*/ 1245 w 2191"/>
                  <a:gd name="T117" fmla="*/ 186 h 2477"/>
                  <a:gd name="T118" fmla="*/ 1012 w 2191"/>
                  <a:gd name="T119" fmla="*/ 154 h 2477"/>
                  <a:gd name="T120" fmla="*/ 888 w 2191"/>
                  <a:gd name="T121" fmla="*/ 85 h 2477"/>
                  <a:gd name="T122" fmla="*/ 830 w 2191"/>
                  <a:gd name="T123" fmla="*/ 0 h 2477"/>
                  <a:gd name="T124" fmla="*/ 689 w 2191"/>
                  <a:gd name="T125" fmla="*/ 54 h 2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1" h="2477">
                    <a:moveTo>
                      <a:pt x="618" y="54"/>
                    </a:moveTo>
                    <a:lnTo>
                      <a:pt x="623" y="79"/>
                    </a:lnTo>
                    <a:lnTo>
                      <a:pt x="627" y="101"/>
                    </a:lnTo>
                    <a:lnTo>
                      <a:pt x="630" y="123"/>
                    </a:lnTo>
                    <a:lnTo>
                      <a:pt x="630" y="149"/>
                    </a:lnTo>
                    <a:lnTo>
                      <a:pt x="630" y="166"/>
                    </a:lnTo>
                    <a:lnTo>
                      <a:pt x="627" y="181"/>
                    </a:lnTo>
                    <a:lnTo>
                      <a:pt x="624" y="196"/>
                    </a:lnTo>
                    <a:lnTo>
                      <a:pt x="620" y="209"/>
                    </a:lnTo>
                    <a:lnTo>
                      <a:pt x="616" y="222"/>
                    </a:lnTo>
                    <a:lnTo>
                      <a:pt x="610" y="235"/>
                    </a:lnTo>
                    <a:lnTo>
                      <a:pt x="604" y="247"/>
                    </a:lnTo>
                    <a:lnTo>
                      <a:pt x="597" y="260"/>
                    </a:lnTo>
                    <a:lnTo>
                      <a:pt x="582" y="283"/>
                    </a:lnTo>
                    <a:lnTo>
                      <a:pt x="565" y="307"/>
                    </a:lnTo>
                    <a:lnTo>
                      <a:pt x="548" y="333"/>
                    </a:lnTo>
                    <a:lnTo>
                      <a:pt x="531" y="362"/>
                    </a:lnTo>
                    <a:lnTo>
                      <a:pt x="522" y="374"/>
                    </a:lnTo>
                    <a:lnTo>
                      <a:pt x="514" y="387"/>
                    </a:lnTo>
                    <a:lnTo>
                      <a:pt x="510" y="392"/>
                    </a:lnTo>
                    <a:lnTo>
                      <a:pt x="508" y="398"/>
                    </a:lnTo>
                    <a:lnTo>
                      <a:pt x="506" y="405"/>
                    </a:lnTo>
                    <a:lnTo>
                      <a:pt x="505" y="413"/>
                    </a:lnTo>
                    <a:lnTo>
                      <a:pt x="506" y="428"/>
                    </a:lnTo>
                    <a:lnTo>
                      <a:pt x="509" y="442"/>
                    </a:lnTo>
                    <a:lnTo>
                      <a:pt x="513" y="456"/>
                    </a:lnTo>
                    <a:lnTo>
                      <a:pt x="518" y="468"/>
                    </a:lnTo>
                    <a:lnTo>
                      <a:pt x="524" y="480"/>
                    </a:lnTo>
                    <a:lnTo>
                      <a:pt x="532" y="491"/>
                    </a:lnTo>
                    <a:lnTo>
                      <a:pt x="539" y="501"/>
                    </a:lnTo>
                    <a:lnTo>
                      <a:pt x="546" y="513"/>
                    </a:lnTo>
                    <a:lnTo>
                      <a:pt x="554" y="523"/>
                    </a:lnTo>
                    <a:lnTo>
                      <a:pt x="561" y="534"/>
                    </a:lnTo>
                    <a:lnTo>
                      <a:pt x="569" y="546"/>
                    </a:lnTo>
                    <a:lnTo>
                      <a:pt x="575" y="557"/>
                    </a:lnTo>
                    <a:lnTo>
                      <a:pt x="580" y="569"/>
                    </a:lnTo>
                    <a:lnTo>
                      <a:pt x="584" y="583"/>
                    </a:lnTo>
                    <a:lnTo>
                      <a:pt x="586" y="596"/>
                    </a:lnTo>
                    <a:lnTo>
                      <a:pt x="587" y="612"/>
                    </a:lnTo>
                    <a:lnTo>
                      <a:pt x="587" y="619"/>
                    </a:lnTo>
                    <a:lnTo>
                      <a:pt x="586" y="626"/>
                    </a:lnTo>
                    <a:lnTo>
                      <a:pt x="584" y="632"/>
                    </a:lnTo>
                    <a:lnTo>
                      <a:pt x="583" y="639"/>
                    </a:lnTo>
                    <a:lnTo>
                      <a:pt x="581" y="645"/>
                    </a:lnTo>
                    <a:lnTo>
                      <a:pt x="580" y="651"/>
                    </a:lnTo>
                    <a:lnTo>
                      <a:pt x="578" y="658"/>
                    </a:lnTo>
                    <a:lnTo>
                      <a:pt x="578" y="665"/>
                    </a:lnTo>
                    <a:lnTo>
                      <a:pt x="578" y="713"/>
                    </a:lnTo>
                    <a:lnTo>
                      <a:pt x="585" y="722"/>
                    </a:lnTo>
                    <a:lnTo>
                      <a:pt x="615" y="714"/>
                    </a:lnTo>
                    <a:lnTo>
                      <a:pt x="641" y="706"/>
                    </a:lnTo>
                    <a:lnTo>
                      <a:pt x="654" y="702"/>
                    </a:lnTo>
                    <a:lnTo>
                      <a:pt x="668" y="700"/>
                    </a:lnTo>
                    <a:lnTo>
                      <a:pt x="682" y="697"/>
                    </a:lnTo>
                    <a:lnTo>
                      <a:pt x="699" y="696"/>
                    </a:lnTo>
                    <a:lnTo>
                      <a:pt x="702" y="697"/>
                    </a:lnTo>
                    <a:lnTo>
                      <a:pt x="705" y="700"/>
                    </a:lnTo>
                    <a:lnTo>
                      <a:pt x="706" y="702"/>
                    </a:lnTo>
                    <a:lnTo>
                      <a:pt x="707" y="706"/>
                    </a:lnTo>
                    <a:lnTo>
                      <a:pt x="708" y="714"/>
                    </a:lnTo>
                    <a:lnTo>
                      <a:pt x="710" y="722"/>
                    </a:lnTo>
                    <a:lnTo>
                      <a:pt x="715" y="736"/>
                    </a:lnTo>
                    <a:lnTo>
                      <a:pt x="720" y="746"/>
                    </a:lnTo>
                    <a:lnTo>
                      <a:pt x="725" y="757"/>
                    </a:lnTo>
                    <a:lnTo>
                      <a:pt x="732" y="770"/>
                    </a:lnTo>
                    <a:lnTo>
                      <a:pt x="750" y="805"/>
                    </a:lnTo>
                    <a:lnTo>
                      <a:pt x="768" y="835"/>
                    </a:lnTo>
                    <a:lnTo>
                      <a:pt x="776" y="850"/>
                    </a:lnTo>
                    <a:lnTo>
                      <a:pt x="782" y="867"/>
                    </a:lnTo>
                    <a:lnTo>
                      <a:pt x="784" y="875"/>
                    </a:lnTo>
                    <a:lnTo>
                      <a:pt x="786" y="884"/>
                    </a:lnTo>
                    <a:lnTo>
                      <a:pt x="787" y="894"/>
                    </a:lnTo>
                    <a:lnTo>
                      <a:pt x="788" y="904"/>
                    </a:lnTo>
                    <a:lnTo>
                      <a:pt x="787" y="910"/>
                    </a:lnTo>
                    <a:lnTo>
                      <a:pt x="784" y="914"/>
                    </a:lnTo>
                    <a:lnTo>
                      <a:pt x="782" y="918"/>
                    </a:lnTo>
                    <a:lnTo>
                      <a:pt x="778" y="924"/>
                    </a:lnTo>
                    <a:lnTo>
                      <a:pt x="781" y="933"/>
                    </a:lnTo>
                    <a:lnTo>
                      <a:pt x="800" y="939"/>
                    </a:lnTo>
                    <a:lnTo>
                      <a:pt x="817" y="947"/>
                    </a:lnTo>
                    <a:lnTo>
                      <a:pt x="825" y="953"/>
                    </a:lnTo>
                    <a:lnTo>
                      <a:pt x="833" y="958"/>
                    </a:lnTo>
                    <a:lnTo>
                      <a:pt x="840" y="963"/>
                    </a:lnTo>
                    <a:lnTo>
                      <a:pt x="847" y="968"/>
                    </a:lnTo>
                    <a:lnTo>
                      <a:pt x="853" y="975"/>
                    </a:lnTo>
                    <a:lnTo>
                      <a:pt x="858" y="981"/>
                    </a:lnTo>
                    <a:lnTo>
                      <a:pt x="864" y="989"/>
                    </a:lnTo>
                    <a:lnTo>
                      <a:pt x="868" y="996"/>
                    </a:lnTo>
                    <a:lnTo>
                      <a:pt x="871" y="1004"/>
                    </a:lnTo>
                    <a:lnTo>
                      <a:pt x="873" y="1013"/>
                    </a:lnTo>
                    <a:lnTo>
                      <a:pt x="875" y="1022"/>
                    </a:lnTo>
                    <a:lnTo>
                      <a:pt x="875" y="1032"/>
                    </a:lnTo>
                    <a:lnTo>
                      <a:pt x="874" y="1039"/>
                    </a:lnTo>
                    <a:lnTo>
                      <a:pt x="872" y="1044"/>
                    </a:lnTo>
                    <a:lnTo>
                      <a:pt x="868" y="1050"/>
                    </a:lnTo>
                    <a:lnTo>
                      <a:pt x="863" y="1054"/>
                    </a:lnTo>
                    <a:lnTo>
                      <a:pt x="850" y="1060"/>
                    </a:lnTo>
                    <a:lnTo>
                      <a:pt x="835" y="1066"/>
                    </a:lnTo>
                    <a:lnTo>
                      <a:pt x="820" y="1071"/>
                    </a:lnTo>
                    <a:lnTo>
                      <a:pt x="808" y="1077"/>
                    </a:lnTo>
                    <a:lnTo>
                      <a:pt x="803" y="1082"/>
                    </a:lnTo>
                    <a:lnTo>
                      <a:pt x="799" y="1087"/>
                    </a:lnTo>
                    <a:lnTo>
                      <a:pt x="796" y="1093"/>
                    </a:lnTo>
                    <a:lnTo>
                      <a:pt x="795" y="1099"/>
                    </a:lnTo>
                    <a:lnTo>
                      <a:pt x="796" y="1113"/>
                    </a:lnTo>
                    <a:lnTo>
                      <a:pt x="797" y="1125"/>
                    </a:lnTo>
                    <a:lnTo>
                      <a:pt x="798" y="1136"/>
                    </a:lnTo>
                    <a:lnTo>
                      <a:pt x="798" y="1150"/>
                    </a:lnTo>
                    <a:lnTo>
                      <a:pt x="807" y="1151"/>
                    </a:lnTo>
                    <a:lnTo>
                      <a:pt x="816" y="1152"/>
                    </a:lnTo>
                    <a:lnTo>
                      <a:pt x="824" y="1154"/>
                    </a:lnTo>
                    <a:lnTo>
                      <a:pt x="833" y="1158"/>
                    </a:lnTo>
                    <a:lnTo>
                      <a:pt x="841" y="1162"/>
                    </a:lnTo>
                    <a:lnTo>
                      <a:pt x="848" y="1167"/>
                    </a:lnTo>
                    <a:lnTo>
                      <a:pt x="855" y="1172"/>
                    </a:lnTo>
                    <a:lnTo>
                      <a:pt x="862" y="1179"/>
                    </a:lnTo>
                    <a:lnTo>
                      <a:pt x="867" y="1186"/>
                    </a:lnTo>
                    <a:lnTo>
                      <a:pt x="872" y="1193"/>
                    </a:lnTo>
                    <a:lnTo>
                      <a:pt x="876" y="1201"/>
                    </a:lnTo>
                    <a:lnTo>
                      <a:pt x="880" y="1210"/>
                    </a:lnTo>
                    <a:lnTo>
                      <a:pt x="883" y="1219"/>
                    </a:lnTo>
                    <a:lnTo>
                      <a:pt x="885" y="1227"/>
                    </a:lnTo>
                    <a:lnTo>
                      <a:pt x="886" y="1238"/>
                    </a:lnTo>
                    <a:lnTo>
                      <a:pt x="887" y="1247"/>
                    </a:lnTo>
                    <a:lnTo>
                      <a:pt x="886" y="1254"/>
                    </a:lnTo>
                    <a:lnTo>
                      <a:pt x="885" y="1260"/>
                    </a:lnTo>
                    <a:lnTo>
                      <a:pt x="882" y="1265"/>
                    </a:lnTo>
                    <a:lnTo>
                      <a:pt x="879" y="1271"/>
                    </a:lnTo>
                    <a:lnTo>
                      <a:pt x="871" y="1280"/>
                    </a:lnTo>
                    <a:lnTo>
                      <a:pt x="862" y="1288"/>
                    </a:lnTo>
                    <a:lnTo>
                      <a:pt x="851" y="1295"/>
                    </a:lnTo>
                    <a:lnTo>
                      <a:pt x="841" y="1305"/>
                    </a:lnTo>
                    <a:lnTo>
                      <a:pt x="837" y="1309"/>
                    </a:lnTo>
                    <a:lnTo>
                      <a:pt x="832" y="1314"/>
                    </a:lnTo>
                    <a:lnTo>
                      <a:pt x="829" y="1320"/>
                    </a:lnTo>
                    <a:lnTo>
                      <a:pt x="825" y="1327"/>
                    </a:lnTo>
                    <a:lnTo>
                      <a:pt x="813" y="1366"/>
                    </a:lnTo>
                    <a:lnTo>
                      <a:pt x="803" y="1401"/>
                    </a:lnTo>
                    <a:lnTo>
                      <a:pt x="799" y="1409"/>
                    </a:lnTo>
                    <a:lnTo>
                      <a:pt x="796" y="1416"/>
                    </a:lnTo>
                    <a:lnTo>
                      <a:pt x="791" y="1424"/>
                    </a:lnTo>
                    <a:lnTo>
                      <a:pt x="786" y="1432"/>
                    </a:lnTo>
                    <a:lnTo>
                      <a:pt x="781" y="1439"/>
                    </a:lnTo>
                    <a:lnTo>
                      <a:pt x="775" y="1446"/>
                    </a:lnTo>
                    <a:lnTo>
                      <a:pt x="768" y="1452"/>
                    </a:lnTo>
                    <a:lnTo>
                      <a:pt x="759" y="1460"/>
                    </a:lnTo>
                    <a:lnTo>
                      <a:pt x="744" y="1472"/>
                    </a:lnTo>
                    <a:lnTo>
                      <a:pt x="732" y="1484"/>
                    </a:lnTo>
                    <a:lnTo>
                      <a:pt x="721" y="1498"/>
                    </a:lnTo>
                    <a:lnTo>
                      <a:pt x="713" y="1512"/>
                    </a:lnTo>
                    <a:lnTo>
                      <a:pt x="705" y="1528"/>
                    </a:lnTo>
                    <a:lnTo>
                      <a:pt x="698" y="1543"/>
                    </a:lnTo>
                    <a:lnTo>
                      <a:pt x="691" y="1561"/>
                    </a:lnTo>
                    <a:lnTo>
                      <a:pt x="684" y="1579"/>
                    </a:lnTo>
                    <a:lnTo>
                      <a:pt x="679" y="1595"/>
                    </a:lnTo>
                    <a:lnTo>
                      <a:pt x="674" y="1609"/>
                    </a:lnTo>
                    <a:lnTo>
                      <a:pt x="669" y="1623"/>
                    </a:lnTo>
                    <a:lnTo>
                      <a:pt x="663" y="1635"/>
                    </a:lnTo>
                    <a:lnTo>
                      <a:pt x="659" y="1641"/>
                    </a:lnTo>
                    <a:lnTo>
                      <a:pt x="655" y="1646"/>
                    </a:lnTo>
                    <a:lnTo>
                      <a:pt x="651" y="1652"/>
                    </a:lnTo>
                    <a:lnTo>
                      <a:pt x="646" y="1657"/>
                    </a:lnTo>
                    <a:lnTo>
                      <a:pt x="641" y="1661"/>
                    </a:lnTo>
                    <a:lnTo>
                      <a:pt x="635" y="1664"/>
                    </a:lnTo>
                    <a:lnTo>
                      <a:pt x="627" y="1667"/>
                    </a:lnTo>
                    <a:lnTo>
                      <a:pt x="620" y="1669"/>
                    </a:lnTo>
                    <a:lnTo>
                      <a:pt x="613" y="1652"/>
                    </a:lnTo>
                    <a:lnTo>
                      <a:pt x="607" y="1635"/>
                    </a:lnTo>
                    <a:lnTo>
                      <a:pt x="600" y="1620"/>
                    </a:lnTo>
                    <a:lnTo>
                      <a:pt x="590" y="1603"/>
                    </a:lnTo>
                    <a:lnTo>
                      <a:pt x="571" y="1610"/>
                    </a:lnTo>
                    <a:lnTo>
                      <a:pt x="553" y="1616"/>
                    </a:lnTo>
                    <a:lnTo>
                      <a:pt x="544" y="1619"/>
                    </a:lnTo>
                    <a:lnTo>
                      <a:pt x="535" y="1621"/>
                    </a:lnTo>
                    <a:lnTo>
                      <a:pt x="525" y="1622"/>
                    </a:lnTo>
                    <a:lnTo>
                      <a:pt x="514" y="1622"/>
                    </a:lnTo>
                    <a:lnTo>
                      <a:pt x="506" y="1622"/>
                    </a:lnTo>
                    <a:lnTo>
                      <a:pt x="498" y="1620"/>
                    </a:lnTo>
                    <a:lnTo>
                      <a:pt x="490" y="1615"/>
                    </a:lnTo>
                    <a:lnTo>
                      <a:pt x="484" y="1611"/>
                    </a:lnTo>
                    <a:lnTo>
                      <a:pt x="478" y="1606"/>
                    </a:lnTo>
                    <a:lnTo>
                      <a:pt x="473" y="1599"/>
                    </a:lnTo>
                    <a:lnTo>
                      <a:pt x="469" y="1592"/>
                    </a:lnTo>
                    <a:lnTo>
                      <a:pt x="465" y="1584"/>
                    </a:lnTo>
                    <a:lnTo>
                      <a:pt x="428" y="1595"/>
                    </a:lnTo>
                    <a:lnTo>
                      <a:pt x="395" y="1606"/>
                    </a:lnTo>
                    <a:lnTo>
                      <a:pt x="388" y="1610"/>
                    </a:lnTo>
                    <a:lnTo>
                      <a:pt x="381" y="1614"/>
                    </a:lnTo>
                    <a:lnTo>
                      <a:pt x="375" y="1619"/>
                    </a:lnTo>
                    <a:lnTo>
                      <a:pt x="369" y="1624"/>
                    </a:lnTo>
                    <a:lnTo>
                      <a:pt x="362" y="1630"/>
                    </a:lnTo>
                    <a:lnTo>
                      <a:pt x="357" y="1636"/>
                    </a:lnTo>
                    <a:lnTo>
                      <a:pt x="352" y="1644"/>
                    </a:lnTo>
                    <a:lnTo>
                      <a:pt x="347" y="1653"/>
                    </a:lnTo>
                    <a:lnTo>
                      <a:pt x="339" y="1650"/>
                    </a:lnTo>
                    <a:lnTo>
                      <a:pt x="331" y="1644"/>
                    </a:lnTo>
                    <a:lnTo>
                      <a:pt x="325" y="1639"/>
                    </a:lnTo>
                    <a:lnTo>
                      <a:pt x="319" y="1634"/>
                    </a:lnTo>
                    <a:lnTo>
                      <a:pt x="313" y="1630"/>
                    </a:lnTo>
                    <a:lnTo>
                      <a:pt x="307" y="1626"/>
                    </a:lnTo>
                    <a:lnTo>
                      <a:pt x="300" y="1623"/>
                    </a:lnTo>
                    <a:lnTo>
                      <a:pt x="290" y="1622"/>
                    </a:lnTo>
                    <a:lnTo>
                      <a:pt x="286" y="1623"/>
                    </a:lnTo>
                    <a:lnTo>
                      <a:pt x="282" y="1624"/>
                    </a:lnTo>
                    <a:lnTo>
                      <a:pt x="279" y="1625"/>
                    </a:lnTo>
                    <a:lnTo>
                      <a:pt x="275" y="1627"/>
                    </a:lnTo>
                    <a:lnTo>
                      <a:pt x="270" y="1633"/>
                    </a:lnTo>
                    <a:lnTo>
                      <a:pt x="264" y="1639"/>
                    </a:lnTo>
                    <a:lnTo>
                      <a:pt x="260" y="1646"/>
                    </a:lnTo>
                    <a:lnTo>
                      <a:pt x="255" y="1654"/>
                    </a:lnTo>
                    <a:lnTo>
                      <a:pt x="252" y="1657"/>
                    </a:lnTo>
                    <a:lnTo>
                      <a:pt x="249" y="1660"/>
                    </a:lnTo>
                    <a:lnTo>
                      <a:pt x="245" y="1662"/>
                    </a:lnTo>
                    <a:lnTo>
                      <a:pt x="241" y="1664"/>
                    </a:lnTo>
                    <a:lnTo>
                      <a:pt x="228" y="1660"/>
                    </a:lnTo>
                    <a:lnTo>
                      <a:pt x="215" y="1657"/>
                    </a:lnTo>
                    <a:lnTo>
                      <a:pt x="209" y="1655"/>
                    </a:lnTo>
                    <a:lnTo>
                      <a:pt x="204" y="1652"/>
                    </a:lnTo>
                    <a:lnTo>
                      <a:pt x="197" y="1650"/>
                    </a:lnTo>
                    <a:lnTo>
                      <a:pt x="191" y="1645"/>
                    </a:lnTo>
                    <a:lnTo>
                      <a:pt x="189" y="1655"/>
                    </a:lnTo>
                    <a:lnTo>
                      <a:pt x="193" y="1664"/>
                    </a:lnTo>
                    <a:lnTo>
                      <a:pt x="193" y="1776"/>
                    </a:lnTo>
                    <a:lnTo>
                      <a:pt x="187" y="1777"/>
                    </a:lnTo>
                    <a:lnTo>
                      <a:pt x="180" y="1778"/>
                    </a:lnTo>
                    <a:lnTo>
                      <a:pt x="171" y="1778"/>
                    </a:lnTo>
                    <a:lnTo>
                      <a:pt x="161" y="1776"/>
                    </a:lnTo>
                    <a:lnTo>
                      <a:pt x="153" y="1773"/>
                    </a:lnTo>
                    <a:lnTo>
                      <a:pt x="146" y="1770"/>
                    </a:lnTo>
                    <a:lnTo>
                      <a:pt x="139" y="1766"/>
                    </a:lnTo>
                    <a:lnTo>
                      <a:pt x="131" y="1760"/>
                    </a:lnTo>
                    <a:lnTo>
                      <a:pt x="125" y="1754"/>
                    </a:lnTo>
                    <a:lnTo>
                      <a:pt x="118" y="1747"/>
                    </a:lnTo>
                    <a:lnTo>
                      <a:pt x="113" y="1737"/>
                    </a:lnTo>
                    <a:lnTo>
                      <a:pt x="109" y="1727"/>
                    </a:lnTo>
                    <a:lnTo>
                      <a:pt x="107" y="1723"/>
                    </a:lnTo>
                    <a:lnTo>
                      <a:pt x="104" y="1720"/>
                    </a:lnTo>
                    <a:lnTo>
                      <a:pt x="99" y="1718"/>
                    </a:lnTo>
                    <a:lnTo>
                      <a:pt x="94" y="1717"/>
                    </a:lnTo>
                    <a:lnTo>
                      <a:pt x="86" y="1717"/>
                    </a:lnTo>
                    <a:lnTo>
                      <a:pt x="78" y="1719"/>
                    </a:lnTo>
                    <a:lnTo>
                      <a:pt x="71" y="1722"/>
                    </a:lnTo>
                    <a:lnTo>
                      <a:pt x="63" y="1726"/>
                    </a:lnTo>
                    <a:lnTo>
                      <a:pt x="49" y="1734"/>
                    </a:lnTo>
                    <a:lnTo>
                      <a:pt x="33" y="1742"/>
                    </a:lnTo>
                    <a:lnTo>
                      <a:pt x="44" y="1760"/>
                    </a:lnTo>
                    <a:lnTo>
                      <a:pt x="52" y="1776"/>
                    </a:lnTo>
                    <a:lnTo>
                      <a:pt x="60" y="1792"/>
                    </a:lnTo>
                    <a:lnTo>
                      <a:pt x="66" y="1808"/>
                    </a:lnTo>
                    <a:lnTo>
                      <a:pt x="72" y="1823"/>
                    </a:lnTo>
                    <a:lnTo>
                      <a:pt x="76" y="1841"/>
                    </a:lnTo>
                    <a:lnTo>
                      <a:pt x="78" y="1858"/>
                    </a:lnTo>
                    <a:lnTo>
                      <a:pt x="78" y="1878"/>
                    </a:lnTo>
                    <a:lnTo>
                      <a:pt x="78" y="1890"/>
                    </a:lnTo>
                    <a:lnTo>
                      <a:pt x="76" y="1902"/>
                    </a:lnTo>
                    <a:lnTo>
                      <a:pt x="72" y="1912"/>
                    </a:lnTo>
                    <a:lnTo>
                      <a:pt x="67" y="1922"/>
                    </a:lnTo>
                    <a:lnTo>
                      <a:pt x="62" y="1930"/>
                    </a:lnTo>
                    <a:lnTo>
                      <a:pt x="56" y="1940"/>
                    </a:lnTo>
                    <a:lnTo>
                      <a:pt x="50" y="1948"/>
                    </a:lnTo>
                    <a:lnTo>
                      <a:pt x="44" y="1956"/>
                    </a:lnTo>
                    <a:lnTo>
                      <a:pt x="30" y="1974"/>
                    </a:lnTo>
                    <a:lnTo>
                      <a:pt x="17" y="1991"/>
                    </a:lnTo>
                    <a:lnTo>
                      <a:pt x="12" y="2002"/>
                    </a:lnTo>
                    <a:lnTo>
                      <a:pt x="7" y="2012"/>
                    </a:lnTo>
                    <a:lnTo>
                      <a:pt x="4" y="2022"/>
                    </a:lnTo>
                    <a:lnTo>
                      <a:pt x="0" y="2035"/>
                    </a:lnTo>
                    <a:lnTo>
                      <a:pt x="0" y="2035"/>
                    </a:lnTo>
                    <a:lnTo>
                      <a:pt x="20" y="2052"/>
                    </a:lnTo>
                    <a:lnTo>
                      <a:pt x="38" y="2070"/>
                    </a:lnTo>
                    <a:lnTo>
                      <a:pt x="45" y="2079"/>
                    </a:lnTo>
                    <a:lnTo>
                      <a:pt x="50" y="2089"/>
                    </a:lnTo>
                    <a:lnTo>
                      <a:pt x="52" y="2095"/>
                    </a:lnTo>
                    <a:lnTo>
                      <a:pt x="53" y="2101"/>
                    </a:lnTo>
                    <a:lnTo>
                      <a:pt x="54" y="2107"/>
                    </a:lnTo>
                    <a:lnTo>
                      <a:pt x="55" y="2113"/>
                    </a:lnTo>
                    <a:lnTo>
                      <a:pt x="54" y="2144"/>
                    </a:lnTo>
                    <a:lnTo>
                      <a:pt x="51" y="2172"/>
                    </a:lnTo>
                    <a:lnTo>
                      <a:pt x="49" y="2200"/>
                    </a:lnTo>
                    <a:lnTo>
                      <a:pt x="48" y="2231"/>
                    </a:lnTo>
                    <a:lnTo>
                      <a:pt x="48" y="2252"/>
                    </a:lnTo>
                    <a:lnTo>
                      <a:pt x="49" y="2271"/>
                    </a:lnTo>
                    <a:lnTo>
                      <a:pt x="52" y="2291"/>
                    </a:lnTo>
                    <a:lnTo>
                      <a:pt x="55" y="2310"/>
                    </a:lnTo>
                    <a:lnTo>
                      <a:pt x="59" y="2328"/>
                    </a:lnTo>
                    <a:lnTo>
                      <a:pt x="64" y="2347"/>
                    </a:lnTo>
                    <a:lnTo>
                      <a:pt x="71" y="2363"/>
                    </a:lnTo>
                    <a:lnTo>
                      <a:pt x="78" y="2380"/>
                    </a:lnTo>
                    <a:lnTo>
                      <a:pt x="87" y="2395"/>
                    </a:lnTo>
                    <a:lnTo>
                      <a:pt x="96" y="2410"/>
                    </a:lnTo>
                    <a:lnTo>
                      <a:pt x="108" y="2423"/>
                    </a:lnTo>
                    <a:lnTo>
                      <a:pt x="120" y="2436"/>
                    </a:lnTo>
                    <a:lnTo>
                      <a:pt x="135" y="2448"/>
                    </a:lnTo>
                    <a:lnTo>
                      <a:pt x="149" y="2458"/>
                    </a:lnTo>
                    <a:lnTo>
                      <a:pt x="166" y="2468"/>
                    </a:lnTo>
                    <a:lnTo>
                      <a:pt x="184" y="2477"/>
                    </a:lnTo>
                    <a:lnTo>
                      <a:pt x="184" y="2477"/>
                    </a:lnTo>
                    <a:lnTo>
                      <a:pt x="205" y="2465"/>
                    </a:lnTo>
                    <a:lnTo>
                      <a:pt x="222" y="2454"/>
                    </a:lnTo>
                    <a:lnTo>
                      <a:pt x="239" y="2443"/>
                    </a:lnTo>
                    <a:lnTo>
                      <a:pt x="254" y="2431"/>
                    </a:lnTo>
                    <a:lnTo>
                      <a:pt x="269" y="2418"/>
                    </a:lnTo>
                    <a:lnTo>
                      <a:pt x="283" y="2404"/>
                    </a:lnTo>
                    <a:lnTo>
                      <a:pt x="298" y="2390"/>
                    </a:lnTo>
                    <a:lnTo>
                      <a:pt x="314" y="2372"/>
                    </a:lnTo>
                    <a:lnTo>
                      <a:pt x="314" y="2325"/>
                    </a:lnTo>
                    <a:lnTo>
                      <a:pt x="320" y="2319"/>
                    </a:lnTo>
                    <a:lnTo>
                      <a:pt x="325" y="2314"/>
                    </a:lnTo>
                    <a:lnTo>
                      <a:pt x="331" y="2308"/>
                    </a:lnTo>
                    <a:lnTo>
                      <a:pt x="338" y="2303"/>
                    </a:lnTo>
                    <a:lnTo>
                      <a:pt x="345" y="2300"/>
                    </a:lnTo>
                    <a:lnTo>
                      <a:pt x="352" y="2297"/>
                    </a:lnTo>
                    <a:lnTo>
                      <a:pt x="359" y="2295"/>
                    </a:lnTo>
                    <a:lnTo>
                      <a:pt x="369" y="2295"/>
                    </a:lnTo>
                    <a:lnTo>
                      <a:pt x="372" y="2295"/>
                    </a:lnTo>
                    <a:lnTo>
                      <a:pt x="375" y="2296"/>
                    </a:lnTo>
                    <a:lnTo>
                      <a:pt x="378" y="2298"/>
                    </a:lnTo>
                    <a:lnTo>
                      <a:pt x="380" y="2301"/>
                    </a:lnTo>
                    <a:lnTo>
                      <a:pt x="383" y="2307"/>
                    </a:lnTo>
                    <a:lnTo>
                      <a:pt x="386" y="2315"/>
                    </a:lnTo>
                    <a:lnTo>
                      <a:pt x="389" y="2322"/>
                    </a:lnTo>
                    <a:lnTo>
                      <a:pt x="392" y="2329"/>
                    </a:lnTo>
                    <a:lnTo>
                      <a:pt x="394" y="2331"/>
                    </a:lnTo>
                    <a:lnTo>
                      <a:pt x="397" y="2333"/>
                    </a:lnTo>
                    <a:lnTo>
                      <a:pt x="400" y="2334"/>
                    </a:lnTo>
                    <a:lnTo>
                      <a:pt x="404" y="2335"/>
                    </a:lnTo>
                    <a:lnTo>
                      <a:pt x="414" y="2334"/>
                    </a:lnTo>
                    <a:lnTo>
                      <a:pt x="422" y="2333"/>
                    </a:lnTo>
                    <a:lnTo>
                      <a:pt x="432" y="2330"/>
                    </a:lnTo>
                    <a:lnTo>
                      <a:pt x="439" y="2327"/>
                    </a:lnTo>
                    <a:lnTo>
                      <a:pt x="455" y="2321"/>
                    </a:lnTo>
                    <a:lnTo>
                      <a:pt x="475" y="2316"/>
                    </a:lnTo>
                    <a:lnTo>
                      <a:pt x="500" y="2310"/>
                    </a:lnTo>
                    <a:lnTo>
                      <a:pt x="523" y="2304"/>
                    </a:lnTo>
                    <a:lnTo>
                      <a:pt x="546" y="2297"/>
                    </a:lnTo>
                    <a:lnTo>
                      <a:pt x="568" y="2290"/>
                    </a:lnTo>
                    <a:lnTo>
                      <a:pt x="608" y="2273"/>
                    </a:lnTo>
                    <a:lnTo>
                      <a:pt x="647" y="2258"/>
                    </a:lnTo>
                    <a:lnTo>
                      <a:pt x="667" y="2250"/>
                    </a:lnTo>
                    <a:lnTo>
                      <a:pt x="686" y="2242"/>
                    </a:lnTo>
                    <a:lnTo>
                      <a:pt x="706" y="2236"/>
                    </a:lnTo>
                    <a:lnTo>
                      <a:pt x="727" y="2231"/>
                    </a:lnTo>
                    <a:lnTo>
                      <a:pt x="749" y="2226"/>
                    </a:lnTo>
                    <a:lnTo>
                      <a:pt x="772" y="2223"/>
                    </a:lnTo>
                    <a:lnTo>
                      <a:pt x="796" y="2220"/>
                    </a:lnTo>
                    <a:lnTo>
                      <a:pt x="821" y="2220"/>
                    </a:lnTo>
                    <a:lnTo>
                      <a:pt x="832" y="2220"/>
                    </a:lnTo>
                    <a:lnTo>
                      <a:pt x="842" y="2222"/>
                    </a:lnTo>
                    <a:lnTo>
                      <a:pt x="851" y="2226"/>
                    </a:lnTo>
                    <a:lnTo>
                      <a:pt x="859" y="2230"/>
                    </a:lnTo>
                    <a:lnTo>
                      <a:pt x="868" y="2236"/>
                    </a:lnTo>
                    <a:lnTo>
                      <a:pt x="875" y="2242"/>
                    </a:lnTo>
                    <a:lnTo>
                      <a:pt x="882" y="2250"/>
                    </a:lnTo>
                    <a:lnTo>
                      <a:pt x="888" y="2257"/>
                    </a:lnTo>
                    <a:lnTo>
                      <a:pt x="901" y="2274"/>
                    </a:lnTo>
                    <a:lnTo>
                      <a:pt x="914" y="2291"/>
                    </a:lnTo>
                    <a:lnTo>
                      <a:pt x="921" y="2300"/>
                    </a:lnTo>
                    <a:lnTo>
                      <a:pt x="929" y="2308"/>
                    </a:lnTo>
                    <a:lnTo>
                      <a:pt x="937" y="2316"/>
                    </a:lnTo>
                    <a:lnTo>
                      <a:pt x="946" y="2323"/>
                    </a:lnTo>
                    <a:lnTo>
                      <a:pt x="946" y="2323"/>
                    </a:lnTo>
                    <a:lnTo>
                      <a:pt x="962" y="2316"/>
                    </a:lnTo>
                    <a:lnTo>
                      <a:pt x="976" y="2307"/>
                    </a:lnTo>
                    <a:lnTo>
                      <a:pt x="989" y="2299"/>
                    </a:lnTo>
                    <a:lnTo>
                      <a:pt x="1002" y="2290"/>
                    </a:lnTo>
                    <a:lnTo>
                      <a:pt x="1026" y="2271"/>
                    </a:lnTo>
                    <a:lnTo>
                      <a:pt x="1047" y="2252"/>
                    </a:lnTo>
                    <a:lnTo>
                      <a:pt x="1059" y="2242"/>
                    </a:lnTo>
                    <a:lnTo>
                      <a:pt x="1070" y="2234"/>
                    </a:lnTo>
                    <a:lnTo>
                      <a:pt x="1081" y="2226"/>
                    </a:lnTo>
                    <a:lnTo>
                      <a:pt x="1094" y="2219"/>
                    </a:lnTo>
                    <a:lnTo>
                      <a:pt x="1107" y="2211"/>
                    </a:lnTo>
                    <a:lnTo>
                      <a:pt x="1121" y="2206"/>
                    </a:lnTo>
                    <a:lnTo>
                      <a:pt x="1137" y="2201"/>
                    </a:lnTo>
                    <a:lnTo>
                      <a:pt x="1153" y="2198"/>
                    </a:lnTo>
                    <a:lnTo>
                      <a:pt x="1168" y="2196"/>
                    </a:lnTo>
                    <a:lnTo>
                      <a:pt x="1183" y="2193"/>
                    </a:lnTo>
                    <a:lnTo>
                      <a:pt x="1197" y="2189"/>
                    </a:lnTo>
                    <a:lnTo>
                      <a:pt x="1210" y="2184"/>
                    </a:lnTo>
                    <a:lnTo>
                      <a:pt x="1222" y="2180"/>
                    </a:lnTo>
                    <a:lnTo>
                      <a:pt x="1235" y="2175"/>
                    </a:lnTo>
                    <a:lnTo>
                      <a:pt x="1247" y="2169"/>
                    </a:lnTo>
                    <a:lnTo>
                      <a:pt x="1259" y="2163"/>
                    </a:lnTo>
                    <a:lnTo>
                      <a:pt x="1269" y="2156"/>
                    </a:lnTo>
                    <a:lnTo>
                      <a:pt x="1280" y="2148"/>
                    </a:lnTo>
                    <a:lnTo>
                      <a:pt x="1290" y="2139"/>
                    </a:lnTo>
                    <a:lnTo>
                      <a:pt x="1300" y="2130"/>
                    </a:lnTo>
                    <a:lnTo>
                      <a:pt x="1309" y="2120"/>
                    </a:lnTo>
                    <a:lnTo>
                      <a:pt x="1317" y="2109"/>
                    </a:lnTo>
                    <a:lnTo>
                      <a:pt x="1327" y="2098"/>
                    </a:lnTo>
                    <a:lnTo>
                      <a:pt x="1335" y="2084"/>
                    </a:lnTo>
                    <a:lnTo>
                      <a:pt x="1341" y="2073"/>
                    </a:lnTo>
                    <a:lnTo>
                      <a:pt x="1347" y="2063"/>
                    </a:lnTo>
                    <a:lnTo>
                      <a:pt x="1351" y="2051"/>
                    </a:lnTo>
                    <a:lnTo>
                      <a:pt x="1357" y="2041"/>
                    </a:lnTo>
                    <a:lnTo>
                      <a:pt x="1364" y="2019"/>
                    </a:lnTo>
                    <a:lnTo>
                      <a:pt x="1371" y="1999"/>
                    </a:lnTo>
                    <a:lnTo>
                      <a:pt x="1378" y="1979"/>
                    </a:lnTo>
                    <a:lnTo>
                      <a:pt x="1387" y="1959"/>
                    </a:lnTo>
                    <a:lnTo>
                      <a:pt x="1394" y="1950"/>
                    </a:lnTo>
                    <a:lnTo>
                      <a:pt x="1401" y="1941"/>
                    </a:lnTo>
                    <a:lnTo>
                      <a:pt x="1408" y="1931"/>
                    </a:lnTo>
                    <a:lnTo>
                      <a:pt x="1417" y="1922"/>
                    </a:lnTo>
                    <a:lnTo>
                      <a:pt x="1424" y="1917"/>
                    </a:lnTo>
                    <a:lnTo>
                      <a:pt x="1430" y="1913"/>
                    </a:lnTo>
                    <a:lnTo>
                      <a:pt x="1437" y="1910"/>
                    </a:lnTo>
                    <a:lnTo>
                      <a:pt x="1443" y="1908"/>
                    </a:lnTo>
                    <a:lnTo>
                      <a:pt x="1458" y="1907"/>
                    </a:lnTo>
                    <a:lnTo>
                      <a:pt x="1472" y="1908"/>
                    </a:lnTo>
                    <a:lnTo>
                      <a:pt x="1486" y="1909"/>
                    </a:lnTo>
                    <a:lnTo>
                      <a:pt x="1502" y="1909"/>
                    </a:lnTo>
                    <a:lnTo>
                      <a:pt x="1509" y="1909"/>
                    </a:lnTo>
                    <a:lnTo>
                      <a:pt x="1517" y="1908"/>
                    </a:lnTo>
                    <a:lnTo>
                      <a:pt x="1525" y="1906"/>
                    </a:lnTo>
                    <a:lnTo>
                      <a:pt x="1533" y="1903"/>
                    </a:lnTo>
                    <a:lnTo>
                      <a:pt x="1541" y="1899"/>
                    </a:lnTo>
                    <a:lnTo>
                      <a:pt x="1547" y="1894"/>
                    </a:lnTo>
                    <a:lnTo>
                      <a:pt x="1555" y="1889"/>
                    </a:lnTo>
                    <a:lnTo>
                      <a:pt x="1561" y="1884"/>
                    </a:lnTo>
                    <a:lnTo>
                      <a:pt x="1571" y="1873"/>
                    </a:lnTo>
                    <a:lnTo>
                      <a:pt x="1582" y="1861"/>
                    </a:lnTo>
                    <a:lnTo>
                      <a:pt x="1593" y="1851"/>
                    </a:lnTo>
                    <a:lnTo>
                      <a:pt x="1604" y="1843"/>
                    </a:lnTo>
                    <a:lnTo>
                      <a:pt x="1611" y="1840"/>
                    </a:lnTo>
                    <a:lnTo>
                      <a:pt x="1617" y="1836"/>
                    </a:lnTo>
                    <a:lnTo>
                      <a:pt x="1626" y="1835"/>
                    </a:lnTo>
                    <a:lnTo>
                      <a:pt x="1634" y="1834"/>
                    </a:lnTo>
                    <a:lnTo>
                      <a:pt x="1648" y="1835"/>
                    </a:lnTo>
                    <a:lnTo>
                      <a:pt x="1662" y="1839"/>
                    </a:lnTo>
                    <a:lnTo>
                      <a:pt x="1674" y="1843"/>
                    </a:lnTo>
                    <a:lnTo>
                      <a:pt x="1686" y="1848"/>
                    </a:lnTo>
                    <a:lnTo>
                      <a:pt x="1709" y="1859"/>
                    </a:lnTo>
                    <a:lnTo>
                      <a:pt x="1736" y="1869"/>
                    </a:lnTo>
                    <a:lnTo>
                      <a:pt x="1736" y="1869"/>
                    </a:lnTo>
                    <a:lnTo>
                      <a:pt x="1742" y="1860"/>
                    </a:lnTo>
                    <a:lnTo>
                      <a:pt x="1747" y="1852"/>
                    </a:lnTo>
                    <a:lnTo>
                      <a:pt x="1753" y="1843"/>
                    </a:lnTo>
                    <a:lnTo>
                      <a:pt x="1757" y="1833"/>
                    </a:lnTo>
                    <a:lnTo>
                      <a:pt x="1763" y="1816"/>
                    </a:lnTo>
                    <a:lnTo>
                      <a:pt x="1768" y="1798"/>
                    </a:lnTo>
                    <a:lnTo>
                      <a:pt x="1774" y="1761"/>
                    </a:lnTo>
                    <a:lnTo>
                      <a:pt x="1782" y="1719"/>
                    </a:lnTo>
                    <a:lnTo>
                      <a:pt x="1785" y="1712"/>
                    </a:lnTo>
                    <a:lnTo>
                      <a:pt x="1788" y="1705"/>
                    </a:lnTo>
                    <a:lnTo>
                      <a:pt x="1791" y="1699"/>
                    </a:lnTo>
                    <a:lnTo>
                      <a:pt x="1795" y="1693"/>
                    </a:lnTo>
                    <a:lnTo>
                      <a:pt x="1802" y="1683"/>
                    </a:lnTo>
                    <a:lnTo>
                      <a:pt x="1811" y="1673"/>
                    </a:lnTo>
                    <a:lnTo>
                      <a:pt x="1819" y="1663"/>
                    </a:lnTo>
                    <a:lnTo>
                      <a:pt x="1826" y="1653"/>
                    </a:lnTo>
                    <a:lnTo>
                      <a:pt x="1829" y="1646"/>
                    </a:lnTo>
                    <a:lnTo>
                      <a:pt x="1831" y="1640"/>
                    </a:lnTo>
                    <a:lnTo>
                      <a:pt x="1832" y="1634"/>
                    </a:lnTo>
                    <a:lnTo>
                      <a:pt x="1832" y="1627"/>
                    </a:lnTo>
                    <a:lnTo>
                      <a:pt x="1832" y="1612"/>
                    </a:lnTo>
                    <a:lnTo>
                      <a:pt x="1831" y="1599"/>
                    </a:lnTo>
                    <a:lnTo>
                      <a:pt x="1829" y="1586"/>
                    </a:lnTo>
                    <a:lnTo>
                      <a:pt x="1827" y="1573"/>
                    </a:lnTo>
                    <a:lnTo>
                      <a:pt x="1821" y="1550"/>
                    </a:lnTo>
                    <a:lnTo>
                      <a:pt x="1814" y="1528"/>
                    </a:lnTo>
                    <a:lnTo>
                      <a:pt x="1808" y="1505"/>
                    </a:lnTo>
                    <a:lnTo>
                      <a:pt x="1802" y="1481"/>
                    </a:lnTo>
                    <a:lnTo>
                      <a:pt x="1800" y="1469"/>
                    </a:lnTo>
                    <a:lnTo>
                      <a:pt x="1798" y="1456"/>
                    </a:lnTo>
                    <a:lnTo>
                      <a:pt x="1797" y="1443"/>
                    </a:lnTo>
                    <a:lnTo>
                      <a:pt x="1797" y="1429"/>
                    </a:lnTo>
                    <a:lnTo>
                      <a:pt x="1798" y="1412"/>
                    </a:lnTo>
                    <a:lnTo>
                      <a:pt x="1799" y="1398"/>
                    </a:lnTo>
                    <a:lnTo>
                      <a:pt x="1801" y="1384"/>
                    </a:lnTo>
                    <a:lnTo>
                      <a:pt x="1804" y="1372"/>
                    </a:lnTo>
                    <a:lnTo>
                      <a:pt x="1807" y="1358"/>
                    </a:lnTo>
                    <a:lnTo>
                      <a:pt x="1810" y="1345"/>
                    </a:lnTo>
                    <a:lnTo>
                      <a:pt x="1812" y="1330"/>
                    </a:lnTo>
                    <a:lnTo>
                      <a:pt x="1813" y="1315"/>
                    </a:lnTo>
                    <a:lnTo>
                      <a:pt x="1814" y="1303"/>
                    </a:lnTo>
                    <a:lnTo>
                      <a:pt x="1816" y="1290"/>
                    </a:lnTo>
                    <a:lnTo>
                      <a:pt x="1819" y="1278"/>
                    </a:lnTo>
                    <a:lnTo>
                      <a:pt x="1823" y="1267"/>
                    </a:lnTo>
                    <a:lnTo>
                      <a:pt x="1826" y="1262"/>
                    </a:lnTo>
                    <a:lnTo>
                      <a:pt x="1829" y="1258"/>
                    </a:lnTo>
                    <a:lnTo>
                      <a:pt x="1832" y="1253"/>
                    </a:lnTo>
                    <a:lnTo>
                      <a:pt x="1836" y="1250"/>
                    </a:lnTo>
                    <a:lnTo>
                      <a:pt x="1840" y="1246"/>
                    </a:lnTo>
                    <a:lnTo>
                      <a:pt x="1844" y="1243"/>
                    </a:lnTo>
                    <a:lnTo>
                      <a:pt x="1851" y="1240"/>
                    </a:lnTo>
                    <a:lnTo>
                      <a:pt x="1856" y="1238"/>
                    </a:lnTo>
                    <a:lnTo>
                      <a:pt x="1863" y="1234"/>
                    </a:lnTo>
                    <a:lnTo>
                      <a:pt x="1869" y="1231"/>
                    </a:lnTo>
                    <a:lnTo>
                      <a:pt x="1875" y="1228"/>
                    </a:lnTo>
                    <a:lnTo>
                      <a:pt x="1881" y="1225"/>
                    </a:lnTo>
                    <a:lnTo>
                      <a:pt x="1891" y="1217"/>
                    </a:lnTo>
                    <a:lnTo>
                      <a:pt x="1900" y="1208"/>
                    </a:lnTo>
                    <a:lnTo>
                      <a:pt x="1915" y="1187"/>
                    </a:lnTo>
                    <a:lnTo>
                      <a:pt x="1934" y="1164"/>
                    </a:lnTo>
                    <a:lnTo>
                      <a:pt x="1950" y="1146"/>
                    </a:lnTo>
                    <a:lnTo>
                      <a:pt x="1963" y="1129"/>
                    </a:lnTo>
                    <a:lnTo>
                      <a:pt x="1976" y="1113"/>
                    </a:lnTo>
                    <a:lnTo>
                      <a:pt x="1988" y="1096"/>
                    </a:lnTo>
                    <a:lnTo>
                      <a:pt x="1992" y="1087"/>
                    </a:lnTo>
                    <a:lnTo>
                      <a:pt x="1996" y="1078"/>
                    </a:lnTo>
                    <a:lnTo>
                      <a:pt x="2000" y="1069"/>
                    </a:lnTo>
                    <a:lnTo>
                      <a:pt x="2003" y="1060"/>
                    </a:lnTo>
                    <a:lnTo>
                      <a:pt x="2005" y="1050"/>
                    </a:lnTo>
                    <a:lnTo>
                      <a:pt x="2007" y="1039"/>
                    </a:lnTo>
                    <a:lnTo>
                      <a:pt x="2008" y="1028"/>
                    </a:lnTo>
                    <a:lnTo>
                      <a:pt x="2009" y="1015"/>
                    </a:lnTo>
                    <a:lnTo>
                      <a:pt x="2009" y="966"/>
                    </a:lnTo>
                    <a:lnTo>
                      <a:pt x="2009" y="956"/>
                    </a:lnTo>
                    <a:lnTo>
                      <a:pt x="2010" y="945"/>
                    </a:lnTo>
                    <a:lnTo>
                      <a:pt x="2012" y="935"/>
                    </a:lnTo>
                    <a:lnTo>
                      <a:pt x="2014" y="926"/>
                    </a:lnTo>
                    <a:lnTo>
                      <a:pt x="2020" y="908"/>
                    </a:lnTo>
                    <a:lnTo>
                      <a:pt x="2027" y="892"/>
                    </a:lnTo>
                    <a:lnTo>
                      <a:pt x="2035" y="875"/>
                    </a:lnTo>
                    <a:lnTo>
                      <a:pt x="2043" y="859"/>
                    </a:lnTo>
                    <a:lnTo>
                      <a:pt x="2052" y="840"/>
                    </a:lnTo>
                    <a:lnTo>
                      <a:pt x="2059" y="819"/>
                    </a:lnTo>
                    <a:lnTo>
                      <a:pt x="2061" y="808"/>
                    </a:lnTo>
                    <a:lnTo>
                      <a:pt x="2063" y="798"/>
                    </a:lnTo>
                    <a:lnTo>
                      <a:pt x="2063" y="787"/>
                    </a:lnTo>
                    <a:lnTo>
                      <a:pt x="2063" y="777"/>
                    </a:lnTo>
                    <a:lnTo>
                      <a:pt x="2064" y="768"/>
                    </a:lnTo>
                    <a:lnTo>
                      <a:pt x="2066" y="758"/>
                    </a:lnTo>
                    <a:lnTo>
                      <a:pt x="2069" y="749"/>
                    </a:lnTo>
                    <a:lnTo>
                      <a:pt x="2075" y="739"/>
                    </a:lnTo>
                    <a:lnTo>
                      <a:pt x="2091" y="753"/>
                    </a:lnTo>
                    <a:lnTo>
                      <a:pt x="2104" y="766"/>
                    </a:lnTo>
                    <a:lnTo>
                      <a:pt x="2110" y="772"/>
                    </a:lnTo>
                    <a:lnTo>
                      <a:pt x="2117" y="778"/>
                    </a:lnTo>
                    <a:lnTo>
                      <a:pt x="2122" y="786"/>
                    </a:lnTo>
                    <a:lnTo>
                      <a:pt x="2127" y="796"/>
                    </a:lnTo>
                    <a:lnTo>
                      <a:pt x="2137" y="783"/>
                    </a:lnTo>
                    <a:lnTo>
                      <a:pt x="2145" y="770"/>
                    </a:lnTo>
                    <a:lnTo>
                      <a:pt x="2152" y="756"/>
                    </a:lnTo>
                    <a:lnTo>
                      <a:pt x="2157" y="743"/>
                    </a:lnTo>
                    <a:lnTo>
                      <a:pt x="2166" y="714"/>
                    </a:lnTo>
                    <a:lnTo>
                      <a:pt x="2177" y="682"/>
                    </a:lnTo>
                    <a:lnTo>
                      <a:pt x="2177" y="682"/>
                    </a:lnTo>
                    <a:lnTo>
                      <a:pt x="2177" y="670"/>
                    </a:lnTo>
                    <a:lnTo>
                      <a:pt x="2176" y="657"/>
                    </a:lnTo>
                    <a:lnTo>
                      <a:pt x="2176" y="646"/>
                    </a:lnTo>
                    <a:lnTo>
                      <a:pt x="2176" y="632"/>
                    </a:lnTo>
                    <a:lnTo>
                      <a:pt x="2177" y="623"/>
                    </a:lnTo>
                    <a:lnTo>
                      <a:pt x="2178" y="615"/>
                    </a:lnTo>
                    <a:lnTo>
                      <a:pt x="2181" y="608"/>
                    </a:lnTo>
                    <a:lnTo>
                      <a:pt x="2184" y="599"/>
                    </a:lnTo>
                    <a:lnTo>
                      <a:pt x="2186" y="592"/>
                    </a:lnTo>
                    <a:lnTo>
                      <a:pt x="2189" y="585"/>
                    </a:lnTo>
                    <a:lnTo>
                      <a:pt x="2190" y="577"/>
                    </a:lnTo>
                    <a:lnTo>
                      <a:pt x="2191" y="567"/>
                    </a:lnTo>
                    <a:lnTo>
                      <a:pt x="2191" y="548"/>
                    </a:lnTo>
                    <a:lnTo>
                      <a:pt x="2184" y="548"/>
                    </a:lnTo>
                    <a:lnTo>
                      <a:pt x="2178" y="547"/>
                    </a:lnTo>
                    <a:lnTo>
                      <a:pt x="2172" y="545"/>
                    </a:lnTo>
                    <a:lnTo>
                      <a:pt x="2167" y="542"/>
                    </a:lnTo>
                    <a:lnTo>
                      <a:pt x="2158" y="536"/>
                    </a:lnTo>
                    <a:lnTo>
                      <a:pt x="2149" y="529"/>
                    </a:lnTo>
                    <a:lnTo>
                      <a:pt x="2139" y="522"/>
                    </a:lnTo>
                    <a:lnTo>
                      <a:pt x="2129" y="516"/>
                    </a:lnTo>
                    <a:lnTo>
                      <a:pt x="2124" y="514"/>
                    </a:lnTo>
                    <a:lnTo>
                      <a:pt x="2119" y="512"/>
                    </a:lnTo>
                    <a:lnTo>
                      <a:pt x="2112" y="511"/>
                    </a:lnTo>
                    <a:lnTo>
                      <a:pt x="2105" y="511"/>
                    </a:lnTo>
                    <a:lnTo>
                      <a:pt x="2095" y="511"/>
                    </a:lnTo>
                    <a:lnTo>
                      <a:pt x="2085" y="513"/>
                    </a:lnTo>
                    <a:lnTo>
                      <a:pt x="2075" y="516"/>
                    </a:lnTo>
                    <a:lnTo>
                      <a:pt x="2067" y="519"/>
                    </a:lnTo>
                    <a:lnTo>
                      <a:pt x="2058" y="523"/>
                    </a:lnTo>
                    <a:lnTo>
                      <a:pt x="2049" y="526"/>
                    </a:lnTo>
                    <a:lnTo>
                      <a:pt x="2039" y="529"/>
                    </a:lnTo>
                    <a:lnTo>
                      <a:pt x="2028" y="531"/>
                    </a:lnTo>
                    <a:lnTo>
                      <a:pt x="1999" y="533"/>
                    </a:lnTo>
                    <a:lnTo>
                      <a:pt x="1974" y="534"/>
                    </a:lnTo>
                    <a:lnTo>
                      <a:pt x="1950" y="535"/>
                    </a:lnTo>
                    <a:lnTo>
                      <a:pt x="1921" y="536"/>
                    </a:lnTo>
                    <a:lnTo>
                      <a:pt x="1912" y="535"/>
                    </a:lnTo>
                    <a:lnTo>
                      <a:pt x="1905" y="532"/>
                    </a:lnTo>
                    <a:lnTo>
                      <a:pt x="1900" y="528"/>
                    </a:lnTo>
                    <a:lnTo>
                      <a:pt x="1895" y="523"/>
                    </a:lnTo>
                    <a:lnTo>
                      <a:pt x="1892" y="516"/>
                    </a:lnTo>
                    <a:lnTo>
                      <a:pt x="1889" y="508"/>
                    </a:lnTo>
                    <a:lnTo>
                      <a:pt x="1887" y="500"/>
                    </a:lnTo>
                    <a:lnTo>
                      <a:pt x="1885" y="492"/>
                    </a:lnTo>
                    <a:lnTo>
                      <a:pt x="1880" y="473"/>
                    </a:lnTo>
                    <a:lnTo>
                      <a:pt x="1874" y="456"/>
                    </a:lnTo>
                    <a:lnTo>
                      <a:pt x="1871" y="448"/>
                    </a:lnTo>
                    <a:lnTo>
                      <a:pt x="1866" y="439"/>
                    </a:lnTo>
                    <a:lnTo>
                      <a:pt x="1861" y="433"/>
                    </a:lnTo>
                    <a:lnTo>
                      <a:pt x="1854" y="428"/>
                    </a:lnTo>
                    <a:lnTo>
                      <a:pt x="1844" y="422"/>
                    </a:lnTo>
                    <a:lnTo>
                      <a:pt x="1837" y="416"/>
                    </a:lnTo>
                    <a:lnTo>
                      <a:pt x="1831" y="408"/>
                    </a:lnTo>
                    <a:lnTo>
                      <a:pt x="1825" y="401"/>
                    </a:lnTo>
                    <a:lnTo>
                      <a:pt x="1821" y="393"/>
                    </a:lnTo>
                    <a:lnTo>
                      <a:pt x="1816" y="386"/>
                    </a:lnTo>
                    <a:lnTo>
                      <a:pt x="1813" y="377"/>
                    </a:lnTo>
                    <a:lnTo>
                      <a:pt x="1810" y="368"/>
                    </a:lnTo>
                    <a:lnTo>
                      <a:pt x="1806" y="349"/>
                    </a:lnTo>
                    <a:lnTo>
                      <a:pt x="1804" y="330"/>
                    </a:lnTo>
                    <a:lnTo>
                      <a:pt x="1802" y="309"/>
                    </a:lnTo>
                    <a:lnTo>
                      <a:pt x="1799" y="289"/>
                    </a:lnTo>
                    <a:lnTo>
                      <a:pt x="1771" y="289"/>
                    </a:lnTo>
                    <a:lnTo>
                      <a:pt x="1765" y="289"/>
                    </a:lnTo>
                    <a:lnTo>
                      <a:pt x="1759" y="291"/>
                    </a:lnTo>
                    <a:lnTo>
                      <a:pt x="1753" y="293"/>
                    </a:lnTo>
                    <a:lnTo>
                      <a:pt x="1747" y="296"/>
                    </a:lnTo>
                    <a:lnTo>
                      <a:pt x="1736" y="302"/>
                    </a:lnTo>
                    <a:lnTo>
                      <a:pt x="1724" y="307"/>
                    </a:lnTo>
                    <a:lnTo>
                      <a:pt x="1705" y="312"/>
                    </a:lnTo>
                    <a:lnTo>
                      <a:pt x="1688" y="317"/>
                    </a:lnTo>
                    <a:lnTo>
                      <a:pt x="1671" y="321"/>
                    </a:lnTo>
                    <a:lnTo>
                      <a:pt x="1655" y="323"/>
                    </a:lnTo>
                    <a:lnTo>
                      <a:pt x="1638" y="325"/>
                    </a:lnTo>
                    <a:lnTo>
                      <a:pt x="1621" y="326"/>
                    </a:lnTo>
                    <a:lnTo>
                      <a:pt x="1602" y="326"/>
                    </a:lnTo>
                    <a:lnTo>
                      <a:pt x="1582" y="326"/>
                    </a:lnTo>
                    <a:lnTo>
                      <a:pt x="1573" y="326"/>
                    </a:lnTo>
                    <a:lnTo>
                      <a:pt x="1564" y="325"/>
                    </a:lnTo>
                    <a:lnTo>
                      <a:pt x="1556" y="323"/>
                    </a:lnTo>
                    <a:lnTo>
                      <a:pt x="1547" y="318"/>
                    </a:lnTo>
                    <a:lnTo>
                      <a:pt x="1532" y="313"/>
                    </a:lnTo>
                    <a:lnTo>
                      <a:pt x="1519" y="306"/>
                    </a:lnTo>
                    <a:lnTo>
                      <a:pt x="1507" y="299"/>
                    </a:lnTo>
                    <a:lnTo>
                      <a:pt x="1496" y="292"/>
                    </a:lnTo>
                    <a:lnTo>
                      <a:pt x="1483" y="284"/>
                    </a:lnTo>
                    <a:lnTo>
                      <a:pt x="1471" y="277"/>
                    </a:lnTo>
                    <a:lnTo>
                      <a:pt x="1459" y="272"/>
                    </a:lnTo>
                    <a:lnTo>
                      <a:pt x="1443" y="267"/>
                    </a:lnTo>
                    <a:lnTo>
                      <a:pt x="1426" y="264"/>
                    </a:lnTo>
                    <a:lnTo>
                      <a:pt x="1409" y="263"/>
                    </a:lnTo>
                    <a:lnTo>
                      <a:pt x="1394" y="263"/>
                    </a:lnTo>
                    <a:lnTo>
                      <a:pt x="1378" y="263"/>
                    </a:lnTo>
                    <a:lnTo>
                      <a:pt x="1364" y="263"/>
                    </a:lnTo>
                    <a:lnTo>
                      <a:pt x="1348" y="262"/>
                    </a:lnTo>
                    <a:lnTo>
                      <a:pt x="1341" y="260"/>
                    </a:lnTo>
                    <a:lnTo>
                      <a:pt x="1333" y="259"/>
                    </a:lnTo>
                    <a:lnTo>
                      <a:pt x="1325" y="255"/>
                    </a:lnTo>
                    <a:lnTo>
                      <a:pt x="1316" y="252"/>
                    </a:lnTo>
                    <a:lnTo>
                      <a:pt x="1308" y="249"/>
                    </a:lnTo>
                    <a:lnTo>
                      <a:pt x="1302" y="244"/>
                    </a:lnTo>
                    <a:lnTo>
                      <a:pt x="1297" y="239"/>
                    </a:lnTo>
                    <a:lnTo>
                      <a:pt x="1292" y="233"/>
                    </a:lnTo>
                    <a:lnTo>
                      <a:pt x="1283" y="219"/>
                    </a:lnTo>
                    <a:lnTo>
                      <a:pt x="1273" y="206"/>
                    </a:lnTo>
                    <a:lnTo>
                      <a:pt x="1269" y="201"/>
                    </a:lnTo>
                    <a:lnTo>
                      <a:pt x="1265" y="197"/>
                    </a:lnTo>
                    <a:lnTo>
                      <a:pt x="1260" y="194"/>
                    </a:lnTo>
                    <a:lnTo>
                      <a:pt x="1255" y="190"/>
                    </a:lnTo>
                    <a:lnTo>
                      <a:pt x="1245" y="186"/>
                    </a:lnTo>
                    <a:lnTo>
                      <a:pt x="1235" y="183"/>
                    </a:lnTo>
                    <a:lnTo>
                      <a:pt x="1211" y="182"/>
                    </a:lnTo>
                    <a:lnTo>
                      <a:pt x="1185" y="182"/>
                    </a:lnTo>
                    <a:lnTo>
                      <a:pt x="1081" y="182"/>
                    </a:lnTo>
                    <a:lnTo>
                      <a:pt x="1069" y="181"/>
                    </a:lnTo>
                    <a:lnTo>
                      <a:pt x="1057" y="179"/>
                    </a:lnTo>
                    <a:lnTo>
                      <a:pt x="1048" y="176"/>
                    </a:lnTo>
                    <a:lnTo>
                      <a:pt x="1038" y="172"/>
                    </a:lnTo>
                    <a:lnTo>
                      <a:pt x="1030" y="167"/>
                    </a:lnTo>
                    <a:lnTo>
                      <a:pt x="1020" y="160"/>
                    </a:lnTo>
                    <a:lnTo>
                      <a:pt x="1012" y="154"/>
                    </a:lnTo>
                    <a:lnTo>
                      <a:pt x="1005" y="148"/>
                    </a:lnTo>
                    <a:lnTo>
                      <a:pt x="988" y="135"/>
                    </a:lnTo>
                    <a:lnTo>
                      <a:pt x="971" y="121"/>
                    </a:lnTo>
                    <a:lnTo>
                      <a:pt x="962" y="116"/>
                    </a:lnTo>
                    <a:lnTo>
                      <a:pt x="951" y="111"/>
                    </a:lnTo>
                    <a:lnTo>
                      <a:pt x="941" y="107"/>
                    </a:lnTo>
                    <a:lnTo>
                      <a:pt x="930" y="104"/>
                    </a:lnTo>
                    <a:lnTo>
                      <a:pt x="917" y="101"/>
                    </a:lnTo>
                    <a:lnTo>
                      <a:pt x="907" y="96"/>
                    </a:lnTo>
                    <a:lnTo>
                      <a:pt x="898" y="91"/>
                    </a:lnTo>
                    <a:lnTo>
                      <a:pt x="888" y="85"/>
                    </a:lnTo>
                    <a:lnTo>
                      <a:pt x="881" y="77"/>
                    </a:lnTo>
                    <a:lnTo>
                      <a:pt x="874" y="69"/>
                    </a:lnTo>
                    <a:lnTo>
                      <a:pt x="869" y="58"/>
                    </a:lnTo>
                    <a:lnTo>
                      <a:pt x="864" y="47"/>
                    </a:lnTo>
                    <a:lnTo>
                      <a:pt x="857" y="31"/>
                    </a:lnTo>
                    <a:lnTo>
                      <a:pt x="850" y="16"/>
                    </a:lnTo>
                    <a:lnTo>
                      <a:pt x="845" y="10"/>
                    </a:lnTo>
                    <a:lnTo>
                      <a:pt x="840" y="5"/>
                    </a:lnTo>
                    <a:lnTo>
                      <a:pt x="837" y="2"/>
                    </a:lnTo>
                    <a:lnTo>
                      <a:pt x="834" y="1"/>
                    </a:lnTo>
                    <a:lnTo>
                      <a:pt x="830" y="0"/>
                    </a:lnTo>
                    <a:lnTo>
                      <a:pt x="825" y="0"/>
                    </a:lnTo>
                    <a:lnTo>
                      <a:pt x="814" y="0"/>
                    </a:lnTo>
                    <a:lnTo>
                      <a:pt x="803" y="2"/>
                    </a:lnTo>
                    <a:lnTo>
                      <a:pt x="792" y="6"/>
                    </a:lnTo>
                    <a:lnTo>
                      <a:pt x="782" y="9"/>
                    </a:lnTo>
                    <a:lnTo>
                      <a:pt x="764" y="18"/>
                    </a:lnTo>
                    <a:lnTo>
                      <a:pt x="746" y="28"/>
                    </a:lnTo>
                    <a:lnTo>
                      <a:pt x="729" y="39"/>
                    </a:lnTo>
                    <a:lnTo>
                      <a:pt x="710" y="48"/>
                    </a:lnTo>
                    <a:lnTo>
                      <a:pt x="700" y="52"/>
                    </a:lnTo>
                    <a:lnTo>
                      <a:pt x="689" y="54"/>
                    </a:lnTo>
                    <a:lnTo>
                      <a:pt x="678" y="56"/>
                    </a:lnTo>
                    <a:lnTo>
                      <a:pt x="667" y="57"/>
                    </a:lnTo>
                    <a:lnTo>
                      <a:pt x="653" y="56"/>
                    </a:lnTo>
                    <a:lnTo>
                      <a:pt x="641" y="56"/>
                    </a:lnTo>
                    <a:lnTo>
                      <a:pt x="630" y="55"/>
                    </a:lnTo>
                    <a:lnTo>
                      <a:pt x="618" y="54"/>
                    </a:lnTo>
                    <a:lnTo>
                      <a:pt x="618" y="54"/>
                    </a:lnTo>
                    <a:close/>
                  </a:path>
                </a:pathLst>
              </a:custGeom>
              <a:solidFill>
                <a:srgbClr val="65AC1E">
                  <a:alpha val="54902"/>
                </a:srgbClr>
              </a:solidFill>
              <a:ln w="127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sz="500" dirty="0">
                  <a:solidFill>
                    <a:srgbClr val="000000"/>
                  </a:solidFill>
                </a:endParaRPr>
              </a:p>
              <a:p>
                <a:pPr algn="ctr"/>
                <a:endParaRPr lang="de-DE" sz="5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3" name="Овал 32">
              <a:extLst>
                <a:ext uri="{FF2B5EF4-FFF2-40B4-BE49-F238E27FC236}">
                  <a16:creationId xmlns:a16="http://schemas.microsoft.com/office/drawing/2014/main" id="{961F8F21-27DD-4013-9F69-4778ECED67DD}"/>
                </a:ext>
              </a:extLst>
            </p:cNvPr>
            <p:cNvSpPr/>
            <p:nvPr/>
          </p:nvSpPr>
          <p:spPr>
            <a:xfrm>
              <a:off x="7273984" y="1751798"/>
              <a:ext cx="216000" cy="216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B51EDC0C-9B68-41F4-8B35-1DE35A02DA3B}"/>
                </a:ext>
              </a:extLst>
            </p:cNvPr>
            <p:cNvSpPr/>
            <p:nvPr/>
          </p:nvSpPr>
          <p:spPr>
            <a:xfrm>
              <a:off x="6274017" y="1838621"/>
              <a:ext cx="216000" cy="216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A98E7EC4-0AF0-4936-9CA2-84F5C0CA405D}"/>
                </a:ext>
              </a:extLst>
            </p:cNvPr>
            <p:cNvSpPr/>
            <p:nvPr/>
          </p:nvSpPr>
          <p:spPr>
            <a:xfrm>
              <a:off x="8347992" y="1526122"/>
              <a:ext cx="216000" cy="216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36" name="Овал 35">
              <a:extLst>
                <a:ext uri="{FF2B5EF4-FFF2-40B4-BE49-F238E27FC236}">
                  <a16:creationId xmlns:a16="http://schemas.microsoft.com/office/drawing/2014/main" id="{AC411F04-DEB9-439C-AA41-209D18B9DB80}"/>
                </a:ext>
              </a:extLst>
            </p:cNvPr>
            <p:cNvSpPr/>
            <p:nvPr/>
          </p:nvSpPr>
          <p:spPr>
            <a:xfrm>
              <a:off x="9094010" y="1462726"/>
              <a:ext cx="216000" cy="216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F4A84836-372A-470B-B23F-380ED1059121}"/>
                </a:ext>
              </a:extLst>
            </p:cNvPr>
            <p:cNvSpPr/>
            <p:nvPr/>
          </p:nvSpPr>
          <p:spPr>
            <a:xfrm>
              <a:off x="10014255" y="2354786"/>
              <a:ext cx="216000" cy="216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619CB531-98B6-4B9F-99F5-830F959E91C7}"/>
                </a:ext>
              </a:extLst>
            </p:cNvPr>
            <p:cNvSpPr/>
            <p:nvPr/>
          </p:nvSpPr>
          <p:spPr>
            <a:xfrm>
              <a:off x="8707562" y="2909417"/>
              <a:ext cx="216000" cy="216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39" name="Овал 38">
              <a:extLst>
                <a:ext uri="{FF2B5EF4-FFF2-40B4-BE49-F238E27FC236}">
                  <a16:creationId xmlns:a16="http://schemas.microsoft.com/office/drawing/2014/main" id="{981BAF32-DA4A-4286-8F2D-4882F65AF2D0}"/>
                </a:ext>
              </a:extLst>
            </p:cNvPr>
            <p:cNvSpPr/>
            <p:nvPr/>
          </p:nvSpPr>
          <p:spPr>
            <a:xfrm>
              <a:off x="8258483" y="3307834"/>
              <a:ext cx="216000" cy="216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40" name="Овал 39">
              <a:extLst>
                <a:ext uri="{FF2B5EF4-FFF2-40B4-BE49-F238E27FC236}">
                  <a16:creationId xmlns:a16="http://schemas.microsoft.com/office/drawing/2014/main" id="{47C125FA-55B1-4117-B9DB-BB515FEFFA8B}"/>
                </a:ext>
              </a:extLst>
            </p:cNvPr>
            <p:cNvSpPr/>
            <p:nvPr/>
          </p:nvSpPr>
          <p:spPr>
            <a:xfrm>
              <a:off x="7952569" y="3911981"/>
              <a:ext cx="216000" cy="216000"/>
            </a:xfrm>
            <a:prstGeom prst="ellipse">
              <a:avLst/>
            </a:prstGeom>
            <a:solidFill>
              <a:srgbClr val="3B880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id="{F4BA0282-9FBC-4629-BCD1-EDE178EF2C26}"/>
                </a:ext>
              </a:extLst>
            </p:cNvPr>
            <p:cNvSpPr/>
            <p:nvPr/>
          </p:nvSpPr>
          <p:spPr>
            <a:xfrm>
              <a:off x="9309174" y="3889505"/>
              <a:ext cx="216000" cy="216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id="{36EECBF1-97E4-444A-B212-AA592A44892A}"/>
                </a:ext>
              </a:extLst>
            </p:cNvPr>
            <p:cNvSpPr/>
            <p:nvPr/>
          </p:nvSpPr>
          <p:spPr>
            <a:xfrm>
              <a:off x="10143050" y="3503655"/>
              <a:ext cx="216000" cy="216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43" name="Овал 42">
              <a:extLst>
                <a:ext uri="{FF2B5EF4-FFF2-40B4-BE49-F238E27FC236}">
                  <a16:creationId xmlns:a16="http://schemas.microsoft.com/office/drawing/2014/main" id="{5526BA24-B658-4B3C-96E5-98BBAF8D560C}"/>
                </a:ext>
              </a:extLst>
            </p:cNvPr>
            <p:cNvSpPr/>
            <p:nvPr/>
          </p:nvSpPr>
          <p:spPr>
            <a:xfrm>
              <a:off x="9177325" y="2466836"/>
              <a:ext cx="216000" cy="216000"/>
            </a:xfrm>
            <a:prstGeom prst="ellipse">
              <a:avLst/>
            </a:prstGeom>
            <a:solidFill>
              <a:srgbClr val="3B880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44" name="Овал 43">
              <a:extLst>
                <a:ext uri="{FF2B5EF4-FFF2-40B4-BE49-F238E27FC236}">
                  <a16:creationId xmlns:a16="http://schemas.microsoft.com/office/drawing/2014/main" id="{BCCAC6A3-E0D7-43D0-947C-7E89C38E013A}"/>
                </a:ext>
              </a:extLst>
            </p:cNvPr>
            <p:cNvSpPr/>
            <p:nvPr/>
          </p:nvSpPr>
          <p:spPr>
            <a:xfrm>
              <a:off x="8330312" y="2469393"/>
              <a:ext cx="216000" cy="216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A8EBCF69-A63C-4B74-A05D-0874A61CF02F}"/>
                </a:ext>
              </a:extLst>
            </p:cNvPr>
            <p:cNvSpPr/>
            <p:nvPr/>
          </p:nvSpPr>
          <p:spPr>
            <a:xfrm>
              <a:off x="7299112" y="2783832"/>
              <a:ext cx="216000" cy="216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40BE100F-B1EA-4B80-9198-60CEF1D610FF}"/>
                </a:ext>
              </a:extLst>
            </p:cNvPr>
            <p:cNvSpPr/>
            <p:nvPr/>
          </p:nvSpPr>
          <p:spPr>
            <a:xfrm>
              <a:off x="7933705" y="1955436"/>
              <a:ext cx="216000" cy="216000"/>
            </a:xfrm>
            <a:prstGeom prst="ellipse">
              <a:avLst/>
            </a:prstGeom>
            <a:solidFill>
              <a:srgbClr val="3B880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id="{B6FE30FE-4095-4EBC-A444-8E516AB1097C}"/>
                </a:ext>
              </a:extLst>
            </p:cNvPr>
            <p:cNvSpPr/>
            <p:nvPr/>
          </p:nvSpPr>
          <p:spPr>
            <a:xfrm>
              <a:off x="6777844" y="2393870"/>
              <a:ext cx="216000" cy="216000"/>
            </a:xfrm>
            <a:prstGeom prst="ellipse">
              <a:avLst/>
            </a:prstGeom>
            <a:solidFill>
              <a:srgbClr val="3B880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48" name="Овал 47">
              <a:extLst>
                <a:ext uri="{FF2B5EF4-FFF2-40B4-BE49-F238E27FC236}">
                  <a16:creationId xmlns:a16="http://schemas.microsoft.com/office/drawing/2014/main" id="{C4DF03F3-3902-4B28-884A-4632BD277E5D}"/>
                </a:ext>
              </a:extLst>
            </p:cNvPr>
            <p:cNvSpPr/>
            <p:nvPr/>
          </p:nvSpPr>
          <p:spPr>
            <a:xfrm>
              <a:off x="6590118" y="2716154"/>
              <a:ext cx="216000" cy="216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49" name="Овал 48">
              <a:extLst>
                <a:ext uri="{FF2B5EF4-FFF2-40B4-BE49-F238E27FC236}">
                  <a16:creationId xmlns:a16="http://schemas.microsoft.com/office/drawing/2014/main" id="{0585DB51-FFBC-41AB-89EC-6C5515339014}"/>
                </a:ext>
              </a:extLst>
            </p:cNvPr>
            <p:cNvSpPr/>
            <p:nvPr/>
          </p:nvSpPr>
          <p:spPr>
            <a:xfrm>
              <a:off x="8986010" y="3984585"/>
              <a:ext cx="216000" cy="216000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FBA32306-04D3-4536-97D0-962D19E991E0}"/>
                </a:ext>
              </a:extLst>
            </p:cNvPr>
            <p:cNvSpPr/>
            <p:nvPr/>
          </p:nvSpPr>
          <p:spPr>
            <a:xfrm>
              <a:off x="7510387" y="4345564"/>
              <a:ext cx="216000" cy="216000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99D026CA-9B17-4D81-A010-07C6DA374234}"/>
                </a:ext>
              </a:extLst>
            </p:cNvPr>
            <p:cNvSpPr/>
            <p:nvPr/>
          </p:nvSpPr>
          <p:spPr>
            <a:xfrm>
              <a:off x="6277701" y="3027009"/>
              <a:ext cx="216000" cy="216000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53" name="Овал 52">
            <a:extLst>
              <a:ext uri="{FF2B5EF4-FFF2-40B4-BE49-F238E27FC236}">
                <a16:creationId xmlns:a16="http://schemas.microsoft.com/office/drawing/2014/main" id="{6B2D4BB4-6983-4142-B974-16B4574C7CE0}"/>
              </a:ext>
            </a:extLst>
          </p:cNvPr>
          <p:cNvSpPr/>
          <p:nvPr/>
        </p:nvSpPr>
        <p:spPr>
          <a:xfrm>
            <a:off x="5912361" y="5595339"/>
            <a:ext cx="216000" cy="216000"/>
          </a:xfrm>
          <a:prstGeom prst="ellipse">
            <a:avLst/>
          </a:prstGeom>
          <a:solidFill>
            <a:srgbClr val="3B88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57" name="Овал 56">
            <a:extLst>
              <a:ext uri="{FF2B5EF4-FFF2-40B4-BE49-F238E27FC236}">
                <a16:creationId xmlns:a16="http://schemas.microsoft.com/office/drawing/2014/main" id="{EB19FD15-DD49-41EA-81EB-F7D534C14533}"/>
              </a:ext>
            </a:extLst>
          </p:cNvPr>
          <p:cNvSpPr/>
          <p:nvPr/>
        </p:nvSpPr>
        <p:spPr>
          <a:xfrm>
            <a:off x="5912361" y="5357372"/>
            <a:ext cx="216000" cy="216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58" name="Овал 57">
            <a:extLst>
              <a:ext uri="{FF2B5EF4-FFF2-40B4-BE49-F238E27FC236}">
                <a16:creationId xmlns:a16="http://schemas.microsoft.com/office/drawing/2014/main" id="{83159EDE-C47D-4F96-8D73-ACAEB1C7F3F7}"/>
              </a:ext>
            </a:extLst>
          </p:cNvPr>
          <p:cNvSpPr/>
          <p:nvPr/>
        </p:nvSpPr>
        <p:spPr>
          <a:xfrm>
            <a:off x="5912361" y="5833306"/>
            <a:ext cx="216000" cy="21600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59" name="Овал 58">
            <a:extLst>
              <a:ext uri="{FF2B5EF4-FFF2-40B4-BE49-F238E27FC236}">
                <a16:creationId xmlns:a16="http://schemas.microsoft.com/office/drawing/2014/main" id="{CF1FF7A2-EF63-4780-98D1-A9A5426E195C}"/>
              </a:ext>
            </a:extLst>
          </p:cNvPr>
          <p:cNvSpPr/>
          <p:nvPr/>
        </p:nvSpPr>
        <p:spPr>
          <a:xfrm>
            <a:off x="9775969" y="108994"/>
            <a:ext cx="2147325" cy="1905428"/>
          </a:xfrm>
          <a:prstGeom prst="ellipse">
            <a:avLst/>
          </a:prstGeom>
          <a:noFill/>
          <a:ln>
            <a:solidFill>
              <a:srgbClr val="65AC1E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latin typeface="+mj-lt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DEBF7A76-5EC7-4E36-AFC9-47C25F20F188}"/>
              </a:ext>
            </a:extLst>
          </p:cNvPr>
          <p:cNvSpPr/>
          <p:nvPr/>
        </p:nvSpPr>
        <p:spPr>
          <a:xfrm>
            <a:off x="9738845" y="476502"/>
            <a:ext cx="206936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+mj-lt"/>
              </a:rPr>
              <a:t>Крупнейшая сеть </a:t>
            </a:r>
            <a:r>
              <a:rPr lang="ru-RU" sz="1400" dirty="0" err="1">
                <a:latin typeface="+mj-lt"/>
              </a:rPr>
              <a:t>агро</a:t>
            </a:r>
            <a:r>
              <a:rPr lang="ru-RU" sz="1400" dirty="0">
                <a:latin typeface="+mj-lt"/>
              </a:rPr>
              <a:t>- и </a:t>
            </a:r>
            <a:r>
              <a:rPr lang="ru-RU" sz="1400" dirty="0" err="1">
                <a:latin typeface="+mj-lt"/>
              </a:rPr>
              <a:t>демоцентров</a:t>
            </a:r>
            <a:r>
              <a:rPr lang="ru-RU" sz="1400" dirty="0">
                <a:latin typeface="+mj-lt"/>
              </a:rPr>
              <a:t> среди производителей средств защиты растений Украины</a:t>
            </a:r>
            <a:endParaRPr lang="en-US" sz="800" dirty="0">
              <a:latin typeface="+mj-lt"/>
            </a:endParaRPr>
          </a:p>
        </p:txBody>
      </p:sp>
      <p:sp>
        <p:nvSpPr>
          <p:cNvPr id="63" name="Datumsplatzhalter 2">
            <a:extLst>
              <a:ext uri="{FF2B5EF4-FFF2-40B4-BE49-F238E27FC236}">
                <a16:creationId xmlns:a16="http://schemas.microsoft.com/office/drawing/2014/main" id="{E9CE2323-0987-46F4-B43A-CD819B51C27E}"/>
              </a:ext>
            </a:extLst>
          </p:cNvPr>
          <p:cNvSpPr txBox="1">
            <a:spLocks/>
          </p:cNvSpPr>
          <p:nvPr/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6842C19-A344-4C64-9980-5C2F104DC576}" type="datetime1">
              <a:rPr lang="de-DE" smtClean="0"/>
              <a:pPr/>
              <a:t>06.11.2019</a:t>
            </a:fld>
            <a:endParaRPr lang="de-DE" dirty="0"/>
          </a:p>
        </p:txBody>
      </p:sp>
      <p:sp>
        <p:nvSpPr>
          <p:cNvPr id="64" name="Foliennummernplatzhalter 6">
            <a:extLst>
              <a:ext uri="{FF2B5EF4-FFF2-40B4-BE49-F238E27FC236}">
                <a16:creationId xmlns:a16="http://schemas.microsoft.com/office/drawing/2014/main" id="{0C811D6C-57E0-4499-A0CF-1FD76FF0F8FB}"/>
              </a:ext>
            </a:extLst>
          </p:cNvPr>
          <p:cNvSpPr txBox="1">
            <a:spLocks/>
          </p:cNvSpPr>
          <p:nvPr/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2EA1D04-CA53-4DE3-84A8-2B63E41036C9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23554" name="Picture 2" descr="ÐÐ°ÑÑÐ¸Ð½ÐºÐ¸ Ð¿Ð¾ Ð·Ð°Ð¿ÑÐ¾ÑÑ ÑÐµÑÐ½Ð¾Ð»Ð¾Ð³Ð¸Ñ Ð²ÑÑÐ°ÑÐ¸Ð²Ð°Ð½Ð¸Ñ">
            <a:extLst>
              <a:ext uri="{FF2B5EF4-FFF2-40B4-BE49-F238E27FC236}">
                <a16:creationId xmlns:a16="http://schemas.microsoft.com/office/drawing/2014/main" id="{143D6CD2-530A-429A-920B-D934F81D4D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0" y="0"/>
            <a:ext cx="4028028" cy="1830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6" name="Picture 4" descr="ÐÐ¾ÑÐ¾Ð¶ÐµÐµ Ð¸Ð·Ð¾Ð±ÑÐ°Ð¶ÐµÐ½Ð¸Ðµ">
            <a:extLst>
              <a:ext uri="{FF2B5EF4-FFF2-40B4-BE49-F238E27FC236}">
                <a16:creationId xmlns:a16="http://schemas.microsoft.com/office/drawing/2014/main" id="{B4EDA373-127E-4526-AE78-A95E0419C3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2" y="1830922"/>
            <a:ext cx="4027066" cy="2624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8" name="Picture 6" descr="ÐÐ°ÑÑÐ¸Ð½ÐºÐ¸ Ð¿Ð¾ Ð·Ð°Ð¿ÑÐ¾ÑÑ Ð´Ð¸Ð½Ð°Ð¼Ð¸ÐºÐ°">
            <a:extLst>
              <a:ext uri="{FF2B5EF4-FFF2-40B4-BE49-F238E27FC236}">
                <a16:creationId xmlns:a16="http://schemas.microsoft.com/office/drawing/2014/main" id="{2EAF4775-C782-4943-9ACA-EB40CA2D88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57" r="13631"/>
          <a:stretch/>
        </p:blipFill>
        <p:spPr bwMode="auto">
          <a:xfrm>
            <a:off x="7550" y="3522420"/>
            <a:ext cx="4026158" cy="1653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60" name="Picture 8" descr="ÐÐ°ÑÑÐ¸Ð½ÐºÐ¸ Ð¿Ð¾ Ð·Ð°Ð¿ÑÐ¾ÑÑ Ð¾Ð±Ð¼ÐµÐ½ Ð¾Ð¿ÑÑÐ¾Ð¼">
            <a:extLst>
              <a:ext uri="{FF2B5EF4-FFF2-40B4-BE49-F238E27FC236}">
                <a16:creationId xmlns:a16="http://schemas.microsoft.com/office/drawing/2014/main" id="{AFA3A1C5-F09D-4126-A0E2-627C51ACCC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72" b="5310"/>
          <a:stretch/>
        </p:blipFill>
        <p:spPr bwMode="auto">
          <a:xfrm>
            <a:off x="6642" y="5119742"/>
            <a:ext cx="4017881" cy="1738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19A47000-549E-47FC-94B5-655589520519}"/>
              </a:ext>
            </a:extLst>
          </p:cNvPr>
          <p:cNvSpPr/>
          <p:nvPr/>
        </p:nvSpPr>
        <p:spPr>
          <a:xfrm>
            <a:off x="6643" y="0"/>
            <a:ext cx="4041324" cy="6857999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B6FB63AA-88BF-4B60-A972-689DA6FC4481}"/>
              </a:ext>
            </a:extLst>
          </p:cNvPr>
          <p:cNvSpPr/>
          <p:nvPr/>
        </p:nvSpPr>
        <p:spPr>
          <a:xfrm>
            <a:off x="17920" y="260798"/>
            <a:ext cx="401322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3200" b="1" dirty="0">
                <a:solidFill>
                  <a:srgbClr val="65AC1E"/>
                </a:solidFill>
                <a:latin typeface="+mj-lt"/>
              </a:rPr>
              <a:t>Разработка</a:t>
            </a:r>
          </a:p>
          <a:p>
            <a:pPr>
              <a:defRPr/>
            </a:pPr>
            <a:r>
              <a:rPr lang="ru-RU" sz="1600" dirty="0">
                <a:latin typeface="+mj-lt"/>
              </a:rPr>
              <a:t>передовых технологий</a:t>
            </a:r>
            <a:r>
              <a:rPr lang="ru-RU" sz="1600" b="1" dirty="0">
                <a:solidFill>
                  <a:srgbClr val="65AC1E"/>
                </a:solidFill>
                <a:latin typeface="+mj-lt"/>
              </a:rPr>
              <a:t> </a:t>
            </a:r>
            <a:r>
              <a:rPr lang="ru-RU" sz="1600" dirty="0">
                <a:latin typeface="+mj-lt"/>
              </a:rPr>
              <a:t>выращивания</a:t>
            </a:r>
            <a:r>
              <a:rPr lang="ru-RU" sz="1600" b="1" dirty="0">
                <a:solidFill>
                  <a:srgbClr val="65AC1E"/>
                </a:solidFill>
                <a:latin typeface="+mj-lt"/>
              </a:rPr>
              <a:t> </a:t>
            </a:r>
            <a:r>
              <a:rPr lang="ru-RU" sz="1600" dirty="0">
                <a:latin typeface="+mj-lt"/>
              </a:rPr>
              <a:t>сельскохозяйственных культур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A857FA28-1741-41D2-AB98-26D6D08E05C6}"/>
              </a:ext>
            </a:extLst>
          </p:cNvPr>
          <p:cNvSpPr/>
          <p:nvPr/>
        </p:nvSpPr>
        <p:spPr>
          <a:xfrm>
            <a:off x="13561" y="1892992"/>
            <a:ext cx="401322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3200" b="1" dirty="0">
                <a:solidFill>
                  <a:srgbClr val="65AC1E"/>
                </a:solidFill>
                <a:latin typeface="+mj-lt"/>
              </a:rPr>
              <a:t>Проверка и адаптация</a:t>
            </a:r>
          </a:p>
          <a:p>
            <a:pPr>
              <a:defRPr/>
            </a:pPr>
            <a:r>
              <a:rPr lang="ru-RU" sz="1600" dirty="0">
                <a:latin typeface="+mj-lt"/>
              </a:rPr>
              <a:t>мировых технологий в условиях различных регионов Украины</a:t>
            </a:r>
            <a:endParaRPr lang="ru-RU" sz="2000" dirty="0">
              <a:latin typeface="+mj-lt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B63EE748-3BC3-41DA-AD25-8FCB650DF31D}"/>
              </a:ext>
            </a:extLst>
          </p:cNvPr>
          <p:cNvSpPr/>
          <p:nvPr/>
        </p:nvSpPr>
        <p:spPr>
          <a:xfrm>
            <a:off x="17920" y="3666550"/>
            <a:ext cx="40132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3200" b="1" dirty="0">
                <a:solidFill>
                  <a:srgbClr val="65AC1E"/>
                </a:solidFill>
                <a:latin typeface="+mj-lt"/>
              </a:rPr>
              <a:t>Демонстрация  </a:t>
            </a:r>
            <a:r>
              <a:rPr lang="ru-RU" sz="1600" dirty="0">
                <a:latin typeface="+mj-lt"/>
              </a:rPr>
              <a:t>экономических преимуществ использования технологий различного уровня интенсивности</a:t>
            </a:r>
            <a:endParaRPr lang="ru-RU" sz="2000" dirty="0">
              <a:latin typeface="+mj-lt"/>
            </a:endParaRP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6ED9D193-78CC-4A9D-AA49-2F4C6F245148}"/>
              </a:ext>
            </a:extLst>
          </p:cNvPr>
          <p:cNvSpPr/>
          <p:nvPr/>
        </p:nvSpPr>
        <p:spPr>
          <a:xfrm>
            <a:off x="-16802" y="5573372"/>
            <a:ext cx="401322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3200" b="1" dirty="0">
                <a:solidFill>
                  <a:srgbClr val="65AC1E"/>
                </a:solidFill>
                <a:latin typeface="+mj-lt"/>
              </a:rPr>
              <a:t>Обмен опытом</a:t>
            </a:r>
          </a:p>
          <a:p>
            <a:pPr>
              <a:defRPr/>
            </a:pPr>
            <a:r>
              <a:rPr lang="ru-RU" sz="1600" dirty="0">
                <a:latin typeface="+mj-lt"/>
              </a:rPr>
              <a:t>и знаниями среди профессионалов</a:t>
            </a:r>
            <a:endParaRPr lang="ru-RU" sz="2000" dirty="0">
              <a:latin typeface="+mj-lt"/>
            </a:endParaRPr>
          </a:p>
        </p:txBody>
      </p:sp>
      <p:sp>
        <p:nvSpPr>
          <p:cNvPr id="72" name="Овал 71">
            <a:extLst>
              <a:ext uri="{FF2B5EF4-FFF2-40B4-BE49-F238E27FC236}">
                <a16:creationId xmlns:a16="http://schemas.microsoft.com/office/drawing/2014/main" id="{8E070DC8-909E-4FCB-B1FA-F422C1EA7C95}"/>
              </a:ext>
            </a:extLst>
          </p:cNvPr>
          <p:cNvSpPr/>
          <p:nvPr/>
        </p:nvSpPr>
        <p:spPr>
          <a:xfrm>
            <a:off x="9492102" y="3103617"/>
            <a:ext cx="235174" cy="230718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828254"/>
      </p:ext>
    </p:extLst>
  </p:cSld>
  <p:clrMapOvr>
    <a:masterClrMapping/>
  </p:clrMapOvr>
  <p:transition spd="slow">
    <p:cov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7"/>
          <p:cNvGrpSpPr>
            <a:grpSpLocks/>
          </p:cNvGrpSpPr>
          <p:nvPr/>
        </p:nvGrpSpPr>
        <p:grpSpPr bwMode="auto">
          <a:xfrm>
            <a:off x="2578216" y="2706532"/>
            <a:ext cx="6444784" cy="4009349"/>
            <a:chOff x="535" y="1063"/>
            <a:chExt cx="4626" cy="302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6" name="UKRAINE"/>
            <p:cNvSpPr>
              <a:spLocks/>
            </p:cNvSpPr>
            <p:nvPr/>
          </p:nvSpPr>
          <p:spPr bwMode="auto">
            <a:xfrm>
              <a:off x="535" y="1069"/>
              <a:ext cx="4626" cy="3013"/>
            </a:xfrm>
            <a:custGeom>
              <a:avLst/>
              <a:gdLst>
                <a:gd name="T0" fmla="*/ 352 w 15387"/>
                <a:gd name="T1" fmla="*/ 231 h 10353"/>
                <a:gd name="T2" fmla="*/ 352 w 15387"/>
                <a:gd name="T3" fmla="*/ 231 h 10353"/>
                <a:gd name="T4" fmla="*/ 352 w 15387"/>
                <a:gd name="T5" fmla="*/ 231 h 10353"/>
                <a:gd name="T6" fmla="*/ 352 w 15387"/>
                <a:gd name="T7" fmla="*/ 231 h 10353"/>
                <a:gd name="T8" fmla="*/ 352 w 15387"/>
                <a:gd name="T9" fmla="*/ 231 h 10353"/>
                <a:gd name="T10" fmla="*/ 352 w 15387"/>
                <a:gd name="T11" fmla="*/ 231 h 10353"/>
                <a:gd name="T12" fmla="*/ 352 w 15387"/>
                <a:gd name="T13" fmla="*/ 231 h 10353"/>
                <a:gd name="T14" fmla="*/ 352 w 15387"/>
                <a:gd name="T15" fmla="*/ 231 h 10353"/>
                <a:gd name="T16" fmla="*/ 352 w 15387"/>
                <a:gd name="T17" fmla="*/ 231 h 10353"/>
                <a:gd name="T18" fmla="*/ 352 w 15387"/>
                <a:gd name="T19" fmla="*/ 231 h 10353"/>
                <a:gd name="T20" fmla="*/ 352 w 15387"/>
                <a:gd name="T21" fmla="*/ 231 h 10353"/>
                <a:gd name="T22" fmla="*/ 352 w 15387"/>
                <a:gd name="T23" fmla="*/ 231 h 10353"/>
                <a:gd name="T24" fmla="*/ 352 w 15387"/>
                <a:gd name="T25" fmla="*/ 231 h 10353"/>
                <a:gd name="T26" fmla="*/ 352 w 15387"/>
                <a:gd name="T27" fmla="*/ 231 h 10353"/>
                <a:gd name="T28" fmla="*/ 352 w 15387"/>
                <a:gd name="T29" fmla="*/ 231 h 10353"/>
                <a:gd name="T30" fmla="*/ 352 w 15387"/>
                <a:gd name="T31" fmla="*/ 231 h 10353"/>
                <a:gd name="T32" fmla="*/ 352 w 15387"/>
                <a:gd name="T33" fmla="*/ 231 h 10353"/>
                <a:gd name="T34" fmla="*/ 352 w 15387"/>
                <a:gd name="T35" fmla="*/ 231 h 10353"/>
                <a:gd name="T36" fmla="*/ 352 w 15387"/>
                <a:gd name="T37" fmla="*/ 231 h 10353"/>
                <a:gd name="T38" fmla="*/ 352 w 15387"/>
                <a:gd name="T39" fmla="*/ 231 h 10353"/>
                <a:gd name="T40" fmla="*/ 352 w 15387"/>
                <a:gd name="T41" fmla="*/ 231 h 10353"/>
                <a:gd name="T42" fmla="*/ 352 w 15387"/>
                <a:gd name="T43" fmla="*/ 231 h 10353"/>
                <a:gd name="T44" fmla="*/ 352 w 15387"/>
                <a:gd name="T45" fmla="*/ 231 h 10353"/>
                <a:gd name="T46" fmla="*/ 352 w 15387"/>
                <a:gd name="T47" fmla="*/ 231 h 10353"/>
                <a:gd name="T48" fmla="*/ 352 w 15387"/>
                <a:gd name="T49" fmla="*/ 231 h 10353"/>
                <a:gd name="T50" fmla="*/ 352 w 15387"/>
                <a:gd name="T51" fmla="*/ 231 h 10353"/>
                <a:gd name="T52" fmla="*/ 352 w 15387"/>
                <a:gd name="T53" fmla="*/ 231 h 10353"/>
                <a:gd name="T54" fmla="*/ 352 w 15387"/>
                <a:gd name="T55" fmla="*/ 231 h 10353"/>
                <a:gd name="T56" fmla="*/ 352 w 15387"/>
                <a:gd name="T57" fmla="*/ 231 h 10353"/>
                <a:gd name="T58" fmla="*/ 352 w 15387"/>
                <a:gd name="T59" fmla="*/ 231 h 10353"/>
                <a:gd name="T60" fmla="*/ 352 w 15387"/>
                <a:gd name="T61" fmla="*/ 231 h 10353"/>
                <a:gd name="T62" fmla="*/ 352 w 15387"/>
                <a:gd name="T63" fmla="*/ 231 h 10353"/>
                <a:gd name="T64" fmla="*/ 352 w 15387"/>
                <a:gd name="T65" fmla="*/ 231 h 10353"/>
                <a:gd name="T66" fmla="*/ 352 w 15387"/>
                <a:gd name="T67" fmla="*/ 231 h 10353"/>
                <a:gd name="T68" fmla="*/ 352 w 15387"/>
                <a:gd name="T69" fmla="*/ 231 h 10353"/>
                <a:gd name="T70" fmla="*/ 352 w 15387"/>
                <a:gd name="T71" fmla="*/ 231 h 10353"/>
                <a:gd name="T72" fmla="*/ 352 w 15387"/>
                <a:gd name="T73" fmla="*/ 231 h 10353"/>
                <a:gd name="T74" fmla="*/ 352 w 15387"/>
                <a:gd name="T75" fmla="*/ 231 h 10353"/>
                <a:gd name="T76" fmla="*/ 352 w 15387"/>
                <a:gd name="T77" fmla="*/ 231 h 10353"/>
                <a:gd name="T78" fmla="*/ 352 w 15387"/>
                <a:gd name="T79" fmla="*/ 231 h 10353"/>
                <a:gd name="T80" fmla="*/ 352 w 15387"/>
                <a:gd name="T81" fmla="*/ 231 h 10353"/>
                <a:gd name="T82" fmla="*/ 352 w 15387"/>
                <a:gd name="T83" fmla="*/ 231 h 10353"/>
                <a:gd name="T84" fmla="*/ 352 w 15387"/>
                <a:gd name="T85" fmla="*/ 231 h 10353"/>
                <a:gd name="T86" fmla="*/ 352 w 15387"/>
                <a:gd name="T87" fmla="*/ 231 h 10353"/>
                <a:gd name="T88" fmla="*/ 352 w 15387"/>
                <a:gd name="T89" fmla="*/ 231 h 10353"/>
                <a:gd name="T90" fmla="*/ 352 w 15387"/>
                <a:gd name="T91" fmla="*/ 231 h 10353"/>
                <a:gd name="T92" fmla="*/ 352 w 15387"/>
                <a:gd name="T93" fmla="*/ 231 h 10353"/>
                <a:gd name="T94" fmla="*/ 352 w 15387"/>
                <a:gd name="T95" fmla="*/ 231 h 10353"/>
                <a:gd name="T96" fmla="*/ 352 w 15387"/>
                <a:gd name="T97" fmla="*/ 231 h 10353"/>
                <a:gd name="T98" fmla="*/ 352 w 15387"/>
                <a:gd name="T99" fmla="*/ 231 h 10353"/>
                <a:gd name="T100" fmla="*/ 352 w 15387"/>
                <a:gd name="T101" fmla="*/ 231 h 10353"/>
                <a:gd name="T102" fmla="*/ 352 w 15387"/>
                <a:gd name="T103" fmla="*/ 231 h 10353"/>
                <a:gd name="T104" fmla="*/ 352 w 15387"/>
                <a:gd name="T105" fmla="*/ 231 h 10353"/>
                <a:gd name="T106" fmla="*/ 352 w 15387"/>
                <a:gd name="T107" fmla="*/ 231 h 10353"/>
                <a:gd name="T108" fmla="*/ 352 w 15387"/>
                <a:gd name="T109" fmla="*/ 231 h 10353"/>
                <a:gd name="T110" fmla="*/ 352 w 15387"/>
                <a:gd name="T111" fmla="*/ 231 h 10353"/>
                <a:gd name="T112" fmla="*/ 352 w 15387"/>
                <a:gd name="T113" fmla="*/ 231 h 10353"/>
                <a:gd name="T114" fmla="*/ 352 w 15387"/>
                <a:gd name="T115" fmla="*/ 231 h 10353"/>
                <a:gd name="T116" fmla="*/ 352 w 15387"/>
                <a:gd name="T117" fmla="*/ 231 h 10353"/>
                <a:gd name="T118" fmla="*/ 352 w 15387"/>
                <a:gd name="T119" fmla="*/ 231 h 10353"/>
                <a:gd name="T120" fmla="*/ 352 w 15387"/>
                <a:gd name="T121" fmla="*/ 231 h 10353"/>
                <a:gd name="T122" fmla="*/ 352 w 15387"/>
                <a:gd name="T123" fmla="*/ 231 h 10353"/>
                <a:gd name="T124" fmla="*/ 352 w 15387"/>
                <a:gd name="T125" fmla="*/ 231 h 1035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387"/>
                <a:gd name="T190" fmla="*/ 0 h 10353"/>
                <a:gd name="T191" fmla="*/ 15387 w 15387"/>
                <a:gd name="T192" fmla="*/ 10353 h 1035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387" h="10353">
                  <a:moveTo>
                    <a:pt x="1618" y="850"/>
                  </a:moveTo>
                  <a:lnTo>
                    <a:pt x="1618" y="850"/>
                  </a:lnTo>
                  <a:lnTo>
                    <a:pt x="1623" y="862"/>
                  </a:lnTo>
                  <a:lnTo>
                    <a:pt x="1627" y="874"/>
                  </a:lnTo>
                  <a:lnTo>
                    <a:pt x="1630" y="885"/>
                  </a:lnTo>
                  <a:lnTo>
                    <a:pt x="1633" y="896"/>
                  </a:lnTo>
                  <a:lnTo>
                    <a:pt x="1639" y="918"/>
                  </a:lnTo>
                  <a:lnTo>
                    <a:pt x="1646" y="942"/>
                  </a:lnTo>
                  <a:lnTo>
                    <a:pt x="1651" y="954"/>
                  </a:lnTo>
                  <a:lnTo>
                    <a:pt x="1656" y="964"/>
                  </a:lnTo>
                  <a:lnTo>
                    <a:pt x="1662" y="975"/>
                  </a:lnTo>
                  <a:lnTo>
                    <a:pt x="1668" y="984"/>
                  </a:lnTo>
                  <a:lnTo>
                    <a:pt x="1674" y="993"/>
                  </a:lnTo>
                  <a:lnTo>
                    <a:pt x="1678" y="1004"/>
                  </a:lnTo>
                  <a:lnTo>
                    <a:pt x="1680" y="1014"/>
                  </a:lnTo>
                  <a:lnTo>
                    <a:pt x="1681" y="1027"/>
                  </a:lnTo>
                  <a:lnTo>
                    <a:pt x="1681" y="1035"/>
                  </a:lnTo>
                  <a:lnTo>
                    <a:pt x="1679" y="1041"/>
                  </a:lnTo>
                  <a:lnTo>
                    <a:pt x="1676" y="1047"/>
                  </a:lnTo>
                  <a:lnTo>
                    <a:pt x="1673" y="1053"/>
                  </a:lnTo>
                  <a:lnTo>
                    <a:pt x="1663" y="1063"/>
                  </a:lnTo>
                  <a:lnTo>
                    <a:pt x="1653" y="1072"/>
                  </a:lnTo>
                  <a:lnTo>
                    <a:pt x="1643" y="1081"/>
                  </a:lnTo>
                  <a:lnTo>
                    <a:pt x="1633" y="1091"/>
                  </a:lnTo>
                  <a:lnTo>
                    <a:pt x="1630" y="1097"/>
                  </a:lnTo>
                  <a:lnTo>
                    <a:pt x="1627" y="1103"/>
                  </a:lnTo>
                  <a:lnTo>
                    <a:pt x="1625" y="1109"/>
                  </a:lnTo>
                  <a:lnTo>
                    <a:pt x="1624" y="1117"/>
                  </a:lnTo>
                  <a:lnTo>
                    <a:pt x="1625" y="1122"/>
                  </a:lnTo>
                  <a:lnTo>
                    <a:pt x="1626" y="1127"/>
                  </a:lnTo>
                  <a:lnTo>
                    <a:pt x="1628" y="1131"/>
                  </a:lnTo>
                  <a:lnTo>
                    <a:pt x="1631" y="1134"/>
                  </a:lnTo>
                  <a:lnTo>
                    <a:pt x="1640" y="1140"/>
                  </a:lnTo>
                  <a:lnTo>
                    <a:pt x="1649" y="1144"/>
                  </a:lnTo>
                  <a:lnTo>
                    <a:pt x="1659" y="1147"/>
                  </a:lnTo>
                  <a:lnTo>
                    <a:pt x="1669" y="1151"/>
                  </a:lnTo>
                  <a:lnTo>
                    <a:pt x="1675" y="1154"/>
                  </a:lnTo>
                  <a:lnTo>
                    <a:pt x="1680" y="1157"/>
                  </a:lnTo>
                  <a:lnTo>
                    <a:pt x="1684" y="1161"/>
                  </a:lnTo>
                  <a:lnTo>
                    <a:pt x="1688" y="1164"/>
                  </a:lnTo>
                  <a:lnTo>
                    <a:pt x="1694" y="1171"/>
                  </a:lnTo>
                  <a:lnTo>
                    <a:pt x="1698" y="1178"/>
                  </a:lnTo>
                  <a:lnTo>
                    <a:pt x="1701" y="1186"/>
                  </a:lnTo>
                  <a:lnTo>
                    <a:pt x="1703" y="1195"/>
                  </a:lnTo>
                  <a:lnTo>
                    <a:pt x="1706" y="1211"/>
                  </a:lnTo>
                  <a:lnTo>
                    <a:pt x="1707" y="1228"/>
                  </a:lnTo>
                  <a:lnTo>
                    <a:pt x="1709" y="1244"/>
                  </a:lnTo>
                  <a:lnTo>
                    <a:pt x="1712" y="1260"/>
                  </a:lnTo>
                  <a:lnTo>
                    <a:pt x="1715" y="1267"/>
                  </a:lnTo>
                  <a:lnTo>
                    <a:pt x="1719" y="1274"/>
                  </a:lnTo>
                  <a:lnTo>
                    <a:pt x="1724" y="1280"/>
                  </a:lnTo>
                  <a:lnTo>
                    <a:pt x="1730" y="1287"/>
                  </a:lnTo>
                  <a:lnTo>
                    <a:pt x="1745" y="1297"/>
                  </a:lnTo>
                  <a:lnTo>
                    <a:pt x="1758" y="1306"/>
                  </a:lnTo>
                  <a:lnTo>
                    <a:pt x="1771" y="1317"/>
                  </a:lnTo>
                  <a:lnTo>
                    <a:pt x="1781" y="1327"/>
                  </a:lnTo>
                  <a:lnTo>
                    <a:pt x="1786" y="1332"/>
                  </a:lnTo>
                  <a:lnTo>
                    <a:pt x="1790" y="1338"/>
                  </a:lnTo>
                  <a:lnTo>
                    <a:pt x="1794" y="1344"/>
                  </a:lnTo>
                  <a:lnTo>
                    <a:pt x="1797" y="1351"/>
                  </a:lnTo>
                  <a:lnTo>
                    <a:pt x="1800" y="1358"/>
                  </a:lnTo>
                  <a:lnTo>
                    <a:pt x="1802" y="1365"/>
                  </a:lnTo>
                  <a:lnTo>
                    <a:pt x="1804" y="1372"/>
                  </a:lnTo>
                  <a:lnTo>
                    <a:pt x="1804" y="1382"/>
                  </a:lnTo>
                  <a:lnTo>
                    <a:pt x="1804" y="1387"/>
                  </a:lnTo>
                  <a:lnTo>
                    <a:pt x="1801" y="1392"/>
                  </a:lnTo>
                  <a:lnTo>
                    <a:pt x="1799" y="1396"/>
                  </a:lnTo>
                  <a:lnTo>
                    <a:pt x="1796" y="1400"/>
                  </a:lnTo>
                  <a:lnTo>
                    <a:pt x="1794" y="1404"/>
                  </a:lnTo>
                  <a:lnTo>
                    <a:pt x="1792" y="1408"/>
                  </a:lnTo>
                  <a:lnTo>
                    <a:pt x="1790" y="1414"/>
                  </a:lnTo>
                  <a:lnTo>
                    <a:pt x="1789" y="1419"/>
                  </a:lnTo>
                  <a:lnTo>
                    <a:pt x="1790" y="1424"/>
                  </a:lnTo>
                  <a:lnTo>
                    <a:pt x="1791" y="1429"/>
                  </a:lnTo>
                  <a:lnTo>
                    <a:pt x="1792" y="1434"/>
                  </a:lnTo>
                  <a:lnTo>
                    <a:pt x="1794" y="1438"/>
                  </a:lnTo>
                  <a:lnTo>
                    <a:pt x="1798" y="1447"/>
                  </a:lnTo>
                  <a:lnTo>
                    <a:pt x="1804" y="1454"/>
                  </a:lnTo>
                  <a:lnTo>
                    <a:pt x="1809" y="1462"/>
                  </a:lnTo>
                  <a:lnTo>
                    <a:pt x="1814" y="1470"/>
                  </a:lnTo>
                  <a:lnTo>
                    <a:pt x="1815" y="1475"/>
                  </a:lnTo>
                  <a:lnTo>
                    <a:pt x="1817" y="1479"/>
                  </a:lnTo>
                  <a:lnTo>
                    <a:pt x="1818" y="1484"/>
                  </a:lnTo>
                  <a:lnTo>
                    <a:pt x="1818" y="1489"/>
                  </a:lnTo>
                  <a:lnTo>
                    <a:pt x="1818" y="1538"/>
                  </a:lnTo>
                  <a:lnTo>
                    <a:pt x="1818" y="1544"/>
                  </a:lnTo>
                  <a:lnTo>
                    <a:pt x="1819" y="1550"/>
                  </a:lnTo>
                  <a:lnTo>
                    <a:pt x="1821" y="1555"/>
                  </a:lnTo>
                  <a:lnTo>
                    <a:pt x="1822" y="1560"/>
                  </a:lnTo>
                  <a:lnTo>
                    <a:pt x="1827" y="1569"/>
                  </a:lnTo>
                  <a:lnTo>
                    <a:pt x="1834" y="1577"/>
                  </a:lnTo>
                  <a:lnTo>
                    <a:pt x="1850" y="1593"/>
                  </a:lnTo>
                  <a:lnTo>
                    <a:pt x="1865" y="1613"/>
                  </a:lnTo>
                  <a:lnTo>
                    <a:pt x="1871" y="1621"/>
                  </a:lnTo>
                  <a:lnTo>
                    <a:pt x="1875" y="1631"/>
                  </a:lnTo>
                  <a:lnTo>
                    <a:pt x="1878" y="1639"/>
                  </a:lnTo>
                  <a:lnTo>
                    <a:pt x="1881" y="1647"/>
                  </a:lnTo>
                  <a:lnTo>
                    <a:pt x="1884" y="1655"/>
                  </a:lnTo>
                  <a:lnTo>
                    <a:pt x="1888" y="1663"/>
                  </a:lnTo>
                  <a:lnTo>
                    <a:pt x="1893" y="1671"/>
                  </a:lnTo>
                  <a:lnTo>
                    <a:pt x="1900" y="1679"/>
                  </a:lnTo>
                  <a:lnTo>
                    <a:pt x="1911" y="1687"/>
                  </a:lnTo>
                  <a:lnTo>
                    <a:pt x="1921" y="1693"/>
                  </a:lnTo>
                  <a:lnTo>
                    <a:pt x="1932" y="1700"/>
                  </a:lnTo>
                  <a:lnTo>
                    <a:pt x="1943" y="1705"/>
                  </a:lnTo>
                  <a:lnTo>
                    <a:pt x="1952" y="1711"/>
                  </a:lnTo>
                  <a:lnTo>
                    <a:pt x="1959" y="1718"/>
                  </a:lnTo>
                  <a:lnTo>
                    <a:pt x="1962" y="1723"/>
                  </a:lnTo>
                  <a:lnTo>
                    <a:pt x="1964" y="1728"/>
                  </a:lnTo>
                  <a:lnTo>
                    <a:pt x="1965" y="1734"/>
                  </a:lnTo>
                  <a:lnTo>
                    <a:pt x="1966" y="1740"/>
                  </a:lnTo>
                  <a:lnTo>
                    <a:pt x="1966" y="1768"/>
                  </a:lnTo>
                  <a:lnTo>
                    <a:pt x="1949" y="1768"/>
                  </a:lnTo>
                  <a:lnTo>
                    <a:pt x="1933" y="1768"/>
                  </a:lnTo>
                  <a:lnTo>
                    <a:pt x="1918" y="1768"/>
                  </a:lnTo>
                  <a:lnTo>
                    <a:pt x="1900" y="1769"/>
                  </a:lnTo>
                  <a:lnTo>
                    <a:pt x="1890" y="1769"/>
                  </a:lnTo>
                  <a:lnTo>
                    <a:pt x="1881" y="1771"/>
                  </a:lnTo>
                  <a:lnTo>
                    <a:pt x="1873" y="1774"/>
                  </a:lnTo>
                  <a:lnTo>
                    <a:pt x="1862" y="1778"/>
                  </a:lnTo>
                  <a:lnTo>
                    <a:pt x="1844" y="1773"/>
                  </a:lnTo>
                  <a:lnTo>
                    <a:pt x="1835" y="1781"/>
                  </a:lnTo>
                  <a:lnTo>
                    <a:pt x="1830" y="1788"/>
                  </a:lnTo>
                  <a:lnTo>
                    <a:pt x="1828" y="1793"/>
                  </a:lnTo>
                  <a:lnTo>
                    <a:pt x="1826" y="1798"/>
                  </a:lnTo>
                  <a:lnTo>
                    <a:pt x="1825" y="1803"/>
                  </a:lnTo>
                  <a:lnTo>
                    <a:pt x="1825" y="1808"/>
                  </a:lnTo>
                  <a:lnTo>
                    <a:pt x="1825" y="1813"/>
                  </a:lnTo>
                  <a:lnTo>
                    <a:pt x="1826" y="1816"/>
                  </a:lnTo>
                  <a:lnTo>
                    <a:pt x="1827" y="1821"/>
                  </a:lnTo>
                  <a:lnTo>
                    <a:pt x="1829" y="1824"/>
                  </a:lnTo>
                  <a:lnTo>
                    <a:pt x="1834" y="1829"/>
                  </a:lnTo>
                  <a:lnTo>
                    <a:pt x="1840" y="1834"/>
                  </a:lnTo>
                  <a:lnTo>
                    <a:pt x="1846" y="1839"/>
                  </a:lnTo>
                  <a:lnTo>
                    <a:pt x="1852" y="1844"/>
                  </a:lnTo>
                  <a:lnTo>
                    <a:pt x="1858" y="1850"/>
                  </a:lnTo>
                  <a:lnTo>
                    <a:pt x="1862" y="1858"/>
                  </a:lnTo>
                  <a:lnTo>
                    <a:pt x="1872" y="1877"/>
                  </a:lnTo>
                  <a:lnTo>
                    <a:pt x="1878" y="1895"/>
                  </a:lnTo>
                  <a:lnTo>
                    <a:pt x="1882" y="1903"/>
                  </a:lnTo>
                  <a:lnTo>
                    <a:pt x="1886" y="1911"/>
                  </a:lnTo>
                  <a:lnTo>
                    <a:pt x="1891" y="1921"/>
                  </a:lnTo>
                  <a:lnTo>
                    <a:pt x="1898" y="1929"/>
                  </a:lnTo>
                  <a:lnTo>
                    <a:pt x="1903" y="1935"/>
                  </a:lnTo>
                  <a:lnTo>
                    <a:pt x="1907" y="1942"/>
                  </a:lnTo>
                  <a:lnTo>
                    <a:pt x="1910" y="1951"/>
                  </a:lnTo>
                  <a:lnTo>
                    <a:pt x="1912" y="1959"/>
                  </a:lnTo>
                  <a:lnTo>
                    <a:pt x="1914" y="1974"/>
                  </a:lnTo>
                  <a:lnTo>
                    <a:pt x="1916" y="1991"/>
                  </a:lnTo>
                  <a:lnTo>
                    <a:pt x="1917" y="1998"/>
                  </a:lnTo>
                  <a:lnTo>
                    <a:pt x="1919" y="2005"/>
                  </a:lnTo>
                  <a:lnTo>
                    <a:pt x="1921" y="2013"/>
                  </a:lnTo>
                  <a:lnTo>
                    <a:pt x="1923" y="2019"/>
                  </a:lnTo>
                  <a:lnTo>
                    <a:pt x="1927" y="2024"/>
                  </a:lnTo>
                  <a:lnTo>
                    <a:pt x="1931" y="2029"/>
                  </a:lnTo>
                  <a:lnTo>
                    <a:pt x="1938" y="2032"/>
                  </a:lnTo>
                  <a:lnTo>
                    <a:pt x="1945" y="2035"/>
                  </a:lnTo>
                  <a:lnTo>
                    <a:pt x="1938" y="2048"/>
                  </a:lnTo>
                  <a:lnTo>
                    <a:pt x="1928" y="2060"/>
                  </a:lnTo>
                  <a:lnTo>
                    <a:pt x="1925" y="2066"/>
                  </a:lnTo>
                  <a:lnTo>
                    <a:pt x="1922" y="2074"/>
                  </a:lnTo>
                  <a:lnTo>
                    <a:pt x="1920" y="2080"/>
                  </a:lnTo>
                  <a:lnTo>
                    <a:pt x="1919" y="2087"/>
                  </a:lnTo>
                  <a:lnTo>
                    <a:pt x="1920" y="2093"/>
                  </a:lnTo>
                  <a:lnTo>
                    <a:pt x="1921" y="2098"/>
                  </a:lnTo>
                  <a:lnTo>
                    <a:pt x="1923" y="2103"/>
                  </a:lnTo>
                  <a:lnTo>
                    <a:pt x="1925" y="2109"/>
                  </a:lnTo>
                  <a:lnTo>
                    <a:pt x="1927" y="2113"/>
                  </a:lnTo>
                  <a:lnTo>
                    <a:pt x="1929" y="2118"/>
                  </a:lnTo>
                  <a:lnTo>
                    <a:pt x="1930" y="2123"/>
                  </a:lnTo>
                  <a:lnTo>
                    <a:pt x="1931" y="2129"/>
                  </a:lnTo>
                  <a:lnTo>
                    <a:pt x="1930" y="2134"/>
                  </a:lnTo>
                  <a:lnTo>
                    <a:pt x="1929" y="2139"/>
                  </a:lnTo>
                  <a:lnTo>
                    <a:pt x="1928" y="2143"/>
                  </a:lnTo>
                  <a:lnTo>
                    <a:pt x="1926" y="2146"/>
                  </a:lnTo>
                  <a:lnTo>
                    <a:pt x="1921" y="2152"/>
                  </a:lnTo>
                  <a:lnTo>
                    <a:pt x="1915" y="2157"/>
                  </a:lnTo>
                  <a:lnTo>
                    <a:pt x="1899" y="2166"/>
                  </a:lnTo>
                  <a:lnTo>
                    <a:pt x="1884" y="2177"/>
                  </a:lnTo>
                  <a:lnTo>
                    <a:pt x="1876" y="2183"/>
                  </a:lnTo>
                  <a:lnTo>
                    <a:pt x="1867" y="2190"/>
                  </a:lnTo>
                  <a:lnTo>
                    <a:pt x="1861" y="2197"/>
                  </a:lnTo>
                  <a:lnTo>
                    <a:pt x="1856" y="2206"/>
                  </a:lnTo>
                  <a:lnTo>
                    <a:pt x="1852" y="2214"/>
                  </a:lnTo>
                  <a:lnTo>
                    <a:pt x="1848" y="2222"/>
                  </a:lnTo>
                  <a:lnTo>
                    <a:pt x="1845" y="2233"/>
                  </a:lnTo>
                  <a:lnTo>
                    <a:pt x="1842" y="2243"/>
                  </a:lnTo>
                  <a:lnTo>
                    <a:pt x="1835" y="2259"/>
                  </a:lnTo>
                  <a:lnTo>
                    <a:pt x="1829" y="2275"/>
                  </a:lnTo>
                  <a:lnTo>
                    <a:pt x="1825" y="2283"/>
                  </a:lnTo>
                  <a:lnTo>
                    <a:pt x="1821" y="2289"/>
                  </a:lnTo>
                  <a:lnTo>
                    <a:pt x="1816" y="2297"/>
                  </a:lnTo>
                  <a:lnTo>
                    <a:pt x="1811" y="2303"/>
                  </a:lnTo>
                  <a:lnTo>
                    <a:pt x="1806" y="2308"/>
                  </a:lnTo>
                  <a:lnTo>
                    <a:pt x="1799" y="2313"/>
                  </a:lnTo>
                  <a:lnTo>
                    <a:pt x="1793" y="2317"/>
                  </a:lnTo>
                  <a:lnTo>
                    <a:pt x="1786" y="2321"/>
                  </a:lnTo>
                  <a:lnTo>
                    <a:pt x="1779" y="2323"/>
                  </a:lnTo>
                  <a:lnTo>
                    <a:pt x="1771" y="2327"/>
                  </a:lnTo>
                  <a:lnTo>
                    <a:pt x="1763" y="2328"/>
                  </a:lnTo>
                  <a:lnTo>
                    <a:pt x="1754" y="2328"/>
                  </a:lnTo>
                  <a:lnTo>
                    <a:pt x="1744" y="2327"/>
                  </a:lnTo>
                  <a:lnTo>
                    <a:pt x="1733" y="2324"/>
                  </a:lnTo>
                  <a:lnTo>
                    <a:pt x="1725" y="2320"/>
                  </a:lnTo>
                  <a:lnTo>
                    <a:pt x="1717" y="2316"/>
                  </a:lnTo>
                  <a:lnTo>
                    <a:pt x="1708" y="2312"/>
                  </a:lnTo>
                  <a:lnTo>
                    <a:pt x="1699" y="2308"/>
                  </a:lnTo>
                  <a:lnTo>
                    <a:pt x="1689" y="2305"/>
                  </a:lnTo>
                  <a:lnTo>
                    <a:pt x="1679" y="2304"/>
                  </a:lnTo>
                  <a:lnTo>
                    <a:pt x="1662" y="2305"/>
                  </a:lnTo>
                  <a:lnTo>
                    <a:pt x="1648" y="2306"/>
                  </a:lnTo>
                  <a:lnTo>
                    <a:pt x="1633" y="2308"/>
                  </a:lnTo>
                  <a:lnTo>
                    <a:pt x="1620" y="2311"/>
                  </a:lnTo>
                  <a:lnTo>
                    <a:pt x="1608" y="2315"/>
                  </a:lnTo>
                  <a:lnTo>
                    <a:pt x="1595" y="2321"/>
                  </a:lnTo>
                  <a:lnTo>
                    <a:pt x="1583" y="2330"/>
                  </a:lnTo>
                  <a:lnTo>
                    <a:pt x="1570" y="2340"/>
                  </a:lnTo>
                  <a:lnTo>
                    <a:pt x="1567" y="2343"/>
                  </a:lnTo>
                  <a:lnTo>
                    <a:pt x="1564" y="2347"/>
                  </a:lnTo>
                  <a:lnTo>
                    <a:pt x="1562" y="2350"/>
                  </a:lnTo>
                  <a:lnTo>
                    <a:pt x="1560" y="2354"/>
                  </a:lnTo>
                  <a:lnTo>
                    <a:pt x="1558" y="2364"/>
                  </a:lnTo>
                  <a:lnTo>
                    <a:pt x="1556" y="2372"/>
                  </a:lnTo>
                  <a:lnTo>
                    <a:pt x="1554" y="2381"/>
                  </a:lnTo>
                  <a:lnTo>
                    <a:pt x="1551" y="2389"/>
                  </a:lnTo>
                  <a:lnTo>
                    <a:pt x="1549" y="2393"/>
                  </a:lnTo>
                  <a:lnTo>
                    <a:pt x="1547" y="2397"/>
                  </a:lnTo>
                  <a:lnTo>
                    <a:pt x="1544" y="2400"/>
                  </a:lnTo>
                  <a:lnTo>
                    <a:pt x="1540" y="2403"/>
                  </a:lnTo>
                  <a:lnTo>
                    <a:pt x="1531" y="2409"/>
                  </a:lnTo>
                  <a:lnTo>
                    <a:pt x="1523" y="2413"/>
                  </a:lnTo>
                  <a:lnTo>
                    <a:pt x="1515" y="2416"/>
                  </a:lnTo>
                  <a:lnTo>
                    <a:pt x="1507" y="2419"/>
                  </a:lnTo>
                  <a:lnTo>
                    <a:pt x="1498" y="2423"/>
                  </a:lnTo>
                  <a:lnTo>
                    <a:pt x="1490" y="2427"/>
                  </a:lnTo>
                  <a:lnTo>
                    <a:pt x="1482" y="2431"/>
                  </a:lnTo>
                  <a:lnTo>
                    <a:pt x="1474" y="2436"/>
                  </a:lnTo>
                  <a:lnTo>
                    <a:pt x="1461" y="2448"/>
                  </a:lnTo>
                  <a:lnTo>
                    <a:pt x="1451" y="2460"/>
                  </a:lnTo>
                  <a:lnTo>
                    <a:pt x="1446" y="2466"/>
                  </a:lnTo>
                  <a:lnTo>
                    <a:pt x="1441" y="2471"/>
                  </a:lnTo>
                  <a:lnTo>
                    <a:pt x="1434" y="2476"/>
                  </a:lnTo>
                  <a:lnTo>
                    <a:pt x="1426" y="2481"/>
                  </a:lnTo>
                  <a:lnTo>
                    <a:pt x="1411" y="2490"/>
                  </a:lnTo>
                  <a:lnTo>
                    <a:pt x="1396" y="2499"/>
                  </a:lnTo>
                  <a:lnTo>
                    <a:pt x="1383" y="2507"/>
                  </a:lnTo>
                  <a:lnTo>
                    <a:pt x="1369" y="2517"/>
                  </a:lnTo>
                  <a:lnTo>
                    <a:pt x="1346" y="2535"/>
                  </a:lnTo>
                  <a:lnTo>
                    <a:pt x="1323" y="2554"/>
                  </a:lnTo>
                  <a:lnTo>
                    <a:pt x="1301" y="2573"/>
                  </a:lnTo>
                  <a:lnTo>
                    <a:pt x="1279" y="2594"/>
                  </a:lnTo>
                  <a:lnTo>
                    <a:pt x="1255" y="2616"/>
                  </a:lnTo>
                  <a:lnTo>
                    <a:pt x="1228" y="2639"/>
                  </a:lnTo>
                  <a:lnTo>
                    <a:pt x="1210" y="2658"/>
                  </a:lnTo>
                  <a:lnTo>
                    <a:pt x="1193" y="2677"/>
                  </a:lnTo>
                  <a:lnTo>
                    <a:pt x="1185" y="2685"/>
                  </a:lnTo>
                  <a:lnTo>
                    <a:pt x="1174" y="2693"/>
                  </a:lnTo>
                  <a:lnTo>
                    <a:pt x="1163" y="2701"/>
                  </a:lnTo>
                  <a:lnTo>
                    <a:pt x="1150" y="2709"/>
                  </a:lnTo>
                  <a:lnTo>
                    <a:pt x="1146" y="2717"/>
                  </a:lnTo>
                  <a:lnTo>
                    <a:pt x="1141" y="2723"/>
                  </a:lnTo>
                  <a:lnTo>
                    <a:pt x="1137" y="2729"/>
                  </a:lnTo>
                  <a:lnTo>
                    <a:pt x="1132" y="2734"/>
                  </a:lnTo>
                  <a:lnTo>
                    <a:pt x="1121" y="2744"/>
                  </a:lnTo>
                  <a:lnTo>
                    <a:pt x="1108" y="2751"/>
                  </a:lnTo>
                  <a:lnTo>
                    <a:pt x="1095" y="2758"/>
                  </a:lnTo>
                  <a:lnTo>
                    <a:pt x="1082" y="2764"/>
                  </a:lnTo>
                  <a:lnTo>
                    <a:pt x="1075" y="2768"/>
                  </a:lnTo>
                  <a:lnTo>
                    <a:pt x="1068" y="2773"/>
                  </a:lnTo>
                  <a:lnTo>
                    <a:pt x="1062" y="2778"/>
                  </a:lnTo>
                  <a:lnTo>
                    <a:pt x="1057" y="2783"/>
                  </a:lnTo>
                  <a:lnTo>
                    <a:pt x="1047" y="2794"/>
                  </a:lnTo>
                  <a:lnTo>
                    <a:pt x="1038" y="2805"/>
                  </a:lnTo>
                  <a:lnTo>
                    <a:pt x="1032" y="2815"/>
                  </a:lnTo>
                  <a:lnTo>
                    <a:pt x="1025" y="2825"/>
                  </a:lnTo>
                  <a:lnTo>
                    <a:pt x="1013" y="2847"/>
                  </a:lnTo>
                  <a:lnTo>
                    <a:pt x="997" y="2871"/>
                  </a:lnTo>
                  <a:lnTo>
                    <a:pt x="983" y="2888"/>
                  </a:lnTo>
                  <a:lnTo>
                    <a:pt x="969" y="2904"/>
                  </a:lnTo>
                  <a:lnTo>
                    <a:pt x="955" y="2917"/>
                  </a:lnTo>
                  <a:lnTo>
                    <a:pt x="940" y="2931"/>
                  </a:lnTo>
                  <a:lnTo>
                    <a:pt x="926" y="2943"/>
                  </a:lnTo>
                  <a:lnTo>
                    <a:pt x="911" y="2956"/>
                  </a:lnTo>
                  <a:lnTo>
                    <a:pt x="897" y="2972"/>
                  </a:lnTo>
                  <a:lnTo>
                    <a:pt x="882" y="2988"/>
                  </a:lnTo>
                  <a:lnTo>
                    <a:pt x="878" y="2995"/>
                  </a:lnTo>
                  <a:lnTo>
                    <a:pt x="875" y="3001"/>
                  </a:lnTo>
                  <a:lnTo>
                    <a:pt x="874" y="3007"/>
                  </a:lnTo>
                  <a:lnTo>
                    <a:pt x="873" y="3013"/>
                  </a:lnTo>
                  <a:lnTo>
                    <a:pt x="871" y="3018"/>
                  </a:lnTo>
                  <a:lnTo>
                    <a:pt x="869" y="3025"/>
                  </a:lnTo>
                  <a:lnTo>
                    <a:pt x="866" y="3030"/>
                  </a:lnTo>
                  <a:lnTo>
                    <a:pt x="861" y="3034"/>
                  </a:lnTo>
                  <a:lnTo>
                    <a:pt x="851" y="3038"/>
                  </a:lnTo>
                  <a:lnTo>
                    <a:pt x="841" y="3041"/>
                  </a:lnTo>
                  <a:lnTo>
                    <a:pt x="836" y="3042"/>
                  </a:lnTo>
                  <a:lnTo>
                    <a:pt x="832" y="3044"/>
                  </a:lnTo>
                  <a:lnTo>
                    <a:pt x="827" y="3047"/>
                  </a:lnTo>
                  <a:lnTo>
                    <a:pt x="823" y="3050"/>
                  </a:lnTo>
                  <a:lnTo>
                    <a:pt x="818" y="3057"/>
                  </a:lnTo>
                  <a:lnTo>
                    <a:pt x="814" y="3064"/>
                  </a:lnTo>
                  <a:lnTo>
                    <a:pt x="811" y="3071"/>
                  </a:lnTo>
                  <a:lnTo>
                    <a:pt x="809" y="3078"/>
                  </a:lnTo>
                  <a:lnTo>
                    <a:pt x="807" y="3087"/>
                  </a:lnTo>
                  <a:lnTo>
                    <a:pt x="804" y="3094"/>
                  </a:lnTo>
                  <a:lnTo>
                    <a:pt x="800" y="3101"/>
                  </a:lnTo>
                  <a:lnTo>
                    <a:pt x="795" y="3107"/>
                  </a:lnTo>
                  <a:lnTo>
                    <a:pt x="763" y="3133"/>
                  </a:lnTo>
                  <a:lnTo>
                    <a:pt x="736" y="3156"/>
                  </a:lnTo>
                  <a:lnTo>
                    <a:pt x="723" y="3168"/>
                  </a:lnTo>
                  <a:lnTo>
                    <a:pt x="710" y="3181"/>
                  </a:lnTo>
                  <a:lnTo>
                    <a:pt x="697" y="3195"/>
                  </a:lnTo>
                  <a:lnTo>
                    <a:pt x="684" y="3210"/>
                  </a:lnTo>
                  <a:lnTo>
                    <a:pt x="654" y="3243"/>
                  </a:lnTo>
                  <a:lnTo>
                    <a:pt x="625" y="3272"/>
                  </a:lnTo>
                  <a:lnTo>
                    <a:pt x="619" y="3281"/>
                  </a:lnTo>
                  <a:lnTo>
                    <a:pt x="612" y="3288"/>
                  </a:lnTo>
                  <a:lnTo>
                    <a:pt x="607" y="3296"/>
                  </a:lnTo>
                  <a:lnTo>
                    <a:pt x="603" y="3304"/>
                  </a:lnTo>
                  <a:lnTo>
                    <a:pt x="599" y="3314"/>
                  </a:lnTo>
                  <a:lnTo>
                    <a:pt x="597" y="3323"/>
                  </a:lnTo>
                  <a:lnTo>
                    <a:pt x="595" y="3334"/>
                  </a:lnTo>
                  <a:lnTo>
                    <a:pt x="594" y="3346"/>
                  </a:lnTo>
                  <a:lnTo>
                    <a:pt x="595" y="3356"/>
                  </a:lnTo>
                  <a:lnTo>
                    <a:pt x="597" y="3365"/>
                  </a:lnTo>
                  <a:lnTo>
                    <a:pt x="600" y="3374"/>
                  </a:lnTo>
                  <a:lnTo>
                    <a:pt x="602" y="3382"/>
                  </a:lnTo>
                  <a:lnTo>
                    <a:pt x="605" y="3390"/>
                  </a:lnTo>
                  <a:lnTo>
                    <a:pt x="608" y="3398"/>
                  </a:lnTo>
                  <a:lnTo>
                    <a:pt x="610" y="3408"/>
                  </a:lnTo>
                  <a:lnTo>
                    <a:pt x="610" y="3418"/>
                  </a:lnTo>
                  <a:lnTo>
                    <a:pt x="610" y="3428"/>
                  </a:lnTo>
                  <a:lnTo>
                    <a:pt x="608" y="3438"/>
                  </a:lnTo>
                  <a:lnTo>
                    <a:pt x="606" y="3446"/>
                  </a:lnTo>
                  <a:lnTo>
                    <a:pt x="604" y="3454"/>
                  </a:lnTo>
                  <a:lnTo>
                    <a:pt x="601" y="3461"/>
                  </a:lnTo>
                  <a:lnTo>
                    <a:pt x="599" y="3471"/>
                  </a:lnTo>
                  <a:lnTo>
                    <a:pt x="597" y="3479"/>
                  </a:lnTo>
                  <a:lnTo>
                    <a:pt x="597" y="3489"/>
                  </a:lnTo>
                  <a:lnTo>
                    <a:pt x="597" y="3496"/>
                  </a:lnTo>
                  <a:lnTo>
                    <a:pt x="599" y="3503"/>
                  </a:lnTo>
                  <a:lnTo>
                    <a:pt x="601" y="3508"/>
                  </a:lnTo>
                  <a:lnTo>
                    <a:pt x="604" y="3513"/>
                  </a:lnTo>
                  <a:lnTo>
                    <a:pt x="610" y="3524"/>
                  </a:lnTo>
                  <a:lnTo>
                    <a:pt x="616" y="3537"/>
                  </a:lnTo>
                  <a:lnTo>
                    <a:pt x="620" y="3551"/>
                  </a:lnTo>
                  <a:lnTo>
                    <a:pt x="623" y="3564"/>
                  </a:lnTo>
                  <a:lnTo>
                    <a:pt x="624" y="3577"/>
                  </a:lnTo>
                  <a:lnTo>
                    <a:pt x="625" y="3589"/>
                  </a:lnTo>
                  <a:lnTo>
                    <a:pt x="626" y="3615"/>
                  </a:lnTo>
                  <a:lnTo>
                    <a:pt x="625" y="3644"/>
                  </a:lnTo>
                  <a:lnTo>
                    <a:pt x="624" y="3660"/>
                  </a:lnTo>
                  <a:lnTo>
                    <a:pt x="622" y="3674"/>
                  </a:lnTo>
                  <a:lnTo>
                    <a:pt x="619" y="3688"/>
                  </a:lnTo>
                  <a:lnTo>
                    <a:pt x="613" y="3700"/>
                  </a:lnTo>
                  <a:lnTo>
                    <a:pt x="608" y="3712"/>
                  </a:lnTo>
                  <a:lnTo>
                    <a:pt x="601" y="3725"/>
                  </a:lnTo>
                  <a:lnTo>
                    <a:pt x="594" y="3738"/>
                  </a:lnTo>
                  <a:lnTo>
                    <a:pt x="585" y="3752"/>
                  </a:lnTo>
                  <a:lnTo>
                    <a:pt x="579" y="3759"/>
                  </a:lnTo>
                  <a:lnTo>
                    <a:pt x="572" y="3766"/>
                  </a:lnTo>
                  <a:lnTo>
                    <a:pt x="566" y="3772"/>
                  </a:lnTo>
                  <a:lnTo>
                    <a:pt x="560" y="3778"/>
                  </a:lnTo>
                  <a:lnTo>
                    <a:pt x="554" y="3785"/>
                  </a:lnTo>
                  <a:lnTo>
                    <a:pt x="550" y="3791"/>
                  </a:lnTo>
                  <a:lnTo>
                    <a:pt x="547" y="3795"/>
                  </a:lnTo>
                  <a:lnTo>
                    <a:pt x="546" y="3799"/>
                  </a:lnTo>
                  <a:lnTo>
                    <a:pt x="545" y="3803"/>
                  </a:lnTo>
                  <a:lnTo>
                    <a:pt x="544" y="3808"/>
                  </a:lnTo>
                  <a:lnTo>
                    <a:pt x="545" y="3816"/>
                  </a:lnTo>
                  <a:lnTo>
                    <a:pt x="547" y="3822"/>
                  </a:lnTo>
                  <a:lnTo>
                    <a:pt x="552" y="3828"/>
                  </a:lnTo>
                  <a:lnTo>
                    <a:pt x="556" y="3833"/>
                  </a:lnTo>
                  <a:lnTo>
                    <a:pt x="567" y="3843"/>
                  </a:lnTo>
                  <a:lnTo>
                    <a:pt x="580" y="3853"/>
                  </a:lnTo>
                  <a:lnTo>
                    <a:pt x="595" y="3865"/>
                  </a:lnTo>
                  <a:lnTo>
                    <a:pt x="609" y="3879"/>
                  </a:lnTo>
                  <a:lnTo>
                    <a:pt x="622" y="3891"/>
                  </a:lnTo>
                  <a:lnTo>
                    <a:pt x="631" y="3905"/>
                  </a:lnTo>
                  <a:lnTo>
                    <a:pt x="636" y="3913"/>
                  </a:lnTo>
                  <a:lnTo>
                    <a:pt x="639" y="3920"/>
                  </a:lnTo>
                  <a:lnTo>
                    <a:pt x="643" y="3928"/>
                  </a:lnTo>
                  <a:lnTo>
                    <a:pt x="645" y="3936"/>
                  </a:lnTo>
                  <a:lnTo>
                    <a:pt x="649" y="3945"/>
                  </a:lnTo>
                  <a:lnTo>
                    <a:pt x="650" y="3954"/>
                  </a:lnTo>
                  <a:lnTo>
                    <a:pt x="651" y="3963"/>
                  </a:lnTo>
                  <a:lnTo>
                    <a:pt x="651" y="3974"/>
                  </a:lnTo>
                  <a:lnTo>
                    <a:pt x="651" y="3978"/>
                  </a:lnTo>
                  <a:lnTo>
                    <a:pt x="649" y="3983"/>
                  </a:lnTo>
                  <a:lnTo>
                    <a:pt x="645" y="3987"/>
                  </a:lnTo>
                  <a:lnTo>
                    <a:pt x="642" y="3990"/>
                  </a:lnTo>
                  <a:lnTo>
                    <a:pt x="638" y="3993"/>
                  </a:lnTo>
                  <a:lnTo>
                    <a:pt x="634" y="3995"/>
                  </a:lnTo>
                  <a:lnTo>
                    <a:pt x="629" y="3996"/>
                  </a:lnTo>
                  <a:lnTo>
                    <a:pt x="624" y="3997"/>
                  </a:lnTo>
                  <a:lnTo>
                    <a:pt x="611" y="3996"/>
                  </a:lnTo>
                  <a:lnTo>
                    <a:pt x="599" y="3993"/>
                  </a:lnTo>
                  <a:lnTo>
                    <a:pt x="589" y="3989"/>
                  </a:lnTo>
                  <a:lnTo>
                    <a:pt x="578" y="3984"/>
                  </a:lnTo>
                  <a:lnTo>
                    <a:pt x="568" y="3978"/>
                  </a:lnTo>
                  <a:lnTo>
                    <a:pt x="560" y="3970"/>
                  </a:lnTo>
                  <a:lnTo>
                    <a:pt x="551" y="3963"/>
                  </a:lnTo>
                  <a:lnTo>
                    <a:pt x="542" y="3956"/>
                  </a:lnTo>
                  <a:lnTo>
                    <a:pt x="533" y="3948"/>
                  </a:lnTo>
                  <a:lnTo>
                    <a:pt x="525" y="3941"/>
                  </a:lnTo>
                  <a:lnTo>
                    <a:pt x="515" y="3933"/>
                  </a:lnTo>
                  <a:lnTo>
                    <a:pt x="505" y="3927"/>
                  </a:lnTo>
                  <a:lnTo>
                    <a:pt x="496" y="3922"/>
                  </a:lnTo>
                  <a:lnTo>
                    <a:pt x="485" y="3918"/>
                  </a:lnTo>
                  <a:lnTo>
                    <a:pt x="473" y="3915"/>
                  </a:lnTo>
                  <a:lnTo>
                    <a:pt x="460" y="3915"/>
                  </a:lnTo>
                  <a:lnTo>
                    <a:pt x="445" y="3918"/>
                  </a:lnTo>
                  <a:lnTo>
                    <a:pt x="432" y="3924"/>
                  </a:lnTo>
                  <a:lnTo>
                    <a:pt x="431" y="3949"/>
                  </a:lnTo>
                  <a:lnTo>
                    <a:pt x="432" y="3972"/>
                  </a:lnTo>
                  <a:lnTo>
                    <a:pt x="431" y="3983"/>
                  </a:lnTo>
                  <a:lnTo>
                    <a:pt x="429" y="3993"/>
                  </a:lnTo>
                  <a:lnTo>
                    <a:pt x="427" y="3998"/>
                  </a:lnTo>
                  <a:lnTo>
                    <a:pt x="425" y="4004"/>
                  </a:lnTo>
                  <a:lnTo>
                    <a:pt x="422" y="4009"/>
                  </a:lnTo>
                  <a:lnTo>
                    <a:pt x="418" y="4014"/>
                  </a:lnTo>
                  <a:lnTo>
                    <a:pt x="414" y="4017"/>
                  </a:lnTo>
                  <a:lnTo>
                    <a:pt x="411" y="4019"/>
                  </a:lnTo>
                  <a:lnTo>
                    <a:pt x="408" y="4021"/>
                  </a:lnTo>
                  <a:lnTo>
                    <a:pt x="404" y="4022"/>
                  </a:lnTo>
                  <a:lnTo>
                    <a:pt x="397" y="4023"/>
                  </a:lnTo>
                  <a:lnTo>
                    <a:pt x="390" y="4023"/>
                  </a:lnTo>
                  <a:lnTo>
                    <a:pt x="372" y="4020"/>
                  </a:lnTo>
                  <a:lnTo>
                    <a:pt x="354" y="4018"/>
                  </a:lnTo>
                  <a:lnTo>
                    <a:pt x="346" y="4021"/>
                  </a:lnTo>
                  <a:lnTo>
                    <a:pt x="340" y="4025"/>
                  </a:lnTo>
                  <a:lnTo>
                    <a:pt x="344" y="4044"/>
                  </a:lnTo>
                  <a:lnTo>
                    <a:pt x="337" y="4065"/>
                  </a:lnTo>
                  <a:lnTo>
                    <a:pt x="329" y="4085"/>
                  </a:lnTo>
                  <a:lnTo>
                    <a:pt x="320" y="4103"/>
                  </a:lnTo>
                  <a:lnTo>
                    <a:pt x="309" y="4119"/>
                  </a:lnTo>
                  <a:lnTo>
                    <a:pt x="298" y="4135"/>
                  </a:lnTo>
                  <a:lnTo>
                    <a:pt x="286" y="4150"/>
                  </a:lnTo>
                  <a:lnTo>
                    <a:pt x="271" y="4166"/>
                  </a:lnTo>
                  <a:lnTo>
                    <a:pt x="255" y="4181"/>
                  </a:lnTo>
                  <a:lnTo>
                    <a:pt x="251" y="4184"/>
                  </a:lnTo>
                  <a:lnTo>
                    <a:pt x="248" y="4188"/>
                  </a:lnTo>
                  <a:lnTo>
                    <a:pt x="246" y="4192"/>
                  </a:lnTo>
                  <a:lnTo>
                    <a:pt x="245" y="4196"/>
                  </a:lnTo>
                  <a:lnTo>
                    <a:pt x="243" y="4204"/>
                  </a:lnTo>
                  <a:lnTo>
                    <a:pt x="243" y="4213"/>
                  </a:lnTo>
                  <a:lnTo>
                    <a:pt x="244" y="4232"/>
                  </a:lnTo>
                  <a:lnTo>
                    <a:pt x="243" y="4251"/>
                  </a:lnTo>
                  <a:lnTo>
                    <a:pt x="242" y="4258"/>
                  </a:lnTo>
                  <a:lnTo>
                    <a:pt x="240" y="4263"/>
                  </a:lnTo>
                  <a:lnTo>
                    <a:pt x="238" y="4268"/>
                  </a:lnTo>
                  <a:lnTo>
                    <a:pt x="236" y="4272"/>
                  </a:lnTo>
                  <a:lnTo>
                    <a:pt x="230" y="4280"/>
                  </a:lnTo>
                  <a:lnTo>
                    <a:pt x="224" y="4288"/>
                  </a:lnTo>
                  <a:lnTo>
                    <a:pt x="216" y="4295"/>
                  </a:lnTo>
                  <a:lnTo>
                    <a:pt x="210" y="4303"/>
                  </a:lnTo>
                  <a:lnTo>
                    <a:pt x="205" y="4312"/>
                  </a:lnTo>
                  <a:lnTo>
                    <a:pt x="201" y="4323"/>
                  </a:lnTo>
                  <a:lnTo>
                    <a:pt x="199" y="4332"/>
                  </a:lnTo>
                  <a:lnTo>
                    <a:pt x="198" y="4341"/>
                  </a:lnTo>
                  <a:lnTo>
                    <a:pt x="198" y="4350"/>
                  </a:lnTo>
                  <a:lnTo>
                    <a:pt x="198" y="4359"/>
                  </a:lnTo>
                  <a:lnTo>
                    <a:pt x="198" y="4367"/>
                  </a:lnTo>
                  <a:lnTo>
                    <a:pt x="197" y="4375"/>
                  </a:lnTo>
                  <a:lnTo>
                    <a:pt x="194" y="4384"/>
                  </a:lnTo>
                  <a:lnTo>
                    <a:pt x="189" y="4391"/>
                  </a:lnTo>
                  <a:lnTo>
                    <a:pt x="179" y="4403"/>
                  </a:lnTo>
                  <a:lnTo>
                    <a:pt x="169" y="4413"/>
                  </a:lnTo>
                  <a:lnTo>
                    <a:pt x="160" y="4424"/>
                  </a:lnTo>
                  <a:lnTo>
                    <a:pt x="149" y="4433"/>
                  </a:lnTo>
                  <a:lnTo>
                    <a:pt x="139" y="4441"/>
                  </a:lnTo>
                  <a:lnTo>
                    <a:pt x="129" y="4450"/>
                  </a:lnTo>
                  <a:lnTo>
                    <a:pt x="118" y="4457"/>
                  </a:lnTo>
                  <a:lnTo>
                    <a:pt x="107" y="4463"/>
                  </a:lnTo>
                  <a:lnTo>
                    <a:pt x="85" y="4476"/>
                  </a:lnTo>
                  <a:lnTo>
                    <a:pt x="62" y="4490"/>
                  </a:lnTo>
                  <a:lnTo>
                    <a:pt x="36" y="4503"/>
                  </a:lnTo>
                  <a:lnTo>
                    <a:pt x="10" y="4519"/>
                  </a:lnTo>
                  <a:lnTo>
                    <a:pt x="10" y="4528"/>
                  </a:lnTo>
                  <a:lnTo>
                    <a:pt x="12" y="4537"/>
                  </a:lnTo>
                  <a:lnTo>
                    <a:pt x="15" y="4545"/>
                  </a:lnTo>
                  <a:lnTo>
                    <a:pt x="19" y="4553"/>
                  </a:lnTo>
                  <a:lnTo>
                    <a:pt x="23" y="4560"/>
                  </a:lnTo>
                  <a:lnTo>
                    <a:pt x="26" y="4568"/>
                  </a:lnTo>
                  <a:lnTo>
                    <a:pt x="28" y="4578"/>
                  </a:lnTo>
                  <a:lnTo>
                    <a:pt x="29" y="4587"/>
                  </a:lnTo>
                  <a:lnTo>
                    <a:pt x="28" y="4592"/>
                  </a:lnTo>
                  <a:lnTo>
                    <a:pt x="28" y="4596"/>
                  </a:lnTo>
                  <a:lnTo>
                    <a:pt x="26" y="4601"/>
                  </a:lnTo>
                  <a:lnTo>
                    <a:pt x="25" y="4606"/>
                  </a:lnTo>
                  <a:lnTo>
                    <a:pt x="19" y="4613"/>
                  </a:lnTo>
                  <a:lnTo>
                    <a:pt x="14" y="4620"/>
                  </a:lnTo>
                  <a:lnTo>
                    <a:pt x="9" y="4627"/>
                  </a:lnTo>
                  <a:lnTo>
                    <a:pt x="5" y="4634"/>
                  </a:lnTo>
                  <a:lnTo>
                    <a:pt x="3" y="4639"/>
                  </a:lnTo>
                  <a:lnTo>
                    <a:pt x="2" y="4644"/>
                  </a:lnTo>
                  <a:lnTo>
                    <a:pt x="1" y="4648"/>
                  </a:lnTo>
                  <a:lnTo>
                    <a:pt x="0" y="4653"/>
                  </a:lnTo>
                  <a:lnTo>
                    <a:pt x="1" y="4664"/>
                  </a:lnTo>
                  <a:lnTo>
                    <a:pt x="1" y="4676"/>
                  </a:lnTo>
                  <a:lnTo>
                    <a:pt x="3" y="4685"/>
                  </a:lnTo>
                  <a:lnTo>
                    <a:pt x="5" y="4694"/>
                  </a:lnTo>
                  <a:lnTo>
                    <a:pt x="10" y="4712"/>
                  </a:lnTo>
                  <a:lnTo>
                    <a:pt x="16" y="4734"/>
                  </a:lnTo>
                  <a:lnTo>
                    <a:pt x="32" y="4737"/>
                  </a:lnTo>
                  <a:lnTo>
                    <a:pt x="47" y="4738"/>
                  </a:lnTo>
                  <a:lnTo>
                    <a:pt x="62" y="4737"/>
                  </a:lnTo>
                  <a:lnTo>
                    <a:pt x="78" y="4737"/>
                  </a:lnTo>
                  <a:lnTo>
                    <a:pt x="78" y="4757"/>
                  </a:lnTo>
                  <a:lnTo>
                    <a:pt x="74" y="4772"/>
                  </a:lnTo>
                  <a:lnTo>
                    <a:pt x="71" y="4785"/>
                  </a:lnTo>
                  <a:lnTo>
                    <a:pt x="71" y="4789"/>
                  </a:lnTo>
                  <a:lnTo>
                    <a:pt x="73" y="4792"/>
                  </a:lnTo>
                  <a:lnTo>
                    <a:pt x="75" y="4796"/>
                  </a:lnTo>
                  <a:lnTo>
                    <a:pt x="78" y="4798"/>
                  </a:lnTo>
                  <a:lnTo>
                    <a:pt x="85" y="4801"/>
                  </a:lnTo>
                  <a:lnTo>
                    <a:pt x="94" y="4804"/>
                  </a:lnTo>
                  <a:lnTo>
                    <a:pt x="103" y="4806"/>
                  </a:lnTo>
                  <a:lnTo>
                    <a:pt x="111" y="4809"/>
                  </a:lnTo>
                  <a:lnTo>
                    <a:pt x="115" y="4811"/>
                  </a:lnTo>
                  <a:lnTo>
                    <a:pt x="118" y="4814"/>
                  </a:lnTo>
                  <a:lnTo>
                    <a:pt x="121" y="4817"/>
                  </a:lnTo>
                  <a:lnTo>
                    <a:pt x="123" y="4820"/>
                  </a:lnTo>
                  <a:lnTo>
                    <a:pt x="133" y="4846"/>
                  </a:lnTo>
                  <a:lnTo>
                    <a:pt x="142" y="4870"/>
                  </a:lnTo>
                  <a:lnTo>
                    <a:pt x="152" y="4892"/>
                  </a:lnTo>
                  <a:lnTo>
                    <a:pt x="164" y="4911"/>
                  </a:lnTo>
                  <a:lnTo>
                    <a:pt x="170" y="4921"/>
                  </a:lnTo>
                  <a:lnTo>
                    <a:pt x="177" y="4930"/>
                  </a:lnTo>
                  <a:lnTo>
                    <a:pt x="184" y="4939"/>
                  </a:lnTo>
                  <a:lnTo>
                    <a:pt x="193" y="4947"/>
                  </a:lnTo>
                  <a:lnTo>
                    <a:pt x="202" y="4956"/>
                  </a:lnTo>
                  <a:lnTo>
                    <a:pt x="211" y="4964"/>
                  </a:lnTo>
                  <a:lnTo>
                    <a:pt x="222" y="4971"/>
                  </a:lnTo>
                  <a:lnTo>
                    <a:pt x="234" y="4978"/>
                  </a:lnTo>
                  <a:lnTo>
                    <a:pt x="268" y="4999"/>
                  </a:lnTo>
                  <a:lnTo>
                    <a:pt x="297" y="5020"/>
                  </a:lnTo>
                  <a:lnTo>
                    <a:pt x="304" y="5025"/>
                  </a:lnTo>
                  <a:lnTo>
                    <a:pt x="309" y="5031"/>
                  </a:lnTo>
                  <a:lnTo>
                    <a:pt x="315" y="5037"/>
                  </a:lnTo>
                  <a:lnTo>
                    <a:pt x="321" y="5043"/>
                  </a:lnTo>
                  <a:lnTo>
                    <a:pt x="325" y="5052"/>
                  </a:lnTo>
                  <a:lnTo>
                    <a:pt x="329" y="5059"/>
                  </a:lnTo>
                  <a:lnTo>
                    <a:pt x="332" y="5068"/>
                  </a:lnTo>
                  <a:lnTo>
                    <a:pt x="335" y="5079"/>
                  </a:lnTo>
                  <a:lnTo>
                    <a:pt x="338" y="5091"/>
                  </a:lnTo>
                  <a:lnTo>
                    <a:pt x="341" y="5102"/>
                  </a:lnTo>
                  <a:lnTo>
                    <a:pt x="344" y="5114"/>
                  </a:lnTo>
                  <a:lnTo>
                    <a:pt x="346" y="5128"/>
                  </a:lnTo>
                  <a:lnTo>
                    <a:pt x="348" y="5149"/>
                  </a:lnTo>
                  <a:lnTo>
                    <a:pt x="349" y="5169"/>
                  </a:lnTo>
                  <a:lnTo>
                    <a:pt x="350" y="5174"/>
                  </a:lnTo>
                  <a:lnTo>
                    <a:pt x="352" y="5178"/>
                  </a:lnTo>
                  <a:lnTo>
                    <a:pt x="354" y="5182"/>
                  </a:lnTo>
                  <a:lnTo>
                    <a:pt x="356" y="5185"/>
                  </a:lnTo>
                  <a:lnTo>
                    <a:pt x="359" y="5188"/>
                  </a:lnTo>
                  <a:lnTo>
                    <a:pt x="362" y="5190"/>
                  </a:lnTo>
                  <a:lnTo>
                    <a:pt x="366" y="5191"/>
                  </a:lnTo>
                  <a:lnTo>
                    <a:pt x="370" y="5191"/>
                  </a:lnTo>
                  <a:lnTo>
                    <a:pt x="386" y="5190"/>
                  </a:lnTo>
                  <a:lnTo>
                    <a:pt x="399" y="5188"/>
                  </a:lnTo>
                  <a:lnTo>
                    <a:pt x="412" y="5185"/>
                  </a:lnTo>
                  <a:lnTo>
                    <a:pt x="425" y="5182"/>
                  </a:lnTo>
                  <a:lnTo>
                    <a:pt x="437" y="5179"/>
                  </a:lnTo>
                  <a:lnTo>
                    <a:pt x="449" y="5176"/>
                  </a:lnTo>
                  <a:lnTo>
                    <a:pt x="464" y="5174"/>
                  </a:lnTo>
                  <a:lnTo>
                    <a:pt x="478" y="5172"/>
                  </a:lnTo>
                  <a:lnTo>
                    <a:pt x="485" y="5172"/>
                  </a:lnTo>
                  <a:lnTo>
                    <a:pt x="490" y="5174"/>
                  </a:lnTo>
                  <a:lnTo>
                    <a:pt x="495" y="5175"/>
                  </a:lnTo>
                  <a:lnTo>
                    <a:pt x="499" y="5177"/>
                  </a:lnTo>
                  <a:lnTo>
                    <a:pt x="507" y="5182"/>
                  </a:lnTo>
                  <a:lnTo>
                    <a:pt x="514" y="5188"/>
                  </a:lnTo>
                  <a:lnTo>
                    <a:pt x="521" y="5196"/>
                  </a:lnTo>
                  <a:lnTo>
                    <a:pt x="527" y="5206"/>
                  </a:lnTo>
                  <a:lnTo>
                    <a:pt x="532" y="5215"/>
                  </a:lnTo>
                  <a:lnTo>
                    <a:pt x="538" y="5224"/>
                  </a:lnTo>
                  <a:lnTo>
                    <a:pt x="541" y="5230"/>
                  </a:lnTo>
                  <a:lnTo>
                    <a:pt x="545" y="5235"/>
                  </a:lnTo>
                  <a:lnTo>
                    <a:pt x="551" y="5240"/>
                  </a:lnTo>
                  <a:lnTo>
                    <a:pt x="556" y="5245"/>
                  </a:lnTo>
                  <a:lnTo>
                    <a:pt x="560" y="5249"/>
                  </a:lnTo>
                  <a:lnTo>
                    <a:pt x="563" y="5254"/>
                  </a:lnTo>
                  <a:lnTo>
                    <a:pt x="565" y="5260"/>
                  </a:lnTo>
                  <a:lnTo>
                    <a:pt x="566" y="5266"/>
                  </a:lnTo>
                  <a:lnTo>
                    <a:pt x="566" y="5274"/>
                  </a:lnTo>
                  <a:lnTo>
                    <a:pt x="565" y="5280"/>
                  </a:lnTo>
                  <a:lnTo>
                    <a:pt x="563" y="5286"/>
                  </a:lnTo>
                  <a:lnTo>
                    <a:pt x="561" y="5291"/>
                  </a:lnTo>
                  <a:lnTo>
                    <a:pt x="554" y="5302"/>
                  </a:lnTo>
                  <a:lnTo>
                    <a:pt x="544" y="5312"/>
                  </a:lnTo>
                  <a:lnTo>
                    <a:pt x="554" y="5329"/>
                  </a:lnTo>
                  <a:lnTo>
                    <a:pt x="563" y="5345"/>
                  </a:lnTo>
                  <a:lnTo>
                    <a:pt x="569" y="5352"/>
                  </a:lnTo>
                  <a:lnTo>
                    <a:pt x="575" y="5356"/>
                  </a:lnTo>
                  <a:lnTo>
                    <a:pt x="578" y="5358"/>
                  </a:lnTo>
                  <a:lnTo>
                    <a:pt x="583" y="5360"/>
                  </a:lnTo>
                  <a:lnTo>
                    <a:pt x="588" y="5361"/>
                  </a:lnTo>
                  <a:lnTo>
                    <a:pt x="592" y="5361"/>
                  </a:lnTo>
                  <a:lnTo>
                    <a:pt x="598" y="5360"/>
                  </a:lnTo>
                  <a:lnTo>
                    <a:pt x="602" y="5358"/>
                  </a:lnTo>
                  <a:lnTo>
                    <a:pt x="606" y="5356"/>
                  </a:lnTo>
                  <a:lnTo>
                    <a:pt x="610" y="5353"/>
                  </a:lnTo>
                  <a:lnTo>
                    <a:pt x="614" y="5350"/>
                  </a:lnTo>
                  <a:lnTo>
                    <a:pt x="620" y="5347"/>
                  </a:lnTo>
                  <a:lnTo>
                    <a:pt x="624" y="5346"/>
                  </a:lnTo>
                  <a:lnTo>
                    <a:pt x="630" y="5345"/>
                  </a:lnTo>
                  <a:lnTo>
                    <a:pt x="640" y="5346"/>
                  </a:lnTo>
                  <a:lnTo>
                    <a:pt x="650" y="5349"/>
                  </a:lnTo>
                  <a:lnTo>
                    <a:pt x="658" y="5353"/>
                  </a:lnTo>
                  <a:lnTo>
                    <a:pt x="666" y="5357"/>
                  </a:lnTo>
                  <a:lnTo>
                    <a:pt x="674" y="5362"/>
                  </a:lnTo>
                  <a:lnTo>
                    <a:pt x="683" y="5367"/>
                  </a:lnTo>
                  <a:lnTo>
                    <a:pt x="692" y="5370"/>
                  </a:lnTo>
                  <a:lnTo>
                    <a:pt x="703" y="5371"/>
                  </a:lnTo>
                  <a:lnTo>
                    <a:pt x="707" y="5371"/>
                  </a:lnTo>
                  <a:lnTo>
                    <a:pt x="710" y="5370"/>
                  </a:lnTo>
                  <a:lnTo>
                    <a:pt x="713" y="5368"/>
                  </a:lnTo>
                  <a:lnTo>
                    <a:pt x="717" y="5367"/>
                  </a:lnTo>
                  <a:lnTo>
                    <a:pt x="722" y="5361"/>
                  </a:lnTo>
                  <a:lnTo>
                    <a:pt x="726" y="5355"/>
                  </a:lnTo>
                  <a:lnTo>
                    <a:pt x="732" y="5340"/>
                  </a:lnTo>
                  <a:lnTo>
                    <a:pt x="738" y="5323"/>
                  </a:lnTo>
                  <a:lnTo>
                    <a:pt x="746" y="5305"/>
                  </a:lnTo>
                  <a:lnTo>
                    <a:pt x="755" y="5287"/>
                  </a:lnTo>
                  <a:lnTo>
                    <a:pt x="763" y="5270"/>
                  </a:lnTo>
                  <a:lnTo>
                    <a:pt x="772" y="5253"/>
                  </a:lnTo>
                  <a:lnTo>
                    <a:pt x="777" y="5246"/>
                  </a:lnTo>
                  <a:lnTo>
                    <a:pt x="784" y="5240"/>
                  </a:lnTo>
                  <a:lnTo>
                    <a:pt x="790" y="5233"/>
                  </a:lnTo>
                  <a:lnTo>
                    <a:pt x="796" y="5229"/>
                  </a:lnTo>
                  <a:lnTo>
                    <a:pt x="803" y="5225"/>
                  </a:lnTo>
                  <a:lnTo>
                    <a:pt x="811" y="5222"/>
                  </a:lnTo>
                  <a:lnTo>
                    <a:pt x="821" y="5220"/>
                  </a:lnTo>
                  <a:lnTo>
                    <a:pt x="830" y="5220"/>
                  </a:lnTo>
                  <a:lnTo>
                    <a:pt x="835" y="5220"/>
                  </a:lnTo>
                  <a:lnTo>
                    <a:pt x="840" y="5222"/>
                  </a:lnTo>
                  <a:lnTo>
                    <a:pt x="844" y="5225"/>
                  </a:lnTo>
                  <a:lnTo>
                    <a:pt x="848" y="5228"/>
                  </a:lnTo>
                  <a:lnTo>
                    <a:pt x="853" y="5238"/>
                  </a:lnTo>
                  <a:lnTo>
                    <a:pt x="857" y="5248"/>
                  </a:lnTo>
                  <a:lnTo>
                    <a:pt x="861" y="5259"/>
                  </a:lnTo>
                  <a:lnTo>
                    <a:pt x="866" y="5270"/>
                  </a:lnTo>
                  <a:lnTo>
                    <a:pt x="869" y="5275"/>
                  </a:lnTo>
                  <a:lnTo>
                    <a:pt x="872" y="5279"/>
                  </a:lnTo>
                  <a:lnTo>
                    <a:pt x="876" y="5283"/>
                  </a:lnTo>
                  <a:lnTo>
                    <a:pt x="882" y="5286"/>
                  </a:lnTo>
                  <a:lnTo>
                    <a:pt x="895" y="5289"/>
                  </a:lnTo>
                  <a:lnTo>
                    <a:pt x="907" y="5292"/>
                  </a:lnTo>
                  <a:lnTo>
                    <a:pt x="913" y="5293"/>
                  </a:lnTo>
                  <a:lnTo>
                    <a:pt x="919" y="5295"/>
                  </a:lnTo>
                  <a:lnTo>
                    <a:pt x="924" y="5298"/>
                  </a:lnTo>
                  <a:lnTo>
                    <a:pt x="929" y="5303"/>
                  </a:lnTo>
                  <a:lnTo>
                    <a:pt x="935" y="5310"/>
                  </a:lnTo>
                  <a:lnTo>
                    <a:pt x="940" y="5317"/>
                  </a:lnTo>
                  <a:lnTo>
                    <a:pt x="944" y="5324"/>
                  </a:lnTo>
                  <a:lnTo>
                    <a:pt x="949" y="5332"/>
                  </a:lnTo>
                  <a:lnTo>
                    <a:pt x="952" y="5339"/>
                  </a:lnTo>
                  <a:lnTo>
                    <a:pt x="957" y="5346"/>
                  </a:lnTo>
                  <a:lnTo>
                    <a:pt x="962" y="5353"/>
                  </a:lnTo>
                  <a:lnTo>
                    <a:pt x="969" y="5359"/>
                  </a:lnTo>
                  <a:lnTo>
                    <a:pt x="980" y="5366"/>
                  </a:lnTo>
                  <a:lnTo>
                    <a:pt x="989" y="5371"/>
                  </a:lnTo>
                  <a:lnTo>
                    <a:pt x="999" y="5376"/>
                  </a:lnTo>
                  <a:lnTo>
                    <a:pt x="1009" y="5380"/>
                  </a:lnTo>
                  <a:lnTo>
                    <a:pt x="1030" y="5387"/>
                  </a:lnTo>
                  <a:lnTo>
                    <a:pt x="1052" y="5397"/>
                  </a:lnTo>
                  <a:lnTo>
                    <a:pt x="1067" y="5403"/>
                  </a:lnTo>
                  <a:lnTo>
                    <a:pt x="1083" y="5411"/>
                  </a:lnTo>
                  <a:lnTo>
                    <a:pt x="1134" y="5399"/>
                  </a:lnTo>
                  <a:lnTo>
                    <a:pt x="1141" y="5407"/>
                  </a:lnTo>
                  <a:lnTo>
                    <a:pt x="1149" y="5414"/>
                  </a:lnTo>
                  <a:lnTo>
                    <a:pt x="1156" y="5420"/>
                  </a:lnTo>
                  <a:lnTo>
                    <a:pt x="1164" y="5425"/>
                  </a:lnTo>
                  <a:lnTo>
                    <a:pt x="1172" y="5431"/>
                  </a:lnTo>
                  <a:lnTo>
                    <a:pt x="1180" y="5435"/>
                  </a:lnTo>
                  <a:lnTo>
                    <a:pt x="1188" y="5438"/>
                  </a:lnTo>
                  <a:lnTo>
                    <a:pt x="1197" y="5441"/>
                  </a:lnTo>
                  <a:lnTo>
                    <a:pt x="1215" y="5446"/>
                  </a:lnTo>
                  <a:lnTo>
                    <a:pt x="1233" y="5449"/>
                  </a:lnTo>
                  <a:lnTo>
                    <a:pt x="1253" y="5450"/>
                  </a:lnTo>
                  <a:lnTo>
                    <a:pt x="1273" y="5451"/>
                  </a:lnTo>
                  <a:lnTo>
                    <a:pt x="1338" y="5451"/>
                  </a:lnTo>
                  <a:lnTo>
                    <a:pt x="1345" y="5451"/>
                  </a:lnTo>
                  <a:lnTo>
                    <a:pt x="1351" y="5453"/>
                  </a:lnTo>
                  <a:lnTo>
                    <a:pt x="1356" y="5456"/>
                  </a:lnTo>
                  <a:lnTo>
                    <a:pt x="1360" y="5461"/>
                  </a:lnTo>
                  <a:lnTo>
                    <a:pt x="1367" y="5471"/>
                  </a:lnTo>
                  <a:lnTo>
                    <a:pt x="1373" y="5483"/>
                  </a:lnTo>
                  <a:lnTo>
                    <a:pt x="1380" y="5495"/>
                  </a:lnTo>
                  <a:lnTo>
                    <a:pt x="1387" y="5505"/>
                  </a:lnTo>
                  <a:lnTo>
                    <a:pt x="1391" y="5509"/>
                  </a:lnTo>
                  <a:lnTo>
                    <a:pt x="1396" y="5512"/>
                  </a:lnTo>
                  <a:lnTo>
                    <a:pt x="1401" y="5514"/>
                  </a:lnTo>
                  <a:lnTo>
                    <a:pt x="1408" y="5514"/>
                  </a:lnTo>
                  <a:lnTo>
                    <a:pt x="1414" y="5514"/>
                  </a:lnTo>
                  <a:lnTo>
                    <a:pt x="1420" y="5513"/>
                  </a:lnTo>
                  <a:lnTo>
                    <a:pt x="1425" y="5511"/>
                  </a:lnTo>
                  <a:lnTo>
                    <a:pt x="1430" y="5508"/>
                  </a:lnTo>
                  <a:lnTo>
                    <a:pt x="1439" y="5502"/>
                  </a:lnTo>
                  <a:lnTo>
                    <a:pt x="1449" y="5495"/>
                  </a:lnTo>
                  <a:lnTo>
                    <a:pt x="1458" y="5487"/>
                  </a:lnTo>
                  <a:lnTo>
                    <a:pt x="1467" y="5481"/>
                  </a:lnTo>
                  <a:lnTo>
                    <a:pt x="1472" y="5478"/>
                  </a:lnTo>
                  <a:lnTo>
                    <a:pt x="1478" y="5476"/>
                  </a:lnTo>
                  <a:lnTo>
                    <a:pt x="1484" y="5475"/>
                  </a:lnTo>
                  <a:lnTo>
                    <a:pt x="1490" y="5475"/>
                  </a:lnTo>
                  <a:lnTo>
                    <a:pt x="1504" y="5475"/>
                  </a:lnTo>
                  <a:lnTo>
                    <a:pt x="1518" y="5477"/>
                  </a:lnTo>
                  <a:lnTo>
                    <a:pt x="1530" y="5481"/>
                  </a:lnTo>
                  <a:lnTo>
                    <a:pt x="1542" y="5485"/>
                  </a:lnTo>
                  <a:lnTo>
                    <a:pt x="1552" y="5492"/>
                  </a:lnTo>
                  <a:lnTo>
                    <a:pt x="1562" y="5498"/>
                  </a:lnTo>
                  <a:lnTo>
                    <a:pt x="1573" y="5505"/>
                  </a:lnTo>
                  <a:lnTo>
                    <a:pt x="1582" y="5513"/>
                  </a:lnTo>
                  <a:lnTo>
                    <a:pt x="1601" y="5529"/>
                  </a:lnTo>
                  <a:lnTo>
                    <a:pt x="1622" y="5545"/>
                  </a:lnTo>
                  <a:lnTo>
                    <a:pt x="1632" y="5554"/>
                  </a:lnTo>
                  <a:lnTo>
                    <a:pt x="1644" y="5561"/>
                  </a:lnTo>
                  <a:lnTo>
                    <a:pt x="1656" y="5568"/>
                  </a:lnTo>
                  <a:lnTo>
                    <a:pt x="1669" y="5574"/>
                  </a:lnTo>
                  <a:lnTo>
                    <a:pt x="1735" y="5552"/>
                  </a:lnTo>
                  <a:lnTo>
                    <a:pt x="1745" y="5557"/>
                  </a:lnTo>
                  <a:lnTo>
                    <a:pt x="1754" y="5560"/>
                  </a:lnTo>
                  <a:lnTo>
                    <a:pt x="1762" y="5563"/>
                  </a:lnTo>
                  <a:lnTo>
                    <a:pt x="1773" y="5564"/>
                  </a:lnTo>
                  <a:lnTo>
                    <a:pt x="1786" y="5564"/>
                  </a:lnTo>
                  <a:lnTo>
                    <a:pt x="1798" y="5563"/>
                  </a:lnTo>
                  <a:lnTo>
                    <a:pt x="1810" y="5560"/>
                  </a:lnTo>
                  <a:lnTo>
                    <a:pt x="1821" y="5557"/>
                  </a:lnTo>
                  <a:lnTo>
                    <a:pt x="1842" y="5548"/>
                  </a:lnTo>
                  <a:lnTo>
                    <a:pt x="1865" y="5536"/>
                  </a:lnTo>
                  <a:lnTo>
                    <a:pt x="1875" y="5529"/>
                  </a:lnTo>
                  <a:lnTo>
                    <a:pt x="1883" y="5519"/>
                  </a:lnTo>
                  <a:lnTo>
                    <a:pt x="1887" y="5516"/>
                  </a:lnTo>
                  <a:lnTo>
                    <a:pt x="1891" y="5513"/>
                  </a:lnTo>
                  <a:lnTo>
                    <a:pt x="1896" y="5511"/>
                  </a:lnTo>
                  <a:lnTo>
                    <a:pt x="1903" y="5510"/>
                  </a:lnTo>
                  <a:lnTo>
                    <a:pt x="1914" y="5511"/>
                  </a:lnTo>
                  <a:lnTo>
                    <a:pt x="1924" y="5513"/>
                  </a:lnTo>
                  <a:lnTo>
                    <a:pt x="1933" y="5517"/>
                  </a:lnTo>
                  <a:lnTo>
                    <a:pt x="1942" y="5522"/>
                  </a:lnTo>
                  <a:lnTo>
                    <a:pt x="1951" y="5526"/>
                  </a:lnTo>
                  <a:lnTo>
                    <a:pt x="1959" y="5530"/>
                  </a:lnTo>
                  <a:lnTo>
                    <a:pt x="1970" y="5534"/>
                  </a:lnTo>
                  <a:lnTo>
                    <a:pt x="1981" y="5536"/>
                  </a:lnTo>
                  <a:lnTo>
                    <a:pt x="2004" y="5540"/>
                  </a:lnTo>
                  <a:lnTo>
                    <a:pt x="2025" y="5546"/>
                  </a:lnTo>
                  <a:lnTo>
                    <a:pt x="2037" y="5549"/>
                  </a:lnTo>
                  <a:lnTo>
                    <a:pt x="2047" y="5554"/>
                  </a:lnTo>
                  <a:lnTo>
                    <a:pt x="2056" y="5558"/>
                  </a:lnTo>
                  <a:lnTo>
                    <a:pt x="2065" y="5563"/>
                  </a:lnTo>
                  <a:lnTo>
                    <a:pt x="2074" y="5569"/>
                  </a:lnTo>
                  <a:lnTo>
                    <a:pt x="2082" y="5575"/>
                  </a:lnTo>
                  <a:lnTo>
                    <a:pt x="2089" y="5582"/>
                  </a:lnTo>
                  <a:lnTo>
                    <a:pt x="2095" y="5591"/>
                  </a:lnTo>
                  <a:lnTo>
                    <a:pt x="2101" y="5599"/>
                  </a:lnTo>
                  <a:lnTo>
                    <a:pt x="2105" y="5608"/>
                  </a:lnTo>
                  <a:lnTo>
                    <a:pt x="2108" y="5620"/>
                  </a:lnTo>
                  <a:lnTo>
                    <a:pt x="2110" y="5630"/>
                  </a:lnTo>
                  <a:lnTo>
                    <a:pt x="2104" y="5673"/>
                  </a:lnTo>
                  <a:lnTo>
                    <a:pt x="2107" y="5678"/>
                  </a:lnTo>
                  <a:lnTo>
                    <a:pt x="2110" y="5683"/>
                  </a:lnTo>
                  <a:lnTo>
                    <a:pt x="2114" y="5686"/>
                  </a:lnTo>
                  <a:lnTo>
                    <a:pt x="2118" y="5689"/>
                  </a:lnTo>
                  <a:lnTo>
                    <a:pt x="2127" y="5694"/>
                  </a:lnTo>
                  <a:lnTo>
                    <a:pt x="2138" y="5697"/>
                  </a:lnTo>
                  <a:lnTo>
                    <a:pt x="2148" y="5700"/>
                  </a:lnTo>
                  <a:lnTo>
                    <a:pt x="2159" y="5703"/>
                  </a:lnTo>
                  <a:lnTo>
                    <a:pt x="2170" y="5707"/>
                  </a:lnTo>
                  <a:lnTo>
                    <a:pt x="2181" y="5713"/>
                  </a:lnTo>
                  <a:lnTo>
                    <a:pt x="2192" y="5721"/>
                  </a:lnTo>
                  <a:lnTo>
                    <a:pt x="2202" y="5728"/>
                  </a:lnTo>
                  <a:lnTo>
                    <a:pt x="2211" y="5736"/>
                  </a:lnTo>
                  <a:lnTo>
                    <a:pt x="2219" y="5745"/>
                  </a:lnTo>
                  <a:lnTo>
                    <a:pt x="2227" y="5753"/>
                  </a:lnTo>
                  <a:lnTo>
                    <a:pt x="2234" y="5762"/>
                  </a:lnTo>
                  <a:lnTo>
                    <a:pt x="2240" y="5771"/>
                  </a:lnTo>
                  <a:lnTo>
                    <a:pt x="2246" y="5781"/>
                  </a:lnTo>
                  <a:lnTo>
                    <a:pt x="2256" y="5800"/>
                  </a:lnTo>
                  <a:lnTo>
                    <a:pt x="2266" y="5822"/>
                  </a:lnTo>
                  <a:lnTo>
                    <a:pt x="2274" y="5846"/>
                  </a:lnTo>
                  <a:lnTo>
                    <a:pt x="2282" y="5872"/>
                  </a:lnTo>
                  <a:lnTo>
                    <a:pt x="2317" y="5867"/>
                  </a:lnTo>
                  <a:lnTo>
                    <a:pt x="2349" y="5863"/>
                  </a:lnTo>
                  <a:lnTo>
                    <a:pt x="2363" y="5861"/>
                  </a:lnTo>
                  <a:lnTo>
                    <a:pt x="2379" y="5858"/>
                  </a:lnTo>
                  <a:lnTo>
                    <a:pt x="2393" y="5854"/>
                  </a:lnTo>
                  <a:lnTo>
                    <a:pt x="2407" y="5850"/>
                  </a:lnTo>
                  <a:lnTo>
                    <a:pt x="2420" y="5845"/>
                  </a:lnTo>
                  <a:lnTo>
                    <a:pt x="2434" y="5840"/>
                  </a:lnTo>
                  <a:lnTo>
                    <a:pt x="2447" y="5832"/>
                  </a:lnTo>
                  <a:lnTo>
                    <a:pt x="2460" y="5825"/>
                  </a:lnTo>
                  <a:lnTo>
                    <a:pt x="2474" y="5817"/>
                  </a:lnTo>
                  <a:lnTo>
                    <a:pt x="2486" y="5808"/>
                  </a:lnTo>
                  <a:lnTo>
                    <a:pt x="2500" y="5797"/>
                  </a:lnTo>
                  <a:lnTo>
                    <a:pt x="2513" y="5786"/>
                  </a:lnTo>
                  <a:lnTo>
                    <a:pt x="2525" y="5775"/>
                  </a:lnTo>
                  <a:lnTo>
                    <a:pt x="2537" y="5762"/>
                  </a:lnTo>
                  <a:lnTo>
                    <a:pt x="2548" y="5750"/>
                  </a:lnTo>
                  <a:lnTo>
                    <a:pt x="2558" y="5737"/>
                  </a:lnTo>
                  <a:lnTo>
                    <a:pt x="2578" y="5713"/>
                  </a:lnTo>
                  <a:lnTo>
                    <a:pt x="2597" y="5689"/>
                  </a:lnTo>
                  <a:lnTo>
                    <a:pt x="2607" y="5678"/>
                  </a:lnTo>
                  <a:lnTo>
                    <a:pt x="2617" y="5668"/>
                  </a:lnTo>
                  <a:lnTo>
                    <a:pt x="2627" y="5660"/>
                  </a:lnTo>
                  <a:lnTo>
                    <a:pt x="2640" y="5652"/>
                  </a:lnTo>
                  <a:lnTo>
                    <a:pt x="2652" y="5646"/>
                  </a:lnTo>
                  <a:lnTo>
                    <a:pt x="2666" y="5641"/>
                  </a:lnTo>
                  <a:lnTo>
                    <a:pt x="2681" y="5638"/>
                  </a:lnTo>
                  <a:lnTo>
                    <a:pt x="2698" y="5637"/>
                  </a:lnTo>
                  <a:lnTo>
                    <a:pt x="2704" y="5638"/>
                  </a:lnTo>
                  <a:lnTo>
                    <a:pt x="2710" y="5639"/>
                  </a:lnTo>
                  <a:lnTo>
                    <a:pt x="2715" y="5641"/>
                  </a:lnTo>
                  <a:lnTo>
                    <a:pt x="2720" y="5643"/>
                  </a:lnTo>
                  <a:lnTo>
                    <a:pt x="2725" y="5645"/>
                  </a:lnTo>
                  <a:lnTo>
                    <a:pt x="2731" y="5647"/>
                  </a:lnTo>
                  <a:lnTo>
                    <a:pt x="2737" y="5649"/>
                  </a:lnTo>
                  <a:lnTo>
                    <a:pt x="2743" y="5650"/>
                  </a:lnTo>
                  <a:lnTo>
                    <a:pt x="2754" y="5649"/>
                  </a:lnTo>
                  <a:lnTo>
                    <a:pt x="2765" y="5646"/>
                  </a:lnTo>
                  <a:lnTo>
                    <a:pt x="2774" y="5643"/>
                  </a:lnTo>
                  <a:lnTo>
                    <a:pt x="2783" y="5640"/>
                  </a:lnTo>
                  <a:lnTo>
                    <a:pt x="2791" y="5636"/>
                  </a:lnTo>
                  <a:lnTo>
                    <a:pt x="2802" y="5633"/>
                  </a:lnTo>
                  <a:lnTo>
                    <a:pt x="2811" y="5631"/>
                  </a:lnTo>
                  <a:lnTo>
                    <a:pt x="2822" y="5630"/>
                  </a:lnTo>
                  <a:lnTo>
                    <a:pt x="2916" y="5630"/>
                  </a:lnTo>
                  <a:lnTo>
                    <a:pt x="2929" y="5629"/>
                  </a:lnTo>
                  <a:lnTo>
                    <a:pt x="2942" y="5628"/>
                  </a:lnTo>
                  <a:lnTo>
                    <a:pt x="2954" y="5629"/>
                  </a:lnTo>
                  <a:lnTo>
                    <a:pt x="2966" y="5632"/>
                  </a:lnTo>
                  <a:lnTo>
                    <a:pt x="2977" y="5634"/>
                  </a:lnTo>
                  <a:lnTo>
                    <a:pt x="2989" y="5635"/>
                  </a:lnTo>
                  <a:lnTo>
                    <a:pt x="3000" y="5634"/>
                  </a:lnTo>
                  <a:lnTo>
                    <a:pt x="3010" y="5633"/>
                  </a:lnTo>
                  <a:lnTo>
                    <a:pt x="3019" y="5631"/>
                  </a:lnTo>
                  <a:lnTo>
                    <a:pt x="3029" y="5628"/>
                  </a:lnTo>
                  <a:lnTo>
                    <a:pt x="3045" y="5621"/>
                  </a:lnTo>
                  <a:lnTo>
                    <a:pt x="3061" y="5611"/>
                  </a:lnTo>
                  <a:lnTo>
                    <a:pt x="3077" y="5603"/>
                  </a:lnTo>
                  <a:lnTo>
                    <a:pt x="3094" y="5595"/>
                  </a:lnTo>
                  <a:lnTo>
                    <a:pt x="3102" y="5593"/>
                  </a:lnTo>
                  <a:lnTo>
                    <a:pt x="3111" y="5590"/>
                  </a:lnTo>
                  <a:lnTo>
                    <a:pt x="3121" y="5589"/>
                  </a:lnTo>
                  <a:lnTo>
                    <a:pt x="3132" y="5588"/>
                  </a:lnTo>
                  <a:lnTo>
                    <a:pt x="3146" y="5589"/>
                  </a:lnTo>
                  <a:lnTo>
                    <a:pt x="3159" y="5590"/>
                  </a:lnTo>
                  <a:lnTo>
                    <a:pt x="3170" y="5591"/>
                  </a:lnTo>
                  <a:lnTo>
                    <a:pt x="3181" y="5593"/>
                  </a:lnTo>
                  <a:lnTo>
                    <a:pt x="3193" y="5595"/>
                  </a:lnTo>
                  <a:lnTo>
                    <a:pt x="3204" y="5596"/>
                  </a:lnTo>
                  <a:lnTo>
                    <a:pt x="3216" y="5597"/>
                  </a:lnTo>
                  <a:lnTo>
                    <a:pt x="3230" y="5597"/>
                  </a:lnTo>
                  <a:lnTo>
                    <a:pt x="3244" y="5597"/>
                  </a:lnTo>
                  <a:lnTo>
                    <a:pt x="3258" y="5596"/>
                  </a:lnTo>
                  <a:lnTo>
                    <a:pt x="3270" y="5594"/>
                  </a:lnTo>
                  <a:lnTo>
                    <a:pt x="3282" y="5592"/>
                  </a:lnTo>
                  <a:lnTo>
                    <a:pt x="3294" y="5590"/>
                  </a:lnTo>
                  <a:lnTo>
                    <a:pt x="3306" y="5588"/>
                  </a:lnTo>
                  <a:lnTo>
                    <a:pt x="3319" y="5586"/>
                  </a:lnTo>
                  <a:lnTo>
                    <a:pt x="3334" y="5586"/>
                  </a:lnTo>
                  <a:lnTo>
                    <a:pt x="3385" y="5586"/>
                  </a:lnTo>
                  <a:lnTo>
                    <a:pt x="3391" y="5586"/>
                  </a:lnTo>
                  <a:lnTo>
                    <a:pt x="3395" y="5585"/>
                  </a:lnTo>
                  <a:lnTo>
                    <a:pt x="3400" y="5582"/>
                  </a:lnTo>
                  <a:lnTo>
                    <a:pt x="3404" y="5580"/>
                  </a:lnTo>
                  <a:lnTo>
                    <a:pt x="3410" y="5574"/>
                  </a:lnTo>
                  <a:lnTo>
                    <a:pt x="3416" y="5567"/>
                  </a:lnTo>
                  <a:lnTo>
                    <a:pt x="3426" y="5549"/>
                  </a:lnTo>
                  <a:lnTo>
                    <a:pt x="3435" y="5529"/>
                  </a:lnTo>
                  <a:lnTo>
                    <a:pt x="3442" y="5516"/>
                  </a:lnTo>
                  <a:lnTo>
                    <a:pt x="3450" y="5506"/>
                  </a:lnTo>
                  <a:lnTo>
                    <a:pt x="3459" y="5497"/>
                  </a:lnTo>
                  <a:lnTo>
                    <a:pt x="3468" y="5488"/>
                  </a:lnTo>
                  <a:lnTo>
                    <a:pt x="3478" y="5480"/>
                  </a:lnTo>
                  <a:lnTo>
                    <a:pt x="3488" y="5472"/>
                  </a:lnTo>
                  <a:lnTo>
                    <a:pt x="3497" y="5463"/>
                  </a:lnTo>
                  <a:lnTo>
                    <a:pt x="3506" y="5451"/>
                  </a:lnTo>
                  <a:lnTo>
                    <a:pt x="3514" y="5436"/>
                  </a:lnTo>
                  <a:lnTo>
                    <a:pt x="3522" y="5420"/>
                  </a:lnTo>
                  <a:lnTo>
                    <a:pt x="3528" y="5405"/>
                  </a:lnTo>
                  <a:lnTo>
                    <a:pt x="3535" y="5389"/>
                  </a:lnTo>
                  <a:lnTo>
                    <a:pt x="3538" y="5383"/>
                  </a:lnTo>
                  <a:lnTo>
                    <a:pt x="3542" y="5377"/>
                  </a:lnTo>
                  <a:lnTo>
                    <a:pt x="3547" y="5371"/>
                  </a:lnTo>
                  <a:lnTo>
                    <a:pt x="3551" y="5366"/>
                  </a:lnTo>
                  <a:lnTo>
                    <a:pt x="3558" y="5362"/>
                  </a:lnTo>
                  <a:lnTo>
                    <a:pt x="3564" y="5359"/>
                  </a:lnTo>
                  <a:lnTo>
                    <a:pt x="3571" y="5357"/>
                  </a:lnTo>
                  <a:lnTo>
                    <a:pt x="3579" y="5356"/>
                  </a:lnTo>
                  <a:lnTo>
                    <a:pt x="3588" y="5357"/>
                  </a:lnTo>
                  <a:lnTo>
                    <a:pt x="3596" y="5357"/>
                  </a:lnTo>
                  <a:lnTo>
                    <a:pt x="3603" y="5358"/>
                  </a:lnTo>
                  <a:lnTo>
                    <a:pt x="3611" y="5359"/>
                  </a:lnTo>
                  <a:lnTo>
                    <a:pt x="3617" y="5358"/>
                  </a:lnTo>
                  <a:lnTo>
                    <a:pt x="3623" y="5357"/>
                  </a:lnTo>
                  <a:lnTo>
                    <a:pt x="3628" y="5355"/>
                  </a:lnTo>
                  <a:lnTo>
                    <a:pt x="3633" y="5352"/>
                  </a:lnTo>
                  <a:lnTo>
                    <a:pt x="3642" y="5346"/>
                  </a:lnTo>
                  <a:lnTo>
                    <a:pt x="3650" y="5339"/>
                  </a:lnTo>
                  <a:lnTo>
                    <a:pt x="3659" y="5332"/>
                  </a:lnTo>
                  <a:lnTo>
                    <a:pt x="3668" y="5325"/>
                  </a:lnTo>
                  <a:lnTo>
                    <a:pt x="3673" y="5322"/>
                  </a:lnTo>
                  <a:lnTo>
                    <a:pt x="3678" y="5320"/>
                  </a:lnTo>
                  <a:lnTo>
                    <a:pt x="3683" y="5319"/>
                  </a:lnTo>
                  <a:lnTo>
                    <a:pt x="3690" y="5319"/>
                  </a:lnTo>
                  <a:lnTo>
                    <a:pt x="3698" y="5319"/>
                  </a:lnTo>
                  <a:lnTo>
                    <a:pt x="3705" y="5320"/>
                  </a:lnTo>
                  <a:lnTo>
                    <a:pt x="3711" y="5322"/>
                  </a:lnTo>
                  <a:lnTo>
                    <a:pt x="3718" y="5323"/>
                  </a:lnTo>
                  <a:lnTo>
                    <a:pt x="3725" y="5325"/>
                  </a:lnTo>
                  <a:lnTo>
                    <a:pt x="3731" y="5326"/>
                  </a:lnTo>
                  <a:lnTo>
                    <a:pt x="3738" y="5327"/>
                  </a:lnTo>
                  <a:lnTo>
                    <a:pt x="3746" y="5328"/>
                  </a:lnTo>
                  <a:lnTo>
                    <a:pt x="3753" y="5327"/>
                  </a:lnTo>
                  <a:lnTo>
                    <a:pt x="3759" y="5324"/>
                  </a:lnTo>
                  <a:lnTo>
                    <a:pt x="3763" y="5320"/>
                  </a:lnTo>
                  <a:lnTo>
                    <a:pt x="3768" y="5315"/>
                  </a:lnTo>
                  <a:lnTo>
                    <a:pt x="3772" y="5310"/>
                  </a:lnTo>
                  <a:lnTo>
                    <a:pt x="3776" y="5305"/>
                  </a:lnTo>
                  <a:lnTo>
                    <a:pt x="3780" y="5299"/>
                  </a:lnTo>
                  <a:lnTo>
                    <a:pt x="3787" y="5295"/>
                  </a:lnTo>
                  <a:lnTo>
                    <a:pt x="3808" y="5282"/>
                  </a:lnTo>
                  <a:lnTo>
                    <a:pt x="3827" y="5269"/>
                  </a:lnTo>
                  <a:lnTo>
                    <a:pt x="3835" y="5261"/>
                  </a:lnTo>
                  <a:lnTo>
                    <a:pt x="3842" y="5253"/>
                  </a:lnTo>
                  <a:lnTo>
                    <a:pt x="3848" y="5244"/>
                  </a:lnTo>
                  <a:lnTo>
                    <a:pt x="3855" y="5231"/>
                  </a:lnTo>
                  <a:lnTo>
                    <a:pt x="3859" y="5214"/>
                  </a:lnTo>
                  <a:lnTo>
                    <a:pt x="3861" y="5197"/>
                  </a:lnTo>
                  <a:lnTo>
                    <a:pt x="3863" y="5181"/>
                  </a:lnTo>
                  <a:lnTo>
                    <a:pt x="3864" y="5163"/>
                  </a:lnTo>
                  <a:lnTo>
                    <a:pt x="3873" y="5158"/>
                  </a:lnTo>
                  <a:lnTo>
                    <a:pt x="3883" y="5175"/>
                  </a:lnTo>
                  <a:lnTo>
                    <a:pt x="3893" y="5188"/>
                  </a:lnTo>
                  <a:lnTo>
                    <a:pt x="3903" y="5198"/>
                  </a:lnTo>
                  <a:lnTo>
                    <a:pt x="3914" y="5208"/>
                  </a:lnTo>
                  <a:lnTo>
                    <a:pt x="3928" y="5216"/>
                  </a:lnTo>
                  <a:lnTo>
                    <a:pt x="3941" y="5222"/>
                  </a:lnTo>
                  <a:lnTo>
                    <a:pt x="3957" y="5228"/>
                  </a:lnTo>
                  <a:lnTo>
                    <a:pt x="3973" y="5233"/>
                  </a:lnTo>
                  <a:lnTo>
                    <a:pt x="3973" y="5207"/>
                  </a:lnTo>
                  <a:lnTo>
                    <a:pt x="3973" y="5195"/>
                  </a:lnTo>
                  <a:lnTo>
                    <a:pt x="3972" y="5186"/>
                  </a:lnTo>
                  <a:lnTo>
                    <a:pt x="3971" y="5177"/>
                  </a:lnTo>
                  <a:lnTo>
                    <a:pt x="3969" y="5167"/>
                  </a:lnTo>
                  <a:lnTo>
                    <a:pt x="3964" y="5150"/>
                  </a:lnTo>
                  <a:lnTo>
                    <a:pt x="3959" y="5130"/>
                  </a:lnTo>
                  <a:lnTo>
                    <a:pt x="3992" y="5130"/>
                  </a:lnTo>
                  <a:lnTo>
                    <a:pt x="4022" y="5131"/>
                  </a:lnTo>
                  <a:lnTo>
                    <a:pt x="4052" y="5131"/>
                  </a:lnTo>
                  <a:lnTo>
                    <a:pt x="4086" y="5130"/>
                  </a:lnTo>
                  <a:lnTo>
                    <a:pt x="4099" y="5142"/>
                  </a:lnTo>
                  <a:lnTo>
                    <a:pt x="4110" y="5153"/>
                  </a:lnTo>
                  <a:lnTo>
                    <a:pt x="4117" y="5158"/>
                  </a:lnTo>
                  <a:lnTo>
                    <a:pt x="4124" y="5162"/>
                  </a:lnTo>
                  <a:lnTo>
                    <a:pt x="4131" y="5164"/>
                  </a:lnTo>
                  <a:lnTo>
                    <a:pt x="4140" y="5165"/>
                  </a:lnTo>
                  <a:lnTo>
                    <a:pt x="4148" y="5164"/>
                  </a:lnTo>
                  <a:lnTo>
                    <a:pt x="4154" y="5162"/>
                  </a:lnTo>
                  <a:lnTo>
                    <a:pt x="4160" y="5159"/>
                  </a:lnTo>
                  <a:lnTo>
                    <a:pt x="4165" y="5155"/>
                  </a:lnTo>
                  <a:lnTo>
                    <a:pt x="4174" y="5146"/>
                  </a:lnTo>
                  <a:lnTo>
                    <a:pt x="4183" y="5133"/>
                  </a:lnTo>
                  <a:lnTo>
                    <a:pt x="4191" y="5122"/>
                  </a:lnTo>
                  <a:lnTo>
                    <a:pt x="4200" y="5112"/>
                  </a:lnTo>
                  <a:lnTo>
                    <a:pt x="4205" y="5107"/>
                  </a:lnTo>
                  <a:lnTo>
                    <a:pt x="4211" y="5104"/>
                  </a:lnTo>
                  <a:lnTo>
                    <a:pt x="4218" y="5102"/>
                  </a:lnTo>
                  <a:lnTo>
                    <a:pt x="4225" y="5101"/>
                  </a:lnTo>
                  <a:lnTo>
                    <a:pt x="4234" y="5102"/>
                  </a:lnTo>
                  <a:lnTo>
                    <a:pt x="4242" y="5103"/>
                  </a:lnTo>
                  <a:lnTo>
                    <a:pt x="4251" y="5106"/>
                  </a:lnTo>
                  <a:lnTo>
                    <a:pt x="4258" y="5109"/>
                  </a:lnTo>
                  <a:lnTo>
                    <a:pt x="4272" y="5118"/>
                  </a:lnTo>
                  <a:lnTo>
                    <a:pt x="4286" y="5126"/>
                  </a:lnTo>
                  <a:lnTo>
                    <a:pt x="4299" y="5135"/>
                  </a:lnTo>
                  <a:lnTo>
                    <a:pt x="4314" y="5144"/>
                  </a:lnTo>
                  <a:lnTo>
                    <a:pt x="4322" y="5147"/>
                  </a:lnTo>
                  <a:lnTo>
                    <a:pt x="4329" y="5149"/>
                  </a:lnTo>
                  <a:lnTo>
                    <a:pt x="4338" y="5151"/>
                  </a:lnTo>
                  <a:lnTo>
                    <a:pt x="4348" y="5151"/>
                  </a:lnTo>
                  <a:lnTo>
                    <a:pt x="4356" y="5151"/>
                  </a:lnTo>
                  <a:lnTo>
                    <a:pt x="4364" y="5150"/>
                  </a:lnTo>
                  <a:lnTo>
                    <a:pt x="4371" y="5148"/>
                  </a:lnTo>
                  <a:lnTo>
                    <a:pt x="4379" y="5145"/>
                  </a:lnTo>
                  <a:lnTo>
                    <a:pt x="4391" y="5138"/>
                  </a:lnTo>
                  <a:lnTo>
                    <a:pt x="4403" y="5130"/>
                  </a:lnTo>
                  <a:lnTo>
                    <a:pt x="4416" y="5121"/>
                  </a:lnTo>
                  <a:lnTo>
                    <a:pt x="4428" y="5113"/>
                  </a:lnTo>
                  <a:lnTo>
                    <a:pt x="4435" y="5108"/>
                  </a:lnTo>
                  <a:lnTo>
                    <a:pt x="4442" y="5105"/>
                  </a:lnTo>
                  <a:lnTo>
                    <a:pt x="4450" y="5102"/>
                  </a:lnTo>
                  <a:lnTo>
                    <a:pt x="4458" y="5099"/>
                  </a:lnTo>
                  <a:lnTo>
                    <a:pt x="4492" y="5092"/>
                  </a:lnTo>
                  <a:lnTo>
                    <a:pt x="4522" y="5087"/>
                  </a:lnTo>
                  <a:lnTo>
                    <a:pt x="4536" y="5084"/>
                  </a:lnTo>
                  <a:lnTo>
                    <a:pt x="4552" y="5080"/>
                  </a:lnTo>
                  <a:lnTo>
                    <a:pt x="4566" y="5075"/>
                  </a:lnTo>
                  <a:lnTo>
                    <a:pt x="4583" y="5068"/>
                  </a:lnTo>
                  <a:lnTo>
                    <a:pt x="4588" y="5066"/>
                  </a:lnTo>
                  <a:lnTo>
                    <a:pt x="4593" y="5063"/>
                  </a:lnTo>
                  <a:lnTo>
                    <a:pt x="4597" y="5059"/>
                  </a:lnTo>
                  <a:lnTo>
                    <a:pt x="4600" y="5056"/>
                  </a:lnTo>
                  <a:lnTo>
                    <a:pt x="4607" y="5048"/>
                  </a:lnTo>
                  <a:lnTo>
                    <a:pt x="4614" y="5039"/>
                  </a:lnTo>
                  <a:lnTo>
                    <a:pt x="4621" y="5031"/>
                  </a:lnTo>
                  <a:lnTo>
                    <a:pt x="4628" y="5025"/>
                  </a:lnTo>
                  <a:lnTo>
                    <a:pt x="4632" y="5023"/>
                  </a:lnTo>
                  <a:lnTo>
                    <a:pt x="4636" y="5021"/>
                  </a:lnTo>
                  <a:lnTo>
                    <a:pt x="4642" y="5020"/>
                  </a:lnTo>
                  <a:lnTo>
                    <a:pt x="4647" y="5019"/>
                  </a:lnTo>
                  <a:lnTo>
                    <a:pt x="4653" y="5020"/>
                  </a:lnTo>
                  <a:lnTo>
                    <a:pt x="4658" y="5021"/>
                  </a:lnTo>
                  <a:lnTo>
                    <a:pt x="4663" y="5023"/>
                  </a:lnTo>
                  <a:lnTo>
                    <a:pt x="4668" y="5026"/>
                  </a:lnTo>
                  <a:lnTo>
                    <a:pt x="4677" y="5032"/>
                  </a:lnTo>
                  <a:lnTo>
                    <a:pt x="4685" y="5040"/>
                  </a:lnTo>
                  <a:lnTo>
                    <a:pt x="4693" y="5048"/>
                  </a:lnTo>
                  <a:lnTo>
                    <a:pt x="4701" y="5055"/>
                  </a:lnTo>
                  <a:lnTo>
                    <a:pt x="4706" y="5058"/>
                  </a:lnTo>
                  <a:lnTo>
                    <a:pt x="4712" y="5060"/>
                  </a:lnTo>
                  <a:lnTo>
                    <a:pt x="4717" y="5061"/>
                  </a:lnTo>
                  <a:lnTo>
                    <a:pt x="4723" y="5062"/>
                  </a:lnTo>
                  <a:lnTo>
                    <a:pt x="4790" y="5062"/>
                  </a:lnTo>
                  <a:lnTo>
                    <a:pt x="4803" y="5062"/>
                  </a:lnTo>
                  <a:lnTo>
                    <a:pt x="4816" y="5064"/>
                  </a:lnTo>
                  <a:lnTo>
                    <a:pt x="4827" y="5067"/>
                  </a:lnTo>
                  <a:lnTo>
                    <a:pt x="4838" y="5071"/>
                  </a:lnTo>
                  <a:lnTo>
                    <a:pt x="4849" y="5075"/>
                  </a:lnTo>
                  <a:lnTo>
                    <a:pt x="4859" y="5082"/>
                  </a:lnTo>
                  <a:lnTo>
                    <a:pt x="4868" y="5089"/>
                  </a:lnTo>
                  <a:lnTo>
                    <a:pt x="4878" y="5096"/>
                  </a:lnTo>
                  <a:lnTo>
                    <a:pt x="4886" y="5105"/>
                  </a:lnTo>
                  <a:lnTo>
                    <a:pt x="4893" y="5115"/>
                  </a:lnTo>
                  <a:lnTo>
                    <a:pt x="4900" y="5124"/>
                  </a:lnTo>
                  <a:lnTo>
                    <a:pt x="4908" y="5134"/>
                  </a:lnTo>
                  <a:lnTo>
                    <a:pt x="4914" y="5146"/>
                  </a:lnTo>
                  <a:lnTo>
                    <a:pt x="4920" y="5157"/>
                  </a:lnTo>
                  <a:lnTo>
                    <a:pt x="4925" y="5169"/>
                  </a:lnTo>
                  <a:lnTo>
                    <a:pt x="4929" y="5182"/>
                  </a:lnTo>
                  <a:lnTo>
                    <a:pt x="4932" y="5189"/>
                  </a:lnTo>
                  <a:lnTo>
                    <a:pt x="4935" y="5195"/>
                  </a:lnTo>
                  <a:lnTo>
                    <a:pt x="4940" y="5200"/>
                  </a:lnTo>
                  <a:lnTo>
                    <a:pt x="4944" y="5206"/>
                  </a:lnTo>
                  <a:lnTo>
                    <a:pt x="4948" y="5211"/>
                  </a:lnTo>
                  <a:lnTo>
                    <a:pt x="4953" y="5215"/>
                  </a:lnTo>
                  <a:lnTo>
                    <a:pt x="4958" y="5219"/>
                  </a:lnTo>
                  <a:lnTo>
                    <a:pt x="4964" y="5222"/>
                  </a:lnTo>
                  <a:lnTo>
                    <a:pt x="4976" y="5228"/>
                  </a:lnTo>
                  <a:lnTo>
                    <a:pt x="4989" y="5233"/>
                  </a:lnTo>
                  <a:lnTo>
                    <a:pt x="5002" y="5238"/>
                  </a:lnTo>
                  <a:lnTo>
                    <a:pt x="5017" y="5241"/>
                  </a:lnTo>
                  <a:lnTo>
                    <a:pt x="5038" y="5244"/>
                  </a:lnTo>
                  <a:lnTo>
                    <a:pt x="5058" y="5247"/>
                  </a:lnTo>
                  <a:lnTo>
                    <a:pt x="5067" y="5249"/>
                  </a:lnTo>
                  <a:lnTo>
                    <a:pt x="5075" y="5253"/>
                  </a:lnTo>
                  <a:lnTo>
                    <a:pt x="5077" y="5255"/>
                  </a:lnTo>
                  <a:lnTo>
                    <a:pt x="5079" y="5258"/>
                  </a:lnTo>
                  <a:lnTo>
                    <a:pt x="5080" y="5262"/>
                  </a:lnTo>
                  <a:lnTo>
                    <a:pt x="5081" y="5266"/>
                  </a:lnTo>
                  <a:lnTo>
                    <a:pt x="5080" y="5275"/>
                  </a:lnTo>
                  <a:lnTo>
                    <a:pt x="5078" y="5281"/>
                  </a:lnTo>
                  <a:lnTo>
                    <a:pt x="5075" y="5287"/>
                  </a:lnTo>
                  <a:lnTo>
                    <a:pt x="5072" y="5293"/>
                  </a:lnTo>
                  <a:lnTo>
                    <a:pt x="5067" y="5298"/>
                  </a:lnTo>
                  <a:lnTo>
                    <a:pt x="5064" y="5305"/>
                  </a:lnTo>
                  <a:lnTo>
                    <a:pt x="5062" y="5311"/>
                  </a:lnTo>
                  <a:lnTo>
                    <a:pt x="5061" y="5319"/>
                  </a:lnTo>
                  <a:lnTo>
                    <a:pt x="5062" y="5327"/>
                  </a:lnTo>
                  <a:lnTo>
                    <a:pt x="5064" y="5337"/>
                  </a:lnTo>
                  <a:lnTo>
                    <a:pt x="5068" y="5344"/>
                  </a:lnTo>
                  <a:lnTo>
                    <a:pt x="5073" y="5351"/>
                  </a:lnTo>
                  <a:lnTo>
                    <a:pt x="5079" y="5357"/>
                  </a:lnTo>
                  <a:lnTo>
                    <a:pt x="5085" y="5362"/>
                  </a:lnTo>
                  <a:lnTo>
                    <a:pt x="5093" y="5365"/>
                  </a:lnTo>
                  <a:lnTo>
                    <a:pt x="5101" y="5366"/>
                  </a:lnTo>
                  <a:lnTo>
                    <a:pt x="5106" y="5366"/>
                  </a:lnTo>
                  <a:lnTo>
                    <a:pt x="5109" y="5365"/>
                  </a:lnTo>
                  <a:lnTo>
                    <a:pt x="5112" y="5364"/>
                  </a:lnTo>
                  <a:lnTo>
                    <a:pt x="5115" y="5361"/>
                  </a:lnTo>
                  <a:lnTo>
                    <a:pt x="5119" y="5357"/>
                  </a:lnTo>
                  <a:lnTo>
                    <a:pt x="5123" y="5351"/>
                  </a:lnTo>
                  <a:lnTo>
                    <a:pt x="5127" y="5345"/>
                  </a:lnTo>
                  <a:lnTo>
                    <a:pt x="5131" y="5339"/>
                  </a:lnTo>
                  <a:lnTo>
                    <a:pt x="5135" y="5333"/>
                  </a:lnTo>
                  <a:lnTo>
                    <a:pt x="5142" y="5328"/>
                  </a:lnTo>
                  <a:lnTo>
                    <a:pt x="5153" y="5349"/>
                  </a:lnTo>
                  <a:lnTo>
                    <a:pt x="5163" y="5370"/>
                  </a:lnTo>
                  <a:lnTo>
                    <a:pt x="5168" y="5379"/>
                  </a:lnTo>
                  <a:lnTo>
                    <a:pt x="5175" y="5385"/>
                  </a:lnTo>
                  <a:lnTo>
                    <a:pt x="5179" y="5388"/>
                  </a:lnTo>
                  <a:lnTo>
                    <a:pt x="5183" y="5390"/>
                  </a:lnTo>
                  <a:lnTo>
                    <a:pt x="5188" y="5391"/>
                  </a:lnTo>
                  <a:lnTo>
                    <a:pt x="5193" y="5392"/>
                  </a:lnTo>
                  <a:lnTo>
                    <a:pt x="5208" y="5390"/>
                  </a:lnTo>
                  <a:lnTo>
                    <a:pt x="5221" y="5388"/>
                  </a:lnTo>
                  <a:lnTo>
                    <a:pt x="5232" y="5384"/>
                  </a:lnTo>
                  <a:lnTo>
                    <a:pt x="5244" y="5379"/>
                  </a:lnTo>
                  <a:lnTo>
                    <a:pt x="5255" y="5374"/>
                  </a:lnTo>
                  <a:lnTo>
                    <a:pt x="5266" y="5370"/>
                  </a:lnTo>
                  <a:lnTo>
                    <a:pt x="5279" y="5367"/>
                  </a:lnTo>
                  <a:lnTo>
                    <a:pt x="5293" y="5366"/>
                  </a:lnTo>
                  <a:lnTo>
                    <a:pt x="5303" y="5367"/>
                  </a:lnTo>
                  <a:lnTo>
                    <a:pt x="5312" y="5369"/>
                  </a:lnTo>
                  <a:lnTo>
                    <a:pt x="5311" y="5381"/>
                  </a:lnTo>
                  <a:lnTo>
                    <a:pt x="5311" y="5392"/>
                  </a:lnTo>
                  <a:lnTo>
                    <a:pt x="5312" y="5404"/>
                  </a:lnTo>
                  <a:lnTo>
                    <a:pt x="5312" y="5416"/>
                  </a:lnTo>
                  <a:lnTo>
                    <a:pt x="5311" y="5427"/>
                  </a:lnTo>
                  <a:lnTo>
                    <a:pt x="5308" y="5437"/>
                  </a:lnTo>
                  <a:lnTo>
                    <a:pt x="5304" y="5445"/>
                  </a:lnTo>
                  <a:lnTo>
                    <a:pt x="5298" y="5453"/>
                  </a:lnTo>
                  <a:lnTo>
                    <a:pt x="5294" y="5462"/>
                  </a:lnTo>
                  <a:lnTo>
                    <a:pt x="5290" y="5470"/>
                  </a:lnTo>
                  <a:lnTo>
                    <a:pt x="5287" y="5480"/>
                  </a:lnTo>
                  <a:lnTo>
                    <a:pt x="5286" y="5491"/>
                  </a:lnTo>
                  <a:lnTo>
                    <a:pt x="5286" y="5517"/>
                  </a:lnTo>
                  <a:lnTo>
                    <a:pt x="5295" y="5519"/>
                  </a:lnTo>
                  <a:lnTo>
                    <a:pt x="5305" y="5522"/>
                  </a:lnTo>
                  <a:lnTo>
                    <a:pt x="5310" y="5522"/>
                  </a:lnTo>
                  <a:lnTo>
                    <a:pt x="5314" y="5520"/>
                  </a:lnTo>
                  <a:lnTo>
                    <a:pt x="5318" y="5518"/>
                  </a:lnTo>
                  <a:lnTo>
                    <a:pt x="5322" y="5515"/>
                  </a:lnTo>
                  <a:lnTo>
                    <a:pt x="5325" y="5512"/>
                  </a:lnTo>
                  <a:lnTo>
                    <a:pt x="5328" y="5509"/>
                  </a:lnTo>
                  <a:lnTo>
                    <a:pt x="5330" y="5505"/>
                  </a:lnTo>
                  <a:lnTo>
                    <a:pt x="5332" y="5500"/>
                  </a:lnTo>
                  <a:lnTo>
                    <a:pt x="5340" y="5479"/>
                  </a:lnTo>
                  <a:lnTo>
                    <a:pt x="5347" y="5459"/>
                  </a:lnTo>
                  <a:lnTo>
                    <a:pt x="5353" y="5467"/>
                  </a:lnTo>
                  <a:lnTo>
                    <a:pt x="5359" y="5476"/>
                  </a:lnTo>
                  <a:lnTo>
                    <a:pt x="5363" y="5485"/>
                  </a:lnTo>
                  <a:lnTo>
                    <a:pt x="5366" y="5496"/>
                  </a:lnTo>
                  <a:lnTo>
                    <a:pt x="5373" y="5517"/>
                  </a:lnTo>
                  <a:lnTo>
                    <a:pt x="5378" y="5538"/>
                  </a:lnTo>
                  <a:lnTo>
                    <a:pt x="5380" y="5547"/>
                  </a:lnTo>
                  <a:lnTo>
                    <a:pt x="5383" y="5557"/>
                  </a:lnTo>
                  <a:lnTo>
                    <a:pt x="5387" y="5565"/>
                  </a:lnTo>
                  <a:lnTo>
                    <a:pt x="5391" y="5572"/>
                  </a:lnTo>
                  <a:lnTo>
                    <a:pt x="5397" y="5577"/>
                  </a:lnTo>
                  <a:lnTo>
                    <a:pt x="5405" y="5581"/>
                  </a:lnTo>
                  <a:lnTo>
                    <a:pt x="5408" y="5583"/>
                  </a:lnTo>
                  <a:lnTo>
                    <a:pt x="5413" y="5585"/>
                  </a:lnTo>
                  <a:lnTo>
                    <a:pt x="5417" y="5586"/>
                  </a:lnTo>
                  <a:lnTo>
                    <a:pt x="5422" y="5586"/>
                  </a:lnTo>
                  <a:lnTo>
                    <a:pt x="5427" y="5585"/>
                  </a:lnTo>
                  <a:lnTo>
                    <a:pt x="5431" y="5582"/>
                  </a:lnTo>
                  <a:lnTo>
                    <a:pt x="5435" y="5579"/>
                  </a:lnTo>
                  <a:lnTo>
                    <a:pt x="5437" y="5576"/>
                  </a:lnTo>
                  <a:lnTo>
                    <a:pt x="5442" y="5567"/>
                  </a:lnTo>
                  <a:lnTo>
                    <a:pt x="5446" y="5558"/>
                  </a:lnTo>
                  <a:lnTo>
                    <a:pt x="5459" y="5526"/>
                  </a:lnTo>
                  <a:lnTo>
                    <a:pt x="5472" y="5495"/>
                  </a:lnTo>
                  <a:lnTo>
                    <a:pt x="5476" y="5488"/>
                  </a:lnTo>
                  <a:lnTo>
                    <a:pt x="5480" y="5482"/>
                  </a:lnTo>
                  <a:lnTo>
                    <a:pt x="5484" y="5477"/>
                  </a:lnTo>
                  <a:lnTo>
                    <a:pt x="5489" y="5472"/>
                  </a:lnTo>
                  <a:lnTo>
                    <a:pt x="5495" y="5468"/>
                  </a:lnTo>
                  <a:lnTo>
                    <a:pt x="5502" y="5465"/>
                  </a:lnTo>
                  <a:lnTo>
                    <a:pt x="5509" y="5464"/>
                  </a:lnTo>
                  <a:lnTo>
                    <a:pt x="5517" y="5463"/>
                  </a:lnTo>
                  <a:lnTo>
                    <a:pt x="5526" y="5464"/>
                  </a:lnTo>
                  <a:lnTo>
                    <a:pt x="5536" y="5467"/>
                  </a:lnTo>
                  <a:lnTo>
                    <a:pt x="5543" y="5471"/>
                  </a:lnTo>
                  <a:lnTo>
                    <a:pt x="5550" y="5475"/>
                  </a:lnTo>
                  <a:lnTo>
                    <a:pt x="5557" y="5481"/>
                  </a:lnTo>
                  <a:lnTo>
                    <a:pt x="5566" y="5486"/>
                  </a:lnTo>
                  <a:lnTo>
                    <a:pt x="5574" y="5492"/>
                  </a:lnTo>
                  <a:lnTo>
                    <a:pt x="5583" y="5496"/>
                  </a:lnTo>
                  <a:lnTo>
                    <a:pt x="5619" y="5508"/>
                  </a:lnTo>
                  <a:lnTo>
                    <a:pt x="5653" y="5519"/>
                  </a:lnTo>
                  <a:lnTo>
                    <a:pt x="5660" y="5524"/>
                  </a:lnTo>
                  <a:lnTo>
                    <a:pt x="5668" y="5528"/>
                  </a:lnTo>
                  <a:lnTo>
                    <a:pt x="5675" y="5532"/>
                  </a:lnTo>
                  <a:lnTo>
                    <a:pt x="5681" y="5537"/>
                  </a:lnTo>
                  <a:lnTo>
                    <a:pt x="5686" y="5543"/>
                  </a:lnTo>
                  <a:lnTo>
                    <a:pt x="5691" y="5550"/>
                  </a:lnTo>
                  <a:lnTo>
                    <a:pt x="5696" y="5558"/>
                  </a:lnTo>
                  <a:lnTo>
                    <a:pt x="5701" y="5567"/>
                  </a:lnTo>
                  <a:lnTo>
                    <a:pt x="5714" y="5598"/>
                  </a:lnTo>
                  <a:lnTo>
                    <a:pt x="5726" y="5626"/>
                  </a:lnTo>
                  <a:lnTo>
                    <a:pt x="5739" y="5653"/>
                  </a:lnTo>
                  <a:lnTo>
                    <a:pt x="5750" y="5685"/>
                  </a:lnTo>
                  <a:lnTo>
                    <a:pt x="5753" y="5693"/>
                  </a:lnTo>
                  <a:lnTo>
                    <a:pt x="5757" y="5701"/>
                  </a:lnTo>
                  <a:lnTo>
                    <a:pt x="5761" y="5708"/>
                  </a:lnTo>
                  <a:lnTo>
                    <a:pt x="5766" y="5715"/>
                  </a:lnTo>
                  <a:lnTo>
                    <a:pt x="5776" y="5727"/>
                  </a:lnTo>
                  <a:lnTo>
                    <a:pt x="5788" y="5741"/>
                  </a:lnTo>
                  <a:lnTo>
                    <a:pt x="5793" y="5752"/>
                  </a:lnTo>
                  <a:lnTo>
                    <a:pt x="5800" y="5761"/>
                  </a:lnTo>
                  <a:lnTo>
                    <a:pt x="5803" y="5765"/>
                  </a:lnTo>
                  <a:lnTo>
                    <a:pt x="5806" y="5769"/>
                  </a:lnTo>
                  <a:lnTo>
                    <a:pt x="5811" y="5771"/>
                  </a:lnTo>
                  <a:lnTo>
                    <a:pt x="5816" y="5772"/>
                  </a:lnTo>
                  <a:lnTo>
                    <a:pt x="5830" y="5771"/>
                  </a:lnTo>
                  <a:lnTo>
                    <a:pt x="5840" y="5771"/>
                  </a:lnTo>
                  <a:lnTo>
                    <a:pt x="5851" y="5769"/>
                  </a:lnTo>
                  <a:lnTo>
                    <a:pt x="5864" y="5767"/>
                  </a:lnTo>
                  <a:lnTo>
                    <a:pt x="5879" y="5767"/>
                  </a:lnTo>
                  <a:lnTo>
                    <a:pt x="5886" y="5767"/>
                  </a:lnTo>
                  <a:lnTo>
                    <a:pt x="5893" y="5766"/>
                  </a:lnTo>
                  <a:lnTo>
                    <a:pt x="5901" y="5764"/>
                  </a:lnTo>
                  <a:lnTo>
                    <a:pt x="5906" y="5761"/>
                  </a:lnTo>
                  <a:lnTo>
                    <a:pt x="5917" y="5755"/>
                  </a:lnTo>
                  <a:lnTo>
                    <a:pt x="5927" y="5748"/>
                  </a:lnTo>
                  <a:lnTo>
                    <a:pt x="5938" y="5738"/>
                  </a:lnTo>
                  <a:lnTo>
                    <a:pt x="5949" y="5730"/>
                  </a:lnTo>
                  <a:lnTo>
                    <a:pt x="5960" y="5722"/>
                  </a:lnTo>
                  <a:lnTo>
                    <a:pt x="5974" y="5716"/>
                  </a:lnTo>
                  <a:lnTo>
                    <a:pt x="5977" y="5726"/>
                  </a:lnTo>
                  <a:lnTo>
                    <a:pt x="5980" y="5736"/>
                  </a:lnTo>
                  <a:lnTo>
                    <a:pt x="5985" y="5745"/>
                  </a:lnTo>
                  <a:lnTo>
                    <a:pt x="5991" y="5753"/>
                  </a:lnTo>
                  <a:lnTo>
                    <a:pt x="6005" y="5768"/>
                  </a:lnTo>
                  <a:lnTo>
                    <a:pt x="6019" y="5782"/>
                  </a:lnTo>
                  <a:lnTo>
                    <a:pt x="6026" y="5788"/>
                  </a:lnTo>
                  <a:lnTo>
                    <a:pt x="6033" y="5795"/>
                  </a:lnTo>
                  <a:lnTo>
                    <a:pt x="6040" y="5802"/>
                  </a:lnTo>
                  <a:lnTo>
                    <a:pt x="6045" y="5810"/>
                  </a:lnTo>
                  <a:lnTo>
                    <a:pt x="6050" y="5818"/>
                  </a:lnTo>
                  <a:lnTo>
                    <a:pt x="6053" y="5827"/>
                  </a:lnTo>
                  <a:lnTo>
                    <a:pt x="6055" y="5836"/>
                  </a:lnTo>
                  <a:lnTo>
                    <a:pt x="6056" y="5848"/>
                  </a:lnTo>
                  <a:lnTo>
                    <a:pt x="6055" y="5855"/>
                  </a:lnTo>
                  <a:lnTo>
                    <a:pt x="6052" y="5862"/>
                  </a:lnTo>
                  <a:lnTo>
                    <a:pt x="6048" y="5867"/>
                  </a:lnTo>
                  <a:lnTo>
                    <a:pt x="6044" y="5874"/>
                  </a:lnTo>
                  <a:lnTo>
                    <a:pt x="6039" y="5879"/>
                  </a:lnTo>
                  <a:lnTo>
                    <a:pt x="6035" y="5885"/>
                  </a:lnTo>
                  <a:lnTo>
                    <a:pt x="6032" y="5892"/>
                  </a:lnTo>
                  <a:lnTo>
                    <a:pt x="6031" y="5899"/>
                  </a:lnTo>
                  <a:lnTo>
                    <a:pt x="6032" y="5910"/>
                  </a:lnTo>
                  <a:lnTo>
                    <a:pt x="6033" y="5920"/>
                  </a:lnTo>
                  <a:lnTo>
                    <a:pt x="6036" y="5929"/>
                  </a:lnTo>
                  <a:lnTo>
                    <a:pt x="6040" y="5938"/>
                  </a:lnTo>
                  <a:lnTo>
                    <a:pt x="6048" y="5954"/>
                  </a:lnTo>
                  <a:lnTo>
                    <a:pt x="6058" y="5969"/>
                  </a:lnTo>
                  <a:lnTo>
                    <a:pt x="6070" y="5984"/>
                  </a:lnTo>
                  <a:lnTo>
                    <a:pt x="6078" y="6001"/>
                  </a:lnTo>
                  <a:lnTo>
                    <a:pt x="6082" y="6009"/>
                  </a:lnTo>
                  <a:lnTo>
                    <a:pt x="6085" y="6018"/>
                  </a:lnTo>
                  <a:lnTo>
                    <a:pt x="6086" y="6029"/>
                  </a:lnTo>
                  <a:lnTo>
                    <a:pt x="6087" y="6039"/>
                  </a:lnTo>
                  <a:lnTo>
                    <a:pt x="6086" y="6051"/>
                  </a:lnTo>
                  <a:lnTo>
                    <a:pt x="6084" y="6062"/>
                  </a:lnTo>
                  <a:lnTo>
                    <a:pt x="6080" y="6071"/>
                  </a:lnTo>
                  <a:lnTo>
                    <a:pt x="6075" y="6080"/>
                  </a:lnTo>
                  <a:lnTo>
                    <a:pt x="6064" y="6099"/>
                  </a:lnTo>
                  <a:lnTo>
                    <a:pt x="6052" y="6119"/>
                  </a:lnTo>
                  <a:lnTo>
                    <a:pt x="6044" y="6137"/>
                  </a:lnTo>
                  <a:lnTo>
                    <a:pt x="6038" y="6155"/>
                  </a:lnTo>
                  <a:lnTo>
                    <a:pt x="6033" y="6171"/>
                  </a:lnTo>
                  <a:lnTo>
                    <a:pt x="6030" y="6188"/>
                  </a:lnTo>
                  <a:lnTo>
                    <a:pt x="6023" y="6221"/>
                  </a:lnTo>
                  <a:lnTo>
                    <a:pt x="6014" y="6259"/>
                  </a:lnTo>
                  <a:lnTo>
                    <a:pt x="6011" y="6268"/>
                  </a:lnTo>
                  <a:lnTo>
                    <a:pt x="6007" y="6276"/>
                  </a:lnTo>
                  <a:lnTo>
                    <a:pt x="6002" y="6284"/>
                  </a:lnTo>
                  <a:lnTo>
                    <a:pt x="5998" y="6291"/>
                  </a:lnTo>
                  <a:lnTo>
                    <a:pt x="5992" y="6298"/>
                  </a:lnTo>
                  <a:lnTo>
                    <a:pt x="5989" y="6306"/>
                  </a:lnTo>
                  <a:lnTo>
                    <a:pt x="5986" y="6315"/>
                  </a:lnTo>
                  <a:lnTo>
                    <a:pt x="5986" y="6325"/>
                  </a:lnTo>
                  <a:lnTo>
                    <a:pt x="5986" y="6332"/>
                  </a:lnTo>
                  <a:lnTo>
                    <a:pt x="5987" y="6339"/>
                  </a:lnTo>
                  <a:lnTo>
                    <a:pt x="5989" y="6346"/>
                  </a:lnTo>
                  <a:lnTo>
                    <a:pt x="5991" y="6352"/>
                  </a:lnTo>
                  <a:lnTo>
                    <a:pt x="5995" y="6357"/>
                  </a:lnTo>
                  <a:lnTo>
                    <a:pt x="5999" y="6362"/>
                  </a:lnTo>
                  <a:lnTo>
                    <a:pt x="6003" y="6367"/>
                  </a:lnTo>
                  <a:lnTo>
                    <a:pt x="6008" y="6371"/>
                  </a:lnTo>
                  <a:lnTo>
                    <a:pt x="6018" y="6380"/>
                  </a:lnTo>
                  <a:lnTo>
                    <a:pt x="6031" y="6386"/>
                  </a:lnTo>
                  <a:lnTo>
                    <a:pt x="6043" y="6392"/>
                  </a:lnTo>
                  <a:lnTo>
                    <a:pt x="6057" y="6398"/>
                  </a:lnTo>
                  <a:lnTo>
                    <a:pt x="6072" y="6404"/>
                  </a:lnTo>
                  <a:lnTo>
                    <a:pt x="6085" y="6410"/>
                  </a:lnTo>
                  <a:lnTo>
                    <a:pt x="6099" y="6417"/>
                  </a:lnTo>
                  <a:lnTo>
                    <a:pt x="6112" y="6424"/>
                  </a:lnTo>
                  <a:lnTo>
                    <a:pt x="6118" y="6428"/>
                  </a:lnTo>
                  <a:lnTo>
                    <a:pt x="6123" y="6432"/>
                  </a:lnTo>
                  <a:lnTo>
                    <a:pt x="6129" y="6437"/>
                  </a:lnTo>
                  <a:lnTo>
                    <a:pt x="6134" y="6443"/>
                  </a:lnTo>
                  <a:lnTo>
                    <a:pt x="6138" y="6449"/>
                  </a:lnTo>
                  <a:lnTo>
                    <a:pt x="6142" y="6455"/>
                  </a:lnTo>
                  <a:lnTo>
                    <a:pt x="6146" y="6461"/>
                  </a:lnTo>
                  <a:lnTo>
                    <a:pt x="6148" y="6468"/>
                  </a:lnTo>
                  <a:lnTo>
                    <a:pt x="6152" y="6483"/>
                  </a:lnTo>
                  <a:lnTo>
                    <a:pt x="6155" y="6497"/>
                  </a:lnTo>
                  <a:lnTo>
                    <a:pt x="6156" y="6511"/>
                  </a:lnTo>
                  <a:lnTo>
                    <a:pt x="6157" y="6524"/>
                  </a:lnTo>
                  <a:lnTo>
                    <a:pt x="6160" y="6537"/>
                  </a:lnTo>
                  <a:lnTo>
                    <a:pt x="6162" y="6550"/>
                  </a:lnTo>
                  <a:lnTo>
                    <a:pt x="6166" y="6563"/>
                  </a:lnTo>
                  <a:lnTo>
                    <a:pt x="6172" y="6577"/>
                  </a:lnTo>
                  <a:lnTo>
                    <a:pt x="6176" y="6583"/>
                  </a:lnTo>
                  <a:lnTo>
                    <a:pt x="6181" y="6586"/>
                  </a:lnTo>
                  <a:lnTo>
                    <a:pt x="6186" y="6589"/>
                  </a:lnTo>
                  <a:lnTo>
                    <a:pt x="6193" y="6591"/>
                  </a:lnTo>
                  <a:lnTo>
                    <a:pt x="6200" y="6593"/>
                  </a:lnTo>
                  <a:lnTo>
                    <a:pt x="6206" y="6594"/>
                  </a:lnTo>
                  <a:lnTo>
                    <a:pt x="6213" y="6598"/>
                  </a:lnTo>
                  <a:lnTo>
                    <a:pt x="6219" y="6601"/>
                  </a:lnTo>
                  <a:lnTo>
                    <a:pt x="6228" y="6608"/>
                  </a:lnTo>
                  <a:lnTo>
                    <a:pt x="6234" y="6615"/>
                  </a:lnTo>
                  <a:lnTo>
                    <a:pt x="6237" y="6619"/>
                  </a:lnTo>
                  <a:lnTo>
                    <a:pt x="6241" y="6621"/>
                  </a:lnTo>
                  <a:lnTo>
                    <a:pt x="6245" y="6623"/>
                  </a:lnTo>
                  <a:lnTo>
                    <a:pt x="6250" y="6624"/>
                  </a:lnTo>
                  <a:lnTo>
                    <a:pt x="6255" y="6623"/>
                  </a:lnTo>
                  <a:lnTo>
                    <a:pt x="6260" y="6622"/>
                  </a:lnTo>
                  <a:lnTo>
                    <a:pt x="6264" y="6619"/>
                  </a:lnTo>
                  <a:lnTo>
                    <a:pt x="6268" y="6616"/>
                  </a:lnTo>
                  <a:lnTo>
                    <a:pt x="6274" y="6608"/>
                  </a:lnTo>
                  <a:lnTo>
                    <a:pt x="6279" y="6599"/>
                  </a:lnTo>
                  <a:lnTo>
                    <a:pt x="6284" y="6588"/>
                  </a:lnTo>
                  <a:lnTo>
                    <a:pt x="6290" y="6580"/>
                  </a:lnTo>
                  <a:lnTo>
                    <a:pt x="6295" y="6577"/>
                  </a:lnTo>
                  <a:lnTo>
                    <a:pt x="6299" y="6575"/>
                  </a:lnTo>
                  <a:lnTo>
                    <a:pt x="6304" y="6573"/>
                  </a:lnTo>
                  <a:lnTo>
                    <a:pt x="6309" y="6573"/>
                  </a:lnTo>
                  <a:lnTo>
                    <a:pt x="6319" y="6573"/>
                  </a:lnTo>
                  <a:lnTo>
                    <a:pt x="6329" y="6576"/>
                  </a:lnTo>
                  <a:lnTo>
                    <a:pt x="6338" y="6579"/>
                  </a:lnTo>
                  <a:lnTo>
                    <a:pt x="6346" y="6584"/>
                  </a:lnTo>
                  <a:lnTo>
                    <a:pt x="6353" y="6591"/>
                  </a:lnTo>
                  <a:lnTo>
                    <a:pt x="6359" y="6599"/>
                  </a:lnTo>
                  <a:lnTo>
                    <a:pt x="6361" y="6603"/>
                  </a:lnTo>
                  <a:lnTo>
                    <a:pt x="6362" y="6608"/>
                  </a:lnTo>
                  <a:lnTo>
                    <a:pt x="6363" y="6612"/>
                  </a:lnTo>
                  <a:lnTo>
                    <a:pt x="6363" y="6617"/>
                  </a:lnTo>
                  <a:lnTo>
                    <a:pt x="6363" y="6622"/>
                  </a:lnTo>
                  <a:lnTo>
                    <a:pt x="6362" y="6626"/>
                  </a:lnTo>
                  <a:lnTo>
                    <a:pt x="6360" y="6631"/>
                  </a:lnTo>
                  <a:lnTo>
                    <a:pt x="6358" y="6635"/>
                  </a:lnTo>
                  <a:lnTo>
                    <a:pt x="6352" y="6641"/>
                  </a:lnTo>
                  <a:lnTo>
                    <a:pt x="6346" y="6647"/>
                  </a:lnTo>
                  <a:lnTo>
                    <a:pt x="6338" y="6652"/>
                  </a:lnTo>
                  <a:lnTo>
                    <a:pt x="6331" y="6658"/>
                  </a:lnTo>
                  <a:lnTo>
                    <a:pt x="6325" y="6666"/>
                  </a:lnTo>
                  <a:lnTo>
                    <a:pt x="6318" y="6674"/>
                  </a:lnTo>
                  <a:lnTo>
                    <a:pt x="6308" y="6695"/>
                  </a:lnTo>
                  <a:lnTo>
                    <a:pt x="6301" y="6714"/>
                  </a:lnTo>
                  <a:lnTo>
                    <a:pt x="6295" y="6734"/>
                  </a:lnTo>
                  <a:lnTo>
                    <a:pt x="6292" y="6753"/>
                  </a:lnTo>
                  <a:lnTo>
                    <a:pt x="6289" y="6773"/>
                  </a:lnTo>
                  <a:lnTo>
                    <a:pt x="6288" y="6794"/>
                  </a:lnTo>
                  <a:lnTo>
                    <a:pt x="6287" y="6815"/>
                  </a:lnTo>
                  <a:lnTo>
                    <a:pt x="6287" y="6839"/>
                  </a:lnTo>
                  <a:lnTo>
                    <a:pt x="6288" y="6844"/>
                  </a:lnTo>
                  <a:lnTo>
                    <a:pt x="6288" y="6848"/>
                  </a:lnTo>
                  <a:lnTo>
                    <a:pt x="6290" y="6853"/>
                  </a:lnTo>
                  <a:lnTo>
                    <a:pt x="6293" y="6857"/>
                  </a:lnTo>
                  <a:lnTo>
                    <a:pt x="6298" y="6864"/>
                  </a:lnTo>
                  <a:lnTo>
                    <a:pt x="6305" y="6870"/>
                  </a:lnTo>
                  <a:lnTo>
                    <a:pt x="6313" y="6875"/>
                  </a:lnTo>
                  <a:lnTo>
                    <a:pt x="6321" y="6879"/>
                  </a:lnTo>
                  <a:lnTo>
                    <a:pt x="6332" y="6883"/>
                  </a:lnTo>
                  <a:lnTo>
                    <a:pt x="6342" y="6884"/>
                  </a:lnTo>
                  <a:lnTo>
                    <a:pt x="6384" y="6874"/>
                  </a:lnTo>
                  <a:lnTo>
                    <a:pt x="6394" y="6882"/>
                  </a:lnTo>
                  <a:lnTo>
                    <a:pt x="6389" y="6906"/>
                  </a:lnTo>
                  <a:lnTo>
                    <a:pt x="6385" y="6927"/>
                  </a:lnTo>
                  <a:lnTo>
                    <a:pt x="6380" y="6948"/>
                  </a:lnTo>
                  <a:lnTo>
                    <a:pt x="6373" y="6971"/>
                  </a:lnTo>
                  <a:lnTo>
                    <a:pt x="6370" y="6978"/>
                  </a:lnTo>
                  <a:lnTo>
                    <a:pt x="6366" y="6982"/>
                  </a:lnTo>
                  <a:lnTo>
                    <a:pt x="6362" y="6987"/>
                  </a:lnTo>
                  <a:lnTo>
                    <a:pt x="6358" y="6991"/>
                  </a:lnTo>
                  <a:lnTo>
                    <a:pt x="6353" y="6995"/>
                  </a:lnTo>
                  <a:lnTo>
                    <a:pt x="6349" y="7000"/>
                  </a:lnTo>
                  <a:lnTo>
                    <a:pt x="6347" y="7005"/>
                  </a:lnTo>
                  <a:lnTo>
                    <a:pt x="6346" y="7012"/>
                  </a:lnTo>
                  <a:lnTo>
                    <a:pt x="6347" y="7017"/>
                  </a:lnTo>
                  <a:lnTo>
                    <a:pt x="6348" y="7022"/>
                  </a:lnTo>
                  <a:lnTo>
                    <a:pt x="6350" y="7026"/>
                  </a:lnTo>
                  <a:lnTo>
                    <a:pt x="6353" y="7030"/>
                  </a:lnTo>
                  <a:lnTo>
                    <a:pt x="6358" y="7033"/>
                  </a:lnTo>
                  <a:lnTo>
                    <a:pt x="6362" y="7035"/>
                  </a:lnTo>
                  <a:lnTo>
                    <a:pt x="6367" y="7038"/>
                  </a:lnTo>
                  <a:lnTo>
                    <a:pt x="6372" y="7040"/>
                  </a:lnTo>
                  <a:lnTo>
                    <a:pt x="6382" y="7044"/>
                  </a:lnTo>
                  <a:lnTo>
                    <a:pt x="6395" y="7047"/>
                  </a:lnTo>
                  <a:lnTo>
                    <a:pt x="6406" y="7051"/>
                  </a:lnTo>
                  <a:lnTo>
                    <a:pt x="6417" y="7056"/>
                  </a:lnTo>
                  <a:lnTo>
                    <a:pt x="6430" y="7064"/>
                  </a:lnTo>
                  <a:lnTo>
                    <a:pt x="6440" y="7073"/>
                  </a:lnTo>
                  <a:lnTo>
                    <a:pt x="6449" y="7081"/>
                  </a:lnTo>
                  <a:lnTo>
                    <a:pt x="6459" y="7089"/>
                  </a:lnTo>
                  <a:lnTo>
                    <a:pt x="6467" y="7097"/>
                  </a:lnTo>
                  <a:lnTo>
                    <a:pt x="6476" y="7106"/>
                  </a:lnTo>
                  <a:lnTo>
                    <a:pt x="6487" y="7113"/>
                  </a:lnTo>
                  <a:lnTo>
                    <a:pt x="6500" y="7120"/>
                  </a:lnTo>
                  <a:lnTo>
                    <a:pt x="6515" y="7127"/>
                  </a:lnTo>
                  <a:lnTo>
                    <a:pt x="6531" y="7132"/>
                  </a:lnTo>
                  <a:lnTo>
                    <a:pt x="6545" y="7137"/>
                  </a:lnTo>
                  <a:lnTo>
                    <a:pt x="6560" y="7141"/>
                  </a:lnTo>
                  <a:lnTo>
                    <a:pt x="6574" y="7146"/>
                  </a:lnTo>
                  <a:lnTo>
                    <a:pt x="6587" y="7151"/>
                  </a:lnTo>
                  <a:lnTo>
                    <a:pt x="6595" y="7155"/>
                  </a:lnTo>
                  <a:lnTo>
                    <a:pt x="6602" y="7159"/>
                  </a:lnTo>
                  <a:lnTo>
                    <a:pt x="6608" y="7163"/>
                  </a:lnTo>
                  <a:lnTo>
                    <a:pt x="6615" y="7170"/>
                  </a:lnTo>
                  <a:lnTo>
                    <a:pt x="6619" y="7173"/>
                  </a:lnTo>
                  <a:lnTo>
                    <a:pt x="6625" y="7176"/>
                  </a:lnTo>
                  <a:lnTo>
                    <a:pt x="6630" y="7178"/>
                  </a:lnTo>
                  <a:lnTo>
                    <a:pt x="6635" y="7180"/>
                  </a:lnTo>
                  <a:lnTo>
                    <a:pt x="6646" y="7183"/>
                  </a:lnTo>
                  <a:lnTo>
                    <a:pt x="6657" y="7186"/>
                  </a:lnTo>
                  <a:lnTo>
                    <a:pt x="6666" y="7189"/>
                  </a:lnTo>
                  <a:lnTo>
                    <a:pt x="6674" y="7193"/>
                  </a:lnTo>
                  <a:lnTo>
                    <a:pt x="6677" y="7196"/>
                  </a:lnTo>
                  <a:lnTo>
                    <a:pt x="6679" y="7201"/>
                  </a:lnTo>
                  <a:lnTo>
                    <a:pt x="6681" y="7205"/>
                  </a:lnTo>
                  <a:lnTo>
                    <a:pt x="6681" y="7210"/>
                  </a:lnTo>
                  <a:lnTo>
                    <a:pt x="6681" y="7222"/>
                  </a:lnTo>
                  <a:lnTo>
                    <a:pt x="6679" y="7235"/>
                  </a:lnTo>
                  <a:lnTo>
                    <a:pt x="6677" y="7246"/>
                  </a:lnTo>
                  <a:lnTo>
                    <a:pt x="6675" y="7257"/>
                  </a:lnTo>
                  <a:lnTo>
                    <a:pt x="6671" y="7279"/>
                  </a:lnTo>
                  <a:lnTo>
                    <a:pt x="6667" y="7304"/>
                  </a:lnTo>
                  <a:lnTo>
                    <a:pt x="6665" y="7313"/>
                  </a:lnTo>
                  <a:lnTo>
                    <a:pt x="6665" y="7320"/>
                  </a:lnTo>
                  <a:lnTo>
                    <a:pt x="6666" y="7329"/>
                  </a:lnTo>
                  <a:lnTo>
                    <a:pt x="6666" y="7337"/>
                  </a:lnTo>
                  <a:lnTo>
                    <a:pt x="6667" y="7351"/>
                  </a:lnTo>
                  <a:lnTo>
                    <a:pt x="6668" y="7364"/>
                  </a:lnTo>
                  <a:lnTo>
                    <a:pt x="6671" y="7375"/>
                  </a:lnTo>
                  <a:lnTo>
                    <a:pt x="6674" y="7386"/>
                  </a:lnTo>
                  <a:lnTo>
                    <a:pt x="6676" y="7398"/>
                  </a:lnTo>
                  <a:lnTo>
                    <a:pt x="6679" y="7410"/>
                  </a:lnTo>
                  <a:lnTo>
                    <a:pt x="6680" y="7423"/>
                  </a:lnTo>
                  <a:lnTo>
                    <a:pt x="6681" y="7436"/>
                  </a:lnTo>
                  <a:lnTo>
                    <a:pt x="6680" y="7458"/>
                  </a:lnTo>
                  <a:lnTo>
                    <a:pt x="6677" y="7476"/>
                  </a:lnTo>
                  <a:lnTo>
                    <a:pt x="6674" y="7496"/>
                  </a:lnTo>
                  <a:lnTo>
                    <a:pt x="6670" y="7517"/>
                  </a:lnTo>
                  <a:lnTo>
                    <a:pt x="6668" y="7524"/>
                  </a:lnTo>
                  <a:lnTo>
                    <a:pt x="6665" y="7529"/>
                  </a:lnTo>
                  <a:lnTo>
                    <a:pt x="6662" y="7535"/>
                  </a:lnTo>
                  <a:lnTo>
                    <a:pt x="6659" y="7540"/>
                  </a:lnTo>
                  <a:lnTo>
                    <a:pt x="6650" y="7550"/>
                  </a:lnTo>
                  <a:lnTo>
                    <a:pt x="6641" y="7559"/>
                  </a:lnTo>
                  <a:lnTo>
                    <a:pt x="6632" y="7567"/>
                  </a:lnTo>
                  <a:lnTo>
                    <a:pt x="6625" y="7578"/>
                  </a:lnTo>
                  <a:lnTo>
                    <a:pt x="6622" y="7583"/>
                  </a:lnTo>
                  <a:lnTo>
                    <a:pt x="6619" y="7588"/>
                  </a:lnTo>
                  <a:lnTo>
                    <a:pt x="6618" y="7595"/>
                  </a:lnTo>
                  <a:lnTo>
                    <a:pt x="6617" y="7601"/>
                  </a:lnTo>
                  <a:lnTo>
                    <a:pt x="6618" y="7608"/>
                  </a:lnTo>
                  <a:lnTo>
                    <a:pt x="6619" y="7614"/>
                  </a:lnTo>
                  <a:lnTo>
                    <a:pt x="6623" y="7619"/>
                  </a:lnTo>
                  <a:lnTo>
                    <a:pt x="6626" y="7623"/>
                  </a:lnTo>
                  <a:lnTo>
                    <a:pt x="6630" y="7627"/>
                  </a:lnTo>
                  <a:lnTo>
                    <a:pt x="6635" y="7630"/>
                  </a:lnTo>
                  <a:lnTo>
                    <a:pt x="6640" y="7633"/>
                  </a:lnTo>
                  <a:lnTo>
                    <a:pt x="6645" y="7636"/>
                  </a:lnTo>
                  <a:lnTo>
                    <a:pt x="6658" y="7642"/>
                  </a:lnTo>
                  <a:lnTo>
                    <a:pt x="6671" y="7647"/>
                  </a:lnTo>
                  <a:lnTo>
                    <a:pt x="6683" y="7653"/>
                  </a:lnTo>
                  <a:lnTo>
                    <a:pt x="6696" y="7660"/>
                  </a:lnTo>
                  <a:lnTo>
                    <a:pt x="6702" y="7667"/>
                  </a:lnTo>
                  <a:lnTo>
                    <a:pt x="6708" y="7675"/>
                  </a:lnTo>
                  <a:lnTo>
                    <a:pt x="6712" y="7682"/>
                  </a:lnTo>
                  <a:lnTo>
                    <a:pt x="6716" y="7689"/>
                  </a:lnTo>
                  <a:lnTo>
                    <a:pt x="6721" y="7696"/>
                  </a:lnTo>
                  <a:lnTo>
                    <a:pt x="6725" y="7702"/>
                  </a:lnTo>
                  <a:lnTo>
                    <a:pt x="6731" y="7710"/>
                  </a:lnTo>
                  <a:lnTo>
                    <a:pt x="6738" y="7715"/>
                  </a:lnTo>
                  <a:lnTo>
                    <a:pt x="6759" y="7726"/>
                  </a:lnTo>
                  <a:lnTo>
                    <a:pt x="6778" y="7736"/>
                  </a:lnTo>
                  <a:lnTo>
                    <a:pt x="6787" y="7741"/>
                  </a:lnTo>
                  <a:lnTo>
                    <a:pt x="6795" y="7748"/>
                  </a:lnTo>
                  <a:lnTo>
                    <a:pt x="6802" y="7756"/>
                  </a:lnTo>
                  <a:lnTo>
                    <a:pt x="6808" y="7766"/>
                  </a:lnTo>
                  <a:lnTo>
                    <a:pt x="6787" y="7768"/>
                  </a:lnTo>
                  <a:lnTo>
                    <a:pt x="6767" y="7769"/>
                  </a:lnTo>
                  <a:lnTo>
                    <a:pt x="6748" y="7772"/>
                  </a:lnTo>
                  <a:lnTo>
                    <a:pt x="6731" y="7775"/>
                  </a:lnTo>
                  <a:lnTo>
                    <a:pt x="6713" y="7779"/>
                  </a:lnTo>
                  <a:lnTo>
                    <a:pt x="6695" y="7784"/>
                  </a:lnTo>
                  <a:lnTo>
                    <a:pt x="6676" y="7790"/>
                  </a:lnTo>
                  <a:lnTo>
                    <a:pt x="6656" y="7797"/>
                  </a:lnTo>
                  <a:lnTo>
                    <a:pt x="6643" y="7803"/>
                  </a:lnTo>
                  <a:lnTo>
                    <a:pt x="6633" y="7809"/>
                  </a:lnTo>
                  <a:lnTo>
                    <a:pt x="6623" y="7816"/>
                  </a:lnTo>
                  <a:lnTo>
                    <a:pt x="6613" y="7822"/>
                  </a:lnTo>
                  <a:lnTo>
                    <a:pt x="6604" y="7828"/>
                  </a:lnTo>
                  <a:lnTo>
                    <a:pt x="6594" y="7833"/>
                  </a:lnTo>
                  <a:lnTo>
                    <a:pt x="6589" y="7835"/>
                  </a:lnTo>
                  <a:lnTo>
                    <a:pt x="6582" y="7837"/>
                  </a:lnTo>
                  <a:lnTo>
                    <a:pt x="6576" y="7838"/>
                  </a:lnTo>
                  <a:lnTo>
                    <a:pt x="6569" y="7838"/>
                  </a:lnTo>
                  <a:lnTo>
                    <a:pt x="6569" y="7777"/>
                  </a:lnTo>
                  <a:lnTo>
                    <a:pt x="6569" y="7765"/>
                  </a:lnTo>
                  <a:lnTo>
                    <a:pt x="6569" y="7755"/>
                  </a:lnTo>
                  <a:lnTo>
                    <a:pt x="6568" y="7746"/>
                  </a:lnTo>
                  <a:lnTo>
                    <a:pt x="6566" y="7737"/>
                  </a:lnTo>
                  <a:lnTo>
                    <a:pt x="6564" y="7727"/>
                  </a:lnTo>
                  <a:lnTo>
                    <a:pt x="6561" y="7718"/>
                  </a:lnTo>
                  <a:lnTo>
                    <a:pt x="6557" y="7709"/>
                  </a:lnTo>
                  <a:lnTo>
                    <a:pt x="6551" y="7698"/>
                  </a:lnTo>
                  <a:lnTo>
                    <a:pt x="6543" y="7701"/>
                  </a:lnTo>
                  <a:lnTo>
                    <a:pt x="6535" y="7705"/>
                  </a:lnTo>
                  <a:lnTo>
                    <a:pt x="6527" y="7707"/>
                  </a:lnTo>
                  <a:lnTo>
                    <a:pt x="6517" y="7708"/>
                  </a:lnTo>
                  <a:lnTo>
                    <a:pt x="6507" y="7708"/>
                  </a:lnTo>
                  <a:lnTo>
                    <a:pt x="6497" y="7706"/>
                  </a:lnTo>
                  <a:lnTo>
                    <a:pt x="6487" y="7703"/>
                  </a:lnTo>
                  <a:lnTo>
                    <a:pt x="6479" y="7700"/>
                  </a:lnTo>
                  <a:lnTo>
                    <a:pt x="6470" y="7697"/>
                  </a:lnTo>
                  <a:lnTo>
                    <a:pt x="6462" y="7695"/>
                  </a:lnTo>
                  <a:lnTo>
                    <a:pt x="6451" y="7692"/>
                  </a:lnTo>
                  <a:lnTo>
                    <a:pt x="6441" y="7691"/>
                  </a:lnTo>
                  <a:lnTo>
                    <a:pt x="6439" y="7700"/>
                  </a:lnTo>
                  <a:lnTo>
                    <a:pt x="6443" y="7720"/>
                  </a:lnTo>
                  <a:lnTo>
                    <a:pt x="6440" y="7743"/>
                  </a:lnTo>
                  <a:lnTo>
                    <a:pt x="6437" y="7766"/>
                  </a:lnTo>
                  <a:lnTo>
                    <a:pt x="6436" y="7771"/>
                  </a:lnTo>
                  <a:lnTo>
                    <a:pt x="6434" y="7776"/>
                  </a:lnTo>
                  <a:lnTo>
                    <a:pt x="6432" y="7780"/>
                  </a:lnTo>
                  <a:lnTo>
                    <a:pt x="6429" y="7783"/>
                  </a:lnTo>
                  <a:lnTo>
                    <a:pt x="6426" y="7786"/>
                  </a:lnTo>
                  <a:lnTo>
                    <a:pt x="6422" y="7788"/>
                  </a:lnTo>
                  <a:lnTo>
                    <a:pt x="6417" y="7790"/>
                  </a:lnTo>
                  <a:lnTo>
                    <a:pt x="6412" y="7790"/>
                  </a:lnTo>
                  <a:lnTo>
                    <a:pt x="6404" y="7789"/>
                  </a:lnTo>
                  <a:lnTo>
                    <a:pt x="6396" y="7787"/>
                  </a:lnTo>
                  <a:lnTo>
                    <a:pt x="6388" y="7783"/>
                  </a:lnTo>
                  <a:lnTo>
                    <a:pt x="6381" y="7779"/>
                  </a:lnTo>
                  <a:lnTo>
                    <a:pt x="6375" y="7774"/>
                  </a:lnTo>
                  <a:lnTo>
                    <a:pt x="6368" y="7770"/>
                  </a:lnTo>
                  <a:lnTo>
                    <a:pt x="6360" y="7765"/>
                  </a:lnTo>
                  <a:lnTo>
                    <a:pt x="6351" y="7762"/>
                  </a:lnTo>
                  <a:lnTo>
                    <a:pt x="6346" y="7761"/>
                  </a:lnTo>
                  <a:lnTo>
                    <a:pt x="6340" y="7760"/>
                  </a:lnTo>
                  <a:lnTo>
                    <a:pt x="6335" y="7761"/>
                  </a:lnTo>
                  <a:lnTo>
                    <a:pt x="6331" y="7761"/>
                  </a:lnTo>
                  <a:lnTo>
                    <a:pt x="6326" y="7761"/>
                  </a:lnTo>
                  <a:lnTo>
                    <a:pt x="6320" y="7761"/>
                  </a:lnTo>
                  <a:lnTo>
                    <a:pt x="6316" y="7760"/>
                  </a:lnTo>
                  <a:lnTo>
                    <a:pt x="6311" y="7757"/>
                  </a:lnTo>
                  <a:lnTo>
                    <a:pt x="6306" y="7753"/>
                  </a:lnTo>
                  <a:lnTo>
                    <a:pt x="6303" y="7749"/>
                  </a:lnTo>
                  <a:lnTo>
                    <a:pt x="6300" y="7744"/>
                  </a:lnTo>
                  <a:lnTo>
                    <a:pt x="6298" y="7739"/>
                  </a:lnTo>
                  <a:lnTo>
                    <a:pt x="6295" y="7727"/>
                  </a:lnTo>
                  <a:lnTo>
                    <a:pt x="6294" y="7716"/>
                  </a:lnTo>
                  <a:lnTo>
                    <a:pt x="6294" y="7703"/>
                  </a:lnTo>
                  <a:lnTo>
                    <a:pt x="6293" y="7691"/>
                  </a:lnTo>
                  <a:lnTo>
                    <a:pt x="6290" y="7685"/>
                  </a:lnTo>
                  <a:lnTo>
                    <a:pt x="6289" y="7679"/>
                  </a:lnTo>
                  <a:lnTo>
                    <a:pt x="6286" y="7674"/>
                  </a:lnTo>
                  <a:lnTo>
                    <a:pt x="6283" y="7667"/>
                  </a:lnTo>
                  <a:lnTo>
                    <a:pt x="6275" y="7682"/>
                  </a:lnTo>
                  <a:lnTo>
                    <a:pt x="6267" y="7696"/>
                  </a:lnTo>
                  <a:lnTo>
                    <a:pt x="6217" y="7682"/>
                  </a:lnTo>
                  <a:lnTo>
                    <a:pt x="6198" y="7682"/>
                  </a:lnTo>
                  <a:lnTo>
                    <a:pt x="6198" y="7696"/>
                  </a:lnTo>
                  <a:lnTo>
                    <a:pt x="6203" y="7711"/>
                  </a:lnTo>
                  <a:lnTo>
                    <a:pt x="6207" y="7724"/>
                  </a:lnTo>
                  <a:lnTo>
                    <a:pt x="6207" y="7730"/>
                  </a:lnTo>
                  <a:lnTo>
                    <a:pt x="6205" y="7736"/>
                  </a:lnTo>
                  <a:lnTo>
                    <a:pt x="6202" y="7740"/>
                  </a:lnTo>
                  <a:lnTo>
                    <a:pt x="6198" y="7743"/>
                  </a:lnTo>
                  <a:lnTo>
                    <a:pt x="6187" y="7750"/>
                  </a:lnTo>
                  <a:lnTo>
                    <a:pt x="6177" y="7755"/>
                  </a:lnTo>
                  <a:lnTo>
                    <a:pt x="6169" y="7737"/>
                  </a:lnTo>
                  <a:lnTo>
                    <a:pt x="6161" y="7721"/>
                  </a:lnTo>
                  <a:lnTo>
                    <a:pt x="6156" y="7714"/>
                  </a:lnTo>
                  <a:lnTo>
                    <a:pt x="6150" y="7708"/>
                  </a:lnTo>
                  <a:lnTo>
                    <a:pt x="6143" y="7702"/>
                  </a:lnTo>
                  <a:lnTo>
                    <a:pt x="6135" y="7698"/>
                  </a:lnTo>
                  <a:lnTo>
                    <a:pt x="6097" y="7715"/>
                  </a:lnTo>
                  <a:lnTo>
                    <a:pt x="6090" y="7713"/>
                  </a:lnTo>
                  <a:lnTo>
                    <a:pt x="6085" y="7711"/>
                  </a:lnTo>
                  <a:lnTo>
                    <a:pt x="6079" y="7709"/>
                  </a:lnTo>
                  <a:lnTo>
                    <a:pt x="6073" y="7708"/>
                  </a:lnTo>
                  <a:lnTo>
                    <a:pt x="6070" y="7708"/>
                  </a:lnTo>
                  <a:lnTo>
                    <a:pt x="6068" y="7709"/>
                  </a:lnTo>
                  <a:lnTo>
                    <a:pt x="6066" y="7710"/>
                  </a:lnTo>
                  <a:lnTo>
                    <a:pt x="6064" y="7712"/>
                  </a:lnTo>
                  <a:lnTo>
                    <a:pt x="6062" y="7716"/>
                  </a:lnTo>
                  <a:lnTo>
                    <a:pt x="6059" y="7721"/>
                  </a:lnTo>
                  <a:lnTo>
                    <a:pt x="6056" y="7733"/>
                  </a:lnTo>
                  <a:lnTo>
                    <a:pt x="6054" y="7746"/>
                  </a:lnTo>
                  <a:lnTo>
                    <a:pt x="6051" y="7752"/>
                  </a:lnTo>
                  <a:lnTo>
                    <a:pt x="6048" y="7758"/>
                  </a:lnTo>
                  <a:lnTo>
                    <a:pt x="6044" y="7763"/>
                  </a:lnTo>
                  <a:lnTo>
                    <a:pt x="6039" y="7769"/>
                  </a:lnTo>
                  <a:lnTo>
                    <a:pt x="6034" y="7772"/>
                  </a:lnTo>
                  <a:lnTo>
                    <a:pt x="6028" y="7776"/>
                  </a:lnTo>
                  <a:lnTo>
                    <a:pt x="6021" y="7779"/>
                  </a:lnTo>
                  <a:lnTo>
                    <a:pt x="6014" y="7781"/>
                  </a:lnTo>
                  <a:lnTo>
                    <a:pt x="6013" y="7776"/>
                  </a:lnTo>
                  <a:lnTo>
                    <a:pt x="6012" y="7770"/>
                  </a:lnTo>
                  <a:lnTo>
                    <a:pt x="6012" y="7763"/>
                  </a:lnTo>
                  <a:lnTo>
                    <a:pt x="6014" y="7758"/>
                  </a:lnTo>
                  <a:lnTo>
                    <a:pt x="6015" y="7753"/>
                  </a:lnTo>
                  <a:lnTo>
                    <a:pt x="6017" y="7748"/>
                  </a:lnTo>
                  <a:lnTo>
                    <a:pt x="6020" y="7743"/>
                  </a:lnTo>
                  <a:lnTo>
                    <a:pt x="6021" y="7738"/>
                  </a:lnTo>
                  <a:lnTo>
                    <a:pt x="6023" y="7732"/>
                  </a:lnTo>
                  <a:lnTo>
                    <a:pt x="6023" y="7726"/>
                  </a:lnTo>
                  <a:lnTo>
                    <a:pt x="6023" y="7682"/>
                  </a:lnTo>
                  <a:lnTo>
                    <a:pt x="6012" y="7611"/>
                  </a:lnTo>
                  <a:lnTo>
                    <a:pt x="6001" y="7621"/>
                  </a:lnTo>
                  <a:lnTo>
                    <a:pt x="5989" y="7630"/>
                  </a:lnTo>
                  <a:lnTo>
                    <a:pt x="5979" y="7636"/>
                  </a:lnTo>
                  <a:lnTo>
                    <a:pt x="5968" y="7643"/>
                  </a:lnTo>
                  <a:lnTo>
                    <a:pt x="5956" y="7648"/>
                  </a:lnTo>
                  <a:lnTo>
                    <a:pt x="5945" y="7652"/>
                  </a:lnTo>
                  <a:lnTo>
                    <a:pt x="5933" y="7656"/>
                  </a:lnTo>
                  <a:lnTo>
                    <a:pt x="5921" y="7659"/>
                  </a:lnTo>
                  <a:lnTo>
                    <a:pt x="5898" y="7666"/>
                  </a:lnTo>
                  <a:lnTo>
                    <a:pt x="5873" y="7673"/>
                  </a:lnTo>
                  <a:lnTo>
                    <a:pt x="5861" y="7678"/>
                  </a:lnTo>
                  <a:lnTo>
                    <a:pt x="5848" y="7683"/>
                  </a:lnTo>
                  <a:lnTo>
                    <a:pt x="5836" y="7689"/>
                  </a:lnTo>
                  <a:lnTo>
                    <a:pt x="5823" y="7696"/>
                  </a:lnTo>
                  <a:lnTo>
                    <a:pt x="5804" y="7706"/>
                  </a:lnTo>
                  <a:lnTo>
                    <a:pt x="5785" y="7713"/>
                  </a:lnTo>
                  <a:lnTo>
                    <a:pt x="5777" y="7718"/>
                  </a:lnTo>
                  <a:lnTo>
                    <a:pt x="5770" y="7723"/>
                  </a:lnTo>
                  <a:lnTo>
                    <a:pt x="5768" y="7727"/>
                  </a:lnTo>
                  <a:lnTo>
                    <a:pt x="5765" y="7731"/>
                  </a:lnTo>
                  <a:lnTo>
                    <a:pt x="5764" y="7736"/>
                  </a:lnTo>
                  <a:lnTo>
                    <a:pt x="5761" y="7741"/>
                  </a:lnTo>
                  <a:lnTo>
                    <a:pt x="5776" y="7836"/>
                  </a:lnTo>
                  <a:lnTo>
                    <a:pt x="5774" y="7846"/>
                  </a:lnTo>
                  <a:lnTo>
                    <a:pt x="5770" y="7855"/>
                  </a:lnTo>
                  <a:lnTo>
                    <a:pt x="5765" y="7863"/>
                  </a:lnTo>
                  <a:lnTo>
                    <a:pt x="5759" y="7871"/>
                  </a:lnTo>
                  <a:lnTo>
                    <a:pt x="5754" y="7878"/>
                  </a:lnTo>
                  <a:lnTo>
                    <a:pt x="5749" y="7886"/>
                  </a:lnTo>
                  <a:lnTo>
                    <a:pt x="5748" y="7891"/>
                  </a:lnTo>
                  <a:lnTo>
                    <a:pt x="5747" y="7896"/>
                  </a:lnTo>
                  <a:lnTo>
                    <a:pt x="5746" y="7901"/>
                  </a:lnTo>
                  <a:lnTo>
                    <a:pt x="5745" y="7906"/>
                  </a:lnTo>
                  <a:lnTo>
                    <a:pt x="5746" y="7915"/>
                  </a:lnTo>
                  <a:lnTo>
                    <a:pt x="5749" y="7922"/>
                  </a:lnTo>
                  <a:lnTo>
                    <a:pt x="5753" y="7929"/>
                  </a:lnTo>
                  <a:lnTo>
                    <a:pt x="5758" y="7935"/>
                  </a:lnTo>
                  <a:lnTo>
                    <a:pt x="5771" y="7945"/>
                  </a:lnTo>
                  <a:lnTo>
                    <a:pt x="5785" y="7954"/>
                  </a:lnTo>
                  <a:lnTo>
                    <a:pt x="5801" y="7964"/>
                  </a:lnTo>
                  <a:lnTo>
                    <a:pt x="5813" y="7974"/>
                  </a:lnTo>
                  <a:lnTo>
                    <a:pt x="5818" y="7980"/>
                  </a:lnTo>
                  <a:lnTo>
                    <a:pt x="5822" y="7986"/>
                  </a:lnTo>
                  <a:lnTo>
                    <a:pt x="5824" y="7995"/>
                  </a:lnTo>
                  <a:lnTo>
                    <a:pt x="5825" y="8003"/>
                  </a:lnTo>
                  <a:lnTo>
                    <a:pt x="5825" y="8011"/>
                  </a:lnTo>
                  <a:lnTo>
                    <a:pt x="5824" y="8018"/>
                  </a:lnTo>
                  <a:lnTo>
                    <a:pt x="5822" y="8026"/>
                  </a:lnTo>
                  <a:lnTo>
                    <a:pt x="5820" y="8033"/>
                  </a:lnTo>
                  <a:lnTo>
                    <a:pt x="5814" y="8045"/>
                  </a:lnTo>
                  <a:lnTo>
                    <a:pt x="5807" y="8057"/>
                  </a:lnTo>
                  <a:lnTo>
                    <a:pt x="5799" y="8069"/>
                  </a:lnTo>
                  <a:lnTo>
                    <a:pt x="5791" y="8080"/>
                  </a:lnTo>
                  <a:lnTo>
                    <a:pt x="5784" y="8094"/>
                  </a:lnTo>
                  <a:lnTo>
                    <a:pt x="5778" y="8109"/>
                  </a:lnTo>
                  <a:lnTo>
                    <a:pt x="5775" y="8122"/>
                  </a:lnTo>
                  <a:lnTo>
                    <a:pt x="5773" y="8134"/>
                  </a:lnTo>
                  <a:lnTo>
                    <a:pt x="5772" y="8147"/>
                  </a:lnTo>
                  <a:lnTo>
                    <a:pt x="5772" y="8158"/>
                  </a:lnTo>
                  <a:lnTo>
                    <a:pt x="5771" y="8169"/>
                  </a:lnTo>
                  <a:lnTo>
                    <a:pt x="5770" y="8181"/>
                  </a:lnTo>
                  <a:lnTo>
                    <a:pt x="5768" y="8193"/>
                  </a:lnTo>
                  <a:lnTo>
                    <a:pt x="5765" y="8205"/>
                  </a:lnTo>
                  <a:lnTo>
                    <a:pt x="5761" y="8214"/>
                  </a:lnTo>
                  <a:lnTo>
                    <a:pt x="5758" y="8220"/>
                  </a:lnTo>
                  <a:lnTo>
                    <a:pt x="5754" y="8226"/>
                  </a:lnTo>
                  <a:lnTo>
                    <a:pt x="5750" y="8232"/>
                  </a:lnTo>
                  <a:lnTo>
                    <a:pt x="5741" y="8242"/>
                  </a:lnTo>
                  <a:lnTo>
                    <a:pt x="5731" y="8250"/>
                  </a:lnTo>
                  <a:lnTo>
                    <a:pt x="5719" y="8257"/>
                  </a:lnTo>
                  <a:lnTo>
                    <a:pt x="5708" y="8263"/>
                  </a:lnTo>
                  <a:lnTo>
                    <a:pt x="5694" y="8268"/>
                  </a:lnTo>
                  <a:lnTo>
                    <a:pt x="5681" y="8274"/>
                  </a:lnTo>
                  <a:lnTo>
                    <a:pt x="5654" y="8283"/>
                  </a:lnTo>
                  <a:lnTo>
                    <a:pt x="5628" y="8295"/>
                  </a:lnTo>
                  <a:lnTo>
                    <a:pt x="5615" y="8302"/>
                  </a:lnTo>
                  <a:lnTo>
                    <a:pt x="5604" y="8311"/>
                  </a:lnTo>
                  <a:lnTo>
                    <a:pt x="5597" y="8316"/>
                  </a:lnTo>
                  <a:lnTo>
                    <a:pt x="5592" y="8321"/>
                  </a:lnTo>
                  <a:lnTo>
                    <a:pt x="5587" y="8327"/>
                  </a:lnTo>
                  <a:lnTo>
                    <a:pt x="5583" y="8333"/>
                  </a:lnTo>
                  <a:lnTo>
                    <a:pt x="5579" y="8340"/>
                  </a:lnTo>
                  <a:lnTo>
                    <a:pt x="5577" y="8346"/>
                  </a:lnTo>
                  <a:lnTo>
                    <a:pt x="5575" y="8351"/>
                  </a:lnTo>
                  <a:lnTo>
                    <a:pt x="5574" y="8357"/>
                  </a:lnTo>
                  <a:lnTo>
                    <a:pt x="5575" y="8370"/>
                  </a:lnTo>
                  <a:lnTo>
                    <a:pt x="5576" y="8382"/>
                  </a:lnTo>
                  <a:lnTo>
                    <a:pt x="5579" y="8394"/>
                  </a:lnTo>
                  <a:lnTo>
                    <a:pt x="5580" y="8408"/>
                  </a:lnTo>
                  <a:lnTo>
                    <a:pt x="5581" y="8414"/>
                  </a:lnTo>
                  <a:lnTo>
                    <a:pt x="5581" y="8421"/>
                  </a:lnTo>
                  <a:lnTo>
                    <a:pt x="5580" y="8427"/>
                  </a:lnTo>
                  <a:lnTo>
                    <a:pt x="5578" y="8435"/>
                  </a:lnTo>
                  <a:lnTo>
                    <a:pt x="5576" y="8442"/>
                  </a:lnTo>
                  <a:lnTo>
                    <a:pt x="5573" y="8449"/>
                  </a:lnTo>
                  <a:lnTo>
                    <a:pt x="5570" y="8455"/>
                  </a:lnTo>
                  <a:lnTo>
                    <a:pt x="5566" y="8460"/>
                  </a:lnTo>
                  <a:lnTo>
                    <a:pt x="5557" y="8471"/>
                  </a:lnTo>
                  <a:lnTo>
                    <a:pt x="5548" y="8479"/>
                  </a:lnTo>
                  <a:lnTo>
                    <a:pt x="5527" y="8496"/>
                  </a:lnTo>
                  <a:lnTo>
                    <a:pt x="5505" y="8515"/>
                  </a:lnTo>
                  <a:lnTo>
                    <a:pt x="5486" y="8535"/>
                  </a:lnTo>
                  <a:lnTo>
                    <a:pt x="5470" y="8551"/>
                  </a:lnTo>
                  <a:lnTo>
                    <a:pt x="5460" y="8560"/>
                  </a:lnTo>
                  <a:lnTo>
                    <a:pt x="5451" y="8566"/>
                  </a:lnTo>
                  <a:lnTo>
                    <a:pt x="5440" y="8573"/>
                  </a:lnTo>
                  <a:lnTo>
                    <a:pt x="5427" y="8579"/>
                  </a:lnTo>
                  <a:lnTo>
                    <a:pt x="5411" y="8585"/>
                  </a:lnTo>
                  <a:lnTo>
                    <a:pt x="5395" y="8593"/>
                  </a:lnTo>
                  <a:lnTo>
                    <a:pt x="5381" y="8600"/>
                  </a:lnTo>
                  <a:lnTo>
                    <a:pt x="5368" y="8608"/>
                  </a:lnTo>
                  <a:lnTo>
                    <a:pt x="5361" y="8613"/>
                  </a:lnTo>
                  <a:lnTo>
                    <a:pt x="5355" y="8618"/>
                  </a:lnTo>
                  <a:lnTo>
                    <a:pt x="5350" y="8624"/>
                  </a:lnTo>
                  <a:lnTo>
                    <a:pt x="5346" y="8630"/>
                  </a:lnTo>
                  <a:lnTo>
                    <a:pt x="5342" y="8636"/>
                  </a:lnTo>
                  <a:lnTo>
                    <a:pt x="5339" y="8643"/>
                  </a:lnTo>
                  <a:lnTo>
                    <a:pt x="5337" y="8650"/>
                  </a:lnTo>
                  <a:lnTo>
                    <a:pt x="5336" y="8659"/>
                  </a:lnTo>
                  <a:lnTo>
                    <a:pt x="5346" y="8728"/>
                  </a:lnTo>
                  <a:lnTo>
                    <a:pt x="5346" y="8840"/>
                  </a:lnTo>
                  <a:lnTo>
                    <a:pt x="5336" y="8890"/>
                  </a:lnTo>
                  <a:lnTo>
                    <a:pt x="5330" y="8887"/>
                  </a:lnTo>
                  <a:lnTo>
                    <a:pt x="5326" y="8883"/>
                  </a:lnTo>
                  <a:lnTo>
                    <a:pt x="5322" y="8880"/>
                  </a:lnTo>
                  <a:lnTo>
                    <a:pt x="5316" y="8879"/>
                  </a:lnTo>
                  <a:lnTo>
                    <a:pt x="5313" y="8881"/>
                  </a:lnTo>
                  <a:lnTo>
                    <a:pt x="5309" y="8885"/>
                  </a:lnTo>
                  <a:lnTo>
                    <a:pt x="5306" y="8889"/>
                  </a:lnTo>
                  <a:lnTo>
                    <a:pt x="5303" y="8893"/>
                  </a:lnTo>
                  <a:lnTo>
                    <a:pt x="5296" y="8896"/>
                  </a:lnTo>
                  <a:lnTo>
                    <a:pt x="5292" y="8900"/>
                  </a:lnTo>
                  <a:lnTo>
                    <a:pt x="5289" y="8902"/>
                  </a:lnTo>
                  <a:lnTo>
                    <a:pt x="5287" y="8903"/>
                  </a:lnTo>
                  <a:lnTo>
                    <a:pt x="5284" y="8904"/>
                  </a:lnTo>
                  <a:lnTo>
                    <a:pt x="5281" y="8904"/>
                  </a:lnTo>
                  <a:lnTo>
                    <a:pt x="5267" y="8904"/>
                  </a:lnTo>
                  <a:lnTo>
                    <a:pt x="5254" y="8902"/>
                  </a:lnTo>
                  <a:lnTo>
                    <a:pt x="5243" y="8900"/>
                  </a:lnTo>
                  <a:lnTo>
                    <a:pt x="5231" y="8897"/>
                  </a:lnTo>
                  <a:lnTo>
                    <a:pt x="5220" y="8895"/>
                  </a:lnTo>
                  <a:lnTo>
                    <a:pt x="5209" y="8893"/>
                  </a:lnTo>
                  <a:lnTo>
                    <a:pt x="5195" y="8891"/>
                  </a:lnTo>
                  <a:lnTo>
                    <a:pt x="5182" y="8890"/>
                  </a:lnTo>
                  <a:lnTo>
                    <a:pt x="5172" y="8891"/>
                  </a:lnTo>
                  <a:lnTo>
                    <a:pt x="5161" y="8892"/>
                  </a:lnTo>
                  <a:lnTo>
                    <a:pt x="5152" y="8893"/>
                  </a:lnTo>
                  <a:lnTo>
                    <a:pt x="5143" y="8896"/>
                  </a:lnTo>
                  <a:lnTo>
                    <a:pt x="5134" y="8899"/>
                  </a:lnTo>
                  <a:lnTo>
                    <a:pt x="5126" y="8902"/>
                  </a:lnTo>
                  <a:lnTo>
                    <a:pt x="5118" y="8907"/>
                  </a:lnTo>
                  <a:lnTo>
                    <a:pt x="5110" y="8912"/>
                  </a:lnTo>
                  <a:lnTo>
                    <a:pt x="5102" y="8917"/>
                  </a:lnTo>
                  <a:lnTo>
                    <a:pt x="5095" y="8923"/>
                  </a:lnTo>
                  <a:lnTo>
                    <a:pt x="5088" y="8929"/>
                  </a:lnTo>
                  <a:lnTo>
                    <a:pt x="5082" y="8936"/>
                  </a:lnTo>
                  <a:lnTo>
                    <a:pt x="5069" y="8952"/>
                  </a:lnTo>
                  <a:lnTo>
                    <a:pt x="5057" y="8968"/>
                  </a:lnTo>
                  <a:lnTo>
                    <a:pt x="5063" y="8977"/>
                  </a:lnTo>
                  <a:lnTo>
                    <a:pt x="5071" y="8983"/>
                  </a:lnTo>
                  <a:lnTo>
                    <a:pt x="5078" y="8989"/>
                  </a:lnTo>
                  <a:lnTo>
                    <a:pt x="5086" y="8994"/>
                  </a:lnTo>
                  <a:lnTo>
                    <a:pt x="5093" y="8999"/>
                  </a:lnTo>
                  <a:lnTo>
                    <a:pt x="5101" y="9005"/>
                  </a:lnTo>
                  <a:lnTo>
                    <a:pt x="5109" y="9011"/>
                  </a:lnTo>
                  <a:lnTo>
                    <a:pt x="5116" y="9018"/>
                  </a:lnTo>
                  <a:lnTo>
                    <a:pt x="5123" y="9027"/>
                  </a:lnTo>
                  <a:lnTo>
                    <a:pt x="5127" y="9037"/>
                  </a:lnTo>
                  <a:lnTo>
                    <a:pt x="5131" y="9045"/>
                  </a:lnTo>
                  <a:lnTo>
                    <a:pt x="5134" y="9054"/>
                  </a:lnTo>
                  <a:lnTo>
                    <a:pt x="5138" y="9065"/>
                  </a:lnTo>
                  <a:lnTo>
                    <a:pt x="5142" y="9074"/>
                  </a:lnTo>
                  <a:lnTo>
                    <a:pt x="5146" y="9083"/>
                  </a:lnTo>
                  <a:lnTo>
                    <a:pt x="5151" y="9093"/>
                  </a:lnTo>
                  <a:lnTo>
                    <a:pt x="5158" y="9104"/>
                  </a:lnTo>
                  <a:lnTo>
                    <a:pt x="5165" y="9113"/>
                  </a:lnTo>
                  <a:lnTo>
                    <a:pt x="5174" y="9121"/>
                  </a:lnTo>
                  <a:lnTo>
                    <a:pt x="5181" y="9129"/>
                  </a:lnTo>
                  <a:lnTo>
                    <a:pt x="5189" y="9136"/>
                  </a:lnTo>
                  <a:lnTo>
                    <a:pt x="5197" y="9142"/>
                  </a:lnTo>
                  <a:lnTo>
                    <a:pt x="5207" y="9148"/>
                  </a:lnTo>
                  <a:lnTo>
                    <a:pt x="5215" y="9153"/>
                  </a:lnTo>
                  <a:lnTo>
                    <a:pt x="5254" y="9172"/>
                  </a:lnTo>
                  <a:lnTo>
                    <a:pt x="5297" y="9193"/>
                  </a:lnTo>
                  <a:lnTo>
                    <a:pt x="5311" y="9200"/>
                  </a:lnTo>
                  <a:lnTo>
                    <a:pt x="5323" y="9207"/>
                  </a:lnTo>
                  <a:lnTo>
                    <a:pt x="5335" y="9214"/>
                  </a:lnTo>
                  <a:lnTo>
                    <a:pt x="5346" y="9223"/>
                  </a:lnTo>
                  <a:lnTo>
                    <a:pt x="5366" y="9238"/>
                  </a:lnTo>
                  <a:lnTo>
                    <a:pt x="5386" y="9253"/>
                  </a:lnTo>
                  <a:lnTo>
                    <a:pt x="5396" y="9261"/>
                  </a:lnTo>
                  <a:lnTo>
                    <a:pt x="5407" y="9267"/>
                  </a:lnTo>
                  <a:lnTo>
                    <a:pt x="5418" y="9272"/>
                  </a:lnTo>
                  <a:lnTo>
                    <a:pt x="5428" y="9277"/>
                  </a:lnTo>
                  <a:lnTo>
                    <a:pt x="5441" y="9281"/>
                  </a:lnTo>
                  <a:lnTo>
                    <a:pt x="5453" y="9284"/>
                  </a:lnTo>
                  <a:lnTo>
                    <a:pt x="5467" y="9287"/>
                  </a:lnTo>
                  <a:lnTo>
                    <a:pt x="5481" y="9287"/>
                  </a:lnTo>
                  <a:lnTo>
                    <a:pt x="5496" y="9287"/>
                  </a:lnTo>
                  <a:lnTo>
                    <a:pt x="5510" y="9283"/>
                  </a:lnTo>
                  <a:lnTo>
                    <a:pt x="5523" y="9280"/>
                  </a:lnTo>
                  <a:lnTo>
                    <a:pt x="5536" y="9277"/>
                  </a:lnTo>
                  <a:lnTo>
                    <a:pt x="5548" y="9274"/>
                  </a:lnTo>
                  <a:lnTo>
                    <a:pt x="5561" y="9272"/>
                  </a:lnTo>
                  <a:lnTo>
                    <a:pt x="5575" y="9271"/>
                  </a:lnTo>
                  <a:lnTo>
                    <a:pt x="5590" y="9273"/>
                  </a:lnTo>
                  <a:lnTo>
                    <a:pt x="5581" y="9257"/>
                  </a:lnTo>
                  <a:lnTo>
                    <a:pt x="5572" y="9243"/>
                  </a:lnTo>
                  <a:lnTo>
                    <a:pt x="5568" y="9236"/>
                  </a:lnTo>
                  <a:lnTo>
                    <a:pt x="5564" y="9229"/>
                  </a:lnTo>
                  <a:lnTo>
                    <a:pt x="5562" y="9220"/>
                  </a:lnTo>
                  <a:lnTo>
                    <a:pt x="5561" y="9211"/>
                  </a:lnTo>
                  <a:lnTo>
                    <a:pt x="5562" y="9206"/>
                  </a:lnTo>
                  <a:lnTo>
                    <a:pt x="5564" y="9201"/>
                  </a:lnTo>
                  <a:lnTo>
                    <a:pt x="5567" y="9196"/>
                  </a:lnTo>
                  <a:lnTo>
                    <a:pt x="5571" y="9192"/>
                  </a:lnTo>
                  <a:lnTo>
                    <a:pt x="5578" y="9183"/>
                  </a:lnTo>
                  <a:lnTo>
                    <a:pt x="5585" y="9174"/>
                  </a:lnTo>
                  <a:lnTo>
                    <a:pt x="5609" y="9193"/>
                  </a:lnTo>
                  <a:lnTo>
                    <a:pt x="5630" y="9209"/>
                  </a:lnTo>
                  <a:lnTo>
                    <a:pt x="5642" y="9215"/>
                  </a:lnTo>
                  <a:lnTo>
                    <a:pt x="5653" y="9221"/>
                  </a:lnTo>
                  <a:lnTo>
                    <a:pt x="5659" y="9223"/>
                  </a:lnTo>
                  <a:lnTo>
                    <a:pt x="5667" y="9225"/>
                  </a:lnTo>
                  <a:lnTo>
                    <a:pt x="5674" y="9226"/>
                  </a:lnTo>
                  <a:lnTo>
                    <a:pt x="5682" y="9226"/>
                  </a:lnTo>
                  <a:lnTo>
                    <a:pt x="5688" y="9225"/>
                  </a:lnTo>
                  <a:lnTo>
                    <a:pt x="5694" y="9224"/>
                  </a:lnTo>
                  <a:lnTo>
                    <a:pt x="5701" y="9220"/>
                  </a:lnTo>
                  <a:lnTo>
                    <a:pt x="5706" y="9216"/>
                  </a:lnTo>
                  <a:lnTo>
                    <a:pt x="5710" y="9211"/>
                  </a:lnTo>
                  <a:lnTo>
                    <a:pt x="5714" y="9206"/>
                  </a:lnTo>
                  <a:lnTo>
                    <a:pt x="5717" y="9200"/>
                  </a:lnTo>
                  <a:lnTo>
                    <a:pt x="5719" y="9193"/>
                  </a:lnTo>
                  <a:lnTo>
                    <a:pt x="5724" y="9181"/>
                  </a:lnTo>
                  <a:lnTo>
                    <a:pt x="5729" y="9171"/>
                  </a:lnTo>
                  <a:lnTo>
                    <a:pt x="5736" y="9161"/>
                  </a:lnTo>
                  <a:lnTo>
                    <a:pt x="5743" y="9152"/>
                  </a:lnTo>
                  <a:lnTo>
                    <a:pt x="5758" y="9137"/>
                  </a:lnTo>
                  <a:lnTo>
                    <a:pt x="5776" y="9119"/>
                  </a:lnTo>
                  <a:lnTo>
                    <a:pt x="5789" y="9106"/>
                  </a:lnTo>
                  <a:lnTo>
                    <a:pt x="5803" y="9093"/>
                  </a:lnTo>
                  <a:lnTo>
                    <a:pt x="5810" y="9089"/>
                  </a:lnTo>
                  <a:lnTo>
                    <a:pt x="5817" y="9085"/>
                  </a:lnTo>
                  <a:lnTo>
                    <a:pt x="5825" y="9082"/>
                  </a:lnTo>
                  <a:lnTo>
                    <a:pt x="5835" y="9082"/>
                  </a:lnTo>
                  <a:lnTo>
                    <a:pt x="5846" y="9082"/>
                  </a:lnTo>
                  <a:lnTo>
                    <a:pt x="5855" y="9084"/>
                  </a:lnTo>
                  <a:lnTo>
                    <a:pt x="5865" y="9087"/>
                  </a:lnTo>
                  <a:lnTo>
                    <a:pt x="5873" y="9091"/>
                  </a:lnTo>
                  <a:lnTo>
                    <a:pt x="5881" y="9094"/>
                  </a:lnTo>
                  <a:lnTo>
                    <a:pt x="5890" y="9098"/>
                  </a:lnTo>
                  <a:lnTo>
                    <a:pt x="5900" y="9100"/>
                  </a:lnTo>
                  <a:lnTo>
                    <a:pt x="5910" y="9101"/>
                  </a:lnTo>
                  <a:lnTo>
                    <a:pt x="5915" y="9101"/>
                  </a:lnTo>
                  <a:lnTo>
                    <a:pt x="5919" y="9100"/>
                  </a:lnTo>
                  <a:lnTo>
                    <a:pt x="5923" y="9098"/>
                  </a:lnTo>
                  <a:lnTo>
                    <a:pt x="5927" y="9096"/>
                  </a:lnTo>
                  <a:lnTo>
                    <a:pt x="5935" y="9091"/>
                  </a:lnTo>
                  <a:lnTo>
                    <a:pt x="5941" y="9085"/>
                  </a:lnTo>
                  <a:lnTo>
                    <a:pt x="5947" y="9079"/>
                  </a:lnTo>
                  <a:lnTo>
                    <a:pt x="5953" y="9073"/>
                  </a:lnTo>
                  <a:lnTo>
                    <a:pt x="5960" y="9068"/>
                  </a:lnTo>
                  <a:lnTo>
                    <a:pt x="5970" y="9062"/>
                  </a:lnTo>
                  <a:lnTo>
                    <a:pt x="5993" y="9054"/>
                  </a:lnTo>
                  <a:lnTo>
                    <a:pt x="6016" y="9048"/>
                  </a:lnTo>
                  <a:lnTo>
                    <a:pt x="6037" y="9043"/>
                  </a:lnTo>
                  <a:lnTo>
                    <a:pt x="6058" y="9040"/>
                  </a:lnTo>
                  <a:lnTo>
                    <a:pt x="6080" y="9037"/>
                  </a:lnTo>
                  <a:lnTo>
                    <a:pt x="6102" y="9036"/>
                  </a:lnTo>
                  <a:lnTo>
                    <a:pt x="6125" y="9035"/>
                  </a:lnTo>
                  <a:lnTo>
                    <a:pt x="6151" y="9035"/>
                  </a:lnTo>
                  <a:lnTo>
                    <a:pt x="6162" y="9035"/>
                  </a:lnTo>
                  <a:lnTo>
                    <a:pt x="6171" y="9036"/>
                  </a:lnTo>
                  <a:lnTo>
                    <a:pt x="6180" y="9038"/>
                  </a:lnTo>
                  <a:lnTo>
                    <a:pt x="6189" y="9040"/>
                  </a:lnTo>
                  <a:lnTo>
                    <a:pt x="6198" y="9043"/>
                  </a:lnTo>
                  <a:lnTo>
                    <a:pt x="6206" y="9046"/>
                  </a:lnTo>
                  <a:lnTo>
                    <a:pt x="6214" y="9050"/>
                  </a:lnTo>
                  <a:lnTo>
                    <a:pt x="6221" y="9054"/>
                  </a:lnTo>
                  <a:lnTo>
                    <a:pt x="6251" y="9076"/>
                  </a:lnTo>
                  <a:lnTo>
                    <a:pt x="6283" y="9101"/>
                  </a:lnTo>
                  <a:lnTo>
                    <a:pt x="6297" y="9111"/>
                  </a:lnTo>
                  <a:lnTo>
                    <a:pt x="6309" y="9122"/>
                  </a:lnTo>
                  <a:lnTo>
                    <a:pt x="6320" y="9133"/>
                  </a:lnTo>
                  <a:lnTo>
                    <a:pt x="6332" y="9143"/>
                  </a:lnTo>
                  <a:lnTo>
                    <a:pt x="6342" y="9154"/>
                  </a:lnTo>
                  <a:lnTo>
                    <a:pt x="6351" y="9166"/>
                  </a:lnTo>
                  <a:lnTo>
                    <a:pt x="6360" y="9177"/>
                  </a:lnTo>
                  <a:lnTo>
                    <a:pt x="6368" y="9189"/>
                  </a:lnTo>
                  <a:lnTo>
                    <a:pt x="6375" y="9202"/>
                  </a:lnTo>
                  <a:lnTo>
                    <a:pt x="6382" y="9214"/>
                  </a:lnTo>
                  <a:lnTo>
                    <a:pt x="6389" y="9228"/>
                  </a:lnTo>
                  <a:lnTo>
                    <a:pt x="6396" y="9242"/>
                  </a:lnTo>
                  <a:lnTo>
                    <a:pt x="6407" y="9271"/>
                  </a:lnTo>
                  <a:lnTo>
                    <a:pt x="6418" y="9304"/>
                  </a:lnTo>
                  <a:lnTo>
                    <a:pt x="6429" y="9301"/>
                  </a:lnTo>
                  <a:lnTo>
                    <a:pt x="6438" y="9298"/>
                  </a:lnTo>
                  <a:lnTo>
                    <a:pt x="6442" y="9296"/>
                  </a:lnTo>
                  <a:lnTo>
                    <a:pt x="6444" y="9293"/>
                  </a:lnTo>
                  <a:lnTo>
                    <a:pt x="6446" y="9290"/>
                  </a:lnTo>
                  <a:lnTo>
                    <a:pt x="6447" y="9284"/>
                  </a:lnTo>
                  <a:lnTo>
                    <a:pt x="6447" y="9268"/>
                  </a:lnTo>
                  <a:lnTo>
                    <a:pt x="6447" y="9257"/>
                  </a:lnTo>
                  <a:lnTo>
                    <a:pt x="6450" y="9246"/>
                  </a:lnTo>
                  <a:lnTo>
                    <a:pt x="6453" y="9237"/>
                  </a:lnTo>
                  <a:lnTo>
                    <a:pt x="6458" y="9228"/>
                  </a:lnTo>
                  <a:lnTo>
                    <a:pt x="6462" y="9218"/>
                  </a:lnTo>
                  <a:lnTo>
                    <a:pt x="6465" y="9208"/>
                  </a:lnTo>
                  <a:lnTo>
                    <a:pt x="6467" y="9198"/>
                  </a:lnTo>
                  <a:lnTo>
                    <a:pt x="6468" y="9186"/>
                  </a:lnTo>
                  <a:lnTo>
                    <a:pt x="6468" y="9164"/>
                  </a:lnTo>
                  <a:lnTo>
                    <a:pt x="6467" y="9147"/>
                  </a:lnTo>
                  <a:lnTo>
                    <a:pt x="6464" y="9133"/>
                  </a:lnTo>
                  <a:lnTo>
                    <a:pt x="6461" y="9118"/>
                  </a:lnTo>
                  <a:lnTo>
                    <a:pt x="6460" y="9102"/>
                  </a:lnTo>
                  <a:lnTo>
                    <a:pt x="6460" y="9078"/>
                  </a:lnTo>
                  <a:lnTo>
                    <a:pt x="6465" y="9057"/>
                  </a:lnTo>
                  <a:lnTo>
                    <a:pt x="6463" y="9038"/>
                  </a:lnTo>
                  <a:lnTo>
                    <a:pt x="6461" y="9020"/>
                  </a:lnTo>
                  <a:lnTo>
                    <a:pt x="6460" y="9012"/>
                  </a:lnTo>
                  <a:lnTo>
                    <a:pt x="6458" y="9004"/>
                  </a:lnTo>
                  <a:lnTo>
                    <a:pt x="6454" y="8994"/>
                  </a:lnTo>
                  <a:lnTo>
                    <a:pt x="6449" y="8986"/>
                  </a:lnTo>
                  <a:lnTo>
                    <a:pt x="6443" y="8994"/>
                  </a:lnTo>
                  <a:lnTo>
                    <a:pt x="6438" y="9003"/>
                  </a:lnTo>
                  <a:lnTo>
                    <a:pt x="6434" y="9011"/>
                  </a:lnTo>
                  <a:lnTo>
                    <a:pt x="6429" y="9020"/>
                  </a:lnTo>
                  <a:lnTo>
                    <a:pt x="6427" y="9015"/>
                  </a:lnTo>
                  <a:lnTo>
                    <a:pt x="6424" y="9011"/>
                  </a:lnTo>
                  <a:lnTo>
                    <a:pt x="6421" y="9009"/>
                  </a:lnTo>
                  <a:lnTo>
                    <a:pt x="6419" y="9008"/>
                  </a:lnTo>
                  <a:lnTo>
                    <a:pt x="6417" y="9007"/>
                  </a:lnTo>
                  <a:lnTo>
                    <a:pt x="6415" y="9006"/>
                  </a:lnTo>
                  <a:lnTo>
                    <a:pt x="6410" y="9007"/>
                  </a:lnTo>
                  <a:lnTo>
                    <a:pt x="6406" y="9009"/>
                  </a:lnTo>
                  <a:lnTo>
                    <a:pt x="6402" y="9012"/>
                  </a:lnTo>
                  <a:lnTo>
                    <a:pt x="6398" y="9014"/>
                  </a:lnTo>
                  <a:lnTo>
                    <a:pt x="6395" y="9004"/>
                  </a:lnTo>
                  <a:lnTo>
                    <a:pt x="6393" y="8994"/>
                  </a:lnTo>
                  <a:lnTo>
                    <a:pt x="6389" y="8986"/>
                  </a:lnTo>
                  <a:lnTo>
                    <a:pt x="6384" y="8977"/>
                  </a:lnTo>
                  <a:lnTo>
                    <a:pt x="6381" y="8979"/>
                  </a:lnTo>
                  <a:lnTo>
                    <a:pt x="6378" y="8982"/>
                  </a:lnTo>
                  <a:lnTo>
                    <a:pt x="6376" y="8984"/>
                  </a:lnTo>
                  <a:lnTo>
                    <a:pt x="6374" y="8987"/>
                  </a:lnTo>
                  <a:lnTo>
                    <a:pt x="6372" y="8993"/>
                  </a:lnTo>
                  <a:lnTo>
                    <a:pt x="6371" y="9000"/>
                  </a:lnTo>
                  <a:lnTo>
                    <a:pt x="6369" y="9008"/>
                  </a:lnTo>
                  <a:lnTo>
                    <a:pt x="6368" y="9015"/>
                  </a:lnTo>
                  <a:lnTo>
                    <a:pt x="6365" y="9022"/>
                  </a:lnTo>
                  <a:lnTo>
                    <a:pt x="6361" y="9028"/>
                  </a:lnTo>
                  <a:lnTo>
                    <a:pt x="6347" y="9010"/>
                  </a:lnTo>
                  <a:lnTo>
                    <a:pt x="6334" y="8994"/>
                  </a:lnTo>
                  <a:lnTo>
                    <a:pt x="6327" y="8987"/>
                  </a:lnTo>
                  <a:lnTo>
                    <a:pt x="6320" y="8979"/>
                  </a:lnTo>
                  <a:lnTo>
                    <a:pt x="6314" y="8970"/>
                  </a:lnTo>
                  <a:lnTo>
                    <a:pt x="6309" y="8959"/>
                  </a:lnTo>
                  <a:lnTo>
                    <a:pt x="6318" y="8961"/>
                  </a:lnTo>
                  <a:lnTo>
                    <a:pt x="6328" y="8962"/>
                  </a:lnTo>
                  <a:lnTo>
                    <a:pt x="6332" y="8962"/>
                  </a:lnTo>
                  <a:lnTo>
                    <a:pt x="6335" y="8960"/>
                  </a:lnTo>
                  <a:lnTo>
                    <a:pt x="6338" y="8958"/>
                  </a:lnTo>
                  <a:lnTo>
                    <a:pt x="6340" y="8955"/>
                  </a:lnTo>
                  <a:lnTo>
                    <a:pt x="6344" y="8949"/>
                  </a:lnTo>
                  <a:lnTo>
                    <a:pt x="6349" y="8942"/>
                  </a:lnTo>
                  <a:lnTo>
                    <a:pt x="6354" y="8934"/>
                  </a:lnTo>
                  <a:lnTo>
                    <a:pt x="6361" y="8929"/>
                  </a:lnTo>
                  <a:lnTo>
                    <a:pt x="6368" y="8925"/>
                  </a:lnTo>
                  <a:lnTo>
                    <a:pt x="6375" y="8920"/>
                  </a:lnTo>
                  <a:lnTo>
                    <a:pt x="6377" y="8905"/>
                  </a:lnTo>
                  <a:lnTo>
                    <a:pt x="6378" y="8890"/>
                  </a:lnTo>
                  <a:lnTo>
                    <a:pt x="6369" y="8890"/>
                  </a:lnTo>
                  <a:lnTo>
                    <a:pt x="6359" y="8890"/>
                  </a:lnTo>
                  <a:lnTo>
                    <a:pt x="6348" y="8888"/>
                  </a:lnTo>
                  <a:lnTo>
                    <a:pt x="6339" y="8886"/>
                  </a:lnTo>
                  <a:lnTo>
                    <a:pt x="6335" y="8885"/>
                  </a:lnTo>
                  <a:lnTo>
                    <a:pt x="6331" y="8883"/>
                  </a:lnTo>
                  <a:lnTo>
                    <a:pt x="6327" y="8881"/>
                  </a:lnTo>
                  <a:lnTo>
                    <a:pt x="6325" y="8878"/>
                  </a:lnTo>
                  <a:lnTo>
                    <a:pt x="6321" y="8875"/>
                  </a:lnTo>
                  <a:lnTo>
                    <a:pt x="6319" y="8870"/>
                  </a:lnTo>
                  <a:lnTo>
                    <a:pt x="6318" y="8866"/>
                  </a:lnTo>
                  <a:lnTo>
                    <a:pt x="6318" y="8862"/>
                  </a:lnTo>
                  <a:lnTo>
                    <a:pt x="6319" y="8851"/>
                  </a:lnTo>
                  <a:lnTo>
                    <a:pt x="6321" y="8840"/>
                  </a:lnTo>
                  <a:lnTo>
                    <a:pt x="6323" y="8831"/>
                  </a:lnTo>
                  <a:lnTo>
                    <a:pt x="6325" y="8820"/>
                  </a:lnTo>
                  <a:lnTo>
                    <a:pt x="6325" y="8753"/>
                  </a:lnTo>
                  <a:lnTo>
                    <a:pt x="6325" y="8740"/>
                  </a:lnTo>
                  <a:lnTo>
                    <a:pt x="6326" y="8728"/>
                  </a:lnTo>
                  <a:lnTo>
                    <a:pt x="6328" y="8717"/>
                  </a:lnTo>
                  <a:lnTo>
                    <a:pt x="6332" y="8706"/>
                  </a:lnTo>
                  <a:lnTo>
                    <a:pt x="6336" y="8696"/>
                  </a:lnTo>
                  <a:lnTo>
                    <a:pt x="6343" y="8687"/>
                  </a:lnTo>
                  <a:lnTo>
                    <a:pt x="6350" y="8678"/>
                  </a:lnTo>
                  <a:lnTo>
                    <a:pt x="6361" y="8671"/>
                  </a:lnTo>
                  <a:lnTo>
                    <a:pt x="6356" y="8666"/>
                  </a:lnTo>
                  <a:lnTo>
                    <a:pt x="6353" y="8661"/>
                  </a:lnTo>
                  <a:lnTo>
                    <a:pt x="6351" y="8656"/>
                  </a:lnTo>
                  <a:lnTo>
                    <a:pt x="6350" y="8649"/>
                  </a:lnTo>
                  <a:lnTo>
                    <a:pt x="6350" y="8645"/>
                  </a:lnTo>
                  <a:lnTo>
                    <a:pt x="6351" y="8641"/>
                  </a:lnTo>
                  <a:lnTo>
                    <a:pt x="6353" y="8638"/>
                  </a:lnTo>
                  <a:lnTo>
                    <a:pt x="6355" y="8634"/>
                  </a:lnTo>
                  <a:lnTo>
                    <a:pt x="6360" y="8628"/>
                  </a:lnTo>
                  <a:lnTo>
                    <a:pt x="6365" y="8620"/>
                  </a:lnTo>
                  <a:lnTo>
                    <a:pt x="6368" y="8612"/>
                  </a:lnTo>
                  <a:lnTo>
                    <a:pt x="6371" y="8605"/>
                  </a:lnTo>
                  <a:lnTo>
                    <a:pt x="6372" y="8598"/>
                  </a:lnTo>
                  <a:lnTo>
                    <a:pt x="6373" y="8591"/>
                  </a:lnTo>
                  <a:lnTo>
                    <a:pt x="6373" y="8575"/>
                  </a:lnTo>
                  <a:lnTo>
                    <a:pt x="6373" y="8559"/>
                  </a:lnTo>
                  <a:lnTo>
                    <a:pt x="6372" y="8544"/>
                  </a:lnTo>
                  <a:lnTo>
                    <a:pt x="6372" y="8530"/>
                  </a:lnTo>
                  <a:lnTo>
                    <a:pt x="6378" y="8537"/>
                  </a:lnTo>
                  <a:lnTo>
                    <a:pt x="6385" y="8543"/>
                  </a:lnTo>
                  <a:lnTo>
                    <a:pt x="6392" y="8548"/>
                  </a:lnTo>
                  <a:lnTo>
                    <a:pt x="6399" y="8553"/>
                  </a:lnTo>
                  <a:lnTo>
                    <a:pt x="6405" y="8560"/>
                  </a:lnTo>
                  <a:lnTo>
                    <a:pt x="6409" y="8566"/>
                  </a:lnTo>
                  <a:lnTo>
                    <a:pt x="6411" y="8569"/>
                  </a:lnTo>
                  <a:lnTo>
                    <a:pt x="6412" y="8573"/>
                  </a:lnTo>
                  <a:lnTo>
                    <a:pt x="6413" y="8577"/>
                  </a:lnTo>
                  <a:lnTo>
                    <a:pt x="6414" y="8582"/>
                  </a:lnTo>
                  <a:lnTo>
                    <a:pt x="6412" y="8592"/>
                  </a:lnTo>
                  <a:lnTo>
                    <a:pt x="6410" y="8601"/>
                  </a:lnTo>
                  <a:lnTo>
                    <a:pt x="6407" y="8609"/>
                  </a:lnTo>
                  <a:lnTo>
                    <a:pt x="6406" y="8619"/>
                  </a:lnTo>
                  <a:lnTo>
                    <a:pt x="6407" y="8628"/>
                  </a:lnTo>
                  <a:lnTo>
                    <a:pt x="6410" y="8636"/>
                  </a:lnTo>
                  <a:lnTo>
                    <a:pt x="6412" y="8643"/>
                  </a:lnTo>
                  <a:lnTo>
                    <a:pt x="6414" y="8652"/>
                  </a:lnTo>
                  <a:lnTo>
                    <a:pt x="6410" y="8666"/>
                  </a:lnTo>
                  <a:lnTo>
                    <a:pt x="6406" y="8678"/>
                  </a:lnTo>
                  <a:lnTo>
                    <a:pt x="6406" y="8683"/>
                  </a:lnTo>
                  <a:lnTo>
                    <a:pt x="6408" y="8688"/>
                  </a:lnTo>
                  <a:lnTo>
                    <a:pt x="6412" y="8692"/>
                  </a:lnTo>
                  <a:lnTo>
                    <a:pt x="6415" y="8695"/>
                  </a:lnTo>
                  <a:lnTo>
                    <a:pt x="6419" y="8697"/>
                  </a:lnTo>
                  <a:lnTo>
                    <a:pt x="6425" y="8701"/>
                  </a:lnTo>
                  <a:lnTo>
                    <a:pt x="6428" y="8704"/>
                  </a:lnTo>
                  <a:lnTo>
                    <a:pt x="6432" y="8708"/>
                  </a:lnTo>
                  <a:lnTo>
                    <a:pt x="6437" y="8719"/>
                  </a:lnTo>
                  <a:lnTo>
                    <a:pt x="6441" y="8729"/>
                  </a:lnTo>
                  <a:lnTo>
                    <a:pt x="6444" y="8738"/>
                  </a:lnTo>
                  <a:lnTo>
                    <a:pt x="6447" y="8748"/>
                  </a:lnTo>
                  <a:lnTo>
                    <a:pt x="6450" y="8767"/>
                  </a:lnTo>
                  <a:lnTo>
                    <a:pt x="6452" y="8790"/>
                  </a:lnTo>
                  <a:lnTo>
                    <a:pt x="6459" y="8791"/>
                  </a:lnTo>
                  <a:lnTo>
                    <a:pt x="6464" y="8791"/>
                  </a:lnTo>
                  <a:lnTo>
                    <a:pt x="6468" y="8791"/>
                  </a:lnTo>
                  <a:lnTo>
                    <a:pt x="6472" y="8790"/>
                  </a:lnTo>
                  <a:lnTo>
                    <a:pt x="6475" y="8789"/>
                  </a:lnTo>
                  <a:lnTo>
                    <a:pt x="6478" y="8787"/>
                  </a:lnTo>
                  <a:lnTo>
                    <a:pt x="6484" y="8782"/>
                  </a:lnTo>
                  <a:lnTo>
                    <a:pt x="6490" y="8776"/>
                  </a:lnTo>
                  <a:lnTo>
                    <a:pt x="6495" y="8771"/>
                  </a:lnTo>
                  <a:lnTo>
                    <a:pt x="6501" y="8766"/>
                  </a:lnTo>
                  <a:lnTo>
                    <a:pt x="6504" y="8764"/>
                  </a:lnTo>
                  <a:lnTo>
                    <a:pt x="6507" y="8763"/>
                  </a:lnTo>
                  <a:lnTo>
                    <a:pt x="6511" y="8762"/>
                  </a:lnTo>
                  <a:lnTo>
                    <a:pt x="6515" y="8762"/>
                  </a:lnTo>
                  <a:lnTo>
                    <a:pt x="6517" y="8763"/>
                  </a:lnTo>
                  <a:lnTo>
                    <a:pt x="6519" y="8764"/>
                  </a:lnTo>
                  <a:lnTo>
                    <a:pt x="6517" y="8772"/>
                  </a:lnTo>
                  <a:lnTo>
                    <a:pt x="6513" y="8778"/>
                  </a:lnTo>
                  <a:lnTo>
                    <a:pt x="6509" y="8785"/>
                  </a:lnTo>
                  <a:lnTo>
                    <a:pt x="6504" y="8790"/>
                  </a:lnTo>
                  <a:lnTo>
                    <a:pt x="6493" y="8799"/>
                  </a:lnTo>
                  <a:lnTo>
                    <a:pt x="6480" y="8809"/>
                  </a:lnTo>
                  <a:lnTo>
                    <a:pt x="6469" y="8815"/>
                  </a:lnTo>
                  <a:lnTo>
                    <a:pt x="6459" y="8819"/>
                  </a:lnTo>
                  <a:lnTo>
                    <a:pt x="6453" y="8822"/>
                  </a:lnTo>
                  <a:lnTo>
                    <a:pt x="6449" y="8825"/>
                  </a:lnTo>
                  <a:lnTo>
                    <a:pt x="6446" y="8828"/>
                  </a:lnTo>
                  <a:lnTo>
                    <a:pt x="6443" y="8834"/>
                  </a:lnTo>
                  <a:lnTo>
                    <a:pt x="6450" y="8834"/>
                  </a:lnTo>
                  <a:lnTo>
                    <a:pt x="6457" y="8833"/>
                  </a:lnTo>
                  <a:lnTo>
                    <a:pt x="6463" y="8832"/>
                  </a:lnTo>
                  <a:lnTo>
                    <a:pt x="6469" y="8830"/>
                  </a:lnTo>
                  <a:lnTo>
                    <a:pt x="6474" y="8828"/>
                  </a:lnTo>
                  <a:lnTo>
                    <a:pt x="6479" y="8825"/>
                  </a:lnTo>
                  <a:lnTo>
                    <a:pt x="6484" y="8822"/>
                  </a:lnTo>
                  <a:lnTo>
                    <a:pt x="6488" y="8818"/>
                  </a:lnTo>
                  <a:lnTo>
                    <a:pt x="6507" y="8799"/>
                  </a:lnTo>
                  <a:lnTo>
                    <a:pt x="6525" y="8777"/>
                  </a:lnTo>
                  <a:lnTo>
                    <a:pt x="6537" y="8770"/>
                  </a:lnTo>
                  <a:lnTo>
                    <a:pt x="6558" y="8759"/>
                  </a:lnTo>
                  <a:lnTo>
                    <a:pt x="6567" y="8754"/>
                  </a:lnTo>
                  <a:lnTo>
                    <a:pt x="6575" y="8750"/>
                  </a:lnTo>
                  <a:lnTo>
                    <a:pt x="6577" y="8748"/>
                  </a:lnTo>
                  <a:lnTo>
                    <a:pt x="6578" y="8746"/>
                  </a:lnTo>
                  <a:lnTo>
                    <a:pt x="6578" y="8745"/>
                  </a:lnTo>
                  <a:lnTo>
                    <a:pt x="6576" y="8745"/>
                  </a:lnTo>
                  <a:lnTo>
                    <a:pt x="6565" y="8749"/>
                  </a:lnTo>
                  <a:lnTo>
                    <a:pt x="6552" y="8753"/>
                  </a:lnTo>
                  <a:lnTo>
                    <a:pt x="6539" y="8753"/>
                  </a:lnTo>
                  <a:lnTo>
                    <a:pt x="6547" y="8742"/>
                  </a:lnTo>
                  <a:lnTo>
                    <a:pt x="6556" y="8735"/>
                  </a:lnTo>
                  <a:lnTo>
                    <a:pt x="6565" y="8727"/>
                  </a:lnTo>
                  <a:lnTo>
                    <a:pt x="6573" y="8717"/>
                  </a:lnTo>
                  <a:lnTo>
                    <a:pt x="6561" y="8711"/>
                  </a:lnTo>
                  <a:lnTo>
                    <a:pt x="6549" y="8705"/>
                  </a:lnTo>
                  <a:lnTo>
                    <a:pt x="6538" y="8699"/>
                  </a:lnTo>
                  <a:lnTo>
                    <a:pt x="6529" y="8692"/>
                  </a:lnTo>
                  <a:lnTo>
                    <a:pt x="6525" y="8688"/>
                  </a:lnTo>
                  <a:lnTo>
                    <a:pt x="6520" y="8683"/>
                  </a:lnTo>
                  <a:lnTo>
                    <a:pt x="6517" y="8679"/>
                  </a:lnTo>
                  <a:lnTo>
                    <a:pt x="6514" y="8675"/>
                  </a:lnTo>
                  <a:lnTo>
                    <a:pt x="6512" y="8670"/>
                  </a:lnTo>
                  <a:lnTo>
                    <a:pt x="6510" y="8664"/>
                  </a:lnTo>
                  <a:lnTo>
                    <a:pt x="6509" y="8659"/>
                  </a:lnTo>
                  <a:lnTo>
                    <a:pt x="6509" y="8651"/>
                  </a:lnTo>
                  <a:lnTo>
                    <a:pt x="6508" y="8645"/>
                  </a:lnTo>
                  <a:lnTo>
                    <a:pt x="6509" y="8639"/>
                  </a:lnTo>
                  <a:lnTo>
                    <a:pt x="6516" y="8639"/>
                  </a:lnTo>
                  <a:lnTo>
                    <a:pt x="6524" y="8639"/>
                  </a:lnTo>
                  <a:lnTo>
                    <a:pt x="6534" y="8638"/>
                  </a:lnTo>
                  <a:lnTo>
                    <a:pt x="6543" y="8635"/>
                  </a:lnTo>
                  <a:lnTo>
                    <a:pt x="6552" y="8631"/>
                  </a:lnTo>
                  <a:lnTo>
                    <a:pt x="6561" y="8626"/>
                  </a:lnTo>
                  <a:lnTo>
                    <a:pt x="6569" y="8622"/>
                  </a:lnTo>
                  <a:lnTo>
                    <a:pt x="6577" y="8617"/>
                  </a:lnTo>
                  <a:lnTo>
                    <a:pt x="6586" y="8614"/>
                  </a:lnTo>
                  <a:lnTo>
                    <a:pt x="6598" y="8613"/>
                  </a:lnTo>
                  <a:lnTo>
                    <a:pt x="6602" y="8613"/>
                  </a:lnTo>
                  <a:lnTo>
                    <a:pt x="6605" y="8614"/>
                  </a:lnTo>
                  <a:lnTo>
                    <a:pt x="6608" y="8615"/>
                  </a:lnTo>
                  <a:lnTo>
                    <a:pt x="6611" y="8617"/>
                  </a:lnTo>
                  <a:lnTo>
                    <a:pt x="6615" y="8623"/>
                  </a:lnTo>
                  <a:lnTo>
                    <a:pt x="6619" y="8629"/>
                  </a:lnTo>
                  <a:lnTo>
                    <a:pt x="6624" y="8636"/>
                  </a:lnTo>
                  <a:lnTo>
                    <a:pt x="6628" y="8642"/>
                  </a:lnTo>
                  <a:lnTo>
                    <a:pt x="6632" y="8649"/>
                  </a:lnTo>
                  <a:lnTo>
                    <a:pt x="6638" y="8656"/>
                  </a:lnTo>
                  <a:lnTo>
                    <a:pt x="6638" y="8646"/>
                  </a:lnTo>
                  <a:lnTo>
                    <a:pt x="6637" y="8639"/>
                  </a:lnTo>
                  <a:lnTo>
                    <a:pt x="6636" y="8633"/>
                  </a:lnTo>
                  <a:lnTo>
                    <a:pt x="6634" y="8629"/>
                  </a:lnTo>
                  <a:lnTo>
                    <a:pt x="6633" y="8625"/>
                  </a:lnTo>
                  <a:lnTo>
                    <a:pt x="6631" y="8620"/>
                  </a:lnTo>
                  <a:lnTo>
                    <a:pt x="6630" y="8616"/>
                  </a:lnTo>
                  <a:lnTo>
                    <a:pt x="6630" y="8610"/>
                  </a:lnTo>
                  <a:lnTo>
                    <a:pt x="6624" y="8545"/>
                  </a:lnTo>
                  <a:lnTo>
                    <a:pt x="6626" y="8540"/>
                  </a:lnTo>
                  <a:lnTo>
                    <a:pt x="6631" y="8557"/>
                  </a:lnTo>
                  <a:lnTo>
                    <a:pt x="6636" y="8573"/>
                  </a:lnTo>
                  <a:lnTo>
                    <a:pt x="6641" y="8587"/>
                  </a:lnTo>
                  <a:lnTo>
                    <a:pt x="6649" y="8604"/>
                  </a:lnTo>
                  <a:lnTo>
                    <a:pt x="6652" y="8599"/>
                  </a:lnTo>
                  <a:lnTo>
                    <a:pt x="6655" y="8595"/>
                  </a:lnTo>
                  <a:lnTo>
                    <a:pt x="6657" y="8590"/>
                  </a:lnTo>
                  <a:lnTo>
                    <a:pt x="6657" y="8583"/>
                  </a:lnTo>
                  <a:lnTo>
                    <a:pt x="6656" y="8575"/>
                  </a:lnTo>
                  <a:lnTo>
                    <a:pt x="6655" y="8568"/>
                  </a:lnTo>
                  <a:lnTo>
                    <a:pt x="6653" y="8561"/>
                  </a:lnTo>
                  <a:lnTo>
                    <a:pt x="6653" y="8551"/>
                  </a:lnTo>
                  <a:lnTo>
                    <a:pt x="6653" y="8541"/>
                  </a:lnTo>
                  <a:lnTo>
                    <a:pt x="6655" y="8532"/>
                  </a:lnTo>
                  <a:lnTo>
                    <a:pt x="6659" y="8522"/>
                  </a:lnTo>
                  <a:lnTo>
                    <a:pt x="6664" y="8514"/>
                  </a:lnTo>
                  <a:lnTo>
                    <a:pt x="6666" y="8510"/>
                  </a:lnTo>
                  <a:lnTo>
                    <a:pt x="6668" y="8507"/>
                  </a:lnTo>
                  <a:lnTo>
                    <a:pt x="6669" y="8504"/>
                  </a:lnTo>
                  <a:lnTo>
                    <a:pt x="6669" y="8500"/>
                  </a:lnTo>
                  <a:lnTo>
                    <a:pt x="6669" y="8495"/>
                  </a:lnTo>
                  <a:lnTo>
                    <a:pt x="6668" y="8490"/>
                  </a:lnTo>
                  <a:lnTo>
                    <a:pt x="6666" y="8486"/>
                  </a:lnTo>
                  <a:lnTo>
                    <a:pt x="6664" y="8483"/>
                  </a:lnTo>
                  <a:lnTo>
                    <a:pt x="6663" y="8480"/>
                  </a:lnTo>
                  <a:lnTo>
                    <a:pt x="6661" y="8476"/>
                  </a:lnTo>
                  <a:lnTo>
                    <a:pt x="6660" y="8472"/>
                  </a:lnTo>
                  <a:lnTo>
                    <a:pt x="6659" y="8467"/>
                  </a:lnTo>
                  <a:lnTo>
                    <a:pt x="6660" y="8459"/>
                  </a:lnTo>
                  <a:lnTo>
                    <a:pt x="6661" y="8453"/>
                  </a:lnTo>
                  <a:lnTo>
                    <a:pt x="6663" y="8448"/>
                  </a:lnTo>
                  <a:lnTo>
                    <a:pt x="6666" y="8442"/>
                  </a:lnTo>
                  <a:lnTo>
                    <a:pt x="6670" y="8438"/>
                  </a:lnTo>
                  <a:lnTo>
                    <a:pt x="6674" y="8434"/>
                  </a:lnTo>
                  <a:lnTo>
                    <a:pt x="6680" y="8429"/>
                  </a:lnTo>
                  <a:lnTo>
                    <a:pt x="6686" y="8426"/>
                  </a:lnTo>
                  <a:lnTo>
                    <a:pt x="6690" y="8429"/>
                  </a:lnTo>
                  <a:lnTo>
                    <a:pt x="6691" y="8434"/>
                  </a:lnTo>
                  <a:lnTo>
                    <a:pt x="6691" y="8441"/>
                  </a:lnTo>
                  <a:lnTo>
                    <a:pt x="6690" y="8449"/>
                  </a:lnTo>
                  <a:lnTo>
                    <a:pt x="6688" y="8455"/>
                  </a:lnTo>
                  <a:lnTo>
                    <a:pt x="6685" y="8462"/>
                  </a:lnTo>
                  <a:lnTo>
                    <a:pt x="6683" y="8469"/>
                  </a:lnTo>
                  <a:lnTo>
                    <a:pt x="6681" y="8476"/>
                  </a:lnTo>
                  <a:lnTo>
                    <a:pt x="6680" y="8483"/>
                  </a:lnTo>
                  <a:lnTo>
                    <a:pt x="6680" y="8491"/>
                  </a:lnTo>
                  <a:lnTo>
                    <a:pt x="6680" y="8495"/>
                  </a:lnTo>
                  <a:lnTo>
                    <a:pt x="6681" y="8498"/>
                  </a:lnTo>
                  <a:lnTo>
                    <a:pt x="6682" y="8501"/>
                  </a:lnTo>
                  <a:lnTo>
                    <a:pt x="6683" y="8503"/>
                  </a:lnTo>
                  <a:lnTo>
                    <a:pt x="6689" y="8507"/>
                  </a:lnTo>
                  <a:lnTo>
                    <a:pt x="6694" y="8510"/>
                  </a:lnTo>
                  <a:lnTo>
                    <a:pt x="6706" y="8515"/>
                  </a:lnTo>
                  <a:lnTo>
                    <a:pt x="6721" y="8520"/>
                  </a:lnTo>
                  <a:lnTo>
                    <a:pt x="6723" y="8521"/>
                  </a:lnTo>
                  <a:lnTo>
                    <a:pt x="6725" y="8523"/>
                  </a:lnTo>
                  <a:lnTo>
                    <a:pt x="6727" y="8525"/>
                  </a:lnTo>
                  <a:lnTo>
                    <a:pt x="6728" y="8529"/>
                  </a:lnTo>
                  <a:lnTo>
                    <a:pt x="6730" y="8536"/>
                  </a:lnTo>
                  <a:lnTo>
                    <a:pt x="6731" y="8542"/>
                  </a:lnTo>
                  <a:lnTo>
                    <a:pt x="6732" y="8549"/>
                  </a:lnTo>
                  <a:lnTo>
                    <a:pt x="6734" y="8554"/>
                  </a:lnTo>
                  <a:lnTo>
                    <a:pt x="6735" y="8556"/>
                  </a:lnTo>
                  <a:lnTo>
                    <a:pt x="6737" y="8559"/>
                  </a:lnTo>
                  <a:lnTo>
                    <a:pt x="6740" y="8560"/>
                  </a:lnTo>
                  <a:lnTo>
                    <a:pt x="6742" y="8560"/>
                  </a:lnTo>
                  <a:lnTo>
                    <a:pt x="6745" y="8560"/>
                  </a:lnTo>
                  <a:lnTo>
                    <a:pt x="6747" y="8559"/>
                  </a:lnTo>
                  <a:lnTo>
                    <a:pt x="6748" y="8556"/>
                  </a:lnTo>
                  <a:lnTo>
                    <a:pt x="6749" y="8554"/>
                  </a:lnTo>
                  <a:lnTo>
                    <a:pt x="6752" y="8549"/>
                  </a:lnTo>
                  <a:lnTo>
                    <a:pt x="6756" y="8545"/>
                  </a:lnTo>
                  <a:lnTo>
                    <a:pt x="6765" y="8547"/>
                  </a:lnTo>
                  <a:lnTo>
                    <a:pt x="6768" y="8539"/>
                  </a:lnTo>
                  <a:lnTo>
                    <a:pt x="6771" y="8532"/>
                  </a:lnTo>
                  <a:lnTo>
                    <a:pt x="6773" y="8525"/>
                  </a:lnTo>
                  <a:lnTo>
                    <a:pt x="6774" y="8518"/>
                  </a:lnTo>
                  <a:lnTo>
                    <a:pt x="6776" y="8504"/>
                  </a:lnTo>
                  <a:lnTo>
                    <a:pt x="6779" y="8488"/>
                  </a:lnTo>
                  <a:lnTo>
                    <a:pt x="6781" y="8476"/>
                  </a:lnTo>
                  <a:lnTo>
                    <a:pt x="6784" y="8465"/>
                  </a:lnTo>
                  <a:lnTo>
                    <a:pt x="6787" y="8459"/>
                  </a:lnTo>
                  <a:lnTo>
                    <a:pt x="6790" y="8456"/>
                  </a:lnTo>
                  <a:lnTo>
                    <a:pt x="6794" y="8453"/>
                  </a:lnTo>
                  <a:lnTo>
                    <a:pt x="6799" y="8452"/>
                  </a:lnTo>
                  <a:lnTo>
                    <a:pt x="6803" y="8453"/>
                  </a:lnTo>
                  <a:lnTo>
                    <a:pt x="6806" y="8455"/>
                  </a:lnTo>
                  <a:lnTo>
                    <a:pt x="6808" y="8458"/>
                  </a:lnTo>
                  <a:lnTo>
                    <a:pt x="6809" y="8462"/>
                  </a:lnTo>
                  <a:lnTo>
                    <a:pt x="6810" y="8472"/>
                  </a:lnTo>
                  <a:lnTo>
                    <a:pt x="6810" y="8482"/>
                  </a:lnTo>
                  <a:lnTo>
                    <a:pt x="6810" y="8513"/>
                  </a:lnTo>
                  <a:lnTo>
                    <a:pt x="6809" y="8518"/>
                  </a:lnTo>
                  <a:lnTo>
                    <a:pt x="6808" y="8523"/>
                  </a:lnTo>
                  <a:lnTo>
                    <a:pt x="6807" y="8528"/>
                  </a:lnTo>
                  <a:lnTo>
                    <a:pt x="6805" y="8532"/>
                  </a:lnTo>
                  <a:lnTo>
                    <a:pt x="6801" y="8539"/>
                  </a:lnTo>
                  <a:lnTo>
                    <a:pt x="6794" y="8545"/>
                  </a:lnTo>
                  <a:lnTo>
                    <a:pt x="6778" y="8556"/>
                  </a:lnTo>
                  <a:lnTo>
                    <a:pt x="6761" y="8567"/>
                  </a:lnTo>
                  <a:lnTo>
                    <a:pt x="6752" y="8573"/>
                  </a:lnTo>
                  <a:lnTo>
                    <a:pt x="6746" y="8579"/>
                  </a:lnTo>
                  <a:lnTo>
                    <a:pt x="6740" y="8586"/>
                  </a:lnTo>
                  <a:lnTo>
                    <a:pt x="6736" y="8594"/>
                  </a:lnTo>
                  <a:lnTo>
                    <a:pt x="6732" y="8601"/>
                  </a:lnTo>
                  <a:lnTo>
                    <a:pt x="6727" y="8608"/>
                  </a:lnTo>
                  <a:lnTo>
                    <a:pt x="6722" y="8616"/>
                  </a:lnTo>
                  <a:lnTo>
                    <a:pt x="6714" y="8624"/>
                  </a:lnTo>
                  <a:lnTo>
                    <a:pt x="6699" y="8640"/>
                  </a:lnTo>
                  <a:lnTo>
                    <a:pt x="6684" y="8655"/>
                  </a:lnTo>
                  <a:lnTo>
                    <a:pt x="6677" y="8661"/>
                  </a:lnTo>
                  <a:lnTo>
                    <a:pt x="6670" y="8668"/>
                  </a:lnTo>
                  <a:lnTo>
                    <a:pt x="6662" y="8674"/>
                  </a:lnTo>
                  <a:lnTo>
                    <a:pt x="6651" y="8681"/>
                  </a:lnTo>
                  <a:lnTo>
                    <a:pt x="6637" y="8691"/>
                  </a:lnTo>
                  <a:lnTo>
                    <a:pt x="6625" y="8698"/>
                  </a:lnTo>
                  <a:lnTo>
                    <a:pt x="6618" y="8702"/>
                  </a:lnTo>
                  <a:lnTo>
                    <a:pt x="6612" y="8707"/>
                  </a:lnTo>
                  <a:lnTo>
                    <a:pt x="6607" y="8712"/>
                  </a:lnTo>
                  <a:lnTo>
                    <a:pt x="6601" y="8720"/>
                  </a:lnTo>
                  <a:lnTo>
                    <a:pt x="6604" y="8720"/>
                  </a:lnTo>
                  <a:lnTo>
                    <a:pt x="6613" y="8715"/>
                  </a:lnTo>
                  <a:lnTo>
                    <a:pt x="6628" y="8709"/>
                  </a:lnTo>
                  <a:lnTo>
                    <a:pt x="6644" y="8700"/>
                  </a:lnTo>
                  <a:lnTo>
                    <a:pt x="6663" y="8691"/>
                  </a:lnTo>
                  <a:lnTo>
                    <a:pt x="6679" y="8680"/>
                  </a:lnTo>
                  <a:lnTo>
                    <a:pt x="6693" y="8672"/>
                  </a:lnTo>
                  <a:lnTo>
                    <a:pt x="6701" y="8666"/>
                  </a:lnTo>
                  <a:lnTo>
                    <a:pt x="6715" y="8650"/>
                  </a:lnTo>
                  <a:lnTo>
                    <a:pt x="6726" y="8636"/>
                  </a:lnTo>
                  <a:lnTo>
                    <a:pt x="6736" y="8623"/>
                  </a:lnTo>
                  <a:lnTo>
                    <a:pt x="6745" y="8609"/>
                  </a:lnTo>
                  <a:lnTo>
                    <a:pt x="6755" y="8596"/>
                  </a:lnTo>
                  <a:lnTo>
                    <a:pt x="6765" y="8583"/>
                  </a:lnTo>
                  <a:lnTo>
                    <a:pt x="6771" y="8577"/>
                  </a:lnTo>
                  <a:lnTo>
                    <a:pt x="6778" y="8572"/>
                  </a:lnTo>
                  <a:lnTo>
                    <a:pt x="6785" y="8566"/>
                  </a:lnTo>
                  <a:lnTo>
                    <a:pt x="6795" y="8560"/>
                  </a:lnTo>
                  <a:lnTo>
                    <a:pt x="6830" y="8538"/>
                  </a:lnTo>
                  <a:lnTo>
                    <a:pt x="6860" y="8517"/>
                  </a:lnTo>
                  <a:lnTo>
                    <a:pt x="6874" y="8507"/>
                  </a:lnTo>
                  <a:lnTo>
                    <a:pt x="6889" y="8496"/>
                  </a:lnTo>
                  <a:lnTo>
                    <a:pt x="6904" y="8482"/>
                  </a:lnTo>
                  <a:lnTo>
                    <a:pt x="6920" y="8467"/>
                  </a:lnTo>
                  <a:lnTo>
                    <a:pt x="6938" y="8448"/>
                  </a:lnTo>
                  <a:lnTo>
                    <a:pt x="6956" y="8432"/>
                  </a:lnTo>
                  <a:lnTo>
                    <a:pt x="6962" y="8422"/>
                  </a:lnTo>
                  <a:lnTo>
                    <a:pt x="6967" y="8412"/>
                  </a:lnTo>
                  <a:lnTo>
                    <a:pt x="6969" y="8407"/>
                  </a:lnTo>
                  <a:lnTo>
                    <a:pt x="6970" y="8401"/>
                  </a:lnTo>
                  <a:lnTo>
                    <a:pt x="6971" y="8394"/>
                  </a:lnTo>
                  <a:lnTo>
                    <a:pt x="6971" y="8388"/>
                  </a:lnTo>
                  <a:lnTo>
                    <a:pt x="6968" y="8380"/>
                  </a:lnTo>
                  <a:lnTo>
                    <a:pt x="6965" y="8372"/>
                  </a:lnTo>
                  <a:lnTo>
                    <a:pt x="6965" y="8348"/>
                  </a:lnTo>
                  <a:lnTo>
                    <a:pt x="6966" y="8342"/>
                  </a:lnTo>
                  <a:lnTo>
                    <a:pt x="6969" y="8337"/>
                  </a:lnTo>
                  <a:lnTo>
                    <a:pt x="6973" y="8332"/>
                  </a:lnTo>
                  <a:lnTo>
                    <a:pt x="6977" y="8328"/>
                  </a:lnTo>
                  <a:lnTo>
                    <a:pt x="6990" y="8322"/>
                  </a:lnTo>
                  <a:lnTo>
                    <a:pt x="7002" y="8316"/>
                  </a:lnTo>
                  <a:lnTo>
                    <a:pt x="7011" y="8309"/>
                  </a:lnTo>
                  <a:lnTo>
                    <a:pt x="7020" y="8301"/>
                  </a:lnTo>
                  <a:lnTo>
                    <a:pt x="7026" y="8294"/>
                  </a:lnTo>
                  <a:lnTo>
                    <a:pt x="7031" y="8285"/>
                  </a:lnTo>
                  <a:lnTo>
                    <a:pt x="7035" y="8276"/>
                  </a:lnTo>
                  <a:lnTo>
                    <a:pt x="7037" y="8266"/>
                  </a:lnTo>
                  <a:lnTo>
                    <a:pt x="7039" y="8255"/>
                  </a:lnTo>
                  <a:lnTo>
                    <a:pt x="7039" y="8244"/>
                  </a:lnTo>
                  <a:lnTo>
                    <a:pt x="7040" y="8242"/>
                  </a:lnTo>
                  <a:lnTo>
                    <a:pt x="7041" y="8238"/>
                  </a:lnTo>
                  <a:lnTo>
                    <a:pt x="7047" y="8245"/>
                  </a:lnTo>
                  <a:lnTo>
                    <a:pt x="7053" y="8252"/>
                  </a:lnTo>
                  <a:lnTo>
                    <a:pt x="7056" y="8259"/>
                  </a:lnTo>
                  <a:lnTo>
                    <a:pt x="7060" y="8267"/>
                  </a:lnTo>
                  <a:lnTo>
                    <a:pt x="7074" y="8261"/>
                  </a:lnTo>
                  <a:lnTo>
                    <a:pt x="7088" y="8253"/>
                  </a:lnTo>
                  <a:lnTo>
                    <a:pt x="7095" y="8253"/>
                  </a:lnTo>
                  <a:lnTo>
                    <a:pt x="7101" y="8253"/>
                  </a:lnTo>
                  <a:lnTo>
                    <a:pt x="7107" y="8252"/>
                  </a:lnTo>
                  <a:lnTo>
                    <a:pt x="7112" y="8250"/>
                  </a:lnTo>
                  <a:lnTo>
                    <a:pt x="7117" y="8248"/>
                  </a:lnTo>
                  <a:lnTo>
                    <a:pt x="7122" y="8245"/>
                  </a:lnTo>
                  <a:lnTo>
                    <a:pt x="7126" y="8240"/>
                  </a:lnTo>
                  <a:lnTo>
                    <a:pt x="7129" y="8236"/>
                  </a:lnTo>
                  <a:lnTo>
                    <a:pt x="7133" y="8232"/>
                  </a:lnTo>
                  <a:lnTo>
                    <a:pt x="7145" y="8211"/>
                  </a:lnTo>
                  <a:lnTo>
                    <a:pt x="7157" y="8187"/>
                  </a:lnTo>
                  <a:lnTo>
                    <a:pt x="7164" y="8169"/>
                  </a:lnTo>
                  <a:lnTo>
                    <a:pt x="7169" y="8152"/>
                  </a:lnTo>
                  <a:lnTo>
                    <a:pt x="7172" y="8144"/>
                  </a:lnTo>
                  <a:lnTo>
                    <a:pt x="7175" y="8136"/>
                  </a:lnTo>
                  <a:lnTo>
                    <a:pt x="7180" y="8129"/>
                  </a:lnTo>
                  <a:lnTo>
                    <a:pt x="7187" y="8121"/>
                  </a:lnTo>
                  <a:lnTo>
                    <a:pt x="7194" y="8113"/>
                  </a:lnTo>
                  <a:lnTo>
                    <a:pt x="7201" y="8107"/>
                  </a:lnTo>
                  <a:lnTo>
                    <a:pt x="7206" y="8100"/>
                  </a:lnTo>
                  <a:lnTo>
                    <a:pt x="7210" y="8092"/>
                  </a:lnTo>
                  <a:lnTo>
                    <a:pt x="7220" y="8071"/>
                  </a:lnTo>
                  <a:lnTo>
                    <a:pt x="7230" y="8054"/>
                  </a:lnTo>
                  <a:lnTo>
                    <a:pt x="7240" y="8038"/>
                  </a:lnTo>
                  <a:lnTo>
                    <a:pt x="7252" y="8023"/>
                  </a:lnTo>
                  <a:lnTo>
                    <a:pt x="7263" y="8008"/>
                  </a:lnTo>
                  <a:lnTo>
                    <a:pt x="7274" y="7993"/>
                  </a:lnTo>
                  <a:lnTo>
                    <a:pt x="7286" y="7975"/>
                  </a:lnTo>
                  <a:lnTo>
                    <a:pt x="7297" y="7955"/>
                  </a:lnTo>
                  <a:lnTo>
                    <a:pt x="7305" y="7942"/>
                  </a:lnTo>
                  <a:lnTo>
                    <a:pt x="7313" y="7931"/>
                  </a:lnTo>
                  <a:lnTo>
                    <a:pt x="7317" y="7924"/>
                  </a:lnTo>
                  <a:lnTo>
                    <a:pt x="7320" y="7918"/>
                  </a:lnTo>
                  <a:lnTo>
                    <a:pt x="7322" y="7911"/>
                  </a:lnTo>
                  <a:lnTo>
                    <a:pt x="7323" y="7904"/>
                  </a:lnTo>
                  <a:lnTo>
                    <a:pt x="7319" y="7897"/>
                  </a:lnTo>
                  <a:lnTo>
                    <a:pt x="7311" y="7890"/>
                  </a:lnTo>
                  <a:lnTo>
                    <a:pt x="7302" y="7871"/>
                  </a:lnTo>
                  <a:lnTo>
                    <a:pt x="7296" y="7858"/>
                  </a:lnTo>
                  <a:lnTo>
                    <a:pt x="7295" y="7855"/>
                  </a:lnTo>
                  <a:lnTo>
                    <a:pt x="7294" y="7853"/>
                  </a:lnTo>
                  <a:lnTo>
                    <a:pt x="7295" y="7852"/>
                  </a:lnTo>
                  <a:lnTo>
                    <a:pt x="7296" y="7853"/>
                  </a:lnTo>
                  <a:lnTo>
                    <a:pt x="7301" y="7855"/>
                  </a:lnTo>
                  <a:lnTo>
                    <a:pt x="7309" y="7859"/>
                  </a:lnTo>
                  <a:lnTo>
                    <a:pt x="7315" y="7861"/>
                  </a:lnTo>
                  <a:lnTo>
                    <a:pt x="7320" y="7864"/>
                  </a:lnTo>
                  <a:lnTo>
                    <a:pt x="7326" y="7865"/>
                  </a:lnTo>
                  <a:lnTo>
                    <a:pt x="7332" y="7865"/>
                  </a:lnTo>
                  <a:lnTo>
                    <a:pt x="7337" y="7864"/>
                  </a:lnTo>
                  <a:lnTo>
                    <a:pt x="7342" y="7863"/>
                  </a:lnTo>
                  <a:lnTo>
                    <a:pt x="7345" y="7859"/>
                  </a:lnTo>
                  <a:lnTo>
                    <a:pt x="7350" y="7855"/>
                  </a:lnTo>
                  <a:lnTo>
                    <a:pt x="7356" y="7847"/>
                  </a:lnTo>
                  <a:lnTo>
                    <a:pt x="7364" y="7839"/>
                  </a:lnTo>
                  <a:lnTo>
                    <a:pt x="7371" y="7833"/>
                  </a:lnTo>
                  <a:lnTo>
                    <a:pt x="7377" y="7826"/>
                  </a:lnTo>
                  <a:lnTo>
                    <a:pt x="7383" y="7820"/>
                  </a:lnTo>
                  <a:lnTo>
                    <a:pt x="7388" y="7814"/>
                  </a:lnTo>
                  <a:lnTo>
                    <a:pt x="7395" y="7801"/>
                  </a:lnTo>
                  <a:lnTo>
                    <a:pt x="7400" y="7785"/>
                  </a:lnTo>
                  <a:lnTo>
                    <a:pt x="7409" y="7754"/>
                  </a:lnTo>
                  <a:lnTo>
                    <a:pt x="7421" y="7720"/>
                  </a:lnTo>
                  <a:lnTo>
                    <a:pt x="7418" y="7706"/>
                  </a:lnTo>
                  <a:lnTo>
                    <a:pt x="7414" y="7693"/>
                  </a:lnTo>
                  <a:lnTo>
                    <a:pt x="7411" y="7682"/>
                  </a:lnTo>
                  <a:lnTo>
                    <a:pt x="7409" y="7667"/>
                  </a:lnTo>
                  <a:lnTo>
                    <a:pt x="7409" y="7644"/>
                  </a:lnTo>
                  <a:lnTo>
                    <a:pt x="7403" y="7625"/>
                  </a:lnTo>
                  <a:lnTo>
                    <a:pt x="7403" y="7614"/>
                  </a:lnTo>
                  <a:lnTo>
                    <a:pt x="7418" y="7613"/>
                  </a:lnTo>
                  <a:lnTo>
                    <a:pt x="7431" y="7610"/>
                  </a:lnTo>
                  <a:lnTo>
                    <a:pt x="7442" y="7606"/>
                  </a:lnTo>
                  <a:lnTo>
                    <a:pt x="7454" y="7601"/>
                  </a:lnTo>
                  <a:lnTo>
                    <a:pt x="7476" y="7588"/>
                  </a:lnTo>
                  <a:lnTo>
                    <a:pt x="7502" y="7573"/>
                  </a:lnTo>
                  <a:lnTo>
                    <a:pt x="7513" y="7565"/>
                  </a:lnTo>
                  <a:lnTo>
                    <a:pt x="7522" y="7558"/>
                  </a:lnTo>
                  <a:lnTo>
                    <a:pt x="7526" y="7554"/>
                  </a:lnTo>
                  <a:lnTo>
                    <a:pt x="7531" y="7551"/>
                  </a:lnTo>
                  <a:lnTo>
                    <a:pt x="7536" y="7550"/>
                  </a:lnTo>
                  <a:lnTo>
                    <a:pt x="7543" y="7549"/>
                  </a:lnTo>
                  <a:lnTo>
                    <a:pt x="7553" y="7551"/>
                  </a:lnTo>
                  <a:lnTo>
                    <a:pt x="7563" y="7552"/>
                  </a:lnTo>
                  <a:lnTo>
                    <a:pt x="7569" y="7552"/>
                  </a:lnTo>
                  <a:lnTo>
                    <a:pt x="7573" y="7550"/>
                  </a:lnTo>
                  <a:lnTo>
                    <a:pt x="7577" y="7547"/>
                  </a:lnTo>
                  <a:lnTo>
                    <a:pt x="7582" y="7542"/>
                  </a:lnTo>
                  <a:lnTo>
                    <a:pt x="7586" y="7539"/>
                  </a:lnTo>
                  <a:lnTo>
                    <a:pt x="7590" y="7535"/>
                  </a:lnTo>
                  <a:lnTo>
                    <a:pt x="7594" y="7532"/>
                  </a:lnTo>
                  <a:lnTo>
                    <a:pt x="7599" y="7530"/>
                  </a:lnTo>
                  <a:lnTo>
                    <a:pt x="7613" y="7525"/>
                  </a:lnTo>
                  <a:lnTo>
                    <a:pt x="7625" y="7522"/>
                  </a:lnTo>
                  <a:lnTo>
                    <a:pt x="7636" y="7520"/>
                  </a:lnTo>
                  <a:lnTo>
                    <a:pt x="7648" y="7519"/>
                  </a:lnTo>
                  <a:lnTo>
                    <a:pt x="7670" y="7516"/>
                  </a:lnTo>
                  <a:lnTo>
                    <a:pt x="7696" y="7511"/>
                  </a:lnTo>
                  <a:lnTo>
                    <a:pt x="7708" y="7508"/>
                  </a:lnTo>
                  <a:lnTo>
                    <a:pt x="7720" y="7505"/>
                  </a:lnTo>
                  <a:lnTo>
                    <a:pt x="7731" y="7502"/>
                  </a:lnTo>
                  <a:lnTo>
                    <a:pt x="7744" y="7501"/>
                  </a:lnTo>
                  <a:lnTo>
                    <a:pt x="7771" y="7501"/>
                  </a:lnTo>
                  <a:lnTo>
                    <a:pt x="7916" y="7524"/>
                  </a:lnTo>
                  <a:lnTo>
                    <a:pt x="7928" y="7516"/>
                  </a:lnTo>
                  <a:lnTo>
                    <a:pt x="7939" y="7506"/>
                  </a:lnTo>
                  <a:lnTo>
                    <a:pt x="7950" y="7500"/>
                  </a:lnTo>
                  <a:lnTo>
                    <a:pt x="7959" y="7494"/>
                  </a:lnTo>
                  <a:lnTo>
                    <a:pt x="7967" y="7488"/>
                  </a:lnTo>
                  <a:lnTo>
                    <a:pt x="7976" y="7480"/>
                  </a:lnTo>
                  <a:lnTo>
                    <a:pt x="7984" y="7474"/>
                  </a:lnTo>
                  <a:lnTo>
                    <a:pt x="7991" y="7466"/>
                  </a:lnTo>
                  <a:lnTo>
                    <a:pt x="7998" y="7458"/>
                  </a:lnTo>
                  <a:lnTo>
                    <a:pt x="8006" y="7448"/>
                  </a:lnTo>
                  <a:lnTo>
                    <a:pt x="8024" y="7427"/>
                  </a:lnTo>
                  <a:lnTo>
                    <a:pt x="8038" y="7407"/>
                  </a:lnTo>
                  <a:lnTo>
                    <a:pt x="8045" y="7397"/>
                  </a:lnTo>
                  <a:lnTo>
                    <a:pt x="8049" y="7385"/>
                  </a:lnTo>
                  <a:lnTo>
                    <a:pt x="8053" y="7374"/>
                  </a:lnTo>
                  <a:lnTo>
                    <a:pt x="8055" y="7360"/>
                  </a:lnTo>
                  <a:lnTo>
                    <a:pt x="8048" y="7360"/>
                  </a:lnTo>
                  <a:lnTo>
                    <a:pt x="8041" y="7360"/>
                  </a:lnTo>
                  <a:lnTo>
                    <a:pt x="8035" y="7359"/>
                  </a:lnTo>
                  <a:lnTo>
                    <a:pt x="8030" y="7357"/>
                  </a:lnTo>
                  <a:lnTo>
                    <a:pt x="8026" y="7353"/>
                  </a:lnTo>
                  <a:lnTo>
                    <a:pt x="8023" y="7350"/>
                  </a:lnTo>
                  <a:lnTo>
                    <a:pt x="8017" y="7341"/>
                  </a:lnTo>
                  <a:lnTo>
                    <a:pt x="8009" y="7333"/>
                  </a:lnTo>
                  <a:lnTo>
                    <a:pt x="8003" y="7328"/>
                  </a:lnTo>
                  <a:lnTo>
                    <a:pt x="7997" y="7323"/>
                  </a:lnTo>
                  <a:lnTo>
                    <a:pt x="7995" y="7321"/>
                  </a:lnTo>
                  <a:lnTo>
                    <a:pt x="7994" y="7318"/>
                  </a:lnTo>
                  <a:lnTo>
                    <a:pt x="7992" y="7316"/>
                  </a:lnTo>
                  <a:lnTo>
                    <a:pt x="7992" y="7312"/>
                  </a:lnTo>
                  <a:lnTo>
                    <a:pt x="7993" y="7303"/>
                  </a:lnTo>
                  <a:lnTo>
                    <a:pt x="7994" y="7295"/>
                  </a:lnTo>
                  <a:lnTo>
                    <a:pt x="7996" y="7286"/>
                  </a:lnTo>
                  <a:lnTo>
                    <a:pt x="7997" y="7277"/>
                  </a:lnTo>
                  <a:lnTo>
                    <a:pt x="8001" y="7282"/>
                  </a:lnTo>
                  <a:lnTo>
                    <a:pt x="8004" y="7288"/>
                  </a:lnTo>
                  <a:lnTo>
                    <a:pt x="8008" y="7295"/>
                  </a:lnTo>
                  <a:lnTo>
                    <a:pt x="8009" y="7301"/>
                  </a:lnTo>
                  <a:lnTo>
                    <a:pt x="8011" y="7307"/>
                  </a:lnTo>
                  <a:lnTo>
                    <a:pt x="8013" y="7313"/>
                  </a:lnTo>
                  <a:lnTo>
                    <a:pt x="8016" y="7319"/>
                  </a:lnTo>
                  <a:lnTo>
                    <a:pt x="8019" y="7326"/>
                  </a:lnTo>
                  <a:lnTo>
                    <a:pt x="8023" y="7330"/>
                  </a:lnTo>
                  <a:lnTo>
                    <a:pt x="8026" y="7333"/>
                  </a:lnTo>
                  <a:lnTo>
                    <a:pt x="8030" y="7336"/>
                  </a:lnTo>
                  <a:lnTo>
                    <a:pt x="8034" y="7338"/>
                  </a:lnTo>
                  <a:lnTo>
                    <a:pt x="8044" y="7340"/>
                  </a:lnTo>
                  <a:lnTo>
                    <a:pt x="8055" y="7341"/>
                  </a:lnTo>
                  <a:lnTo>
                    <a:pt x="8059" y="7340"/>
                  </a:lnTo>
                  <a:lnTo>
                    <a:pt x="8063" y="7339"/>
                  </a:lnTo>
                  <a:lnTo>
                    <a:pt x="8066" y="7337"/>
                  </a:lnTo>
                  <a:lnTo>
                    <a:pt x="8069" y="7334"/>
                  </a:lnTo>
                  <a:lnTo>
                    <a:pt x="8074" y="7328"/>
                  </a:lnTo>
                  <a:lnTo>
                    <a:pt x="8077" y="7319"/>
                  </a:lnTo>
                  <a:lnTo>
                    <a:pt x="8081" y="7310"/>
                  </a:lnTo>
                  <a:lnTo>
                    <a:pt x="8085" y="7302"/>
                  </a:lnTo>
                  <a:lnTo>
                    <a:pt x="8088" y="7298"/>
                  </a:lnTo>
                  <a:lnTo>
                    <a:pt x="8090" y="7295"/>
                  </a:lnTo>
                  <a:lnTo>
                    <a:pt x="8094" y="7293"/>
                  </a:lnTo>
                  <a:lnTo>
                    <a:pt x="8098" y="7290"/>
                  </a:lnTo>
                  <a:lnTo>
                    <a:pt x="8107" y="7286"/>
                  </a:lnTo>
                  <a:lnTo>
                    <a:pt x="8114" y="7281"/>
                  </a:lnTo>
                  <a:lnTo>
                    <a:pt x="8119" y="7275"/>
                  </a:lnTo>
                  <a:lnTo>
                    <a:pt x="8123" y="7268"/>
                  </a:lnTo>
                  <a:lnTo>
                    <a:pt x="8131" y="7253"/>
                  </a:lnTo>
                  <a:lnTo>
                    <a:pt x="8140" y="7236"/>
                  </a:lnTo>
                  <a:lnTo>
                    <a:pt x="8144" y="7234"/>
                  </a:lnTo>
                  <a:lnTo>
                    <a:pt x="8143" y="7244"/>
                  </a:lnTo>
                  <a:lnTo>
                    <a:pt x="8141" y="7252"/>
                  </a:lnTo>
                  <a:lnTo>
                    <a:pt x="8137" y="7260"/>
                  </a:lnTo>
                  <a:lnTo>
                    <a:pt x="8135" y="7267"/>
                  </a:lnTo>
                  <a:lnTo>
                    <a:pt x="8129" y="7278"/>
                  </a:lnTo>
                  <a:lnTo>
                    <a:pt x="8123" y="7286"/>
                  </a:lnTo>
                  <a:lnTo>
                    <a:pt x="8117" y="7294"/>
                  </a:lnTo>
                  <a:lnTo>
                    <a:pt x="8110" y="7301"/>
                  </a:lnTo>
                  <a:lnTo>
                    <a:pt x="8103" y="7310"/>
                  </a:lnTo>
                  <a:lnTo>
                    <a:pt x="8097" y="7321"/>
                  </a:lnTo>
                  <a:lnTo>
                    <a:pt x="8093" y="7333"/>
                  </a:lnTo>
                  <a:lnTo>
                    <a:pt x="8091" y="7343"/>
                  </a:lnTo>
                  <a:lnTo>
                    <a:pt x="8090" y="7353"/>
                  </a:lnTo>
                  <a:lnTo>
                    <a:pt x="8090" y="7363"/>
                  </a:lnTo>
                  <a:lnTo>
                    <a:pt x="8089" y="7373"/>
                  </a:lnTo>
                  <a:lnTo>
                    <a:pt x="8088" y="7382"/>
                  </a:lnTo>
                  <a:lnTo>
                    <a:pt x="8085" y="7393"/>
                  </a:lnTo>
                  <a:lnTo>
                    <a:pt x="8081" y="7403"/>
                  </a:lnTo>
                  <a:lnTo>
                    <a:pt x="8074" y="7413"/>
                  </a:lnTo>
                  <a:lnTo>
                    <a:pt x="8067" y="7423"/>
                  </a:lnTo>
                  <a:lnTo>
                    <a:pt x="8060" y="7431"/>
                  </a:lnTo>
                  <a:lnTo>
                    <a:pt x="8054" y="7439"/>
                  </a:lnTo>
                  <a:lnTo>
                    <a:pt x="8047" y="7447"/>
                  </a:lnTo>
                  <a:lnTo>
                    <a:pt x="8041" y="7457"/>
                  </a:lnTo>
                  <a:lnTo>
                    <a:pt x="8035" y="7466"/>
                  </a:lnTo>
                  <a:lnTo>
                    <a:pt x="8031" y="7477"/>
                  </a:lnTo>
                  <a:lnTo>
                    <a:pt x="8037" y="7479"/>
                  </a:lnTo>
                  <a:lnTo>
                    <a:pt x="8043" y="7481"/>
                  </a:lnTo>
                  <a:lnTo>
                    <a:pt x="8049" y="7484"/>
                  </a:lnTo>
                  <a:lnTo>
                    <a:pt x="8053" y="7487"/>
                  </a:lnTo>
                  <a:lnTo>
                    <a:pt x="8062" y="7493"/>
                  </a:lnTo>
                  <a:lnTo>
                    <a:pt x="8071" y="7500"/>
                  </a:lnTo>
                  <a:lnTo>
                    <a:pt x="8080" y="7507"/>
                  </a:lnTo>
                  <a:lnTo>
                    <a:pt x="8089" y="7513"/>
                  </a:lnTo>
                  <a:lnTo>
                    <a:pt x="8094" y="7516"/>
                  </a:lnTo>
                  <a:lnTo>
                    <a:pt x="8099" y="7518"/>
                  </a:lnTo>
                  <a:lnTo>
                    <a:pt x="8104" y="7519"/>
                  </a:lnTo>
                  <a:lnTo>
                    <a:pt x="8111" y="7519"/>
                  </a:lnTo>
                  <a:lnTo>
                    <a:pt x="8116" y="7519"/>
                  </a:lnTo>
                  <a:lnTo>
                    <a:pt x="8120" y="7517"/>
                  </a:lnTo>
                  <a:lnTo>
                    <a:pt x="8124" y="7513"/>
                  </a:lnTo>
                  <a:lnTo>
                    <a:pt x="8126" y="7509"/>
                  </a:lnTo>
                  <a:lnTo>
                    <a:pt x="8131" y="7500"/>
                  </a:lnTo>
                  <a:lnTo>
                    <a:pt x="8134" y="7490"/>
                  </a:lnTo>
                  <a:lnTo>
                    <a:pt x="8137" y="7478"/>
                  </a:lnTo>
                  <a:lnTo>
                    <a:pt x="8142" y="7469"/>
                  </a:lnTo>
                  <a:lnTo>
                    <a:pt x="8145" y="7465"/>
                  </a:lnTo>
                  <a:lnTo>
                    <a:pt x="8148" y="7463"/>
                  </a:lnTo>
                  <a:lnTo>
                    <a:pt x="8152" y="7461"/>
                  </a:lnTo>
                  <a:lnTo>
                    <a:pt x="8157" y="7460"/>
                  </a:lnTo>
                  <a:lnTo>
                    <a:pt x="8165" y="7463"/>
                  </a:lnTo>
                  <a:lnTo>
                    <a:pt x="8174" y="7467"/>
                  </a:lnTo>
                  <a:lnTo>
                    <a:pt x="8188" y="7469"/>
                  </a:lnTo>
                  <a:lnTo>
                    <a:pt x="8200" y="7469"/>
                  </a:lnTo>
                  <a:lnTo>
                    <a:pt x="8213" y="7470"/>
                  </a:lnTo>
                  <a:lnTo>
                    <a:pt x="8226" y="7473"/>
                  </a:lnTo>
                  <a:lnTo>
                    <a:pt x="8255" y="7481"/>
                  </a:lnTo>
                  <a:lnTo>
                    <a:pt x="8280" y="7491"/>
                  </a:lnTo>
                  <a:lnTo>
                    <a:pt x="8292" y="7495"/>
                  </a:lnTo>
                  <a:lnTo>
                    <a:pt x="8305" y="7498"/>
                  </a:lnTo>
                  <a:lnTo>
                    <a:pt x="8319" y="7500"/>
                  </a:lnTo>
                  <a:lnTo>
                    <a:pt x="8333" y="7501"/>
                  </a:lnTo>
                  <a:lnTo>
                    <a:pt x="8341" y="7500"/>
                  </a:lnTo>
                  <a:lnTo>
                    <a:pt x="8347" y="7499"/>
                  </a:lnTo>
                  <a:lnTo>
                    <a:pt x="8353" y="7496"/>
                  </a:lnTo>
                  <a:lnTo>
                    <a:pt x="8358" y="7493"/>
                  </a:lnTo>
                  <a:lnTo>
                    <a:pt x="8363" y="7489"/>
                  </a:lnTo>
                  <a:lnTo>
                    <a:pt x="8368" y="7485"/>
                  </a:lnTo>
                  <a:lnTo>
                    <a:pt x="8375" y="7481"/>
                  </a:lnTo>
                  <a:lnTo>
                    <a:pt x="8381" y="7478"/>
                  </a:lnTo>
                  <a:lnTo>
                    <a:pt x="8393" y="7475"/>
                  </a:lnTo>
                  <a:lnTo>
                    <a:pt x="8405" y="7472"/>
                  </a:lnTo>
                  <a:lnTo>
                    <a:pt x="8406" y="7463"/>
                  </a:lnTo>
                  <a:lnTo>
                    <a:pt x="8406" y="7453"/>
                  </a:lnTo>
                  <a:lnTo>
                    <a:pt x="8410" y="7443"/>
                  </a:lnTo>
                  <a:lnTo>
                    <a:pt x="8413" y="7433"/>
                  </a:lnTo>
                  <a:lnTo>
                    <a:pt x="8413" y="7428"/>
                  </a:lnTo>
                  <a:lnTo>
                    <a:pt x="8412" y="7423"/>
                  </a:lnTo>
                  <a:lnTo>
                    <a:pt x="8410" y="7417"/>
                  </a:lnTo>
                  <a:lnTo>
                    <a:pt x="8408" y="7413"/>
                  </a:lnTo>
                  <a:lnTo>
                    <a:pt x="8404" y="7405"/>
                  </a:lnTo>
                  <a:lnTo>
                    <a:pt x="8399" y="7395"/>
                  </a:lnTo>
                  <a:lnTo>
                    <a:pt x="8396" y="7375"/>
                  </a:lnTo>
                  <a:lnTo>
                    <a:pt x="8394" y="7357"/>
                  </a:lnTo>
                  <a:lnTo>
                    <a:pt x="8393" y="7348"/>
                  </a:lnTo>
                  <a:lnTo>
                    <a:pt x="8392" y="7339"/>
                  </a:lnTo>
                  <a:lnTo>
                    <a:pt x="8389" y="7330"/>
                  </a:lnTo>
                  <a:lnTo>
                    <a:pt x="8386" y="7319"/>
                  </a:lnTo>
                  <a:lnTo>
                    <a:pt x="8379" y="7304"/>
                  </a:lnTo>
                  <a:lnTo>
                    <a:pt x="8372" y="7290"/>
                  </a:lnTo>
                  <a:lnTo>
                    <a:pt x="8368" y="7284"/>
                  </a:lnTo>
                  <a:lnTo>
                    <a:pt x="8366" y="7277"/>
                  </a:lnTo>
                  <a:lnTo>
                    <a:pt x="8365" y="7269"/>
                  </a:lnTo>
                  <a:lnTo>
                    <a:pt x="8364" y="7260"/>
                  </a:lnTo>
                  <a:lnTo>
                    <a:pt x="8365" y="7254"/>
                  </a:lnTo>
                  <a:lnTo>
                    <a:pt x="8366" y="7248"/>
                  </a:lnTo>
                  <a:lnTo>
                    <a:pt x="8368" y="7244"/>
                  </a:lnTo>
                  <a:lnTo>
                    <a:pt x="8373" y="7240"/>
                  </a:lnTo>
                  <a:lnTo>
                    <a:pt x="8380" y="7233"/>
                  </a:lnTo>
                  <a:lnTo>
                    <a:pt x="8390" y="7226"/>
                  </a:lnTo>
                  <a:lnTo>
                    <a:pt x="8401" y="7220"/>
                  </a:lnTo>
                  <a:lnTo>
                    <a:pt x="8413" y="7214"/>
                  </a:lnTo>
                  <a:lnTo>
                    <a:pt x="8418" y="7211"/>
                  </a:lnTo>
                  <a:lnTo>
                    <a:pt x="8423" y="7207"/>
                  </a:lnTo>
                  <a:lnTo>
                    <a:pt x="8428" y="7203"/>
                  </a:lnTo>
                  <a:lnTo>
                    <a:pt x="8433" y="7197"/>
                  </a:lnTo>
                  <a:lnTo>
                    <a:pt x="8441" y="7187"/>
                  </a:lnTo>
                  <a:lnTo>
                    <a:pt x="8448" y="7177"/>
                  </a:lnTo>
                  <a:lnTo>
                    <a:pt x="8454" y="7165"/>
                  </a:lnTo>
                  <a:lnTo>
                    <a:pt x="8458" y="7155"/>
                  </a:lnTo>
                  <a:lnTo>
                    <a:pt x="8461" y="7145"/>
                  </a:lnTo>
                  <a:lnTo>
                    <a:pt x="8464" y="7132"/>
                  </a:lnTo>
                  <a:lnTo>
                    <a:pt x="8465" y="7120"/>
                  </a:lnTo>
                  <a:lnTo>
                    <a:pt x="8466" y="7107"/>
                  </a:lnTo>
                  <a:lnTo>
                    <a:pt x="8467" y="7098"/>
                  </a:lnTo>
                  <a:lnTo>
                    <a:pt x="8471" y="7090"/>
                  </a:lnTo>
                  <a:lnTo>
                    <a:pt x="8476" y="7098"/>
                  </a:lnTo>
                  <a:lnTo>
                    <a:pt x="8480" y="7107"/>
                  </a:lnTo>
                  <a:lnTo>
                    <a:pt x="8482" y="7114"/>
                  </a:lnTo>
                  <a:lnTo>
                    <a:pt x="8484" y="7122"/>
                  </a:lnTo>
                  <a:lnTo>
                    <a:pt x="8487" y="7139"/>
                  </a:lnTo>
                  <a:lnTo>
                    <a:pt x="8487" y="7156"/>
                  </a:lnTo>
                  <a:lnTo>
                    <a:pt x="8486" y="7164"/>
                  </a:lnTo>
                  <a:lnTo>
                    <a:pt x="8484" y="7172"/>
                  </a:lnTo>
                  <a:lnTo>
                    <a:pt x="8481" y="7178"/>
                  </a:lnTo>
                  <a:lnTo>
                    <a:pt x="8477" y="7184"/>
                  </a:lnTo>
                  <a:lnTo>
                    <a:pt x="8466" y="7194"/>
                  </a:lnTo>
                  <a:lnTo>
                    <a:pt x="8455" y="7208"/>
                  </a:lnTo>
                  <a:lnTo>
                    <a:pt x="8448" y="7219"/>
                  </a:lnTo>
                  <a:lnTo>
                    <a:pt x="8443" y="7232"/>
                  </a:lnTo>
                  <a:lnTo>
                    <a:pt x="8439" y="7243"/>
                  </a:lnTo>
                  <a:lnTo>
                    <a:pt x="8437" y="7254"/>
                  </a:lnTo>
                  <a:lnTo>
                    <a:pt x="8435" y="7280"/>
                  </a:lnTo>
                  <a:lnTo>
                    <a:pt x="8435" y="7308"/>
                  </a:lnTo>
                  <a:lnTo>
                    <a:pt x="8437" y="7318"/>
                  </a:lnTo>
                  <a:lnTo>
                    <a:pt x="8439" y="7328"/>
                  </a:lnTo>
                  <a:lnTo>
                    <a:pt x="8442" y="7337"/>
                  </a:lnTo>
                  <a:lnTo>
                    <a:pt x="8446" y="7345"/>
                  </a:lnTo>
                  <a:lnTo>
                    <a:pt x="8451" y="7353"/>
                  </a:lnTo>
                  <a:lnTo>
                    <a:pt x="8455" y="7362"/>
                  </a:lnTo>
                  <a:lnTo>
                    <a:pt x="8460" y="7371"/>
                  </a:lnTo>
                  <a:lnTo>
                    <a:pt x="8463" y="7382"/>
                  </a:lnTo>
                  <a:lnTo>
                    <a:pt x="8472" y="7413"/>
                  </a:lnTo>
                  <a:lnTo>
                    <a:pt x="8480" y="7441"/>
                  </a:lnTo>
                  <a:lnTo>
                    <a:pt x="8485" y="7454"/>
                  </a:lnTo>
                  <a:lnTo>
                    <a:pt x="8492" y="7465"/>
                  </a:lnTo>
                  <a:lnTo>
                    <a:pt x="8497" y="7471"/>
                  </a:lnTo>
                  <a:lnTo>
                    <a:pt x="8501" y="7476"/>
                  </a:lnTo>
                  <a:lnTo>
                    <a:pt x="8508" y="7481"/>
                  </a:lnTo>
                  <a:lnTo>
                    <a:pt x="8514" y="7486"/>
                  </a:lnTo>
                  <a:lnTo>
                    <a:pt x="8524" y="7492"/>
                  </a:lnTo>
                  <a:lnTo>
                    <a:pt x="8533" y="7496"/>
                  </a:lnTo>
                  <a:lnTo>
                    <a:pt x="8544" y="7499"/>
                  </a:lnTo>
                  <a:lnTo>
                    <a:pt x="8553" y="7501"/>
                  </a:lnTo>
                  <a:lnTo>
                    <a:pt x="8573" y="7504"/>
                  </a:lnTo>
                  <a:lnTo>
                    <a:pt x="8595" y="7506"/>
                  </a:lnTo>
                  <a:lnTo>
                    <a:pt x="8595" y="7517"/>
                  </a:lnTo>
                  <a:lnTo>
                    <a:pt x="8596" y="7527"/>
                  </a:lnTo>
                  <a:lnTo>
                    <a:pt x="8597" y="7537"/>
                  </a:lnTo>
                  <a:lnTo>
                    <a:pt x="8599" y="7547"/>
                  </a:lnTo>
                  <a:lnTo>
                    <a:pt x="8603" y="7556"/>
                  </a:lnTo>
                  <a:lnTo>
                    <a:pt x="8607" y="7564"/>
                  </a:lnTo>
                  <a:lnTo>
                    <a:pt x="8613" y="7571"/>
                  </a:lnTo>
                  <a:lnTo>
                    <a:pt x="8620" y="7580"/>
                  </a:lnTo>
                  <a:lnTo>
                    <a:pt x="8624" y="7574"/>
                  </a:lnTo>
                  <a:lnTo>
                    <a:pt x="8629" y="7569"/>
                  </a:lnTo>
                  <a:lnTo>
                    <a:pt x="8633" y="7565"/>
                  </a:lnTo>
                  <a:lnTo>
                    <a:pt x="8639" y="7562"/>
                  </a:lnTo>
                  <a:lnTo>
                    <a:pt x="8648" y="7556"/>
                  </a:lnTo>
                  <a:lnTo>
                    <a:pt x="8658" y="7551"/>
                  </a:lnTo>
                  <a:lnTo>
                    <a:pt x="8668" y="7546"/>
                  </a:lnTo>
                  <a:lnTo>
                    <a:pt x="8678" y="7539"/>
                  </a:lnTo>
                  <a:lnTo>
                    <a:pt x="8682" y="7535"/>
                  </a:lnTo>
                  <a:lnTo>
                    <a:pt x="8686" y="7531"/>
                  </a:lnTo>
                  <a:lnTo>
                    <a:pt x="8690" y="7527"/>
                  </a:lnTo>
                  <a:lnTo>
                    <a:pt x="8694" y="7522"/>
                  </a:lnTo>
                  <a:lnTo>
                    <a:pt x="8704" y="7526"/>
                  </a:lnTo>
                  <a:lnTo>
                    <a:pt x="8710" y="7531"/>
                  </a:lnTo>
                  <a:lnTo>
                    <a:pt x="8716" y="7537"/>
                  </a:lnTo>
                  <a:lnTo>
                    <a:pt x="8721" y="7543"/>
                  </a:lnTo>
                  <a:lnTo>
                    <a:pt x="8726" y="7550"/>
                  </a:lnTo>
                  <a:lnTo>
                    <a:pt x="8732" y="7556"/>
                  </a:lnTo>
                  <a:lnTo>
                    <a:pt x="8740" y="7562"/>
                  </a:lnTo>
                  <a:lnTo>
                    <a:pt x="8748" y="7566"/>
                  </a:lnTo>
                  <a:lnTo>
                    <a:pt x="8752" y="7565"/>
                  </a:lnTo>
                  <a:lnTo>
                    <a:pt x="8757" y="7564"/>
                  </a:lnTo>
                  <a:lnTo>
                    <a:pt x="8763" y="7564"/>
                  </a:lnTo>
                  <a:lnTo>
                    <a:pt x="8770" y="7566"/>
                  </a:lnTo>
                  <a:lnTo>
                    <a:pt x="8776" y="7568"/>
                  </a:lnTo>
                  <a:lnTo>
                    <a:pt x="8781" y="7571"/>
                  </a:lnTo>
                  <a:lnTo>
                    <a:pt x="8786" y="7574"/>
                  </a:lnTo>
                  <a:lnTo>
                    <a:pt x="8791" y="7576"/>
                  </a:lnTo>
                  <a:lnTo>
                    <a:pt x="8797" y="7579"/>
                  </a:lnTo>
                  <a:lnTo>
                    <a:pt x="8805" y="7580"/>
                  </a:lnTo>
                  <a:lnTo>
                    <a:pt x="8811" y="7579"/>
                  </a:lnTo>
                  <a:lnTo>
                    <a:pt x="8816" y="7576"/>
                  </a:lnTo>
                  <a:lnTo>
                    <a:pt x="8821" y="7574"/>
                  </a:lnTo>
                  <a:lnTo>
                    <a:pt x="8826" y="7571"/>
                  </a:lnTo>
                  <a:lnTo>
                    <a:pt x="8837" y="7564"/>
                  </a:lnTo>
                  <a:lnTo>
                    <a:pt x="8848" y="7558"/>
                  </a:lnTo>
                  <a:lnTo>
                    <a:pt x="8871" y="7549"/>
                  </a:lnTo>
                  <a:lnTo>
                    <a:pt x="8891" y="7540"/>
                  </a:lnTo>
                  <a:lnTo>
                    <a:pt x="8911" y="7531"/>
                  </a:lnTo>
                  <a:lnTo>
                    <a:pt x="8933" y="7519"/>
                  </a:lnTo>
                  <a:lnTo>
                    <a:pt x="8960" y="7505"/>
                  </a:lnTo>
                  <a:lnTo>
                    <a:pt x="8986" y="7495"/>
                  </a:lnTo>
                  <a:lnTo>
                    <a:pt x="8999" y="7489"/>
                  </a:lnTo>
                  <a:lnTo>
                    <a:pt x="9011" y="7481"/>
                  </a:lnTo>
                  <a:lnTo>
                    <a:pt x="9023" y="7473"/>
                  </a:lnTo>
                  <a:lnTo>
                    <a:pt x="9036" y="7462"/>
                  </a:lnTo>
                  <a:lnTo>
                    <a:pt x="9038" y="7458"/>
                  </a:lnTo>
                  <a:lnTo>
                    <a:pt x="9037" y="7462"/>
                  </a:lnTo>
                  <a:lnTo>
                    <a:pt x="9036" y="7466"/>
                  </a:lnTo>
                  <a:lnTo>
                    <a:pt x="9034" y="7470"/>
                  </a:lnTo>
                  <a:lnTo>
                    <a:pt x="9032" y="7473"/>
                  </a:lnTo>
                  <a:lnTo>
                    <a:pt x="9027" y="7480"/>
                  </a:lnTo>
                  <a:lnTo>
                    <a:pt x="9022" y="7489"/>
                  </a:lnTo>
                  <a:lnTo>
                    <a:pt x="9017" y="7498"/>
                  </a:lnTo>
                  <a:lnTo>
                    <a:pt x="9012" y="7506"/>
                  </a:lnTo>
                  <a:lnTo>
                    <a:pt x="9010" y="7510"/>
                  </a:lnTo>
                  <a:lnTo>
                    <a:pt x="9007" y="7515"/>
                  </a:lnTo>
                  <a:lnTo>
                    <a:pt x="9003" y="7518"/>
                  </a:lnTo>
                  <a:lnTo>
                    <a:pt x="8999" y="7522"/>
                  </a:lnTo>
                  <a:lnTo>
                    <a:pt x="8984" y="7527"/>
                  </a:lnTo>
                  <a:lnTo>
                    <a:pt x="8970" y="7532"/>
                  </a:lnTo>
                  <a:lnTo>
                    <a:pt x="8954" y="7539"/>
                  </a:lnTo>
                  <a:lnTo>
                    <a:pt x="8941" y="7546"/>
                  </a:lnTo>
                  <a:lnTo>
                    <a:pt x="8935" y="7549"/>
                  </a:lnTo>
                  <a:lnTo>
                    <a:pt x="8928" y="7552"/>
                  </a:lnTo>
                  <a:lnTo>
                    <a:pt x="8922" y="7556"/>
                  </a:lnTo>
                  <a:lnTo>
                    <a:pt x="8915" y="7561"/>
                  </a:lnTo>
                  <a:lnTo>
                    <a:pt x="8905" y="7572"/>
                  </a:lnTo>
                  <a:lnTo>
                    <a:pt x="8895" y="7584"/>
                  </a:lnTo>
                  <a:lnTo>
                    <a:pt x="8891" y="7589"/>
                  </a:lnTo>
                  <a:lnTo>
                    <a:pt x="8887" y="7594"/>
                  </a:lnTo>
                  <a:lnTo>
                    <a:pt x="8882" y="7599"/>
                  </a:lnTo>
                  <a:lnTo>
                    <a:pt x="8875" y="7604"/>
                  </a:lnTo>
                  <a:lnTo>
                    <a:pt x="8869" y="7607"/>
                  </a:lnTo>
                  <a:lnTo>
                    <a:pt x="8862" y="7611"/>
                  </a:lnTo>
                  <a:lnTo>
                    <a:pt x="8856" y="7615"/>
                  </a:lnTo>
                  <a:lnTo>
                    <a:pt x="8851" y="7619"/>
                  </a:lnTo>
                  <a:lnTo>
                    <a:pt x="8855" y="7623"/>
                  </a:lnTo>
                  <a:lnTo>
                    <a:pt x="8859" y="7626"/>
                  </a:lnTo>
                  <a:lnTo>
                    <a:pt x="8861" y="7630"/>
                  </a:lnTo>
                  <a:lnTo>
                    <a:pt x="8864" y="7634"/>
                  </a:lnTo>
                  <a:lnTo>
                    <a:pt x="8866" y="7638"/>
                  </a:lnTo>
                  <a:lnTo>
                    <a:pt x="8867" y="7644"/>
                  </a:lnTo>
                  <a:lnTo>
                    <a:pt x="8868" y="7649"/>
                  </a:lnTo>
                  <a:lnTo>
                    <a:pt x="8868" y="7654"/>
                  </a:lnTo>
                  <a:lnTo>
                    <a:pt x="8868" y="7660"/>
                  </a:lnTo>
                  <a:lnTo>
                    <a:pt x="8866" y="7666"/>
                  </a:lnTo>
                  <a:lnTo>
                    <a:pt x="8863" y="7671"/>
                  </a:lnTo>
                  <a:lnTo>
                    <a:pt x="8860" y="7676"/>
                  </a:lnTo>
                  <a:lnTo>
                    <a:pt x="8857" y="7680"/>
                  </a:lnTo>
                  <a:lnTo>
                    <a:pt x="8853" y="7683"/>
                  </a:lnTo>
                  <a:lnTo>
                    <a:pt x="8848" y="7686"/>
                  </a:lnTo>
                  <a:lnTo>
                    <a:pt x="8843" y="7689"/>
                  </a:lnTo>
                  <a:lnTo>
                    <a:pt x="8830" y="7693"/>
                  </a:lnTo>
                  <a:lnTo>
                    <a:pt x="8818" y="7696"/>
                  </a:lnTo>
                  <a:lnTo>
                    <a:pt x="8805" y="7698"/>
                  </a:lnTo>
                  <a:lnTo>
                    <a:pt x="8791" y="7698"/>
                  </a:lnTo>
                  <a:lnTo>
                    <a:pt x="8779" y="7698"/>
                  </a:lnTo>
                  <a:lnTo>
                    <a:pt x="8768" y="7697"/>
                  </a:lnTo>
                  <a:lnTo>
                    <a:pt x="8756" y="7695"/>
                  </a:lnTo>
                  <a:lnTo>
                    <a:pt x="8744" y="7691"/>
                  </a:lnTo>
                  <a:lnTo>
                    <a:pt x="8735" y="7686"/>
                  </a:lnTo>
                  <a:lnTo>
                    <a:pt x="8726" y="7680"/>
                  </a:lnTo>
                  <a:lnTo>
                    <a:pt x="8719" y="7674"/>
                  </a:lnTo>
                  <a:lnTo>
                    <a:pt x="8713" y="7666"/>
                  </a:lnTo>
                  <a:lnTo>
                    <a:pt x="8706" y="7661"/>
                  </a:lnTo>
                  <a:lnTo>
                    <a:pt x="8698" y="7656"/>
                  </a:lnTo>
                  <a:lnTo>
                    <a:pt x="8694" y="7654"/>
                  </a:lnTo>
                  <a:lnTo>
                    <a:pt x="8689" y="7652"/>
                  </a:lnTo>
                  <a:lnTo>
                    <a:pt x="8685" y="7652"/>
                  </a:lnTo>
                  <a:lnTo>
                    <a:pt x="8679" y="7651"/>
                  </a:lnTo>
                  <a:lnTo>
                    <a:pt x="8665" y="7656"/>
                  </a:lnTo>
                  <a:lnTo>
                    <a:pt x="8651" y="7662"/>
                  </a:lnTo>
                  <a:lnTo>
                    <a:pt x="8642" y="7661"/>
                  </a:lnTo>
                  <a:lnTo>
                    <a:pt x="8632" y="7658"/>
                  </a:lnTo>
                  <a:lnTo>
                    <a:pt x="8625" y="7655"/>
                  </a:lnTo>
                  <a:lnTo>
                    <a:pt x="8617" y="7651"/>
                  </a:lnTo>
                  <a:lnTo>
                    <a:pt x="8610" y="7647"/>
                  </a:lnTo>
                  <a:lnTo>
                    <a:pt x="8603" y="7643"/>
                  </a:lnTo>
                  <a:lnTo>
                    <a:pt x="8593" y="7641"/>
                  </a:lnTo>
                  <a:lnTo>
                    <a:pt x="8584" y="7639"/>
                  </a:lnTo>
                  <a:lnTo>
                    <a:pt x="8578" y="7639"/>
                  </a:lnTo>
                  <a:lnTo>
                    <a:pt x="8573" y="7642"/>
                  </a:lnTo>
                  <a:lnTo>
                    <a:pt x="8569" y="7644"/>
                  </a:lnTo>
                  <a:lnTo>
                    <a:pt x="8564" y="7646"/>
                  </a:lnTo>
                  <a:lnTo>
                    <a:pt x="8560" y="7648"/>
                  </a:lnTo>
                  <a:lnTo>
                    <a:pt x="8555" y="7650"/>
                  </a:lnTo>
                  <a:lnTo>
                    <a:pt x="8550" y="7652"/>
                  </a:lnTo>
                  <a:lnTo>
                    <a:pt x="8545" y="7652"/>
                  </a:lnTo>
                  <a:lnTo>
                    <a:pt x="8522" y="7652"/>
                  </a:lnTo>
                  <a:lnTo>
                    <a:pt x="8510" y="7652"/>
                  </a:lnTo>
                  <a:lnTo>
                    <a:pt x="8499" y="7650"/>
                  </a:lnTo>
                  <a:lnTo>
                    <a:pt x="8490" y="7648"/>
                  </a:lnTo>
                  <a:lnTo>
                    <a:pt x="8481" y="7645"/>
                  </a:lnTo>
                  <a:lnTo>
                    <a:pt x="8472" y="7642"/>
                  </a:lnTo>
                  <a:lnTo>
                    <a:pt x="8461" y="7639"/>
                  </a:lnTo>
                  <a:lnTo>
                    <a:pt x="8451" y="7637"/>
                  </a:lnTo>
                  <a:lnTo>
                    <a:pt x="8440" y="7637"/>
                  </a:lnTo>
                  <a:lnTo>
                    <a:pt x="8404" y="7637"/>
                  </a:lnTo>
                  <a:lnTo>
                    <a:pt x="8398" y="7636"/>
                  </a:lnTo>
                  <a:lnTo>
                    <a:pt x="8394" y="7635"/>
                  </a:lnTo>
                  <a:lnTo>
                    <a:pt x="8390" y="7634"/>
                  </a:lnTo>
                  <a:lnTo>
                    <a:pt x="8386" y="7633"/>
                  </a:lnTo>
                  <a:lnTo>
                    <a:pt x="8378" y="7628"/>
                  </a:lnTo>
                  <a:lnTo>
                    <a:pt x="8369" y="7624"/>
                  </a:lnTo>
                  <a:lnTo>
                    <a:pt x="8355" y="7618"/>
                  </a:lnTo>
                  <a:lnTo>
                    <a:pt x="8342" y="7615"/>
                  </a:lnTo>
                  <a:lnTo>
                    <a:pt x="8328" y="7611"/>
                  </a:lnTo>
                  <a:lnTo>
                    <a:pt x="8313" y="7606"/>
                  </a:lnTo>
                  <a:lnTo>
                    <a:pt x="8301" y="7601"/>
                  </a:lnTo>
                  <a:lnTo>
                    <a:pt x="8292" y="7595"/>
                  </a:lnTo>
                  <a:lnTo>
                    <a:pt x="8284" y="7589"/>
                  </a:lnTo>
                  <a:lnTo>
                    <a:pt x="8273" y="7584"/>
                  </a:lnTo>
                  <a:lnTo>
                    <a:pt x="8255" y="7592"/>
                  </a:lnTo>
                  <a:lnTo>
                    <a:pt x="8240" y="7597"/>
                  </a:lnTo>
                  <a:lnTo>
                    <a:pt x="8232" y="7599"/>
                  </a:lnTo>
                  <a:lnTo>
                    <a:pt x="8224" y="7600"/>
                  </a:lnTo>
                  <a:lnTo>
                    <a:pt x="8215" y="7601"/>
                  </a:lnTo>
                  <a:lnTo>
                    <a:pt x="8206" y="7601"/>
                  </a:lnTo>
                  <a:lnTo>
                    <a:pt x="8177" y="7601"/>
                  </a:lnTo>
                  <a:lnTo>
                    <a:pt x="8160" y="7601"/>
                  </a:lnTo>
                  <a:lnTo>
                    <a:pt x="8145" y="7599"/>
                  </a:lnTo>
                  <a:lnTo>
                    <a:pt x="8130" y="7596"/>
                  </a:lnTo>
                  <a:lnTo>
                    <a:pt x="8118" y="7594"/>
                  </a:lnTo>
                  <a:lnTo>
                    <a:pt x="8096" y="7588"/>
                  </a:lnTo>
                  <a:lnTo>
                    <a:pt x="8083" y="7584"/>
                  </a:lnTo>
                  <a:lnTo>
                    <a:pt x="8081" y="7584"/>
                  </a:lnTo>
                  <a:lnTo>
                    <a:pt x="8079" y="7584"/>
                  </a:lnTo>
                  <a:lnTo>
                    <a:pt x="8079" y="7585"/>
                  </a:lnTo>
                  <a:lnTo>
                    <a:pt x="8078" y="7586"/>
                  </a:lnTo>
                  <a:lnTo>
                    <a:pt x="8080" y="7589"/>
                  </a:lnTo>
                  <a:lnTo>
                    <a:pt x="8085" y="7595"/>
                  </a:lnTo>
                  <a:lnTo>
                    <a:pt x="8103" y="7616"/>
                  </a:lnTo>
                  <a:lnTo>
                    <a:pt x="8137" y="7649"/>
                  </a:lnTo>
                  <a:lnTo>
                    <a:pt x="8160" y="7668"/>
                  </a:lnTo>
                  <a:lnTo>
                    <a:pt x="8183" y="7685"/>
                  </a:lnTo>
                  <a:lnTo>
                    <a:pt x="8188" y="7689"/>
                  </a:lnTo>
                  <a:lnTo>
                    <a:pt x="8192" y="7694"/>
                  </a:lnTo>
                  <a:lnTo>
                    <a:pt x="8196" y="7698"/>
                  </a:lnTo>
                  <a:lnTo>
                    <a:pt x="8200" y="7703"/>
                  </a:lnTo>
                  <a:lnTo>
                    <a:pt x="8202" y="7710"/>
                  </a:lnTo>
                  <a:lnTo>
                    <a:pt x="8204" y="7716"/>
                  </a:lnTo>
                  <a:lnTo>
                    <a:pt x="8207" y="7722"/>
                  </a:lnTo>
                  <a:lnTo>
                    <a:pt x="8207" y="7730"/>
                  </a:lnTo>
                  <a:lnTo>
                    <a:pt x="8207" y="7733"/>
                  </a:lnTo>
                  <a:lnTo>
                    <a:pt x="8208" y="7736"/>
                  </a:lnTo>
                  <a:lnTo>
                    <a:pt x="8208" y="7734"/>
                  </a:lnTo>
                  <a:lnTo>
                    <a:pt x="8209" y="7732"/>
                  </a:lnTo>
                  <a:lnTo>
                    <a:pt x="8212" y="7723"/>
                  </a:lnTo>
                  <a:lnTo>
                    <a:pt x="8216" y="7710"/>
                  </a:lnTo>
                  <a:lnTo>
                    <a:pt x="8222" y="7695"/>
                  </a:lnTo>
                  <a:lnTo>
                    <a:pt x="8228" y="7682"/>
                  </a:lnTo>
                  <a:lnTo>
                    <a:pt x="8232" y="7676"/>
                  </a:lnTo>
                  <a:lnTo>
                    <a:pt x="8237" y="7671"/>
                  </a:lnTo>
                  <a:lnTo>
                    <a:pt x="8242" y="7668"/>
                  </a:lnTo>
                  <a:lnTo>
                    <a:pt x="8247" y="7667"/>
                  </a:lnTo>
                  <a:lnTo>
                    <a:pt x="8275" y="7667"/>
                  </a:lnTo>
                  <a:lnTo>
                    <a:pt x="8283" y="7665"/>
                  </a:lnTo>
                  <a:lnTo>
                    <a:pt x="8292" y="7663"/>
                  </a:lnTo>
                  <a:lnTo>
                    <a:pt x="8302" y="7663"/>
                  </a:lnTo>
                  <a:lnTo>
                    <a:pt x="8313" y="7665"/>
                  </a:lnTo>
                  <a:lnTo>
                    <a:pt x="8322" y="7668"/>
                  </a:lnTo>
                  <a:lnTo>
                    <a:pt x="8330" y="7673"/>
                  </a:lnTo>
                  <a:lnTo>
                    <a:pt x="8346" y="7683"/>
                  </a:lnTo>
                  <a:lnTo>
                    <a:pt x="8360" y="7695"/>
                  </a:lnTo>
                  <a:lnTo>
                    <a:pt x="8376" y="7707"/>
                  </a:lnTo>
                  <a:lnTo>
                    <a:pt x="8391" y="7717"/>
                  </a:lnTo>
                  <a:lnTo>
                    <a:pt x="8399" y="7721"/>
                  </a:lnTo>
                  <a:lnTo>
                    <a:pt x="8409" y="7724"/>
                  </a:lnTo>
                  <a:lnTo>
                    <a:pt x="8419" y="7726"/>
                  </a:lnTo>
                  <a:lnTo>
                    <a:pt x="8429" y="7726"/>
                  </a:lnTo>
                  <a:lnTo>
                    <a:pt x="8434" y="7726"/>
                  </a:lnTo>
                  <a:lnTo>
                    <a:pt x="8439" y="7725"/>
                  </a:lnTo>
                  <a:lnTo>
                    <a:pt x="8443" y="7723"/>
                  </a:lnTo>
                  <a:lnTo>
                    <a:pt x="8446" y="7721"/>
                  </a:lnTo>
                  <a:lnTo>
                    <a:pt x="8450" y="7719"/>
                  </a:lnTo>
                  <a:lnTo>
                    <a:pt x="8453" y="7717"/>
                  </a:lnTo>
                  <a:lnTo>
                    <a:pt x="8457" y="7715"/>
                  </a:lnTo>
                  <a:lnTo>
                    <a:pt x="8462" y="7715"/>
                  </a:lnTo>
                  <a:lnTo>
                    <a:pt x="8470" y="7716"/>
                  </a:lnTo>
                  <a:lnTo>
                    <a:pt x="8477" y="7717"/>
                  </a:lnTo>
                  <a:lnTo>
                    <a:pt x="8484" y="7716"/>
                  </a:lnTo>
                  <a:lnTo>
                    <a:pt x="8491" y="7715"/>
                  </a:lnTo>
                  <a:lnTo>
                    <a:pt x="8497" y="7716"/>
                  </a:lnTo>
                  <a:lnTo>
                    <a:pt x="8503" y="7718"/>
                  </a:lnTo>
                  <a:lnTo>
                    <a:pt x="8507" y="7722"/>
                  </a:lnTo>
                  <a:lnTo>
                    <a:pt x="8510" y="7727"/>
                  </a:lnTo>
                  <a:lnTo>
                    <a:pt x="8516" y="7739"/>
                  </a:lnTo>
                  <a:lnTo>
                    <a:pt x="8521" y="7751"/>
                  </a:lnTo>
                  <a:lnTo>
                    <a:pt x="8528" y="7765"/>
                  </a:lnTo>
                  <a:lnTo>
                    <a:pt x="8534" y="7779"/>
                  </a:lnTo>
                  <a:lnTo>
                    <a:pt x="8540" y="7792"/>
                  </a:lnTo>
                  <a:lnTo>
                    <a:pt x="8544" y="7808"/>
                  </a:lnTo>
                  <a:lnTo>
                    <a:pt x="8542" y="7810"/>
                  </a:lnTo>
                  <a:lnTo>
                    <a:pt x="8539" y="7811"/>
                  </a:lnTo>
                  <a:lnTo>
                    <a:pt x="8530" y="7808"/>
                  </a:lnTo>
                  <a:lnTo>
                    <a:pt x="8522" y="7806"/>
                  </a:lnTo>
                  <a:lnTo>
                    <a:pt x="8515" y="7806"/>
                  </a:lnTo>
                  <a:lnTo>
                    <a:pt x="8509" y="7807"/>
                  </a:lnTo>
                  <a:lnTo>
                    <a:pt x="8507" y="7814"/>
                  </a:lnTo>
                  <a:lnTo>
                    <a:pt x="8505" y="7820"/>
                  </a:lnTo>
                  <a:lnTo>
                    <a:pt x="8499" y="7825"/>
                  </a:lnTo>
                  <a:lnTo>
                    <a:pt x="8494" y="7829"/>
                  </a:lnTo>
                  <a:lnTo>
                    <a:pt x="8482" y="7836"/>
                  </a:lnTo>
                  <a:lnTo>
                    <a:pt x="8468" y="7842"/>
                  </a:lnTo>
                  <a:lnTo>
                    <a:pt x="8451" y="7851"/>
                  </a:lnTo>
                  <a:lnTo>
                    <a:pt x="8434" y="7858"/>
                  </a:lnTo>
                  <a:lnTo>
                    <a:pt x="8426" y="7861"/>
                  </a:lnTo>
                  <a:lnTo>
                    <a:pt x="8417" y="7864"/>
                  </a:lnTo>
                  <a:lnTo>
                    <a:pt x="8408" y="7866"/>
                  </a:lnTo>
                  <a:lnTo>
                    <a:pt x="8397" y="7866"/>
                  </a:lnTo>
                  <a:lnTo>
                    <a:pt x="8379" y="7867"/>
                  </a:lnTo>
                  <a:lnTo>
                    <a:pt x="8362" y="7869"/>
                  </a:lnTo>
                  <a:lnTo>
                    <a:pt x="8346" y="7870"/>
                  </a:lnTo>
                  <a:lnTo>
                    <a:pt x="8327" y="7872"/>
                  </a:lnTo>
                  <a:lnTo>
                    <a:pt x="8312" y="7873"/>
                  </a:lnTo>
                  <a:lnTo>
                    <a:pt x="8298" y="7876"/>
                  </a:lnTo>
                  <a:lnTo>
                    <a:pt x="8292" y="7878"/>
                  </a:lnTo>
                  <a:lnTo>
                    <a:pt x="8287" y="7882"/>
                  </a:lnTo>
                  <a:lnTo>
                    <a:pt x="8286" y="7884"/>
                  </a:lnTo>
                  <a:lnTo>
                    <a:pt x="8284" y="7887"/>
                  </a:lnTo>
                  <a:lnTo>
                    <a:pt x="8284" y="7889"/>
                  </a:lnTo>
                  <a:lnTo>
                    <a:pt x="8283" y="7894"/>
                  </a:lnTo>
                  <a:lnTo>
                    <a:pt x="8284" y="7903"/>
                  </a:lnTo>
                  <a:lnTo>
                    <a:pt x="8286" y="7912"/>
                  </a:lnTo>
                  <a:lnTo>
                    <a:pt x="8287" y="7916"/>
                  </a:lnTo>
                  <a:lnTo>
                    <a:pt x="8289" y="7919"/>
                  </a:lnTo>
                  <a:lnTo>
                    <a:pt x="8292" y="7923"/>
                  </a:lnTo>
                  <a:lnTo>
                    <a:pt x="8296" y="7927"/>
                  </a:lnTo>
                  <a:lnTo>
                    <a:pt x="8299" y="7928"/>
                  </a:lnTo>
                  <a:lnTo>
                    <a:pt x="8302" y="7929"/>
                  </a:lnTo>
                  <a:lnTo>
                    <a:pt x="8306" y="7929"/>
                  </a:lnTo>
                  <a:lnTo>
                    <a:pt x="8308" y="7929"/>
                  </a:lnTo>
                  <a:lnTo>
                    <a:pt x="8315" y="7928"/>
                  </a:lnTo>
                  <a:lnTo>
                    <a:pt x="8321" y="7929"/>
                  </a:lnTo>
                  <a:lnTo>
                    <a:pt x="8331" y="7933"/>
                  </a:lnTo>
                  <a:lnTo>
                    <a:pt x="8340" y="7939"/>
                  </a:lnTo>
                  <a:lnTo>
                    <a:pt x="8344" y="7942"/>
                  </a:lnTo>
                  <a:lnTo>
                    <a:pt x="8349" y="7944"/>
                  </a:lnTo>
                  <a:lnTo>
                    <a:pt x="8353" y="7945"/>
                  </a:lnTo>
                  <a:lnTo>
                    <a:pt x="8359" y="7946"/>
                  </a:lnTo>
                  <a:lnTo>
                    <a:pt x="8369" y="7943"/>
                  </a:lnTo>
                  <a:lnTo>
                    <a:pt x="8379" y="7938"/>
                  </a:lnTo>
                  <a:lnTo>
                    <a:pt x="8385" y="7937"/>
                  </a:lnTo>
                  <a:lnTo>
                    <a:pt x="8390" y="7936"/>
                  </a:lnTo>
                  <a:lnTo>
                    <a:pt x="8393" y="7935"/>
                  </a:lnTo>
                  <a:lnTo>
                    <a:pt x="8394" y="7933"/>
                  </a:lnTo>
                  <a:lnTo>
                    <a:pt x="8396" y="7931"/>
                  </a:lnTo>
                  <a:lnTo>
                    <a:pt x="8396" y="7929"/>
                  </a:lnTo>
                  <a:lnTo>
                    <a:pt x="8395" y="7922"/>
                  </a:lnTo>
                  <a:lnTo>
                    <a:pt x="8394" y="7916"/>
                  </a:lnTo>
                  <a:lnTo>
                    <a:pt x="8394" y="7910"/>
                  </a:lnTo>
                  <a:lnTo>
                    <a:pt x="8395" y="7903"/>
                  </a:lnTo>
                  <a:lnTo>
                    <a:pt x="8395" y="7900"/>
                  </a:lnTo>
                  <a:lnTo>
                    <a:pt x="8397" y="7898"/>
                  </a:lnTo>
                  <a:lnTo>
                    <a:pt x="8399" y="7896"/>
                  </a:lnTo>
                  <a:lnTo>
                    <a:pt x="8402" y="7896"/>
                  </a:lnTo>
                  <a:lnTo>
                    <a:pt x="8408" y="7896"/>
                  </a:lnTo>
                  <a:lnTo>
                    <a:pt x="8413" y="7897"/>
                  </a:lnTo>
                  <a:lnTo>
                    <a:pt x="8418" y="7899"/>
                  </a:lnTo>
                  <a:lnTo>
                    <a:pt x="8422" y="7901"/>
                  </a:lnTo>
                  <a:lnTo>
                    <a:pt x="8430" y="7906"/>
                  </a:lnTo>
                  <a:lnTo>
                    <a:pt x="8437" y="7913"/>
                  </a:lnTo>
                  <a:lnTo>
                    <a:pt x="8449" y="7931"/>
                  </a:lnTo>
                  <a:lnTo>
                    <a:pt x="8462" y="7949"/>
                  </a:lnTo>
                  <a:lnTo>
                    <a:pt x="8466" y="7954"/>
                  </a:lnTo>
                  <a:lnTo>
                    <a:pt x="8471" y="7958"/>
                  </a:lnTo>
                  <a:lnTo>
                    <a:pt x="8475" y="7960"/>
                  </a:lnTo>
                  <a:lnTo>
                    <a:pt x="8479" y="7962"/>
                  </a:lnTo>
                  <a:lnTo>
                    <a:pt x="8488" y="7965"/>
                  </a:lnTo>
                  <a:lnTo>
                    <a:pt x="8497" y="7966"/>
                  </a:lnTo>
                  <a:lnTo>
                    <a:pt x="8519" y="7965"/>
                  </a:lnTo>
                  <a:lnTo>
                    <a:pt x="8542" y="7965"/>
                  </a:lnTo>
                  <a:lnTo>
                    <a:pt x="8547" y="7966"/>
                  </a:lnTo>
                  <a:lnTo>
                    <a:pt x="8552" y="7967"/>
                  </a:lnTo>
                  <a:lnTo>
                    <a:pt x="8556" y="7969"/>
                  </a:lnTo>
                  <a:lnTo>
                    <a:pt x="8560" y="7971"/>
                  </a:lnTo>
                  <a:lnTo>
                    <a:pt x="8567" y="7977"/>
                  </a:lnTo>
                  <a:lnTo>
                    <a:pt x="8574" y="7984"/>
                  </a:lnTo>
                  <a:lnTo>
                    <a:pt x="8585" y="8002"/>
                  </a:lnTo>
                  <a:lnTo>
                    <a:pt x="8598" y="8021"/>
                  </a:lnTo>
                  <a:lnTo>
                    <a:pt x="8607" y="8030"/>
                  </a:lnTo>
                  <a:lnTo>
                    <a:pt x="8617" y="8037"/>
                  </a:lnTo>
                  <a:lnTo>
                    <a:pt x="8627" y="8042"/>
                  </a:lnTo>
                  <a:lnTo>
                    <a:pt x="8638" y="8046"/>
                  </a:lnTo>
                  <a:lnTo>
                    <a:pt x="8649" y="8048"/>
                  </a:lnTo>
                  <a:lnTo>
                    <a:pt x="8660" y="8050"/>
                  </a:lnTo>
                  <a:lnTo>
                    <a:pt x="8674" y="8051"/>
                  </a:lnTo>
                  <a:lnTo>
                    <a:pt x="8687" y="8051"/>
                  </a:lnTo>
                  <a:lnTo>
                    <a:pt x="8696" y="8051"/>
                  </a:lnTo>
                  <a:lnTo>
                    <a:pt x="8706" y="8051"/>
                  </a:lnTo>
                  <a:lnTo>
                    <a:pt x="8715" y="8051"/>
                  </a:lnTo>
                  <a:lnTo>
                    <a:pt x="8725" y="8050"/>
                  </a:lnTo>
                  <a:lnTo>
                    <a:pt x="8725" y="8058"/>
                  </a:lnTo>
                  <a:lnTo>
                    <a:pt x="8725" y="8065"/>
                  </a:lnTo>
                  <a:lnTo>
                    <a:pt x="8726" y="8076"/>
                  </a:lnTo>
                  <a:lnTo>
                    <a:pt x="8727" y="8086"/>
                  </a:lnTo>
                  <a:lnTo>
                    <a:pt x="8729" y="8095"/>
                  </a:lnTo>
                  <a:lnTo>
                    <a:pt x="8732" y="8105"/>
                  </a:lnTo>
                  <a:lnTo>
                    <a:pt x="8734" y="8112"/>
                  </a:lnTo>
                  <a:lnTo>
                    <a:pt x="8734" y="8120"/>
                  </a:lnTo>
                  <a:lnTo>
                    <a:pt x="8734" y="8123"/>
                  </a:lnTo>
                  <a:lnTo>
                    <a:pt x="8735" y="8126"/>
                  </a:lnTo>
                  <a:lnTo>
                    <a:pt x="8736" y="8129"/>
                  </a:lnTo>
                  <a:lnTo>
                    <a:pt x="8739" y="8131"/>
                  </a:lnTo>
                  <a:lnTo>
                    <a:pt x="8743" y="8135"/>
                  </a:lnTo>
                  <a:lnTo>
                    <a:pt x="8747" y="8138"/>
                  </a:lnTo>
                  <a:lnTo>
                    <a:pt x="8752" y="8140"/>
                  </a:lnTo>
                  <a:lnTo>
                    <a:pt x="8756" y="8141"/>
                  </a:lnTo>
                  <a:lnTo>
                    <a:pt x="8767" y="8144"/>
                  </a:lnTo>
                  <a:lnTo>
                    <a:pt x="8777" y="8150"/>
                  </a:lnTo>
                  <a:lnTo>
                    <a:pt x="8786" y="8154"/>
                  </a:lnTo>
                  <a:lnTo>
                    <a:pt x="8794" y="8157"/>
                  </a:lnTo>
                  <a:lnTo>
                    <a:pt x="8802" y="8159"/>
                  </a:lnTo>
                  <a:lnTo>
                    <a:pt x="8810" y="8160"/>
                  </a:lnTo>
                  <a:lnTo>
                    <a:pt x="8826" y="8163"/>
                  </a:lnTo>
                  <a:lnTo>
                    <a:pt x="8844" y="8168"/>
                  </a:lnTo>
                  <a:lnTo>
                    <a:pt x="8874" y="8180"/>
                  </a:lnTo>
                  <a:lnTo>
                    <a:pt x="8900" y="8191"/>
                  </a:lnTo>
                  <a:lnTo>
                    <a:pt x="8913" y="8195"/>
                  </a:lnTo>
                  <a:lnTo>
                    <a:pt x="8926" y="8198"/>
                  </a:lnTo>
                  <a:lnTo>
                    <a:pt x="8942" y="8200"/>
                  </a:lnTo>
                  <a:lnTo>
                    <a:pt x="8957" y="8201"/>
                  </a:lnTo>
                  <a:lnTo>
                    <a:pt x="8985" y="8201"/>
                  </a:lnTo>
                  <a:lnTo>
                    <a:pt x="8990" y="8200"/>
                  </a:lnTo>
                  <a:lnTo>
                    <a:pt x="8993" y="8198"/>
                  </a:lnTo>
                  <a:lnTo>
                    <a:pt x="8996" y="8194"/>
                  </a:lnTo>
                  <a:lnTo>
                    <a:pt x="8998" y="8189"/>
                  </a:lnTo>
                  <a:lnTo>
                    <a:pt x="9000" y="8185"/>
                  </a:lnTo>
                  <a:lnTo>
                    <a:pt x="9002" y="8180"/>
                  </a:lnTo>
                  <a:lnTo>
                    <a:pt x="9005" y="8174"/>
                  </a:lnTo>
                  <a:lnTo>
                    <a:pt x="9008" y="8170"/>
                  </a:lnTo>
                  <a:lnTo>
                    <a:pt x="9017" y="8164"/>
                  </a:lnTo>
                  <a:lnTo>
                    <a:pt x="9025" y="8159"/>
                  </a:lnTo>
                  <a:lnTo>
                    <a:pt x="9034" y="8155"/>
                  </a:lnTo>
                  <a:lnTo>
                    <a:pt x="9042" y="8152"/>
                  </a:lnTo>
                  <a:lnTo>
                    <a:pt x="9051" y="8150"/>
                  </a:lnTo>
                  <a:lnTo>
                    <a:pt x="9060" y="8148"/>
                  </a:lnTo>
                  <a:lnTo>
                    <a:pt x="9071" y="8148"/>
                  </a:lnTo>
                  <a:lnTo>
                    <a:pt x="9081" y="8147"/>
                  </a:lnTo>
                  <a:lnTo>
                    <a:pt x="9089" y="8148"/>
                  </a:lnTo>
                  <a:lnTo>
                    <a:pt x="9097" y="8150"/>
                  </a:lnTo>
                  <a:lnTo>
                    <a:pt x="9104" y="8151"/>
                  </a:lnTo>
                  <a:lnTo>
                    <a:pt x="9112" y="8152"/>
                  </a:lnTo>
                  <a:lnTo>
                    <a:pt x="9120" y="8151"/>
                  </a:lnTo>
                  <a:lnTo>
                    <a:pt x="9126" y="8150"/>
                  </a:lnTo>
                  <a:lnTo>
                    <a:pt x="9133" y="8148"/>
                  </a:lnTo>
                  <a:lnTo>
                    <a:pt x="9138" y="8144"/>
                  </a:lnTo>
                  <a:lnTo>
                    <a:pt x="9149" y="8137"/>
                  </a:lnTo>
                  <a:lnTo>
                    <a:pt x="9161" y="8129"/>
                  </a:lnTo>
                  <a:lnTo>
                    <a:pt x="9171" y="8125"/>
                  </a:lnTo>
                  <a:lnTo>
                    <a:pt x="9179" y="8121"/>
                  </a:lnTo>
                  <a:lnTo>
                    <a:pt x="9187" y="8119"/>
                  </a:lnTo>
                  <a:lnTo>
                    <a:pt x="9194" y="8116"/>
                  </a:lnTo>
                  <a:lnTo>
                    <a:pt x="9203" y="8114"/>
                  </a:lnTo>
                  <a:lnTo>
                    <a:pt x="9211" y="8113"/>
                  </a:lnTo>
                  <a:lnTo>
                    <a:pt x="9220" y="8112"/>
                  </a:lnTo>
                  <a:lnTo>
                    <a:pt x="9231" y="8112"/>
                  </a:lnTo>
                  <a:lnTo>
                    <a:pt x="9237" y="8112"/>
                  </a:lnTo>
                  <a:lnTo>
                    <a:pt x="9243" y="8113"/>
                  </a:lnTo>
                  <a:lnTo>
                    <a:pt x="9248" y="8116"/>
                  </a:lnTo>
                  <a:lnTo>
                    <a:pt x="9254" y="8117"/>
                  </a:lnTo>
                  <a:lnTo>
                    <a:pt x="9264" y="8122"/>
                  </a:lnTo>
                  <a:lnTo>
                    <a:pt x="9274" y="8126"/>
                  </a:lnTo>
                  <a:lnTo>
                    <a:pt x="9283" y="8131"/>
                  </a:lnTo>
                  <a:lnTo>
                    <a:pt x="9293" y="8135"/>
                  </a:lnTo>
                  <a:lnTo>
                    <a:pt x="9299" y="8137"/>
                  </a:lnTo>
                  <a:lnTo>
                    <a:pt x="9305" y="8138"/>
                  </a:lnTo>
                  <a:lnTo>
                    <a:pt x="9311" y="8139"/>
                  </a:lnTo>
                  <a:lnTo>
                    <a:pt x="9317" y="8139"/>
                  </a:lnTo>
                  <a:lnTo>
                    <a:pt x="9332" y="8136"/>
                  </a:lnTo>
                  <a:lnTo>
                    <a:pt x="9346" y="8130"/>
                  </a:lnTo>
                  <a:lnTo>
                    <a:pt x="9358" y="8129"/>
                  </a:lnTo>
                  <a:lnTo>
                    <a:pt x="9369" y="8129"/>
                  </a:lnTo>
                  <a:lnTo>
                    <a:pt x="9379" y="8128"/>
                  </a:lnTo>
                  <a:lnTo>
                    <a:pt x="9391" y="8126"/>
                  </a:lnTo>
                  <a:lnTo>
                    <a:pt x="9401" y="8123"/>
                  </a:lnTo>
                  <a:lnTo>
                    <a:pt x="9410" y="8119"/>
                  </a:lnTo>
                  <a:lnTo>
                    <a:pt x="9413" y="8116"/>
                  </a:lnTo>
                  <a:lnTo>
                    <a:pt x="9416" y="8112"/>
                  </a:lnTo>
                  <a:lnTo>
                    <a:pt x="9419" y="8108"/>
                  </a:lnTo>
                  <a:lnTo>
                    <a:pt x="9420" y="8103"/>
                  </a:lnTo>
                  <a:lnTo>
                    <a:pt x="9421" y="8094"/>
                  </a:lnTo>
                  <a:lnTo>
                    <a:pt x="9421" y="8085"/>
                  </a:lnTo>
                  <a:lnTo>
                    <a:pt x="9422" y="8081"/>
                  </a:lnTo>
                  <a:lnTo>
                    <a:pt x="9423" y="8077"/>
                  </a:lnTo>
                  <a:lnTo>
                    <a:pt x="9425" y="8075"/>
                  </a:lnTo>
                  <a:lnTo>
                    <a:pt x="9429" y="8075"/>
                  </a:lnTo>
                  <a:lnTo>
                    <a:pt x="9434" y="8075"/>
                  </a:lnTo>
                  <a:lnTo>
                    <a:pt x="9439" y="8076"/>
                  </a:lnTo>
                  <a:lnTo>
                    <a:pt x="9443" y="8078"/>
                  </a:lnTo>
                  <a:lnTo>
                    <a:pt x="9447" y="8080"/>
                  </a:lnTo>
                  <a:lnTo>
                    <a:pt x="9454" y="8087"/>
                  </a:lnTo>
                  <a:lnTo>
                    <a:pt x="9461" y="8093"/>
                  </a:lnTo>
                  <a:lnTo>
                    <a:pt x="9468" y="8100"/>
                  </a:lnTo>
                  <a:lnTo>
                    <a:pt x="9475" y="8106"/>
                  </a:lnTo>
                  <a:lnTo>
                    <a:pt x="9478" y="8108"/>
                  </a:lnTo>
                  <a:lnTo>
                    <a:pt x="9483" y="8110"/>
                  </a:lnTo>
                  <a:lnTo>
                    <a:pt x="9487" y="8111"/>
                  </a:lnTo>
                  <a:lnTo>
                    <a:pt x="9493" y="8111"/>
                  </a:lnTo>
                  <a:lnTo>
                    <a:pt x="9499" y="8111"/>
                  </a:lnTo>
                  <a:lnTo>
                    <a:pt x="9505" y="8109"/>
                  </a:lnTo>
                  <a:lnTo>
                    <a:pt x="9510" y="8107"/>
                  </a:lnTo>
                  <a:lnTo>
                    <a:pt x="9514" y="8105"/>
                  </a:lnTo>
                  <a:lnTo>
                    <a:pt x="9524" y="8099"/>
                  </a:lnTo>
                  <a:lnTo>
                    <a:pt x="9535" y="8093"/>
                  </a:lnTo>
                  <a:lnTo>
                    <a:pt x="9547" y="8087"/>
                  </a:lnTo>
                  <a:lnTo>
                    <a:pt x="9559" y="8079"/>
                  </a:lnTo>
                  <a:lnTo>
                    <a:pt x="9563" y="8075"/>
                  </a:lnTo>
                  <a:lnTo>
                    <a:pt x="9567" y="8070"/>
                  </a:lnTo>
                  <a:lnTo>
                    <a:pt x="9569" y="8065"/>
                  </a:lnTo>
                  <a:lnTo>
                    <a:pt x="9569" y="8059"/>
                  </a:lnTo>
                  <a:lnTo>
                    <a:pt x="9571" y="8053"/>
                  </a:lnTo>
                  <a:lnTo>
                    <a:pt x="9575" y="8044"/>
                  </a:lnTo>
                  <a:lnTo>
                    <a:pt x="9581" y="8034"/>
                  </a:lnTo>
                  <a:lnTo>
                    <a:pt x="9587" y="8023"/>
                  </a:lnTo>
                  <a:lnTo>
                    <a:pt x="9595" y="8013"/>
                  </a:lnTo>
                  <a:lnTo>
                    <a:pt x="9600" y="8006"/>
                  </a:lnTo>
                  <a:lnTo>
                    <a:pt x="9603" y="8004"/>
                  </a:lnTo>
                  <a:lnTo>
                    <a:pt x="9604" y="8003"/>
                  </a:lnTo>
                  <a:lnTo>
                    <a:pt x="9605" y="8004"/>
                  </a:lnTo>
                  <a:lnTo>
                    <a:pt x="9606" y="8005"/>
                  </a:lnTo>
                  <a:lnTo>
                    <a:pt x="9605" y="8015"/>
                  </a:lnTo>
                  <a:lnTo>
                    <a:pt x="9603" y="8025"/>
                  </a:lnTo>
                  <a:lnTo>
                    <a:pt x="9601" y="8034"/>
                  </a:lnTo>
                  <a:lnTo>
                    <a:pt x="9600" y="8044"/>
                  </a:lnTo>
                  <a:lnTo>
                    <a:pt x="9600" y="8061"/>
                  </a:lnTo>
                  <a:lnTo>
                    <a:pt x="9600" y="8073"/>
                  </a:lnTo>
                  <a:lnTo>
                    <a:pt x="9599" y="8085"/>
                  </a:lnTo>
                  <a:lnTo>
                    <a:pt x="9597" y="8096"/>
                  </a:lnTo>
                  <a:lnTo>
                    <a:pt x="9594" y="8108"/>
                  </a:lnTo>
                  <a:lnTo>
                    <a:pt x="9597" y="8109"/>
                  </a:lnTo>
                  <a:lnTo>
                    <a:pt x="9599" y="8110"/>
                  </a:lnTo>
                  <a:lnTo>
                    <a:pt x="9613" y="8104"/>
                  </a:lnTo>
                  <a:lnTo>
                    <a:pt x="9629" y="8098"/>
                  </a:lnTo>
                  <a:lnTo>
                    <a:pt x="9634" y="8099"/>
                  </a:lnTo>
                  <a:lnTo>
                    <a:pt x="9639" y="8100"/>
                  </a:lnTo>
                  <a:lnTo>
                    <a:pt x="9643" y="8102"/>
                  </a:lnTo>
                  <a:lnTo>
                    <a:pt x="9648" y="8105"/>
                  </a:lnTo>
                  <a:lnTo>
                    <a:pt x="9656" y="8111"/>
                  </a:lnTo>
                  <a:lnTo>
                    <a:pt x="9666" y="8118"/>
                  </a:lnTo>
                  <a:lnTo>
                    <a:pt x="9674" y="8121"/>
                  </a:lnTo>
                  <a:lnTo>
                    <a:pt x="9682" y="8125"/>
                  </a:lnTo>
                  <a:lnTo>
                    <a:pt x="9685" y="8127"/>
                  </a:lnTo>
                  <a:lnTo>
                    <a:pt x="9688" y="8129"/>
                  </a:lnTo>
                  <a:lnTo>
                    <a:pt x="9689" y="8132"/>
                  </a:lnTo>
                  <a:lnTo>
                    <a:pt x="9691" y="8136"/>
                  </a:lnTo>
                  <a:lnTo>
                    <a:pt x="9689" y="8140"/>
                  </a:lnTo>
                  <a:lnTo>
                    <a:pt x="9688" y="8143"/>
                  </a:lnTo>
                  <a:lnTo>
                    <a:pt x="9685" y="8147"/>
                  </a:lnTo>
                  <a:lnTo>
                    <a:pt x="9682" y="8149"/>
                  </a:lnTo>
                  <a:lnTo>
                    <a:pt x="9679" y="8152"/>
                  </a:lnTo>
                  <a:lnTo>
                    <a:pt x="9676" y="8154"/>
                  </a:lnTo>
                  <a:lnTo>
                    <a:pt x="9673" y="8157"/>
                  </a:lnTo>
                  <a:lnTo>
                    <a:pt x="9671" y="8161"/>
                  </a:lnTo>
                  <a:lnTo>
                    <a:pt x="9673" y="8166"/>
                  </a:lnTo>
                  <a:lnTo>
                    <a:pt x="9682" y="8160"/>
                  </a:lnTo>
                  <a:lnTo>
                    <a:pt x="9689" y="8154"/>
                  </a:lnTo>
                  <a:lnTo>
                    <a:pt x="9694" y="8152"/>
                  </a:lnTo>
                  <a:lnTo>
                    <a:pt x="9698" y="8149"/>
                  </a:lnTo>
                  <a:lnTo>
                    <a:pt x="9702" y="8148"/>
                  </a:lnTo>
                  <a:lnTo>
                    <a:pt x="9707" y="8147"/>
                  </a:lnTo>
                  <a:lnTo>
                    <a:pt x="9715" y="8148"/>
                  </a:lnTo>
                  <a:lnTo>
                    <a:pt x="9724" y="8150"/>
                  </a:lnTo>
                  <a:lnTo>
                    <a:pt x="9730" y="8154"/>
                  </a:lnTo>
                  <a:lnTo>
                    <a:pt x="9736" y="8158"/>
                  </a:lnTo>
                  <a:lnTo>
                    <a:pt x="9747" y="8169"/>
                  </a:lnTo>
                  <a:lnTo>
                    <a:pt x="9758" y="8182"/>
                  </a:lnTo>
                  <a:lnTo>
                    <a:pt x="9768" y="8194"/>
                  </a:lnTo>
                  <a:lnTo>
                    <a:pt x="9779" y="8205"/>
                  </a:lnTo>
                  <a:lnTo>
                    <a:pt x="9785" y="8211"/>
                  </a:lnTo>
                  <a:lnTo>
                    <a:pt x="9792" y="8214"/>
                  </a:lnTo>
                  <a:lnTo>
                    <a:pt x="9800" y="8216"/>
                  </a:lnTo>
                  <a:lnTo>
                    <a:pt x="9808" y="8217"/>
                  </a:lnTo>
                  <a:lnTo>
                    <a:pt x="9811" y="8216"/>
                  </a:lnTo>
                  <a:lnTo>
                    <a:pt x="9813" y="8215"/>
                  </a:lnTo>
                  <a:lnTo>
                    <a:pt x="9815" y="8213"/>
                  </a:lnTo>
                  <a:lnTo>
                    <a:pt x="9817" y="8211"/>
                  </a:lnTo>
                  <a:lnTo>
                    <a:pt x="9821" y="8205"/>
                  </a:lnTo>
                  <a:lnTo>
                    <a:pt x="9827" y="8201"/>
                  </a:lnTo>
                  <a:lnTo>
                    <a:pt x="9832" y="8206"/>
                  </a:lnTo>
                  <a:lnTo>
                    <a:pt x="9837" y="8212"/>
                  </a:lnTo>
                  <a:lnTo>
                    <a:pt x="9840" y="8213"/>
                  </a:lnTo>
                  <a:lnTo>
                    <a:pt x="9843" y="8215"/>
                  </a:lnTo>
                  <a:lnTo>
                    <a:pt x="9846" y="8215"/>
                  </a:lnTo>
                  <a:lnTo>
                    <a:pt x="9850" y="8216"/>
                  </a:lnTo>
                  <a:lnTo>
                    <a:pt x="9860" y="8216"/>
                  </a:lnTo>
                  <a:lnTo>
                    <a:pt x="9861" y="8213"/>
                  </a:lnTo>
                  <a:lnTo>
                    <a:pt x="9862" y="8211"/>
                  </a:lnTo>
                  <a:lnTo>
                    <a:pt x="9861" y="8205"/>
                  </a:lnTo>
                  <a:lnTo>
                    <a:pt x="9860" y="8200"/>
                  </a:lnTo>
                  <a:lnTo>
                    <a:pt x="9858" y="8196"/>
                  </a:lnTo>
                  <a:lnTo>
                    <a:pt x="9856" y="8192"/>
                  </a:lnTo>
                  <a:lnTo>
                    <a:pt x="9853" y="8188"/>
                  </a:lnTo>
                  <a:lnTo>
                    <a:pt x="9851" y="8184"/>
                  </a:lnTo>
                  <a:lnTo>
                    <a:pt x="9850" y="8180"/>
                  </a:lnTo>
                  <a:lnTo>
                    <a:pt x="9849" y="8174"/>
                  </a:lnTo>
                  <a:lnTo>
                    <a:pt x="9850" y="8171"/>
                  </a:lnTo>
                  <a:lnTo>
                    <a:pt x="9850" y="8169"/>
                  </a:lnTo>
                  <a:lnTo>
                    <a:pt x="9852" y="8167"/>
                  </a:lnTo>
                  <a:lnTo>
                    <a:pt x="9853" y="8165"/>
                  </a:lnTo>
                  <a:lnTo>
                    <a:pt x="9858" y="8163"/>
                  </a:lnTo>
                  <a:lnTo>
                    <a:pt x="9863" y="8162"/>
                  </a:lnTo>
                  <a:lnTo>
                    <a:pt x="9877" y="8163"/>
                  </a:lnTo>
                  <a:lnTo>
                    <a:pt x="9891" y="8163"/>
                  </a:lnTo>
                  <a:lnTo>
                    <a:pt x="9896" y="8162"/>
                  </a:lnTo>
                  <a:lnTo>
                    <a:pt x="9901" y="8159"/>
                  </a:lnTo>
                  <a:lnTo>
                    <a:pt x="9892" y="8154"/>
                  </a:lnTo>
                  <a:lnTo>
                    <a:pt x="9882" y="8151"/>
                  </a:lnTo>
                  <a:lnTo>
                    <a:pt x="9879" y="8149"/>
                  </a:lnTo>
                  <a:lnTo>
                    <a:pt x="9876" y="8145"/>
                  </a:lnTo>
                  <a:lnTo>
                    <a:pt x="9874" y="8141"/>
                  </a:lnTo>
                  <a:lnTo>
                    <a:pt x="9873" y="8137"/>
                  </a:lnTo>
                  <a:lnTo>
                    <a:pt x="9874" y="8131"/>
                  </a:lnTo>
                  <a:lnTo>
                    <a:pt x="9875" y="8126"/>
                  </a:lnTo>
                  <a:lnTo>
                    <a:pt x="9876" y="8121"/>
                  </a:lnTo>
                  <a:lnTo>
                    <a:pt x="9878" y="8116"/>
                  </a:lnTo>
                  <a:lnTo>
                    <a:pt x="9884" y="8107"/>
                  </a:lnTo>
                  <a:lnTo>
                    <a:pt x="9892" y="8100"/>
                  </a:lnTo>
                  <a:lnTo>
                    <a:pt x="9909" y="8086"/>
                  </a:lnTo>
                  <a:lnTo>
                    <a:pt x="9929" y="8069"/>
                  </a:lnTo>
                  <a:lnTo>
                    <a:pt x="9940" y="8079"/>
                  </a:lnTo>
                  <a:lnTo>
                    <a:pt x="9950" y="8090"/>
                  </a:lnTo>
                  <a:lnTo>
                    <a:pt x="9960" y="8100"/>
                  </a:lnTo>
                  <a:lnTo>
                    <a:pt x="9967" y="8111"/>
                  </a:lnTo>
                  <a:lnTo>
                    <a:pt x="9973" y="8123"/>
                  </a:lnTo>
                  <a:lnTo>
                    <a:pt x="9978" y="8136"/>
                  </a:lnTo>
                  <a:lnTo>
                    <a:pt x="9980" y="8150"/>
                  </a:lnTo>
                  <a:lnTo>
                    <a:pt x="9981" y="8164"/>
                  </a:lnTo>
                  <a:lnTo>
                    <a:pt x="9981" y="8169"/>
                  </a:lnTo>
                  <a:lnTo>
                    <a:pt x="9978" y="8173"/>
                  </a:lnTo>
                  <a:lnTo>
                    <a:pt x="9975" y="8177"/>
                  </a:lnTo>
                  <a:lnTo>
                    <a:pt x="9972" y="8181"/>
                  </a:lnTo>
                  <a:lnTo>
                    <a:pt x="9968" y="8184"/>
                  </a:lnTo>
                  <a:lnTo>
                    <a:pt x="9965" y="8188"/>
                  </a:lnTo>
                  <a:lnTo>
                    <a:pt x="9963" y="8192"/>
                  </a:lnTo>
                  <a:lnTo>
                    <a:pt x="9962" y="8196"/>
                  </a:lnTo>
                  <a:lnTo>
                    <a:pt x="9963" y="8204"/>
                  </a:lnTo>
                  <a:lnTo>
                    <a:pt x="9965" y="8211"/>
                  </a:lnTo>
                  <a:lnTo>
                    <a:pt x="9968" y="8217"/>
                  </a:lnTo>
                  <a:lnTo>
                    <a:pt x="9972" y="8223"/>
                  </a:lnTo>
                  <a:lnTo>
                    <a:pt x="9975" y="8229"/>
                  </a:lnTo>
                  <a:lnTo>
                    <a:pt x="9978" y="8235"/>
                  </a:lnTo>
                  <a:lnTo>
                    <a:pt x="9981" y="8242"/>
                  </a:lnTo>
                  <a:lnTo>
                    <a:pt x="9981" y="8250"/>
                  </a:lnTo>
                  <a:lnTo>
                    <a:pt x="9975" y="8262"/>
                  </a:lnTo>
                  <a:lnTo>
                    <a:pt x="9969" y="8276"/>
                  </a:lnTo>
                  <a:lnTo>
                    <a:pt x="9975" y="8286"/>
                  </a:lnTo>
                  <a:lnTo>
                    <a:pt x="9981" y="8295"/>
                  </a:lnTo>
                  <a:lnTo>
                    <a:pt x="9981" y="8301"/>
                  </a:lnTo>
                  <a:lnTo>
                    <a:pt x="9980" y="8307"/>
                  </a:lnTo>
                  <a:lnTo>
                    <a:pt x="9978" y="8312"/>
                  </a:lnTo>
                  <a:lnTo>
                    <a:pt x="9976" y="8316"/>
                  </a:lnTo>
                  <a:lnTo>
                    <a:pt x="9974" y="8321"/>
                  </a:lnTo>
                  <a:lnTo>
                    <a:pt x="9973" y="8325"/>
                  </a:lnTo>
                  <a:lnTo>
                    <a:pt x="9972" y="8330"/>
                  </a:lnTo>
                  <a:lnTo>
                    <a:pt x="9971" y="8337"/>
                  </a:lnTo>
                  <a:lnTo>
                    <a:pt x="9971" y="8341"/>
                  </a:lnTo>
                  <a:lnTo>
                    <a:pt x="9972" y="8345"/>
                  </a:lnTo>
                  <a:lnTo>
                    <a:pt x="9974" y="8349"/>
                  </a:lnTo>
                  <a:lnTo>
                    <a:pt x="9976" y="8353"/>
                  </a:lnTo>
                  <a:lnTo>
                    <a:pt x="9980" y="8350"/>
                  </a:lnTo>
                  <a:lnTo>
                    <a:pt x="9983" y="8345"/>
                  </a:lnTo>
                  <a:lnTo>
                    <a:pt x="9985" y="8340"/>
                  </a:lnTo>
                  <a:lnTo>
                    <a:pt x="9989" y="8333"/>
                  </a:lnTo>
                  <a:lnTo>
                    <a:pt x="9997" y="8327"/>
                  </a:lnTo>
                  <a:lnTo>
                    <a:pt x="10005" y="8322"/>
                  </a:lnTo>
                  <a:lnTo>
                    <a:pt x="10023" y="8325"/>
                  </a:lnTo>
                  <a:lnTo>
                    <a:pt x="10037" y="8328"/>
                  </a:lnTo>
                  <a:lnTo>
                    <a:pt x="10051" y="8332"/>
                  </a:lnTo>
                  <a:lnTo>
                    <a:pt x="10068" y="8335"/>
                  </a:lnTo>
                  <a:lnTo>
                    <a:pt x="10080" y="8337"/>
                  </a:lnTo>
                  <a:lnTo>
                    <a:pt x="10092" y="8337"/>
                  </a:lnTo>
                  <a:lnTo>
                    <a:pt x="10097" y="8338"/>
                  </a:lnTo>
                  <a:lnTo>
                    <a:pt x="10102" y="8339"/>
                  </a:lnTo>
                  <a:lnTo>
                    <a:pt x="10107" y="8342"/>
                  </a:lnTo>
                  <a:lnTo>
                    <a:pt x="10112" y="8345"/>
                  </a:lnTo>
                  <a:lnTo>
                    <a:pt x="10109" y="8350"/>
                  </a:lnTo>
                  <a:lnTo>
                    <a:pt x="10105" y="8354"/>
                  </a:lnTo>
                  <a:lnTo>
                    <a:pt x="10101" y="8357"/>
                  </a:lnTo>
                  <a:lnTo>
                    <a:pt x="10096" y="8360"/>
                  </a:lnTo>
                  <a:lnTo>
                    <a:pt x="10085" y="8364"/>
                  </a:lnTo>
                  <a:lnTo>
                    <a:pt x="10075" y="8370"/>
                  </a:lnTo>
                  <a:lnTo>
                    <a:pt x="10062" y="8377"/>
                  </a:lnTo>
                  <a:lnTo>
                    <a:pt x="10050" y="8383"/>
                  </a:lnTo>
                  <a:lnTo>
                    <a:pt x="10039" y="8388"/>
                  </a:lnTo>
                  <a:lnTo>
                    <a:pt x="10026" y="8392"/>
                  </a:lnTo>
                  <a:lnTo>
                    <a:pt x="10025" y="8395"/>
                  </a:lnTo>
                  <a:lnTo>
                    <a:pt x="10025" y="8397"/>
                  </a:lnTo>
                  <a:lnTo>
                    <a:pt x="10025" y="8406"/>
                  </a:lnTo>
                  <a:lnTo>
                    <a:pt x="10027" y="8414"/>
                  </a:lnTo>
                  <a:lnTo>
                    <a:pt x="10029" y="8421"/>
                  </a:lnTo>
                  <a:lnTo>
                    <a:pt x="10030" y="8429"/>
                  </a:lnTo>
                  <a:lnTo>
                    <a:pt x="10030" y="8464"/>
                  </a:lnTo>
                  <a:lnTo>
                    <a:pt x="10025" y="8465"/>
                  </a:lnTo>
                  <a:lnTo>
                    <a:pt x="10021" y="8466"/>
                  </a:lnTo>
                  <a:lnTo>
                    <a:pt x="10016" y="8466"/>
                  </a:lnTo>
                  <a:lnTo>
                    <a:pt x="10013" y="8464"/>
                  </a:lnTo>
                  <a:lnTo>
                    <a:pt x="10010" y="8462"/>
                  </a:lnTo>
                  <a:lnTo>
                    <a:pt x="10008" y="8459"/>
                  </a:lnTo>
                  <a:lnTo>
                    <a:pt x="10003" y="8453"/>
                  </a:lnTo>
                  <a:lnTo>
                    <a:pt x="9999" y="8447"/>
                  </a:lnTo>
                  <a:lnTo>
                    <a:pt x="9995" y="8440"/>
                  </a:lnTo>
                  <a:lnTo>
                    <a:pt x="9991" y="8434"/>
                  </a:lnTo>
                  <a:lnTo>
                    <a:pt x="9988" y="8432"/>
                  </a:lnTo>
                  <a:lnTo>
                    <a:pt x="9985" y="8429"/>
                  </a:lnTo>
                  <a:lnTo>
                    <a:pt x="9981" y="8428"/>
                  </a:lnTo>
                  <a:lnTo>
                    <a:pt x="9977" y="8427"/>
                  </a:lnTo>
                  <a:lnTo>
                    <a:pt x="9967" y="8430"/>
                  </a:lnTo>
                  <a:lnTo>
                    <a:pt x="9956" y="8435"/>
                  </a:lnTo>
                  <a:lnTo>
                    <a:pt x="9947" y="8436"/>
                  </a:lnTo>
                  <a:lnTo>
                    <a:pt x="9939" y="8436"/>
                  </a:lnTo>
                  <a:lnTo>
                    <a:pt x="9935" y="8436"/>
                  </a:lnTo>
                  <a:lnTo>
                    <a:pt x="9931" y="8437"/>
                  </a:lnTo>
                  <a:lnTo>
                    <a:pt x="9928" y="8439"/>
                  </a:lnTo>
                  <a:lnTo>
                    <a:pt x="9924" y="8441"/>
                  </a:lnTo>
                  <a:lnTo>
                    <a:pt x="9922" y="8443"/>
                  </a:lnTo>
                  <a:lnTo>
                    <a:pt x="9920" y="8446"/>
                  </a:lnTo>
                  <a:lnTo>
                    <a:pt x="9920" y="8449"/>
                  </a:lnTo>
                  <a:lnTo>
                    <a:pt x="9920" y="8452"/>
                  </a:lnTo>
                  <a:lnTo>
                    <a:pt x="9922" y="8458"/>
                  </a:lnTo>
                  <a:lnTo>
                    <a:pt x="9920" y="8466"/>
                  </a:lnTo>
                  <a:lnTo>
                    <a:pt x="9919" y="8470"/>
                  </a:lnTo>
                  <a:lnTo>
                    <a:pt x="9916" y="8474"/>
                  </a:lnTo>
                  <a:lnTo>
                    <a:pt x="9914" y="8477"/>
                  </a:lnTo>
                  <a:lnTo>
                    <a:pt x="9910" y="8479"/>
                  </a:lnTo>
                  <a:lnTo>
                    <a:pt x="9907" y="8481"/>
                  </a:lnTo>
                  <a:lnTo>
                    <a:pt x="9903" y="8482"/>
                  </a:lnTo>
                  <a:lnTo>
                    <a:pt x="9898" y="8483"/>
                  </a:lnTo>
                  <a:lnTo>
                    <a:pt x="9894" y="8483"/>
                  </a:lnTo>
                  <a:lnTo>
                    <a:pt x="9884" y="8483"/>
                  </a:lnTo>
                  <a:lnTo>
                    <a:pt x="9876" y="8482"/>
                  </a:lnTo>
                  <a:lnTo>
                    <a:pt x="9868" y="8482"/>
                  </a:lnTo>
                  <a:lnTo>
                    <a:pt x="9860" y="8482"/>
                  </a:lnTo>
                  <a:lnTo>
                    <a:pt x="9836" y="8476"/>
                  </a:lnTo>
                  <a:lnTo>
                    <a:pt x="9830" y="8478"/>
                  </a:lnTo>
                  <a:lnTo>
                    <a:pt x="9826" y="8480"/>
                  </a:lnTo>
                  <a:lnTo>
                    <a:pt x="9821" y="8482"/>
                  </a:lnTo>
                  <a:lnTo>
                    <a:pt x="9817" y="8485"/>
                  </a:lnTo>
                  <a:lnTo>
                    <a:pt x="9809" y="8491"/>
                  </a:lnTo>
                  <a:lnTo>
                    <a:pt x="9800" y="8498"/>
                  </a:lnTo>
                  <a:lnTo>
                    <a:pt x="9791" y="8504"/>
                  </a:lnTo>
                  <a:lnTo>
                    <a:pt x="9781" y="8510"/>
                  </a:lnTo>
                  <a:lnTo>
                    <a:pt x="9773" y="8516"/>
                  </a:lnTo>
                  <a:lnTo>
                    <a:pt x="9766" y="8523"/>
                  </a:lnTo>
                  <a:lnTo>
                    <a:pt x="9759" y="8531"/>
                  </a:lnTo>
                  <a:lnTo>
                    <a:pt x="9752" y="8539"/>
                  </a:lnTo>
                  <a:lnTo>
                    <a:pt x="9745" y="8547"/>
                  </a:lnTo>
                  <a:lnTo>
                    <a:pt x="9739" y="8557"/>
                  </a:lnTo>
                  <a:lnTo>
                    <a:pt x="9735" y="8563"/>
                  </a:lnTo>
                  <a:lnTo>
                    <a:pt x="9731" y="8567"/>
                  </a:lnTo>
                  <a:lnTo>
                    <a:pt x="9727" y="8571"/>
                  </a:lnTo>
                  <a:lnTo>
                    <a:pt x="9721" y="8573"/>
                  </a:lnTo>
                  <a:lnTo>
                    <a:pt x="9711" y="8579"/>
                  </a:lnTo>
                  <a:lnTo>
                    <a:pt x="9700" y="8586"/>
                  </a:lnTo>
                  <a:lnTo>
                    <a:pt x="9692" y="8593"/>
                  </a:lnTo>
                  <a:lnTo>
                    <a:pt x="9684" y="8598"/>
                  </a:lnTo>
                  <a:lnTo>
                    <a:pt x="9676" y="8603"/>
                  </a:lnTo>
                  <a:lnTo>
                    <a:pt x="9669" y="8607"/>
                  </a:lnTo>
                  <a:lnTo>
                    <a:pt x="9661" y="8610"/>
                  </a:lnTo>
                  <a:lnTo>
                    <a:pt x="9652" y="8612"/>
                  </a:lnTo>
                  <a:lnTo>
                    <a:pt x="9643" y="8613"/>
                  </a:lnTo>
                  <a:lnTo>
                    <a:pt x="9633" y="8614"/>
                  </a:lnTo>
                  <a:lnTo>
                    <a:pt x="9627" y="8614"/>
                  </a:lnTo>
                  <a:lnTo>
                    <a:pt x="9621" y="8612"/>
                  </a:lnTo>
                  <a:lnTo>
                    <a:pt x="9617" y="8610"/>
                  </a:lnTo>
                  <a:lnTo>
                    <a:pt x="9613" y="8608"/>
                  </a:lnTo>
                  <a:lnTo>
                    <a:pt x="9605" y="8601"/>
                  </a:lnTo>
                  <a:lnTo>
                    <a:pt x="9598" y="8593"/>
                  </a:lnTo>
                  <a:lnTo>
                    <a:pt x="9592" y="8584"/>
                  </a:lnTo>
                  <a:lnTo>
                    <a:pt x="9583" y="8577"/>
                  </a:lnTo>
                  <a:lnTo>
                    <a:pt x="9579" y="8573"/>
                  </a:lnTo>
                  <a:lnTo>
                    <a:pt x="9574" y="8571"/>
                  </a:lnTo>
                  <a:lnTo>
                    <a:pt x="9569" y="8569"/>
                  </a:lnTo>
                  <a:lnTo>
                    <a:pt x="9564" y="8567"/>
                  </a:lnTo>
                  <a:lnTo>
                    <a:pt x="9563" y="8572"/>
                  </a:lnTo>
                  <a:lnTo>
                    <a:pt x="9567" y="8581"/>
                  </a:lnTo>
                  <a:lnTo>
                    <a:pt x="9571" y="8590"/>
                  </a:lnTo>
                  <a:lnTo>
                    <a:pt x="9573" y="8598"/>
                  </a:lnTo>
                  <a:lnTo>
                    <a:pt x="9574" y="8608"/>
                  </a:lnTo>
                  <a:lnTo>
                    <a:pt x="9574" y="8612"/>
                  </a:lnTo>
                  <a:lnTo>
                    <a:pt x="9572" y="8615"/>
                  </a:lnTo>
                  <a:lnTo>
                    <a:pt x="9571" y="8618"/>
                  </a:lnTo>
                  <a:lnTo>
                    <a:pt x="9569" y="8620"/>
                  </a:lnTo>
                  <a:lnTo>
                    <a:pt x="9564" y="8625"/>
                  </a:lnTo>
                  <a:lnTo>
                    <a:pt x="9557" y="8630"/>
                  </a:lnTo>
                  <a:lnTo>
                    <a:pt x="9550" y="8635"/>
                  </a:lnTo>
                  <a:lnTo>
                    <a:pt x="9543" y="8639"/>
                  </a:lnTo>
                  <a:lnTo>
                    <a:pt x="9536" y="8642"/>
                  </a:lnTo>
                  <a:lnTo>
                    <a:pt x="9529" y="8645"/>
                  </a:lnTo>
                  <a:lnTo>
                    <a:pt x="9513" y="8649"/>
                  </a:lnTo>
                  <a:lnTo>
                    <a:pt x="9498" y="8657"/>
                  </a:lnTo>
                  <a:lnTo>
                    <a:pt x="9475" y="8669"/>
                  </a:lnTo>
                  <a:lnTo>
                    <a:pt x="9456" y="8680"/>
                  </a:lnTo>
                  <a:lnTo>
                    <a:pt x="9437" y="8692"/>
                  </a:lnTo>
                  <a:lnTo>
                    <a:pt x="9415" y="8704"/>
                  </a:lnTo>
                  <a:lnTo>
                    <a:pt x="9388" y="8719"/>
                  </a:lnTo>
                  <a:lnTo>
                    <a:pt x="9365" y="8730"/>
                  </a:lnTo>
                  <a:lnTo>
                    <a:pt x="9341" y="8742"/>
                  </a:lnTo>
                  <a:lnTo>
                    <a:pt x="9314" y="8757"/>
                  </a:lnTo>
                  <a:lnTo>
                    <a:pt x="9304" y="8764"/>
                  </a:lnTo>
                  <a:lnTo>
                    <a:pt x="9293" y="8770"/>
                  </a:lnTo>
                  <a:lnTo>
                    <a:pt x="9284" y="8776"/>
                  </a:lnTo>
                  <a:lnTo>
                    <a:pt x="9273" y="8783"/>
                  </a:lnTo>
                  <a:lnTo>
                    <a:pt x="9267" y="8788"/>
                  </a:lnTo>
                  <a:lnTo>
                    <a:pt x="9260" y="8793"/>
                  </a:lnTo>
                  <a:lnTo>
                    <a:pt x="9257" y="8796"/>
                  </a:lnTo>
                  <a:lnTo>
                    <a:pt x="9256" y="8799"/>
                  </a:lnTo>
                  <a:lnTo>
                    <a:pt x="9255" y="8802"/>
                  </a:lnTo>
                  <a:lnTo>
                    <a:pt x="9254" y="8806"/>
                  </a:lnTo>
                  <a:lnTo>
                    <a:pt x="9255" y="8813"/>
                  </a:lnTo>
                  <a:lnTo>
                    <a:pt x="9256" y="8818"/>
                  </a:lnTo>
                  <a:lnTo>
                    <a:pt x="9258" y="8823"/>
                  </a:lnTo>
                  <a:lnTo>
                    <a:pt x="9262" y="8828"/>
                  </a:lnTo>
                  <a:lnTo>
                    <a:pt x="9264" y="8832"/>
                  </a:lnTo>
                  <a:lnTo>
                    <a:pt x="9266" y="8837"/>
                  </a:lnTo>
                  <a:lnTo>
                    <a:pt x="9268" y="8844"/>
                  </a:lnTo>
                  <a:lnTo>
                    <a:pt x="9269" y="8849"/>
                  </a:lnTo>
                  <a:lnTo>
                    <a:pt x="9268" y="8859"/>
                  </a:lnTo>
                  <a:lnTo>
                    <a:pt x="9259" y="8862"/>
                  </a:lnTo>
                  <a:lnTo>
                    <a:pt x="9251" y="8864"/>
                  </a:lnTo>
                  <a:lnTo>
                    <a:pt x="9244" y="8864"/>
                  </a:lnTo>
                  <a:lnTo>
                    <a:pt x="9238" y="8862"/>
                  </a:lnTo>
                  <a:lnTo>
                    <a:pt x="9233" y="8860"/>
                  </a:lnTo>
                  <a:lnTo>
                    <a:pt x="9227" y="8857"/>
                  </a:lnTo>
                  <a:lnTo>
                    <a:pt x="9222" y="8854"/>
                  </a:lnTo>
                  <a:lnTo>
                    <a:pt x="9216" y="8852"/>
                  </a:lnTo>
                  <a:lnTo>
                    <a:pt x="9211" y="8850"/>
                  </a:lnTo>
                  <a:lnTo>
                    <a:pt x="9204" y="8849"/>
                  </a:lnTo>
                  <a:lnTo>
                    <a:pt x="9201" y="8850"/>
                  </a:lnTo>
                  <a:lnTo>
                    <a:pt x="9199" y="8850"/>
                  </a:lnTo>
                  <a:lnTo>
                    <a:pt x="9197" y="8851"/>
                  </a:lnTo>
                  <a:lnTo>
                    <a:pt x="9196" y="8853"/>
                  </a:lnTo>
                  <a:lnTo>
                    <a:pt x="9192" y="8857"/>
                  </a:lnTo>
                  <a:lnTo>
                    <a:pt x="9190" y="8862"/>
                  </a:lnTo>
                  <a:lnTo>
                    <a:pt x="9188" y="8873"/>
                  </a:lnTo>
                  <a:lnTo>
                    <a:pt x="9184" y="8885"/>
                  </a:lnTo>
                  <a:lnTo>
                    <a:pt x="9180" y="8891"/>
                  </a:lnTo>
                  <a:lnTo>
                    <a:pt x="9176" y="8896"/>
                  </a:lnTo>
                  <a:lnTo>
                    <a:pt x="9171" y="8900"/>
                  </a:lnTo>
                  <a:lnTo>
                    <a:pt x="9166" y="8904"/>
                  </a:lnTo>
                  <a:lnTo>
                    <a:pt x="9160" y="8908"/>
                  </a:lnTo>
                  <a:lnTo>
                    <a:pt x="9154" y="8910"/>
                  </a:lnTo>
                  <a:lnTo>
                    <a:pt x="9147" y="8912"/>
                  </a:lnTo>
                  <a:lnTo>
                    <a:pt x="9140" y="8914"/>
                  </a:lnTo>
                  <a:lnTo>
                    <a:pt x="9125" y="8917"/>
                  </a:lnTo>
                  <a:lnTo>
                    <a:pt x="9111" y="8918"/>
                  </a:lnTo>
                  <a:lnTo>
                    <a:pt x="9105" y="8918"/>
                  </a:lnTo>
                  <a:lnTo>
                    <a:pt x="9099" y="8920"/>
                  </a:lnTo>
                  <a:lnTo>
                    <a:pt x="9091" y="8922"/>
                  </a:lnTo>
                  <a:lnTo>
                    <a:pt x="9085" y="8926"/>
                  </a:lnTo>
                  <a:lnTo>
                    <a:pt x="9074" y="8936"/>
                  </a:lnTo>
                  <a:lnTo>
                    <a:pt x="9064" y="8947"/>
                  </a:lnTo>
                  <a:lnTo>
                    <a:pt x="9052" y="8954"/>
                  </a:lnTo>
                  <a:lnTo>
                    <a:pt x="9042" y="8960"/>
                  </a:lnTo>
                  <a:lnTo>
                    <a:pt x="9033" y="8967"/>
                  </a:lnTo>
                  <a:lnTo>
                    <a:pt x="9023" y="8975"/>
                  </a:lnTo>
                  <a:lnTo>
                    <a:pt x="9007" y="8991"/>
                  </a:lnTo>
                  <a:lnTo>
                    <a:pt x="8989" y="9010"/>
                  </a:lnTo>
                  <a:lnTo>
                    <a:pt x="8982" y="9018"/>
                  </a:lnTo>
                  <a:lnTo>
                    <a:pt x="8975" y="9026"/>
                  </a:lnTo>
                  <a:lnTo>
                    <a:pt x="8969" y="9035"/>
                  </a:lnTo>
                  <a:lnTo>
                    <a:pt x="8965" y="9044"/>
                  </a:lnTo>
                  <a:lnTo>
                    <a:pt x="8960" y="9053"/>
                  </a:lnTo>
                  <a:lnTo>
                    <a:pt x="8957" y="9062"/>
                  </a:lnTo>
                  <a:lnTo>
                    <a:pt x="8955" y="9073"/>
                  </a:lnTo>
                  <a:lnTo>
                    <a:pt x="8955" y="9084"/>
                  </a:lnTo>
                  <a:lnTo>
                    <a:pt x="8961" y="9099"/>
                  </a:lnTo>
                  <a:lnTo>
                    <a:pt x="8970" y="9112"/>
                  </a:lnTo>
                  <a:lnTo>
                    <a:pt x="8970" y="9128"/>
                  </a:lnTo>
                  <a:lnTo>
                    <a:pt x="8970" y="9143"/>
                  </a:lnTo>
                  <a:lnTo>
                    <a:pt x="8971" y="9149"/>
                  </a:lnTo>
                  <a:lnTo>
                    <a:pt x="8974" y="9155"/>
                  </a:lnTo>
                  <a:lnTo>
                    <a:pt x="8975" y="9156"/>
                  </a:lnTo>
                  <a:lnTo>
                    <a:pt x="8977" y="9158"/>
                  </a:lnTo>
                  <a:lnTo>
                    <a:pt x="8980" y="9160"/>
                  </a:lnTo>
                  <a:lnTo>
                    <a:pt x="8983" y="9160"/>
                  </a:lnTo>
                  <a:lnTo>
                    <a:pt x="8989" y="9158"/>
                  </a:lnTo>
                  <a:lnTo>
                    <a:pt x="8995" y="9157"/>
                  </a:lnTo>
                  <a:lnTo>
                    <a:pt x="8999" y="9157"/>
                  </a:lnTo>
                  <a:lnTo>
                    <a:pt x="9001" y="9158"/>
                  </a:lnTo>
                  <a:lnTo>
                    <a:pt x="9003" y="9160"/>
                  </a:lnTo>
                  <a:lnTo>
                    <a:pt x="9005" y="9162"/>
                  </a:lnTo>
                  <a:lnTo>
                    <a:pt x="9009" y="9166"/>
                  </a:lnTo>
                  <a:lnTo>
                    <a:pt x="9012" y="9171"/>
                  </a:lnTo>
                  <a:lnTo>
                    <a:pt x="9015" y="9176"/>
                  </a:lnTo>
                  <a:lnTo>
                    <a:pt x="9018" y="9180"/>
                  </a:lnTo>
                  <a:lnTo>
                    <a:pt x="9020" y="9182"/>
                  </a:lnTo>
                  <a:lnTo>
                    <a:pt x="9022" y="9183"/>
                  </a:lnTo>
                  <a:lnTo>
                    <a:pt x="9025" y="9184"/>
                  </a:lnTo>
                  <a:lnTo>
                    <a:pt x="9028" y="9184"/>
                  </a:lnTo>
                  <a:lnTo>
                    <a:pt x="9034" y="9184"/>
                  </a:lnTo>
                  <a:lnTo>
                    <a:pt x="9038" y="9182"/>
                  </a:lnTo>
                  <a:lnTo>
                    <a:pt x="9042" y="9180"/>
                  </a:lnTo>
                  <a:lnTo>
                    <a:pt x="9045" y="9178"/>
                  </a:lnTo>
                  <a:lnTo>
                    <a:pt x="9049" y="9176"/>
                  </a:lnTo>
                  <a:lnTo>
                    <a:pt x="9053" y="9174"/>
                  </a:lnTo>
                  <a:lnTo>
                    <a:pt x="9057" y="9173"/>
                  </a:lnTo>
                  <a:lnTo>
                    <a:pt x="9062" y="9173"/>
                  </a:lnTo>
                  <a:lnTo>
                    <a:pt x="9070" y="9173"/>
                  </a:lnTo>
                  <a:lnTo>
                    <a:pt x="9076" y="9174"/>
                  </a:lnTo>
                  <a:lnTo>
                    <a:pt x="9081" y="9176"/>
                  </a:lnTo>
                  <a:lnTo>
                    <a:pt x="9087" y="9177"/>
                  </a:lnTo>
                  <a:lnTo>
                    <a:pt x="9092" y="9179"/>
                  </a:lnTo>
                  <a:lnTo>
                    <a:pt x="9099" y="9180"/>
                  </a:lnTo>
                  <a:lnTo>
                    <a:pt x="9105" y="9181"/>
                  </a:lnTo>
                  <a:lnTo>
                    <a:pt x="9112" y="9182"/>
                  </a:lnTo>
                  <a:lnTo>
                    <a:pt x="9116" y="9181"/>
                  </a:lnTo>
                  <a:lnTo>
                    <a:pt x="9119" y="9179"/>
                  </a:lnTo>
                  <a:lnTo>
                    <a:pt x="9121" y="9176"/>
                  </a:lnTo>
                  <a:lnTo>
                    <a:pt x="9123" y="9173"/>
                  </a:lnTo>
                  <a:lnTo>
                    <a:pt x="9127" y="9165"/>
                  </a:lnTo>
                  <a:lnTo>
                    <a:pt x="9132" y="9156"/>
                  </a:lnTo>
                  <a:lnTo>
                    <a:pt x="9138" y="9150"/>
                  </a:lnTo>
                  <a:lnTo>
                    <a:pt x="9144" y="9145"/>
                  </a:lnTo>
                  <a:lnTo>
                    <a:pt x="9149" y="9141"/>
                  </a:lnTo>
                  <a:lnTo>
                    <a:pt x="9155" y="9138"/>
                  </a:lnTo>
                  <a:lnTo>
                    <a:pt x="9170" y="9133"/>
                  </a:lnTo>
                  <a:lnTo>
                    <a:pt x="9185" y="9129"/>
                  </a:lnTo>
                  <a:lnTo>
                    <a:pt x="9207" y="9123"/>
                  </a:lnTo>
                  <a:lnTo>
                    <a:pt x="9226" y="9119"/>
                  </a:lnTo>
                  <a:lnTo>
                    <a:pt x="9247" y="9117"/>
                  </a:lnTo>
                  <a:lnTo>
                    <a:pt x="9270" y="9116"/>
                  </a:lnTo>
                  <a:lnTo>
                    <a:pt x="9282" y="9116"/>
                  </a:lnTo>
                  <a:lnTo>
                    <a:pt x="9292" y="9118"/>
                  </a:lnTo>
                  <a:lnTo>
                    <a:pt x="9303" y="9120"/>
                  </a:lnTo>
                  <a:lnTo>
                    <a:pt x="9313" y="9123"/>
                  </a:lnTo>
                  <a:lnTo>
                    <a:pt x="9332" y="9131"/>
                  </a:lnTo>
                  <a:lnTo>
                    <a:pt x="9349" y="9140"/>
                  </a:lnTo>
                  <a:lnTo>
                    <a:pt x="9367" y="9150"/>
                  </a:lnTo>
                  <a:lnTo>
                    <a:pt x="9384" y="9161"/>
                  </a:lnTo>
                  <a:lnTo>
                    <a:pt x="9395" y="9166"/>
                  </a:lnTo>
                  <a:lnTo>
                    <a:pt x="9405" y="9170"/>
                  </a:lnTo>
                  <a:lnTo>
                    <a:pt x="9415" y="9175"/>
                  </a:lnTo>
                  <a:lnTo>
                    <a:pt x="9427" y="9178"/>
                  </a:lnTo>
                  <a:lnTo>
                    <a:pt x="9418" y="9166"/>
                  </a:lnTo>
                  <a:lnTo>
                    <a:pt x="9410" y="9154"/>
                  </a:lnTo>
                  <a:lnTo>
                    <a:pt x="9406" y="9148"/>
                  </a:lnTo>
                  <a:lnTo>
                    <a:pt x="9403" y="9142"/>
                  </a:lnTo>
                  <a:lnTo>
                    <a:pt x="9402" y="9136"/>
                  </a:lnTo>
                  <a:lnTo>
                    <a:pt x="9401" y="9128"/>
                  </a:lnTo>
                  <a:lnTo>
                    <a:pt x="9402" y="9123"/>
                  </a:lnTo>
                  <a:lnTo>
                    <a:pt x="9404" y="9120"/>
                  </a:lnTo>
                  <a:lnTo>
                    <a:pt x="9407" y="9118"/>
                  </a:lnTo>
                  <a:lnTo>
                    <a:pt x="9411" y="9117"/>
                  </a:lnTo>
                  <a:lnTo>
                    <a:pt x="9420" y="9115"/>
                  </a:lnTo>
                  <a:lnTo>
                    <a:pt x="9430" y="9112"/>
                  </a:lnTo>
                  <a:lnTo>
                    <a:pt x="9437" y="9109"/>
                  </a:lnTo>
                  <a:lnTo>
                    <a:pt x="9442" y="9106"/>
                  </a:lnTo>
                  <a:lnTo>
                    <a:pt x="9447" y="9102"/>
                  </a:lnTo>
                  <a:lnTo>
                    <a:pt x="9451" y="9098"/>
                  </a:lnTo>
                  <a:lnTo>
                    <a:pt x="9461" y="9089"/>
                  </a:lnTo>
                  <a:lnTo>
                    <a:pt x="9473" y="9082"/>
                  </a:lnTo>
                  <a:lnTo>
                    <a:pt x="9483" y="9078"/>
                  </a:lnTo>
                  <a:lnTo>
                    <a:pt x="9493" y="9075"/>
                  </a:lnTo>
                  <a:lnTo>
                    <a:pt x="9503" y="9073"/>
                  </a:lnTo>
                  <a:lnTo>
                    <a:pt x="9513" y="9068"/>
                  </a:lnTo>
                  <a:lnTo>
                    <a:pt x="9522" y="9059"/>
                  </a:lnTo>
                  <a:lnTo>
                    <a:pt x="9531" y="9052"/>
                  </a:lnTo>
                  <a:lnTo>
                    <a:pt x="9536" y="9049"/>
                  </a:lnTo>
                  <a:lnTo>
                    <a:pt x="9540" y="9046"/>
                  </a:lnTo>
                  <a:lnTo>
                    <a:pt x="9545" y="9045"/>
                  </a:lnTo>
                  <a:lnTo>
                    <a:pt x="9551" y="9044"/>
                  </a:lnTo>
                  <a:lnTo>
                    <a:pt x="9553" y="9045"/>
                  </a:lnTo>
                  <a:lnTo>
                    <a:pt x="9555" y="9047"/>
                  </a:lnTo>
                  <a:lnTo>
                    <a:pt x="9556" y="9049"/>
                  </a:lnTo>
                  <a:lnTo>
                    <a:pt x="9556" y="9052"/>
                  </a:lnTo>
                  <a:lnTo>
                    <a:pt x="9555" y="9060"/>
                  </a:lnTo>
                  <a:lnTo>
                    <a:pt x="9552" y="9067"/>
                  </a:lnTo>
                  <a:lnTo>
                    <a:pt x="9548" y="9073"/>
                  </a:lnTo>
                  <a:lnTo>
                    <a:pt x="9543" y="9077"/>
                  </a:lnTo>
                  <a:lnTo>
                    <a:pt x="9536" y="9081"/>
                  </a:lnTo>
                  <a:lnTo>
                    <a:pt x="9529" y="9085"/>
                  </a:lnTo>
                  <a:lnTo>
                    <a:pt x="9520" y="9088"/>
                  </a:lnTo>
                  <a:lnTo>
                    <a:pt x="9513" y="9091"/>
                  </a:lnTo>
                  <a:lnTo>
                    <a:pt x="9505" y="9094"/>
                  </a:lnTo>
                  <a:lnTo>
                    <a:pt x="9497" y="9098"/>
                  </a:lnTo>
                  <a:lnTo>
                    <a:pt x="9489" y="9101"/>
                  </a:lnTo>
                  <a:lnTo>
                    <a:pt x="9482" y="9105"/>
                  </a:lnTo>
                  <a:lnTo>
                    <a:pt x="9477" y="9110"/>
                  </a:lnTo>
                  <a:lnTo>
                    <a:pt x="9473" y="9115"/>
                  </a:lnTo>
                  <a:lnTo>
                    <a:pt x="9470" y="9122"/>
                  </a:lnTo>
                  <a:lnTo>
                    <a:pt x="9469" y="9130"/>
                  </a:lnTo>
                  <a:lnTo>
                    <a:pt x="9471" y="9136"/>
                  </a:lnTo>
                  <a:lnTo>
                    <a:pt x="9473" y="9142"/>
                  </a:lnTo>
                  <a:lnTo>
                    <a:pt x="9472" y="9145"/>
                  </a:lnTo>
                  <a:lnTo>
                    <a:pt x="9470" y="9148"/>
                  </a:lnTo>
                  <a:lnTo>
                    <a:pt x="9464" y="9148"/>
                  </a:lnTo>
                  <a:lnTo>
                    <a:pt x="9457" y="9150"/>
                  </a:lnTo>
                  <a:lnTo>
                    <a:pt x="9452" y="9153"/>
                  </a:lnTo>
                  <a:lnTo>
                    <a:pt x="9447" y="9157"/>
                  </a:lnTo>
                  <a:lnTo>
                    <a:pt x="9444" y="9163"/>
                  </a:lnTo>
                  <a:lnTo>
                    <a:pt x="9441" y="9168"/>
                  </a:lnTo>
                  <a:lnTo>
                    <a:pt x="9439" y="9174"/>
                  </a:lnTo>
                  <a:lnTo>
                    <a:pt x="9438" y="9181"/>
                  </a:lnTo>
                  <a:lnTo>
                    <a:pt x="9439" y="9186"/>
                  </a:lnTo>
                  <a:lnTo>
                    <a:pt x="9441" y="9191"/>
                  </a:lnTo>
                  <a:lnTo>
                    <a:pt x="9443" y="9195"/>
                  </a:lnTo>
                  <a:lnTo>
                    <a:pt x="9446" y="9198"/>
                  </a:lnTo>
                  <a:lnTo>
                    <a:pt x="9454" y="9204"/>
                  </a:lnTo>
                  <a:lnTo>
                    <a:pt x="9463" y="9210"/>
                  </a:lnTo>
                  <a:lnTo>
                    <a:pt x="9480" y="9224"/>
                  </a:lnTo>
                  <a:lnTo>
                    <a:pt x="9495" y="9236"/>
                  </a:lnTo>
                  <a:lnTo>
                    <a:pt x="9502" y="9242"/>
                  </a:lnTo>
                  <a:lnTo>
                    <a:pt x="9508" y="9249"/>
                  </a:lnTo>
                  <a:lnTo>
                    <a:pt x="9514" y="9258"/>
                  </a:lnTo>
                  <a:lnTo>
                    <a:pt x="9521" y="9267"/>
                  </a:lnTo>
                  <a:lnTo>
                    <a:pt x="9528" y="9275"/>
                  </a:lnTo>
                  <a:lnTo>
                    <a:pt x="9534" y="9281"/>
                  </a:lnTo>
                  <a:lnTo>
                    <a:pt x="9541" y="9288"/>
                  </a:lnTo>
                  <a:lnTo>
                    <a:pt x="9549" y="9294"/>
                  </a:lnTo>
                  <a:lnTo>
                    <a:pt x="9565" y="9310"/>
                  </a:lnTo>
                  <a:lnTo>
                    <a:pt x="9578" y="9324"/>
                  </a:lnTo>
                  <a:lnTo>
                    <a:pt x="9586" y="9329"/>
                  </a:lnTo>
                  <a:lnTo>
                    <a:pt x="9595" y="9333"/>
                  </a:lnTo>
                  <a:lnTo>
                    <a:pt x="9604" y="9336"/>
                  </a:lnTo>
                  <a:lnTo>
                    <a:pt x="9614" y="9337"/>
                  </a:lnTo>
                  <a:lnTo>
                    <a:pt x="9622" y="9335"/>
                  </a:lnTo>
                  <a:lnTo>
                    <a:pt x="9631" y="9334"/>
                  </a:lnTo>
                  <a:lnTo>
                    <a:pt x="9636" y="9335"/>
                  </a:lnTo>
                  <a:lnTo>
                    <a:pt x="9640" y="9338"/>
                  </a:lnTo>
                  <a:lnTo>
                    <a:pt x="9644" y="9342"/>
                  </a:lnTo>
                  <a:lnTo>
                    <a:pt x="9647" y="9346"/>
                  </a:lnTo>
                  <a:lnTo>
                    <a:pt x="9650" y="9352"/>
                  </a:lnTo>
                  <a:lnTo>
                    <a:pt x="9653" y="9357"/>
                  </a:lnTo>
                  <a:lnTo>
                    <a:pt x="9658" y="9361"/>
                  </a:lnTo>
                  <a:lnTo>
                    <a:pt x="9663" y="9364"/>
                  </a:lnTo>
                  <a:lnTo>
                    <a:pt x="9670" y="9367"/>
                  </a:lnTo>
                  <a:lnTo>
                    <a:pt x="9677" y="9369"/>
                  </a:lnTo>
                  <a:lnTo>
                    <a:pt x="9684" y="9370"/>
                  </a:lnTo>
                  <a:lnTo>
                    <a:pt x="9693" y="9371"/>
                  </a:lnTo>
                  <a:lnTo>
                    <a:pt x="9700" y="9370"/>
                  </a:lnTo>
                  <a:lnTo>
                    <a:pt x="9706" y="9369"/>
                  </a:lnTo>
                  <a:lnTo>
                    <a:pt x="9711" y="9368"/>
                  </a:lnTo>
                  <a:lnTo>
                    <a:pt x="9716" y="9366"/>
                  </a:lnTo>
                  <a:lnTo>
                    <a:pt x="9727" y="9361"/>
                  </a:lnTo>
                  <a:lnTo>
                    <a:pt x="9736" y="9355"/>
                  </a:lnTo>
                  <a:lnTo>
                    <a:pt x="9746" y="9349"/>
                  </a:lnTo>
                  <a:lnTo>
                    <a:pt x="9755" y="9343"/>
                  </a:lnTo>
                  <a:lnTo>
                    <a:pt x="9762" y="9341"/>
                  </a:lnTo>
                  <a:lnTo>
                    <a:pt x="9767" y="9339"/>
                  </a:lnTo>
                  <a:lnTo>
                    <a:pt x="9773" y="9338"/>
                  </a:lnTo>
                  <a:lnTo>
                    <a:pt x="9779" y="9338"/>
                  </a:lnTo>
                  <a:lnTo>
                    <a:pt x="9788" y="9338"/>
                  </a:lnTo>
                  <a:lnTo>
                    <a:pt x="9798" y="9339"/>
                  </a:lnTo>
                  <a:lnTo>
                    <a:pt x="9806" y="9341"/>
                  </a:lnTo>
                  <a:lnTo>
                    <a:pt x="9813" y="9344"/>
                  </a:lnTo>
                  <a:lnTo>
                    <a:pt x="9820" y="9347"/>
                  </a:lnTo>
                  <a:lnTo>
                    <a:pt x="9827" y="9352"/>
                  </a:lnTo>
                  <a:lnTo>
                    <a:pt x="9834" y="9356"/>
                  </a:lnTo>
                  <a:lnTo>
                    <a:pt x="9840" y="9361"/>
                  </a:lnTo>
                  <a:lnTo>
                    <a:pt x="9852" y="9371"/>
                  </a:lnTo>
                  <a:lnTo>
                    <a:pt x="9865" y="9382"/>
                  </a:lnTo>
                  <a:lnTo>
                    <a:pt x="9879" y="9393"/>
                  </a:lnTo>
                  <a:lnTo>
                    <a:pt x="9895" y="9404"/>
                  </a:lnTo>
                  <a:lnTo>
                    <a:pt x="9910" y="9414"/>
                  </a:lnTo>
                  <a:lnTo>
                    <a:pt x="9925" y="9424"/>
                  </a:lnTo>
                  <a:lnTo>
                    <a:pt x="9938" y="9435"/>
                  </a:lnTo>
                  <a:lnTo>
                    <a:pt x="9949" y="9447"/>
                  </a:lnTo>
                  <a:lnTo>
                    <a:pt x="9955" y="9453"/>
                  </a:lnTo>
                  <a:lnTo>
                    <a:pt x="9959" y="9460"/>
                  </a:lnTo>
                  <a:lnTo>
                    <a:pt x="9963" y="9466"/>
                  </a:lnTo>
                  <a:lnTo>
                    <a:pt x="9966" y="9473"/>
                  </a:lnTo>
                  <a:lnTo>
                    <a:pt x="9969" y="9482"/>
                  </a:lnTo>
                  <a:lnTo>
                    <a:pt x="9971" y="9490"/>
                  </a:lnTo>
                  <a:lnTo>
                    <a:pt x="9972" y="9498"/>
                  </a:lnTo>
                  <a:lnTo>
                    <a:pt x="9972" y="9508"/>
                  </a:lnTo>
                  <a:lnTo>
                    <a:pt x="9972" y="9519"/>
                  </a:lnTo>
                  <a:lnTo>
                    <a:pt x="9972" y="9528"/>
                  </a:lnTo>
                  <a:lnTo>
                    <a:pt x="9972" y="9539"/>
                  </a:lnTo>
                  <a:lnTo>
                    <a:pt x="9972" y="9550"/>
                  </a:lnTo>
                  <a:lnTo>
                    <a:pt x="9972" y="9558"/>
                  </a:lnTo>
                  <a:lnTo>
                    <a:pt x="9974" y="9566"/>
                  </a:lnTo>
                  <a:lnTo>
                    <a:pt x="9976" y="9574"/>
                  </a:lnTo>
                  <a:lnTo>
                    <a:pt x="9978" y="9580"/>
                  </a:lnTo>
                  <a:lnTo>
                    <a:pt x="9984" y="9594"/>
                  </a:lnTo>
                  <a:lnTo>
                    <a:pt x="9990" y="9611"/>
                  </a:lnTo>
                  <a:lnTo>
                    <a:pt x="9999" y="9642"/>
                  </a:lnTo>
                  <a:lnTo>
                    <a:pt x="10004" y="9669"/>
                  </a:lnTo>
                  <a:lnTo>
                    <a:pt x="10006" y="9683"/>
                  </a:lnTo>
                  <a:lnTo>
                    <a:pt x="10008" y="9697"/>
                  </a:lnTo>
                  <a:lnTo>
                    <a:pt x="10008" y="9712"/>
                  </a:lnTo>
                  <a:lnTo>
                    <a:pt x="10009" y="9729"/>
                  </a:lnTo>
                  <a:lnTo>
                    <a:pt x="10008" y="9735"/>
                  </a:lnTo>
                  <a:lnTo>
                    <a:pt x="10006" y="9741"/>
                  </a:lnTo>
                  <a:lnTo>
                    <a:pt x="10002" y="9745"/>
                  </a:lnTo>
                  <a:lnTo>
                    <a:pt x="9997" y="9749"/>
                  </a:lnTo>
                  <a:lnTo>
                    <a:pt x="9985" y="9755"/>
                  </a:lnTo>
                  <a:lnTo>
                    <a:pt x="9972" y="9762"/>
                  </a:lnTo>
                  <a:lnTo>
                    <a:pt x="9967" y="9765"/>
                  </a:lnTo>
                  <a:lnTo>
                    <a:pt x="9962" y="9768"/>
                  </a:lnTo>
                  <a:lnTo>
                    <a:pt x="9958" y="9771"/>
                  </a:lnTo>
                  <a:lnTo>
                    <a:pt x="9955" y="9774"/>
                  </a:lnTo>
                  <a:lnTo>
                    <a:pt x="9947" y="9782"/>
                  </a:lnTo>
                  <a:lnTo>
                    <a:pt x="9940" y="9793"/>
                  </a:lnTo>
                  <a:lnTo>
                    <a:pt x="9936" y="9806"/>
                  </a:lnTo>
                  <a:lnTo>
                    <a:pt x="9933" y="9818"/>
                  </a:lnTo>
                  <a:lnTo>
                    <a:pt x="9930" y="9831"/>
                  </a:lnTo>
                  <a:lnTo>
                    <a:pt x="9929" y="9845"/>
                  </a:lnTo>
                  <a:lnTo>
                    <a:pt x="9930" y="9861"/>
                  </a:lnTo>
                  <a:lnTo>
                    <a:pt x="9932" y="9875"/>
                  </a:lnTo>
                  <a:lnTo>
                    <a:pt x="9936" y="9888"/>
                  </a:lnTo>
                  <a:lnTo>
                    <a:pt x="9939" y="9901"/>
                  </a:lnTo>
                  <a:lnTo>
                    <a:pt x="9943" y="9913"/>
                  </a:lnTo>
                  <a:lnTo>
                    <a:pt x="9946" y="9926"/>
                  </a:lnTo>
                  <a:lnTo>
                    <a:pt x="9949" y="9940"/>
                  </a:lnTo>
                  <a:lnTo>
                    <a:pt x="9950" y="9956"/>
                  </a:lnTo>
                  <a:lnTo>
                    <a:pt x="9949" y="9964"/>
                  </a:lnTo>
                  <a:lnTo>
                    <a:pt x="9948" y="9971"/>
                  </a:lnTo>
                  <a:lnTo>
                    <a:pt x="9947" y="9977"/>
                  </a:lnTo>
                  <a:lnTo>
                    <a:pt x="9944" y="9985"/>
                  </a:lnTo>
                  <a:lnTo>
                    <a:pt x="9938" y="9997"/>
                  </a:lnTo>
                  <a:lnTo>
                    <a:pt x="9929" y="10009"/>
                  </a:lnTo>
                  <a:lnTo>
                    <a:pt x="9917" y="10027"/>
                  </a:lnTo>
                  <a:lnTo>
                    <a:pt x="9907" y="10042"/>
                  </a:lnTo>
                  <a:lnTo>
                    <a:pt x="9902" y="10050"/>
                  </a:lnTo>
                  <a:lnTo>
                    <a:pt x="9897" y="10057"/>
                  </a:lnTo>
                  <a:lnTo>
                    <a:pt x="9890" y="10064"/>
                  </a:lnTo>
                  <a:lnTo>
                    <a:pt x="9881" y="10070"/>
                  </a:lnTo>
                  <a:lnTo>
                    <a:pt x="9872" y="10079"/>
                  </a:lnTo>
                  <a:lnTo>
                    <a:pt x="9865" y="10087"/>
                  </a:lnTo>
                  <a:lnTo>
                    <a:pt x="9858" y="10095"/>
                  </a:lnTo>
                  <a:lnTo>
                    <a:pt x="9850" y="10102"/>
                  </a:lnTo>
                  <a:lnTo>
                    <a:pt x="9843" y="10110"/>
                  </a:lnTo>
                  <a:lnTo>
                    <a:pt x="9835" y="10116"/>
                  </a:lnTo>
                  <a:lnTo>
                    <a:pt x="9831" y="10118"/>
                  </a:lnTo>
                  <a:lnTo>
                    <a:pt x="9826" y="10119"/>
                  </a:lnTo>
                  <a:lnTo>
                    <a:pt x="9820" y="10120"/>
                  </a:lnTo>
                  <a:lnTo>
                    <a:pt x="9814" y="10120"/>
                  </a:lnTo>
                  <a:lnTo>
                    <a:pt x="9810" y="10120"/>
                  </a:lnTo>
                  <a:lnTo>
                    <a:pt x="9807" y="10119"/>
                  </a:lnTo>
                  <a:lnTo>
                    <a:pt x="9804" y="10118"/>
                  </a:lnTo>
                  <a:lnTo>
                    <a:pt x="9801" y="10116"/>
                  </a:lnTo>
                  <a:lnTo>
                    <a:pt x="9796" y="10112"/>
                  </a:lnTo>
                  <a:lnTo>
                    <a:pt x="9788" y="10107"/>
                  </a:lnTo>
                  <a:lnTo>
                    <a:pt x="9783" y="10109"/>
                  </a:lnTo>
                  <a:lnTo>
                    <a:pt x="9783" y="10112"/>
                  </a:lnTo>
                  <a:lnTo>
                    <a:pt x="9782" y="10116"/>
                  </a:lnTo>
                  <a:lnTo>
                    <a:pt x="9783" y="10121"/>
                  </a:lnTo>
                  <a:lnTo>
                    <a:pt x="9786" y="10125"/>
                  </a:lnTo>
                  <a:lnTo>
                    <a:pt x="9790" y="10129"/>
                  </a:lnTo>
                  <a:lnTo>
                    <a:pt x="9795" y="10131"/>
                  </a:lnTo>
                  <a:lnTo>
                    <a:pt x="9806" y="10135"/>
                  </a:lnTo>
                  <a:lnTo>
                    <a:pt x="9816" y="10142"/>
                  </a:lnTo>
                  <a:lnTo>
                    <a:pt x="9832" y="10154"/>
                  </a:lnTo>
                  <a:lnTo>
                    <a:pt x="9845" y="10166"/>
                  </a:lnTo>
                  <a:lnTo>
                    <a:pt x="9852" y="10173"/>
                  </a:lnTo>
                  <a:lnTo>
                    <a:pt x="9859" y="10178"/>
                  </a:lnTo>
                  <a:lnTo>
                    <a:pt x="9867" y="10184"/>
                  </a:lnTo>
                  <a:lnTo>
                    <a:pt x="9876" y="10189"/>
                  </a:lnTo>
                  <a:lnTo>
                    <a:pt x="9887" y="10196"/>
                  </a:lnTo>
                  <a:lnTo>
                    <a:pt x="9898" y="10205"/>
                  </a:lnTo>
                  <a:lnTo>
                    <a:pt x="9908" y="10213"/>
                  </a:lnTo>
                  <a:lnTo>
                    <a:pt x="9917" y="10220"/>
                  </a:lnTo>
                  <a:lnTo>
                    <a:pt x="9927" y="10227"/>
                  </a:lnTo>
                  <a:lnTo>
                    <a:pt x="9938" y="10232"/>
                  </a:lnTo>
                  <a:lnTo>
                    <a:pt x="9943" y="10235"/>
                  </a:lnTo>
                  <a:lnTo>
                    <a:pt x="9949" y="10236"/>
                  </a:lnTo>
                  <a:lnTo>
                    <a:pt x="9956" y="10237"/>
                  </a:lnTo>
                  <a:lnTo>
                    <a:pt x="9963" y="10238"/>
                  </a:lnTo>
                  <a:lnTo>
                    <a:pt x="9976" y="10230"/>
                  </a:lnTo>
                  <a:lnTo>
                    <a:pt x="9989" y="10223"/>
                  </a:lnTo>
                  <a:lnTo>
                    <a:pt x="9993" y="10223"/>
                  </a:lnTo>
                  <a:lnTo>
                    <a:pt x="9996" y="10225"/>
                  </a:lnTo>
                  <a:lnTo>
                    <a:pt x="9998" y="10227"/>
                  </a:lnTo>
                  <a:lnTo>
                    <a:pt x="10000" y="10230"/>
                  </a:lnTo>
                  <a:lnTo>
                    <a:pt x="10003" y="10237"/>
                  </a:lnTo>
                  <a:lnTo>
                    <a:pt x="10008" y="10243"/>
                  </a:lnTo>
                  <a:lnTo>
                    <a:pt x="10015" y="10250"/>
                  </a:lnTo>
                  <a:lnTo>
                    <a:pt x="10023" y="10255"/>
                  </a:lnTo>
                  <a:lnTo>
                    <a:pt x="10026" y="10257"/>
                  </a:lnTo>
                  <a:lnTo>
                    <a:pt x="10029" y="10260"/>
                  </a:lnTo>
                  <a:lnTo>
                    <a:pt x="10031" y="10264"/>
                  </a:lnTo>
                  <a:lnTo>
                    <a:pt x="10031" y="10269"/>
                  </a:lnTo>
                  <a:lnTo>
                    <a:pt x="10031" y="10293"/>
                  </a:lnTo>
                  <a:lnTo>
                    <a:pt x="10032" y="10298"/>
                  </a:lnTo>
                  <a:lnTo>
                    <a:pt x="10035" y="10302"/>
                  </a:lnTo>
                  <a:lnTo>
                    <a:pt x="10039" y="10305"/>
                  </a:lnTo>
                  <a:lnTo>
                    <a:pt x="10043" y="10308"/>
                  </a:lnTo>
                  <a:lnTo>
                    <a:pt x="10052" y="10306"/>
                  </a:lnTo>
                  <a:lnTo>
                    <a:pt x="10062" y="10309"/>
                  </a:lnTo>
                  <a:lnTo>
                    <a:pt x="10070" y="10314"/>
                  </a:lnTo>
                  <a:lnTo>
                    <a:pt x="10076" y="10319"/>
                  </a:lnTo>
                  <a:lnTo>
                    <a:pt x="10083" y="10325"/>
                  </a:lnTo>
                  <a:lnTo>
                    <a:pt x="10090" y="10332"/>
                  </a:lnTo>
                  <a:lnTo>
                    <a:pt x="10096" y="10338"/>
                  </a:lnTo>
                  <a:lnTo>
                    <a:pt x="10104" y="10343"/>
                  </a:lnTo>
                  <a:lnTo>
                    <a:pt x="10112" y="10347"/>
                  </a:lnTo>
                  <a:lnTo>
                    <a:pt x="10127" y="10351"/>
                  </a:lnTo>
                  <a:lnTo>
                    <a:pt x="10140" y="10352"/>
                  </a:lnTo>
                  <a:lnTo>
                    <a:pt x="10155" y="10353"/>
                  </a:lnTo>
                  <a:lnTo>
                    <a:pt x="10170" y="10353"/>
                  </a:lnTo>
                  <a:lnTo>
                    <a:pt x="10180" y="10352"/>
                  </a:lnTo>
                  <a:lnTo>
                    <a:pt x="10189" y="10349"/>
                  </a:lnTo>
                  <a:lnTo>
                    <a:pt x="10197" y="10345"/>
                  </a:lnTo>
                  <a:lnTo>
                    <a:pt x="10205" y="10341"/>
                  </a:lnTo>
                  <a:lnTo>
                    <a:pt x="10212" y="10337"/>
                  </a:lnTo>
                  <a:lnTo>
                    <a:pt x="10221" y="10333"/>
                  </a:lnTo>
                  <a:lnTo>
                    <a:pt x="10230" y="10331"/>
                  </a:lnTo>
                  <a:lnTo>
                    <a:pt x="10240" y="10330"/>
                  </a:lnTo>
                  <a:lnTo>
                    <a:pt x="10252" y="10331"/>
                  </a:lnTo>
                  <a:lnTo>
                    <a:pt x="10262" y="10333"/>
                  </a:lnTo>
                  <a:lnTo>
                    <a:pt x="10272" y="10337"/>
                  </a:lnTo>
                  <a:lnTo>
                    <a:pt x="10281" y="10341"/>
                  </a:lnTo>
                  <a:lnTo>
                    <a:pt x="10291" y="10345"/>
                  </a:lnTo>
                  <a:lnTo>
                    <a:pt x="10301" y="10349"/>
                  </a:lnTo>
                  <a:lnTo>
                    <a:pt x="10311" y="10352"/>
                  </a:lnTo>
                  <a:lnTo>
                    <a:pt x="10323" y="10353"/>
                  </a:lnTo>
                  <a:lnTo>
                    <a:pt x="10337" y="10352"/>
                  </a:lnTo>
                  <a:lnTo>
                    <a:pt x="10349" y="10351"/>
                  </a:lnTo>
                  <a:lnTo>
                    <a:pt x="10362" y="10348"/>
                  </a:lnTo>
                  <a:lnTo>
                    <a:pt x="10372" y="10345"/>
                  </a:lnTo>
                  <a:lnTo>
                    <a:pt x="10395" y="10335"/>
                  </a:lnTo>
                  <a:lnTo>
                    <a:pt x="10419" y="10322"/>
                  </a:lnTo>
                  <a:lnTo>
                    <a:pt x="10457" y="10304"/>
                  </a:lnTo>
                  <a:lnTo>
                    <a:pt x="10491" y="10285"/>
                  </a:lnTo>
                  <a:lnTo>
                    <a:pt x="10498" y="10280"/>
                  </a:lnTo>
                  <a:lnTo>
                    <a:pt x="10505" y="10274"/>
                  </a:lnTo>
                  <a:lnTo>
                    <a:pt x="10512" y="10269"/>
                  </a:lnTo>
                  <a:lnTo>
                    <a:pt x="10519" y="10261"/>
                  </a:lnTo>
                  <a:lnTo>
                    <a:pt x="10524" y="10254"/>
                  </a:lnTo>
                  <a:lnTo>
                    <a:pt x="10529" y="10246"/>
                  </a:lnTo>
                  <a:lnTo>
                    <a:pt x="10534" y="10237"/>
                  </a:lnTo>
                  <a:lnTo>
                    <a:pt x="10538" y="10226"/>
                  </a:lnTo>
                  <a:lnTo>
                    <a:pt x="10540" y="10223"/>
                  </a:lnTo>
                  <a:lnTo>
                    <a:pt x="10542" y="10219"/>
                  </a:lnTo>
                  <a:lnTo>
                    <a:pt x="10544" y="10217"/>
                  </a:lnTo>
                  <a:lnTo>
                    <a:pt x="10547" y="10215"/>
                  </a:lnTo>
                  <a:lnTo>
                    <a:pt x="10554" y="10211"/>
                  </a:lnTo>
                  <a:lnTo>
                    <a:pt x="10561" y="10209"/>
                  </a:lnTo>
                  <a:lnTo>
                    <a:pt x="10576" y="10206"/>
                  </a:lnTo>
                  <a:lnTo>
                    <a:pt x="10594" y="10200"/>
                  </a:lnTo>
                  <a:lnTo>
                    <a:pt x="10600" y="10197"/>
                  </a:lnTo>
                  <a:lnTo>
                    <a:pt x="10606" y="10192"/>
                  </a:lnTo>
                  <a:lnTo>
                    <a:pt x="10611" y="10187"/>
                  </a:lnTo>
                  <a:lnTo>
                    <a:pt x="10616" y="10182"/>
                  </a:lnTo>
                  <a:lnTo>
                    <a:pt x="10619" y="10175"/>
                  </a:lnTo>
                  <a:lnTo>
                    <a:pt x="10622" y="10167"/>
                  </a:lnTo>
                  <a:lnTo>
                    <a:pt x="10624" y="10160"/>
                  </a:lnTo>
                  <a:lnTo>
                    <a:pt x="10626" y="10152"/>
                  </a:lnTo>
                  <a:lnTo>
                    <a:pt x="10626" y="10149"/>
                  </a:lnTo>
                  <a:lnTo>
                    <a:pt x="10628" y="10147"/>
                  </a:lnTo>
                  <a:lnTo>
                    <a:pt x="10629" y="10145"/>
                  </a:lnTo>
                  <a:lnTo>
                    <a:pt x="10631" y="10144"/>
                  </a:lnTo>
                  <a:lnTo>
                    <a:pt x="10636" y="10142"/>
                  </a:lnTo>
                  <a:lnTo>
                    <a:pt x="10642" y="10141"/>
                  </a:lnTo>
                  <a:lnTo>
                    <a:pt x="10649" y="10140"/>
                  </a:lnTo>
                  <a:lnTo>
                    <a:pt x="10656" y="10138"/>
                  </a:lnTo>
                  <a:lnTo>
                    <a:pt x="10662" y="10136"/>
                  </a:lnTo>
                  <a:lnTo>
                    <a:pt x="10668" y="10133"/>
                  </a:lnTo>
                  <a:lnTo>
                    <a:pt x="10675" y="10127"/>
                  </a:lnTo>
                  <a:lnTo>
                    <a:pt x="10683" y="10120"/>
                  </a:lnTo>
                  <a:lnTo>
                    <a:pt x="10687" y="10112"/>
                  </a:lnTo>
                  <a:lnTo>
                    <a:pt x="10692" y="10104"/>
                  </a:lnTo>
                  <a:lnTo>
                    <a:pt x="10699" y="10087"/>
                  </a:lnTo>
                  <a:lnTo>
                    <a:pt x="10708" y="10068"/>
                  </a:lnTo>
                  <a:lnTo>
                    <a:pt x="10714" y="10058"/>
                  </a:lnTo>
                  <a:lnTo>
                    <a:pt x="10718" y="10049"/>
                  </a:lnTo>
                  <a:lnTo>
                    <a:pt x="10721" y="10039"/>
                  </a:lnTo>
                  <a:lnTo>
                    <a:pt x="10724" y="10030"/>
                  </a:lnTo>
                  <a:lnTo>
                    <a:pt x="10729" y="10011"/>
                  </a:lnTo>
                  <a:lnTo>
                    <a:pt x="10736" y="9991"/>
                  </a:lnTo>
                  <a:lnTo>
                    <a:pt x="10743" y="9972"/>
                  </a:lnTo>
                  <a:lnTo>
                    <a:pt x="10752" y="9955"/>
                  </a:lnTo>
                  <a:lnTo>
                    <a:pt x="10761" y="9939"/>
                  </a:lnTo>
                  <a:lnTo>
                    <a:pt x="10770" y="9925"/>
                  </a:lnTo>
                  <a:lnTo>
                    <a:pt x="10782" y="9912"/>
                  </a:lnTo>
                  <a:lnTo>
                    <a:pt x="10795" y="9900"/>
                  </a:lnTo>
                  <a:lnTo>
                    <a:pt x="10809" y="9889"/>
                  </a:lnTo>
                  <a:lnTo>
                    <a:pt x="10827" y="9878"/>
                  </a:lnTo>
                  <a:lnTo>
                    <a:pt x="10835" y="9872"/>
                  </a:lnTo>
                  <a:lnTo>
                    <a:pt x="10843" y="9866"/>
                  </a:lnTo>
                  <a:lnTo>
                    <a:pt x="10851" y="9861"/>
                  </a:lnTo>
                  <a:lnTo>
                    <a:pt x="10860" y="9856"/>
                  </a:lnTo>
                  <a:lnTo>
                    <a:pt x="10880" y="9849"/>
                  </a:lnTo>
                  <a:lnTo>
                    <a:pt x="10898" y="9844"/>
                  </a:lnTo>
                  <a:lnTo>
                    <a:pt x="10916" y="9838"/>
                  </a:lnTo>
                  <a:lnTo>
                    <a:pt x="10935" y="9831"/>
                  </a:lnTo>
                  <a:lnTo>
                    <a:pt x="10949" y="9828"/>
                  </a:lnTo>
                  <a:lnTo>
                    <a:pt x="10962" y="9825"/>
                  </a:lnTo>
                  <a:lnTo>
                    <a:pt x="10968" y="9824"/>
                  </a:lnTo>
                  <a:lnTo>
                    <a:pt x="10973" y="9821"/>
                  </a:lnTo>
                  <a:lnTo>
                    <a:pt x="10980" y="9818"/>
                  </a:lnTo>
                  <a:lnTo>
                    <a:pt x="10986" y="9814"/>
                  </a:lnTo>
                  <a:lnTo>
                    <a:pt x="10991" y="9811"/>
                  </a:lnTo>
                  <a:lnTo>
                    <a:pt x="10994" y="9807"/>
                  </a:lnTo>
                  <a:lnTo>
                    <a:pt x="10997" y="9803"/>
                  </a:lnTo>
                  <a:lnTo>
                    <a:pt x="10999" y="9798"/>
                  </a:lnTo>
                  <a:lnTo>
                    <a:pt x="11002" y="9794"/>
                  </a:lnTo>
                  <a:lnTo>
                    <a:pt x="11005" y="9789"/>
                  </a:lnTo>
                  <a:lnTo>
                    <a:pt x="11008" y="9785"/>
                  </a:lnTo>
                  <a:lnTo>
                    <a:pt x="11014" y="9781"/>
                  </a:lnTo>
                  <a:lnTo>
                    <a:pt x="11022" y="9776"/>
                  </a:lnTo>
                  <a:lnTo>
                    <a:pt x="11030" y="9772"/>
                  </a:lnTo>
                  <a:lnTo>
                    <a:pt x="11038" y="9769"/>
                  </a:lnTo>
                  <a:lnTo>
                    <a:pt x="11046" y="9767"/>
                  </a:lnTo>
                  <a:lnTo>
                    <a:pt x="11063" y="9764"/>
                  </a:lnTo>
                  <a:lnTo>
                    <a:pt x="11083" y="9761"/>
                  </a:lnTo>
                  <a:lnTo>
                    <a:pt x="11093" y="9763"/>
                  </a:lnTo>
                  <a:lnTo>
                    <a:pt x="11102" y="9765"/>
                  </a:lnTo>
                  <a:lnTo>
                    <a:pt x="11112" y="9767"/>
                  </a:lnTo>
                  <a:lnTo>
                    <a:pt x="11122" y="9768"/>
                  </a:lnTo>
                  <a:lnTo>
                    <a:pt x="11134" y="9755"/>
                  </a:lnTo>
                  <a:lnTo>
                    <a:pt x="11148" y="9743"/>
                  </a:lnTo>
                  <a:lnTo>
                    <a:pt x="11155" y="9743"/>
                  </a:lnTo>
                  <a:lnTo>
                    <a:pt x="11161" y="9745"/>
                  </a:lnTo>
                  <a:lnTo>
                    <a:pt x="11166" y="9748"/>
                  </a:lnTo>
                  <a:lnTo>
                    <a:pt x="11171" y="9751"/>
                  </a:lnTo>
                  <a:lnTo>
                    <a:pt x="11177" y="9754"/>
                  </a:lnTo>
                  <a:lnTo>
                    <a:pt x="11183" y="9757"/>
                  </a:lnTo>
                  <a:lnTo>
                    <a:pt x="11189" y="9759"/>
                  </a:lnTo>
                  <a:lnTo>
                    <a:pt x="11196" y="9761"/>
                  </a:lnTo>
                  <a:lnTo>
                    <a:pt x="11200" y="9759"/>
                  </a:lnTo>
                  <a:lnTo>
                    <a:pt x="11203" y="9757"/>
                  </a:lnTo>
                  <a:lnTo>
                    <a:pt x="11205" y="9753"/>
                  </a:lnTo>
                  <a:lnTo>
                    <a:pt x="11206" y="9749"/>
                  </a:lnTo>
                  <a:lnTo>
                    <a:pt x="11209" y="9745"/>
                  </a:lnTo>
                  <a:lnTo>
                    <a:pt x="11210" y="9740"/>
                  </a:lnTo>
                  <a:lnTo>
                    <a:pt x="11212" y="9736"/>
                  </a:lnTo>
                  <a:lnTo>
                    <a:pt x="11215" y="9732"/>
                  </a:lnTo>
                  <a:lnTo>
                    <a:pt x="11221" y="9726"/>
                  </a:lnTo>
                  <a:lnTo>
                    <a:pt x="11227" y="9722"/>
                  </a:lnTo>
                  <a:lnTo>
                    <a:pt x="11234" y="9719"/>
                  </a:lnTo>
                  <a:lnTo>
                    <a:pt x="11240" y="9717"/>
                  </a:lnTo>
                  <a:lnTo>
                    <a:pt x="11255" y="9715"/>
                  </a:lnTo>
                  <a:lnTo>
                    <a:pt x="11271" y="9714"/>
                  </a:lnTo>
                  <a:lnTo>
                    <a:pt x="11276" y="9715"/>
                  </a:lnTo>
                  <a:lnTo>
                    <a:pt x="11280" y="9717"/>
                  </a:lnTo>
                  <a:lnTo>
                    <a:pt x="11283" y="9720"/>
                  </a:lnTo>
                  <a:lnTo>
                    <a:pt x="11285" y="9723"/>
                  </a:lnTo>
                  <a:lnTo>
                    <a:pt x="11290" y="9733"/>
                  </a:lnTo>
                  <a:lnTo>
                    <a:pt x="11295" y="9742"/>
                  </a:lnTo>
                  <a:lnTo>
                    <a:pt x="11306" y="9756"/>
                  </a:lnTo>
                  <a:lnTo>
                    <a:pt x="11318" y="9770"/>
                  </a:lnTo>
                  <a:lnTo>
                    <a:pt x="11324" y="9775"/>
                  </a:lnTo>
                  <a:lnTo>
                    <a:pt x="11331" y="9779"/>
                  </a:lnTo>
                  <a:lnTo>
                    <a:pt x="11338" y="9782"/>
                  </a:lnTo>
                  <a:lnTo>
                    <a:pt x="11348" y="9783"/>
                  </a:lnTo>
                  <a:lnTo>
                    <a:pt x="11354" y="9782"/>
                  </a:lnTo>
                  <a:lnTo>
                    <a:pt x="11359" y="9779"/>
                  </a:lnTo>
                  <a:lnTo>
                    <a:pt x="11364" y="9776"/>
                  </a:lnTo>
                  <a:lnTo>
                    <a:pt x="11367" y="9771"/>
                  </a:lnTo>
                  <a:lnTo>
                    <a:pt x="11374" y="9759"/>
                  </a:lnTo>
                  <a:lnTo>
                    <a:pt x="11379" y="9746"/>
                  </a:lnTo>
                  <a:lnTo>
                    <a:pt x="11386" y="9730"/>
                  </a:lnTo>
                  <a:lnTo>
                    <a:pt x="11393" y="9716"/>
                  </a:lnTo>
                  <a:lnTo>
                    <a:pt x="11399" y="9702"/>
                  </a:lnTo>
                  <a:lnTo>
                    <a:pt x="11405" y="9685"/>
                  </a:lnTo>
                  <a:lnTo>
                    <a:pt x="11411" y="9666"/>
                  </a:lnTo>
                  <a:lnTo>
                    <a:pt x="11415" y="9648"/>
                  </a:lnTo>
                  <a:lnTo>
                    <a:pt x="11418" y="9640"/>
                  </a:lnTo>
                  <a:lnTo>
                    <a:pt x="11422" y="9632"/>
                  </a:lnTo>
                  <a:lnTo>
                    <a:pt x="11424" y="9628"/>
                  </a:lnTo>
                  <a:lnTo>
                    <a:pt x="11427" y="9625"/>
                  </a:lnTo>
                  <a:lnTo>
                    <a:pt x="11431" y="9622"/>
                  </a:lnTo>
                  <a:lnTo>
                    <a:pt x="11435" y="9620"/>
                  </a:lnTo>
                  <a:lnTo>
                    <a:pt x="11444" y="9616"/>
                  </a:lnTo>
                  <a:lnTo>
                    <a:pt x="11451" y="9614"/>
                  </a:lnTo>
                  <a:lnTo>
                    <a:pt x="11459" y="9613"/>
                  </a:lnTo>
                  <a:lnTo>
                    <a:pt x="11466" y="9611"/>
                  </a:lnTo>
                  <a:lnTo>
                    <a:pt x="11475" y="9610"/>
                  </a:lnTo>
                  <a:lnTo>
                    <a:pt x="11482" y="9608"/>
                  </a:lnTo>
                  <a:lnTo>
                    <a:pt x="11489" y="9605"/>
                  </a:lnTo>
                  <a:lnTo>
                    <a:pt x="11496" y="9599"/>
                  </a:lnTo>
                  <a:lnTo>
                    <a:pt x="11499" y="9596"/>
                  </a:lnTo>
                  <a:lnTo>
                    <a:pt x="11501" y="9592"/>
                  </a:lnTo>
                  <a:lnTo>
                    <a:pt x="11502" y="9588"/>
                  </a:lnTo>
                  <a:lnTo>
                    <a:pt x="11503" y="9584"/>
                  </a:lnTo>
                  <a:lnTo>
                    <a:pt x="11504" y="9575"/>
                  </a:lnTo>
                  <a:lnTo>
                    <a:pt x="11507" y="9565"/>
                  </a:lnTo>
                  <a:lnTo>
                    <a:pt x="11510" y="9562"/>
                  </a:lnTo>
                  <a:lnTo>
                    <a:pt x="11513" y="9560"/>
                  </a:lnTo>
                  <a:lnTo>
                    <a:pt x="11516" y="9558"/>
                  </a:lnTo>
                  <a:lnTo>
                    <a:pt x="11519" y="9557"/>
                  </a:lnTo>
                  <a:lnTo>
                    <a:pt x="11527" y="9555"/>
                  </a:lnTo>
                  <a:lnTo>
                    <a:pt x="11535" y="9553"/>
                  </a:lnTo>
                  <a:lnTo>
                    <a:pt x="11545" y="9547"/>
                  </a:lnTo>
                  <a:lnTo>
                    <a:pt x="11554" y="9542"/>
                  </a:lnTo>
                  <a:lnTo>
                    <a:pt x="11558" y="9539"/>
                  </a:lnTo>
                  <a:lnTo>
                    <a:pt x="11562" y="9536"/>
                  </a:lnTo>
                  <a:lnTo>
                    <a:pt x="11567" y="9535"/>
                  </a:lnTo>
                  <a:lnTo>
                    <a:pt x="11573" y="9535"/>
                  </a:lnTo>
                  <a:lnTo>
                    <a:pt x="11579" y="9535"/>
                  </a:lnTo>
                  <a:lnTo>
                    <a:pt x="11584" y="9536"/>
                  </a:lnTo>
                  <a:lnTo>
                    <a:pt x="11589" y="9540"/>
                  </a:lnTo>
                  <a:lnTo>
                    <a:pt x="11593" y="9542"/>
                  </a:lnTo>
                  <a:lnTo>
                    <a:pt x="11599" y="9548"/>
                  </a:lnTo>
                  <a:lnTo>
                    <a:pt x="11603" y="9552"/>
                  </a:lnTo>
                  <a:lnTo>
                    <a:pt x="11605" y="9554"/>
                  </a:lnTo>
                  <a:lnTo>
                    <a:pt x="11606" y="9555"/>
                  </a:lnTo>
                  <a:lnTo>
                    <a:pt x="11607" y="9554"/>
                  </a:lnTo>
                  <a:lnTo>
                    <a:pt x="11607" y="9552"/>
                  </a:lnTo>
                  <a:lnTo>
                    <a:pt x="11606" y="9544"/>
                  </a:lnTo>
                  <a:lnTo>
                    <a:pt x="11602" y="9528"/>
                  </a:lnTo>
                  <a:lnTo>
                    <a:pt x="11605" y="9523"/>
                  </a:lnTo>
                  <a:lnTo>
                    <a:pt x="11607" y="9519"/>
                  </a:lnTo>
                  <a:lnTo>
                    <a:pt x="11611" y="9515"/>
                  </a:lnTo>
                  <a:lnTo>
                    <a:pt x="11615" y="9513"/>
                  </a:lnTo>
                  <a:lnTo>
                    <a:pt x="11626" y="9510"/>
                  </a:lnTo>
                  <a:lnTo>
                    <a:pt x="11638" y="9508"/>
                  </a:lnTo>
                  <a:lnTo>
                    <a:pt x="11644" y="9506"/>
                  </a:lnTo>
                  <a:lnTo>
                    <a:pt x="11649" y="9505"/>
                  </a:lnTo>
                  <a:lnTo>
                    <a:pt x="11653" y="9503"/>
                  </a:lnTo>
                  <a:lnTo>
                    <a:pt x="11658" y="9500"/>
                  </a:lnTo>
                  <a:lnTo>
                    <a:pt x="11666" y="9494"/>
                  </a:lnTo>
                  <a:lnTo>
                    <a:pt x="11675" y="9487"/>
                  </a:lnTo>
                  <a:lnTo>
                    <a:pt x="11666" y="9483"/>
                  </a:lnTo>
                  <a:lnTo>
                    <a:pt x="11658" y="9479"/>
                  </a:lnTo>
                  <a:lnTo>
                    <a:pt x="11654" y="9473"/>
                  </a:lnTo>
                  <a:lnTo>
                    <a:pt x="11651" y="9468"/>
                  </a:lnTo>
                  <a:lnTo>
                    <a:pt x="11649" y="9463"/>
                  </a:lnTo>
                  <a:lnTo>
                    <a:pt x="11648" y="9457"/>
                  </a:lnTo>
                  <a:lnTo>
                    <a:pt x="11647" y="9445"/>
                  </a:lnTo>
                  <a:lnTo>
                    <a:pt x="11648" y="9431"/>
                  </a:lnTo>
                  <a:lnTo>
                    <a:pt x="11648" y="9426"/>
                  </a:lnTo>
                  <a:lnTo>
                    <a:pt x="11649" y="9422"/>
                  </a:lnTo>
                  <a:lnTo>
                    <a:pt x="11651" y="9418"/>
                  </a:lnTo>
                  <a:lnTo>
                    <a:pt x="11654" y="9415"/>
                  </a:lnTo>
                  <a:lnTo>
                    <a:pt x="11661" y="9408"/>
                  </a:lnTo>
                  <a:lnTo>
                    <a:pt x="11668" y="9401"/>
                  </a:lnTo>
                  <a:lnTo>
                    <a:pt x="11679" y="9392"/>
                  </a:lnTo>
                  <a:lnTo>
                    <a:pt x="11688" y="9383"/>
                  </a:lnTo>
                  <a:lnTo>
                    <a:pt x="11697" y="9374"/>
                  </a:lnTo>
                  <a:lnTo>
                    <a:pt x="11708" y="9364"/>
                  </a:lnTo>
                  <a:lnTo>
                    <a:pt x="11722" y="9346"/>
                  </a:lnTo>
                  <a:lnTo>
                    <a:pt x="11735" y="9331"/>
                  </a:lnTo>
                  <a:lnTo>
                    <a:pt x="11744" y="9325"/>
                  </a:lnTo>
                  <a:lnTo>
                    <a:pt x="11752" y="9320"/>
                  </a:lnTo>
                  <a:lnTo>
                    <a:pt x="11756" y="9318"/>
                  </a:lnTo>
                  <a:lnTo>
                    <a:pt x="11761" y="9316"/>
                  </a:lnTo>
                  <a:lnTo>
                    <a:pt x="11766" y="9315"/>
                  </a:lnTo>
                  <a:lnTo>
                    <a:pt x="11773" y="9315"/>
                  </a:lnTo>
                  <a:lnTo>
                    <a:pt x="11794" y="9315"/>
                  </a:lnTo>
                  <a:lnTo>
                    <a:pt x="11815" y="9318"/>
                  </a:lnTo>
                  <a:lnTo>
                    <a:pt x="11834" y="9320"/>
                  </a:lnTo>
                  <a:lnTo>
                    <a:pt x="11853" y="9324"/>
                  </a:lnTo>
                  <a:lnTo>
                    <a:pt x="11871" y="9329"/>
                  </a:lnTo>
                  <a:lnTo>
                    <a:pt x="11888" y="9337"/>
                  </a:lnTo>
                  <a:lnTo>
                    <a:pt x="11907" y="9346"/>
                  </a:lnTo>
                  <a:lnTo>
                    <a:pt x="11925" y="9358"/>
                  </a:lnTo>
                  <a:lnTo>
                    <a:pt x="11950" y="9374"/>
                  </a:lnTo>
                  <a:lnTo>
                    <a:pt x="11971" y="9390"/>
                  </a:lnTo>
                  <a:lnTo>
                    <a:pt x="11981" y="9397"/>
                  </a:lnTo>
                  <a:lnTo>
                    <a:pt x="11990" y="9406"/>
                  </a:lnTo>
                  <a:lnTo>
                    <a:pt x="12001" y="9417"/>
                  </a:lnTo>
                  <a:lnTo>
                    <a:pt x="12011" y="9428"/>
                  </a:lnTo>
                  <a:lnTo>
                    <a:pt x="12016" y="9435"/>
                  </a:lnTo>
                  <a:lnTo>
                    <a:pt x="12019" y="9442"/>
                  </a:lnTo>
                  <a:lnTo>
                    <a:pt x="12022" y="9451"/>
                  </a:lnTo>
                  <a:lnTo>
                    <a:pt x="12025" y="9459"/>
                  </a:lnTo>
                  <a:lnTo>
                    <a:pt x="12027" y="9466"/>
                  </a:lnTo>
                  <a:lnTo>
                    <a:pt x="12031" y="9473"/>
                  </a:lnTo>
                  <a:lnTo>
                    <a:pt x="12035" y="9476"/>
                  </a:lnTo>
                  <a:lnTo>
                    <a:pt x="12037" y="9479"/>
                  </a:lnTo>
                  <a:lnTo>
                    <a:pt x="12041" y="9481"/>
                  </a:lnTo>
                  <a:lnTo>
                    <a:pt x="12045" y="9483"/>
                  </a:lnTo>
                  <a:lnTo>
                    <a:pt x="12056" y="9483"/>
                  </a:lnTo>
                  <a:lnTo>
                    <a:pt x="12065" y="9483"/>
                  </a:lnTo>
                  <a:lnTo>
                    <a:pt x="12076" y="9483"/>
                  </a:lnTo>
                  <a:lnTo>
                    <a:pt x="12087" y="9483"/>
                  </a:lnTo>
                  <a:lnTo>
                    <a:pt x="12084" y="9479"/>
                  </a:lnTo>
                  <a:lnTo>
                    <a:pt x="12081" y="9474"/>
                  </a:lnTo>
                  <a:lnTo>
                    <a:pt x="12079" y="9470"/>
                  </a:lnTo>
                  <a:lnTo>
                    <a:pt x="12079" y="9465"/>
                  </a:lnTo>
                  <a:lnTo>
                    <a:pt x="12079" y="9458"/>
                  </a:lnTo>
                  <a:lnTo>
                    <a:pt x="12081" y="9450"/>
                  </a:lnTo>
                  <a:lnTo>
                    <a:pt x="12084" y="9444"/>
                  </a:lnTo>
                  <a:lnTo>
                    <a:pt x="12087" y="9437"/>
                  </a:lnTo>
                  <a:lnTo>
                    <a:pt x="12092" y="9431"/>
                  </a:lnTo>
                  <a:lnTo>
                    <a:pt x="12097" y="9428"/>
                  </a:lnTo>
                  <a:lnTo>
                    <a:pt x="12105" y="9425"/>
                  </a:lnTo>
                  <a:lnTo>
                    <a:pt x="12112" y="9424"/>
                  </a:lnTo>
                  <a:lnTo>
                    <a:pt x="12116" y="9425"/>
                  </a:lnTo>
                  <a:lnTo>
                    <a:pt x="12118" y="9427"/>
                  </a:lnTo>
                  <a:lnTo>
                    <a:pt x="12120" y="9430"/>
                  </a:lnTo>
                  <a:lnTo>
                    <a:pt x="12121" y="9434"/>
                  </a:lnTo>
                  <a:lnTo>
                    <a:pt x="12122" y="9444"/>
                  </a:lnTo>
                  <a:lnTo>
                    <a:pt x="12126" y="9453"/>
                  </a:lnTo>
                  <a:lnTo>
                    <a:pt x="12130" y="9457"/>
                  </a:lnTo>
                  <a:lnTo>
                    <a:pt x="12135" y="9461"/>
                  </a:lnTo>
                  <a:lnTo>
                    <a:pt x="12140" y="9464"/>
                  </a:lnTo>
                  <a:lnTo>
                    <a:pt x="12146" y="9465"/>
                  </a:lnTo>
                  <a:lnTo>
                    <a:pt x="12158" y="9466"/>
                  </a:lnTo>
                  <a:lnTo>
                    <a:pt x="12172" y="9466"/>
                  </a:lnTo>
                  <a:lnTo>
                    <a:pt x="12185" y="9466"/>
                  </a:lnTo>
                  <a:lnTo>
                    <a:pt x="12185" y="9459"/>
                  </a:lnTo>
                  <a:lnTo>
                    <a:pt x="12186" y="9452"/>
                  </a:lnTo>
                  <a:lnTo>
                    <a:pt x="12188" y="9446"/>
                  </a:lnTo>
                  <a:lnTo>
                    <a:pt x="12191" y="9439"/>
                  </a:lnTo>
                  <a:lnTo>
                    <a:pt x="12195" y="9433"/>
                  </a:lnTo>
                  <a:lnTo>
                    <a:pt x="12200" y="9428"/>
                  </a:lnTo>
                  <a:lnTo>
                    <a:pt x="12204" y="9423"/>
                  </a:lnTo>
                  <a:lnTo>
                    <a:pt x="12209" y="9419"/>
                  </a:lnTo>
                  <a:lnTo>
                    <a:pt x="12215" y="9415"/>
                  </a:lnTo>
                  <a:lnTo>
                    <a:pt x="12221" y="9410"/>
                  </a:lnTo>
                  <a:lnTo>
                    <a:pt x="12227" y="9407"/>
                  </a:lnTo>
                  <a:lnTo>
                    <a:pt x="12235" y="9405"/>
                  </a:lnTo>
                  <a:lnTo>
                    <a:pt x="12242" y="9403"/>
                  </a:lnTo>
                  <a:lnTo>
                    <a:pt x="12249" y="9401"/>
                  </a:lnTo>
                  <a:lnTo>
                    <a:pt x="12256" y="9401"/>
                  </a:lnTo>
                  <a:lnTo>
                    <a:pt x="12263" y="9400"/>
                  </a:lnTo>
                  <a:lnTo>
                    <a:pt x="12271" y="9403"/>
                  </a:lnTo>
                  <a:lnTo>
                    <a:pt x="12277" y="9406"/>
                  </a:lnTo>
                  <a:lnTo>
                    <a:pt x="12283" y="9409"/>
                  </a:lnTo>
                  <a:lnTo>
                    <a:pt x="12289" y="9414"/>
                  </a:lnTo>
                  <a:lnTo>
                    <a:pt x="12281" y="9397"/>
                  </a:lnTo>
                  <a:lnTo>
                    <a:pt x="12274" y="9382"/>
                  </a:lnTo>
                  <a:lnTo>
                    <a:pt x="12271" y="9373"/>
                  </a:lnTo>
                  <a:lnTo>
                    <a:pt x="12270" y="9365"/>
                  </a:lnTo>
                  <a:lnTo>
                    <a:pt x="12268" y="9356"/>
                  </a:lnTo>
                  <a:lnTo>
                    <a:pt x="12268" y="9346"/>
                  </a:lnTo>
                  <a:lnTo>
                    <a:pt x="12268" y="9334"/>
                  </a:lnTo>
                  <a:lnTo>
                    <a:pt x="12268" y="9325"/>
                  </a:lnTo>
                  <a:lnTo>
                    <a:pt x="12268" y="9314"/>
                  </a:lnTo>
                  <a:lnTo>
                    <a:pt x="12268" y="9302"/>
                  </a:lnTo>
                  <a:lnTo>
                    <a:pt x="12277" y="9302"/>
                  </a:lnTo>
                  <a:lnTo>
                    <a:pt x="12286" y="9303"/>
                  </a:lnTo>
                  <a:lnTo>
                    <a:pt x="12293" y="9304"/>
                  </a:lnTo>
                  <a:lnTo>
                    <a:pt x="12302" y="9306"/>
                  </a:lnTo>
                  <a:lnTo>
                    <a:pt x="12311" y="9308"/>
                  </a:lnTo>
                  <a:lnTo>
                    <a:pt x="12306" y="9319"/>
                  </a:lnTo>
                  <a:lnTo>
                    <a:pt x="12300" y="9327"/>
                  </a:lnTo>
                  <a:lnTo>
                    <a:pt x="12298" y="9332"/>
                  </a:lnTo>
                  <a:lnTo>
                    <a:pt x="12295" y="9336"/>
                  </a:lnTo>
                  <a:lnTo>
                    <a:pt x="12293" y="9341"/>
                  </a:lnTo>
                  <a:lnTo>
                    <a:pt x="12293" y="9347"/>
                  </a:lnTo>
                  <a:lnTo>
                    <a:pt x="12293" y="9352"/>
                  </a:lnTo>
                  <a:lnTo>
                    <a:pt x="12294" y="9356"/>
                  </a:lnTo>
                  <a:lnTo>
                    <a:pt x="12296" y="9360"/>
                  </a:lnTo>
                  <a:lnTo>
                    <a:pt x="12299" y="9363"/>
                  </a:lnTo>
                  <a:lnTo>
                    <a:pt x="12302" y="9366"/>
                  </a:lnTo>
                  <a:lnTo>
                    <a:pt x="12306" y="9368"/>
                  </a:lnTo>
                  <a:lnTo>
                    <a:pt x="12309" y="9369"/>
                  </a:lnTo>
                  <a:lnTo>
                    <a:pt x="12313" y="9370"/>
                  </a:lnTo>
                  <a:lnTo>
                    <a:pt x="12319" y="9368"/>
                  </a:lnTo>
                  <a:lnTo>
                    <a:pt x="12325" y="9367"/>
                  </a:lnTo>
                  <a:lnTo>
                    <a:pt x="12332" y="9368"/>
                  </a:lnTo>
                  <a:lnTo>
                    <a:pt x="12337" y="9369"/>
                  </a:lnTo>
                  <a:lnTo>
                    <a:pt x="12339" y="9370"/>
                  </a:lnTo>
                  <a:lnTo>
                    <a:pt x="12340" y="9372"/>
                  </a:lnTo>
                  <a:lnTo>
                    <a:pt x="12341" y="9374"/>
                  </a:lnTo>
                  <a:lnTo>
                    <a:pt x="12342" y="9376"/>
                  </a:lnTo>
                  <a:lnTo>
                    <a:pt x="12341" y="9379"/>
                  </a:lnTo>
                  <a:lnTo>
                    <a:pt x="12341" y="9383"/>
                  </a:lnTo>
                  <a:lnTo>
                    <a:pt x="12339" y="9385"/>
                  </a:lnTo>
                  <a:lnTo>
                    <a:pt x="12337" y="9388"/>
                  </a:lnTo>
                  <a:lnTo>
                    <a:pt x="12333" y="9391"/>
                  </a:lnTo>
                  <a:lnTo>
                    <a:pt x="12327" y="9395"/>
                  </a:lnTo>
                  <a:lnTo>
                    <a:pt x="12322" y="9398"/>
                  </a:lnTo>
                  <a:lnTo>
                    <a:pt x="12318" y="9401"/>
                  </a:lnTo>
                  <a:lnTo>
                    <a:pt x="12316" y="9404"/>
                  </a:lnTo>
                  <a:lnTo>
                    <a:pt x="12314" y="9406"/>
                  </a:lnTo>
                  <a:lnTo>
                    <a:pt x="12314" y="9409"/>
                  </a:lnTo>
                  <a:lnTo>
                    <a:pt x="12313" y="9413"/>
                  </a:lnTo>
                  <a:lnTo>
                    <a:pt x="12314" y="9418"/>
                  </a:lnTo>
                  <a:lnTo>
                    <a:pt x="12316" y="9424"/>
                  </a:lnTo>
                  <a:lnTo>
                    <a:pt x="12318" y="9426"/>
                  </a:lnTo>
                  <a:lnTo>
                    <a:pt x="12320" y="9427"/>
                  </a:lnTo>
                  <a:lnTo>
                    <a:pt x="12322" y="9428"/>
                  </a:lnTo>
                  <a:lnTo>
                    <a:pt x="12325" y="9429"/>
                  </a:lnTo>
                  <a:lnTo>
                    <a:pt x="12328" y="9428"/>
                  </a:lnTo>
                  <a:lnTo>
                    <a:pt x="12333" y="9426"/>
                  </a:lnTo>
                  <a:lnTo>
                    <a:pt x="12337" y="9429"/>
                  </a:lnTo>
                  <a:lnTo>
                    <a:pt x="12342" y="9431"/>
                  </a:lnTo>
                  <a:lnTo>
                    <a:pt x="12345" y="9431"/>
                  </a:lnTo>
                  <a:lnTo>
                    <a:pt x="12347" y="9430"/>
                  </a:lnTo>
                  <a:lnTo>
                    <a:pt x="12349" y="9429"/>
                  </a:lnTo>
                  <a:lnTo>
                    <a:pt x="12350" y="9427"/>
                  </a:lnTo>
                  <a:lnTo>
                    <a:pt x="12352" y="9422"/>
                  </a:lnTo>
                  <a:lnTo>
                    <a:pt x="12353" y="9416"/>
                  </a:lnTo>
                  <a:lnTo>
                    <a:pt x="12353" y="9402"/>
                  </a:lnTo>
                  <a:lnTo>
                    <a:pt x="12354" y="9389"/>
                  </a:lnTo>
                  <a:lnTo>
                    <a:pt x="12357" y="9388"/>
                  </a:lnTo>
                  <a:lnTo>
                    <a:pt x="12359" y="9387"/>
                  </a:lnTo>
                  <a:lnTo>
                    <a:pt x="12362" y="9387"/>
                  </a:lnTo>
                  <a:lnTo>
                    <a:pt x="12365" y="9388"/>
                  </a:lnTo>
                  <a:lnTo>
                    <a:pt x="12367" y="9390"/>
                  </a:lnTo>
                  <a:lnTo>
                    <a:pt x="12368" y="9392"/>
                  </a:lnTo>
                  <a:lnTo>
                    <a:pt x="12370" y="9398"/>
                  </a:lnTo>
                  <a:lnTo>
                    <a:pt x="12370" y="9404"/>
                  </a:lnTo>
                  <a:lnTo>
                    <a:pt x="12367" y="9414"/>
                  </a:lnTo>
                  <a:lnTo>
                    <a:pt x="12364" y="9423"/>
                  </a:lnTo>
                  <a:lnTo>
                    <a:pt x="12365" y="9426"/>
                  </a:lnTo>
                  <a:lnTo>
                    <a:pt x="12367" y="9430"/>
                  </a:lnTo>
                  <a:lnTo>
                    <a:pt x="12372" y="9429"/>
                  </a:lnTo>
                  <a:lnTo>
                    <a:pt x="12377" y="9428"/>
                  </a:lnTo>
                  <a:lnTo>
                    <a:pt x="12386" y="9430"/>
                  </a:lnTo>
                  <a:lnTo>
                    <a:pt x="12394" y="9428"/>
                  </a:lnTo>
                  <a:lnTo>
                    <a:pt x="12402" y="9424"/>
                  </a:lnTo>
                  <a:lnTo>
                    <a:pt x="12408" y="9419"/>
                  </a:lnTo>
                  <a:lnTo>
                    <a:pt x="12413" y="9413"/>
                  </a:lnTo>
                  <a:lnTo>
                    <a:pt x="12421" y="9398"/>
                  </a:lnTo>
                  <a:lnTo>
                    <a:pt x="12430" y="9383"/>
                  </a:lnTo>
                  <a:lnTo>
                    <a:pt x="12434" y="9378"/>
                  </a:lnTo>
                  <a:lnTo>
                    <a:pt x="12438" y="9375"/>
                  </a:lnTo>
                  <a:lnTo>
                    <a:pt x="12443" y="9373"/>
                  </a:lnTo>
                  <a:lnTo>
                    <a:pt x="12448" y="9372"/>
                  </a:lnTo>
                  <a:lnTo>
                    <a:pt x="12460" y="9371"/>
                  </a:lnTo>
                  <a:lnTo>
                    <a:pt x="12473" y="9372"/>
                  </a:lnTo>
                  <a:lnTo>
                    <a:pt x="12504" y="9372"/>
                  </a:lnTo>
                  <a:lnTo>
                    <a:pt x="12514" y="9371"/>
                  </a:lnTo>
                  <a:lnTo>
                    <a:pt x="12523" y="9370"/>
                  </a:lnTo>
                  <a:lnTo>
                    <a:pt x="12533" y="9369"/>
                  </a:lnTo>
                  <a:lnTo>
                    <a:pt x="12541" y="9366"/>
                  </a:lnTo>
                  <a:lnTo>
                    <a:pt x="12557" y="9360"/>
                  </a:lnTo>
                  <a:lnTo>
                    <a:pt x="12575" y="9352"/>
                  </a:lnTo>
                  <a:lnTo>
                    <a:pt x="12585" y="9349"/>
                  </a:lnTo>
                  <a:lnTo>
                    <a:pt x="12596" y="9345"/>
                  </a:lnTo>
                  <a:lnTo>
                    <a:pt x="12601" y="9343"/>
                  </a:lnTo>
                  <a:lnTo>
                    <a:pt x="12604" y="9340"/>
                  </a:lnTo>
                  <a:lnTo>
                    <a:pt x="12606" y="9337"/>
                  </a:lnTo>
                  <a:lnTo>
                    <a:pt x="12607" y="9332"/>
                  </a:lnTo>
                  <a:lnTo>
                    <a:pt x="12606" y="9328"/>
                  </a:lnTo>
                  <a:lnTo>
                    <a:pt x="12603" y="9326"/>
                  </a:lnTo>
                  <a:lnTo>
                    <a:pt x="12600" y="9324"/>
                  </a:lnTo>
                  <a:lnTo>
                    <a:pt x="12597" y="9322"/>
                  </a:lnTo>
                  <a:lnTo>
                    <a:pt x="12577" y="9306"/>
                  </a:lnTo>
                  <a:lnTo>
                    <a:pt x="12559" y="9294"/>
                  </a:lnTo>
                  <a:lnTo>
                    <a:pt x="12551" y="9287"/>
                  </a:lnTo>
                  <a:lnTo>
                    <a:pt x="12545" y="9279"/>
                  </a:lnTo>
                  <a:lnTo>
                    <a:pt x="12543" y="9274"/>
                  </a:lnTo>
                  <a:lnTo>
                    <a:pt x="12541" y="9270"/>
                  </a:lnTo>
                  <a:lnTo>
                    <a:pt x="12540" y="9265"/>
                  </a:lnTo>
                  <a:lnTo>
                    <a:pt x="12540" y="9259"/>
                  </a:lnTo>
                  <a:lnTo>
                    <a:pt x="12540" y="9246"/>
                  </a:lnTo>
                  <a:lnTo>
                    <a:pt x="12540" y="9234"/>
                  </a:lnTo>
                  <a:lnTo>
                    <a:pt x="12535" y="9238"/>
                  </a:lnTo>
                  <a:lnTo>
                    <a:pt x="12530" y="9241"/>
                  </a:lnTo>
                  <a:lnTo>
                    <a:pt x="12523" y="9244"/>
                  </a:lnTo>
                  <a:lnTo>
                    <a:pt x="12517" y="9244"/>
                  </a:lnTo>
                  <a:lnTo>
                    <a:pt x="12503" y="9240"/>
                  </a:lnTo>
                  <a:lnTo>
                    <a:pt x="12489" y="9234"/>
                  </a:lnTo>
                  <a:lnTo>
                    <a:pt x="12479" y="9232"/>
                  </a:lnTo>
                  <a:lnTo>
                    <a:pt x="12469" y="9230"/>
                  </a:lnTo>
                  <a:lnTo>
                    <a:pt x="12465" y="9228"/>
                  </a:lnTo>
                  <a:lnTo>
                    <a:pt x="12461" y="9226"/>
                  </a:lnTo>
                  <a:lnTo>
                    <a:pt x="12459" y="9221"/>
                  </a:lnTo>
                  <a:lnTo>
                    <a:pt x="12458" y="9217"/>
                  </a:lnTo>
                  <a:lnTo>
                    <a:pt x="12458" y="9215"/>
                  </a:lnTo>
                  <a:lnTo>
                    <a:pt x="12460" y="9213"/>
                  </a:lnTo>
                  <a:lnTo>
                    <a:pt x="12461" y="9212"/>
                  </a:lnTo>
                  <a:lnTo>
                    <a:pt x="12465" y="9212"/>
                  </a:lnTo>
                  <a:lnTo>
                    <a:pt x="12470" y="9211"/>
                  </a:lnTo>
                  <a:lnTo>
                    <a:pt x="12475" y="9211"/>
                  </a:lnTo>
                  <a:lnTo>
                    <a:pt x="12483" y="9212"/>
                  </a:lnTo>
                  <a:lnTo>
                    <a:pt x="12489" y="9213"/>
                  </a:lnTo>
                  <a:lnTo>
                    <a:pt x="12496" y="9216"/>
                  </a:lnTo>
                  <a:lnTo>
                    <a:pt x="12501" y="9218"/>
                  </a:lnTo>
                  <a:lnTo>
                    <a:pt x="12507" y="9221"/>
                  </a:lnTo>
                  <a:lnTo>
                    <a:pt x="12513" y="9224"/>
                  </a:lnTo>
                  <a:lnTo>
                    <a:pt x="12519" y="9225"/>
                  </a:lnTo>
                  <a:lnTo>
                    <a:pt x="12526" y="9226"/>
                  </a:lnTo>
                  <a:lnTo>
                    <a:pt x="12555" y="9226"/>
                  </a:lnTo>
                  <a:lnTo>
                    <a:pt x="12554" y="9213"/>
                  </a:lnTo>
                  <a:lnTo>
                    <a:pt x="12552" y="9202"/>
                  </a:lnTo>
                  <a:lnTo>
                    <a:pt x="12550" y="9191"/>
                  </a:lnTo>
                  <a:lnTo>
                    <a:pt x="12549" y="9177"/>
                  </a:lnTo>
                  <a:lnTo>
                    <a:pt x="12549" y="9166"/>
                  </a:lnTo>
                  <a:lnTo>
                    <a:pt x="12551" y="9156"/>
                  </a:lnTo>
                  <a:lnTo>
                    <a:pt x="12552" y="9146"/>
                  </a:lnTo>
                  <a:lnTo>
                    <a:pt x="12553" y="9135"/>
                  </a:lnTo>
                  <a:lnTo>
                    <a:pt x="12553" y="9101"/>
                  </a:lnTo>
                  <a:lnTo>
                    <a:pt x="12554" y="9097"/>
                  </a:lnTo>
                  <a:lnTo>
                    <a:pt x="12556" y="9092"/>
                  </a:lnTo>
                  <a:lnTo>
                    <a:pt x="12558" y="9089"/>
                  </a:lnTo>
                  <a:lnTo>
                    <a:pt x="12563" y="9086"/>
                  </a:lnTo>
                  <a:lnTo>
                    <a:pt x="12571" y="9082"/>
                  </a:lnTo>
                  <a:lnTo>
                    <a:pt x="12581" y="9079"/>
                  </a:lnTo>
                  <a:lnTo>
                    <a:pt x="12590" y="9076"/>
                  </a:lnTo>
                  <a:lnTo>
                    <a:pt x="12600" y="9072"/>
                  </a:lnTo>
                  <a:lnTo>
                    <a:pt x="12603" y="9070"/>
                  </a:lnTo>
                  <a:lnTo>
                    <a:pt x="12606" y="9066"/>
                  </a:lnTo>
                  <a:lnTo>
                    <a:pt x="12607" y="9062"/>
                  </a:lnTo>
                  <a:lnTo>
                    <a:pt x="12608" y="9057"/>
                  </a:lnTo>
                  <a:lnTo>
                    <a:pt x="12607" y="9042"/>
                  </a:lnTo>
                  <a:lnTo>
                    <a:pt x="12605" y="9027"/>
                  </a:lnTo>
                  <a:lnTo>
                    <a:pt x="12602" y="9014"/>
                  </a:lnTo>
                  <a:lnTo>
                    <a:pt x="12601" y="8997"/>
                  </a:lnTo>
                  <a:lnTo>
                    <a:pt x="12602" y="8990"/>
                  </a:lnTo>
                  <a:lnTo>
                    <a:pt x="12603" y="8984"/>
                  </a:lnTo>
                  <a:lnTo>
                    <a:pt x="12607" y="8978"/>
                  </a:lnTo>
                  <a:lnTo>
                    <a:pt x="12611" y="8973"/>
                  </a:lnTo>
                  <a:lnTo>
                    <a:pt x="12619" y="8980"/>
                  </a:lnTo>
                  <a:lnTo>
                    <a:pt x="12626" y="8984"/>
                  </a:lnTo>
                  <a:lnTo>
                    <a:pt x="12635" y="8986"/>
                  </a:lnTo>
                  <a:lnTo>
                    <a:pt x="12644" y="8987"/>
                  </a:lnTo>
                  <a:lnTo>
                    <a:pt x="12657" y="8986"/>
                  </a:lnTo>
                  <a:lnTo>
                    <a:pt x="12671" y="8985"/>
                  </a:lnTo>
                  <a:lnTo>
                    <a:pt x="12719" y="8985"/>
                  </a:lnTo>
                  <a:lnTo>
                    <a:pt x="12727" y="8984"/>
                  </a:lnTo>
                  <a:lnTo>
                    <a:pt x="12733" y="8982"/>
                  </a:lnTo>
                  <a:lnTo>
                    <a:pt x="12735" y="8980"/>
                  </a:lnTo>
                  <a:lnTo>
                    <a:pt x="12737" y="8978"/>
                  </a:lnTo>
                  <a:lnTo>
                    <a:pt x="12738" y="8975"/>
                  </a:lnTo>
                  <a:lnTo>
                    <a:pt x="12739" y="8972"/>
                  </a:lnTo>
                  <a:lnTo>
                    <a:pt x="12739" y="8963"/>
                  </a:lnTo>
                  <a:lnTo>
                    <a:pt x="12738" y="8955"/>
                  </a:lnTo>
                  <a:lnTo>
                    <a:pt x="12736" y="8948"/>
                  </a:lnTo>
                  <a:lnTo>
                    <a:pt x="12734" y="8941"/>
                  </a:lnTo>
                  <a:lnTo>
                    <a:pt x="12730" y="8926"/>
                  </a:lnTo>
                  <a:lnTo>
                    <a:pt x="12724" y="8911"/>
                  </a:lnTo>
                  <a:lnTo>
                    <a:pt x="12721" y="8897"/>
                  </a:lnTo>
                  <a:lnTo>
                    <a:pt x="12718" y="8884"/>
                  </a:lnTo>
                  <a:lnTo>
                    <a:pt x="12716" y="8879"/>
                  </a:lnTo>
                  <a:lnTo>
                    <a:pt x="12713" y="8875"/>
                  </a:lnTo>
                  <a:lnTo>
                    <a:pt x="12711" y="8872"/>
                  </a:lnTo>
                  <a:lnTo>
                    <a:pt x="12708" y="8871"/>
                  </a:lnTo>
                  <a:lnTo>
                    <a:pt x="12706" y="8870"/>
                  </a:lnTo>
                  <a:lnTo>
                    <a:pt x="12703" y="8870"/>
                  </a:lnTo>
                  <a:lnTo>
                    <a:pt x="12695" y="8871"/>
                  </a:lnTo>
                  <a:lnTo>
                    <a:pt x="12687" y="8875"/>
                  </a:lnTo>
                  <a:lnTo>
                    <a:pt x="12681" y="8878"/>
                  </a:lnTo>
                  <a:lnTo>
                    <a:pt x="12676" y="8882"/>
                  </a:lnTo>
                  <a:lnTo>
                    <a:pt x="12670" y="8887"/>
                  </a:lnTo>
                  <a:lnTo>
                    <a:pt x="12664" y="8890"/>
                  </a:lnTo>
                  <a:lnTo>
                    <a:pt x="12657" y="8893"/>
                  </a:lnTo>
                  <a:lnTo>
                    <a:pt x="12649" y="8894"/>
                  </a:lnTo>
                  <a:lnTo>
                    <a:pt x="12644" y="8893"/>
                  </a:lnTo>
                  <a:lnTo>
                    <a:pt x="12639" y="8892"/>
                  </a:lnTo>
                  <a:lnTo>
                    <a:pt x="12635" y="8891"/>
                  </a:lnTo>
                  <a:lnTo>
                    <a:pt x="12631" y="8888"/>
                  </a:lnTo>
                  <a:lnTo>
                    <a:pt x="12622" y="8883"/>
                  </a:lnTo>
                  <a:lnTo>
                    <a:pt x="12615" y="8876"/>
                  </a:lnTo>
                  <a:lnTo>
                    <a:pt x="12609" y="8869"/>
                  </a:lnTo>
                  <a:lnTo>
                    <a:pt x="12601" y="8863"/>
                  </a:lnTo>
                  <a:lnTo>
                    <a:pt x="12597" y="8861"/>
                  </a:lnTo>
                  <a:lnTo>
                    <a:pt x="12592" y="8859"/>
                  </a:lnTo>
                  <a:lnTo>
                    <a:pt x="12587" y="8858"/>
                  </a:lnTo>
                  <a:lnTo>
                    <a:pt x="12582" y="8857"/>
                  </a:lnTo>
                  <a:lnTo>
                    <a:pt x="12568" y="8861"/>
                  </a:lnTo>
                  <a:lnTo>
                    <a:pt x="12553" y="8865"/>
                  </a:lnTo>
                  <a:lnTo>
                    <a:pt x="12546" y="8864"/>
                  </a:lnTo>
                  <a:lnTo>
                    <a:pt x="12539" y="8863"/>
                  </a:lnTo>
                  <a:lnTo>
                    <a:pt x="12515" y="8863"/>
                  </a:lnTo>
                  <a:lnTo>
                    <a:pt x="12510" y="8863"/>
                  </a:lnTo>
                  <a:lnTo>
                    <a:pt x="12506" y="8861"/>
                  </a:lnTo>
                  <a:lnTo>
                    <a:pt x="12503" y="8859"/>
                  </a:lnTo>
                  <a:lnTo>
                    <a:pt x="12499" y="8856"/>
                  </a:lnTo>
                  <a:lnTo>
                    <a:pt x="12496" y="8854"/>
                  </a:lnTo>
                  <a:lnTo>
                    <a:pt x="12491" y="8852"/>
                  </a:lnTo>
                  <a:lnTo>
                    <a:pt x="12487" y="8850"/>
                  </a:lnTo>
                  <a:lnTo>
                    <a:pt x="12483" y="8849"/>
                  </a:lnTo>
                  <a:lnTo>
                    <a:pt x="12478" y="8850"/>
                  </a:lnTo>
                  <a:lnTo>
                    <a:pt x="12474" y="8852"/>
                  </a:lnTo>
                  <a:lnTo>
                    <a:pt x="12470" y="8855"/>
                  </a:lnTo>
                  <a:lnTo>
                    <a:pt x="12467" y="8859"/>
                  </a:lnTo>
                  <a:lnTo>
                    <a:pt x="12464" y="8862"/>
                  </a:lnTo>
                  <a:lnTo>
                    <a:pt x="12459" y="8866"/>
                  </a:lnTo>
                  <a:lnTo>
                    <a:pt x="12455" y="8868"/>
                  </a:lnTo>
                  <a:lnTo>
                    <a:pt x="12450" y="8870"/>
                  </a:lnTo>
                  <a:lnTo>
                    <a:pt x="12447" y="8860"/>
                  </a:lnTo>
                  <a:lnTo>
                    <a:pt x="12444" y="8850"/>
                  </a:lnTo>
                  <a:lnTo>
                    <a:pt x="12442" y="8846"/>
                  </a:lnTo>
                  <a:lnTo>
                    <a:pt x="12439" y="8841"/>
                  </a:lnTo>
                  <a:lnTo>
                    <a:pt x="12436" y="8839"/>
                  </a:lnTo>
                  <a:lnTo>
                    <a:pt x="12431" y="8838"/>
                  </a:lnTo>
                  <a:lnTo>
                    <a:pt x="12414" y="8838"/>
                  </a:lnTo>
                  <a:lnTo>
                    <a:pt x="12400" y="8839"/>
                  </a:lnTo>
                  <a:lnTo>
                    <a:pt x="12385" y="8841"/>
                  </a:lnTo>
                  <a:lnTo>
                    <a:pt x="12372" y="8843"/>
                  </a:lnTo>
                  <a:lnTo>
                    <a:pt x="12345" y="8848"/>
                  </a:lnTo>
                  <a:lnTo>
                    <a:pt x="12314" y="8854"/>
                  </a:lnTo>
                  <a:lnTo>
                    <a:pt x="12301" y="8856"/>
                  </a:lnTo>
                  <a:lnTo>
                    <a:pt x="12288" y="8856"/>
                  </a:lnTo>
                  <a:lnTo>
                    <a:pt x="12282" y="8856"/>
                  </a:lnTo>
                  <a:lnTo>
                    <a:pt x="12276" y="8857"/>
                  </a:lnTo>
                  <a:lnTo>
                    <a:pt x="12270" y="8859"/>
                  </a:lnTo>
                  <a:lnTo>
                    <a:pt x="12262" y="8861"/>
                  </a:lnTo>
                  <a:lnTo>
                    <a:pt x="12257" y="8863"/>
                  </a:lnTo>
                  <a:lnTo>
                    <a:pt x="12252" y="8866"/>
                  </a:lnTo>
                  <a:lnTo>
                    <a:pt x="12248" y="8870"/>
                  </a:lnTo>
                  <a:lnTo>
                    <a:pt x="12245" y="8873"/>
                  </a:lnTo>
                  <a:lnTo>
                    <a:pt x="12239" y="8882"/>
                  </a:lnTo>
                  <a:lnTo>
                    <a:pt x="12235" y="8891"/>
                  </a:lnTo>
                  <a:lnTo>
                    <a:pt x="12227" y="8913"/>
                  </a:lnTo>
                  <a:lnTo>
                    <a:pt x="12220" y="8935"/>
                  </a:lnTo>
                  <a:lnTo>
                    <a:pt x="12215" y="8947"/>
                  </a:lnTo>
                  <a:lnTo>
                    <a:pt x="12209" y="8958"/>
                  </a:lnTo>
                  <a:lnTo>
                    <a:pt x="12202" y="8967"/>
                  </a:lnTo>
                  <a:lnTo>
                    <a:pt x="12193" y="8976"/>
                  </a:lnTo>
                  <a:lnTo>
                    <a:pt x="12184" y="8983"/>
                  </a:lnTo>
                  <a:lnTo>
                    <a:pt x="12174" y="8988"/>
                  </a:lnTo>
                  <a:lnTo>
                    <a:pt x="12168" y="8989"/>
                  </a:lnTo>
                  <a:lnTo>
                    <a:pt x="12162" y="8991"/>
                  </a:lnTo>
                  <a:lnTo>
                    <a:pt x="12156" y="8991"/>
                  </a:lnTo>
                  <a:lnTo>
                    <a:pt x="12149" y="8992"/>
                  </a:lnTo>
                  <a:lnTo>
                    <a:pt x="12137" y="8991"/>
                  </a:lnTo>
                  <a:lnTo>
                    <a:pt x="12125" y="8990"/>
                  </a:lnTo>
                  <a:lnTo>
                    <a:pt x="12115" y="8988"/>
                  </a:lnTo>
                  <a:lnTo>
                    <a:pt x="12105" y="8985"/>
                  </a:lnTo>
                  <a:lnTo>
                    <a:pt x="12083" y="8977"/>
                  </a:lnTo>
                  <a:lnTo>
                    <a:pt x="12061" y="8967"/>
                  </a:lnTo>
                  <a:lnTo>
                    <a:pt x="12052" y="8963"/>
                  </a:lnTo>
                  <a:lnTo>
                    <a:pt x="12045" y="8958"/>
                  </a:lnTo>
                  <a:lnTo>
                    <a:pt x="12038" y="8952"/>
                  </a:lnTo>
                  <a:lnTo>
                    <a:pt x="12029" y="8946"/>
                  </a:lnTo>
                  <a:lnTo>
                    <a:pt x="12028" y="8950"/>
                  </a:lnTo>
                  <a:lnTo>
                    <a:pt x="12028" y="8953"/>
                  </a:lnTo>
                  <a:lnTo>
                    <a:pt x="12030" y="8963"/>
                  </a:lnTo>
                  <a:lnTo>
                    <a:pt x="12032" y="8975"/>
                  </a:lnTo>
                  <a:lnTo>
                    <a:pt x="12032" y="8980"/>
                  </a:lnTo>
                  <a:lnTo>
                    <a:pt x="12030" y="8985"/>
                  </a:lnTo>
                  <a:lnTo>
                    <a:pt x="12028" y="8989"/>
                  </a:lnTo>
                  <a:lnTo>
                    <a:pt x="12025" y="8993"/>
                  </a:lnTo>
                  <a:lnTo>
                    <a:pt x="12017" y="9000"/>
                  </a:lnTo>
                  <a:lnTo>
                    <a:pt x="12008" y="9009"/>
                  </a:lnTo>
                  <a:lnTo>
                    <a:pt x="12002" y="9016"/>
                  </a:lnTo>
                  <a:lnTo>
                    <a:pt x="11995" y="9022"/>
                  </a:lnTo>
                  <a:lnTo>
                    <a:pt x="11992" y="9025"/>
                  </a:lnTo>
                  <a:lnTo>
                    <a:pt x="11988" y="9027"/>
                  </a:lnTo>
                  <a:lnTo>
                    <a:pt x="11984" y="9029"/>
                  </a:lnTo>
                  <a:lnTo>
                    <a:pt x="11980" y="9029"/>
                  </a:lnTo>
                  <a:lnTo>
                    <a:pt x="11975" y="9029"/>
                  </a:lnTo>
                  <a:lnTo>
                    <a:pt x="11971" y="9026"/>
                  </a:lnTo>
                  <a:lnTo>
                    <a:pt x="11968" y="9023"/>
                  </a:lnTo>
                  <a:lnTo>
                    <a:pt x="11965" y="9019"/>
                  </a:lnTo>
                  <a:lnTo>
                    <a:pt x="11962" y="9008"/>
                  </a:lnTo>
                  <a:lnTo>
                    <a:pt x="11959" y="8996"/>
                  </a:lnTo>
                  <a:lnTo>
                    <a:pt x="11977" y="8989"/>
                  </a:lnTo>
                  <a:lnTo>
                    <a:pt x="11992" y="8982"/>
                  </a:lnTo>
                  <a:lnTo>
                    <a:pt x="11998" y="8978"/>
                  </a:lnTo>
                  <a:lnTo>
                    <a:pt x="12004" y="8973"/>
                  </a:lnTo>
                  <a:lnTo>
                    <a:pt x="12006" y="8970"/>
                  </a:lnTo>
                  <a:lnTo>
                    <a:pt x="12007" y="8966"/>
                  </a:lnTo>
                  <a:lnTo>
                    <a:pt x="12008" y="8962"/>
                  </a:lnTo>
                  <a:lnTo>
                    <a:pt x="12008" y="8958"/>
                  </a:lnTo>
                  <a:lnTo>
                    <a:pt x="12005" y="8950"/>
                  </a:lnTo>
                  <a:lnTo>
                    <a:pt x="12001" y="8942"/>
                  </a:lnTo>
                  <a:lnTo>
                    <a:pt x="12007" y="8932"/>
                  </a:lnTo>
                  <a:lnTo>
                    <a:pt x="12012" y="8924"/>
                  </a:lnTo>
                  <a:lnTo>
                    <a:pt x="12012" y="8911"/>
                  </a:lnTo>
                  <a:lnTo>
                    <a:pt x="12012" y="8905"/>
                  </a:lnTo>
                  <a:lnTo>
                    <a:pt x="12014" y="8901"/>
                  </a:lnTo>
                  <a:lnTo>
                    <a:pt x="12016" y="8898"/>
                  </a:lnTo>
                  <a:lnTo>
                    <a:pt x="12019" y="8894"/>
                  </a:lnTo>
                  <a:lnTo>
                    <a:pt x="12021" y="8890"/>
                  </a:lnTo>
                  <a:lnTo>
                    <a:pt x="12023" y="8887"/>
                  </a:lnTo>
                  <a:lnTo>
                    <a:pt x="12025" y="8883"/>
                  </a:lnTo>
                  <a:lnTo>
                    <a:pt x="12025" y="8878"/>
                  </a:lnTo>
                  <a:lnTo>
                    <a:pt x="12025" y="8872"/>
                  </a:lnTo>
                  <a:lnTo>
                    <a:pt x="12023" y="8869"/>
                  </a:lnTo>
                  <a:lnTo>
                    <a:pt x="12020" y="8866"/>
                  </a:lnTo>
                  <a:lnTo>
                    <a:pt x="12016" y="8863"/>
                  </a:lnTo>
                  <a:lnTo>
                    <a:pt x="12011" y="8862"/>
                  </a:lnTo>
                  <a:lnTo>
                    <a:pt x="12006" y="8861"/>
                  </a:lnTo>
                  <a:lnTo>
                    <a:pt x="12001" y="8860"/>
                  </a:lnTo>
                  <a:lnTo>
                    <a:pt x="11995" y="8860"/>
                  </a:lnTo>
                  <a:lnTo>
                    <a:pt x="11990" y="8860"/>
                  </a:lnTo>
                  <a:lnTo>
                    <a:pt x="11987" y="8862"/>
                  </a:lnTo>
                  <a:lnTo>
                    <a:pt x="11984" y="8865"/>
                  </a:lnTo>
                  <a:lnTo>
                    <a:pt x="11982" y="8869"/>
                  </a:lnTo>
                  <a:lnTo>
                    <a:pt x="11978" y="8879"/>
                  </a:lnTo>
                  <a:lnTo>
                    <a:pt x="11974" y="8888"/>
                  </a:lnTo>
                  <a:lnTo>
                    <a:pt x="11966" y="8905"/>
                  </a:lnTo>
                  <a:lnTo>
                    <a:pt x="11961" y="8921"/>
                  </a:lnTo>
                  <a:lnTo>
                    <a:pt x="11957" y="8936"/>
                  </a:lnTo>
                  <a:lnTo>
                    <a:pt x="11950" y="8954"/>
                  </a:lnTo>
                  <a:lnTo>
                    <a:pt x="11939" y="8980"/>
                  </a:lnTo>
                  <a:lnTo>
                    <a:pt x="11928" y="9002"/>
                  </a:lnTo>
                  <a:lnTo>
                    <a:pt x="11922" y="9012"/>
                  </a:lnTo>
                  <a:lnTo>
                    <a:pt x="11916" y="9022"/>
                  </a:lnTo>
                  <a:lnTo>
                    <a:pt x="11908" y="9034"/>
                  </a:lnTo>
                  <a:lnTo>
                    <a:pt x="11898" y="9044"/>
                  </a:lnTo>
                  <a:lnTo>
                    <a:pt x="11892" y="9050"/>
                  </a:lnTo>
                  <a:lnTo>
                    <a:pt x="11885" y="9055"/>
                  </a:lnTo>
                  <a:lnTo>
                    <a:pt x="11879" y="9060"/>
                  </a:lnTo>
                  <a:lnTo>
                    <a:pt x="11872" y="9065"/>
                  </a:lnTo>
                  <a:lnTo>
                    <a:pt x="11858" y="9070"/>
                  </a:lnTo>
                  <a:lnTo>
                    <a:pt x="11844" y="9074"/>
                  </a:lnTo>
                  <a:lnTo>
                    <a:pt x="11812" y="9079"/>
                  </a:lnTo>
                  <a:lnTo>
                    <a:pt x="11777" y="9085"/>
                  </a:lnTo>
                  <a:lnTo>
                    <a:pt x="11767" y="9088"/>
                  </a:lnTo>
                  <a:lnTo>
                    <a:pt x="11760" y="9092"/>
                  </a:lnTo>
                  <a:lnTo>
                    <a:pt x="11752" y="9097"/>
                  </a:lnTo>
                  <a:lnTo>
                    <a:pt x="11746" y="9102"/>
                  </a:lnTo>
                  <a:lnTo>
                    <a:pt x="11739" y="9106"/>
                  </a:lnTo>
                  <a:lnTo>
                    <a:pt x="11731" y="9109"/>
                  </a:lnTo>
                  <a:lnTo>
                    <a:pt x="11723" y="9111"/>
                  </a:lnTo>
                  <a:lnTo>
                    <a:pt x="11714" y="9112"/>
                  </a:lnTo>
                  <a:lnTo>
                    <a:pt x="11709" y="9112"/>
                  </a:lnTo>
                  <a:lnTo>
                    <a:pt x="11705" y="9111"/>
                  </a:lnTo>
                  <a:lnTo>
                    <a:pt x="11700" y="9110"/>
                  </a:lnTo>
                  <a:lnTo>
                    <a:pt x="11696" y="9109"/>
                  </a:lnTo>
                  <a:lnTo>
                    <a:pt x="11690" y="9104"/>
                  </a:lnTo>
                  <a:lnTo>
                    <a:pt x="11684" y="9099"/>
                  </a:lnTo>
                  <a:lnTo>
                    <a:pt x="11678" y="9093"/>
                  </a:lnTo>
                  <a:lnTo>
                    <a:pt x="11672" y="9087"/>
                  </a:lnTo>
                  <a:lnTo>
                    <a:pt x="11664" y="9082"/>
                  </a:lnTo>
                  <a:lnTo>
                    <a:pt x="11656" y="9078"/>
                  </a:lnTo>
                  <a:lnTo>
                    <a:pt x="11631" y="9069"/>
                  </a:lnTo>
                  <a:lnTo>
                    <a:pt x="11609" y="9059"/>
                  </a:lnTo>
                  <a:lnTo>
                    <a:pt x="11598" y="9054"/>
                  </a:lnTo>
                  <a:lnTo>
                    <a:pt x="11588" y="9049"/>
                  </a:lnTo>
                  <a:lnTo>
                    <a:pt x="11578" y="9043"/>
                  </a:lnTo>
                  <a:lnTo>
                    <a:pt x="11566" y="9035"/>
                  </a:lnTo>
                  <a:lnTo>
                    <a:pt x="11560" y="9029"/>
                  </a:lnTo>
                  <a:lnTo>
                    <a:pt x="11556" y="9023"/>
                  </a:lnTo>
                  <a:lnTo>
                    <a:pt x="11552" y="9017"/>
                  </a:lnTo>
                  <a:lnTo>
                    <a:pt x="11550" y="9011"/>
                  </a:lnTo>
                  <a:lnTo>
                    <a:pt x="11547" y="9005"/>
                  </a:lnTo>
                  <a:lnTo>
                    <a:pt x="11544" y="8998"/>
                  </a:lnTo>
                  <a:lnTo>
                    <a:pt x="11540" y="8992"/>
                  </a:lnTo>
                  <a:lnTo>
                    <a:pt x="11534" y="8986"/>
                  </a:lnTo>
                  <a:lnTo>
                    <a:pt x="11521" y="8974"/>
                  </a:lnTo>
                  <a:lnTo>
                    <a:pt x="11510" y="8963"/>
                  </a:lnTo>
                  <a:lnTo>
                    <a:pt x="11499" y="8952"/>
                  </a:lnTo>
                  <a:lnTo>
                    <a:pt x="11488" y="8938"/>
                  </a:lnTo>
                  <a:lnTo>
                    <a:pt x="11467" y="8909"/>
                  </a:lnTo>
                  <a:lnTo>
                    <a:pt x="11447" y="8884"/>
                  </a:lnTo>
                  <a:lnTo>
                    <a:pt x="11426" y="8860"/>
                  </a:lnTo>
                  <a:lnTo>
                    <a:pt x="11403" y="8832"/>
                  </a:lnTo>
                  <a:lnTo>
                    <a:pt x="11390" y="8815"/>
                  </a:lnTo>
                  <a:lnTo>
                    <a:pt x="11379" y="8798"/>
                  </a:lnTo>
                  <a:lnTo>
                    <a:pt x="11368" y="8782"/>
                  </a:lnTo>
                  <a:lnTo>
                    <a:pt x="11358" y="8766"/>
                  </a:lnTo>
                  <a:lnTo>
                    <a:pt x="11349" y="8751"/>
                  </a:lnTo>
                  <a:lnTo>
                    <a:pt x="11337" y="8735"/>
                  </a:lnTo>
                  <a:lnTo>
                    <a:pt x="11325" y="8719"/>
                  </a:lnTo>
                  <a:lnTo>
                    <a:pt x="11309" y="8702"/>
                  </a:lnTo>
                  <a:lnTo>
                    <a:pt x="11301" y="8697"/>
                  </a:lnTo>
                  <a:lnTo>
                    <a:pt x="11295" y="8692"/>
                  </a:lnTo>
                  <a:lnTo>
                    <a:pt x="11290" y="8687"/>
                  </a:lnTo>
                  <a:lnTo>
                    <a:pt x="11285" y="8681"/>
                  </a:lnTo>
                  <a:lnTo>
                    <a:pt x="11276" y="8670"/>
                  </a:lnTo>
                  <a:lnTo>
                    <a:pt x="11269" y="8658"/>
                  </a:lnTo>
                  <a:lnTo>
                    <a:pt x="11258" y="8630"/>
                  </a:lnTo>
                  <a:lnTo>
                    <a:pt x="11247" y="8599"/>
                  </a:lnTo>
                  <a:lnTo>
                    <a:pt x="11238" y="8580"/>
                  </a:lnTo>
                  <a:lnTo>
                    <a:pt x="11229" y="8564"/>
                  </a:lnTo>
                  <a:lnTo>
                    <a:pt x="11221" y="8548"/>
                  </a:lnTo>
                  <a:lnTo>
                    <a:pt x="11212" y="8534"/>
                  </a:lnTo>
                  <a:lnTo>
                    <a:pt x="11203" y="8518"/>
                  </a:lnTo>
                  <a:lnTo>
                    <a:pt x="11194" y="8503"/>
                  </a:lnTo>
                  <a:lnTo>
                    <a:pt x="11185" y="8486"/>
                  </a:lnTo>
                  <a:lnTo>
                    <a:pt x="11176" y="8468"/>
                  </a:lnTo>
                  <a:lnTo>
                    <a:pt x="11165" y="8442"/>
                  </a:lnTo>
                  <a:lnTo>
                    <a:pt x="11156" y="8418"/>
                  </a:lnTo>
                  <a:lnTo>
                    <a:pt x="11151" y="8407"/>
                  </a:lnTo>
                  <a:lnTo>
                    <a:pt x="11145" y="8395"/>
                  </a:lnTo>
                  <a:lnTo>
                    <a:pt x="11138" y="8384"/>
                  </a:lnTo>
                  <a:lnTo>
                    <a:pt x="11130" y="8373"/>
                  </a:lnTo>
                  <a:lnTo>
                    <a:pt x="11121" y="8358"/>
                  </a:lnTo>
                  <a:lnTo>
                    <a:pt x="11114" y="8345"/>
                  </a:lnTo>
                  <a:lnTo>
                    <a:pt x="11107" y="8331"/>
                  </a:lnTo>
                  <a:lnTo>
                    <a:pt x="11103" y="8318"/>
                  </a:lnTo>
                  <a:lnTo>
                    <a:pt x="11096" y="8290"/>
                  </a:lnTo>
                  <a:lnTo>
                    <a:pt x="11089" y="8259"/>
                  </a:lnTo>
                  <a:lnTo>
                    <a:pt x="11085" y="8249"/>
                  </a:lnTo>
                  <a:lnTo>
                    <a:pt x="11081" y="8239"/>
                  </a:lnTo>
                  <a:lnTo>
                    <a:pt x="11077" y="8230"/>
                  </a:lnTo>
                  <a:lnTo>
                    <a:pt x="11072" y="8222"/>
                  </a:lnTo>
                  <a:lnTo>
                    <a:pt x="11062" y="8205"/>
                  </a:lnTo>
                  <a:lnTo>
                    <a:pt x="11053" y="8186"/>
                  </a:lnTo>
                  <a:lnTo>
                    <a:pt x="11047" y="8167"/>
                  </a:lnTo>
                  <a:lnTo>
                    <a:pt x="11042" y="8151"/>
                  </a:lnTo>
                  <a:lnTo>
                    <a:pt x="11039" y="8134"/>
                  </a:lnTo>
                  <a:lnTo>
                    <a:pt x="11037" y="8118"/>
                  </a:lnTo>
                  <a:lnTo>
                    <a:pt x="11035" y="8085"/>
                  </a:lnTo>
                  <a:lnTo>
                    <a:pt x="11031" y="8046"/>
                  </a:lnTo>
                  <a:lnTo>
                    <a:pt x="11029" y="8029"/>
                  </a:lnTo>
                  <a:lnTo>
                    <a:pt x="11026" y="8012"/>
                  </a:lnTo>
                  <a:lnTo>
                    <a:pt x="11025" y="7997"/>
                  </a:lnTo>
                  <a:lnTo>
                    <a:pt x="11024" y="7978"/>
                  </a:lnTo>
                  <a:lnTo>
                    <a:pt x="11024" y="7975"/>
                  </a:lnTo>
                  <a:lnTo>
                    <a:pt x="11025" y="7972"/>
                  </a:lnTo>
                  <a:lnTo>
                    <a:pt x="11026" y="7970"/>
                  </a:lnTo>
                  <a:lnTo>
                    <a:pt x="11028" y="7968"/>
                  </a:lnTo>
                  <a:lnTo>
                    <a:pt x="11033" y="7966"/>
                  </a:lnTo>
                  <a:lnTo>
                    <a:pt x="11039" y="7964"/>
                  </a:lnTo>
                  <a:lnTo>
                    <a:pt x="11054" y="7961"/>
                  </a:lnTo>
                  <a:lnTo>
                    <a:pt x="11067" y="7956"/>
                  </a:lnTo>
                  <a:lnTo>
                    <a:pt x="11071" y="7954"/>
                  </a:lnTo>
                  <a:lnTo>
                    <a:pt x="11075" y="7951"/>
                  </a:lnTo>
                  <a:lnTo>
                    <a:pt x="11079" y="7948"/>
                  </a:lnTo>
                  <a:lnTo>
                    <a:pt x="11081" y="7945"/>
                  </a:lnTo>
                  <a:lnTo>
                    <a:pt x="11085" y="7938"/>
                  </a:lnTo>
                  <a:lnTo>
                    <a:pt x="11088" y="7930"/>
                  </a:lnTo>
                  <a:lnTo>
                    <a:pt x="11091" y="7912"/>
                  </a:lnTo>
                  <a:lnTo>
                    <a:pt x="11092" y="7891"/>
                  </a:lnTo>
                  <a:lnTo>
                    <a:pt x="11097" y="7895"/>
                  </a:lnTo>
                  <a:lnTo>
                    <a:pt x="11101" y="7899"/>
                  </a:lnTo>
                  <a:lnTo>
                    <a:pt x="11104" y="7904"/>
                  </a:lnTo>
                  <a:lnTo>
                    <a:pt x="11107" y="7909"/>
                  </a:lnTo>
                  <a:lnTo>
                    <a:pt x="11111" y="7914"/>
                  </a:lnTo>
                  <a:lnTo>
                    <a:pt x="11114" y="7917"/>
                  </a:lnTo>
                  <a:lnTo>
                    <a:pt x="11119" y="7920"/>
                  </a:lnTo>
                  <a:lnTo>
                    <a:pt x="11124" y="7921"/>
                  </a:lnTo>
                  <a:lnTo>
                    <a:pt x="11131" y="7920"/>
                  </a:lnTo>
                  <a:lnTo>
                    <a:pt x="11137" y="7919"/>
                  </a:lnTo>
                  <a:lnTo>
                    <a:pt x="11144" y="7917"/>
                  </a:lnTo>
                  <a:lnTo>
                    <a:pt x="11149" y="7914"/>
                  </a:lnTo>
                  <a:lnTo>
                    <a:pt x="11160" y="7907"/>
                  </a:lnTo>
                  <a:lnTo>
                    <a:pt x="11172" y="7899"/>
                  </a:lnTo>
                  <a:lnTo>
                    <a:pt x="11203" y="7882"/>
                  </a:lnTo>
                  <a:lnTo>
                    <a:pt x="11230" y="7866"/>
                  </a:lnTo>
                  <a:lnTo>
                    <a:pt x="11244" y="7857"/>
                  </a:lnTo>
                  <a:lnTo>
                    <a:pt x="11256" y="7847"/>
                  </a:lnTo>
                  <a:lnTo>
                    <a:pt x="11268" y="7836"/>
                  </a:lnTo>
                  <a:lnTo>
                    <a:pt x="11281" y="7822"/>
                  </a:lnTo>
                  <a:lnTo>
                    <a:pt x="11290" y="7811"/>
                  </a:lnTo>
                  <a:lnTo>
                    <a:pt x="11297" y="7801"/>
                  </a:lnTo>
                  <a:lnTo>
                    <a:pt x="11304" y="7790"/>
                  </a:lnTo>
                  <a:lnTo>
                    <a:pt x="11313" y="7779"/>
                  </a:lnTo>
                  <a:lnTo>
                    <a:pt x="11323" y="7764"/>
                  </a:lnTo>
                  <a:lnTo>
                    <a:pt x="11333" y="7751"/>
                  </a:lnTo>
                  <a:lnTo>
                    <a:pt x="11343" y="7739"/>
                  </a:lnTo>
                  <a:lnTo>
                    <a:pt x="11350" y="7725"/>
                  </a:lnTo>
                  <a:lnTo>
                    <a:pt x="11357" y="7712"/>
                  </a:lnTo>
                  <a:lnTo>
                    <a:pt x="11361" y="7698"/>
                  </a:lnTo>
                  <a:lnTo>
                    <a:pt x="11363" y="7690"/>
                  </a:lnTo>
                  <a:lnTo>
                    <a:pt x="11364" y="7683"/>
                  </a:lnTo>
                  <a:lnTo>
                    <a:pt x="11365" y="7675"/>
                  </a:lnTo>
                  <a:lnTo>
                    <a:pt x="11365" y="7665"/>
                  </a:lnTo>
                  <a:lnTo>
                    <a:pt x="11365" y="7658"/>
                  </a:lnTo>
                  <a:lnTo>
                    <a:pt x="11364" y="7652"/>
                  </a:lnTo>
                  <a:lnTo>
                    <a:pt x="11362" y="7646"/>
                  </a:lnTo>
                  <a:lnTo>
                    <a:pt x="11359" y="7641"/>
                  </a:lnTo>
                  <a:lnTo>
                    <a:pt x="11353" y="7630"/>
                  </a:lnTo>
                  <a:lnTo>
                    <a:pt x="11345" y="7621"/>
                  </a:lnTo>
                  <a:lnTo>
                    <a:pt x="11337" y="7611"/>
                  </a:lnTo>
                  <a:lnTo>
                    <a:pt x="11331" y="7600"/>
                  </a:lnTo>
                  <a:lnTo>
                    <a:pt x="11328" y="7595"/>
                  </a:lnTo>
                  <a:lnTo>
                    <a:pt x="11326" y="7589"/>
                  </a:lnTo>
                  <a:lnTo>
                    <a:pt x="11325" y="7583"/>
                  </a:lnTo>
                  <a:lnTo>
                    <a:pt x="11324" y="7575"/>
                  </a:lnTo>
                  <a:lnTo>
                    <a:pt x="11325" y="7569"/>
                  </a:lnTo>
                  <a:lnTo>
                    <a:pt x="11328" y="7564"/>
                  </a:lnTo>
                  <a:lnTo>
                    <a:pt x="11332" y="7559"/>
                  </a:lnTo>
                  <a:lnTo>
                    <a:pt x="11337" y="7556"/>
                  </a:lnTo>
                  <a:lnTo>
                    <a:pt x="11344" y="7569"/>
                  </a:lnTo>
                  <a:lnTo>
                    <a:pt x="11348" y="7583"/>
                  </a:lnTo>
                  <a:lnTo>
                    <a:pt x="11350" y="7589"/>
                  </a:lnTo>
                  <a:lnTo>
                    <a:pt x="11353" y="7595"/>
                  </a:lnTo>
                  <a:lnTo>
                    <a:pt x="11356" y="7601"/>
                  </a:lnTo>
                  <a:lnTo>
                    <a:pt x="11361" y="7607"/>
                  </a:lnTo>
                  <a:lnTo>
                    <a:pt x="11366" y="7614"/>
                  </a:lnTo>
                  <a:lnTo>
                    <a:pt x="11372" y="7618"/>
                  </a:lnTo>
                  <a:lnTo>
                    <a:pt x="11379" y="7622"/>
                  </a:lnTo>
                  <a:lnTo>
                    <a:pt x="11386" y="7624"/>
                  </a:lnTo>
                  <a:lnTo>
                    <a:pt x="11400" y="7626"/>
                  </a:lnTo>
                  <a:lnTo>
                    <a:pt x="11418" y="7626"/>
                  </a:lnTo>
                  <a:lnTo>
                    <a:pt x="11418" y="7631"/>
                  </a:lnTo>
                  <a:lnTo>
                    <a:pt x="11419" y="7637"/>
                  </a:lnTo>
                  <a:lnTo>
                    <a:pt x="11413" y="7673"/>
                  </a:lnTo>
                  <a:lnTo>
                    <a:pt x="11416" y="7687"/>
                  </a:lnTo>
                  <a:lnTo>
                    <a:pt x="11418" y="7702"/>
                  </a:lnTo>
                  <a:lnTo>
                    <a:pt x="11419" y="7718"/>
                  </a:lnTo>
                  <a:lnTo>
                    <a:pt x="11420" y="7732"/>
                  </a:lnTo>
                  <a:lnTo>
                    <a:pt x="11421" y="7739"/>
                  </a:lnTo>
                  <a:lnTo>
                    <a:pt x="11423" y="7745"/>
                  </a:lnTo>
                  <a:lnTo>
                    <a:pt x="11425" y="7750"/>
                  </a:lnTo>
                  <a:lnTo>
                    <a:pt x="11427" y="7755"/>
                  </a:lnTo>
                  <a:lnTo>
                    <a:pt x="11430" y="7759"/>
                  </a:lnTo>
                  <a:lnTo>
                    <a:pt x="11435" y="7762"/>
                  </a:lnTo>
                  <a:lnTo>
                    <a:pt x="11441" y="7763"/>
                  </a:lnTo>
                  <a:lnTo>
                    <a:pt x="11447" y="7764"/>
                  </a:lnTo>
                  <a:lnTo>
                    <a:pt x="11453" y="7764"/>
                  </a:lnTo>
                  <a:lnTo>
                    <a:pt x="11458" y="7762"/>
                  </a:lnTo>
                  <a:lnTo>
                    <a:pt x="11462" y="7761"/>
                  </a:lnTo>
                  <a:lnTo>
                    <a:pt x="11467" y="7758"/>
                  </a:lnTo>
                  <a:lnTo>
                    <a:pt x="11476" y="7751"/>
                  </a:lnTo>
                  <a:lnTo>
                    <a:pt x="11484" y="7743"/>
                  </a:lnTo>
                  <a:lnTo>
                    <a:pt x="11486" y="7745"/>
                  </a:lnTo>
                  <a:lnTo>
                    <a:pt x="11488" y="7746"/>
                  </a:lnTo>
                  <a:lnTo>
                    <a:pt x="11490" y="7748"/>
                  </a:lnTo>
                  <a:lnTo>
                    <a:pt x="11490" y="7750"/>
                  </a:lnTo>
                  <a:lnTo>
                    <a:pt x="11490" y="7760"/>
                  </a:lnTo>
                  <a:lnTo>
                    <a:pt x="11487" y="7770"/>
                  </a:lnTo>
                  <a:lnTo>
                    <a:pt x="11483" y="7777"/>
                  </a:lnTo>
                  <a:lnTo>
                    <a:pt x="11478" y="7784"/>
                  </a:lnTo>
                  <a:lnTo>
                    <a:pt x="11465" y="7798"/>
                  </a:lnTo>
                  <a:lnTo>
                    <a:pt x="11454" y="7815"/>
                  </a:lnTo>
                  <a:lnTo>
                    <a:pt x="11446" y="7831"/>
                  </a:lnTo>
                  <a:lnTo>
                    <a:pt x="11440" y="7844"/>
                  </a:lnTo>
                  <a:lnTo>
                    <a:pt x="11433" y="7858"/>
                  </a:lnTo>
                  <a:lnTo>
                    <a:pt x="11428" y="7871"/>
                  </a:lnTo>
                  <a:lnTo>
                    <a:pt x="11423" y="7884"/>
                  </a:lnTo>
                  <a:lnTo>
                    <a:pt x="11417" y="7898"/>
                  </a:lnTo>
                  <a:lnTo>
                    <a:pt x="11409" y="7912"/>
                  </a:lnTo>
                  <a:lnTo>
                    <a:pt x="11399" y="7927"/>
                  </a:lnTo>
                  <a:lnTo>
                    <a:pt x="11383" y="7950"/>
                  </a:lnTo>
                  <a:lnTo>
                    <a:pt x="11367" y="7972"/>
                  </a:lnTo>
                  <a:lnTo>
                    <a:pt x="11358" y="7981"/>
                  </a:lnTo>
                  <a:lnTo>
                    <a:pt x="11349" y="7990"/>
                  </a:lnTo>
                  <a:lnTo>
                    <a:pt x="11336" y="7996"/>
                  </a:lnTo>
                  <a:lnTo>
                    <a:pt x="11323" y="8002"/>
                  </a:lnTo>
                  <a:lnTo>
                    <a:pt x="11312" y="8006"/>
                  </a:lnTo>
                  <a:lnTo>
                    <a:pt x="11302" y="8011"/>
                  </a:lnTo>
                  <a:lnTo>
                    <a:pt x="11292" y="8016"/>
                  </a:lnTo>
                  <a:lnTo>
                    <a:pt x="11281" y="8021"/>
                  </a:lnTo>
                  <a:lnTo>
                    <a:pt x="11267" y="8025"/>
                  </a:lnTo>
                  <a:lnTo>
                    <a:pt x="11256" y="8030"/>
                  </a:lnTo>
                  <a:lnTo>
                    <a:pt x="11251" y="8033"/>
                  </a:lnTo>
                  <a:lnTo>
                    <a:pt x="11247" y="8037"/>
                  </a:lnTo>
                  <a:lnTo>
                    <a:pt x="11244" y="8041"/>
                  </a:lnTo>
                  <a:lnTo>
                    <a:pt x="11243" y="8047"/>
                  </a:lnTo>
                  <a:lnTo>
                    <a:pt x="11243" y="8051"/>
                  </a:lnTo>
                  <a:lnTo>
                    <a:pt x="11240" y="8055"/>
                  </a:lnTo>
                  <a:lnTo>
                    <a:pt x="11237" y="8056"/>
                  </a:lnTo>
                  <a:lnTo>
                    <a:pt x="11233" y="8057"/>
                  </a:lnTo>
                  <a:lnTo>
                    <a:pt x="11224" y="8059"/>
                  </a:lnTo>
                  <a:lnTo>
                    <a:pt x="11216" y="8062"/>
                  </a:lnTo>
                  <a:lnTo>
                    <a:pt x="11210" y="8066"/>
                  </a:lnTo>
                  <a:lnTo>
                    <a:pt x="11204" y="8070"/>
                  </a:lnTo>
                  <a:lnTo>
                    <a:pt x="11200" y="8075"/>
                  </a:lnTo>
                  <a:lnTo>
                    <a:pt x="11197" y="8080"/>
                  </a:lnTo>
                  <a:lnTo>
                    <a:pt x="11194" y="8087"/>
                  </a:lnTo>
                  <a:lnTo>
                    <a:pt x="11192" y="8094"/>
                  </a:lnTo>
                  <a:lnTo>
                    <a:pt x="11191" y="8100"/>
                  </a:lnTo>
                  <a:lnTo>
                    <a:pt x="11190" y="8108"/>
                  </a:lnTo>
                  <a:lnTo>
                    <a:pt x="11192" y="8109"/>
                  </a:lnTo>
                  <a:lnTo>
                    <a:pt x="11195" y="8110"/>
                  </a:lnTo>
                  <a:lnTo>
                    <a:pt x="11201" y="8109"/>
                  </a:lnTo>
                  <a:lnTo>
                    <a:pt x="11207" y="8108"/>
                  </a:lnTo>
                  <a:lnTo>
                    <a:pt x="11214" y="8105"/>
                  </a:lnTo>
                  <a:lnTo>
                    <a:pt x="11219" y="8102"/>
                  </a:lnTo>
                  <a:lnTo>
                    <a:pt x="11229" y="8096"/>
                  </a:lnTo>
                  <a:lnTo>
                    <a:pt x="11242" y="8089"/>
                  </a:lnTo>
                  <a:lnTo>
                    <a:pt x="11271" y="8077"/>
                  </a:lnTo>
                  <a:lnTo>
                    <a:pt x="11298" y="8067"/>
                  </a:lnTo>
                  <a:lnTo>
                    <a:pt x="11311" y="8061"/>
                  </a:lnTo>
                  <a:lnTo>
                    <a:pt x="11323" y="8054"/>
                  </a:lnTo>
                  <a:lnTo>
                    <a:pt x="11334" y="8044"/>
                  </a:lnTo>
                  <a:lnTo>
                    <a:pt x="11347" y="8034"/>
                  </a:lnTo>
                  <a:lnTo>
                    <a:pt x="11355" y="8024"/>
                  </a:lnTo>
                  <a:lnTo>
                    <a:pt x="11362" y="8014"/>
                  </a:lnTo>
                  <a:lnTo>
                    <a:pt x="11367" y="8005"/>
                  </a:lnTo>
                  <a:lnTo>
                    <a:pt x="11372" y="7995"/>
                  </a:lnTo>
                  <a:lnTo>
                    <a:pt x="11378" y="7985"/>
                  </a:lnTo>
                  <a:lnTo>
                    <a:pt x="11384" y="7976"/>
                  </a:lnTo>
                  <a:lnTo>
                    <a:pt x="11390" y="7967"/>
                  </a:lnTo>
                  <a:lnTo>
                    <a:pt x="11398" y="7956"/>
                  </a:lnTo>
                  <a:lnTo>
                    <a:pt x="11404" y="7950"/>
                  </a:lnTo>
                  <a:lnTo>
                    <a:pt x="11409" y="7944"/>
                  </a:lnTo>
                  <a:lnTo>
                    <a:pt x="11412" y="7938"/>
                  </a:lnTo>
                  <a:lnTo>
                    <a:pt x="11415" y="7932"/>
                  </a:lnTo>
                  <a:lnTo>
                    <a:pt x="11421" y="7919"/>
                  </a:lnTo>
                  <a:lnTo>
                    <a:pt x="11428" y="7905"/>
                  </a:lnTo>
                  <a:lnTo>
                    <a:pt x="11442" y="7881"/>
                  </a:lnTo>
                  <a:lnTo>
                    <a:pt x="11453" y="7859"/>
                  </a:lnTo>
                  <a:lnTo>
                    <a:pt x="11463" y="7840"/>
                  </a:lnTo>
                  <a:lnTo>
                    <a:pt x="11474" y="7819"/>
                  </a:lnTo>
                  <a:lnTo>
                    <a:pt x="11483" y="7800"/>
                  </a:lnTo>
                  <a:lnTo>
                    <a:pt x="11493" y="7779"/>
                  </a:lnTo>
                  <a:lnTo>
                    <a:pt x="11503" y="7757"/>
                  </a:lnTo>
                  <a:lnTo>
                    <a:pt x="11517" y="7733"/>
                  </a:lnTo>
                  <a:lnTo>
                    <a:pt x="11526" y="7718"/>
                  </a:lnTo>
                  <a:lnTo>
                    <a:pt x="11535" y="7706"/>
                  </a:lnTo>
                  <a:lnTo>
                    <a:pt x="11546" y="7693"/>
                  </a:lnTo>
                  <a:lnTo>
                    <a:pt x="11556" y="7682"/>
                  </a:lnTo>
                  <a:lnTo>
                    <a:pt x="11566" y="7671"/>
                  </a:lnTo>
                  <a:lnTo>
                    <a:pt x="11577" y="7659"/>
                  </a:lnTo>
                  <a:lnTo>
                    <a:pt x="11587" y="7647"/>
                  </a:lnTo>
                  <a:lnTo>
                    <a:pt x="11597" y="7631"/>
                  </a:lnTo>
                  <a:lnTo>
                    <a:pt x="11602" y="7624"/>
                  </a:lnTo>
                  <a:lnTo>
                    <a:pt x="11608" y="7619"/>
                  </a:lnTo>
                  <a:lnTo>
                    <a:pt x="11614" y="7615"/>
                  </a:lnTo>
                  <a:lnTo>
                    <a:pt x="11620" y="7611"/>
                  </a:lnTo>
                  <a:lnTo>
                    <a:pt x="11632" y="7605"/>
                  </a:lnTo>
                  <a:lnTo>
                    <a:pt x="11646" y="7602"/>
                  </a:lnTo>
                  <a:lnTo>
                    <a:pt x="11660" y="7598"/>
                  </a:lnTo>
                  <a:lnTo>
                    <a:pt x="11674" y="7594"/>
                  </a:lnTo>
                  <a:lnTo>
                    <a:pt x="11681" y="7590"/>
                  </a:lnTo>
                  <a:lnTo>
                    <a:pt x="11687" y="7587"/>
                  </a:lnTo>
                  <a:lnTo>
                    <a:pt x="11693" y="7582"/>
                  </a:lnTo>
                  <a:lnTo>
                    <a:pt x="11699" y="7575"/>
                  </a:lnTo>
                  <a:lnTo>
                    <a:pt x="11711" y="7563"/>
                  </a:lnTo>
                  <a:lnTo>
                    <a:pt x="11722" y="7552"/>
                  </a:lnTo>
                  <a:lnTo>
                    <a:pt x="11732" y="7541"/>
                  </a:lnTo>
                  <a:lnTo>
                    <a:pt x="11744" y="7531"/>
                  </a:lnTo>
                  <a:lnTo>
                    <a:pt x="11764" y="7511"/>
                  </a:lnTo>
                  <a:lnTo>
                    <a:pt x="11788" y="7489"/>
                  </a:lnTo>
                  <a:lnTo>
                    <a:pt x="11797" y="7476"/>
                  </a:lnTo>
                  <a:lnTo>
                    <a:pt x="11805" y="7465"/>
                  </a:lnTo>
                  <a:lnTo>
                    <a:pt x="11811" y="7454"/>
                  </a:lnTo>
                  <a:lnTo>
                    <a:pt x="11817" y="7442"/>
                  </a:lnTo>
                  <a:lnTo>
                    <a:pt x="11823" y="7432"/>
                  </a:lnTo>
                  <a:lnTo>
                    <a:pt x="11829" y="7421"/>
                  </a:lnTo>
                  <a:lnTo>
                    <a:pt x="11839" y="7410"/>
                  </a:lnTo>
                  <a:lnTo>
                    <a:pt x="11849" y="7400"/>
                  </a:lnTo>
                  <a:lnTo>
                    <a:pt x="11860" y="7391"/>
                  </a:lnTo>
                  <a:lnTo>
                    <a:pt x="11871" y="7384"/>
                  </a:lnTo>
                  <a:lnTo>
                    <a:pt x="11882" y="7377"/>
                  </a:lnTo>
                  <a:lnTo>
                    <a:pt x="11892" y="7368"/>
                  </a:lnTo>
                  <a:lnTo>
                    <a:pt x="11907" y="7361"/>
                  </a:lnTo>
                  <a:lnTo>
                    <a:pt x="11920" y="7354"/>
                  </a:lnTo>
                  <a:lnTo>
                    <a:pt x="11932" y="7348"/>
                  </a:lnTo>
                  <a:lnTo>
                    <a:pt x="11948" y="7343"/>
                  </a:lnTo>
                  <a:lnTo>
                    <a:pt x="11956" y="7339"/>
                  </a:lnTo>
                  <a:lnTo>
                    <a:pt x="11963" y="7335"/>
                  </a:lnTo>
                  <a:lnTo>
                    <a:pt x="11970" y="7330"/>
                  </a:lnTo>
                  <a:lnTo>
                    <a:pt x="11976" y="7326"/>
                  </a:lnTo>
                  <a:lnTo>
                    <a:pt x="11982" y="7320"/>
                  </a:lnTo>
                  <a:lnTo>
                    <a:pt x="11988" y="7317"/>
                  </a:lnTo>
                  <a:lnTo>
                    <a:pt x="11996" y="7314"/>
                  </a:lnTo>
                  <a:lnTo>
                    <a:pt x="12005" y="7313"/>
                  </a:lnTo>
                  <a:lnTo>
                    <a:pt x="12017" y="7317"/>
                  </a:lnTo>
                  <a:lnTo>
                    <a:pt x="12030" y="7320"/>
                  </a:lnTo>
                  <a:lnTo>
                    <a:pt x="12037" y="7320"/>
                  </a:lnTo>
                  <a:lnTo>
                    <a:pt x="12043" y="7319"/>
                  </a:lnTo>
                  <a:lnTo>
                    <a:pt x="12048" y="7317"/>
                  </a:lnTo>
                  <a:lnTo>
                    <a:pt x="12053" y="7315"/>
                  </a:lnTo>
                  <a:lnTo>
                    <a:pt x="12062" y="7310"/>
                  </a:lnTo>
                  <a:lnTo>
                    <a:pt x="12071" y="7304"/>
                  </a:lnTo>
                  <a:lnTo>
                    <a:pt x="12080" y="7298"/>
                  </a:lnTo>
                  <a:lnTo>
                    <a:pt x="12089" y="7291"/>
                  </a:lnTo>
                  <a:lnTo>
                    <a:pt x="12094" y="7289"/>
                  </a:lnTo>
                  <a:lnTo>
                    <a:pt x="12100" y="7288"/>
                  </a:lnTo>
                  <a:lnTo>
                    <a:pt x="12106" y="7286"/>
                  </a:lnTo>
                  <a:lnTo>
                    <a:pt x="12112" y="7286"/>
                  </a:lnTo>
                  <a:lnTo>
                    <a:pt x="12117" y="7287"/>
                  </a:lnTo>
                  <a:lnTo>
                    <a:pt x="12121" y="7289"/>
                  </a:lnTo>
                  <a:lnTo>
                    <a:pt x="12125" y="7293"/>
                  </a:lnTo>
                  <a:lnTo>
                    <a:pt x="12129" y="7297"/>
                  </a:lnTo>
                  <a:lnTo>
                    <a:pt x="12134" y="7300"/>
                  </a:lnTo>
                  <a:lnTo>
                    <a:pt x="12138" y="7303"/>
                  </a:lnTo>
                  <a:lnTo>
                    <a:pt x="12142" y="7306"/>
                  </a:lnTo>
                  <a:lnTo>
                    <a:pt x="12147" y="7307"/>
                  </a:lnTo>
                  <a:lnTo>
                    <a:pt x="12159" y="7306"/>
                  </a:lnTo>
                  <a:lnTo>
                    <a:pt x="12171" y="7303"/>
                  </a:lnTo>
                  <a:lnTo>
                    <a:pt x="12180" y="7299"/>
                  </a:lnTo>
                  <a:lnTo>
                    <a:pt x="12190" y="7295"/>
                  </a:lnTo>
                  <a:lnTo>
                    <a:pt x="12200" y="7290"/>
                  </a:lnTo>
                  <a:lnTo>
                    <a:pt x="12210" y="7286"/>
                  </a:lnTo>
                  <a:lnTo>
                    <a:pt x="12221" y="7284"/>
                  </a:lnTo>
                  <a:lnTo>
                    <a:pt x="12234" y="7283"/>
                  </a:lnTo>
                  <a:lnTo>
                    <a:pt x="12237" y="7283"/>
                  </a:lnTo>
                  <a:lnTo>
                    <a:pt x="12240" y="7285"/>
                  </a:lnTo>
                  <a:lnTo>
                    <a:pt x="12241" y="7288"/>
                  </a:lnTo>
                  <a:lnTo>
                    <a:pt x="12243" y="7291"/>
                  </a:lnTo>
                  <a:lnTo>
                    <a:pt x="12245" y="7299"/>
                  </a:lnTo>
                  <a:lnTo>
                    <a:pt x="12248" y="7307"/>
                  </a:lnTo>
                  <a:lnTo>
                    <a:pt x="12255" y="7320"/>
                  </a:lnTo>
                  <a:lnTo>
                    <a:pt x="12259" y="7334"/>
                  </a:lnTo>
                  <a:lnTo>
                    <a:pt x="12261" y="7340"/>
                  </a:lnTo>
                  <a:lnTo>
                    <a:pt x="12265" y="7346"/>
                  </a:lnTo>
                  <a:lnTo>
                    <a:pt x="12268" y="7352"/>
                  </a:lnTo>
                  <a:lnTo>
                    <a:pt x="12273" y="7359"/>
                  </a:lnTo>
                  <a:lnTo>
                    <a:pt x="12283" y="7348"/>
                  </a:lnTo>
                  <a:lnTo>
                    <a:pt x="12293" y="7340"/>
                  </a:lnTo>
                  <a:lnTo>
                    <a:pt x="12298" y="7349"/>
                  </a:lnTo>
                  <a:lnTo>
                    <a:pt x="12304" y="7359"/>
                  </a:lnTo>
                  <a:lnTo>
                    <a:pt x="12308" y="7350"/>
                  </a:lnTo>
                  <a:lnTo>
                    <a:pt x="12310" y="7343"/>
                  </a:lnTo>
                  <a:lnTo>
                    <a:pt x="12311" y="7335"/>
                  </a:lnTo>
                  <a:lnTo>
                    <a:pt x="12312" y="7328"/>
                  </a:lnTo>
                  <a:lnTo>
                    <a:pt x="12313" y="7319"/>
                  </a:lnTo>
                  <a:lnTo>
                    <a:pt x="12314" y="7312"/>
                  </a:lnTo>
                  <a:lnTo>
                    <a:pt x="12316" y="7304"/>
                  </a:lnTo>
                  <a:lnTo>
                    <a:pt x="12319" y="7296"/>
                  </a:lnTo>
                  <a:lnTo>
                    <a:pt x="12323" y="7288"/>
                  </a:lnTo>
                  <a:lnTo>
                    <a:pt x="12327" y="7283"/>
                  </a:lnTo>
                  <a:lnTo>
                    <a:pt x="12332" y="7277"/>
                  </a:lnTo>
                  <a:lnTo>
                    <a:pt x="12336" y="7273"/>
                  </a:lnTo>
                  <a:lnTo>
                    <a:pt x="12346" y="7263"/>
                  </a:lnTo>
                  <a:lnTo>
                    <a:pt x="12355" y="7251"/>
                  </a:lnTo>
                  <a:lnTo>
                    <a:pt x="12366" y="7239"/>
                  </a:lnTo>
                  <a:lnTo>
                    <a:pt x="12374" y="7228"/>
                  </a:lnTo>
                  <a:lnTo>
                    <a:pt x="12383" y="7219"/>
                  </a:lnTo>
                  <a:lnTo>
                    <a:pt x="12392" y="7211"/>
                  </a:lnTo>
                  <a:lnTo>
                    <a:pt x="12403" y="7204"/>
                  </a:lnTo>
                  <a:lnTo>
                    <a:pt x="12414" y="7196"/>
                  </a:lnTo>
                  <a:lnTo>
                    <a:pt x="12426" y="7191"/>
                  </a:lnTo>
                  <a:lnTo>
                    <a:pt x="12441" y="7186"/>
                  </a:lnTo>
                  <a:lnTo>
                    <a:pt x="12450" y="7182"/>
                  </a:lnTo>
                  <a:lnTo>
                    <a:pt x="12458" y="7177"/>
                  </a:lnTo>
                  <a:lnTo>
                    <a:pt x="12466" y="7172"/>
                  </a:lnTo>
                  <a:lnTo>
                    <a:pt x="12473" y="7167"/>
                  </a:lnTo>
                  <a:lnTo>
                    <a:pt x="12480" y="7161"/>
                  </a:lnTo>
                  <a:lnTo>
                    <a:pt x="12488" y="7157"/>
                  </a:lnTo>
                  <a:lnTo>
                    <a:pt x="12492" y="7155"/>
                  </a:lnTo>
                  <a:lnTo>
                    <a:pt x="12497" y="7154"/>
                  </a:lnTo>
                  <a:lnTo>
                    <a:pt x="12502" y="7153"/>
                  </a:lnTo>
                  <a:lnTo>
                    <a:pt x="12507" y="7153"/>
                  </a:lnTo>
                  <a:lnTo>
                    <a:pt x="12516" y="7155"/>
                  </a:lnTo>
                  <a:lnTo>
                    <a:pt x="12525" y="7156"/>
                  </a:lnTo>
                  <a:lnTo>
                    <a:pt x="12540" y="7156"/>
                  </a:lnTo>
                  <a:lnTo>
                    <a:pt x="12552" y="7154"/>
                  </a:lnTo>
                  <a:lnTo>
                    <a:pt x="12558" y="7153"/>
                  </a:lnTo>
                  <a:lnTo>
                    <a:pt x="12564" y="7151"/>
                  </a:lnTo>
                  <a:lnTo>
                    <a:pt x="12570" y="7148"/>
                  </a:lnTo>
                  <a:lnTo>
                    <a:pt x="12576" y="7145"/>
                  </a:lnTo>
                  <a:lnTo>
                    <a:pt x="12584" y="7135"/>
                  </a:lnTo>
                  <a:lnTo>
                    <a:pt x="12592" y="7126"/>
                  </a:lnTo>
                  <a:lnTo>
                    <a:pt x="12600" y="7123"/>
                  </a:lnTo>
                  <a:lnTo>
                    <a:pt x="12607" y="7123"/>
                  </a:lnTo>
                  <a:lnTo>
                    <a:pt x="12614" y="7123"/>
                  </a:lnTo>
                  <a:lnTo>
                    <a:pt x="12622" y="7122"/>
                  </a:lnTo>
                  <a:lnTo>
                    <a:pt x="12641" y="7119"/>
                  </a:lnTo>
                  <a:lnTo>
                    <a:pt x="12657" y="7116"/>
                  </a:lnTo>
                  <a:lnTo>
                    <a:pt x="12674" y="7113"/>
                  </a:lnTo>
                  <a:lnTo>
                    <a:pt x="12694" y="7112"/>
                  </a:lnTo>
                  <a:lnTo>
                    <a:pt x="12698" y="7112"/>
                  </a:lnTo>
                  <a:lnTo>
                    <a:pt x="12701" y="7113"/>
                  </a:lnTo>
                  <a:lnTo>
                    <a:pt x="12704" y="7115"/>
                  </a:lnTo>
                  <a:lnTo>
                    <a:pt x="12706" y="7117"/>
                  </a:lnTo>
                  <a:lnTo>
                    <a:pt x="12711" y="7123"/>
                  </a:lnTo>
                  <a:lnTo>
                    <a:pt x="12716" y="7128"/>
                  </a:lnTo>
                  <a:lnTo>
                    <a:pt x="12730" y="7139"/>
                  </a:lnTo>
                  <a:lnTo>
                    <a:pt x="12742" y="7148"/>
                  </a:lnTo>
                  <a:lnTo>
                    <a:pt x="12747" y="7152"/>
                  </a:lnTo>
                  <a:lnTo>
                    <a:pt x="12751" y="7158"/>
                  </a:lnTo>
                  <a:lnTo>
                    <a:pt x="12754" y="7164"/>
                  </a:lnTo>
                  <a:lnTo>
                    <a:pt x="12755" y="7173"/>
                  </a:lnTo>
                  <a:lnTo>
                    <a:pt x="12752" y="7187"/>
                  </a:lnTo>
                  <a:lnTo>
                    <a:pt x="12748" y="7203"/>
                  </a:lnTo>
                  <a:lnTo>
                    <a:pt x="12747" y="7221"/>
                  </a:lnTo>
                  <a:lnTo>
                    <a:pt x="12747" y="7239"/>
                  </a:lnTo>
                  <a:lnTo>
                    <a:pt x="12746" y="7247"/>
                  </a:lnTo>
                  <a:lnTo>
                    <a:pt x="12745" y="7255"/>
                  </a:lnTo>
                  <a:lnTo>
                    <a:pt x="12743" y="7264"/>
                  </a:lnTo>
                  <a:lnTo>
                    <a:pt x="12739" y="7272"/>
                  </a:lnTo>
                  <a:lnTo>
                    <a:pt x="12736" y="7276"/>
                  </a:lnTo>
                  <a:lnTo>
                    <a:pt x="12733" y="7279"/>
                  </a:lnTo>
                  <a:lnTo>
                    <a:pt x="12729" y="7282"/>
                  </a:lnTo>
                  <a:lnTo>
                    <a:pt x="12724" y="7284"/>
                  </a:lnTo>
                  <a:lnTo>
                    <a:pt x="12721" y="7287"/>
                  </a:lnTo>
                  <a:lnTo>
                    <a:pt x="12718" y="7290"/>
                  </a:lnTo>
                  <a:lnTo>
                    <a:pt x="12716" y="7294"/>
                  </a:lnTo>
                  <a:lnTo>
                    <a:pt x="12715" y="7299"/>
                  </a:lnTo>
                  <a:lnTo>
                    <a:pt x="12716" y="7303"/>
                  </a:lnTo>
                  <a:lnTo>
                    <a:pt x="12719" y="7308"/>
                  </a:lnTo>
                  <a:lnTo>
                    <a:pt x="12725" y="7304"/>
                  </a:lnTo>
                  <a:lnTo>
                    <a:pt x="12731" y="7301"/>
                  </a:lnTo>
                  <a:lnTo>
                    <a:pt x="12736" y="7297"/>
                  </a:lnTo>
                  <a:lnTo>
                    <a:pt x="12740" y="7291"/>
                  </a:lnTo>
                  <a:lnTo>
                    <a:pt x="12747" y="7282"/>
                  </a:lnTo>
                  <a:lnTo>
                    <a:pt x="12753" y="7272"/>
                  </a:lnTo>
                  <a:lnTo>
                    <a:pt x="12762" y="7249"/>
                  </a:lnTo>
                  <a:lnTo>
                    <a:pt x="12771" y="7224"/>
                  </a:lnTo>
                  <a:lnTo>
                    <a:pt x="12782" y="7193"/>
                  </a:lnTo>
                  <a:lnTo>
                    <a:pt x="12793" y="7165"/>
                  </a:lnTo>
                  <a:lnTo>
                    <a:pt x="12796" y="7151"/>
                  </a:lnTo>
                  <a:lnTo>
                    <a:pt x="12798" y="7137"/>
                  </a:lnTo>
                  <a:lnTo>
                    <a:pt x="12800" y="7121"/>
                  </a:lnTo>
                  <a:lnTo>
                    <a:pt x="12800" y="7105"/>
                  </a:lnTo>
                  <a:lnTo>
                    <a:pt x="12800" y="7074"/>
                  </a:lnTo>
                  <a:lnTo>
                    <a:pt x="12807" y="7074"/>
                  </a:lnTo>
                  <a:lnTo>
                    <a:pt x="12813" y="7072"/>
                  </a:lnTo>
                  <a:lnTo>
                    <a:pt x="12819" y="7070"/>
                  </a:lnTo>
                  <a:lnTo>
                    <a:pt x="12826" y="7067"/>
                  </a:lnTo>
                  <a:lnTo>
                    <a:pt x="12835" y="7061"/>
                  </a:lnTo>
                  <a:lnTo>
                    <a:pt x="12844" y="7054"/>
                  </a:lnTo>
                  <a:lnTo>
                    <a:pt x="12862" y="7035"/>
                  </a:lnTo>
                  <a:lnTo>
                    <a:pt x="12880" y="7015"/>
                  </a:lnTo>
                  <a:lnTo>
                    <a:pt x="12888" y="7007"/>
                  </a:lnTo>
                  <a:lnTo>
                    <a:pt x="12897" y="7001"/>
                  </a:lnTo>
                  <a:lnTo>
                    <a:pt x="12905" y="6995"/>
                  </a:lnTo>
                  <a:lnTo>
                    <a:pt x="12913" y="6990"/>
                  </a:lnTo>
                  <a:lnTo>
                    <a:pt x="12922" y="6985"/>
                  </a:lnTo>
                  <a:lnTo>
                    <a:pt x="12931" y="6980"/>
                  </a:lnTo>
                  <a:lnTo>
                    <a:pt x="12939" y="6973"/>
                  </a:lnTo>
                  <a:lnTo>
                    <a:pt x="12947" y="6965"/>
                  </a:lnTo>
                  <a:lnTo>
                    <a:pt x="12962" y="6960"/>
                  </a:lnTo>
                  <a:lnTo>
                    <a:pt x="12975" y="6955"/>
                  </a:lnTo>
                  <a:lnTo>
                    <a:pt x="12987" y="6949"/>
                  </a:lnTo>
                  <a:lnTo>
                    <a:pt x="12999" y="6943"/>
                  </a:lnTo>
                  <a:lnTo>
                    <a:pt x="13021" y="6930"/>
                  </a:lnTo>
                  <a:lnTo>
                    <a:pt x="13046" y="6915"/>
                  </a:lnTo>
                  <a:lnTo>
                    <a:pt x="13065" y="6902"/>
                  </a:lnTo>
                  <a:lnTo>
                    <a:pt x="13081" y="6892"/>
                  </a:lnTo>
                  <a:lnTo>
                    <a:pt x="13090" y="6887"/>
                  </a:lnTo>
                  <a:lnTo>
                    <a:pt x="13099" y="6884"/>
                  </a:lnTo>
                  <a:lnTo>
                    <a:pt x="13108" y="6882"/>
                  </a:lnTo>
                  <a:lnTo>
                    <a:pt x="13119" y="6880"/>
                  </a:lnTo>
                  <a:lnTo>
                    <a:pt x="13131" y="6882"/>
                  </a:lnTo>
                  <a:lnTo>
                    <a:pt x="13140" y="6885"/>
                  </a:lnTo>
                  <a:lnTo>
                    <a:pt x="13150" y="6888"/>
                  </a:lnTo>
                  <a:lnTo>
                    <a:pt x="13161" y="6891"/>
                  </a:lnTo>
                  <a:lnTo>
                    <a:pt x="13172" y="6894"/>
                  </a:lnTo>
                  <a:lnTo>
                    <a:pt x="13183" y="6898"/>
                  </a:lnTo>
                  <a:lnTo>
                    <a:pt x="13187" y="6900"/>
                  </a:lnTo>
                  <a:lnTo>
                    <a:pt x="13191" y="6904"/>
                  </a:lnTo>
                  <a:lnTo>
                    <a:pt x="13193" y="6908"/>
                  </a:lnTo>
                  <a:lnTo>
                    <a:pt x="13194" y="6914"/>
                  </a:lnTo>
                  <a:lnTo>
                    <a:pt x="13194" y="6933"/>
                  </a:lnTo>
                  <a:lnTo>
                    <a:pt x="13195" y="6939"/>
                  </a:lnTo>
                  <a:lnTo>
                    <a:pt x="13196" y="6946"/>
                  </a:lnTo>
                  <a:lnTo>
                    <a:pt x="13200" y="6950"/>
                  </a:lnTo>
                  <a:lnTo>
                    <a:pt x="13204" y="6954"/>
                  </a:lnTo>
                  <a:lnTo>
                    <a:pt x="13208" y="6948"/>
                  </a:lnTo>
                  <a:lnTo>
                    <a:pt x="13211" y="6941"/>
                  </a:lnTo>
                  <a:lnTo>
                    <a:pt x="13213" y="6935"/>
                  </a:lnTo>
                  <a:lnTo>
                    <a:pt x="13214" y="6929"/>
                  </a:lnTo>
                  <a:lnTo>
                    <a:pt x="13218" y="6918"/>
                  </a:lnTo>
                  <a:lnTo>
                    <a:pt x="13224" y="6904"/>
                  </a:lnTo>
                  <a:lnTo>
                    <a:pt x="13239" y="6869"/>
                  </a:lnTo>
                  <a:lnTo>
                    <a:pt x="13253" y="6839"/>
                  </a:lnTo>
                  <a:lnTo>
                    <a:pt x="13268" y="6809"/>
                  </a:lnTo>
                  <a:lnTo>
                    <a:pt x="13286" y="6775"/>
                  </a:lnTo>
                  <a:lnTo>
                    <a:pt x="13295" y="6762"/>
                  </a:lnTo>
                  <a:lnTo>
                    <a:pt x="13304" y="6749"/>
                  </a:lnTo>
                  <a:lnTo>
                    <a:pt x="13312" y="6737"/>
                  </a:lnTo>
                  <a:lnTo>
                    <a:pt x="13322" y="6727"/>
                  </a:lnTo>
                  <a:lnTo>
                    <a:pt x="13332" y="6716"/>
                  </a:lnTo>
                  <a:lnTo>
                    <a:pt x="13341" y="6706"/>
                  </a:lnTo>
                  <a:lnTo>
                    <a:pt x="13351" y="6698"/>
                  </a:lnTo>
                  <a:lnTo>
                    <a:pt x="13363" y="6689"/>
                  </a:lnTo>
                  <a:lnTo>
                    <a:pt x="13374" y="6683"/>
                  </a:lnTo>
                  <a:lnTo>
                    <a:pt x="13387" y="6677"/>
                  </a:lnTo>
                  <a:lnTo>
                    <a:pt x="13399" y="6672"/>
                  </a:lnTo>
                  <a:lnTo>
                    <a:pt x="13411" y="6668"/>
                  </a:lnTo>
                  <a:lnTo>
                    <a:pt x="13425" y="6664"/>
                  </a:lnTo>
                  <a:lnTo>
                    <a:pt x="13439" y="6662"/>
                  </a:lnTo>
                  <a:lnTo>
                    <a:pt x="13455" y="6661"/>
                  </a:lnTo>
                  <a:lnTo>
                    <a:pt x="13470" y="6659"/>
                  </a:lnTo>
                  <a:lnTo>
                    <a:pt x="13489" y="6661"/>
                  </a:lnTo>
                  <a:lnTo>
                    <a:pt x="13504" y="6664"/>
                  </a:lnTo>
                  <a:lnTo>
                    <a:pt x="13521" y="6667"/>
                  </a:lnTo>
                  <a:lnTo>
                    <a:pt x="13539" y="6668"/>
                  </a:lnTo>
                  <a:lnTo>
                    <a:pt x="13547" y="6668"/>
                  </a:lnTo>
                  <a:lnTo>
                    <a:pt x="13555" y="6666"/>
                  </a:lnTo>
                  <a:lnTo>
                    <a:pt x="13562" y="6663"/>
                  </a:lnTo>
                  <a:lnTo>
                    <a:pt x="13568" y="6658"/>
                  </a:lnTo>
                  <a:lnTo>
                    <a:pt x="13580" y="6649"/>
                  </a:lnTo>
                  <a:lnTo>
                    <a:pt x="13592" y="6637"/>
                  </a:lnTo>
                  <a:lnTo>
                    <a:pt x="13601" y="6631"/>
                  </a:lnTo>
                  <a:lnTo>
                    <a:pt x="13609" y="6624"/>
                  </a:lnTo>
                  <a:lnTo>
                    <a:pt x="13618" y="6620"/>
                  </a:lnTo>
                  <a:lnTo>
                    <a:pt x="13627" y="6617"/>
                  </a:lnTo>
                  <a:lnTo>
                    <a:pt x="13636" y="6615"/>
                  </a:lnTo>
                  <a:lnTo>
                    <a:pt x="13646" y="6613"/>
                  </a:lnTo>
                  <a:lnTo>
                    <a:pt x="13657" y="6613"/>
                  </a:lnTo>
                  <a:lnTo>
                    <a:pt x="13668" y="6612"/>
                  </a:lnTo>
                  <a:lnTo>
                    <a:pt x="13693" y="6612"/>
                  </a:lnTo>
                  <a:lnTo>
                    <a:pt x="13705" y="6619"/>
                  </a:lnTo>
                  <a:lnTo>
                    <a:pt x="13718" y="6625"/>
                  </a:lnTo>
                  <a:lnTo>
                    <a:pt x="13730" y="6619"/>
                  </a:lnTo>
                  <a:lnTo>
                    <a:pt x="13743" y="6611"/>
                  </a:lnTo>
                  <a:lnTo>
                    <a:pt x="13799" y="6623"/>
                  </a:lnTo>
                  <a:lnTo>
                    <a:pt x="13807" y="6618"/>
                  </a:lnTo>
                  <a:lnTo>
                    <a:pt x="13814" y="6612"/>
                  </a:lnTo>
                  <a:lnTo>
                    <a:pt x="13818" y="6609"/>
                  </a:lnTo>
                  <a:lnTo>
                    <a:pt x="13821" y="6607"/>
                  </a:lnTo>
                  <a:lnTo>
                    <a:pt x="13826" y="6605"/>
                  </a:lnTo>
                  <a:lnTo>
                    <a:pt x="13830" y="6604"/>
                  </a:lnTo>
                  <a:lnTo>
                    <a:pt x="13838" y="6606"/>
                  </a:lnTo>
                  <a:lnTo>
                    <a:pt x="13845" y="6608"/>
                  </a:lnTo>
                  <a:lnTo>
                    <a:pt x="13853" y="6612"/>
                  </a:lnTo>
                  <a:lnTo>
                    <a:pt x="13860" y="6616"/>
                  </a:lnTo>
                  <a:lnTo>
                    <a:pt x="13871" y="6621"/>
                  </a:lnTo>
                  <a:lnTo>
                    <a:pt x="13882" y="6627"/>
                  </a:lnTo>
                  <a:lnTo>
                    <a:pt x="13886" y="6631"/>
                  </a:lnTo>
                  <a:lnTo>
                    <a:pt x="13889" y="6635"/>
                  </a:lnTo>
                  <a:lnTo>
                    <a:pt x="13891" y="6640"/>
                  </a:lnTo>
                  <a:lnTo>
                    <a:pt x="13892" y="6645"/>
                  </a:lnTo>
                  <a:lnTo>
                    <a:pt x="13891" y="6654"/>
                  </a:lnTo>
                  <a:lnTo>
                    <a:pt x="13890" y="6663"/>
                  </a:lnTo>
                  <a:lnTo>
                    <a:pt x="13890" y="6675"/>
                  </a:lnTo>
                  <a:lnTo>
                    <a:pt x="13890" y="6686"/>
                  </a:lnTo>
                  <a:lnTo>
                    <a:pt x="13892" y="6688"/>
                  </a:lnTo>
                  <a:lnTo>
                    <a:pt x="13895" y="6689"/>
                  </a:lnTo>
                  <a:lnTo>
                    <a:pt x="13900" y="6688"/>
                  </a:lnTo>
                  <a:lnTo>
                    <a:pt x="13904" y="6685"/>
                  </a:lnTo>
                  <a:lnTo>
                    <a:pt x="13907" y="6681"/>
                  </a:lnTo>
                  <a:lnTo>
                    <a:pt x="13909" y="6677"/>
                  </a:lnTo>
                  <a:lnTo>
                    <a:pt x="13913" y="6666"/>
                  </a:lnTo>
                  <a:lnTo>
                    <a:pt x="13918" y="6653"/>
                  </a:lnTo>
                  <a:lnTo>
                    <a:pt x="13927" y="6638"/>
                  </a:lnTo>
                  <a:lnTo>
                    <a:pt x="13936" y="6623"/>
                  </a:lnTo>
                  <a:lnTo>
                    <a:pt x="13944" y="6609"/>
                  </a:lnTo>
                  <a:lnTo>
                    <a:pt x="13956" y="6593"/>
                  </a:lnTo>
                  <a:lnTo>
                    <a:pt x="13961" y="6586"/>
                  </a:lnTo>
                  <a:lnTo>
                    <a:pt x="13967" y="6579"/>
                  </a:lnTo>
                  <a:lnTo>
                    <a:pt x="13973" y="6574"/>
                  </a:lnTo>
                  <a:lnTo>
                    <a:pt x="13981" y="6569"/>
                  </a:lnTo>
                  <a:lnTo>
                    <a:pt x="13975" y="6530"/>
                  </a:lnTo>
                  <a:lnTo>
                    <a:pt x="13970" y="6494"/>
                  </a:lnTo>
                  <a:lnTo>
                    <a:pt x="13965" y="6461"/>
                  </a:lnTo>
                  <a:lnTo>
                    <a:pt x="13960" y="6430"/>
                  </a:lnTo>
                  <a:lnTo>
                    <a:pt x="13956" y="6398"/>
                  </a:lnTo>
                  <a:lnTo>
                    <a:pt x="13953" y="6365"/>
                  </a:lnTo>
                  <a:lnTo>
                    <a:pt x="13951" y="6329"/>
                  </a:lnTo>
                  <a:lnTo>
                    <a:pt x="13950" y="6290"/>
                  </a:lnTo>
                  <a:lnTo>
                    <a:pt x="13950" y="6277"/>
                  </a:lnTo>
                  <a:lnTo>
                    <a:pt x="13952" y="6265"/>
                  </a:lnTo>
                  <a:lnTo>
                    <a:pt x="13954" y="6254"/>
                  </a:lnTo>
                  <a:lnTo>
                    <a:pt x="13957" y="6243"/>
                  </a:lnTo>
                  <a:lnTo>
                    <a:pt x="13964" y="6223"/>
                  </a:lnTo>
                  <a:lnTo>
                    <a:pt x="13973" y="6203"/>
                  </a:lnTo>
                  <a:lnTo>
                    <a:pt x="13982" y="6183"/>
                  </a:lnTo>
                  <a:lnTo>
                    <a:pt x="13989" y="6164"/>
                  </a:lnTo>
                  <a:lnTo>
                    <a:pt x="13992" y="6152"/>
                  </a:lnTo>
                  <a:lnTo>
                    <a:pt x="13995" y="6141"/>
                  </a:lnTo>
                  <a:lnTo>
                    <a:pt x="13996" y="6130"/>
                  </a:lnTo>
                  <a:lnTo>
                    <a:pt x="13997" y="6116"/>
                  </a:lnTo>
                  <a:lnTo>
                    <a:pt x="13996" y="6096"/>
                  </a:lnTo>
                  <a:lnTo>
                    <a:pt x="13994" y="6076"/>
                  </a:lnTo>
                  <a:lnTo>
                    <a:pt x="13992" y="6058"/>
                  </a:lnTo>
                  <a:lnTo>
                    <a:pt x="13990" y="6041"/>
                  </a:lnTo>
                  <a:lnTo>
                    <a:pt x="13987" y="6023"/>
                  </a:lnTo>
                  <a:lnTo>
                    <a:pt x="13985" y="6005"/>
                  </a:lnTo>
                  <a:lnTo>
                    <a:pt x="13983" y="5985"/>
                  </a:lnTo>
                  <a:lnTo>
                    <a:pt x="13983" y="5965"/>
                  </a:lnTo>
                  <a:lnTo>
                    <a:pt x="13983" y="5960"/>
                  </a:lnTo>
                  <a:lnTo>
                    <a:pt x="13984" y="5956"/>
                  </a:lnTo>
                  <a:lnTo>
                    <a:pt x="13986" y="5954"/>
                  </a:lnTo>
                  <a:lnTo>
                    <a:pt x="13988" y="5951"/>
                  </a:lnTo>
                  <a:lnTo>
                    <a:pt x="13994" y="5948"/>
                  </a:lnTo>
                  <a:lnTo>
                    <a:pt x="14002" y="5945"/>
                  </a:lnTo>
                  <a:lnTo>
                    <a:pt x="14010" y="5943"/>
                  </a:lnTo>
                  <a:lnTo>
                    <a:pt x="14020" y="5941"/>
                  </a:lnTo>
                  <a:lnTo>
                    <a:pt x="14028" y="5939"/>
                  </a:lnTo>
                  <a:lnTo>
                    <a:pt x="14036" y="5935"/>
                  </a:lnTo>
                  <a:lnTo>
                    <a:pt x="14059" y="5920"/>
                  </a:lnTo>
                  <a:lnTo>
                    <a:pt x="14078" y="5906"/>
                  </a:lnTo>
                  <a:lnTo>
                    <a:pt x="14088" y="5898"/>
                  </a:lnTo>
                  <a:lnTo>
                    <a:pt x="14098" y="5891"/>
                  </a:lnTo>
                  <a:lnTo>
                    <a:pt x="14108" y="5884"/>
                  </a:lnTo>
                  <a:lnTo>
                    <a:pt x="14122" y="5878"/>
                  </a:lnTo>
                  <a:lnTo>
                    <a:pt x="14143" y="5877"/>
                  </a:lnTo>
                  <a:lnTo>
                    <a:pt x="14163" y="5874"/>
                  </a:lnTo>
                  <a:lnTo>
                    <a:pt x="14183" y="5871"/>
                  </a:lnTo>
                  <a:lnTo>
                    <a:pt x="14201" y="5866"/>
                  </a:lnTo>
                  <a:lnTo>
                    <a:pt x="14209" y="5863"/>
                  </a:lnTo>
                  <a:lnTo>
                    <a:pt x="14218" y="5859"/>
                  </a:lnTo>
                  <a:lnTo>
                    <a:pt x="14227" y="5856"/>
                  </a:lnTo>
                  <a:lnTo>
                    <a:pt x="14235" y="5851"/>
                  </a:lnTo>
                  <a:lnTo>
                    <a:pt x="14243" y="5846"/>
                  </a:lnTo>
                  <a:lnTo>
                    <a:pt x="14252" y="5841"/>
                  </a:lnTo>
                  <a:lnTo>
                    <a:pt x="14260" y="5833"/>
                  </a:lnTo>
                  <a:lnTo>
                    <a:pt x="14267" y="5826"/>
                  </a:lnTo>
                  <a:lnTo>
                    <a:pt x="14275" y="5818"/>
                  </a:lnTo>
                  <a:lnTo>
                    <a:pt x="14281" y="5808"/>
                  </a:lnTo>
                  <a:lnTo>
                    <a:pt x="14284" y="5803"/>
                  </a:lnTo>
                  <a:lnTo>
                    <a:pt x="14287" y="5799"/>
                  </a:lnTo>
                  <a:lnTo>
                    <a:pt x="14291" y="5795"/>
                  </a:lnTo>
                  <a:lnTo>
                    <a:pt x="14296" y="5791"/>
                  </a:lnTo>
                  <a:lnTo>
                    <a:pt x="14321" y="5776"/>
                  </a:lnTo>
                  <a:lnTo>
                    <a:pt x="14344" y="5760"/>
                  </a:lnTo>
                  <a:lnTo>
                    <a:pt x="14354" y="5753"/>
                  </a:lnTo>
                  <a:lnTo>
                    <a:pt x="14363" y="5744"/>
                  </a:lnTo>
                  <a:lnTo>
                    <a:pt x="14372" y="5732"/>
                  </a:lnTo>
                  <a:lnTo>
                    <a:pt x="14381" y="5720"/>
                  </a:lnTo>
                  <a:lnTo>
                    <a:pt x="14386" y="5712"/>
                  </a:lnTo>
                  <a:lnTo>
                    <a:pt x="14390" y="5702"/>
                  </a:lnTo>
                  <a:lnTo>
                    <a:pt x="14393" y="5694"/>
                  </a:lnTo>
                  <a:lnTo>
                    <a:pt x="14395" y="5686"/>
                  </a:lnTo>
                  <a:lnTo>
                    <a:pt x="14398" y="5668"/>
                  </a:lnTo>
                  <a:lnTo>
                    <a:pt x="14399" y="5652"/>
                  </a:lnTo>
                  <a:lnTo>
                    <a:pt x="14400" y="5634"/>
                  </a:lnTo>
                  <a:lnTo>
                    <a:pt x="14402" y="5617"/>
                  </a:lnTo>
                  <a:lnTo>
                    <a:pt x="14404" y="5608"/>
                  </a:lnTo>
                  <a:lnTo>
                    <a:pt x="14406" y="5599"/>
                  </a:lnTo>
                  <a:lnTo>
                    <a:pt x="14410" y="5590"/>
                  </a:lnTo>
                  <a:lnTo>
                    <a:pt x="14414" y="5580"/>
                  </a:lnTo>
                  <a:lnTo>
                    <a:pt x="14420" y="5569"/>
                  </a:lnTo>
                  <a:lnTo>
                    <a:pt x="14428" y="5560"/>
                  </a:lnTo>
                  <a:lnTo>
                    <a:pt x="14436" y="5550"/>
                  </a:lnTo>
                  <a:lnTo>
                    <a:pt x="14445" y="5543"/>
                  </a:lnTo>
                  <a:lnTo>
                    <a:pt x="14455" y="5537"/>
                  </a:lnTo>
                  <a:lnTo>
                    <a:pt x="14465" y="5532"/>
                  </a:lnTo>
                  <a:lnTo>
                    <a:pt x="14476" y="5528"/>
                  </a:lnTo>
                  <a:lnTo>
                    <a:pt x="14487" y="5525"/>
                  </a:lnTo>
                  <a:lnTo>
                    <a:pt x="14499" y="5522"/>
                  </a:lnTo>
                  <a:lnTo>
                    <a:pt x="14512" y="5520"/>
                  </a:lnTo>
                  <a:lnTo>
                    <a:pt x="14524" y="5518"/>
                  </a:lnTo>
                  <a:lnTo>
                    <a:pt x="14536" y="5517"/>
                  </a:lnTo>
                  <a:lnTo>
                    <a:pt x="14563" y="5517"/>
                  </a:lnTo>
                  <a:lnTo>
                    <a:pt x="14591" y="5517"/>
                  </a:lnTo>
                  <a:lnTo>
                    <a:pt x="14606" y="5517"/>
                  </a:lnTo>
                  <a:lnTo>
                    <a:pt x="14620" y="5519"/>
                  </a:lnTo>
                  <a:lnTo>
                    <a:pt x="14633" y="5522"/>
                  </a:lnTo>
                  <a:lnTo>
                    <a:pt x="14646" y="5525"/>
                  </a:lnTo>
                  <a:lnTo>
                    <a:pt x="14659" y="5527"/>
                  </a:lnTo>
                  <a:lnTo>
                    <a:pt x="14671" y="5529"/>
                  </a:lnTo>
                  <a:lnTo>
                    <a:pt x="14686" y="5531"/>
                  </a:lnTo>
                  <a:lnTo>
                    <a:pt x="14701" y="5531"/>
                  </a:lnTo>
                  <a:lnTo>
                    <a:pt x="14711" y="5531"/>
                  </a:lnTo>
                  <a:lnTo>
                    <a:pt x="14720" y="5530"/>
                  </a:lnTo>
                  <a:lnTo>
                    <a:pt x="14728" y="5529"/>
                  </a:lnTo>
                  <a:lnTo>
                    <a:pt x="14736" y="5527"/>
                  </a:lnTo>
                  <a:lnTo>
                    <a:pt x="14753" y="5523"/>
                  </a:lnTo>
                  <a:lnTo>
                    <a:pt x="14767" y="5517"/>
                  </a:lnTo>
                  <a:lnTo>
                    <a:pt x="14783" y="5512"/>
                  </a:lnTo>
                  <a:lnTo>
                    <a:pt x="14798" y="5507"/>
                  </a:lnTo>
                  <a:lnTo>
                    <a:pt x="14807" y="5506"/>
                  </a:lnTo>
                  <a:lnTo>
                    <a:pt x="14815" y="5504"/>
                  </a:lnTo>
                  <a:lnTo>
                    <a:pt x="14824" y="5503"/>
                  </a:lnTo>
                  <a:lnTo>
                    <a:pt x="14833" y="5503"/>
                  </a:lnTo>
                  <a:lnTo>
                    <a:pt x="14837" y="5503"/>
                  </a:lnTo>
                  <a:lnTo>
                    <a:pt x="14842" y="5504"/>
                  </a:lnTo>
                  <a:lnTo>
                    <a:pt x="14845" y="5506"/>
                  </a:lnTo>
                  <a:lnTo>
                    <a:pt x="14847" y="5508"/>
                  </a:lnTo>
                  <a:lnTo>
                    <a:pt x="14852" y="5514"/>
                  </a:lnTo>
                  <a:lnTo>
                    <a:pt x="14857" y="5520"/>
                  </a:lnTo>
                  <a:lnTo>
                    <a:pt x="14861" y="5527"/>
                  </a:lnTo>
                  <a:lnTo>
                    <a:pt x="14866" y="5533"/>
                  </a:lnTo>
                  <a:lnTo>
                    <a:pt x="14869" y="5535"/>
                  </a:lnTo>
                  <a:lnTo>
                    <a:pt x="14873" y="5537"/>
                  </a:lnTo>
                  <a:lnTo>
                    <a:pt x="14877" y="5538"/>
                  </a:lnTo>
                  <a:lnTo>
                    <a:pt x="14881" y="5538"/>
                  </a:lnTo>
                  <a:lnTo>
                    <a:pt x="14891" y="5538"/>
                  </a:lnTo>
                  <a:lnTo>
                    <a:pt x="14900" y="5537"/>
                  </a:lnTo>
                  <a:lnTo>
                    <a:pt x="14910" y="5536"/>
                  </a:lnTo>
                  <a:lnTo>
                    <a:pt x="14919" y="5534"/>
                  </a:lnTo>
                  <a:lnTo>
                    <a:pt x="14934" y="5529"/>
                  </a:lnTo>
                  <a:lnTo>
                    <a:pt x="14951" y="5523"/>
                  </a:lnTo>
                  <a:lnTo>
                    <a:pt x="14982" y="5507"/>
                  </a:lnTo>
                  <a:lnTo>
                    <a:pt x="15017" y="5492"/>
                  </a:lnTo>
                  <a:lnTo>
                    <a:pt x="15028" y="5487"/>
                  </a:lnTo>
                  <a:lnTo>
                    <a:pt x="15039" y="5485"/>
                  </a:lnTo>
                  <a:lnTo>
                    <a:pt x="15048" y="5483"/>
                  </a:lnTo>
                  <a:lnTo>
                    <a:pt x="15058" y="5483"/>
                  </a:lnTo>
                  <a:lnTo>
                    <a:pt x="15078" y="5483"/>
                  </a:lnTo>
                  <a:lnTo>
                    <a:pt x="15099" y="5481"/>
                  </a:lnTo>
                  <a:lnTo>
                    <a:pt x="15130" y="5477"/>
                  </a:lnTo>
                  <a:lnTo>
                    <a:pt x="15158" y="5473"/>
                  </a:lnTo>
                  <a:lnTo>
                    <a:pt x="15172" y="5471"/>
                  </a:lnTo>
                  <a:lnTo>
                    <a:pt x="15185" y="5469"/>
                  </a:lnTo>
                  <a:lnTo>
                    <a:pt x="15199" y="5468"/>
                  </a:lnTo>
                  <a:lnTo>
                    <a:pt x="15216" y="5468"/>
                  </a:lnTo>
                  <a:lnTo>
                    <a:pt x="15225" y="5469"/>
                  </a:lnTo>
                  <a:lnTo>
                    <a:pt x="15236" y="5470"/>
                  </a:lnTo>
                  <a:lnTo>
                    <a:pt x="15236" y="5405"/>
                  </a:lnTo>
                  <a:lnTo>
                    <a:pt x="15236" y="5381"/>
                  </a:lnTo>
                  <a:lnTo>
                    <a:pt x="15236" y="5359"/>
                  </a:lnTo>
                  <a:lnTo>
                    <a:pt x="15236" y="5339"/>
                  </a:lnTo>
                  <a:lnTo>
                    <a:pt x="15233" y="5318"/>
                  </a:lnTo>
                  <a:lnTo>
                    <a:pt x="15231" y="5309"/>
                  </a:lnTo>
                  <a:lnTo>
                    <a:pt x="15229" y="5299"/>
                  </a:lnTo>
                  <a:lnTo>
                    <a:pt x="15226" y="5290"/>
                  </a:lnTo>
                  <a:lnTo>
                    <a:pt x="15222" y="5281"/>
                  </a:lnTo>
                  <a:lnTo>
                    <a:pt x="15217" y="5272"/>
                  </a:lnTo>
                  <a:lnTo>
                    <a:pt x="15212" y="5263"/>
                  </a:lnTo>
                  <a:lnTo>
                    <a:pt x="15205" y="5254"/>
                  </a:lnTo>
                  <a:lnTo>
                    <a:pt x="15196" y="5246"/>
                  </a:lnTo>
                  <a:lnTo>
                    <a:pt x="15209" y="5242"/>
                  </a:lnTo>
                  <a:lnTo>
                    <a:pt x="15220" y="5238"/>
                  </a:lnTo>
                  <a:lnTo>
                    <a:pt x="15231" y="5232"/>
                  </a:lnTo>
                  <a:lnTo>
                    <a:pt x="15242" y="5226"/>
                  </a:lnTo>
                  <a:lnTo>
                    <a:pt x="15246" y="5223"/>
                  </a:lnTo>
                  <a:lnTo>
                    <a:pt x="15250" y="5219"/>
                  </a:lnTo>
                  <a:lnTo>
                    <a:pt x="15253" y="5215"/>
                  </a:lnTo>
                  <a:lnTo>
                    <a:pt x="15256" y="5211"/>
                  </a:lnTo>
                  <a:lnTo>
                    <a:pt x="15259" y="5206"/>
                  </a:lnTo>
                  <a:lnTo>
                    <a:pt x="15261" y="5200"/>
                  </a:lnTo>
                  <a:lnTo>
                    <a:pt x="15262" y="5195"/>
                  </a:lnTo>
                  <a:lnTo>
                    <a:pt x="15262" y="5189"/>
                  </a:lnTo>
                  <a:lnTo>
                    <a:pt x="15261" y="5180"/>
                  </a:lnTo>
                  <a:lnTo>
                    <a:pt x="15259" y="5171"/>
                  </a:lnTo>
                  <a:lnTo>
                    <a:pt x="15256" y="5163"/>
                  </a:lnTo>
                  <a:lnTo>
                    <a:pt x="15255" y="5154"/>
                  </a:lnTo>
                  <a:lnTo>
                    <a:pt x="15256" y="5131"/>
                  </a:lnTo>
                  <a:lnTo>
                    <a:pt x="15257" y="5109"/>
                  </a:lnTo>
                  <a:lnTo>
                    <a:pt x="15260" y="5090"/>
                  </a:lnTo>
                  <a:lnTo>
                    <a:pt x="15264" y="5071"/>
                  </a:lnTo>
                  <a:lnTo>
                    <a:pt x="15270" y="5053"/>
                  </a:lnTo>
                  <a:lnTo>
                    <a:pt x="15277" y="5034"/>
                  </a:lnTo>
                  <a:lnTo>
                    <a:pt x="15285" y="5016"/>
                  </a:lnTo>
                  <a:lnTo>
                    <a:pt x="15295" y="4996"/>
                  </a:lnTo>
                  <a:lnTo>
                    <a:pt x="15299" y="4990"/>
                  </a:lnTo>
                  <a:lnTo>
                    <a:pt x="15305" y="4985"/>
                  </a:lnTo>
                  <a:lnTo>
                    <a:pt x="15310" y="4981"/>
                  </a:lnTo>
                  <a:lnTo>
                    <a:pt x="15315" y="4978"/>
                  </a:lnTo>
                  <a:lnTo>
                    <a:pt x="15327" y="4972"/>
                  </a:lnTo>
                  <a:lnTo>
                    <a:pt x="15341" y="4965"/>
                  </a:lnTo>
                  <a:lnTo>
                    <a:pt x="15348" y="4958"/>
                  </a:lnTo>
                  <a:lnTo>
                    <a:pt x="15354" y="4949"/>
                  </a:lnTo>
                  <a:lnTo>
                    <a:pt x="15358" y="4940"/>
                  </a:lnTo>
                  <a:lnTo>
                    <a:pt x="15361" y="4931"/>
                  </a:lnTo>
                  <a:lnTo>
                    <a:pt x="15362" y="4921"/>
                  </a:lnTo>
                  <a:lnTo>
                    <a:pt x="15363" y="4910"/>
                  </a:lnTo>
                  <a:lnTo>
                    <a:pt x="15363" y="4899"/>
                  </a:lnTo>
                  <a:lnTo>
                    <a:pt x="15363" y="4887"/>
                  </a:lnTo>
                  <a:lnTo>
                    <a:pt x="15363" y="4877"/>
                  </a:lnTo>
                  <a:lnTo>
                    <a:pt x="15361" y="4868"/>
                  </a:lnTo>
                  <a:lnTo>
                    <a:pt x="15348" y="4871"/>
                  </a:lnTo>
                  <a:lnTo>
                    <a:pt x="15337" y="4874"/>
                  </a:lnTo>
                  <a:lnTo>
                    <a:pt x="15326" y="4879"/>
                  </a:lnTo>
                  <a:lnTo>
                    <a:pt x="15316" y="4883"/>
                  </a:lnTo>
                  <a:lnTo>
                    <a:pt x="15306" y="4887"/>
                  </a:lnTo>
                  <a:lnTo>
                    <a:pt x="15294" y="4891"/>
                  </a:lnTo>
                  <a:lnTo>
                    <a:pt x="15283" y="4893"/>
                  </a:lnTo>
                  <a:lnTo>
                    <a:pt x="15270" y="4894"/>
                  </a:lnTo>
                  <a:lnTo>
                    <a:pt x="15262" y="4894"/>
                  </a:lnTo>
                  <a:lnTo>
                    <a:pt x="15255" y="4892"/>
                  </a:lnTo>
                  <a:lnTo>
                    <a:pt x="15248" y="4890"/>
                  </a:lnTo>
                  <a:lnTo>
                    <a:pt x="15242" y="4885"/>
                  </a:lnTo>
                  <a:lnTo>
                    <a:pt x="15237" y="4881"/>
                  </a:lnTo>
                  <a:lnTo>
                    <a:pt x="15233" y="4876"/>
                  </a:lnTo>
                  <a:lnTo>
                    <a:pt x="15230" y="4870"/>
                  </a:lnTo>
                  <a:lnTo>
                    <a:pt x="15229" y="4863"/>
                  </a:lnTo>
                  <a:lnTo>
                    <a:pt x="15229" y="4853"/>
                  </a:lnTo>
                  <a:lnTo>
                    <a:pt x="15231" y="4845"/>
                  </a:lnTo>
                  <a:lnTo>
                    <a:pt x="15233" y="4837"/>
                  </a:lnTo>
                  <a:lnTo>
                    <a:pt x="15236" y="4829"/>
                  </a:lnTo>
                  <a:lnTo>
                    <a:pt x="15240" y="4821"/>
                  </a:lnTo>
                  <a:lnTo>
                    <a:pt x="15245" y="4814"/>
                  </a:lnTo>
                  <a:lnTo>
                    <a:pt x="15251" y="4808"/>
                  </a:lnTo>
                  <a:lnTo>
                    <a:pt x="15258" y="4802"/>
                  </a:lnTo>
                  <a:lnTo>
                    <a:pt x="15265" y="4798"/>
                  </a:lnTo>
                  <a:lnTo>
                    <a:pt x="15273" y="4793"/>
                  </a:lnTo>
                  <a:lnTo>
                    <a:pt x="15277" y="4790"/>
                  </a:lnTo>
                  <a:lnTo>
                    <a:pt x="15279" y="4788"/>
                  </a:lnTo>
                  <a:lnTo>
                    <a:pt x="15281" y="4785"/>
                  </a:lnTo>
                  <a:lnTo>
                    <a:pt x="15281" y="4780"/>
                  </a:lnTo>
                  <a:lnTo>
                    <a:pt x="15281" y="4769"/>
                  </a:lnTo>
                  <a:lnTo>
                    <a:pt x="15278" y="4759"/>
                  </a:lnTo>
                  <a:lnTo>
                    <a:pt x="15274" y="4750"/>
                  </a:lnTo>
                  <a:lnTo>
                    <a:pt x="15270" y="4741"/>
                  </a:lnTo>
                  <a:lnTo>
                    <a:pt x="15264" y="4733"/>
                  </a:lnTo>
                  <a:lnTo>
                    <a:pt x="15259" y="4723"/>
                  </a:lnTo>
                  <a:lnTo>
                    <a:pt x="15255" y="4714"/>
                  </a:lnTo>
                  <a:lnTo>
                    <a:pt x="15251" y="4703"/>
                  </a:lnTo>
                  <a:lnTo>
                    <a:pt x="15245" y="4682"/>
                  </a:lnTo>
                  <a:lnTo>
                    <a:pt x="15241" y="4662"/>
                  </a:lnTo>
                  <a:lnTo>
                    <a:pt x="15237" y="4644"/>
                  </a:lnTo>
                  <a:lnTo>
                    <a:pt x="15233" y="4626"/>
                  </a:lnTo>
                  <a:lnTo>
                    <a:pt x="15229" y="4608"/>
                  </a:lnTo>
                  <a:lnTo>
                    <a:pt x="15225" y="4590"/>
                  </a:lnTo>
                  <a:lnTo>
                    <a:pt x="15219" y="4571"/>
                  </a:lnTo>
                  <a:lnTo>
                    <a:pt x="15211" y="4552"/>
                  </a:lnTo>
                  <a:lnTo>
                    <a:pt x="15208" y="4547"/>
                  </a:lnTo>
                  <a:lnTo>
                    <a:pt x="15205" y="4542"/>
                  </a:lnTo>
                  <a:lnTo>
                    <a:pt x="15200" y="4538"/>
                  </a:lnTo>
                  <a:lnTo>
                    <a:pt x="15196" y="4535"/>
                  </a:lnTo>
                  <a:lnTo>
                    <a:pt x="15186" y="4530"/>
                  </a:lnTo>
                  <a:lnTo>
                    <a:pt x="15176" y="4527"/>
                  </a:lnTo>
                  <a:lnTo>
                    <a:pt x="15164" y="4525"/>
                  </a:lnTo>
                  <a:lnTo>
                    <a:pt x="15153" y="4522"/>
                  </a:lnTo>
                  <a:lnTo>
                    <a:pt x="15147" y="4520"/>
                  </a:lnTo>
                  <a:lnTo>
                    <a:pt x="15142" y="4518"/>
                  </a:lnTo>
                  <a:lnTo>
                    <a:pt x="15136" y="4515"/>
                  </a:lnTo>
                  <a:lnTo>
                    <a:pt x="15130" y="4512"/>
                  </a:lnTo>
                  <a:lnTo>
                    <a:pt x="15134" y="4502"/>
                  </a:lnTo>
                  <a:lnTo>
                    <a:pt x="15141" y="4495"/>
                  </a:lnTo>
                  <a:lnTo>
                    <a:pt x="15147" y="4488"/>
                  </a:lnTo>
                  <a:lnTo>
                    <a:pt x="15153" y="4482"/>
                  </a:lnTo>
                  <a:lnTo>
                    <a:pt x="15167" y="4470"/>
                  </a:lnTo>
                  <a:lnTo>
                    <a:pt x="15183" y="4461"/>
                  </a:lnTo>
                  <a:lnTo>
                    <a:pt x="15190" y="4456"/>
                  </a:lnTo>
                  <a:lnTo>
                    <a:pt x="15197" y="4451"/>
                  </a:lnTo>
                  <a:lnTo>
                    <a:pt x="15204" y="4444"/>
                  </a:lnTo>
                  <a:lnTo>
                    <a:pt x="15209" y="4438"/>
                  </a:lnTo>
                  <a:lnTo>
                    <a:pt x="15214" y="4432"/>
                  </a:lnTo>
                  <a:lnTo>
                    <a:pt x="15217" y="4424"/>
                  </a:lnTo>
                  <a:lnTo>
                    <a:pt x="15219" y="4416"/>
                  </a:lnTo>
                  <a:lnTo>
                    <a:pt x="15220" y="4406"/>
                  </a:lnTo>
                  <a:lnTo>
                    <a:pt x="15219" y="4398"/>
                  </a:lnTo>
                  <a:lnTo>
                    <a:pt x="15218" y="4390"/>
                  </a:lnTo>
                  <a:lnTo>
                    <a:pt x="15216" y="4383"/>
                  </a:lnTo>
                  <a:lnTo>
                    <a:pt x="15213" y="4374"/>
                  </a:lnTo>
                  <a:lnTo>
                    <a:pt x="15203" y="4374"/>
                  </a:lnTo>
                  <a:lnTo>
                    <a:pt x="15192" y="4375"/>
                  </a:lnTo>
                  <a:lnTo>
                    <a:pt x="15183" y="4376"/>
                  </a:lnTo>
                  <a:lnTo>
                    <a:pt x="15173" y="4377"/>
                  </a:lnTo>
                  <a:lnTo>
                    <a:pt x="15161" y="4375"/>
                  </a:lnTo>
                  <a:lnTo>
                    <a:pt x="15151" y="4373"/>
                  </a:lnTo>
                  <a:lnTo>
                    <a:pt x="15142" y="4371"/>
                  </a:lnTo>
                  <a:lnTo>
                    <a:pt x="15130" y="4370"/>
                  </a:lnTo>
                  <a:lnTo>
                    <a:pt x="15125" y="4370"/>
                  </a:lnTo>
                  <a:lnTo>
                    <a:pt x="15121" y="4371"/>
                  </a:lnTo>
                  <a:lnTo>
                    <a:pt x="15118" y="4373"/>
                  </a:lnTo>
                  <a:lnTo>
                    <a:pt x="15115" y="4376"/>
                  </a:lnTo>
                  <a:lnTo>
                    <a:pt x="15110" y="4383"/>
                  </a:lnTo>
                  <a:lnTo>
                    <a:pt x="15107" y="4391"/>
                  </a:lnTo>
                  <a:lnTo>
                    <a:pt x="15101" y="4410"/>
                  </a:lnTo>
                  <a:lnTo>
                    <a:pt x="15095" y="4431"/>
                  </a:lnTo>
                  <a:lnTo>
                    <a:pt x="15084" y="4459"/>
                  </a:lnTo>
                  <a:lnTo>
                    <a:pt x="15074" y="4484"/>
                  </a:lnTo>
                  <a:lnTo>
                    <a:pt x="15067" y="4495"/>
                  </a:lnTo>
                  <a:lnTo>
                    <a:pt x="15060" y="4506"/>
                  </a:lnTo>
                  <a:lnTo>
                    <a:pt x="15051" y="4516"/>
                  </a:lnTo>
                  <a:lnTo>
                    <a:pt x="15039" y="4526"/>
                  </a:lnTo>
                  <a:lnTo>
                    <a:pt x="15033" y="4521"/>
                  </a:lnTo>
                  <a:lnTo>
                    <a:pt x="15030" y="4517"/>
                  </a:lnTo>
                  <a:lnTo>
                    <a:pt x="15027" y="4511"/>
                  </a:lnTo>
                  <a:lnTo>
                    <a:pt x="15027" y="4504"/>
                  </a:lnTo>
                  <a:lnTo>
                    <a:pt x="15027" y="4496"/>
                  </a:lnTo>
                  <a:lnTo>
                    <a:pt x="15028" y="4489"/>
                  </a:lnTo>
                  <a:lnTo>
                    <a:pt x="15028" y="4482"/>
                  </a:lnTo>
                  <a:lnTo>
                    <a:pt x="15029" y="4473"/>
                  </a:lnTo>
                  <a:lnTo>
                    <a:pt x="15025" y="4459"/>
                  </a:lnTo>
                  <a:lnTo>
                    <a:pt x="15022" y="4445"/>
                  </a:lnTo>
                  <a:lnTo>
                    <a:pt x="15023" y="4425"/>
                  </a:lnTo>
                  <a:lnTo>
                    <a:pt x="15025" y="4403"/>
                  </a:lnTo>
                  <a:lnTo>
                    <a:pt x="15029" y="4383"/>
                  </a:lnTo>
                  <a:lnTo>
                    <a:pt x="15034" y="4363"/>
                  </a:lnTo>
                  <a:lnTo>
                    <a:pt x="15041" y="4343"/>
                  </a:lnTo>
                  <a:lnTo>
                    <a:pt x="15049" y="4325"/>
                  </a:lnTo>
                  <a:lnTo>
                    <a:pt x="15059" y="4307"/>
                  </a:lnTo>
                  <a:lnTo>
                    <a:pt x="15070" y="4292"/>
                  </a:lnTo>
                  <a:lnTo>
                    <a:pt x="15082" y="4276"/>
                  </a:lnTo>
                  <a:lnTo>
                    <a:pt x="15095" y="4263"/>
                  </a:lnTo>
                  <a:lnTo>
                    <a:pt x="15103" y="4257"/>
                  </a:lnTo>
                  <a:lnTo>
                    <a:pt x="15110" y="4250"/>
                  </a:lnTo>
                  <a:lnTo>
                    <a:pt x="15118" y="4245"/>
                  </a:lnTo>
                  <a:lnTo>
                    <a:pt x="15126" y="4240"/>
                  </a:lnTo>
                  <a:lnTo>
                    <a:pt x="15134" y="4236"/>
                  </a:lnTo>
                  <a:lnTo>
                    <a:pt x="15143" y="4232"/>
                  </a:lnTo>
                  <a:lnTo>
                    <a:pt x="15152" y="4229"/>
                  </a:lnTo>
                  <a:lnTo>
                    <a:pt x="15161" y="4227"/>
                  </a:lnTo>
                  <a:lnTo>
                    <a:pt x="15171" y="4223"/>
                  </a:lnTo>
                  <a:lnTo>
                    <a:pt x="15181" y="4222"/>
                  </a:lnTo>
                  <a:lnTo>
                    <a:pt x="15191" y="4221"/>
                  </a:lnTo>
                  <a:lnTo>
                    <a:pt x="15202" y="4221"/>
                  </a:lnTo>
                  <a:lnTo>
                    <a:pt x="15216" y="4221"/>
                  </a:lnTo>
                  <a:lnTo>
                    <a:pt x="15228" y="4223"/>
                  </a:lnTo>
                  <a:lnTo>
                    <a:pt x="15241" y="4226"/>
                  </a:lnTo>
                  <a:lnTo>
                    <a:pt x="15255" y="4226"/>
                  </a:lnTo>
                  <a:lnTo>
                    <a:pt x="15262" y="4226"/>
                  </a:lnTo>
                  <a:lnTo>
                    <a:pt x="15269" y="4225"/>
                  </a:lnTo>
                  <a:lnTo>
                    <a:pt x="15275" y="4222"/>
                  </a:lnTo>
                  <a:lnTo>
                    <a:pt x="15280" y="4220"/>
                  </a:lnTo>
                  <a:lnTo>
                    <a:pt x="15286" y="4217"/>
                  </a:lnTo>
                  <a:lnTo>
                    <a:pt x="15291" y="4214"/>
                  </a:lnTo>
                  <a:lnTo>
                    <a:pt x="15296" y="4211"/>
                  </a:lnTo>
                  <a:lnTo>
                    <a:pt x="15301" y="4206"/>
                  </a:lnTo>
                  <a:lnTo>
                    <a:pt x="15305" y="4202"/>
                  </a:lnTo>
                  <a:lnTo>
                    <a:pt x="15309" y="4197"/>
                  </a:lnTo>
                  <a:lnTo>
                    <a:pt x="15312" y="4191"/>
                  </a:lnTo>
                  <a:lnTo>
                    <a:pt x="15314" y="4185"/>
                  </a:lnTo>
                  <a:lnTo>
                    <a:pt x="15316" y="4179"/>
                  </a:lnTo>
                  <a:lnTo>
                    <a:pt x="15318" y="4173"/>
                  </a:lnTo>
                  <a:lnTo>
                    <a:pt x="15319" y="4167"/>
                  </a:lnTo>
                  <a:lnTo>
                    <a:pt x="15319" y="4160"/>
                  </a:lnTo>
                  <a:lnTo>
                    <a:pt x="15318" y="4147"/>
                  </a:lnTo>
                  <a:lnTo>
                    <a:pt x="15317" y="4134"/>
                  </a:lnTo>
                  <a:lnTo>
                    <a:pt x="15312" y="4091"/>
                  </a:lnTo>
                  <a:lnTo>
                    <a:pt x="15290" y="4095"/>
                  </a:lnTo>
                  <a:lnTo>
                    <a:pt x="15270" y="4101"/>
                  </a:lnTo>
                  <a:lnTo>
                    <a:pt x="15251" y="4106"/>
                  </a:lnTo>
                  <a:lnTo>
                    <a:pt x="15233" y="4110"/>
                  </a:lnTo>
                  <a:lnTo>
                    <a:pt x="15215" y="4115"/>
                  </a:lnTo>
                  <a:lnTo>
                    <a:pt x="15196" y="4118"/>
                  </a:lnTo>
                  <a:lnTo>
                    <a:pt x="15176" y="4121"/>
                  </a:lnTo>
                  <a:lnTo>
                    <a:pt x="15154" y="4122"/>
                  </a:lnTo>
                  <a:lnTo>
                    <a:pt x="15139" y="4121"/>
                  </a:lnTo>
                  <a:lnTo>
                    <a:pt x="15124" y="4120"/>
                  </a:lnTo>
                  <a:lnTo>
                    <a:pt x="15118" y="4118"/>
                  </a:lnTo>
                  <a:lnTo>
                    <a:pt x="15112" y="4116"/>
                  </a:lnTo>
                  <a:lnTo>
                    <a:pt x="15106" y="4112"/>
                  </a:lnTo>
                  <a:lnTo>
                    <a:pt x="15099" y="4108"/>
                  </a:lnTo>
                  <a:lnTo>
                    <a:pt x="15094" y="4101"/>
                  </a:lnTo>
                  <a:lnTo>
                    <a:pt x="15090" y="4093"/>
                  </a:lnTo>
                  <a:lnTo>
                    <a:pt x="15087" y="4086"/>
                  </a:lnTo>
                  <a:lnTo>
                    <a:pt x="15084" y="4078"/>
                  </a:lnTo>
                  <a:lnTo>
                    <a:pt x="15082" y="4071"/>
                  </a:lnTo>
                  <a:lnTo>
                    <a:pt x="15079" y="4063"/>
                  </a:lnTo>
                  <a:lnTo>
                    <a:pt x="15076" y="4059"/>
                  </a:lnTo>
                  <a:lnTo>
                    <a:pt x="15074" y="4056"/>
                  </a:lnTo>
                  <a:lnTo>
                    <a:pt x="15071" y="4054"/>
                  </a:lnTo>
                  <a:lnTo>
                    <a:pt x="15066" y="4051"/>
                  </a:lnTo>
                  <a:lnTo>
                    <a:pt x="15038" y="4035"/>
                  </a:lnTo>
                  <a:lnTo>
                    <a:pt x="15010" y="4019"/>
                  </a:lnTo>
                  <a:lnTo>
                    <a:pt x="15005" y="4015"/>
                  </a:lnTo>
                  <a:lnTo>
                    <a:pt x="14998" y="4010"/>
                  </a:lnTo>
                  <a:lnTo>
                    <a:pt x="14994" y="4005"/>
                  </a:lnTo>
                  <a:lnTo>
                    <a:pt x="14990" y="3999"/>
                  </a:lnTo>
                  <a:lnTo>
                    <a:pt x="14987" y="3993"/>
                  </a:lnTo>
                  <a:lnTo>
                    <a:pt x="14984" y="3986"/>
                  </a:lnTo>
                  <a:lnTo>
                    <a:pt x="14983" y="3979"/>
                  </a:lnTo>
                  <a:lnTo>
                    <a:pt x="14982" y="3970"/>
                  </a:lnTo>
                  <a:lnTo>
                    <a:pt x="14982" y="3966"/>
                  </a:lnTo>
                  <a:lnTo>
                    <a:pt x="14984" y="3962"/>
                  </a:lnTo>
                  <a:lnTo>
                    <a:pt x="14986" y="3959"/>
                  </a:lnTo>
                  <a:lnTo>
                    <a:pt x="14988" y="3957"/>
                  </a:lnTo>
                  <a:lnTo>
                    <a:pt x="14994" y="3953"/>
                  </a:lnTo>
                  <a:lnTo>
                    <a:pt x="15004" y="3951"/>
                  </a:lnTo>
                  <a:lnTo>
                    <a:pt x="15013" y="3949"/>
                  </a:lnTo>
                  <a:lnTo>
                    <a:pt x="15022" y="3947"/>
                  </a:lnTo>
                  <a:lnTo>
                    <a:pt x="15032" y="3945"/>
                  </a:lnTo>
                  <a:lnTo>
                    <a:pt x="15041" y="3941"/>
                  </a:lnTo>
                  <a:lnTo>
                    <a:pt x="15067" y="3923"/>
                  </a:lnTo>
                  <a:lnTo>
                    <a:pt x="15092" y="3906"/>
                  </a:lnTo>
                  <a:lnTo>
                    <a:pt x="15104" y="3900"/>
                  </a:lnTo>
                  <a:lnTo>
                    <a:pt x="15117" y="3895"/>
                  </a:lnTo>
                  <a:lnTo>
                    <a:pt x="15124" y="3893"/>
                  </a:lnTo>
                  <a:lnTo>
                    <a:pt x="15131" y="3892"/>
                  </a:lnTo>
                  <a:lnTo>
                    <a:pt x="15139" y="3891"/>
                  </a:lnTo>
                  <a:lnTo>
                    <a:pt x="15147" y="3891"/>
                  </a:lnTo>
                  <a:lnTo>
                    <a:pt x="15162" y="3895"/>
                  </a:lnTo>
                  <a:lnTo>
                    <a:pt x="15178" y="3900"/>
                  </a:lnTo>
                  <a:lnTo>
                    <a:pt x="15183" y="3899"/>
                  </a:lnTo>
                  <a:lnTo>
                    <a:pt x="15187" y="3896"/>
                  </a:lnTo>
                  <a:lnTo>
                    <a:pt x="15190" y="3892"/>
                  </a:lnTo>
                  <a:lnTo>
                    <a:pt x="15193" y="3888"/>
                  </a:lnTo>
                  <a:lnTo>
                    <a:pt x="15194" y="3882"/>
                  </a:lnTo>
                  <a:lnTo>
                    <a:pt x="15195" y="3875"/>
                  </a:lnTo>
                  <a:lnTo>
                    <a:pt x="15196" y="3869"/>
                  </a:lnTo>
                  <a:lnTo>
                    <a:pt x="15196" y="3863"/>
                  </a:lnTo>
                  <a:lnTo>
                    <a:pt x="15196" y="3812"/>
                  </a:lnTo>
                  <a:lnTo>
                    <a:pt x="15196" y="3805"/>
                  </a:lnTo>
                  <a:lnTo>
                    <a:pt x="15198" y="3800"/>
                  </a:lnTo>
                  <a:lnTo>
                    <a:pt x="15199" y="3795"/>
                  </a:lnTo>
                  <a:lnTo>
                    <a:pt x="15202" y="3790"/>
                  </a:lnTo>
                  <a:lnTo>
                    <a:pt x="15208" y="3780"/>
                  </a:lnTo>
                  <a:lnTo>
                    <a:pt x="15216" y="3772"/>
                  </a:lnTo>
                  <a:lnTo>
                    <a:pt x="15224" y="3765"/>
                  </a:lnTo>
                  <a:lnTo>
                    <a:pt x="15232" y="3757"/>
                  </a:lnTo>
                  <a:lnTo>
                    <a:pt x="15241" y="3747"/>
                  </a:lnTo>
                  <a:lnTo>
                    <a:pt x="15248" y="3737"/>
                  </a:lnTo>
                  <a:lnTo>
                    <a:pt x="15271" y="3700"/>
                  </a:lnTo>
                  <a:lnTo>
                    <a:pt x="15290" y="3667"/>
                  </a:lnTo>
                  <a:lnTo>
                    <a:pt x="15310" y="3634"/>
                  </a:lnTo>
                  <a:lnTo>
                    <a:pt x="15330" y="3596"/>
                  </a:lnTo>
                  <a:lnTo>
                    <a:pt x="15335" y="3590"/>
                  </a:lnTo>
                  <a:lnTo>
                    <a:pt x="15338" y="3586"/>
                  </a:lnTo>
                  <a:lnTo>
                    <a:pt x="15342" y="3582"/>
                  </a:lnTo>
                  <a:lnTo>
                    <a:pt x="15347" y="3578"/>
                  </a:lnTo>
                  <a:lnTo>
                    <a:pt x="15356" y="3571"/>
                  </a:lnTo>
                  <a:lnTo>
                    <a:pt x="15365" y="3566"/>
                  </a:lnTo>
                  <a:lnTo>
                    <a:pt x="15374" y="3558"/>
                  </a:lnTo>
                  <a:lnTo>
                    <a:pt x="15381" y="3551"/>
                  </a:lnTo>
                  <a:lnTo>
                    <a:pt x="15384" y="3547"/>
                  </a:lnTo>
                  <a:lnTo>
                    <a:pt x="15386" y="3543"/>
                  </a:lnTo>
                  <a:lnTo>
                    <a:pt x="15387" y="3538"/>
                  </a:lnTo>
                  <a:lnTo>
                    <a:pt x="15387" y="3532"/>
                  </a:lnTo>
                  <a:lnTo>
                    <a:pt x="15387" y="3526"/>
                  </a:lnTo>
                  <a:lnTo>
                    <a:pt x="15386" y="3522"/>
                  </a:lnTo>
                  <a:lnTo>
                    <a:pt x="15385" y="3517"/>
                  </a:lnTo>
                  <a:lnTo>
                    <a:pt x="15383" y="3514"/>
                  </a:lnTo>
                  <a:lnTo>
                    <a:pt x="15378" y="3506"/>
                  </a:lnTo>
                  <a:lnTo>
                    <a:pt x="15372" y="3500"/>
                  </a:lnTo>
                  <a:lnTo>
                    <a:pt x="15356" y="3487"/>
                  </a:lnTo>
                  <a:lnTo>
                    <a:pt x="15341" y="3475"/>
                  </a:lnTo>
                  <a:lnTo>
                    <a:pt x="15322" y="3457"/>
                  </a:lnTo>
                  <a:lnTo>
                    <a:pt x="15307" y="3440"/>
                  </a:lnTo>
                  <a:lnTo>
                    <a:pt x="15299" y="3431"/>
                  </a:lnTo>
                  <a:lnTo>
                    <a:pt x="15291" y="3423"/>
                  </a:lnTo>
                  <a:lnTo>
                    <a:pt x="15282" y="3415"/>
                  </a:lnTo>
                  <a:lnTo>
                    <a:pt x="15272" y="3407"/>
                  </a:lnTo>
                  <a:lnTo>
                    <a:pt x="15259" y="3397"/>
                  </a:lnTo>
                  <a:lnTo>
                    <a:pt x="15248" y="3389"/>
                  </a:lnTo>
                  <a:lnTo>
                    <a:pt x="15238" y="3380"/>
                  </a:lnTo>
                  <a:lnTo>
                    <a:pt x="15227" y="3371"/>
                  </a:lnTo>
                  <a:lnTo>
                    <a:pt x="15223" y="3365"/>
                  </a:lnTo>
                  <a:lnTo>
                    <a:pt x="15220" y="3360"/>
                  </a:lnTo>
                  <a:lnTo>
                    <a:pt x="15216" y="3355"/>
                  </a:lnTo>
                  <a:lnTo>
                    <a:pt x="15214" y="3349"/>
                  </a:lnTo>
                  <a:lnTo>
                    <a:pt x="15212" y="3343"/>
                  </a:lnTo>
                  <a:lnTo>
                    <a:pt x="15210" y="3336"/>
                  </a:lnTo>
                  <a:lnTo>
                    <a:pt x="15209" y="3329"/>
                  </a:lnTo>
                  <a:lnTo>
                    <a:pt x="15209" y="3322"/>
                  </a:lnTo>
                  <a:lnTo>
                    <a:pt x="15209" y="3311"/>
                  </a:lnTo>
                  <a:lnTo>
                    <a:pt x="15211" y="3301"/>
                  </a:lnTo>
                  <a:lnTo>
                    <a:pt x="15214" y="3292"/>
                  </a:lnTo>
                  <a:lnTo>
                    <a:pt x="15218" y="3284"/>
                  </a:lnTo>
                  <a:lnTo>
                    <a:pt x="15222" y="3276"/>
                  </a:lnTo>
                  <a:lnTo>
                    <a:pt x="15228" y="3268"/>
                  </a:lnTo>
                  <a:lnTo>
                    <a:pt x="15235" y="3261"/>
                  </a:lnTo>
                  <a:lnTo>
                    <a:pt x="15242" y="3255"/>
                  </a:lnTo>
                  <a:lnTo>
                    <a:pt x="15274" y="3230"/>
                  </a:lnTo>
                  <a:lnTo>
                    <a:pt x="15308" y="3201"/>
                  </a:lnTo>
                  <a:lnTo>
                    <a:pt x="15310" y="3190"/>
                  </a:lnTo>
                  <a:lnTo>
                    <a:pt x="15282" y="3188"/>
                  </a:lnTo>
                  <a:lnTo>
                    <a:pt x="15256" y="3185"/>
                  </a:lnTo>
                  <a:lnTo>
                    <a:pt x="15231" y="3184"/>
                  </a:lnTo>
                  <a:lnTo>
                    <a:pt x="15204" y="3183"/>
                  </a:lnTo>
                  <a:lnTo>
                    <a:pt x="15190" y="3183"/>
                  </a:lnTo>
                  <a:lnTo>
                    <a:pt x="15179" y="3184"/>
                  </a:lnTo>
                  <a:lnTo>
                    <a:pt x="15167" y="3185"/>
                  </a:lnTo>
                  <a:lnTo>
                    <a:pt x="15157" y="3187"/>
                  </a:lnTo>
                  <a:lnTo>
                    <a:pt x="15136" y="3193"/>
                  </a:lnTo>
                  <a:lnTo>
                    <a:pt x="15112" y="3201"/>
                  </a:lnTo>
                  <a:lnTo>
                    <a:pt x="15100" y="3216"/>
                  </a:lnTo>
                  <a:lnTo>
                    <a:pt x="15090" y="3228"/>
                  </a:lnTo>
                  <a:lnTo>
                    <a:pt x="15080" y="3239"/>
                  </a:lnTo>
                  <a:lnTo>
                    <a:pt x="15067" y="3249"/>
                  </a:lnTo>
                  <a:lnTo>
                    <a:pt x="15061" y="3253"/>
                  </a:lnTo>
                  <a:lnTo>
                    <a:pt x="15055" y="3257"/>
                  </a:lnTo>
                  <a:lnTo>
                    <a:pt x="15049" y="3260"/>
                  </a:lnTo>
                  <a:lnTo>
                    <a:pt x="15042" y="3262"/>
                  </a:lnTo>
                  <a:lnTo>
                    <a:pt x="15034" y="3264"/>
                  </a:lnTo>
                  <a:lnTo>
                    <a:pt x="15026" y="3266"/>
                  </a:lnTo>
                  <a:lnTo>
                    <a:pt x="15018" y="3267"/>
                  </a:lnTo>
                  <a:lnTo>
                    <a:pt x="15009" y="3267"/>
                  </a:lnTo>
                  <a:lnTo>
                    <a:pt x="15001" y="3267"/>
                  </a:lnTo>
                  <a:lnTo>
                    <a:pt x="14995" y="3266"/>
                  </a:lnTo>
                  <a:lnTo>
                    <a:pt x="14988" y="3265"/>
                  </a:lnTo>
                  <a:lnTo>
                    <a:pt x="14982" y="3263"/>
                  </a:lnTo>
                  <a:lnTo>
                    <a:pt x="14971" y="3258"/>
                  </a:lnTo>
                  <a:lnTo>
                    <a:pt x="14960" y="3252"/>
                  </a:lnTo>
                  <a:lnTo>
                    <a:pt x="14950" y="3245"/>
                  </a:lnTo>
                  <a:lnTo>
                    <a:pt x="14939" y="3237"/>
                  </a:lnTo>
                  <a:lnTo>
                    <a:pt x="14927" y="3231"/>
                  </a:lnTo>
                  <a:lnTo>
                    <a:pt x="14914" y="3225"/>
                  </a:lnTo>
                  <a:lnTo>
                    <a:pt x="14887" y="3218"/>
                  </a:lnTo>
                  <a:lnTo>
                    <a:pt x="14862" y="3210"/>
                  </a:lnTo>
                  <a:lnTo>
                    <a:pt x="14852" y="3206"/>
                  </a:lnTo>
                  <a:lnTo>
                    <a:pt x="14842" y="3200"/>
                  </a:lnTo>
                  <a:lnTo>
                    <a:pt x="14837" y="3196"/>
                  </a:lnTo>
                  <a:lnTo>
                    <a:pt x="14833" y="3191"/>
                  </a:lnTo>
                  <a:lnTo>
                    <a:pt x="14829" y="3186"/>
                  </a:lnTo>
                  <a:lnTo>
                    <a:pt x="14826" y="3181"/>
                  </a:lnTo>
                  <a:lnTo>
                    <a:pt x="14823" y="3173"/>
                  </a:lnTo>
                  <a:lnTo>
                    <a:pt x="14821" y="3166"/>
                  </a:lnTo>
                  <a:lnTo>
                    <a:pt x="14820" y="3160"/>
                  </a:lnTo>
                  <a:lnTo>
                    <a:pt x="14819" y="3153"/>
                  </a:lnTo>
                  <a:lnTo>
                    <a:pt x="14818" y="3140"/>
                  </a:lnTo>
                  <a:lnTo>
                    <a:pt x="14818" y="3127"/>
                  </a:lnTo>
                  <a:lnTo>
                    <a:pt x="14817" y="3114"/>
                  </a:lnTo>
                  <a:lnTo>
                    <a:pt x="14815" y="3102"/>
                  </a:lnTo>
                  <a:lnTo>
                    <a:pt x="14813" y="3096"/>
                  </a:lnTo>
                  <a:lnTo>
                    <a:pt x="14811" y="3091"/>
                  </a:lnTo>
                  <a:lnTo>
                    <a:pt x="14807" y="3084"/>
                  </a:lnTo>
                  <a:lnTo>
                    <a:pt x="14802" y="3078"/>
                  </a:lnTo>
                  <a:lnTo>
                    <a:pt x="14797" y="3073"/>
                  </a:lnTo>
                  <a:lnTo>
                    <a:pt x="14790" y="3069"/>
                  </a:lnTo>
                  <a:lnTo>
                    <a:pt x="14784" y="3066"/>
                  </a:lnTo>
                  <a:lnTo>
                    <a:pt x="14776" y="3065"/>
                  </a:lnTo>
                  <a:lnTo>
                    <a:pt x="14760" y="3064"/>
                  </a:lnTo>
                  <a:lnTo>
                    <a:pt x="14743" y="3065"/>
                  </a:lnTo>
                  <a:lnTo>
                    <a:pt x="14727" y="3065"/>
                  </a:lnTo>
                  <a:lnTo>
                    <a:pt x="14713" y="3067"/>
                  </a:lnTo>
                  <a:lnTo>
                    <a:pt x="14699" y="3070"/>
                  </a:lnTo>
                  <a:lnTo>
                    <a:pt x="14687" y="3074"/>
                  </a:lnTo>
                  <a:lnTo>
                    <a:pt x="14674" y="3077"/>
                  </a:lnTo>
                  <a:lnTo>
                    <a:pt x="14660" y="3080"/>
                  </a:lnTo>
                  <a:lnTo>
                    <a:pt x="14647" y="3082"/>
                  </a:lnTo>
                  <a:lnTo>
                    <a:pt x="14630" y="3083"/>
                  </a:lnTo>
                  <a:lnTo>
                    <a:pt x="14622" y="3082"/>
                  </a:lnTo>
                  <a:lnTo>
                    <a:pt x="14615" y="3080"/>
                  </a:lnTo>
                  <a:lnTo>
                    <a:pt x="14609" y="3078"/>
                  </a:lnTo>
                  <a:lnTo>
                    <a:pt x="14601" y="3074"/>
                  </a:lnTo>
                  <a:lnTo>
                    <a:pt x="14589" y="3067"/>
                  </a:lnTo>
                  <a:lnTo>
                    <a:pt x="14575" y="3060"/>
                  </a:lnTo>
                  <a:lnTo>
                    <a:pt x="14566" y="3058"/>
                  </a:lnTo>
                  <a:lnTo>
                    <a:pt x="14558" y="3056"/>
                  </a:lnTo>
                  <a:lnTo>
                    <a:pt x="14551" y="3056"/>
                  </a:lnTo>
                  <a:lnTo>
                    <a:pt x="14543" y="3055"/>
                  </a:lnTo>
                  <a:lnTo>
                    <a:pt x="14535" y="3055"/>
                  </a:lnTo>
                  <a:lnTo>
                    <a:pt x="14528" y="3053"/>
                  </a:lnTo>
                  <a:lnTo>
                    <a:pt x="14521" y="3051"/>
                  </a:lnTo>
                  <a:lnTo>
                    <a:pt x="14513" y="3048"/>
                  </a:lnTo>
                  <a:lnTo>
                    <a:pt x="14505" y="3043"/>
                  </a:lnTo>
                  <a:lnTo>
                    <a:pt x="14500" y="3037"/>
                  </a:lnTo>
                  <a:lnTo>
                    <a:pt x="14495" y="3031"/>
                  </a:lnTo>
                  <a:lnTo>
                    <a:pt x="14492" y="3024"/>
                  </a:lnTo>
                  <a:lnTo>
                    <a:pt x="14486" y="3008"/>
                  </a:lnTo>
                  <a:lnTo>
                    <a:pt x="14480" y="2992"/>
                  </a:lnTo>
                  <a:lnTo>
                    <a:pt x="14470" y="2971"/>
                  </a:lnTo>
                  <a:lnTo>
                    <a:pt x="14462" y="2953"/>
                  </a:lnTo>
                  <a:lnTo>
                    <a:pt x="14459" y="2944"/>
                  </a:lnTo>
                  <a:lnTo>
                    <a:pt x="14456" y="2935"/>
                  </a:lnTo>
                  <a:lnTo>
                    <a:pt x="14455" y="2924"/>
                  </a:lnTo>
                  <a:lnTo>
                    <a:pt x="14454" y="2913"/>
                  </a:lnTo>
                  <a:lnTo>
                    <a:pt x="14435" y="2912"/>
                  </a:lnTo>
                  <a:lnTo>
                    <a:pt x="14420" y="2911"/>
                  </a:lnTo>
                  <a:lnTo>
                    <a:pt x="14403" y="2910"/>
                  </a:lnTo>
                  <a:lnTo>
                    <a:pt x="14386" y="2906"/>
                  </a:lnTo>
                  <a:lnTo>
                    <a:pt x="14382" y="2922"/>
                  </a:lnTo>
                  <a:lnTo>
                    <a:pt x="14378" y="2936"/>
                  </a:lnTo>
                  <a:lnTo>
                    <a:pt x="14374" y="2942"/>
                  </a:lnTo>
                  <a:lnTo>
                    <a:pt x="14373" y="2949"/>
                  </a:lnTo>
                  <a:lnTo>
                    <a:pt x="14371" y="2956"/>
                  </a:lnTo>
                  <a:lnTo>
                    <a:pt x="14371" y="2966"/>
                  </a:lnTo>
                  <a:lnTo>
                    <a:pt x="14371" y="2970"/>
                  </a:lnTo>
                  <a:lnTo>
                    <a:pt x="14370" y="2973"/>
                  </a:lnTo>
                  <a:lnTo>
                    <a:pt x="14368" y="2976"/>
                  </a:lnTo>
                  <a:lnTo>
                    <a:pt x="14366" y="2979"/>
                  </a:lnTo>
                  <a:lnTo>
                    <a:pt x="14360" y="2983"/>
                  </a:lnTo>
                  <a:lnTo>
                    <a:pt x="14352" y="2986"/>
                  </a:lnTo>
                  <a:lnTo>
                    <a:pt x="14334" y="2989"/>
                  </a:lnTo>
                  <a:lnTo>
                    <a:pt x="14315" y="2992"/>
                  </a:lnTo>
                  <a:lnTo>
                    <a:pt x="14305" y="2994"/>
                  </a:lnTo>
                  <a:lnTo>
                    <a:pt x="14298" y="2997"/>
                  </a:lnTo>
                  <a:lnTo>
                    <a:pt x="14291" y="3001"/>
                  </a:lnTo>
                  <a:lnTo>
                    <a:pt x="14284" y="3005"/>
                  </a:lnTo>
                  <a:lnTo>
                    <a:pt x="14278" y="3010"/>
                  </a:lnTo>
                  <a:lnTo>
                    <a:pt x="14270" y="3013"/>
                  </a:lnTo>
                  <a:lnTo>
                    <a:pt x="14262" y="3016"/>
                  </a:lnTo>
                  <a:lnTo>
                    <a:pt x="14254" y="3017"/>
                  </a:lnTo>
                  <a:lnTo>
                    <a:pt x="14247" y="3016"/>
                  </a:lnTo>
                  <a:lnTo>
                    <a:pt x="14241" y="3014"/>
                  </a:lnTo>
                  <a:lnTo>
                    <a:pt x="14237" y="3010"/>
                  </a:lnTo>
                  <a:lnTo>
                    <a:pt x="14233" y="3005"/>
                  </a:lnTo>
                  <a:lnTo>
                    <a:pt x="14227" y="2994"/>
                  </a:lnTo>
                  <a:lnTo>
                    <a:pt x="14221" y="2982"/>
                  </a:lnTo>
                  <a:lnTo>
                    <a:pt x="14212" y="2966"/>
                  </a:lnTo>
                  <a:lnTo>
                    <a:pt x="14204" y="2951"/>
                  </a:lnTo>
                  <a:lnTo>
                    <a:pt x="14198" y="2936"/>
                  </a:lnTo>
                  <a:lnTo>
                    <a:pt x="14192" y="2918"/>
                  </a:lnTo>
                  <a:lnTo>
                    <a:pt x="14190" y="2907"/>
                  </a:lnTo>
                  <a:lnTo>
                    <a:pt x="14187" y="2897"/>
                  </a:lnTo>
                  <a:lnTo>
                    <a:pt x="14185" y="2891"/>
                  </a:lnTo>
                  <a:lnTo>
                    <a:pt x="14182" y="2888"/>
                  </a:lnTo>
                  <a:lnTo>
                    <a:pt x="14179" y="2886"/>
                  </a:lnTo>
                  <a:lnTo>
                    <a:pt x="14173" y="2885"/>
                  </a:lnTo>
                  <a:lnTo>
                    <a:pt x="14153" y="2885"/>
                  </a:lnTo>
                  <a:lnTo>
                    <a:pt x="14134" y="2886"/>
                  </a:lnTo>
                  <a:lnTo>
                    <a:pt x="14116" y="2887"/>
                  </a:lnTo>
                  <a:lnTo>
                    <a:pt x="14095" y="2887"/>
                  </a:lnTo>
                  <a:lnTo>
                    <a:pt x="14071" y="2887"/>
                  </a:lnTo>
                  <a:lnTo>
                    <a:pt x="14049" y="2885"/>
                  </a:lnTo>
                  <a:lnTo>
                    <a:pt x="14039" y="2883"/>
                  </a:lnTo>
                  <a:lnTo>
                    <a:pt x="14029" y="2879"/>
                  </a:lnTo>
                  <a:lnTo>
                    <a:pt x="14020" y="2874"/>
                  </a:lnTo>
                  <a:lnTo>
                    <a:pt x="14010" y="2867"/>
                  </a:lnTo>
                  <a:lnTo>
                    <a:pt x="14002" y="2856"/>
                  </a:lnTo>
                  <a:lnTo>
                    <a:pt x="13997" y="2847"/>
                  </a:lnTo>
                  <a:lnTo>
                    <a:pt x="13992" y="2838"/>
                  </a:lnTo>
                  <a:lnTo>
                    <a:pt x="13988" y="2827"/>
                  </a:lnTo>
                  <a:lnTo>
                    <a:pt x="13985" y="2817"/>
                  </a:lnTo>
                  <a:lnTo>
                    <a:pt x="13981" y="2807"/>
                  </a:lnTo>
                  <a:lnTo>
                    <a:pt x="13975" y="2796"/>
                  </a:lnTo>
                  <a:lnTo>
                    <a:pt x="13968" y="2786"/>
                  </a:lnTo>
                  <a:lnTo>
                    <a:pt x="13962" y="2791"/>
                  </a:lnTo>
                  <a:lnTo>
                    <a:pt x="13956" y="2797"/>
                  </a:lnTo>
                  <a:lnTo>
                    <a:pt x="13951" y="2804"/>
                  </a:lnTo>
                  <a:lnTo>
                    <a:pt x="13946" y="2810"/>
                  </a:lnTo>
                  <a:lnTo>
                    <a:pt x="13937" y="2823"/>
                  </a:lnTo>
                  <a:lnTo>
                    <a:pt x="13928" y="2836"/>
                  </a:lnTo>
                  <a:lnTo>
                    <a:pt x="13924" y="2841"/>
                  </a:lnTo>
                  <a:lnTo>
                    <a:pt x="13920" y="2847"/>
                  </a:lnTo>
                  <a:lnTo>
                    <a:pt x="13915" y="2851"/>
                  </a:lnTo>
                  <a:lnTo>
                    <a:pt x="13908" y="2855"/>
                  </a:lnTo>
                  <a:lnTo>
                    <a:pt x="13903" y="2859"/>
                  </a:lnTo>
                  <a:lnTo>
                    <a:pt x="13896" y="2861"/>
                  </a:lnTo>
                  <a:lnTo>
                    <a:pt x="13889" y="2863"/>
                  </a:lnTo>
                  <a:lnTo>
                    <a:pt x="13882" y="2863"/>
                  </a:lnTo>
                  <a:lnTo>
                    <a:pt x="13875" y="2862"/>
                  </a:lnTo>
                  <a:lnTo>
                    <a:pt x="13870" y="2860"/>
                  </a:lnTo>
                  <a:lnTo>
                    <a:pt x="13866" y="2857"/>
                  </a:lnTo>
                  <a:lnTo>
                    <a:pt x="13862" y="2853"/>
                  </a:lnTo>
                  <a:lnTo>
                    <a:pt x="13859" y="2848"/>
                  </a:lnTo>
                  <a:lnTo>
                    <a:pt x="13855" y="2844"/>
                  </a:lnTo>
                  <a:lnTo>
                    <a:pt x="13851" y="2839"/>
                  </a:lnTo>
                  <a:lnTo>
                    <a:pt x="13845" y="2836"/>
                  </a:lnTo>
                  <a:lnTo>
                    <a:pt x="13831" y="2827"/>
                  </a:lnTo>
                  <a:lnTo>
                    <a:pt x="13818" y="2822"/>
                  </a:lnTo>
                  <a:lnTo>
                    <a:pt x="13804" y="2817"/>
                  </a:lnTo>
                  <a:lnTo>
                    <a:pt x="13791" y="2812"/>
                  </a:lnTo>
                  <a:lnTo>
                    <a:pt x="13778" y="2806"/>
                  </a:lnTo>
                  <a:lnTo>
                    <a:pt x="13766" y="2799"/>
                  </a:lnTo>
                  <a:lnTo>
                    <a:pt x="13760" y="2795"/>
                  </a:lnTo>
                  <a:lnTo>
                    <a:pt x="13755" y="2790"/>
                  </a:lnTo>
                  <a:lnTo>
                    <a:pt x="13750" y="2785"/>
                  </a:lnTo>
                  <a:lnTo>
                    <a:pt x="13744" y="2779"/>
                  </a:lnTo>
                  <a:lnTo>
                    <a:pt x="13732" y="2760"/>
                  </a:lnTo>
                  <a:lnTo>
                    <a:pt x="13720" y="2744"/>
                  </a:lnTo>
                  <a:lnTo>
                    <a:pt x="13712" y="2736"/>
                  </a:lnTo>
                  <a:lnTo>
                    <a:pt x="13705" y="2731"/>
                  </a:lnTo>
                  <a:lnTo>
                    <a:pt x="13701" y="2729"/>
                  </a:lnTo>
                  <a:lnTo>
                    <a:pt x="13696" y="2728"/>
                  </a:lnTo>
                  <a:lnTo>
                    <a:pt x="13691" y="2727"/>
                  </a:lnTo>
                  <a:lnTo>
                    <a:pt x="13686" y="2727"/>
                  </a:lnTo>
                  <a:lnTo>
                    <a:pt x="13671" y="2728"/>
                  </a:lnTo>
                  <a:lnTo>
                    <a:pt x="13658" y="2730"/>
                  </a:lnTo>
                  <a:lnTo>
                    <a:pt x="13645" y="2733"/>
                  </a:lnTo>
                  <a:lnTo>
                    <a:pt x="13634" y="2738"/>
                  </a:lnTo>
                  <a:lnTo>
                    <a:pt x="13622" y="2742"/>
                  </a:lnTo>
                  <a:lnTo>
                    <a:pt x="13609" y="2745"/>
                  </a:lnTo>
                  <a:lnTo>
                    <a:pt x="13597" y="2747"/>
                  </a:lnTo>
                  <a:lnTo>
                    <a:pt x="13582" y="2748"/>
                  </a:lnTo>
                  <a:lnTo>
                    <a:pt x="13570" y="2747"/>
                  </a:lnTo>
                  <a:lnTo>
                    <a:pt x="13558" y="2746"/>
                  </a:lnTo>
                  <a:lnTo>
                    <a:pt x="13558" y="2774"/>
                  </a:lnTo>
                  <a:lnTo>
                    <a:pt x="13559" y="2784"/>
                  </a:lnTo>
                  <a:lnTo>
                    <a:pt x="13560" y="2792"/>
                  </a:lnTo>
                  <a:lnTo>
                    <a:pt x="13562" y="2802"/>
                  </a:lnTo>
                  <a:lnTo>
                    <a:pt x="13564" y="2809"/>
                  </a:lnTo>
                  <a:lnTo>
                    <a:pt x="13571" y="2825"/>
                  </a:lnTo>
                  <a:lnTo>
                    <a:pt x="13579" y="2843"/>
                  </a:lnTo>
                  <a:lnTo>
                    <a:pt x="13582" y="2848"/>
                  </a:lnTo>
                  <a:lnTo>
                    <a:pt x="13587" y="2852"/>
                  </a:lnTo>
                  <a:lnTo>
                    <a:pt x="13592" y="2856"/>
                  </a:lnTo>
                  <a:lnTo>
                    <a:pt x="13596" y="2860"/>
                  </a:lnTo>
                  <a:lnTo>
                    <a:pt x="13601" y="2865"/>
                  </a:lnTo>
                  <a:lnTo>
                    <a:pt x="13604" y="2869"/>
                  </a:lnTo>
                  <a:lnTo>
                    <a:pt x="13606" y="2874"/>
                  </a:lnTo>
                  <a:lnTo>
                    <a:pt x="13607" y="2880"/>
                  </a:lnTo>
                  <a:lnTo>
                    <a:pt x="13607" y="2884"/>
                  </a:lnTo>
                  <a:lnTo>
                    <a:pt x="13606" y="2887"/>
                  </a:lnTo>
                  <a:lnTo>
                    <a:pt x="13605" y="2890"/>
                  </a:lnTo>
                  <a:lnTo>
                    <a:pt x="13603" y="2893"/>
                  </a:lnTo>
                  <a:lnTo>
                    <a:pt x="13598" y="2898"/>
                  </a:lnTo>
                  <a:lnTo>
                    <a:pt x="13592" y="2901"/>
                  </a:lnTo>
                  <a:lnTo>
                    <a:pt x="13577" y="2906"/>
                  </a:lnTo>
                  <a:lnTo>
                    <a:pt x="13563" y="2913"/>
                  </a:lnTo>
                  <a:lnTo>
                    <a:pt x="13539" y="2929"/>
                  </a:lnTo>
                  <a:lnTo>
                    <a:pt x="13519" y="2941"/>
                  </a:lnTo>
                  <a:lnTo>
                    <a:pt x="13497" y="2953"/>
                  </a:lnTo>
                  <a:lnTo>
                    <a:pt x="13473" y="2968"/>
                  </a:lnTo>
                  <a:lnTo>
                    <a:pt x="13465" y="2955"/>
                  </a:lnTo>
                  <a:lnTo>
                    <a:pt x="13458" y="2944"/>
                  </a:lnTo>
                  <a:lnTo>
                    <a:pt x="13451" y="2933"/>
                  </a:lnTo>
                  <a:lnTo>
                    <a:pt x="13447" y="2921"/>
                  </a:lnTo>
                  <a:lnTo>
                    <a:pt x="13438" y="2899"/>
                  </a:lnTo>
                  <a:lnTo>
                    <a:pt x="13426" y="2873"/>
                  </a:lnTo>
                  <a:lnTo>
                    <a:pt x="13422" y="2867"/>
                  </a:lnTo>
                  <a:lnTo>
                    <a:pt x="13416" y="2862"/>
                  </a:lnTo>
                  <a:lnTo>
                    <a:pt x="13411" y="2858"/>
                  </a:lnTo>
                  <a:lnTo>
                    <a:pt x="13405" y="2855"/>
                  </a:lnTo>
                  <a:lnTo>
                    <a:pt x="13393" y="2850"/>
                  </a:lnTo>
                  <a:lnTo>
                    <a:pt x="13379" y="2843"/>
                  </a:lnTo>
                  <a:lnTo>
                    <a:pt x="13358" y="2826"/>
                  </a:lnTo>
                  <a:lnTo>
                    <a:pt x="13338" y="2812"/>
                  </a:lnTo>
                  <a:lnTo>
                    <a:pt x="13328" y="2806"/>
                  </a:lnTo>
                  <a:lnTo>
                    <a:pt x="13317" y="2800"/>
                  </a:lnTo>
                  <a:lnTo>
                    <a:pt x="13305" y="2796"/>
                  </a:lnTo>
                  <a:lnTo>
                    <a:pt x="13292" y="2793"/>
                  </a:lnTo>
                  <a:lnTo>
                    <a:pt x="13266" y="2781"/>
                  </a:lnTo>
                  <a:lnTo>
                    <a:pt x="13243" y="2772"/>
                  </a:lnTo>
                  <a:lnTo>
                    <a:pt x="13232" y="2767"/>
                  </a:lnTo>
                  <a:lnTo>
                    <a:pt x="13220" y="2761"/>
                  </a:lnTo>
                  <a:lnTo>
                    <a:pt x="13209" y="2754"/>
                  </a:lnTo>
                  <a:lnTo>
                    <a:pt x="13198" y="2746"/>
                  </a:lnTo>
                  <a:lnTo>
                    <a:pt x="13192" y="2741"/>
                  </a:lnTo>
                  <a:lnTo>
                    <a:pt x="13187" y="2736"/>
                  </a:lnTo>
                  <a:lnTo>
                    <a:pt x="13183" y="2731"/>
                  </a:lnTo>
                  <a:lnTo>
                    <a:pt x="13180" y="2726"/>
                  </a:lnTo>
                  <a:lnTo>
                    <a:pt x="13176" y="2715"/>
                  </a:lnTo>
                  <a:lnTo>
                    <a:pt x="13172" y="2703"/>
                  </a:lnTo>
                  <a:lnTo>
                    <a:pt x="13169" y="2691"/>
                  </a:lnTo>
                  <a:lnTo>
                    <a:pt x="13165" y="2680"/>
                  </a:lnTo>
                  <a:lnTo>
                    <a:pt x="13160" y="2667"/>
                  </a:lnTo>
                  <a:lnTo>
                    <a:pt x="13152" y="2656"/>
                  </a:lnTo>
                  <a:lnTo>
                    <a:pt x="13146" y="2648"/>
                  </a:lnTo>
                  <a:lnTo>
                    <a:pt x="13139" y="2640"/>
                  </a:lnTo>
                  <a:lnTo>
                    <a:pt x="13132" y="2633"/>
                  </a:lnTo>
                  <a:lnTo>
                    <a:pt x="13125" y="2627"/>
                  </a:lnTo>
                  <a:lnTo>
                    <a:pt x="13110" y="2615"/>
                  </a:lnTo>
                  <a:lnTo>
                    <a:pt x="13097" y="2602"/>
                  </a:lnTo>
                  <a:lnTo>
                    <a:pt x="13090" y="2596"/>
                  </a:lnTo>
                  <a:lnTo>
                    <a:pt x="13084" y="2590"/>
                  </a:lnTo>
                  <a:lnTo>
                    <a:pt x="13079" y="2584"/>
                  </a:lnTo>
                  <a:lnTo>
                    <a:pt x="13074" y="2576"/>
                  </a:lnTo>
                  <a:lnTo>
                    <a:pt x="13071" y="2568"/>
                  </a:lnTo>
                  <a:lnTo>
                    <a:pt x="13068" y="2560"/>
                  </a:lnTo>
                  <a:lnTo>
                    <a:pt x="13066" y="2551"/>
                  </a:lnTo>
                  <a:lnTo>
                    <a:pt x="13066" y="2540"/>
                  </a:lnTo>
                  <a:lnTo>
                    <a:pt x="13066" y="2532"/>
                  </a:lnTo>
                  <a:lnTo>
                    <a:pt x="13068" y="2524"/>
                  </a:lnTo>
                  <a:lnTo>
                    <a:pt x="13071" y="2517"/>
                  </a:lnTo>
                  <a:lnTo>
                    <a:pt x="13074" y="2509"/>
                  </a:lnTo>
                  <a:lnTo>
                    <a:pt x="13076" y="2503"/>
                  </a:lnTo>
                  <a:lnTo>
                    <a:pt x="13079" y="2496"/>
                  </a:lnTo>
                  <a:lnTo>
                    <a:pt x="13081" y="2488"/>
                  </a:lnTo>
                  <a:lnTo>
                    <a:pt x="13082" y="2479"/>
                  </a:lnTo>
                  <a:lnTo>
                    <a:pt x="13081" y="2471"/>
                  </a:lnTo>
                  <a:lnTo>
                    <a:pt x="13079" y="2465"/>
                  </a:lnTo>
                  <a:lnTo>
                    <a:pt x="13076" y="2459"/>
                  </a:lnTo>
                  <a:lnTo>
                    <a:pt x="13072" y="2455"/>
                  </a:lnTo>
                  <a:lnTo>
                    <a:pt x="13067" y="2450"/>
                  </a:lnTo>
                  <a:lnTo>
                    <a:pt x="13061" y="2446"/>
                  </a:lnTo>
                  <a:lnTo>
                    <a:pt x="13053" y="2444"/>
                  </a:lnTo>
                  <a:lnTo>
                    <a:pt x="13046" y="2441"/>
                  </a:lnTo>
                  <a:lnTo>
                    <a:pt x="13031" y="2437"/>
                  </a:lnTo>
                  <a:lnTo>
                    <a:pt x="13014" y="2433"/>
                  </a:lnTo>
                  <a:lnTo>
                    <a:pt x="13006" y="2430"/>
                  </a:lnTo>
                  <a:lnTo>
                    <a:pt x="12998" y="2428"/>
                  </a:lnTo>
                  <a:lnTo>
                    <a:pt x="12991" y="2424"/>
                  </a:lnTo>
                  <a:lnTo>
                    <a:pt x="12983" y="2419"/>
                  </a:lnTo>
                  <a:lnTo>
                    <a:pt x="12976" y="2415"/>
                  </a:lnTo>
                  <a:lnTo>
                    <a:pt x="12971" y="2409"/>
                  </a:lnTo>
                  <a:lnTo>
                    <a:pt x="12966" y="2403"/>
                  </a:lnTo>
                  <a:lnTo>
                    <a:pt x="12963" y="2396"/>
                  </a:lnTo>
                  <a:lnTo>
                    <a:pt x="12956" y="2381"/>
                  </a:lnTo>
                  <a:lnTo>
                    <a:pt x="12951" y="2367"/>
                  </a:lnTo>
                  <a:lnTo>
                    <a:pt x="12946" y="2352"/>
                  </a:lnTo>
                  <a:lnTo>
                    <a:pt x="12940" y="2339"/>
                  </a:lnTo>
                  <a:lnTo>
                    <a:pt x="12936" y="2333"/>
                  </a:lnTo>
                  <a:lnTo>
                    <a:pt x="12931" y="2329"/>
                  </a:lnTo>
                  <a:lnTo>
                    <a:pt x="12925" y="2324"/>
                  </a:lnTo>
                  <a:lnTo>
                    <a:pt x="12917" y="2320"/>
                  </a:lnTo>
                  <a:lnTo>
                    <a:pt x="12815" y="2344"/>
                  </a:lnTo>
                  <a:lnTo>
                    <a:pt x="12810" y="2344"/>
                  </a:lnTo>
                  <a:lnTo>
                    <a:pt x="12804" y="2344"/>
                  </a:lnTo>
                  <a:lnTo>
                    <a:pt x="12799" y="2345"/>
                  </a:lnTo>
                  <a:lnTo>
                    <a:pt x="12795" y="2346"/>
                  </a:lnTo>
                  <a:lnTo>
                    <a:pt x="12785" y="2349"/>
                  </a:lnTo>
                  <a:lnTo>
                    <a:pt x="12776" y="2354"/>
                  </a:lnTo>
                  <a:lnTo>
                    <a:pt x="12760" y="2366"/>
                  </a:lnTo>
                  <a:lnTo>
                    <a:pt x="12740" y="2377"/>
                  </a:lnTo>
                  <a:lnTo>
                    <a:pt x="12711" y="2393"/>
                  </a:lnTo>
                  <a:lnTo>
                    <a:pt x="12684" y="2408"/>
                  </a:lnTo>
                  <a:lnTo>
                    <a:pt x="12659" y="2422"/>
                  </a:lnTo>
                  <a:lnTo>
                    <a:pt x="12635" y="2435"/>
                  </a:lnTo>
                  <a:lnTo>
                    <a:pt x="12622" y="2441"/>
                  </a:lnTo>
                  <a:lnTo>
                    <a:pt x="12610" y="2447"/>
                  </a:lnTo>
                  <a:lnTo>
                    <a:pt x="12598" y="2452"/>
                  </a:lnTo>
                  <a:lnTo>
                    <a:pt x="12584" y="2458"/>
                  </a:lnTo>
                  <a:lnTo>
                    <a:pt x="12570" y="2462"/>
                  </a:lnTo>
                  <a:lnTo>
                    <a:pt x="12555" y="2466"/>
                  </a:lnTo>
                  <a:lnTo>
                    <a:pt x="12540" y="2469"/>
                  </a:lnTo>
                  <a:lnTo>
                    <a:pt x="12523" y="2472"/>
                  </a:lnTo>
                  <a:lnTo>
                    <a:pt x="12498" y="2475"/>
                  </a:lnTo>
                  <a:lnTo>
                    <a:pt x="12474" y="2478"/>
                  </a:lnTo>
                  <a:lnTo>
                    <a:pt x="12452" y="2483"/>
                  </a:lnTo>
                  <a:lnTo>
                    <a:pt x="12431" y="2489"/>
                  </a:lnTo>
                  <a:lnTo>
                    <a:pt x="12420" y="2493"/>
                  </a:lnTo>
                  <a:lnTo>
                    <a:pt x="12410" y="2497"/>
                  </a:lnTo>
                  <a:lnTo>
                    <a:pt x="12401" y="2502"/>
                  </a:lnTo>
                  <a:lnTo>
                    <a:pt x="12391" y="2507"/>
                  </a:lnTo>
                  <a:lnTo>
                    <a:pt x="12383" y="2514"/>
                  </a:lnTo>
                  <a:lnTo>
                    <a:pt x="12374" y="2522"/>
                  </a:lnTo>
                  <a:lnTo>
                    <a:pt x="12366" y="2531"/>
                  </a:lnTo>
                  <a:lnTo>
                    <a:pt x="12358" y="2540"/>
                  </a:lnTo>
                  <a:lnTo>
                    <a:pt x="12347" y="2558"/>
                  </a:lnTo>
                  <a:lnTo>
                    <a:pt x="12338" y="2576"/>
                  </a:lnTo>
                  <a:lnTo>
                    <a:pt x="12329" y="2594"/>
                  </a:lnTo>
                  <a:lnTo>
                    <a:pt x="12320" y="2612"/>
                  </a:lnTo>
                  <a:lnTo>
                    <a:pt x="12316" y="2619"/>
                  </a:lnTo>
                  <a:lnTo>
                    <a:pt x="12311" y="2626"/>
                  </a:lnTo>
                  <a:lnTo>
                    <a:pt x="12306" y="2632"/>
                  </a:lnTo>
                  <a:lnTo>
                    <a:pt x="12300" y="2638"/>
                  </a:lnTo>
                  <a:lnTo>
                    <a:pt x="12292" y="2642"/>
                  </a:lnTo>
                  <a:lnTo>
                    <a:pt x="12285" y="2646"/>
                  </a:lnTo>
                  <a:lnTo>
                    <a:pt x="12276" y="2648"/>
                  </a:lnTo>
                  <a:lnTo>
                    <a:pt x="12267" y="2649"/>
                  </a:lnTo>
                  <a:lnTo>
                    <a:pt x="12259" y="2649"/>
                  </a:lnTo>
                  <a:lnTo>
                    <a:pt x="12252" y="2647"/>
                  </a:lnTo>
                  <a:lnTo>
                    <a:pt x="12246" y="2645"/>
                  </a:lnTo>
                  <a:lnTo>
                    <a:pt x="12241" y="2641"/>
                  </a:lnTo>
                  <a:lnTo>
                    <a:pt x="12236" y="2637"/>
                  </a:lnTo>
                  <a:lnTo>
                    <a:pt x="12232" y="2633"/>
                  </a:lnTo>
                  <a:lnTo>
                    <a:pt x="12227" y="2628"/>
                  </a:lnTo>
                  <a:lnTo>
                    <a:pt x="12223" y="2623"/>
                  </a:lnTo>
                  <a:lnTo>
                    <a:pt x="12209" y="2598"/>
                  </a:lnTo>
                  <a:lnTo>
                    <a:pt x="12195" y="2571"/>
                  </a:lnTo>
                  <a:lnTo>
                    <a:pt x="12190" y="2560"/>
                  </a:lnTo>
                  <a:lnTo>
                    <a:pt x="12185" y="2550"/>
                  </a:lnTo>
                  <a:lnTo>
                    <a:pt x="12183" y="2544"/>
                  </a:lnTo>
                  <a:lnTo>
                    <a:pt x="12179" y="2541"/>
                  </a:lnTo>
                  <a:lnTo>
                    <a:pt x="12175" y="2539"/>
                  </a:lnTo>
                  <a:lnTo>
                    <a:pt x="12170" y="2538"/>
                  </a:lnTo>
                  <a:lnTo>
                    <a:pt x="12156" y="2538"/>
                  </a:lnTo>
                  <a:lnTo>
                    <a:pt x="12144" y="2540"/>
                  </a:lnTo>
                  <a:lnTo>
                    <a:pt x="12131" y="2543"/>
                  </a:lnTo>
                  <a:lnTo>
                    <a:pt x="12120" y="2546"/>
                  </a:lnTo>
                  <a:lnTo>
                    <a:pt x="12100" y="2556"/>
                  </a:lnTo>
                  <a:lnTo>
                    <a:pt x="12079" y="2566"/>
                  </a:lnTo>
                  <a:lnTo>
                    <a:pt x="12058" y="2576"/>
                  </a:lnTo>
                  <a:lnTo>
                    <a:pt x="12038" y="2586"/>
                  </a:lnTo>
                  <a:lnTo>
                    <a:pt x="12026" y="2590"/>
                  </a:lnTo>
                  <a:lnTo>
                    <a:pt x="12014" y="2592"/>
                  </a:lnTo>
                  <a:lnTo>
                    <a:pt x="12002" y="2594"/>
                  </a:lnTo>
                  <a:lnTo>
                    <a:pt x="11988" y="2595"/>
                  </a:lnTo>
                  <a:lnTo>
                    <a:pt x="11984" y="2594"/>
                  </a:lnTo>
                  <a:lnTo>
                    <a:pt x="11981" y="2593"/>
                  </a:lnTo>
                  <a:lnTo>
                    <a:pt x="11979" y="2592"/>
                  </a:lnTo>
                  <a:lnTo>
                    <a:pt x="11977" y="2590"/>
                  </a:lnTo>
                  <a:lnTo>
                    <a:pt x="11973" y="2586"/>
                  </a:lnTo>
                  <a:lnTo>
                    <a:pt x="11971" y="2580"/>
                  </a:lnTo>
                  <a:lnTo>
                    <a:pt x="11966" y="2564"/>
                  </a:lnTo>
                  <a:lnTo>
                    <a:pt x="11962" y="2550"/>
                  </a:lnTo>
                  <a:lnTo>
                    <a:pt x="11949" y="2514"/>
                  </a:lnTo>
                  <a:lnTo>
                    <a:pt x="11937" y="2481"/>
                  </a:lnTo>
                  <a:lnTo>
                    <a:pt x="11933" y="2474"/>
                  </a:lnTo>
                  <a:lnTo>
                    <a:pt x="11929" y="2467"/>
                  </a:lnTo>
                  <a:lnTo>
                    <a:pt x="11925" y="2460"/>
                  </a:lnTo>
                  <a:lnTo>
                    <a:pt x="11920" y="2454"/>
                  </a:lnTo>
                  <a:lnTo>
                    <a:pt x="11914" y="2448"/>
                  </a:lnTo>
                  <a:lnTo>
                    <a:pt x="11908" y="2442"/>
                  </a:lnTo>
                  <a:lnTo>
                    <a:pt x="11899" y="2438"/>
                  </a:lnTo>
                  <a:lnTo>
                    <a:pt x="11891" y="2434"/>
                  </a:lnTo>
                  <a:lnTo>
                    <a:pt x="11869" y="2426"/>
                  </a:lnTo>
                  <a:lnTo>
                    <a:pt x="11847" y="2420"/>
                  </a:lnTo>
                  <a:lnTo>
                    <a:pt x="11826" y="2416"/>
                  </a:lnTo>
                  <a:lnTo>
                    <a:pt x="11806" y="2414"/>
                  </a:lnTo>
                  <a:lnTo>
                    <a:pt x="11785" y="2413"/>
                  </a:lnTo>
                  <a:lnTo>
                    <a:pt x="11764" y="2412"/>
                  </a:lnTo>
                  <a:lnTo>
                    <a:pt x="11742" y="2412"/>
                  </a:lnTo>
                  <a:lnTo>
                    <a:pt x="11717" y="2413"/>
                  </a:lnTo>
                  <a:lnTo>
                    <a:pt x="11695" y="2413"/>
                  </a:lnTo>
                  <a:lnTo>
                    <a:pt x="11676" y="2416"/>
                  </a:lnTo>
                  <a:lnTo>
                    <a:pt x="11658" y="2420"/>
                  </a:lnTo>
                  <a:lnTo>
                    <a:pt x="11641" y="2427"/>
                  </a:lnTo>
                  <a:lnTo>
                    <a:pt x="11625" y="2435"/>
                  </a:lnTo>
                  <a:lnTo>
                    <a:pt x="11609" y="2444"/>
                  </a:lnTo>
                  <a:lnTo>
                    <a:pt x="11592" y="2456"/>
                  </a:lnTo>
                  <a:lnTo>
                    <a:pt x="11576" y="2469"/>
                  </a:lnTo>
                  <a:lnTo>
                    <a:pt x="11565" y="2479"/>
                  </a:lnTo>
                  <a:lnTo>
                    <a:pt x="11557" y="2490"/>
                  </a:lnTo>
                  <a:lnTo>
                    <a:pt x="11549" y="2500"/>
                  </a:lnTo>
                  <a:lnTo>
                    <a:pt x="11542" y="2509"/>
                  </a:lnTo>
                  <a:lnTo>
                    <a:pt x="11533" y="2518"/>
                  </a:lnTo>
                  <a:lnTo>
                    <a:pt x="11525" y="2525"/>
                  </a:lnTo>
                  <a:lnTo>
                    <a:pt x="11520" y="2527"/>
                  </a:lnTo>
                  <a:lnTo>
                    <a:pt x="11514" y="2529"/>
                  </a:lnTo>
                  <a:lnTo>
                    <a:pt x="11508" y="2530"/>
                  </a:lnTo>
                  <a:lnTo>
                    <a:pt x="11501" y="2531"/>
                  </a:lnTo>
                  <a:lnTo>
                    <a:pt x="11473" y="2532"/>
                  </a:lnTo>
                  <a:lnTo>
                    <a:pt x="11447" y="2531"/>
                  </a:lnTo>
                  <a:lnTo>
                    <a:pt x="11434" y="2530"/>
                  </a:lnTo>
                  <a:lnTo>
                    <a:pt x="11423" y="2526"/>
                  </a:lnTo>
                  <a:lnTo>
                    <a:pt x="11417" y="2524"/>
                  </a:lnTo>
                  <a:lnTo>
                    <a:pt x="11412" y="2521"/>
                  </a:lnTo>
                  <a:lnTo>
                    <a:pt x="11407" y="2517"/>
                  </a:lnTo>
                  <a:lnTo>
                    <a:pt x="11401" y="2512"/>
                  </a:lnTo>
                  <a:lnTo>
                    <a:pt x="11395" y="2506"/>
                  </a:lnTo>
                  <a:lnTo>
                    <a:pt x="11390" y="2500"/>
                  </a:lnTo>
                  <a:lnTo>
                    <a:pt x="11386" y="2493"/>
                  </a:lnTo>
                  <a:lnTo>
                    <a:pt x="11383" y="2487"/>
                  </a:lnTo>
                  <a:lnTo>
                    <a:pt x="11379" y="2472"/>
                  </a:lnTo>
                  <a:lnTo>
                    <a:pt x="11376" y="2458"/>
                  </a:lnTo>
                  <a:lnTo>
                    <a:pt x="11372" y="2443"/>
                  </a:lnTo>
                  <a:lnTo>
                    <a:pt x="11369" y="2429"/>
                  </a:lnTo>
                  <a:lnTo>
                    <a:pt x="11367" y="2420"/>
                  </a:lnTo>
                  <a:lnTo>
                    <a:pt x="11364" y="2413"/>
                  </a:lnTo>
                  <a:lnTo>
                    <a:pt x="11361" y="2406"/>
                  </a:lnTo>
                  <a:lnTo>
                    <a:pt x="11356" y="2399"/>
                  </a:lnTo>
                  <a:lnTo>
                    <a:pt x="11353" y="2395"/>
                  </a:lnTo>
                  <a:lnTo>
                    <a:pt x="11350" y="2392"/>
                  </a:lnTo>
                  <a:lnTo>
                    <a:pt x="11346" y="2389"/>
                  </a:lnTo>
                  <a:lnTo>
                    <a:pt x="11342" y="2387"/>
                  </a:lnTo>
                  <a:lnTo>
                    <a:pt x="11333" y="2384"/>
                  </a:lnTo>
                  <a:lnTo>
                    <a:pt x="11324" y="2382"/>
                  </a:lnTo>
                  <a:lnTo>
                    <a:pt x="11316" y="2381"/>
                  </a:lnTo>
                  <a:lnTo>
                    <a:pt x="11306" y="2378"/>
                  </a:lnTo>
                  <a:lnTo>
                    <a:pt x="11302" y="2377"/>
                  </a:lnTo>
                  <a:lnTo>
                    <a:pt x="11298" y="2374"/>
                  </a:lnTo>
                  <a:lnTo>
                    <a:pt x="11294" y="2372"/>
                  </a:lnTo>
                  <a:lnTo>
                    <a:pt x="11290" y="2368"/>
                  </a:lnTo>
                  <a:lnTo>
                    <a:pt x="11283" y="2359"/>
                  </a:lnTo>
                  <a:lnTo>
                    <a:pt x="11276" y="2349"/>
                  </a:lnTo>
                  <a:lnTo>
                    <a:pt x="11270" y="2340"/>
                  </a:lnTo>
                  <a:lnTo>
                    <a:pt x="11266" y="2331"/>
                  </a:lnTo>
                  <a:lnTo>
                    <a:pt x="11259" y="2311"/>
                  </a:lnTo>
                  <a:lnTo>
                    <a:pt x="11254" y="2292"/>
                  </a:lnTo>
                  <a:lnTo>
                    <a:pt x="11250" y="2272"/>
                  </a:lnTo>
                  <a:lnTo>
                    <a:pt x="11245" y="2251"/>
                  </a:lnTo>
                  <a:lnTo>
                    <a:pt x="11243" y="2241"/>
                  </a:lnTo>
                  <a:lnTo>
                    <a:pt x="11238" y="2229"/>
                  </a:lnTo>
                  <a:lnTo>
                    <a:pt x="11234" y="2219"/>
                  </a:lnTo>
                  <a:lnTo>
                    <a:pt x="11229" y="2208"/>
                  </a:lnTo>
                  <a:lnTo>
                    <a:pt x="11230" y="2203"/>
                  </a:lnTo>
                  <a:lnTo>
                    <a:pt x="11232" y="2197"/>
                  </a:lnTo>
                  <a:lnTo>
                    <a:pt x="11235" y="2193"/>
                  </a:lnTo>
                  <a:lnTo>
                    <a:pt x="11238" y="2190"/>
                  </a:lnTo>
                  <a:lnTo>
                    <a:pt x="11246" y="2183"/>
                  </a:lnTo>
                  <a:lnTo>
                    <a:pt x="11253" y="2176"/>
                  </a:lnTo>
                  <a:lnTo>
                    <a:pt x="11260" y="2170"/>
                  </a:lnTo>
                  <a:lnTo>
                    <a:pt x="11265" y="2162"/>
                  </a:lnTo>
                  <a:lnTo>
                    <a:pt x="11268" y="2158"/>
                  </a:lnTo>
                  <a:lnTo>
                    <a:pt x="11269" y="2154"/>
                  </a:lnTo>
                  <a:lnTo>
                    <a:pt x="11270" y="2149"/>
                  </a:lnTo>
                  <a:lnTo>
                    <a:pt x="11271" y="2145"/>
                  </a:lnTo>
                  <a:lnTo>
                    <a:pt x="11270" y="2133"/>
                  </a:lnTo>
                  <a:lnTo>
                    <a:pt x="11269" y="2122"/>
                  </a:lnTo>
                  <a:lnTo>
                    <a:pt x="11268" y="2109"/>
                  </a:lnTo>
                  <a:lnTo>
                    <a:pt x="11269" y="2096"/>
                  </a:lnTo>
                  <a:lnTo>
                    <a:pt x="11270" y="2084"/>
                  </a:lnTo>
                  <a:lnTo>
                    <a:pt x="11271" y="2070"/>
                  </a:lnTo>
                  <a:lnTo>
                    <a:pt x="11271" y="2058"/>
                  </a:lnTo>
                  <a:lnTo>
                    <a:pt x="11270" y="2047"/>
                  </a:lnTo>
                  <a:lnTo>
                    <a:pt x="11268" y="2036"/>
                  </a:lnTo>
                  <a:lnTo>
                    <a:pt x="11266" y="2026"/>
                  </a:lnTo>
                  <a:lnTo>
                    <a:pt x="11262" y="2017"/>
                  </a:lnTo>
                  <a:lnTo>
                    <a:pt x="11257" y="2007"/>
                  </a:lnTo>
                  <a:lnTo>
                    <a:pt x="11250" y="2000"/>
                  </a:lnTo>
                  <a:lnTo>
                    <a:pt x="11240" y="1993"/>
                  </a:lnTo>
                  <a:lnTo>
                    <a:pt x="11230" y="1987"/>
                  </a:lnTo>
                  <a:lnTo>
                    <a:pt x="11220" y="1983"/>
                  </a:lnTo>
                  <a:lnTo>
                    <a:pt x="11216" y="1981"/>
                  </a:lnTo>
                  <a:lnTo>
                    <a:pt x="11211" y="1977"/>
                  </a:lnTo>
                  <a:lnTo>
                    <a:pt x="11206" y="1973"/>
                  </a:lnTo>
                  <a:lnTo>
                    <a:pt x="11203" y="1969"/>
                  </a:lnTo>
                  <a:lnTo>
                    <a:pt x="11194" y="1954"/>
                  </a:lnTo>
                  <a:lnTo>
                    <a:pt x="11188" y="1939"/>
                  </a:lnTo>
                  <a:lnTo>
                    <a:pt x="11183" y="1925"/>
                  </a:lnTo>
                  <a:lnTo>
                    <a:pt x="11180" y="1910"/>
                  </a:lnTo>
                  <a:lnTo>
                    <a:pt x="11173" y="1879"/>
                  </a:lnTo>
                  <a:lnTo>
                    <a:pt x="11165" y="1846"/>
                  </a:lnTo>
                  <a:lnTo>
                    <a:pt x="11160" y="1833"/>
                  </a:lnTo>
                  <a:lnTo>
                    <a:pt x="11154" y="1822"/>
                  </a:lnTo>
                  <a:lnTo>
                    <a:pt x="11148" y="1810"/>
                  </a:lnTo>
                  <a:lnTo>
                    <a:pt x="11141" y="1800"/>
                  </a:lnTo>
                  <a:lnTo>
                    <a:pt x="11136" y="1790"/>
                  </a:lnTo>
                  <a:lnTo>
                    <a:pt x="11131" y="1778"/>
                  </a:lnTo>
                  <a:lnTo>
                    <a:pt x="11130" y="1772"/>
                  </a:lnTo>
                  <a:lnTo>
                    <a:pt x="11129" y="1766"/>
                  </a:lnTo>
                  <a:lnTo>
                    <a:pt x="11128" y="1759"/>
                  </a:lnTo>
                  <a:lnTo>
                    <a:pt x="11127" y="1752"/>
                  </a:lnTo>
                  <a:lnTo>
                    <a:pt x="11128" y="1747"/>
                  </a:lnTo>
                  <a:lnTo>
                    <a:pt x="11129" y="1742"/>
                  </a:lnTo>
                  <a:lnTo>
                    <a:pt x="11130" y="1738"/>
                  </a:lnTo>
                  <a:lnTo>
                    <a:pt x="11132" y="1734"/>
                  </a:lnTo>
                  <a:lnTo>
                    <a:pt x="11138" y="1727"/>
                  </a:lnTo>
                  <a:lnTo>
                    <a:pt x="11144" y="1719"/>
                  </a:lnTo>
                  <a:lnTo>
                    <a:pt x="11150" y="1712"/>
                  </a:lnTo>
                  <a:lnTo>
                    <a:pt x="11155" y="1705"/>
                  </a:lnTo>
                  <a:lnTo>
                    <a:pt x="11157" y="1701"/>
                  </a:lnTo>
                  <a:lnTo>
                    <a:pt x="11159" y="1697"/>
                  </a:lnTo>
                  <a:lnTo>
                    <a:pt x="11160" y="1691"/>
                  </a:lnTo>
                  <a:lnTo>
                    <a:pt x="11160" y="1686"/>
                  </a:lnTo>
                  <a:lnTo>
                    <a:pt x="11160" y="1678"/>
                  </a:lnTo>
                  <a:lnTo>
                    <a:pt x="11158" y="1669"/>
                  </a:lnTo>
                  <a:lnTo>
                    <a:pt x="11133" y="1668"/>
                  </a:lnTo>
                  <a:lnTo>
                    <a:pt x="11110" y="1668"/>
                  </a:lnTo>
                  <a:lnTo>
                    <a:pt x="11087" y="1668"/>
                  </a:lnTo>
                  <a:lnTo>
                    <a:pt x="11065" y="1668"/>
                  </a:lnTo>
                  <a:lnTo>
                    <a:pt x="11055" y="1668"/>
                  </a:lnTo>
                  <a:lnTo>
                    <a:pt x="11045" y="1666"/>
                  </a:lnTo>
                  <a:lnTo>
                    <a:pt x="11034" y="1664"/>
                  </a:lnTo>
                  <a:lnTo>
                    <a:pt x="11025" y="1660"/>
                  </a:lnTo>
                  <a:lnTo>
                    <a:pt x="11016" y="1656"/>
                  </a:lnTo>
                  <a:lnTo>
                    <a:pt x="11006" y="1651"/>
                  </a:lnTo>
                  <a:lnTo>
                    <a:pt x="10997" y="1645"/>
                  </a:lnTo>
                  <a:lnTo>
                    <a:pt x="10989" y="1636"/>
                  </a:lnTo>
                  <a:lnTo>
                    <a:pt x="10981" y="1626"/>
                  </a:lnTo>
                  <a:lnTo>
                    <a:pt x="10975" y="1617"/>
                  </a:lnTo>
                  <a:lnTo>
                    <a:pt x="10971" y="1608"/>
                  </a:lnTo>
                  <a:lnTo>
                    <a:pt x="10968" y="1597"/>
                  </a:lnTo>
                  <a:lnTo>
                    <a:pt x="10963" y="1577"/>
                  </a:lnTo>
                  <a:lnTo>
                    <a:pt x="10958" y="1553"/>
                  </a:lnTo>
                  <a:lnTo>
                    <a:pt x="10953" y="1539"/>
                  </a:lnTo>
                  <a:lnTo>
                    <a:pt x="10947" y="1525"/>
                  </a:lnTo>
                  <a:lnTo>
                    <a:pt x="10941" y="1512"/>
                  </a:lnTo>
                  <a:lnTo>
                    <a:pt x="10935" y="1500"/>
                  </a:lnTo>
                  <a:lnTo>
                    <a:pt x="10930" y="1488"/>
                  </a:lnTo>
                  <a:lnTo>
                    <a:pt x="10926" y="1475"/>
                  </a:lnTo>
                  <a:lnTo>
                    <a:pt x="10924" y="1461"/>
                  </a:lnTo>
                  <a:lnTo>
                    <a:pt x="10923" y="1446"/>
                  </a:lnTo>
                  <a:lnTo>
                    <a:pt x="10913" y="1446"/>
                  </a:lnTo>
                  <a:lnTo>
                    <a:pt x="10904" y="1446"/>
                  </a:lnTo>
                  <a:lnTo>
                    <a:pt x="10895" y="1445"/>
                  </a:lnTo>
                  <a:lnTo>
                    <a:pt x="10886" y="1445"/>
                  </a:lnTo>
                  <a:lnTo>
                    <a:pt x="10864" y="1446"/>
                  </a:lnTo>
                  <a:lnTo>
                    <a:pt x="10844" y="1448"/>
                  </a:lnTo>
                  <a:lnTo>
                    <a:pt x="10826" y="1451"/>
                  </a:lnTo>
                  <a:lnTo>
                    <a:pt x="10807" y="1454"/>
                  </a:lnTo>
                  <a:lnTo>
                    <a:pt x="10773" y="1463"/>
                  </a:lnTo>
                  <a:lnTo>
                    <a:pt x="10740" y="1475"/>
                  </a:lnTo>
                  <a:lnTo>
                    <a:pt x="10707" y="1485"/>
                  </a:lnTo>
                  <a:lnTo>
                    <a:pt x="10672" y="1495"/>
                  </a:lnTo>
                  <a:lnTo>
                    <a:pt x="10655" y="1498"/>
                  </a:lnTo>
                  <a:lnTo>
                    <a:pt x="10635" y="1501"/>
                  </a:lnTo>
                  <a:lnTo>
                    <a:pt x="10616" y="1503"/>
                  </a:lnTo>
                  <a:lnTo>
                    <a:pt x="10595" y="1503"/>
                  </a:lnTo>
                  <a:lnTo>
                    <a:pt x="10589" y="1503"/>
                  </a:lnTo>
                  <a:lnTo>
                    <a:pt x="10583" y="1502"/>
                  </a:lnTo>
                  <a:lnTo>
                    <a:pt x="10578" y="1500"/>
                  </a:lnTo>
                  <a:lnTo>
                    <a:pt x="10573" y="1497"/>
                  </a:lnTo>
                  <a:lnTo>
                    <a:pt x="10566" y="1491"/>
                  </a:lnTo>
                  <a:lnTo>
                    <a:pt x="10559" y="1483"/>
                  </a:lnTo>
                  <a:lnTo>
                    <a:pt x="10553" y="1473"/>
                  </a:lnTo>
                  <a:lnTo>
                    <a:pt x="10545" y="1463"/>
                  </a:lnTo>
                  <a:lnTo>
                    <a:pt x="10538" y="1454"/>
                  </a:lnTo>
                  <a:lnTo>
                    <a:pt x="10529" y="1445"/>
                  </a:lnTo>
                  <a:lnTo>
                    <a:pt x="10522" y="1439"/>
                  </a:lnTo>
                  <a:lnTo>
                    <a:pt x="10514" y="1434"/>
                  </a:lnTo>
                  <a:lnTo>
                    <a:pt x="10506" y="1430"/>
                  </a:lnTo>
                  <a:lnTo>
                    <a:pt x="10499" y="1427"/>
                  </a:lnTo>
                  <a:lnTo>
                    <a:pt x="10485" y="1422"/>
                  </a:lnTo>
                  <a:lnTo>
                    <a:pt x="10470" y="1418"/>
                  </a:lnTo>
                  <a:lnTo>
                    <a:pt x="10455" y="1416"/>
                  </a:lnTo>
                  <a:lnTo>
                    <a:pt x="10438" y="1415"/>
                  </a:lnTo>
                  <a:lnTo>
                    <a:pt x="10421" y="1415"/>
                  </a:lnTo>
                  <a:lnTo>
                    <a:pt x="10402" y="1415"/>
                  </a:lnTo>
                  <a:lnTo>
                    <a:pt x="10389" y="1415"/>
                  </a:lnTo>
                  <a:lnTo>
                    <a:pt x="10376" y="1417"/>
                  </a:lnTo>
                  <a:lnTo>
                    <a:pt x="10364" y="1419"/>
                  </a:lnTo>
                  <a:lnTo>
                    <a:pt x="10353" y="1422"/>
                  </a:lnTo>
                  <a:lnTo>
                    <a:pt x="10330" y="1429"/>
                  </a:lnTo>
                  <a:lnTo>
                    <a:pt x="10305" y="1437"/>
                  </a:lnTo>
                  <a:lnTo>
                    <a:pt x="10300" y="1439"/>
                  </a:lnTo>
                  <a:lnTo>
                    <a:pt x="10297" y="1443"/>
                  </a:lnTo>
                  <a:lnTo>
                    <a:pt x="10293" y="1446"/>
                  </a:lnTo>
                  <a:lnTo>
                    <a:pt x="10290" y="1449"/>
                  </a:lnTo>
                  <a:lnTo>
                    <a:pt x="10287" y="1452"/>
                  </a:lnTo>
                  <a:lnTo>
                    <a:pt x="10283" y="1454"/>
                  </a:lnTo>
                  <a:lnTo>
                    <a:pt x="10279" y="1456"/>
                  </a:lnTo>
                  <a:lnTo>
                    <a:pt x="10274" y="1457"/>
                  </a:lnTo>
                  <a:lnTo>
                    <a:pt x="10267" y="1456"/>
                  </a:lnTo>
                  <a:lnTo>
                    <a:pt x="10262" y="1455"/>
                  </a:lnTo>
                  <a:lnTo>
                    <a:pt x="10257" y="1452"/>
                  </a:lnTo>
                  <a:lnTo>
                    <a:pt x="10252" y="1449"/>
                  </a:lnTo>
                  <a:lnTo>
                    <a:pt x="10243" y="1439"/>
                  </a:lnTo>
                  <a:lnTo>
                    <a:pt x="10236" y="1429"/>
                  </a:lnTo>
                  <a:lnTo>
                    <a:pt x="10229" y="1419"/>
                  </a:lnTo>
                  <a:lnTo>
                    <a:pt x="10221" y="1408"/>
                  </a:lnTo>
                  <a:lnTo>
                    <a:pt x="10216" y="1404"/>
                  </a:lnTo>
                  <a:lnTo>
                    <a:pt x="10211" y="1400"/>
                  </a:lnTo>
                  <a:lnTo>
                    <a:pt x="10205" y="1397"/>
                  </a:lnTo>
                  <a:lnTo>
                    <a:pt x="10199" y="1395"/>
                  </a:lnTo>
                  <a:lnTo>
                    <a:pt x="10203" y="1391"/>
                  </a:lnTo>
                  <a:lnTo>
                    <a:pt x="10208" y="1387"/>
                  </a:lnTo>
                  <a:lnTo>
                    <a:pt x="10213" y="1383"/>
                  </a:lnTo>
                  <a:lnTo>
                    <a:pt x="10219" y="1380"/>
                  </a:lnTo>
                  <a:lnTo>
                    <a:pt x="10224" y="1378"/>
                  </a:lnTo>
                  <a:lnTo>
                    <a:pt x="10230" y="1375"/>
                  </a:lnTo>
                  <a:lnTo>
                    <a:pt x="10236" y="1374"/>
                  </a:lnTo>
                  <a:lnTo>
                    <a:pt x="10243" y="1374"/>
                  </a:lnTo>
                  <a:lnTo>
                    <a:pt x="10253" y="1374"/>
                  </a:lnTo>
                  <a:lnTo>
                    <a:pt x="10262" y="1374"/>
                  </a:lnTo>
                  <a:lnTo>
                    <a:pt x="10270" y="1374"/>
                  </a:lnTo>
                  <a:lnTo>
                    <a:pt x="10280" y="1374"/>
                  </a:lnTo>
                  <a:lnTo>
                    <a:pt x="10280" y="1312"/>
                  </a:lnTo>
                  <a:lnTo>
                    <a:pt x="10279" y="1303"/>
                  </a:lnTo>
                  <a:lnTo>
                    <a:pt x="10278" y="1295"/>
                  </a:lnTo>
                  <a:lnTo>
                    <a:pt x="10276" y="1287"/>
                  </a:lnTo>
                  <a:lnTo>
                    <a:pt x="10273" y="1278"/>
                  </a:lnTo>
                  <a:lnTo>
                    <a:pt x="10269" y="1270"/>
                  </a:lnTo>
                  <a:lnTo>
                    <a:pt x="10265" y="1264"/>
                  </a:lnTo>
                  <a:lnTo>
                    <a:pt x="10260" y="1257"/>
                  </a:lnTo>
                  <a:lnTo>
                    <a:pt x="10255" y="1250"/>
                  </a:lnTo>
                  <a:lnTo>
                    <a:pt x="10248" y="1245"/>
                  </a:lnTo>
                  <a:lnTo>
                    <a:pt x="10241" y="1240"/>
                  </a:lnTo>
                  <a:lnTo>
                    <a:pt x="10234" y="1236"/>
                  </a:lnTo>
                  <a:lnTo>
                    <a:pt x="10227" y="1232"/>
                  </a:lnTo>
                  <a:lnTo>
                    <a:pt x="10219" y="1229"/>
                  </a:lnTo>
                  <a:lnTo>
                    <a:pt x="10210" y="1227"/>
                  </a:lnTo>
                  <a:lnTo>
                    <a:pt x="10201" y="1226"/>
                  </a:lnTo>
                  <a:lnTo>
                    <a:pt x="10192" y="1226"/>
                  </a:lnTo>
                  <a:lnTo>
                    <a:pt x="10184" y="1227"/>
                  </a:lnTo>
                  <a:lnTo>
                    <a:pt x="10177" y="1228"/>
                  </a:lnTo>
                  <a:lnTo>
                    <a:pt x="10186" y="1212"/>
                  </a:lnTo>
                  <a:lnTo>
                    <a:pt x="10195" y="1200"/>
                  </a:lnTo>
                  <a:lnTo>
                    <a:pt x="10203" y="1187"/>
                  </a:lnTo>
                  <a:lnTo>
                    <a:pt x="10211" y="1176"/>
                  </a:lnTo>
                  <a:lnTo>
                    <a:pt x="10219" y="1165"/>
                  </a:lnTo>
                  <a:lnTo>
                    <a:pt x="10224" y="1152"/>
                  </a:lnTo>
                  <a:lnTo>
                    <a:pt x="10227" y="1145"/>
                  </a:lnTo>
                  <a:lnTo>
                    <a:pt x="10228" y="1138"/>
                  </a:lnTo>
                  <a:lnTo>
                    <a:pt x="10229" y="1131"/>
                  </a:lnTo>
                  <a:lnTo>
                    <a:pt x="10229" y="1122"/>
                  </a:lnTo>
                  <a:lnTo>
                    <a:pt x="10229" y="1072"/>
                  </a:lnTo>
                  <a:lnTo>
                    <a:pt x="10228" y="1059"/>
                  </a:lnTo>
                  <a:lnTo>
                    <a:pt x="10226" y="1049"/>
                  </a:lnTo>
                  <a:lnTo>
                    <a:pt x="10222" y="1039"/>
                  </a:lnTo>
                  <a:lnTo>
                    <a:pt x="10215" y="1031"/>
                  </a:lnTo>
                  <a:lnTo>
                    <a:pt x="10202" y="1013"/>
                  </a:lnTo>
                  <a:lnTo>
                    <a:pt x="10187" y="994"/>
                  </a:lnTo>
                  <a:lnTo>
                    <a:pt x="10166" y="961"/>
                  </a:lnTo>
                  <a:lnTo>
                    <a:pt x="10148" y="930"/>
                  </a:lnTo>
                  <a:lnTo>
                    <a:pt x="10139" y="916"/>
                  </a:lnTo>
                  <a:lnTo>
                    <a:pt x="10128" y="902"/>
                  </a:lnTo>
                  <a:lnTo>
                    <a:pt x="10123" y="895"/>
                  </a:lnTo>
                  <a:lnTo>
                    <a:pt x="10115" y="889"/>
                  </a:lnTo>
                  <a:lnTo>
                    <a:pt x="10108" y="883"/>
                  </a:lnTo>
                  <a:lnTo>
                    <a:pt x="10100" y="876"/>
                  </a:lnTo>
                  <a:lnTo>
                    <a:pt x="10103" y="872"/>
                  </a:lnTo>
                  <a:lnTo>
                    <a:pt x="10107" y="867"/>
                  </a:lnTo>
                  <a:lnTo>
                    <a:pt x="10111" y="864"/>
                  </a:lnTo>
                  <a:lnTo>
                    <a:pt x="10115" y="862"/>
                  </a:lnTo>
                  <a:lnTo>
                    <a:pt x="10125" y="858"/>
                  </a:lnTo>
                  <a:lnTo>
                    <a:pt x="10134" y="855"/>
                  </a:lnTo>
                  <a:lnTo>
                    <a:pt x="10155" y="852"/>
                  </a:lnTo>
                  <a:lnTo>
                    <a:pt x="10177" y="848"/>
                  </a:lnTo>
                  <a:lnTo>
                    <a:pt x="10199" y="841"/>
                  </a:lnTo>
                  <a:lnTo>
                    <a:pt x="10217" y="833"/>
                  </a:lnTo>
                  <a:lnTo>
                    <a:pt x="10227" y="830"/>
                  </a:lnTo>
                  <a:lnTo>
                    <a:pt x="10236" y="827"/>
                  </a:lnTo>
                  <a:lnTo>
                    <a:pt x="10246" y="824"/>
                  </a:lnTo>
                  <a:lnTo>
                    <a:pt x="10258" y="822"/>
                  </a:lnTo>
                  <a:lnTo>
                    <a:pt x="10274" y="819"/>
                  </a:lnTo>
                  <a:lnTo>
                    <a:pt x="10292" y="816"/>
                  </a:lnTo>
                  <a:lnTo>
                    <a:pt x="10307" y="812"/>
                  </a:lnTo>
                  <a:lnTo>
                    <a:pt x="10323" y="805"/>
                  </a:lnTo>
                  <a:lnTo>
                    <a:pt x="10329" y="802"/>
                  </a:lnTo>
                  <a:lnTo>
                    <a:pt x="10335" y="798"/>
                  </a:lnTo>
                  <a:lnTo>
                    <a:pt x="10341" y="793"/>
                  </a:lnTo>
                  <a:lnTo>
                    <a:pt x="10345" y="788"/>
                  </a:lnTo>
                  <a:lnTo>
                    <a:pt x="10349" y="782"/>
                  </a:lnTo>
                  <a:lnTo>
                    <a:pt x="10352" y="775"/>
                  </a:lnTo>
                  <a:lnTo>
                    <a:pt x="10354" y="768"/>
                  </a:lnTo>
                  <a:lnTo>
                    <a:pt x="10355" y="760"/>
                  </a:lnTo>
                  <a:lnTo>
                    <a:pt x="10354" y="747"/>
                  </a:lnTo>
                  <a:lnTo>
                    <a:pt x="10352" y="734"/>
                  </a:lnTo>
                  <a:lnTo>
                    <a:pt x="10348" y="722"/>
                  </a:lnTo>
                  <a:lnTo>
                    <a:pt x="10344" y="710"/>
                  </a:lnTo>
                  <a:lnTo>
                    <a:pt x="10339" y="700"/>
                  </a:lnTo>
                  <a:lnTo>
                    <a:pt x="10333" y="690"/>
                  </a:lnTo>
                  <a:lnTo>
                    <a:pt x="10326" y="680"/>
                  </a:lnTo>
                  <a:lnTo>
                    <a:pt x="10318" y="672"/>
                  </a:lnTo>
                  <a:lnTo>
                    <a:pt x="10309" y="663"/>
                  </a:lnTo>
                  <a:lnTo>
                    <a:pt x="10300" y="655"/>
                  </a:lnTo>
                  <a:lnTo>
                    <a:pt x="10290" y="646"/>
                  </a:lnTo>
                  <a:lnTo>
                    <a:pt x="10279" y="639"/>
                  </a:lnTo>
                  <a:lnTo>
                    <a:pt x="10257" y="623"/>
                  </a:lnTo>
                  <a:lnTo>
                    <a:pt x="10234" y="607"/>
                  </a:lnTo>
                  <a:lnTo>
                    <a:pt x="10228" y="600"/>
                  </a:lnTo>
                  <a:lnTo>
                    <a:pt x="10222" y="594"/>
                  </a:lnTo>
                  <a:lnTo>
                    <a:pt x="10215" y="588"/>
                  </a:lnTo>
                  <a:lnTo>
                    <a:pt x="10208" y="582"/>
                  </a:lnTo>
                  <a:lnTo>
                    <a:pt x="10194" y="574"/>
                  </a:lnTo>
                  <a:lnTo>
                    <a:pt x="10178" y="567"/>
                  </a:lnTo>
                  <a:lnTo>
                    <a:pt x="10163" y="560"/>
                  </a:lnTo>
                  <a:lnTo>
                    <a:pt x="10148" y="552"/>
                  </a:lnTo>
                  <a:lnTo>
                    <a:pt x="10141" y="547"/>
                  </a:lnTo>
                  <a:lnTo>
                    <a:pt x="10134" y="542"/>
                  </a:lnTo>
                  <a:lnTo>
                    <a:pt x="10128" y="536"/>
                  </a:lnTo>
                  <a:lnTo>
                    <a:pt x="10121" y="529"/>
                  </a:lnTo>
                  <a:lnTo>
                    <a:pt x="10113" y="519"/>
                  </a:lnTo>
                  <a:lnTo>
                    <a:pt x="10106" y="509"/>
                  </a:lnTo>
                  <a:lnTo>
                    <a:pt x="10101" y="500"/>
                  </a:lnTo>
                  <a:lnTo>
                    <a:pt x="10096" y="490"/>
                  </a:lnTo>
                  <a:lnTo>
                    <a:pt x="10087" y="470"/>
                  </a:lnTo>
                  <a:lnTo>
                    <a:pt x="10074" y="449"/>
                  </a:lnTo>
                  <a:lnTo>
                    <a:pt x="10063" y="434"/>
                  </a:lnTo>
                  <a:lnTo>
                    <a:pt x="10052" y="418"/>
                  </a:lnTo>
                  <a:lnTo>
                    <a:pt x="10048" y="411"/>
                  </a:lnTo>
                  <a:lnTo>
                    <a:pt x="10045" y="404"/>
                  </a:lnTo>
                  <a:lnTo>
                    <a:pt x="10044" y="394"/>
                  </a:lnTo>
                  <a:lnTo>
                    <a:pt x="10043" y="385"/>
                  </a:lnTo>
                  <a:lnTo>
                    <a:pt x="10044" y="375"/>
                  </a:lnTo>
                  <a:lnTo>
                    <a:pt x="10046" y="366"/>
                  </a:lnTo>
                  <a:lnTo>
                    <a:pt x="10049" y="356"/>
                  </a:lnTo>
                  <a:lnTo>
                    <a:pt x="10054" y="348"/>
                  </a:lnTo>
                  <a:lnTo>
                    <a:pt x="10058" y="340"/>
                  </a:lnTo>
                  <a:lnTo>
                    <a:pt x="10061" y="331"/>
                  </a:lnTo>
                  <a:lnTo>
                    <a:pt x="10064" y="322"/>
                  </a:lnTo>
                  <a:lnTo>
                    <a:pt x="10064" y="312"/>
                  </a:lnTo>
                  <a:lnTo>
                    <a:pt x="10064" y="297"/>
                  </a:lnTo>
                  <a:lnTo>
                    <a:pt x="10061" y="283"/>
                  </a:lnTo>
                  <a:lnTo>
                    <a:pt x="10058" y="271"/>
                  </a:lnTo>
                  <a:lnTo>
                    <a:pt x="10052" y="259"/>
                  </a:lnTo>
                  <a:lnTo>
                    <a:pt x="10046" y="248"/>
                  </a:lnTo>
                  <a:lnTo>
                    <a:pt x="10039" y="238"/>
                  </a:lnTo>
                  <a:lnTo>
                    <a:pt x="10031" y="228"/>
                  </a:lnTo>
                  <a:lnTo>
                    <a:pt x="10022" y="219"/>
                  </a:lnTo>
                  <a:lnTo>
                    <a:pt x="10002" y="201"/>
                  </a:lnTo>
                  <a:lnTo>
                    <a:pt x="9979" y="184"/>
                  </a:lnTo>
                  <a:lnTo>
                    <a:pt x="9958" y="165"/>
                  </a:lnTo>
                  <a:lnTo>
                    <a:pt x="9935" y="145"/>
                  </a:lnTo>
                  <a:lnTo>
                    <a:pt x="9924" y="132"/>
                  </a:lnTo>
                  <a:lnTo>
                    <a:pt x="9912" y="120"/>
                  </a:lnTo>
                  <a:lnTo>
                    <a:pt x="9902" y="107"/>
                  </a:lnTo>
                  <a:lnTo>
                    <a:pt x="9893" y="95"/>
                  </a:lnTo>
                  <a:lnTo>
                    <a:pt x="9874" y="70"/>
                  </a:lnTo>
                  <a:lnTo>
                    <a:pt x="9856" y="48"/>
                  </a:lnTo>
                  <a:lnTo>
                    <a:pt x="9846" y="38"/>
                  </a:lnTo>
                  <a:lnTo>
                    <a:pt x="9836" y="29"/>
                  </a:lnTo>
                  <a:lnTo>
                    <a:pt x="9826" y="21"/>
                  </a:lnTo>
                  <a:lnTo>
                    <a:pt x="9814" y="13"/>
                  </a:lnTo>
                  <a:lnTo>
                    <a:pt x="9802" y="8"/>
                  </a:lnTo>
                  <a:lnTo>
                    <a:pt x="9788" y="4"/>
                  </a:lnTo>
                  <a:lnTo>
                    <a:pt x="9774" y="1"/>
                  </a:lnTo>
                  <a:lnTo>
                    <a:pt x="9758" y="0"/>
                  </a:lnTo>
                  <a:lnTo>
                    <a:pt x="9749" y="1"/>
                  </a:lnTo>
                  <a:lnTo>
                    <a:pt x="9742" y="2"/>
                  </a:lnTo>
                  <a:lnTo>
                    <a:pt x="9735" y="4"/>
                  </a:lnTo>
                  <a:lnTo>
                    <a:pt x="9729" y="6"/>
                  </a:lnTo>
                  <a:lnTo>
                    <a:pt x="9716" y="12"/>
                  </a:lnTo>
                  <a:lnTo>
                    <a:pt x="9705" y="21"/>
                  </a:lnTo>
                  <a:lnTo>
                    <a:pt x="9683" y="41"/>
                  </a:lnTo>
                  <a:lnTo>
                    <a:pt x="9659" y="62"/>
                  </a:lnTo>
                  <a:lnTo>
                    <a:pt x="9651" y="69"/>
                  </a:lnTo>
                  <a:lnTo>
                    <a:pt x="9646" y="76"/>
                  </a:lnTo>
                  <a:lnTo>
                    <a:pt x="9643" y="79"/>
                  </a:lnTo>
                  <a:lnTo>
                    <a:pt x="9639" y="83"/>
                  </a:lnTo>
                  <a:lnTo>
                    <a:pt x="9635" y="85"/>
                  </a:lnTo>
                  <a:lnTo>
                    <a:pt x="9631" y="86"/>
                  </a:lnTo>
                  <a:lnTo>
                    <a:pt x="9625" y="85"/>
                  </a:lnTo>
                  <a:lnTo>
                    <a:pt x="9619" y="84"/>
                  </a:lnTo>
                  <a:lnTo>
                    <a:pt x="9615" y="82"/>
                  </a:lnTo>
                  <a:lnTo>
                    <a:pt x="9611" y="79"/>
                  </a:lnTo>
                  <a:lnTo>
                    <a:pt x="9604" y="72"/>
                  </a:lnTo>
                  <a:lnTo>
                    <a:pt x="9598" y="64"/>
                  </a:lnTo>
                  <a:lnTo>
                    <a:pt x="9592" y="55"/>
                  </a:lnTo>
                  <a:lnTo>
                    <a:pt x="9586" y="44"/>
                  </a:lnTo>
                  <a:lnTo>
                    <a:pt x="9579" y="35"/>
                  </a:lnTo>
                  <a:lnTo>
                    <a:pt x="9572" y="26"/>
                  </a:lnTo>
                  <a:lnTo>
                    <a:pt x="9566" y="22"/>
                  </a:lnTo>
                  <a:lnTo>
                    <a:pt x="9559" y="18"/>
                  </a:lnTo>
                  <a:lnTo>
                    <a:pt x="9552" y="15"/>
                  </a:lnTo>
                  <a:lnTo>
                    <a:pt x="9545" y="13"/>
                  </a:lnTo>
                  <a:lnTo>
                    <a:pt x="9531" y="12"/>
                  </a:lnTo>
                  <a:lnTo>
                    <a:pt x="9514" y="12"/>
                  </a:lnTo>
                  <a:lnTo>
                    <a:pt x="9456" y="12"/>
                  </a:lnTo>
                  <a:lnTo>
                    <a:pt x="9436" y="10"/>
                  </a:lnTo>
                  <a:lnTo>
                    <a:pt x="9418" y="7"/>
                  </a:lnTo>
                  <a:lnTo>
                    <a:pt x="9401" y="6"/>
                  </a:lnTo>
                  <a:lnTo>
                    <a:pt x="9380" y="5"/>
                  </a:lnTo>
                  <a:lnTo>
                    <a:pt x="9369" y="5"/>
                  </a:lnTo>
                  <a:lnTo>
                    <a:pt x="9357" y="5"/>
                  </a:lnTo>
                  <a:lnTo>
                    <a:pt x="9346" y="7"/>
                  </a:lnTo>
                  <a:lnTo>
                    <a:pt x="9336" y="8"/>
                  </a:lnTo>
                  <a:lnTo>
                    <a:pt x="9326" y="11"/>
                  </a:lnTo>
                  <a:lnTo>
                    <a:pt x="9316" y="14"/>
                  </a:lnTo>
                  <a:lnTo>
                    <a:pt x="9306" y="20"/>
                  </a:lnTo>
                  <a:lnTo>
                    <a:pt x="9296" y="26"/>
                  </a:lnTo>
                  <a:lnTo>
                    <a:pt x="9292" y="29"/>
                  </a:lnTo>
                  <a:lnTo>
                    <a:pt x="9289" y="32"/>
                  </a:lnTo>
                  <a:lnTo>
                    <a:pt x="9287" y="35"/>
                  </a:lnTo>
                  <a:lnTo>
                    <a:pt x="9285" y="39"/>
                  </a:lnTo>
                  <a:lnTo>
                    <a:pt x="9283" y="46"/>
                  </a:lnTo>
                  <a:lnTo>
                    <a:pt x="9281" y="55"/>
                  </a:lnTo>
                  <a:lnTo>
                    <a:pt x="9279" y="62"/>
                  </a:lnTo>
                  <a:lnTo>
                    <a:pt x="9277" y="70"/>
                  </a:lnTo>
                  <a:lnTo>
                    <a:pt x="9276" y="73"/>
                  </a:lnTo>
                  <a:lnTo>
                    <a:pt x="9274" y="77"/>
                  </a:lnTo>
                  <a:lnTo>
                    <a:pt x="9271" y="81"/>
                  </a:lnTo>
                  <a:lnTo>
                    <a:pt x="9268" y="83"/>
                  </a:lnTo>
                  <a:lnTo>
                    <a:pt x="9259" y="88"/>
                  </a:lnTo>
                  <a:lnTo>
                    <a:pt x="9251" y="92"/>
                  </a:lnTo>
                  <a:lnTo>
                    <a:pt x="9242" y="94"/>
                  </a:lnTo>
                  <a:lnTo>
                    <a:pt x="9234" y="95"/>
                  </a:lnTo>
                  <a:lnTo>
                    <a:pt x="9216" y="96"/>
                  </a:lnTo>
                  <a:lnTo>
                    <a:pt x="9197" y="99"/>
                  </a:lnTo>
                  <a:lnTo>
                    <a:pt x="9188" y="102"/>
                  </a:lnTo>
                  <a:lnTo>
                    <a:pt x="9181" y="105"/>
                  </a:lnTo>
                  <a:lnTo>
                    <a:pt x="9174" y="109"/>
                  </a:lnTo>
                  <a:lnTo>
                    <a:pt x="9168" y="114"/>
                  </a:lnTo>
                  <a:lnTo>
                    <a:pt x="9155" y="123"/>
                  </a:lnTo>
                  <a:lnTo>
                    <a:pt x="9144" y="132"/>
                  </a:lnTo>
                  <a:lnTo>
                    <a:pt x="9133" y="141"/>
                  </a:lnTo>
                  <a:lnTo>
                    <a:pt x="9120" y="149"/>
                  </a:lnTo>
                  <a:lnTo>
                    <a:pt x="9114" y="152"/>
                  </a:lnTo>
                  <a:lnTo>
                    <a:pt x="9107" y="154"/>
                  </a:lnTo>
                  <a:lnTo>
                    <a:pt x="9100" y="156"/>
                  </a:lnTo>
                  <a:lnTo>
                    <a:pt x="9090" y="156"/>
                  </a:lnTo>
                  <a:lnTo>
                    <a:pt x="9065" y="156"/>
                  </a:lnTo>
                  <a:lnTo>
                    <a:pt x="9040" y="154"/>
                  </a:lnTo>
                  <a:lnTo>
                    <a:pt x="9017" y="151"/>
                  </a:lnTo>
                  <a:lnTo>
                    <a:pt x="8995" y="147"/>
                  </a:lnTo>
                  <a:lnTo>
                    <a:pt x="8974" y="141"/>
                  </a:lnTo>
                  <a:lnTo>
                    <a:pt x="8952" y="134"/>
                  </a:lnTo>
                  <a:lnTo>
                    <a:pt x="8929" y="126"/>
                  </a:lnTo>
                  <a:lnTo>
                    <a:pt x="8905" y="116"/>
                  </a:lnTo>
                  <a:lnTo>
                    <a:pt x="8885" y="107"/>
                  </a:lnTo>
                  <a:lnTo>
                    <a:pt x="8869" y="98"/>
                  </a:lnTo>
                  <a:lnTo>
                    <a:pt x="8859" y="95"/>
                  </a:lnTo>
                  <a:lnTo>
                    <a:pt x="8851" y="92"/>
                  </a:lnTo>
                  <a:lnTo>
                    <a:pt x="8841" y="91"/>
                  </a:lnTo>
                  <a:lnTo>
                    <a:pt x="8830" y="90"/>
                  </a:lnTo>
                  <a:lnTo>
                    <a:pt x="8815" y="91"/>
                  </a:lnTo>
                  <a:lnTo>
                    <a:pt x="8802" y="93"/>
                  </a:lnTo>
                  <a:lnTo>
                    <a:pt x="8789" y="95"/>
                  </a:lnTo>
                  <a:lnTo>
                    <a:pt x="8777" y="98"/>
                  </a:lnTo>
                  <a:lnTo>
                    <a:pt x="8764" y="101"/>
                  </a:lnTo>
                  <a:lnTo>
                    <a:pt x="8752" y="104"/>
                  </a:lnTo>
                  <a:lnTo>
                    <a:pt x="8738" y="105"/>
                  </a:lnTo>
                  <a:lnTo>
                    <a:pt x="8723" y="106"/>
                  </a:lnTo>
                  <a:lnTo>
                    <a:pt x="8714" y="103"/>
                  </a:lnTo>
                  <a:lnTo>
                    <a:pt x="8704" y="99"/>
                  </a:lnTo>
                  <a:lnTo>
                    <a:pt x="8698" y="100"/>
                  </a:lnTo>
                  <a:lnTo>
                    <a:pt x="8694" y="102"/>
                  </a:lnTo>
                  <a:lnTo>
                    <a:pt x="8691" y="106"/>
                  </a:lnTo>
                  <a:lnTo>
                    <a:pt x="8688" y="110"/>
                  </a:lnTo>
                  <a:lnTo>
                    <a:pt x="8683" y="121"/>
                  </a:lnTo>
                  <a:lnTo>
                    <a:pt x="8676" y="130"/>
                  </a:lnTo>
                  <a:lnTo>
                    <a:pt x="8668" y="138"/>
                  </a:lnTo>
                  <a:lnTo>
                    <a:pt x="8661" y="148"/>
                  </a:lnTo>
                  <a:lnTo>
                    <a:pt x="8656" y="157"/>
                  </a:lnTo>
                  <a:lnTo>
                    <a:pt x="8653" y="166"/>
                  </a:lnTo>
                  <a:lnTo>
                    <a:pt x="8650" y="177"/>
                  </a:lnTo>
                  <a:lnTo>
                    <a:pt x="8649" y="187"/>
                  </a:lnTo>
                  <a:lnTo>
                    <a:pt x="8648" y="198"/>
                  </a:lnTo>
                  <a:lnTo>
                    <a:pt x="8648" y="211"/>
                  </a:lnTo>
                  <a:lnTo>
                    <a:pt x="8649" y="224"/>
                  </a:lnTo>
                  <a:lnTo>
                    <a:pt x="8650" y="238"/>
                  </a:lnTo>
                  <a:lnTo>
                    <a:pt x="8649" y="245"/>
                  </a:lnTo>
                  <a:lnTo>
                    <a:pt x="8648" y="251"/>
                  </a:lnTo>
                  <a:lnTo>
                    <a:pt x="8646" y="256"/>
                  </a:lnTo>
                  <a:lnTo>
                    <a:pt x="8643" y="260"/>
                  </a:lnTo>
                  <a:lnTo>
                    <a:pt x="8636" y="269"/>
                  </a:lnTo>
                  <a:lnTo>
                    <a:pt x="8627" y="277"/>
                  </a:lnTo>
                  <a:lnTo>
                    <a:pt x="8618" y="285"/>
                  </a:lnTo>
                  <a:lnTo>
                    <a:pt x="8610" y="293"/>
                  </a:lnTo>
                  <a:lnTo>
                    <a:pt x="8607" y="297"/>
                  </a:lnTo>
                  <a:lnTo>
                    <a:pt x="8603" y="303"/>
                  </a:lnTo>
                  <a:lnTo>
                    <a:pt x="8600" y="308"/>
                  </a:lnTo>
                  <a:lnTo>
                    <a:pt x="8598" y="314"/>
                  </a:lnTo>
                  <a:lnTo>
                    <a:pt x="8592" y="345"/>
                  </a:lnTo>
                  <a:lnTo>
                    <a:pt x="8589" y="375"/>
                  </a:lnTo>
                  <a:lnTo>
                    <a:pt x="8588" y="381"/>
                  </a:lnTo>
                  <a:lnTo>
                    <a:pt x="8586" y="388"/>
                  </a:lnTo>
                  <a:lnTo>
                    <a:pt x="8584" y="394"/>
                  </a:lnTo>
                  <a:lnTo>
                    <a:pt x="8581" y="400"/>
                  </a:lnTo>
                  <a:lnTo>
                    <a:pt x="8577" y="405"/>
                  </a:lnTo>
                  <a:lnTo>
                    <a:pt x="8573" y="410"/>
                  </a:lnTo>
                  <a:lnTo>
                    <a:pt x="8566" y="414"/>
                  </a:lnTo>
                  <a:lnTo>
                    <a:pt x="8560" y="418"/>
                  </a:lnTo>
                  <a:lnTo>
                    <a:pt x="8552" y="421"/>
                  </a:lnTo>
                  <a:lnTo>
                    <a:pt x="8545" y="423"/>
                  </a:lnTo>
                  <a:lnTo>
                    <a:pt x="8538" y="425"/>
                  </a:lnTo>
                  <a:lnTo>
                    <a:pt x="8531" y="425"/>
                  </a:lnTo>
                  <a:lnTo>
                    <a:pt x="8517" y="425"/>
                  </a:lnTo>
                  <a:lnTo>
                    <a:pt x="8500" y="425"/>
                  </a:lnTo>
                  <a:lnTo>
                    <a:pt x="8485" y="424"/>
                  </a:lnTo>
                  <a:lnTo>
                    <a:pt x="8473" y="421"/>
                  </a:lnTo>
                  <a:lnTo>
                    <a:pt x="8459" y="419"/>
                  </a:lnTo>
                  <a:lnTo>
                    <a:pt x="8445" y="418"/>
                  </a:lnTo>
                  <a:lnTo>
                    <a:pt x="8439" y="418"/>
                  </a:lnTo>
                  <a:lnTo>
                    <a:pt x="8433" y="420"/>
                  </a:lnTo>
                  <a:lnTo>
                    <a:pt x="8429" y="422"/>
                  </a:lnTo>
                  <a:lnTo>
                    <a:pt x="8425" y="425"/>
                  </a:lnTo>
                  <a:lnTo>
                    <a:pt x="8418" y="433"/>
                  </a:lnTo>
                  <a:lnTo>
                    <a:pt x="8411" y="441"/>
                  </a:lnTo>
                  <a:lnTo>
                    <a:pt x="8404" y="449"/>
                  </a:lnTo>
                  <a:lnTo>
                    <a:pt x="8396" y="456"/>
                  </a:lnTo>
                  <a:lnTo>
                    <a:pt x="8392" y="458"/>
                  </a:lnTo>
                  <a:lnTo>
                    <a:pt x="8387" y="461"/>
                  </a:lnTo>
                  <a:lnTo>
                    <a:pt x="8382" y="463"/>
                  </a:lnTo>
                  <a:lnTo>
                    <a:pt x="8377" y="463"/>
                  </a:lnTo>
                  <a:lnTo>
                    <a:pt x="8369" y="463"/>
                  </a:lnTo>
                  <a:lnTo>
                    <a:pt x="8363" y="461"/>
                  </a:lnTo>
                  <a:lnTo>
                    <a:pt x="8358" y="458"/>
                  </a:lnTo>
                  <a:lnTo>
                    <a:pt x="8353" y="455"/>
                  </a:lnTo>
                  <a:lnTo>
                    <a:pt x="8348" y="451"/>
                  </a:lnTo>
                  <a:lnTo>
                    <a:pt x="8345" y="446"/>
                  </a:lnTo>
                  <a:lnTo>
                    <a:pt x="8341" y="441"/>
                  </a:lnTo>
                  <a:lnTo>
                    <a:pt x="8338" y="436"/>
                  </a:lnTo>
                  <a:lnTo>
                    <a:pt x="8331" y="423"/>
                  </a:lnTo>
                  <a:lnTo>
                    <a:pt x="8324" y="411"/>
                  </a:lnTo>
                  <a:lnTo>
                    <a:pt x="8317" y="399"/>
                  </a:lnTo>
                  <a:lnTo>
                    <a:pt x="8308" y="387"/>
                  </a:lnTo>
                  <a:lnTo>
                    <a:pt x="8302" y="383"/>
                  </a:lnTo>
                  <a:lnTo>
                    <a:pt x="8297" y="379"/>
                  </a:lnTo>
                  <a:lnTo>
                    <a:pt x="8292" y="376"/>
                  </a:lnTo>
                  <a:lnTo>
                    <a:pt x="8286" y="374"/>
                  </a:lnTo>
                  <a:lnTo>
                    <a:pt x="8275" y="372"/>
                  </a:lnTo>
                  <a:lnTo>
                    <a:pt x="8262" y="371"/>
                  </a:lnTo>
                  <a:lnTo>
                    <a:pt x="8249" y="372"/>
                  </a:lnTo>
                  <a:lnTo>
                    <a:pt x="8235" y="372"/>
                  </a:lnTo>
                  <a:lnTo>
                    <a:pt x="8221" y="373"/>
                  </a:lnTo>
                  <a:lnTo>
                    <a:pt x="8207" y="371"/>
                  </a:lnTo>
                  <a:lnTo>
                    <a:pt x="8191" y="376"/>
                  </a:lnTo>
                  <a:lnTo>
                    <a:pt x="8178" y="379"/>
                  </a:lnTo>
                  <a:lnTo>
                    <a:pt x="8164" y="382"/>
                  </a:lnTo>
                  <a:lnTo>
                    <a:pt x="8152" y="383"/>
                  </a:lnTo>
                  <a:lnTo>
                    <a:pt x="8126" y="385"/>
                  </a:lnTo>
                  <a:lnTo>
                    <a:pt x="8096" y="385"/>
                  </a:lnTo>
                  <a:lnTo>
                    <a:pt x="8074" y="384"/>
                  </a:lnTo>
                  <a:lnTo>
                    <a:pt x="8052" y="383"/>
                  </a:lnTo>
                  <a:lnTo>
                    <a:pt x="8032" y="381"/>
                  </a:lnTo>
                  <a:lnTo>
                    <a:pt x="8014" y="379"/>
                  </a:lnTo>
                  <a:lnTo>
                    <a:pt x="7995" y="377"/>
                  </a:lnTo>
                  <a:lnTo>
                    <a:pt x="7976" y="375"/>
                  </a:lnTo>
                  <a:lnTo>
                    <a:pt x="7955" y="374"/>
                  </a:lnTo>
                  <a:lnTo>
                    <a:pt x="7932" y="373"/>
                  </a:lnTo>
                  <a:lnTo>
                    <a:pt x="7920" y="374"/>
                  </a:lnTo>
                  <a:lnTo>
                    <a:pt x="7909" y="377"/>
                  </a:lnTo>
                  <a:lnTo>
                    <a:pt x="7898" y="380"/>
                  </a:lnTo>
                  <a:lnTo>
                    <a:pt x="7888" y="385"/>
                  </a:lnTo>
                  <a:lnTo>
                    <a:pt x="7869" y="398"/>
                  </a:lnTo>
                  <a:lnTo>
                    <a:pt x="7849" y="411"/>
                  </a:lnTo>
                  <a:lnTo>
                    <a:pt x="7833" y="419"/>
                  </a:lnTo>
                  <a:lnTo>
                    <a:pt x="7820" y="429"/>
                  </a:lnTo>
                  <a:lnTo>
                    <a:pt x="7814" y="433"/>
                  </a:lnTo>
                  <a:lnTo>
                    <a:pt x="7808" y="439"/>
                  </a:lnTo>
                  <a:lnTo>
                    <a:pt x="7804" y="445"/>
                  </a:lnTo>
                  <a:lnTo>
                    <a:pt x="7801" y="453"/>
                  </a:lnTo>
                  <a:lnTo>
                    <a:pt x="7781" y="446"/>
                  </a:lnTo>
                  <a:lnTo>
                    <a:pt x="7763" y="438"/>
                  </a:lnTo>
                  <a:lnTo>
                    <a:pt x="7746" y="430"/>
                  </a:lnTo>
                  <a:lnTo>
                    <a:pt x="7729" y="421"/>
                  </a:lnTo>
                  <a:lnTo>
                    <a:pt x="7713" y="415"/>
                  </a:lnTo>
                  <a:lnTo>
                    <a:pt x="7695" y="409"/>
                  </a:lnTo>
                  <a:lnTo>
                    <a:pt x="7686" y="407"/>
                  </a:lnTo>
                  <a:lnTo>
                    <a:pt x="7676" y="405"/>
                  </a:lnTo>
                  <a:lnTo>
                    <a:pt x="7666" y="405"/>
                  </a:lnTo>
                  <a:lnTo>
                    <a:pt x="7655" y="404"/>
                  </a:lnTo>
                  <a:lnTo>
                    <a:pt x="7645" y="405"/>
                  </a:lnTo>
                  <a:lnTo>
                    <a:pt x="7634" y="406"/>
                  </a:lnTo>
                  <a:lnTo>
                    <a:pt x="7625" y="409"/>
                  </a:lnTo>
                  <a:lnTo>
                    <a:pt x="7617" y="412"/>
                  </a:lnTo>
                  <a:lnTo>
                    <a:pt x="7608" y="417"/>
                  </a:lnTo>
                  <a:lnTo>
                    <a:pt x="7600" y="423"/>
                  </a:lnTo>
                  <a:lnTo>
                    <a:pt x="7592" y="430"/>
                  </a:lnTo>
                  <a:lnTo>
                    <a:pt x="7585" y="437"/>
                  </a:lnTo>
                  <a:lnTo>
                    <a:pt x="7576" y="448"/>
                  </a:lnTo>
                  <a:lnTo>
                    <a:pt x="7569" y="459"/>
                  </a:lnTo>
                  <a:lnTo>
                    <a:pt x="7566" y="465"/>
                  </a:lnTo>
                  <a:lnTo>
                    <a:pt x="7562" y="469"/>
                  </a:lnTo>
                  <a:lnTo>
                    <a:pt x="7557" y="472"/>
                  </a:lnTo>
                  <a:lnTo>
                    <a:pt x="7551" y="472"/>
                  </a:lnTo>
                  <a:lnTo>
                    <a:pt x="7537" y="471"/>
                  </a:lnTo>
                  <a:lnTo>
                    <a:pt x="7523" y="470"/>
                  </a:lnTo>
                  <a:lnTo>
                    <a:pt x="7518" y="471"/>
                  </a:lnTo>
                  <a:lnTo>
                    <a:pt x="7514" y="472"/>
                  </a:lnTo>
                  <a:lnTo>
                    <a:pt x="7510" y="474"/>
                  </a:lnTo>
                  <a:lnTo>
                    <a:pt x="7508" y="478"/>
                  </a:lnTo>
                  <a:lnTo>
                    <a:pt x="7507" y="481"/>
                  </a:lnTo>
                  <a:lnTo>
                    <a:pt x="7506" y="486"/>
                  </a:lnTo>
                  <a:lnTo>
                    <a:pt x="7506" y="491"/>
                  </a:lnTo>
                  <a:lnTo>
                    <a:pt x="7506" y="497"/>
                  </a:lnTo>
                  <a:lnTo>
                    <a:pt x="7508" y="521"/>
                  </a:lnTo>
                  <a:lnTo>
                    <a:pt x="7511" y="545"/>
                  </a:lnTo>
                  <a:lnTo>
                    <a:pt x="7490" y="557"/>
                  </a:lnTo>
                  <a:lnTo>
                    <a:pt x="7471" y="567"/>
                  </a:lnTo>
                  <a:lnTo>
                    <a:pt x="7462" y="573"/>
                  </a:lnTo>
                  <a:lnTo>
                    <a:pt x="7453" y="579"/>
                  </a:lnTo>
                  <a:lnTo>
                    <a:pt x="7444" y="586"/>
                  </a:lnTo>
                  <a:lnTo>
                    <a:pt x="7436" y="595"/>
                  </a:lnTo>
                  <a:lnTo>
                    <a:pt x="7433" y="599"/>
                  </a:lnTo>
                  <a:lnTo>
                    <a:pt x="7430" y="603"/>
                  </a:lnTo>
                  <a:lnTo>
                    <a:pt x="7429" y="607"/>
                  </a:lnTo>
                  <a:lnTo>
                    <a:pt x="7428" y="611"/>
                  </a:lnTo>
                  <a:lnTo>
                    <a:pt x="7426" y="621"/>
                  </a:lnTo>
                  <a:lnTo>
                    <a:pt x="7425" y="629"/>
                  </a:lnTo>
                  <a:lnTo>
                    <a:pt x="7424" y="638"/>
                  </a:lnTo>
                  <a:lnTo>
                    <a:pt x="7422" y="646"/>
                  </a:lnTo>
                  <a:lnTo>
                    <a:pt x="7421" y="651"/>
                  </a:lnTo>
                  <a:lnTo>
                    <a:pt x="7419" y="655"/>
                  </a:lnTo>
                  <a:lnTo>
                    <a:pt x="7416" y="658"/>
                  </a:lnTo>
                  <a:lnTo>
                    <a:pt x="7412" y="661"/>
                  </a:lnTo>
                  <a:lnTo>
                    <a:pt x="7407" y="664"/>
                  </a:lnTo>
                  <a:lnTo>
                    <a:pt x="7403" y="666"/>
                  </a:lnTo>
                  <a:lnTo>
                    <a:pt x="7398" y="667"/>
                  </a:lnTo>
                  <a:lnTo>
                    <a:pt x="7394" y="668"/>
                  </a:lnTo>
                  <a:lnTo>
                    <a:pt x="7384" y="668"/>
                  </a:lnTo>
                  <a:lnTo>
                    <a:pt x="7372" y="668"/>
                  </a:lnTo>
                  <a:lnTo>
                    <a:pt x="7372" y="673"/>
                  </a:lnTo>
                  <a:lnTo>
                    <a:pt x="7371" y="678"/>
                  </a:lnTo>
                  <a:lnTo>
                    <a:pt x="7369" y="683"/>
                  </a:lnTo>
                  <a:lnTo>
                    <a:pt x="7368" y="687"/>
                  </a:lnTo>
                  <a:lnTo>
                    <a:pt x="7363" y="694"/>
                  </a:lnTo>
                  <a:lnTo>
                    <a:pt x="7358" y="701"/>
                  </a:lnTo>
                  <a:lnTo>
                    <a:pt x="7352" y="707"/>
                  </a:lnTo>
                  <a:lnTo>
                    <a:pt x="7346" y="715"/>
                  </a:lnTo>
                  <a:lnTo>
                    <a:pt x="7341" y="723"/>
                  </a:lnTo>
                  <a:lnTo>
                    <a:pt x="7336" y="732"/>
                  </a:lnTo>
                  <a:lnTo>
                    <a:pt x="7329" y="761"/>
                  </a:lnTo>
                  <a:lnTo>
                    <a:pt x="7322" y="789"/>
                  </a:lnTo>
                  <a:lnTo>
                    <a:pt x="7320" y="794"/>
                  </a:lnTo>
                  <a:lnTo>
                    <a:pt x="7317" y="800"/>
                  </a:lnTo>
                  <a:lnTo>
                    <a:pt x="7313" y="805"/>
                  </a:lnTo>
                  <a:lnTo>
                    <a:pt x="7309" y="811"/>
                  </a:lnTo>
                  <a:lnTo>
                    <a:pt x="7305" y="815"/>
                  </a:lnTo>
                  <a:lnTo>
                    <a:pt x="7300" y="818"/>
                  </a:lnTo>
                  <a:lnTo>
                    <a:pt x="7294" y="820"/>
                  </a:lnTo>
                  <a:lnTo>
                    <a:pt x="7287" y="822"/>
                  </a:lnTo>
                  <a:lnTo>
                    <a:pt x="7294" y="842"/>
                  </a:lnTo>
                  <a:lnTo>
                    <a:pt x="7301" y="859"/>
                  </a:lnTo>
                  <a:lnTo>
                    <a:pt x="7305" y="867"/>
                  </a:lnTo>
                  <a:lnTo>
                    <a:pt x="7308" y="877"/>
                  </a:lnTo>
                  <a:lnTo>
                    <a:pt x="7310" y="886"/>
                  </a:lnTo>
                  <a:lnTo>
                    <a:pt x="7310" y="897"/>
                  </a:lnTo>
                  <a:lnTo>
                    <a:pt x="7310" y="901"/>
                  </a:lnTo>
                  <a:lnTo>
                    <a:pt x="7308" y="906"/>
                  </a:lnTo>
                  <a:lnTo>
                    <a:pt x="7306" y="909"/>
                  </a:lnTo>
                  <a:lnTo>
                    <a:pt x="7303" y="912"/>
                  </a:lnTo>
                  <a:lnTo>
                    <a:pt x="7300" y="914"/>
                  </a:lnTo>
                  <a:lnTo>
                    <a:pt x="7296" y="916"/>
                  </a:lnTo>
                  <a:lnTo>
                    <a:pt x="7291" y="917"/>
                  </a:lnTo>
                  <a:lnTo>
                    <a:pt x="7287" y="917"/>
                  </a:lnTo>
                  <a:lnTo>
                    <a:pt x="7278" y="917"/>
                  </a:lnTo>
                  <a:lnTo>
                    <a:pt x="7270" y="917"/>
                  </a:lnTo>
                  <a:lnTo>
                    <a:pt x="7263" y="917"/>
                  </a:lnTo>
                  <a:lnTo>
                    <a:pt x="7254" y="917"/>
                  </a:lnTo>
                  <a:lnTo>
                    <a:pt x="7254" y="973"/>
                  </a:lnTo>
                  <a:lnTo>
                    <a:pt x="7254" y="983"/>
                  </a:lnTo>
                  <a:lnTo>
                    <a:pt x="7251" y="992"/>
                  </a:lnTo>
                  <a:lnTo>
                    <a:pt x="7247" y="1001"/>
                  </a:lnTo>
                  <a:lnTo>
                    <a:pt x="7242" y="1009"/>
                  </a:lnTo>
                  <a:lnTo>
                    <a:pt x="7232" y="1025"/>
                  </a:lnTo>
                  <a:lnTo>
                    <a:pt x="7221" y="1044"/>
                  </a:lnTo>
                  <a:lnTo>
                    <a:pt x="7226" y="1063"/>
                  </a:lnTo>
                  <a:lnTo>
                    <a:pt x="7220" y="1071"/>
                  </a:lnTo>
                  <a:lnTo>
                    <a:pt x="7211" y="1079"/>
                  </a:lnTo>
                  <a:lnTo>
                    <a:pt x="7237" y="1106"/>
                  </a:lnTo>
                  <a:lnTo>
                    <a:pt x="7259" y="1131"/>
                  </a:lnTo>
                  <a:lnTo>
                    <a:pt x="7263" y="1137"/>
                  </a:lnTo>
                  <a:lnTo>
                    <a:pt x="7267" y="1144"/>
                  </a:lnTo>
                  <a:lnTo>
                    <a:pt x="7271" y="1151"/>
                  </a:lnTo>
                  <a:lnTo>
                    <a:pt x="7274" y="1159"/>
                  </a:lnTo>
                  <a:lnTo>
                    <a:pt x="7276" y="1166"/>
                  </a:lnTo>
                  <a:lnTo>
                    <a:pt x="7278" y="1174"/>
                  </a:lnTo>
                  <a:lnTo>
                    <a:pt x="7279" y="1183"/>
                  </a:lnTo>
                  <a:lnTo>
                    <a:pt x="7280" y="1193"/>
                  </a:lnTo>
                  <a:lnTo>
                    <a:pt x="7278" y="1204"/>
                  </a:lnTo>
                  <a:lnTo>
                    <a:pt x="7275" y="1214"/>
                  </a:lnTo>
                  <a:lnTo>
                    <a:pt x="7272" y="1226"/>
                  </a:lnTo>
                  <a:lnTo>
                    <a:pt x="7270" y="1237"/>
                  </a:lnTo>
                  <a:lnTo>
                    <a:pt x="7271" y="1246"/>
                  </a:lnTo>
                  <a:lnTo>
                    <a:pt x="7274" y="1254"/>
                  </a:lnTo>
                  <a:lnTo>
                    <a:pt x="7278" y="1261"/>
                  </a:lnTo>
                  <a:lnTo>
                    <a:pt x="7283" y="1268"/>
                  </a:lnTo>
                  <a:lnTo>
                    <a:pt x="7287" y="1274"/>
                  </a:lnTo>
                  <a:lnTo>
                    <a:pt x="7291" y="1281"/>
                  </a:lnTo>
                  <a:lnTo>
                    <a:pt x="7293" y="1290"/>
                  </a:lnTo>
                  <a:lnTo>
                    <a:pt x="7294" y="1299"/>
                  </a:lnTo>
                  <a:lnTo>
                    <a:pt x="7293" y="1323"/>
                  </a:lnTo>
                  <a:lnTo>
                    <a:pt x="7291" y="1345"/>
                  </a:lnTo>
                  <a:lnTo>
                    <a:pt x="7286" y="1366"/>
                  </a:lnTo>
                  <a:lnTo>
                    <a:pt x="7280" y="1386"/>
                  </a:lnTo>
                  <a:lnTo>
                    <a:pt x="7273" y="1405"/>
                  </a:lnTo>
                  <a:lnTo>
                    <a:pt x="7266" y="1426"/>
                  </a:lnTo>
                  <a:lnTo>
                    <a:pt x="7258" y="1448"/>
                  </a:lnTo>
                  <a:lnTo>
                    <a:pt x="7250" y="1470"/>
                  </a:lnTo>
                  <a:lnTo>
                    <a:pt x="7234" y="1458"/>
                  </a:lnTo>
                  <a:lnTo>
                    <a:pt x="7221" y="1447"/>
                  </a:lnTo>
                  <a:lnTo>
                    <a:pt x="7206" y="1436"/>
                  </a:lnTo>
                  <a:lnTo>
                    <a:pt x="7192" y="1428"/>
                  </a:lnTo>
                  <a:lnTo>
                    <a:pt x="7177" y="1420"/>
                  </a:lnTo>
                  <a:lnTo>
                    <a:pt x="7162" y="1412"/>
                  </a:lnTo>
                  <a:lnTo>
                    <a:pt x="7145" y="1403"/>
                  </a:lnTo>
                  <a:lnTo>
                    <a:pt x="7127" y="1395"/>
                  </a:lnTo>
                  <a:lnTo>
                    <a:pt x="7101" y="1385"/>
                  </a:lnTo>
                  <a:lnTo>
                    <a:pt x="7078" y="1373"/>
                  </a:lnTo>
                  <a:lnTo>
                    <a:pt x="7073" y="1369"/>
                  </a:lnTo>
                  <a:lnTo>
                    <a:pt x="7068" y="1366"/>
                  </a:lnTo>
                  <a:lnTo>
                    <a:pt x="7064" y="1362"/>
                  </a:lnTo>
                  <a:lnTo>
                    <a:pt x="7061" y="1357"/>
                  </a:lnTo>
                  <a:lnTo>
                    <a:pt x="7058" y="1353"/>
                  </a:lnTo>
                  <a:lnTo>
                    <a:pt x="7056" y="1347"/>
                  </a:lnTo>
                  <a:lnTo>
                    <a:pt x="7055" y="1340"/>
                  </a:lnTo>
                  <a:lnTo>
                    <a:pt x="7054" y="1334"/>
                  </a:lnTo>
                  <a:lnTo>
                    <a:pt x="7055" y="1309"/>
                  </a:lnTo>
                  <a:lnTo>
                    <a:pt x="7056" y="1287"/>
                  </a:lnTo>
                  <a:lnTo>
                    <a:pt x="7055" y="1276"/>
                  </a:lnTo>
                  <a:lnTo>
                    <a:pt x="7054" y="1266"/>
                  </a:lnTo>
                  <a:lnTo>
                    <a:pt x="7049" y="1255"/>
                  </a:lnTo>
                  <a:lnTo>
                    <a:pt x="7044" y="1244"/>
                  </a:lnTo>
                  <a:lnTo>
                    <a:pt x="7041" y="1239"/>
                  </a:lnTo>
                  <a:lnTo>
                    <a:pt x="7037" y="1235"/>
                  </a:lnTo>
                  <a:lnTo>
                    <a:pt x="7033" y="1231"/>
                  </a:lnTo>
                  <a:lnTo>
                    <a:pt x="7029" y="1227"/>
                  </a:lnTo>
                  <a:lnTo>
                    <a:pt x="7020" y="1222"/>
                  </a:lnTo>
                  <a:lnTo>
                    <a:pt x="7010" y="1216"/>
                  </a:lnTo>
                  <a:lnTo>
                    <a:pt x="6990" y="1209"/>
                  </a:lnTo>
                  <a:lnTo>
                    <a:pt x="6967" y="1200"/>
                  </a:lnTo>
                  <a:lnTo>
                    <a:pt x="6957" y="1194"/>
                  </a:lnTo>
                  <a:lnTo>
                    <a:pt x="6948" y="1187"/>
                  </a:lnTo>
                  <a:lnTo>
                    <a:pt x="6941" y="1180"/>
                  </a:lnTo>
                  <a:lnTo>
                    <a:pt x="6934" y="1173"/>
                  </a:lnTo>
                  <a:lnTo>
                    <a:pt x="6927" y="1167"/>
                  </a:lnTo>
                  <a:lnTo>
                    <a:pt x="6919" y="1162"/>
                  </a:lnTo>
                  <a:lnTo>
                    <a:pt x="6913" y="1160"/>
                  </a:lnTo>
                  <a:lnTo>
                    <a:pt x="6909" y="1159"/>
                  </a:lnTo>
                  <a:lnTo>
                    <a:pt x="6904" y="1158"/>
                  </a:lnTo>
                  <a:lnTo>
                    <a:pt x="6898" y="1157"/>
                  </a:lnTo>
                  <a:lnTo>
                    <a:pt x="6880" y="1158"/>
                  </a:lnTo>
                  <a:lnTo>
                    <a:pt x="6865" y="1161"/>
                  </a:lnTo>
                  <a:lnTo>
                    <a:pt x="6849" y="1164"/>
                  </a:lnTo>
                  <a:lnTo>
                    <a:pt x="6836" y="1169"/>
                  </a:lnTo>
                  <a:lnTo>
                    <a:pt x="6822" y="1173"/>
                  </a:lnTo>
                  <a:lnTo>
                    <a:pt x="6807" y="1178"/>
                  </a:lnTo>
                  <a:lnTo>
                    <a:pt x="6791" y="1182"/>
                  </a:lnTo>
                  <a:lnTo>
                    <a:pt x="6773" y="1185"/>
                  </a:lnTo>
                  <a:lnTo>
                    <a:pt x="6756" y="1193"/>
                  </a:lnTo>
                  <a:lnTo>
                    <a:pt x="6739" y="1200"/>
                  </a:lnTo>
                  <a:lnTo>
                    <a:pt x="6725" y="1209"/>
                  </a:lnTo>
                  <a:lnTo>
                    <a:pt x="6710" y="1217"/>
                  </a:lnTo>
                  <a:lnTo>
                    <a:pt x="6696" y="1225"/>
                  </a:lnTo>
                  <a:lnTo>
                    <a:pt x="6681" y="1232"/>
                  </a:lnTo>
                  <a:lnTo>
                    <a:pt x="6673" y="1234"/>
                  </a:lnTo>
                  <a:lnTo>
                    <a:pt x="6665" y="1236"/>
                  </a:lnTo>
                  <a:lnTo>
                    <a:pt x="6656" y="1237"/>
                  </a:lnTo>
                  <a:lnTo>
                    <a:pt x="6646" y="1237"/>
                  </a:lnTo>
                  <a:lnTo>
                    <a:pt x="6637" y="1236"/>
                  </a:lnTo>
                  <a:lnTo>
                    <a:pt x="6629" y="1234"/>
                  </a:lnTo>
                  <a:lnTo>
                    <a:pt x="6620" y="1231"/>
                  </a:lnTo>
                  <a:lnTo>
                    <a:pt x="6613" y="1226"/>
                  </a:lnTo>
                  <a:lnTo>
                    <a:pt x="6601" y="1214"/>
                  </a:lnTo>
                  <a:lnTo>
                    <a:pt x="6590" y="1202"/>
                  </a:lnTo>
                  <a:lnTo>
                    <a:pt x="6578" y="1189"/>
                  </a:lnTo>
                  <a:lnTo>
                    <a:pt x="6565" y="1177"/>
                  </a:lnTo>
                  <a:lnTo>
                    <a:pt x="6558" y="1173"/>
                  </a:lnTo>
                  <a:lnTo>
                    <a:pt x="6550" y="1170"/>
                  </a:lnTo>
                  <a:lnTo>
                    <a:pt x="6542" y="1167"/>
                  </a:lnTo>
                  <a:lnTo>
                    <a:pt x="6533" y="1167"/>
                  </a:lnTo>
                  <a:lnTo>
                    <a:pt x="6527" y="1167"/>
                  </a:lnTo>
                  <a:lnTo>
                    <a:pt x="6521" y="1168"/>
                  </a:lnTo>
                  <a:lnTo>
                    <a:pt x="6516" y="1169"/>
                  </a:lnTo>
                  <a:lnTo>
                    <a:pt x="6511" y="1170"/>
                  </a:lnTo>
                  <a:lnTo>
                    <a:pt x="6502" y="1175"/>
                  </a:lnTo>
                  <a:lnTo>
                    <a:pt x="6494" y="1180"/>
                  </a:lnTo>
                  <a:lnTo>
                    <a:pt x="6477" y="1194"/>
                  </a:lnTo>
                  <a:lnTo>
                    <a:pt x="6458" y="1206"/>
                  </a:lnTo>
                  <a:lnTo>
                    <a:pt x="6426" y="1224"/>
                  </a:lnTo>
                  <a:lnTo>
                    <a:pt x="6397" y="1241"/>
                  </a:lnTo>
                  <a:lnTo>
                    <a:pt x="6384" y="1250"/>
                  </a:lnTo>
                  <a:lnTo>
                    <a:pt x="6373" y="1262"/>
                  </a:lnTo>
                  <a:lnTo>
                    <a:pt x="6368" y="1268"/>
                  </a:lnTo>
                  <a:lnTo>
                    <a:pt x="6363" y="1275"/>
                  </a:lnTo>
                  <a:lnTo>
                    <a:pt x="6359" y="1284"/>
                  </a:lnTo>
                  <a:lnTo>
                    <a:pt x="6353" y="1292"/>
                  </a:lnTo>
                  <a:lnTo>
                    <a:pt x="6344" y="1287"/>
                  </a:lnTo>
                  <a:lnTo>
                    <a:pt x="6335" y="1285"/>
                  </a:lnTo>
                  <a:lnTo>
                    <a:pt x="6327" y="1286"/>
                  </a:lnTo>
                  <a:lnTo>
                    <a:pt x="6319" y="1288"/>
                  </a:lnTo>
                  <a:lnTo>
                    <a:pt x="6311" y="1291"/>
                  </a:lnTo>
                  <a:lnTo>
                    <a:pt x="6303" y="1292"/>
                  </a:lnTo>
                  <a:lnTo>
                    <a:pt x="6290" y="1291"/>
                  </a:lnTo>
                  <a:lnTo>
                    <a:pt x="6279" y="1288"/>
                  </a:lnTo>
                  <a:lnTo>
                    <a:pt x="6270" y="1284"/>
                  </a:lnTo>
                  <a:lnTo>
                    <a:pt x="6261" y="1278"/>
                  </a:lnTo>
                  <a:lnTo>
                    <a:pt x="6242" y="1265"/>
                  </a:lnTo>
                  <a:lnTo>
                    <a:pt x="6223" y="1249"/>
                  </a:lnTo>
                  <a:lnTo>
                    <a:pt x="6211" y="1241"/>
                  </a:lnTo>
                  <a:lnTo>
                    <a:pt x="6199" y="1235"/>
                  </a:lnTo>
                  <a:lnTo>
                    <a:pt x="6193" y="1232"/>
                  </a:lnTo>
                  <a:lnTo>
                    <a:pt x="6187" y="1228"/>
                  </a:lnTo>
                  <a:lnTo>
                    <a:pt x="6183" y="1223"/>
                  </a:lnTo>
                  <a:lnTo>
                    <a:pt x="6179" y="1216"/>
                  </a:lnTo>
                  <a:lnTo>
                    <a:pt x="6176" y="1206"/>
                  </a:lnTo>
                  <a:lnTo>
                    <a:pt x="6174" y="1197"/>
                  </a:lnTo>
                  <a:lnTo>
                    <a:pt x="6173" y="1187"/>
                  </a:lnTo>
                  <a:lnTo>
                    <a:pt x="6173" y="1178"/>
                  </a:lnTo>
                  <a:lnTo>
                    <a:pt x="6173" y="1168"/>
                  </a:lnTo>
                  <a:lnTo>
                    <a:pt x="6173" y="1159"/>
                  </a:lnTo>
                  <a:lnTo>
                    <a:pt x="6172" y="1148"/>
                  </a:lnTo>
                  <a:lnTo>
                    <a:pt x="6170" y="1138"/>
                  </a:lnTo>
                  <a:lnTo>
                    <a:pt x="6166" y="1127"/>
                  </a:lnTo>
                  <a:lnTo>
                    <a:pt x="6162" y="1117"/>
                  </a:lnTo>
                  <a:lnTo>
                    <a:pt x="6156" y="1108"/>
                  </a:lnTo>
                  <a:lnTo>
                    <a:pt x="6150" y="1100"/>
                  </a:lnTo>
                  <a:lnTo>
                    <a:pt x="6144" y="1091"/>
                  </a:lnTo>
                  <a:lnTo>
                    <a:pt x="6138" y="1083"/>
                  </a:lnTo>
                  <a:lnTo>
                    <a:pt x="6133" y="1073"/>
                  </a:lnTo>
                  <a:lnTo>
                    <a:pt x="6128" y="1063"/>
                  </a:lnTo>
                  <a:lnTo>
                    <a:pt x="6123" y="1050"/>
                  </a:lnTo>
                  <a:lnTo>
                    <a:pt x="6120" y="1038"/>
                  </a:lnTo>
                  <a:lnTo>
                    <a:pt x="6118" y="1026"/>
                  </a:lnTo>
                  <a:lnTo>
                    <a:pt x="6117" y="1016"/>
                  </a:lnTo>
                  <a:lnTo>
                    <a:pt x="6116" y="1005"/>
                  </a:lnTo>
                  <a:lnTo>
                    <a:pt x="6114" y="993"/>
                  </a:lnTo>
                  <a:lnTo>
                    <a:pt x="6112" y="981"/>
                  </a:lnTo>
                  <a:lnTo>
                    <a:pt x="6108" y="969"/>
                  </a:lnTo>
                  <a:lnTo>
                    <a:pt x="6096" y="972"/>
                  </a:lnTo>
                  <a:lnTo>
                    <a:pt x="6084" y="975"/>
                  </a:lnTo>
                  <a:lnTo>
                    <a:pt x="6072" y="977"/>
                  </a:lnTo>
                  <a:lnTo>
                    <a:pt x="6058" y="978"/>
                  </a:lnTo>
                  <a:lnTo>
                    <a:pt x="6048" y="977"/>
                  </a:lnTo>
                  <a:lnTo>
                    <a:pt x="6040" y="975"/>
                  </a:lnTo>
                  <a:lnTo>
                    <a:pt x="6031" y="974"/>
                  </a:lnTo>
                  <a:lnTo>
                    <a:pt x="6020" y="973"/>
                  </a:lnTo>
                  <a:lnTo>
                    <a:pt x="6015" y="973"/>
                  </a:lnTo>
                  <a:lnTo>
                    <a:pt x="6010" y="975"/>
                  </a:lnTo>
                  <a:lnTo>
                    <a:pt x="6006" y="976"/>
                  </a:lnTo>
                  <a:lnTo>
                    <a:pt x="6002" y="979"/>
                  </a:lnTo>
                  <a:lnTo>
                    <a:pt x="5999" y="981"/>
                  </a:lnTo>
                  <a:lnTo>
                    <a:pt x="5996" y="985"/>
                  </a:lnTo>
                  <a:lnTo>
                    <a:pt x="5993" y="989"/>
                  </a:lnTo>
                  <a:lnTo>
                    <a:pt x="5991" y="993"/>
                  </a:lnTo>
                  <a:lnTo>
                    <a:pt x="5983" y="1013"/>
                  </a:lnTo>
                  <a:lnTo>
                    <a:pt x="5976" y="1035"/>
                  </a:lnTo>
                  <a:lnTo>
                    <a:pt x="5974" y="1041"/>
                  </a:lnTo>
                  <a:lnTo>
                    <a:pt x="5970" y="1047"/>
                  </a:lnTo>
                  <a:lnTo>
                    <a:pt x="5966" y="1051"/>
                  </a:lnTo>
                  <a:lnTo>
                    <a:pt x="5962" y="1055"/>
                  </a:lnTo>
                  <a:lnTo>
                    <a:pt x="5956" y="1059"/>
                  </a:lnTo>
                  <a:lnTo>
                    <a:pt x="5951" y="1063"/>
                  </a:lnTo>
                  <a:lnTo>
                    <a:pt x="5945" y="1066"/>
                  </a:lnTo>
                  <a:lnTo>
                    <a:pt x="5939" y="1068"/>
                  </a:lnTo>
                  <a:lnTo>
                    <a:pt x="5913" y="1075"/>
                  </a:lnTo>
                  <a:lnTo>
                    <a:pt x="5884" y="1084"/>
                  </a:lnTo>
                  <a:lnTo>
                    <a:pt x="5872" y="1089"/>
                  </a:lnTo>
                  <a:lnTo>
                    <a:pt x="5860" y="1096"/>
                  </a:lnTo>
                  <a:lnTo>
                    <a:pt x="5850" y="1102"/>
                  </a:lnTo>
                  <a:lnTo>
                    <a:pt x="5841" y="1109"/>
                  </a:lnTo>
                  <a:lnTo>
                    <a:pt x="5832" y="1117"/>
                  </a:lnTo>
                  <a:lnTo>
                    <a:pt x="5823" y="1126"/>
                  </a:lnTo>
                  <a:lnTo>
                    <a:pt x="5816" y="1135"/>
                  </a:lnTo>
                  <a:lnTo>
                    <a:pt x="5810" y="1144"/>
                  </a:lnTo>
                  <a:lnTo>
                    <a:pt x="5804" y="1154"/>
                  </a:lnTo>
                  <a:lnTo>
                    <a:pt x="5799" y="1166"/>
                  </a:lnTo>
                  <a:lnTo>
                    <a:pt x="5793" y="1177"/>
                  </a:lnTo>
                  <a:lnTo>
                    <a:pt x="5788" y="1189"/>
                  </a:lnTo>
                  <a:lnTo>
                    <a:pt x="5781" y="1213"/>
                  </a:lnTo>
                  <a:lnTo>
                    <a:pt x="5774" y="1239"/>
                  </a:lnTo>
                  <a:lnTo>
                    <a:pt x="5765" y="1242"/>
                  </a:lnTo>
                  <a:lnTo>
                    <a:pt x="5753" y="1236"/>
                  </a:lnTo>
                  <a:lnTo>
                    <a:pt x="5743" y="1229"/>
                  </a:lnTo>
                  <a:lnTo>
                    <a:pt x="5735" y="1222"/>
                  </a:lnTo>
                  <a:lnTo>
                    <a:pt x="5726" y="1214"/>
                  </a:lnTo>
                  <a:lnTo>
                    <a:pt x="5719" y="1206"/>
                  </a:lnTo>
                  <a:lnTo>
                    <a:pt x="5713" y="1197"/>
                  </a:lnTo>
                  <a:lnTo>
                    <a:pt x="5708" y="1187"/>
                  </a:lnTo>
                  <a:lnTo>
                    <a:pt x="5703" y="1178"/>
                  </a:lnTo>
                  <a:lnTo>
                    <a:pt x="5686" y="1136"/>
                  </a:lnTo>
                  <a:lnTo>
                    <a:pt x="5670" y="1088"/>
                  </a:lnTo>
                  <a:lnTo>
                    <a:pt x="5666" y="1076"/>
                  </a:lnTo>
                  <a:lnTo>
                    <a:pt x="5659" y="1064"/>
                  </a:lnTo>
                  <a:lnTo>
                    <a:pt x="5653" y="1052"/>
                  </a:lnTo>
                  <a:lnTo>
                    <a:pt x="5646" y="1043"/>
                  </a:lnTo>
                  <a:lnTo>
                    <a:pt x="5642" y="1038"/>
                  </a:lnTo>
                  <a:lnTo>
                    <a:pt x="5638" y="1035"/>
                  </a:lnTo>
                  <a:lnTo>
                    <a:pt x="5633" y="1031"/>
                  </a:lnTo>
                  <a:lnTo>
                    <a:pt x="5628" y="1027"/>
                  </a:lnTo>
                  <a:lnTo>
                    <a:pt x="5622" y="1025"/>
                  </a:lnTo>
                  <a:lnTo>
                    <a:pt x="5617" y="1024"/>
                  </a:lnTo>
                  <a:lnTo>
                    <a:pt x="5611" y="1022"/>
                  </a:lnTo>
                  <a:lnTo>
                    <a:pt x="5604" y="1022"/>
                  </a:lnTo>
                  <a:lnTo>
                    <a:pt x="5594" y="1023"/>
                  </a:lnTo>
                  <a:lnTo>
                    <a:pt x="5585" y="1025"/>
                  </a:lnTo>
                  <a:lnTo>
                    <a:pt x="5576" y="1027"/>
                  </a:lnTo>
                  <a:lnTo>
                    <a:pt x="5569" y="1032"/>
                  </a:lnTo>
                  <a:lnTo>
                    <a:pt x="5553" y="1041"/>
                  </a:lnTo>
                  <a:lnTo>
                    <a:pt x="5539" y="1052"/>
                  </a:lnTo>
                  <a:lnTo>
                    <a:pt x="5525" y="1063"/>
                  </a:lnTo>
                  <a:lnTo>
                    <a:pt x="5510" y="1072"/>
                  </a:lnTo>
                  <a:lnTo>
                    <a:pt x="5502" y="1076"/>
                  </a:lnTo>
                  <a:lnTo>
                    <a:pt x="5493" y="1079"/>
                  </a:lnTo>
                  <a:lnTo>
                    <a:pt x="5484" y="1081"/>
                  </a:lnTo>
                  <a:lnTo>
                    <a:pt x="5475" y="1081"/>
                  </a:lnTo>
                  <a:lnTo>
                    <a:pt x="5470" y="1080"/>
                  </a:lnTo>
                  <a:lnTo>
                    <a:pt x="5467" y="1078"/>
                  </a:lnTo>
                  <a:lnTo>
                    <a:pt x="5463" y="1075"/>
                  </a:lnTo>
                  <a:lnTo>
                    <a:pt x="5461" y="1071"/>
                  </a:lnTo>
                  <a:lnTo>
                    <a:pt x="5459" y="1067"/>
                  </a:lnTo>
                  <a:lnTo>
                    <a:pt x="5457" y="1063"/>
                  </a:lnTo>
                  <a:lnTo>
                    <a:pt x="5454" y="1058"/>
                  </a:lnTo>
                  <a:lnTo>
                    <a:pt x="5451" y="1055"/>
                  </a:lnTo>
                  <a:lnTo>
                    <a:pt x="5443" y="1050"/>
                  </a:lnTo>
                  <a:lnTo>
                    <a:pt x="5437" y="1045"/>
                  </a:lnTo>
                  <a:lnTo>
                    <a:pt x="5430" y="1039"/>
                  </a:lnTo>
                  <a:lnTo>
                    <a:pt x="5425" y="1033"/>
                  </a:lnTo>
                  <a:lnTo>
                    <a:pt x="5421" y="1026"/>
                  </a:lnTo>
                  <a:lnTo>
                    <a:pt x="5418" y="1019"/>
                  </a:lnTo>
                  <a:lnTo>
                    <a:pt x="5416" y="1011"/>
                  </a:lnTo>
                  <a:lnTo>
                    <a:pt x="5415" y="1003"/>
                  </a:lnTo>
                  <a:lnTo>
                    <a:pt x="5416" y="991"/>
                  </a:lnTo>
                  <a:lnTo>
                    <a:pt x="5419" y="981"/>
                  </a:lnTo>
                  <a:lnTo>
                    <a:pt x="5421" y="971"/>
                  </a:lnTo>
                  <a:lnTo>
                    <a:pt x="5422" y="959"/>
                  </a:lnTo>
                  <a:lnTo>
                    <a:pt x="5421" y="950"/>
                  </a:lnTo>
                  <a:lnTo>
                    <a:pt x="5420" y="940"/>
                  </a:lnTo>
                  <a:lnTo>
                    <a:pt x="5408" y="939"/>
                  </a:lnTo>
                  <a:lnTo>
                    <a:pt x="5394" y="938"/>
                  </a:lnTo>
                  <a:lnTo>
                    <a:pt x="5382" y="938"/>
                  </a:lnTo>
                  <a:lnTo>
                    <a:pt x="5371" y="940"/>
                  </a:lnTo>
                  <a:lnTo>
                    <a:pt x="5360" y="943"/>
                  </a:lnTo>
                  <a:lnTo>
                    <a:pt x="5350" y="946"/>
                  </a:lnTo>
                  <a:lnTo>
                    <a:pt x="5341" y="951"/>
                  </a:lnTo>
                  <a:lnTo>
                    <a:pt x="5331" y="956"/>
                  </a:lnTo>
                  <a:lnTo>
                    <a:pt x="5323" y="962"/>
                  </a:lnTo>
                  <a:lnTo>
                    <a:pt x="5315" y="969"/>
                  </a:lnTo>
                  <a:lnTo>
                    <a:pt x="5284" y="1001"/>
                  </a:lnTo>
                  <a:lnTo>
                    <a:pt x="5250" y="1037"/>
                  </a:lnTo>
                  <a:lnTo>
                    <a:pt x="5245" y="1044"/>
                  </a:lnTo>
                  <a:lnTo>
                    <a:pt x="5241" y="1051"/>
                  </a:lnTo>
                  <a:lnTo>
                    <a:pt x="5237" y="1059"/>
                  </a:lnTo>
                  <a:lnTo>
                    <a:pt x="5233" y="1067"/>
                  </a:lnTo>
                  <a:lnTo>
                    <a:pt x="5229" y="1073"/>
                  </a:lnTo>
                  <a:lnTo>
                    <a:pt x="5224" y="1079"/>
                  </a:lnTo>
                  <a:lnTo>
                    <a:pt x="5221" y="1081"/>
                  </a:lnTo>
                  <a:lnTo>
                    <a:pt x="5218" y="1082"/>
                  </a:lnTo>
                  <a:lnTo>
                    <a:pt x="5215" y="1083"/>
                  </a:lnTo>
                  <a:lnTo>
                    <a:pt x="5210" y="1084"/>
                  </a:lnTo>
                  <a:lnTo>
                    <a:pt x="5206" y="1083"/>
                  </a:lnTo>
                  <a:lnTo>
                    <a:pt x="5201" y="1082"/>
                  </a:lnTo>
                  <a:lnTo>
                    <a:pt x="5198" y="1081"/>
                  </a:lnTo>
                  <a:lnTo>
                    <a:pt x="5195" y="1078"/>
                  </a:lnTo>
                  <a:lnTo>
                    <a:pt x="5190" y="1073"/>
                  </a:lnTo>
                  <a:lnTo>
                    <a:pt x="5187" y="1065"/>
                  </a:lnTo>
                  <a:lnTo>
                    <a:pt x="5181" y="1047"/>
                  </a:lnTo>
                  <a:lnTo>
                    <a:pt x="5173" y="1030"/>
                  </a:lnTo>
                  <a:lnTo>
                    <a:pt x="5166" y="1021"/>
                  </a:lnTo>
                  <a:lnTo>
                    <a:pt x="5161" y="1014"/>
                  </a:lnTo>
                  <a:lnTo>
                    <a:pt x="5154" y="1007"/>
                  </a:lnTo>
                  <a:lnTo>
                    <a:pt x="5148" y="1002"/>
                  </a:lnTo>
                  <a:lnTo>
                    <a:pt x="5141" y="996"/>
                  </a:lnTo>
                  <a:lnTo>
                    <a:pt x="5133" y="992"/>
                  </a:lnTo>
                  <a:lnTo>
                    <a:pt x="5126" y="988"/>
                  </a:lnTo>
                  <a:lnTo>
                    <a:pt x="5118" y="985"/>
                  </a:lnTo>
                  <a:lnTo>
                    <a:pt x="5101" y="980"/>
                  </a:lnTo>
                  <a:lnTo>
                    <a:pt x="5084" y="975"/>
                  </a:lnTo>
                  <a:lnTo>
                    <a:pt x="5065" y="971"/>
                  </a:lnTo>
                  <a:lnTo>
                    <a:pt x="5045" y="965"/>
                  </a:lnTo>
                  <a:lnTo>
                    <a:pt x="5045" y="1017"/>
                  </a:lnTo>
                  <a:lnTo>
                    <a:pt x="5045" y="1034"/>
                  </a:lnTo>
                  <a:lnTo>
                    <a:pt x="5043" y="1049"/>
                  </a:lnTo>
                  <a:lnTo>
                    <a:pt x="5040" y="1063"/>
                  </a:lnTo>
                  <a:lnTo>
                    <a:pt x="5035" y="1076"/>
                  </a:lnTo>
                  <a:lnTo>
                    <a:pt x="5032" y="1089"/>
                  </a:lnTo>
                  <a:lnTo>
                    <a:pt x="5028" y="1104"/>
                  </a:lnTo>
                  <a:lnTo>
                    <a:pt x="5026" y="1118"/>
                  </a:lnTo>
                  <a:lnTo>
                    <a:pt x="5024" y="1135"/>
                  </a:lnTo>
                  <a:lnTo>
                    <a:pt x="5012" y="1135"/>
                  </a:lnTo>
                  <a:lnTo>
                    <a:pt x="5000" y="1136"/>
                  </a:lnTo>
                  <a:lnTo>
                    <a:pt x="4990" y="1136"/>
                  </a:lnTo>
                  <a:lnTo>
                    <a:pt x="4978" y="1136"/>
                  </a:lnTo>
                  <a:lnTo>
                    <a:pt x="4972" y="1136"/>
                  </a:lnTo>
                  <a:lnTo>
                    <a:pt x="4966" y="1135"/>
                  </a:lnTo>
                  <a:lnTo>
                    <a:pt x="4961" y="1134"/>
                  </a:lnTo>
                  <a:lnTo>
                    <a:pt x="4957" y="1132"/>
                  </a:lnTo>
                  <a:lnTo>
                    <a:pt x="4948" y="1128"/>
                  </a:lnTo>
                  <a:lnTo>
                    <a:pt x="4940" y="1122"/>
                  </a:lnTo>
                  <a:lnTo>
                    <a:pt x="4931" y="1117"/>
                  </a:lnTo>
                  <a:lnTo>
                    <a:pt x="4923" y="1113"/>
                  </a:lnTo>
                  <a:lnTo>
                    <a:pt x="4913" y="1109"/>
                  </a:lnTo>
                  <a:lnTo>
                    <a:pt x="4902" y="1107"/>
                  </a:lnTo>
                  <a:lnTo>
                    <a:pt x="4902" y="1095"/>
                  </a:lnTo>
                  <a:lnTo>
                    <a:pt x="4901" y="1082"/>
                  </a:lnTo>
                  <a:lnTo>
                    <a:pt x="4901" y="1071"/>
                  </a:lnTo>
                  <a:lnTo>
                    <a:pt x="4901" y="1057"/>
                  </a:lnTo>
                  <a:lnTo>
                    <a:pt x="4902" y="1048"/>
                  </a:lnTo>
                  <a:lnTo>
                    <a:pt x="4903" y="1040"/>
                  </a:lnTo>
                  <a:lnTo>
                    <a:pt x="4906" y="1033"/>
                  </a:lnTo>
                  <a:lnTo>
                    <a:pt x="4909" y="1024"/>
                  </a:lnTo>
                  <a:lnTo>
                    <a:pt x="4911" y="1017"/>
                  </a:lnTo>
                  <a:lnTo>
                    <a:pt x="4914" y="1010"/>
                  </a:lnTo>
                  <a:lnTo>
                    <a:pt x="4915" y="1002"/>
                  </a:lnTo>
                  <a:lnTo>
                    <a:pt x="4916" y="992"/>
                  </a:lnTo>
                  <a:lnTo>
                    <a:pt x="4916" y="973"/>
                  </a:lnTo>
                  <a:lnTo>
                    <a:pt x="4909" y="973"/>
                  </a:lnTo>
                  <a:lnTo>
                    <a:pt x="4903" y="972"/>
                  </a:lnTo>
                  <a:lnTo>
                    <a:pt x="4897" y="970"/>
                  </a:lnTo>
                  <a:lnTo>
                    <a:pt x="4892" y="967"/>
                  </a:lnTo>
                  <a:lnTo>
                    <a:pt x="4883" y="961"/>
                  </a:lnTo>
                  <a:lnTo>
                    <a:pt x="4874" y="954"/>
                  </a:lnTo>
                  <a:lnTo>
                    <a:pt x="4864" y="947"/>
                  </a:lnTo>
                  <a:lnTo>
                    <a:pt x="4854" y="941"/>
                  </a:lnTo>
                  <a:lnTo>
                    <a:pt x="4849" y="939"/>
                  </a:lnTo>
                  <a:lnTo>
                    <a:pt x="4844" y="937"/>
                  </a:lnTo>
                  <a:lnTo>
                    <a:pt x="4837" y="936"/>
                  </a:lnTo>
                  <a:lnTo>
                    <a:pt x="4830" y="936"/>
                  </a:lnTo>
                  <a:lnTo>
                    <a:pt x="4820" y="936"/>
                  </a:lnTo>
                  <a:lnTo>
                    <a:pt x="4810" y="938"/>
                  </a:lnTo>
                  <a:lnTo>
                    <a:pt x="4800" y="941"/>
                  </a:lnTo>
                  <a:lnTo>
                    <a:pt x="4792" y="944"/>
                  </a:lnTo>
                  <a:lnTo>
                    <a:pt x="4783" y="948"/>
                  </a:lnTo>
                  <a:lnTo>
                    <a:pt x="4774" y="951"/>
                  </a:lnTo>
                  <a:lnTo>
                    <a:pt x="4764" y="954"/>
                  </a:lnTo>
                  <a:lnTo>
                    <a:pt x="4753" y="956"/>
                  </a:lnTo>
                  <a:lnTo>
                    <a:pt x="4724" y="958"/>
                  </a:lnTo>
                  <a:lnTo>
                    <a:pt x="4699" y="959"/>
                  </a:lnTo>
                  <a:lnTo>
                    <a:pt x="4675" y="960"/>
                  </a:lnTo>
                  <a:lnTo>
                    <a:pt x="4646" y="961"/>
                  </a:lnTo>
                  <a:lnTo>
                    <a:pt x="4637" y="960"/>
                  </a:lnTo>
                  <a:lnTo>
                    <a:pt x="4630" y="957"/>
                  </a:lnTo>
                  <a:lnTo>
                    <a:pt x="4625" y="953"/>
                  </a:lnTo>
                  <a:lnTo>
                    <a:pt x="4620" y="948"/>
                  </a:lnTo>
                  <a:lnTo>
                    <a:pt x="4617" y="941"/>
                  </a:lnTo>
                  <a:lnTo>
                    <a:pt x="4614" y="933"/>
                  </a:lnTo>
                  <a:lnTo>
                    <a:pt x="4612" y="925"/>
                  </a:lnTo>
                  <a:lnTo>
                    <a:pt x="4610" y="917"/>
                  </a:lnTo>
                  <a:lnTo>
                    <a:pt x="4605" y="898"/>
                  </a:lnTo>
                  <a:lnTo>
                    <a:pt x="4599" y="881"/>
                  </a:lnTo>
                  <a:lnTo>
                    <a:pt x="4596" y="873"/>
                  </a:lnTo>
                  <a:lnTo>
                    <a:pt x="4591" y="864"/>
                  </a:lnTo>
                  <a:lnTo>
                    <a:pt x="4586" y="858"/>
                  </a:lnTo>
                  <a:lnTo>
                    <a:pt x="4579" y="853"/>
                  </a:lnTo>
                  <a:lnTo>
                    <a:pt x="4569" y="847"/>
                  </a:lnTo>
                  <a:lnTo>
                    <a:pt x="4562" y="841"/>
                  </a:lnTo>
                  <a:lnTo>
                    <a:pt x="4556" y="833"/>
                  </a:lnTo>
                  <a:lnTo>
                    <a:pt x="4550" y="826"/>
                  </a:lnTo>
                  <a:lnTo>
                    <a:pt x="4546" y="818"/>
                  </a:lnTo>
                  <a:lnTo>
                    <a:pt x="4541" y="811"/>
                  </a:lnTo>
                  <a:lnTo>
                    <a:pt x="4538" y="802"/>
                  </a:lnTo>
                  <a:lnTo>
                    <a:pt x="4535" y="793"/>
                  </a:lnTo>
                  <a:lnTo>
                    <a:pt x="4531" y="774"/>
                  </a:lnTo>
                  <a:lnTo>
                    <a:pt x="4529" y="755"/>
                  </a:lnTo>
                  <a:lnTo>
                    <a:pt x="4527" y="734"/>
                  </a:lnTo>
                  <a:lnTo>
                    <a:pt x="4524" y="714"/>
                  </a:lnTo>
                  <a:lnTo>
                    <a:pt x="4496" y="714"/>
                  </a:lnTo>
                  <a:lnTo>
                    <a:pt x="4490" y="714"/>
                  </a:lnTo>
                  <a:lnTo>
                    <a:pt x="4484" y="716"/>
                  </a:lnTo>
                  <a:lnTo>
                    <a:pt x="4478" y="718"/>
                  </a:lnTo>
                  <a:lnTo>
                    <a:pt x="4472" y="721"/>
                  </a:lnTo>
                  <a:lnTo>
                    <a:pt x="4461" y="727"/>
                  </a:lnTo>
                  <a:lnTo>
                    <a:pt x="4449" y="732"/>
                  </a:lnTo>
                  <a:lnTo>
                    <a:pt x="4430" y="737"/>
                  </a:lnTo>
                  <a:lnTo>
                    <a:pt x="4413" y="742"/>
                  </a:lnTo>
                  <a:lnTo>
                    <a:pt x="4396" y="746"/>
                  </a:lnTo>
                  <a:lnTo>
                    <a:pt x="4380" y="748"/>
                  </a:lnTo>
                  <a:lnTo>
                    <a:pt x="4363" y="750"/>
                  </a:lnTo>
                  <a:lnTo>
                    <a:pt x="4346" y="751"/>
                  </a:lnTo>
                  <a:lnTo>
                    <a:pt x="4327" y="751"/>
                  </a:lnTo>
                  <a:lnTo>
                    <a:pt x="4307" y="751"/>
                  </a:lnTo>
                  <a:lnTo>
                    <a:pt x="4298" y="751"/>
                  </a:lnTo>
                  <a:lnTo>
                    <a:pt x="4289" y="750"/>
                  </a:lnTo>
                  <a:lnTo>
                    <a:pt x="4281" y="748"/>
                  </a:lnTo>
                  <a:lnTo>
                    <a:pt x="4272" y="743"/>
                  </a:lnTo>
                  <a:lnTo>
                    <a:pt x="4257" y="738"/>
                  </a:lnTo>
                  <a:lnTo>
                    <a:pt x="4244" y="731"/>
                  </a:lnTo>
                  <a:lnTo>
                    <a:pt x="4232" y="724"/>
                  </a:lnTo>
                  <a:lnTo>
                    <a:pt x="4221" y="717"/>
                  </a:lnTo>
                  <a:lnTo>
                    <a:pt x="4208" y="709"/>
                  </a:lnTo>
                  <a:lnTo>
                    <a:pt x="4196" y="702"/>
                  </a:lnTo>
                  <a:lnTo>
                    <a:pt x="4184" y="697"/>
                  </a:lnTo>
                  <a:lnTo>
                    <a:pt x="4168" y="692"/>
                  </a:lnTo>
                  <a:lnTo>
                    <a:pt x="4151" y="689"/>
                  </a:lnTo>
                  <a:lnTo>
                    <a:pt x="4134" y="688"/>
                  </a:lnTo>
                  <a:lnTo>
                    <a:pt x="4119" y="688"/>
                  </a:lnTo>
                  <a:lnTo>
                    <a:pt x="4103" y="688"/>
                  </a:lnTo>
                  <a:lnTo>
                    <a:pt x="4089" y="688"/>
                  </a:lnTo>
                  <a:lnTo>
                    <a:pt x="4073" y="687"/>
                  </a:lnTo>
                  <a:lnTo>
                    <a:pt x="4066" y="685"/>
                  </a:lnTo>
                  <a:lnTo>
                    <a:pt x="4058" y="684"/>
                  </a:lnTo>
                  <a:lnTo>
                    <a:pt x="4050" y="680"/>
                  </a:lnTo>
                  <a:lnTo>
                    <a:pt x="4041" y="677"/>
                  </a:lnTo>
                  <a:lnTo>
                    <a:pt x="4033" y="674"/>
                  </a:lnTo>
                  <a:lnTo>
                    <a:pt x="4027" y="669"/>
                  </a:lnTo>
                  <a:lnTo>
                    <a:pt x="4022" y="664"/>
                  </a:lnTo>
                  <a:lnTo>
                    <a:pt x="4017" y="658"/>
                  </a:lnTo>
                  <a:lnTo>
                    <a:pt x="4008" y="644"/>
                  </a:lnTo>
                  <a:lnTo>
                    <a:pt x="3998" y="631"/>
                  </a:lnTo>
                  <a:lnTo>
                    <a:pt x="3994" y="626"/>
                  </a:lnTo>
                  <a:lnTo>
                    <a:pt x="3990" y="622"/>
                  </a:lnTo>
                  <a:lnTo>
                    <a:pt x="3985" y="619"/>
                  </a:lnTo>
                  <a:lnTo>
                    <a:pt x="3980" y="615"/>
                  </a:lnTo>
                  <a:lnTo>
                    <a:pt x="3970" y="611"/>
                  </a:lnTo>
                  <a:lnTo>
                    <a:pt x="3960" y="608"/>
                  </a:lnTo>
                  <a:lnTo>
                    <a:pt x="3936" y="607"/>
                  </a:lnTo>
                  <a:lnTo>
                    <a:pt x="3910" y="607"/>
                  </a:lnTo>
                  <a:lnTo>
                    <a:pt x="3806" y="607"/>
                  </a:lnTo>
                  <a:lnTo>
                    <a:pt x="3794" y="606"/>
                  </a:lnTo>
                  <a:lnTo>
                    <a:pt x="3782" y="604"/>
                  </a:lnTo>
                  <a:lnTo>
                    <a:pt x="3773" y="601"/>
                  </a:lnTo>
                  <a:lnTo>
                    <a:pt x="3763" y="597"/>
                  </a:lnTo>
                  <a:lnTo>
                    <a:pt x="3755" y="592"/>
                  </a:lnTo>
                  <a:lnTo>
                    <a:pt x="3745" y="585"/>
                  </a:lnTo>
                  <a:lnTo>
                    <a:pt x="3737" y="579"/>
                  </a:lnTo>
                  <a:lnTo>
                    <a:pt x="3730" y="573"/>
                  </a:lnTo>
                  <a:lnTo>
                    <a:pt x="3713" y="560"/>
                  </a:lnTo>
                  <a:lnTo>
                    <a:pt x="3696" y="546"/>
                  </a:lnTo>
                  <a:lnTo>
                    <a:pt x="3687" y="541"/>
                  </a:lnTo>
                  <a:lnTo>
                    <a:pt x="3676" y="536"/>
                  </a:lnTo>
                  <a:lnTo>
                    <a:pt x="3666" y="532"/>
                  </a:lnTo>
                  <a:lnTo>
                    <a:pt x="3655" y="529"/>
                  </a:lnTo>
                  <a:lnTo>
                    <a:pt x="3642" y="526"/>
                  </a:lnTo>
                  <a:lnTo>
                    <a:pt x="3632" y="521"/>
                  </a:lnTo>
                  <a:lnTo>
                    <a:pt x="3623" y="516"/>
                  </a:lnTo>
                  <a:lnTo>
                    <a:pt x="3613" y="510"/>
                  </a:lnTo>
                  <a:lnTo>
                    <a:pt x="3606" y="502"/>
                  </a:lnTo>
                  <a:lnTo>
                    <a:pt x="3599" y="494"/>
                  </a:lnTo>
                  <a:lnTo>
                    <a:pt x="3594" y="483"/>
                  </a:lnTo>
                  <a:lnTo>
                    <a:pt x="3589" y="472"/>
                  </a:lnTo>
                  <a:lnTo>
                    <a:pt x="3582" y="456"/>
                  </a:lnTo>
                  <a:lnTo>
                    <a:pt x="3575" y="441"/>
                  </a:lnTo>
                  <a:lnTo>
                    <a:pt x="3570" y="435"/>
                  </a:lnTo>
                  <a:lnTo>
                    <a:pt x="3565" y="430"/>
                  </a:lnTo>
                  <a:lnTo>
                    <a:pt x="3562" y="427"/>
                  </a:lnTo>
                  <a:lnTo>
                    <a:pt x="3559" y="426"/>
                  </a:lnTo>
                  <a:lnTo>
                    <a:pt x="3555" y="425"/>
                  </a:lnTo>
                  <a:lnTo>
                    <a:pt x="3550" y="425"/>
                  </a:lnTo>
                  <a:lnTo>
                    <a:pt x="3539" y="425"/>
                  </a:lnTo>
                  <a:lnTo>
                    <a:pt x="3528" y="427"/>
                  </a:lnTo>
                  <a:lnTo>
                    <a:pt x="3517" y="431"/>
                  </a:lnTo>
                  <a:lnTo>
                    <a:pt x="3507" y="434"/>
                  </a:lnTo>
                  <a:lnTo>
                    <a:pt x="3489" y="443"/>
                  </a:lnTo>
                  <a:lnTo>
                    <a:pt x="3471" y="453"/>
                  </a:lnTo>
                  <a:lnTo>
                    <a:pt x="3454" y="464"/>
                  </a:lnTo>
                  <a:lnTo>
                    <a:pt x="3435" y="473"/>
                  </a:lnTo>
                  <a:lnTo>
                    <a:pt x="3425" y="477"/>
                  </a:lnTo>
                  <a:lnTo>
                    <a:pt x="3414" y="479"/>
                  </a:lnTo>
                  <a:lnTo>
                    <a:pt x="3403" y="481"/>
                  </a:lnTo>
                  <a:lnTo>
                    <a:pt x="3392" y="482"/>
                  </a:lnTo>
                  <a:lnTo>
                    <a:pt x="3362" y="481"/>
                  </a:lnTo>
                  <a:lnTo>
                    <a:pt x="3335" y="478"/>
                  </a:lnTo>
                  <a:lnTo>
                    <a:pt x="3309" y="475"/>
                  </a:lnTo>
                  <a:lnTo>
                    <a:pt x="3284" y="471"/>
                  </a:lnTo>
                  <a:lnTo>
                    <a:pt x="3260" y="468"/>
                  </a:lnTo>
                  <a:lnTo>
                    <a:pt x="3235" y="464"/>
                  </a:lnTo>
                  <a:lnTo>
                    <a:pt x="3207" y="462"/>
                  </a:lnTo>
                  <a:lnTo>
                    <a:pt x="3177" y="461"/>
                  </a:lnTo>
                  <a:lnTo>
                    <a:pt x="3089" y="461"/>
                  </a:lnTo>
                  <a:lnTo>
                    <a:pt x="3078" y="459"/>
                  </a:lnTo>
                  <a:lnTo>
                    <a:pt x="3069" y="458"/>
                  </a:lnTo>
                  <a:lnTo>
                    <a:pt x="3060" y="455"/>
                  </a:lnTo>
                  <a:lnTo>
                    <a:pt x="3051" y="452"/>
                  </a:lnTo>
                  <a:lnTo>
                    <a:pt x="3035" y="443"/>
                  </a:lnTo>
                  <a:lnTo>
                    <a:pt x="3019" y="434"/>
                  </a:lnTo>
                  <a:lnTo>
                    <a:pt x="3004" y="423"/>
                  </a:lnTo>
                  <a:lnTo>
                    <a:pt x="2987" y="415"/>
                  </a:lnTo>
                  <a:lnTo>
                    <a:pt x="2979" y="411"/>
                  </a:lnTo>
                  <a:lnTo>
                    <a:pt x="2970" y="409"/>
                  </a:lnTo>
                  <a:lnTo>
                    <a:pt x="2960" y="407"/>
                  </a:lnTo>
                  <a:lnTo>
                    <a:pt x="2949" y="406"/>
                  </a:lnTo>
                  <a:lnTo>
                    <a:pt x="2941" y="407"/>
                  </a:lnTo>
                  <a:lnTo>
                    <a:pt x="2933" y="409"/>
                  </a:lnTo>
                  <a:lnTo>
                    <a:pt x="2924" y="410"/>
                  </a:lnTo>
                  <a:lnTo>
                    <a:pt x="2916" y="411"/>
                  </a:lnTo>
                  <a:lnTo>
                    <a:pt x="2863" y="411"/>
                  </a:lnTo>
                  <a:lnTo>
                    <a:pt x="2844" y="412"/>
                  </a:lnTo>
                  <a:lnTo>
                    <a:pt x="2827" y="413"/>
                  </a:lnTo>
                  <a:lnTo>
                    <a:pt x="2810" y="416"/>
                  </a:lnTo>
                  <a:lnTo>
                    <a:pt x="2795" y="419"/>
                  </a:lnTo>
                  <a:lnTo>
                    <a:pt x="2764" y="429"/>
                  </a:lnTo>
                  <a:lnTo>
                    <a:pt x="2735" y="438"/>
                  </a:lnTo>
                  <a:lnTo>
                    <a:pt x="2706" y="448"/>
                  </a:lnTo>
                  <a:lnTo>
                    <a:pt x="2675" y="456"/>
                  </a:lnTo>
                  <a:lnTo>
                    <a:pt x="2659" y="461"/>
                  </a:lnTo>
                  <a:lnTo>
                    <a:pt x="2643" y="463"/>
                  </a:lnTo>
                  <a:lnTo>
                    <a:pt x="2625" y="465"/>
                  </a:lnTo>
                  <a:lnTo>
                    <a:pt x="2607" y="466"/>
                  </a:lnTo>
                  <a:lnTo>
                    <a:pt x="2587" y="465"/>
                  </a:lnTo>
                  <a:lnTo>
                    <a:pt x="2571" y="463"/>
                  </a:lnTo>
                  <a:lnTo>
                    <a:pt x="2555" y="459"/>
                  </a:lnTo>
                  <a:lnTo>
                    <a:pt x="2540" y="455"/>
                  </a:lnTo>
                  <a:lnTo>
                    <a:pt x="2524" y="452"/>
                  </a:lnTo>
                  <a:lnTo>
                    <a:pt x="2508" y="449"/>
                  </a:lnTo>
                  <a:lnTo>
                    <a:pt x="2491" y="447"/>
                  </a:lnTo>
                  <a:lnTo>
                    <a:pt x="2473" y="446"/>
                  </a:lnTo>
                  <a:lnTo>
                    <a:pt x="2426" y="446"/>
                  </a:lnTo>
                  <a:lnTo>
                    <a:pt x="2406" y="447"/>
                  </a:lnTo>
                  <a:lnTo>
                    <a:pt x="2388" y="450"/>
                  </a:lnTo>
                  <a:lnTo>
                    <a:pt x="2371" y="452"/>
                  </a:lnTo>
                  <a:lnTo>
                    <a:pt x="2350" y="453"/>
                  </a:lnTo>
                  <a:lnTo>
                    <a:pt x="2300" y="453"/>
                  </a:lnTo>
                  <a:lnTo>
                    <a:pt x="2290" y="452"/>
                  </a:lnTo>
                  <a:lnTo>
                    <a:pt x="2283" y="450"/>
                  </a:lnTo>
                  <a:lnTo>
                    <a:pt x="2275" y="447"/>
                  </a:lnTo>
                  <a:lnTo>
                    <a:pt x="2266" y="446"/>
                  </a:lnTo>
                  <a:lnTo>
                    <a:pt x="2259" y="447"/>
                  </a:lnTo>
                  <a:lnTo>
                    <a:pt x="2253" y="450"/>
                  </a:lnTo>
                  <a:lnTo>
                    <a:pt x="2249" y="454"/>
                  </a:lnTo>
                  <a:lnTo>
                    <a:pt x="2245" y="459"/>
                  </a:lnTo>
                  <a:lnTo>
                    <a:pt x="2238" y="472"/>
                  </a:lnTo>
                  <a:lnTo>
                    <a:pt x="2230" y="484"/>
                  </a:lnTo>
                  <a:lnTo>
                    <a:pt x="2224" y="495"/>
                  </a:lnTo>
                  <a:lnTo>
                    <a:pt x="2218" y="504"/>
                  </a:lnTo>
                  <a:lnTo>
                    <a:pt x="2214" y="515"/>
                  </a:lnTo>
                  <a:lnTo>
                    <a:pt x="2211" y="526"/>
                  </a:lnTo>
                  <a:lnTo>
                    <a:pt x="2206" y="546"/>
                  </a:lnTo>
                  <a:lnTo>
                    <a:pt x="2202" y="568"/>
                  </a:lnTo>
                  <a:lnTo>
                    <a:pt x="2200" y="578"/>
                  </a:lnTo>
                  <a:lnTo>
                    <a:pt x="2196" y="588"/>
                  </a:lnTo>
                  <a:lnTo>
                    <a:pt x="2193" y="597"/>
                  </a:lnTo>
                  <a:lnTo>
                    <a:pt x="2189" y="606"/>
                  </a:lnTo>
                  <a:lnTo>
                    <a:pt x="2184" y="614"/>
                  </a:lnTo>
                  <a:lnTo>
                    <a:pt x="2178" y="622"/>
                  </a:lnTo>
                  <a:lnTo>
                    <a:pt x="2170" y="629"/>
                  </a:lnTo>
                  <a:lnTo>
                    <a:pt x="2159" y="635"/>
                  </a:lnTo>
                  <a:lnTo>
                    <a:pt x="2128" y="649"/>
                  </a:lnTo>
                  <a:lnTo>
                    <a:pt x="2101" y="662"/>
                  </a:lnTo>
                  <a:lnTo>
                    <a:pt x="2086" y="668"/>
                  </a:lnTo>
                  <a:lnTo>
                    <a:pt x="2073" y="675"/>
                  </a:lnTo>
                  <a:lnTo>
                    <a:pt x="2059" y="685"/>
                  </a:lnTo>
                  <a:lnTo>
                    <a:pt x="2047" y="697"/>
                  </a:lnTo>
                  <a:lnTo>
                    <a:pt x="2023" y="725"/>
                  </a:lnTo>
                  <a:lnTo>
                    <a:pt x="2002" y="752"/>
                  </a:lnTo>
                  <a:lnTo>
                    <a:pt x="1996" y="757"/>
                  </a:lnTo>
                  <a:lnTo>
                    <a:pt x="1990" y="762"/>
                  </a:lnTo>
                  <a:lnTo>
                    <a:pt x="1984" y="767"/>
                  </a:lnTo>
                  <a:lnTo>
                    <a:pt x="1978" y="771"/>
                  </a:lnTo>
                  <a:lnTo>
                    <a:pt x="1971" y="774"/>
                  </a:lnTo>
                  <a:lnTo>
                    <a:pt x="1962" y="778"/>
                  </a:lnTo>
                  <a:lnTo>
                    <a:pt x="1954" y="779"/>
                  </a:lnTo>
                  <a:lnTo>
                    <a:pt x="1945" y="780"/>
                  </a:lnTo>
                  <a:lnTo>
                    <a:pt x="1938" y="779"/>
                  </a:lnTo>
                  <a:lnTo>
                    <a:pt x="1931" y="777"/>
                  </a:lnTo>
                  <a:lnTo>
                    <a:pt x="1925" y="773"/>
                  </a:lnTo>
                  <a:lnTo>
                    <a:pt x="1920" y="769"/>
                  </a:lnTo>
                  <a:lnTo>
                    <a:pt x="1911" y="760"/>
                  </a:lnTo>
                  <a:lnTo>
                    <a:pt x="1901" y="749"/>
                  </a:lnTo>
                  <a:lnTo>
                    <a:pt x="1893" y="737"/>
                  </a:lnTo>
                  <a:lnTo>
                    <a:pt x="1883" y="728"/>
                  </a:lnTo>
                  <a:lnTo>
                    <a:pt x="1878" y="724"/>
                  </a:lnTo>
                  <a:lnTo>
                    <a:pt x="1872" y="721"/>
                  </a:lnTo>
                  <a:lnTo>
                    <a:pt x="1865" y="719"/>
                  </a:lnTo>
                  <a:lnTo>
                    <a:pt x="1858" y="718"/>
                  </a:lnTo>
                  <a:lnTo>
                    <a:pt x="1850" y="719"/>
                  </a:lnTo>
                  <a:lnTo>
                    <a:pt x="1843" y="721"/>
                  </a:lnTo>
                  <a:lnTo>
                    <a:pt x="1835" y="723"/>
                  </a:lnTo>
                  <a:lnTo>
                    <a:pt x="1829" y="726"/>
                  </a:lnTo>
                  <a:lnTo>
                    <a:pt x="1823" y="729"/>
                  </a:lnTo>
                  <a:lnTo>
                    <a:pt x="1817" y="732"/>
                  </a:lnTo>
                  <a:lnTo>
                    <a:pt x="1810" y="734"/>
                  </a:lnTo>
                  <a:lnTo>
                    <a:pt x="1801" y="734"/>
                  </a:lnTo>
                  <a:lnTo>
                    <a:pt x="1795" y="733"/>
                  </a:lnTo>
                  <a:lnTo>
                    <a:pt x="1790" y="731"/>
                  </a:lnTo>
                  <a:lnTo>
                    <a:pt x="1785" y="728"/>
                  </a:lnTo>
                  <a:lnTo>
                    <a:pt x="1780" y="725"/>
                  </a:lnTo>
                  <a:lnTo>
                    <a:pt x="1776" y="722"/>
                  </a:lnTo>
                  <a:lnTo>
                    <a:pt x="1771" y="719"/>
                  </a:lnTo>
                  <a:lnTo>
                    <a:pt x="1765" y="717"/>
                  </a:lnTo>
                  <a:lnTo>
                    <a:pt x="1759" y="716"/>
                  </a:lnTo>
                  <a:lnTo>
                    <a:pt x="1741" y="716"/>
                  </a:lnTo>
                  <a:lnTo>
                    <a:pt x="1725" y="718"/>
                  </a:lnTo>
                  <a:lnTo>
                    <a:pt x="1709" y="720"/>
                  </a:lnTo>
                  <a:lnTo>
                    <a:pt x="1690" y="723"/>
                  </a:lnTo>
                  <a:lnTo>
                    <a:pt x="1672" y="714"/>
                  </a:lnTo>
                  <a:lnTo>
                    <a:pt x="1672" y="735"/>
                  </a:lnTo>
                  <a:lnTo>
                    <a:pt x="1670" y="756"/>
                  </a:lnTo>
                  <a:lnTo>
                    <a:pt x="1669" y="765"/>
                  </a:lnTo>
                  <a:lnTo>
                    <a:pt x="1668" y="775"/>
                  </a:lnTo>
                  <a:lnTo>
                    <a:pt x="1667" y="785"/>
                  </a:lnTo>
                  <a:lnTo>
                    <a:pt x="1664" y="794"/>
                  </a:lnTo>
                  <a:lnTo>
                    <a:pt x="1662" y="802"/>
                  </a:lnTo>
                  <a:lnTo>
                    <a:pt x="1658" y="811"/>
                  </a:lnTo>
                  <a:lnTo>
                    <a:pt x="1654" y="818"/>
                  </a:lnTo>
                  <a:lnTo>
                    <a:pt x="1649" y="826"/>
                  </a:lnTo>
                  <a:lnTo>
                    <a:pt x="1643" y="832"/>
                  </a:lnTo>
                  <a:lnTo>
                    <a:pt x="1635" y="838"/>
                  </a:lnTo>
                  <a:lnTo>
                    <a:pt x="1627" y="845"/>
                  </a:lnTo>
                  <a:lnTo>
                    <a:pt x="1618" y="850"/>
                  </a:lnTo>
                  <a:close/>
                </a:path>
              </a:pathLst>
            </a:custGeom>
            <a:grpFill/>
            <a:ln w="12700">
              <a:solidFill>
                <a:srgbClr val="7D7D7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675"/>
            </a:p>
          </p:txBody>
        </p:sp>
        <p:sp>
          <p:nvSpPr>
            <p:cNvPr id="7" name="Freeform 4"/>
            <p:cNvSpPr>
              <a:spLocks noEditPoints="1"/>
            </p:cNvSpPr>
            <p:nvPr/>
          </p:nvSpPr>
          <p:spPr bwMode="auto">
            <a:xfrm>
              <a:off x="2057" y="2642"/>
              <a:ext cx="1913" cy="1132"/>
            </a:xfrm>
            <a:custGeom>
              <a:avLst/>
              <a:gdLst>
                <a:gd name="T0" fmla="*/ 348 w 6368"/>
                <a:gd name="T1" fmla="*/ 230 h 3891"/>
                <a:gd name="T2" fmla="*/ 348 w 6368"/>
                <a:gd name="T3" fmla="*/ 230 h 3891"/>
                <a:gd name="T4" fmla="*/ 348 w 6368"/>
                <a:gd name="T5" fmla="*/ 230 h 3891"/>
                <a:gd name="T6" fmla="*/ 348 w 6368"/>
                <a:gd name="T7" fmla="*/ 230 h 3891"/>
                <a:gd name="T8" fmla="*/ 348 w 6368"/>
                <a:gd name="T9" fmla="*/ 230 h 3891"/>
                <a:gd name="T10" fmla="*/ 348 w 6368"/>
                <a:gd name="T11" fmla="*/ 230 h 3891"/>
                <a:gd name="T12" fmla="*/ 348 w 6368"/>
                <a:gd name="T13" fmla="*/ 230 h 3891"/>
                <a:gd name="T14" fmla="*/ 348 w 6368"/>
                <a:gd name="T15" fmla="*/ 230 h 3891"/>
                <a:gd name="T16" fmla="*/ 348 w 6368"/>
                <a:gd name="T17" fmla="*/ 230 h 3891"/>
                <a:gd name="T18" fmla="*/ 348 w 6368"/>
                <a:gd name="T19" fmla="*/ 230 h 3891"/>
                <a:gd name="T20" fmla="*/ 348 w 6368"/>
                <a:gd name="T21" fmla="*/ 230 h 3891"/>
                <a:gd name="T22" fmla="*/ 348 w 6368"/>
                <a:gd name="T23" fmla="*/ 230 h 3891"/>
                <a:gd name="T24" fmla="*/ 348 w 6368"/>
                <a:gd name="T25" fmla="*/ 230 h 3891"/>
                <a:gd name="T26" fmla="*/ 348 w 6368"/>
                <a:gd name="T27" fmla="*/ 230 h 3891"/>
                <a:gd name="T28" fmla="*/ 348 w 6368"/>
                <a:gd name="T29" fmla="*/ 230 h 3891"/>
                <a:gd name="T30" fmla="*/ 348 w 6368"/>
                <a:gd name="T31" fmla="*/ 230 h 3891"/>
                <a:gd name="T32" fmla="*/ 348 w 6368"/>
                <a:gd name="T33" fmla="*/ 230 h 3891"/>
                <a:gd name="T34" fmla="*/ 348 w 6368"/>
                <a:gd name="T35" fmla="*/ 230 h 3891"/>
                <a:gd name="T36" fmla="*/ 348 w 6368"/>
                <a:gd name="T37" fmla="*/ 230 h 3891"/>
                <a:gd name="T38" fmla="*/ 348 w 6368"/>
                <a:gd name="T39" fmla="*/ 230 h 3891"/>
                <a:gd name="T40" fmla="*/ 348 w 6368"/>
                <a:gd name="T41" fmla="*/ 230 h 3891"/>
                <a:gd name="T42" fmla="*/ 348 w 6368"/>
                <a:gd name="T43" fmla="*/ 230 h 3891"/>
                <a:gd name="T44" fmla="*/ 348 w 6368"/>
                <a:gd name="T45" fmla="*/ 230 h 3891"/>
                <a:gd name="T46" fmla="*/ 348 w 6368"/>
                <a:gd name="T47" fmla="*/ 230 h 3891"/>
                <a:gd name="T48" fmla="*/ 348 w 6368"/>
                <a:gd name="T49" fmla="*/ 230 h 3891"/>
                <a:gd name="T50" fmla="*/ 348 w 6368"/>
                <a:gd name="T51" fmla="*/ 230 h 3891"/>
                <a:gd name="T52" fmla="*/ 348 w 6368"/>
                <a:gd name="T53" fmla="*/ 230 h 3891"/>
                <a:gd name="T54" fmla="*/ 348 w 6368"/>
                <a:gd name="T55" fmla="*/ 230 h 3891"/>
                <a:gd name="T56" fmla="*/ 348 w 6368"/>
                <a:gd name="T57" fmla="*/ 230 h 3891"/>
                <a:gd name="T58" fmla="*/ 348 w 6368"/>
                <a:gd name="T59" fmla="*/ 230 h 3891"/>
                <a:gd name="T60" fmla="*/ 348 w 6368"/>
                <a:gd name="T61" fmla="*/ 230 h 3891"/>
                <a:gd name="T62" fmla="*/ 348 w 6368"/>
                <a:gd name="T63" fmla="*/ 230 h 3891"/>
                <a:gd name="T64" fmla="*/ 348 w 6368"/>
                <a:gd name="T65" fmla="*/ 230 h 3891"/>
                <a:gd name="T66" fmla="*/ 348 w 6368"/>
                <a:gd name="T67" fmla="*/ 230 h 3891"/>
                <a:gd name="T68" fmla="*/ 348 w 6368"/>
                <a:gd name="T69" fmla="*/ 230 h 3891"/>
                <a:gd name="T70" fmla="*/ 348 w 6368"/>
                <a:gd name="T71" fmla="*/ 230 h 3891"/>
                <a:gd name="T72" fmla="*/ 348 w 6368"/>
                <a:gd name="T73" fmla="*/ 230 h 3891"/>
                <a:gd name="T74" fmla="*/ 348 w 6368"/>
                <a:gd name="T75" fmla="*/ 230 h 3891"/>
                <a:gd name="T76" fmla="*/ 348 w 6368"/>
                <a:gd name="T77" fmla="*/ 230 h 3891"/>
                <a:gd name="T78" fmla="*/ 348 w 6368"/>
                <a:gd name="T79" fmla="*/ 230 h 3891"/>
                <a:gd name="T80" fmla="*/ 348 w 6368"/>
                <a:gd name="T81" fmla="*/ 230 h 3891"/>
                <a:gd name="T82" fmla="*/ 348 w 6368"/>
                <a:gd name="T83" fmla="*/ 230 h 3891"/>
                <a:gd name="T84" fmla="*/ 348 w 6368"/>
                <a:gd name="T85" fmla="*/ 230 h 3891"/>
                <a:gd name="T86" fmla="*/ 348 w 6368"/>
                <a:gd name="T87" fmla="*/ 230 h 3891"/>
                <a:gd name="T88" fmla="*/ 348 w 6368"/>
                <a:gd name="T89" fmla="*/ 230 h 3891"/>
                <a:gd name="T90" fmla="*/ 348 w 6368"/>
                <a:gd name="T91" fmla="*/ 230 h 3891"/>
                <a:gd name="T92" fmla="*/ 348 w 6368"/>
                <a:gd name="T93" fmla="*/ 230 h 3891"/>
                <a:gd name="T94" fmla="*/ 348 w 6368"/>
                <a:gd name="T95" fmla="*/ 230 h 3891"/>
                <a:gd name="T96" fmla="*/ 348 w 6368"/>
                <a:gd name="T97" fmla="*/ 230 h 3891"/>
                <a:gd name="T98" fmla="*/ 348 w 6368"/>
                <a:gd name="T99" fmla="*/ 230 h 3891"/>
                <a:gd name="T100" fmla="*/ 348 w 6368"/>
                <a:gd name="T101" fmla="*/ 230 h 3891"/>
                <a:gd name="T102" fmla="*/ 348 w 6368"/>
                <a:gd name="T103" fmla="*/ 230 h 3891"/>
                <a:gd name="T104" fmla="*/ 348 w 6368"/>
                <a:gd name="T105" fmla="*/ 230 h 3891"/>
                <a:gd name="T106" fmla="*/ 348 w 6368"/>
                <a:gd name="T107" fmla="*/ 230 h 3891"/>
                <a:gd name="T108" fmla="*/ 348 w 6368"/>
                <a:gd name="T109" fmla="*/ 230 h 3891"/>
                <a:gd name="T110" fmla="*/ 348 w 6368"/>
                <a:gd name="T111" fmla="*/ 230 h 3891"/>
                <a:gd name="T112" fmla="*/ 348 w 6368"/>
                <a:gd name="T113" fmla="*/ 230 h 3891"/>
                <a:gd name="T114" fmla="*/ 348 w 6368"/>
                <a:gd name="T115" fmla="*/ 230 h 3891"/>
                <a:gd name="T116" fmla="*/ 348 w 6368"/>
                <a:gd name="T117" fmla="*/ 230 h 3891"/>
                <a:gd name="T118" fmla="*/ 348 w 6368"/>
                <a:gd name="T119" fmla="*/ 230 h 3891"/>
                <a:gd name="T120" fmla="*/ 348 w 6368"/>
                <a:gd name="T121" fmla="*/ 230 h 3891"/>
                <a:gd name="T122" fmla="*/ 348 w 6368"/>
                <a:gd name="T123" fmla="*/ 230 h 3891"/>
                <a:gd name="T124" fmla="*/ 348 w 6368"/>
                <a:gd name="T125" fmla="*/ 230 h 389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368"/>
                <a:gd name="T190" fmla="*/ 0 h 3891"/>
                <a:gd name="T191" fmla="*/ 6368 w 6368"/>
                <a:gd name="T192" fmla="*/ 3891 h 389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368" h="3891">
                  <a:moveTo>
                    <a:pt x="2697" y="2088"/>
                  </a:moveTo>
                  <a:lnTo>
                    <a:pt x="2687" y="2088"/>
                  </a:lnTo>
                  <a:lnTo>
                    <a:pt x="2674" y="2089"/>
                  </a:lnTo>
                  <a:lnTo>
                    <a:pt x="2663" y="2092"/>
                  </a:lnTo>
                  <a:lnTo>
                    <a:pt x="2651" y="2095"/>
                  </a:lnTo>
                  <a:lnTo>
                    <a:pt x="2639" y="2098"/>
                  </a:lnTo>
                  <a:lnTo>
                    <a:pt x="2613" y="2103"/>
                  </a:lnTo>
                  <a:lnTo>
                    <a:pt x="2591" y="2106"/>
                  </a:lnTo>
                  <a:lnTo>
                    <a:pt x="2579" y="2107"/>
                  </a:lnTo>
                  <a:lnTo>
                    <a:pt x="2568" y="2109"/>
                  </a:lnTo>
                  <a:lnTo>
                    <a:pt x="2556" y="2112"/>
                  </a:lnTo>
                  <a:lnTo>
                    <a:pt x="2542" y="2117"/>
                  </a:lnTo>
                  <a:lnTo>
                    <a:pt x="2537" y="2119"/>
                  </a:lnTo>
                  <a:lnTo>
                    <a:pt x="2533" y="2122"/>
                  </a:lnTo>
                  <a:lnTo>
                    <a:pt x="2529" y="2126"/>
                  </a:lnTo>
                  <a:lnTo>
                    <a:pt x="2525" y="2129"/>
                  </a:lnTo>
                  <a:lnTo>
                    <a:pt x="2520" y="2134"/>
                  </a:lnTo>
                  <a:lnTo>
                    <a:pt x="2516" y="2137"/>
                  </a:lnTo>
                  <a:lnTo>
                    <a:pt x="2512" y="2139"/>
                  </a:lnTo>
                  <a:lnTo>
                    <a:pt x="2506" y="2139"/>
                  </a:lnTo>
                  <a:lnTo>
                    <a:pt x="2496" y="2138"/>
                  </a:lnTo>
                  <a:lnTo>
                    <a:pt x="2486" y="2136"/>
                  </a:lnTo>
                  <a:lnTo>
                    <a:pt x="2479" y="2137"/>
                  </a:lnTo>
                  <a:lnTo>
                    <a:pt x="2474" y="2138"/>
                  </a:lnTo>
                  <a:lnTo>
                    <a:pt x="2469" y="2141"/>
                  </a:lnTo>
                  <a:lnTo>
                    <a:pt x="2465" y="2145"/>
                  </a:lnTo>
                  <a:lnTo>
                    <a:pt x="2456" y="2152"/>
                  </a:lnTo>
                  <a:lnTo>
                    <a:pt x="2445" y="2160"/>
                  </a:lnTo>
                  <a:lnTo>
                    <a:pt x="2419" y="2175"/>
                  </a:lnTo>
                  <a:lnTo>
                    <a:pt x="2397" y="2188"/>
                  </a:lnTo>
                  <a:lnTo>
                    <a:pt x="2385" y="2193"/>
                  </a:lnTo>
                  <a:lnTo>
                    <a:pt x="2374" y="2197"/>
                  </a:lnTo>
                  <a:lnTo>
                    <a:pt x="2361" y="2200"/>
                  </a:lnTo>
                  <a:lnTo>
                    <a:pt x="2346" y="2201"/>
                  </a:lnTo>
                  <a:lnTo>
                    <a:pt x="2346" y="2212"/>
                  </a:lnTo>
                  <a:lnTo>
                    <a:pt x="2352" y="2231"/>
                  </a:lnTo>
                  <a:lnTo>
                    <a:pt x="2352" y="2254"/>
                  </a:lnTo>
                  <a:lnTo>
                    <a:pt x="2354" y="2269"/>
                  </a:lnTo>
                  <a:lnTo>
                    <a:pt x="2357" y="2280"/>
                  </a:lnTo>
                  <a:lnTo>
                    <a:pt x="2361" y="2293"/>
                  </a:lnTo>
                  <a:lnTo>
                    <a:pt x="2364" y="2307"/>
                  </a:lnTo>
                  <a:lnTo>
                    <a:pt x="2352" y="2341"/>
                  </a:lnTo>
                  <a:lnTo>
                    <a:pt x="2343" y="2372"/>
                  </a:lnTo>
                  <a:lnTo>
                    <a:pt x="2338" y="2388"/>
                  </a:lnTo>
                  <a:lnTo>
                    <a:pt x="2331" y="2401"/>
                  </a:lnTo>
                  <a:lnTo>
                    <a:pt x="2326" y="2407"/>
                  </a:lnTo>
                  <a:lnTo>
                    <a:pt x="2320" y="2413"/>
                  </a:lnTo>
                  <a:lnTo>
                    <a:pt x="2314" y="2420"/>
                  </a:lnTo>
                  <a:lnTo>
                    <a:pt x="2307" y="2426"/>
                  </a:lnTo>
                  <a:lnTo>
                    <a:pt x="2299" y="2434"/>
                  </a:lnTo>
                  <a:lnTo>
                    <a:pt x="2293" y="2442"/>
                  </a:lnTo>
                  <a:lnTo>
                    <a:pt x="2288" y="2446"/>
                  </a:lnTo>
                  <a:lnTo>
                    <a:pt x="2285" y="2450"/>
                  </a:lnTo>
                  <a:lnTo>
                    <a:pt x="2280" y="2451"/>
                  </a:lnTo>
                  <a:lnTo>
                    <a:pt x="2275" y="2452"/>
                  </a:lnTo>
                  <a:lnTo>
                    <a:pt x="2269" y="2452"/>
                  </a:lnTo>
                  <a:lnTo>
                    <a:pt x="2263" y="2451"/>
                  </a:lnTo>
                  <a:lnTo>
                    <a:pt x="2258" y="2448"/>
                  </a:lnTo>
                  <a:lnTo>
                    <a:pt x="2252" y="2446"/>
                  </a:lnTo>
                  <a:lnTo>
                    <a:pt x="2244" y="2442"/>
                  </a:lnTo>
                  <a:lnTo>
                    <a:pt x="2239" y="2440"/>
                  </a:lnTo>
                  <a:lnTo>
                    <a:pt x="2238" y="2439"/>
                  </a:lnTo>
                  <a:lnTo>
                    <a:pt x="2237" y="2440"/>
                  </a:lnTo>
                  <a:lnTo>
                    <a:pt x="2238" y="2442"/>
                  </a:lnTo>
                  <a:lnTo>
                    <a:pt x="2239" y="2445"/>
                  </a:lnTo>
                  <a:lnTo>
                    <a:pt x="2245" y="2458"/>
                  </a:lnTo>
                  <a:lnTo>
                    <a:pt x="2254" y="2477"/>
                  </a:lnTo>
                  <a:lnTo>
                    <a:pt x="2262" y="2484"/>
                  </a:lnTo>
                  <a:lnTo>
                    <a:pt x="2266" y="2491"/>
                  </a:lnTo>
                  <a:lnTo>
                    <a:pt x="2265" y="2498"/>
                  </a:lnTo>
                  <a:lnTo>
                    <a:pt x="2263" y="2505"/>
                  </a:lnTo>
                  <a:lnTo>
                    <a:pt x="2260" y="2511"/>
                  </a:lnTo>
                  <a:lnTo>
                    <a:pt x="2256" y="2518"/>
                  </a:lnTo>
                  <a:lnTo>
                    <a:pt x="2248" y="2529"/>
                  </a:lnTo>
                  <a:lnTo>
                    <a:pt x="2240" y="2542"/>
                  </a:lnTo>
                  <a:lnTo>
                    <a:pt x="2229" y="2562"/>
                  </a:lnTo>
                  <a:lnTo>
                    <a:pt x="2217" y="2580"/>
                  </a:lnTo>
                  <a:lnTo>
                    <a:pt x="2206" y="2595"/>
                  </a:lnTo>
                  <a:lnTo>
                    <a:pt x="2195" y="2610"/>
                  </a:lnTo>
                  <a:lnTo>
                    <a:pt x="2183" y="2625"/>
                  </a:lnTo>
                  <a:lnTo>
                    <a:pt x="2173" y="2641"/>
                  </a:lnTo>
                  <a:lnTo>
                    <a:pt x="2163" y="2658"/>
                  </a:lnTo>
                  <a:lnTo>
                    <a:pt x="2153" y="2679"/>
                  </a:lnTo>
                  <a:lnTo>
                    <a:pt x="2149" y="2687"/>
                  </a:lnTo>
                  <a:lnTo>
                    <a:pt x="2144" y="2694"/>
                  </a:lnTo>
                  <a:lnTo>
                    <a:pt x="2137" y="2700"/>
                  </a:lnTo>
                  <a:lnTo>
                    <a:pt x="2130" y="2708"/>
                  </a:lnTo>
                  <a:lnTo>
                    <a:pt x="2123" y="2716"/>
                  </a:lnTo>
                  <a:lnTo>
                    <a:pt x="2118" y="2723"/>
                  </a:lnTo>
                  <a:lnTo>
                    <a:pt x="2115" y="2731"/>
                  </a:lnTo>
                  <a:lnTo>
                    <a:pt x="2112" y="2739"/>
                  </a:lnTo>
                  <a:lnTo>
                    <a:pt x="2107" y="2756"/>
                  </a:lnTo>
                  <a:lnTo>
                    <a:pt x="2100" y="2774"/>
                  </a:lnTo>
                  <a:lnTo>
                    <a:pt x="2088" y="2798"/>
                  </a:lnTo>
                  <a:lnTo>
                    <a:pt x="2076" y="2819"/>
                  </a:lnTo>
                  <a:lnTo>
                    <a:pt x="2072" y="2823"/>
                  </a:lnTo>
                  <a:lnTo>
                    <a:pt x="2069" y="2827"/>
                  </a:lnTo>
                  <a:lnTo>
                    <a:pt x="2065" y="2832"/>
                  </a:lnTo>
                  <a:lnTo>
                    <a:pt x="2060" y="2835"/>
                  </a:lnTo>
                  <a:lnTo>
                    <a:pt x="2055" y="2837"/>
                  </a:lnTo>
                  <a:lnTo>
                    <a:pt x="2050" y="2839"/>
                  </a:lnTo>
                  <a:lnTo>
                    <a:pt x="2044" y="2840"/>
                  </a:lnTo>
                  <a:lnTo>
                    <a:pt x="2038" y="2840"/>
                  </a:lnTo>
                  <a:lnTo>
                    <a:pt x="2031" y="2840"/>
                  </a:lnTo>
                  <a:lnTo>
                    <a:pt x="2017" y="2848"/>
                  </a:lnTo>
                  <a:lnTo>
                    <a:pt x="2003" y="2854"/>
                  </a:lnTo>
                  <a:lnTo>
                    <a:pt x="1999" y="2846"/>
                  </a:lnTo>
                  <a:lnTo>
                    <a:pt x="1996" y="2839"/>
                  </a:lnTo>
                  <a:lnTo>
                    <a:pt x="1990" y="2832"/>
                  </a:lnTo>
                  <a:lnTo>
                    <a:pt x="1984" y="2825"/>
                  </a:lnTo>
                  <a:lnTo>
                    <a:pt x="1983" y="2829"/>
                  </a:lnTo>
                  <a:lnTo>
                    <a:pt x="1982" y="2831"/>
                  </a:lnTo>
                  <a:lnTo>
                    <a:pt x="1982" y="2842"/>
                  </a:lnTo>
                  <a:lnTo>
                    <a:pt x="1980" y="2853"/>
                  </a:lnTo>
                  <a:lnTo>
                    <a:pt x="1978" y="2863"/>
                  </a:lnTo>
                  <a:lnTo>
                    <a:pt x="1974" y="2872"/>
                  </a:lnTo>
                  <a:lnTo>
                    <a:pt x="1969" y="2881"/>
                  </a:lnTo>
                  <a:lnTo>
                    <a:pt x="1963" y="2888"/>
                  </a:lnTo>
                  <a:lnTo>
                    <a:pt x="1954" y="2896"/>
                  </a:lnTo>
                  <a:lnTo>
                    <a:pt x="1945" y="2903"/>
                  </a:lnTo>
                  <a:lnTo>
                    <a:pt x="1933" y="2909"/>
                  </a:lnTo>
                  <a:lnTo>
                    <a:pt x="1920" y="2915"/>
                  </a:lnTo>
                  <a:lnTo>
                    <a:pt x="1916" y="2919"/>
                  </a:lnTo>
                  <a:lnTo>
                    <a:pt x="1912" y="2924"/>
                  </a:lnTo>
                  <a:lnTo>
                    <a:pt x="1909" y="2929"/>
                  </a:lnTo>
                  <a:lnTo>
                    <a:pt x="1908" y="2935"/>
                  </a:lnTo>
                  <a:lnTo>
                    <a:pt x="1908" y="2959"/>
                  </a:lnTo>
                  <a:lnTo>
                    <a:pt x="1911" y="2967"/>
                  </a:lnTo>
                  <a:lnTo>
                    <a:pt x="1914" y="2975"/>
                  </a:lnTo>
                  <a:lnTo>
                    <a:pt x="1914" y="2981"/>
                  </a:lnTo>
                  <a:lnTo>
                    <a:pt x="1913" y="2988"/>
                  </a:lnTo>
                  <a:lnTo>
                    <a:pt x="1912" y="2994"/>
                  </a:lnTo>
                  <a:lnTo>
                    <a:pt x="1910" y="2999"/>
                  </a:lnTo>
                  <a:lnTo>
                    <a:pt x="1905" y="3009"/>
                  </a:lnTo>
                  <a:lnTo>
                    <a:pt x="1899" y="3019"/>
                  </a:lnTo>
                  <a:lnTo>
                    <a:pt x="1881" y="3035"/>
                  </a:lnTo>
                  <a:lnTo>
                    <a:pt x="1863" y="3054"/>
                  </a:lnTo>
                  <a:lnTo>
                    <a:pt x="1847" y="3069"/>
                  </a:lnTo>
                  <a:lnTo>
                    <a:pt x="1832" y="3083"/>
                  </a:lnTo>
                  <a:lnTo>
                    <a:pt x="1817" y="3094"/>
                  </a:lnTo>
                  <a:lnTo>
                    <a:pt x="1803" y="3104"/>
                  </a:lnTo>
                  <a:lnTo>
                    <a:pt x="1773" y="3125"/>
                  </a:lnTo>
                  <a:lnTo>
                    <a:pt x="1738" y="3147"/>
                  </a:lnTo>
                  <a:lnTo>
                    <a:pt x="1728" y="3153"/>
                  </a:lnTo>
                  <a:lnTo>
                    <a:pt x="1721" y="3159"/>
                  </a:lnTo>
                  <a:lnTo>
                    <a:pt x="1714" y="3164"/>
                  </a:lnTo>
                  <a:lnTo>
                    <a:pt x="1708" y="3170"/>
                  </a:lnTo>
                  <a:lnTo>
                    <a:pt x="1698" y="3183"/>
                  </a:lnTo>
                  <a:lnTo>
                    <a:pt x="1688" y="3196"/>
                  </a:lnTo>
                  <a:lnTo>
                    <a:pt x="1679" y="3210"/>
                  </a:lnTo>
                  <a:lnTo>
                    <a:pt x="1669" y="3223"/>
                  </a:lnTo>
                  <a:lnTo>
                    <a:pt x="1658" y="3237"/>
                  </a:lnTo>
                  <a:lnTo>
                    <a:pt x="1644" y="3253"/>
                  </a:lnTo>
                  <a:lnTo>
                    <a:pt x="1636" y="3259"/>
                  </a:lnTo>
                  <a:lnTo>
                    <a:pt x="1622" y="3267"/>
                  </a:lnTo>
                  <a:lnTo>
                    <a:pt x="1606" y="3278"/>
                  </a:lnTo>
                  <a:lnTo>
                    <a:pt x="1587" y="3287"/>
                  </a:lnTo>
                  <a:lnTo>
                    <a:pt x="1571" y="3296"/>
                  </a:lnTo>
                  <a:lnTo>
                    <a:pt x="1556" y="3302"/>
                  </a:lnTo>
                  <a:lnTo>
                    <a:pt x="1547" y="3307"/>
                  </a:lnTo>
                  <a:lnTo>
                    <a:pt x="1544" y="3307"/>
                  </a:lnTo>
                  <a:lnTo>
                    <a:pt x="1550" y="3299"/>
                  </a:lnTo>
                  <a:lnTo>
                    <a:pt x="1555" y="3294"/>
                  </a:lnTo>
                  <a:lnTo>
                    <a:pt x="1561" y="3289"/>
                  </a:lnTo>
                  <a:lnTo>
                    <a:pt x="1568" y="3285"/>
                  </a:lnTo>
                  <a:lnTo>
                    <a:pt x="1580" y="3278"/>
                  </a:lnTo>
                  <a:lnTo>
                    <a:pt x="1594" y="3268"/>
                  </a:lnTo>
                  <a:lnTo>
                    <a:pt x="1605" y="3261"/>
                  </a:lnTo>
                  <a:lnTo>
                    <a:pt x="1613" y="3255"/>
                  </a:lnTo>
                  <a:lnTo>
                    <a:pt x="1620" y="3248"/>
                  </a:lnTo>
                  <a:lnTo>
                    <a:pt x="1627" y="3242"/>
                  </a:lnTo>
                  <a:lnTo>
                    <a:pt x="1642" y="3227"/>
                  </a:lnTo>
                  <a:lnTo>
                    <a:pt x="1657" y="3211"/>
                  </a:lnTo>
                  <a:lnTo>
                    <a:pt x="1665" y="3203"/>
                  </a:lnTo>
                  <a:lnTo>
                    <a:pt x="1670" y="3195"/>
                  </a:lnTo>
                  <a:lnTo>
                    <a:pt x="1675" y="3188"/>
                  </a:lnTo>
                  <a:lnTo>
                    <a:pt x="1679" y="3181"/>
                  </a:lnTo>
                  <a:lnTo>
                    <a:pt x="1683" y="3173"/>
                  </a:lnTo>
                  <a:lnTo>
                    <a:pt x="1689" y="3166"/>
                  </a:lnTo>
                  <a:lnTo>
                    <a:pt x="1695" y="3160"/>
                  </a:lnTo>
                  <a:lnTo>
                    <a:pt x="1704" y="3154"/>
                  </a:lnTo>
                  <a:lnTo>
                    <a:pt x="1721" y="3143"/>
                  </a:lnTo>
                  <a:lnTo>
                    <a:pt x="1737" y="3132"/>
                  </a:lnTo>
                  <a:lnTo>
                    <a:pt x="1744" y="3126"/>
                  </a:lnTo>
                  <a:lnTo>
                    <a:pt x="1748" y="3119"/>
                  </a:lnTo>
                  <a:lnTo>
                    <a:pt x="1750" y="3115"/>
                  </a:lnTo>
                  <a:lnTo>
                    <a:pt x="1751" y="3110"/>
                  </a:lnTo>
                  <a:lnTo>
                    <a:pt x="1752" y="3105"/>
                  </a:lnTo>
                  <a:lnTo>
                    <a:pt x="1753" y="3100"/>
                  </a:lnTo>
                  <a:lnTo>
                    <a:pt x="1753" y="3069"/>
                  </a:lnTo>
                  <a:lnTo>
                    <a:pt x="1753" y="3059"/>
                  </a:lnTo>
                  <a:lnTo>
                    <a:pt x="1752" y="3049"/>
                  </a:lnTo>
                  <a:lnTo>
                    <a:pt x="1751" y="3045"/>
                  </a:lnTo>
                  <a:lnTo>
                    <a:pt x="1749" y="3042"/>
                  </a:lnTo>
                  <a:lnTo>
                    <a:pt x="1746" y="3040"/>
                  </a:lnTo>
                  <a:lnTo>
                    <a:pt x="1742" y="3039"/>
                  </a:lnTo>
                  <a:lnTo>
                    <a:pt x="1737" y="3040"/>
                  </a:lnTo>
                  <a:lnTo>
                    <a:pt x="1733" y="3043"/>
                  </a:lnTo>
                  <a:lnTo>
                    <a:pt x="1730" y="3046"/>
                  </a:lnTo>
                  <a:lnTo>
                    <a:pt x="1727" y="3052"/>
                  </a:lnTo>
                  <a:lnTo>
                    <a:pt x="1724" y="3063"/>
                  </a:lnTo>
                  <a:lnTo>
                    <a:pt x="1722" y="3075"/>
                  </a:lnTo>
                  <a:lnTo>
                    <a:pt x="1719" y="3091"/>
                  </a:lnTo>
                  <a:lnTo>
                    <a:pt x="1717" y="3105"/>
                  </a:lnTo>
                  <a:lnTo>
                    <a:pt x="1716" y="3112"/>
                  </a:lnTo>
                  <a:lnTo>
                    <a:pt x="1714" y="3119"/>
                  </a:lnTo>
                  <a:lnTo>
                    <a:pt x="1711" y="3126"/>
                  </a:lnTo>
                  <a:lnTo>
                    <a:pt x="1708" y="3134"/>
                  </a:lnTo>
                  <a:lnTo>
                    <a:pt x="1699" y="3132"/>
                  </a:lnTo>
                  <a:lnTo>
                    <a:pt x="1695" y="3136"/>
                  </a:lnTo>
                  <a:lnTo>
                    <a:pt x="1692" y="3141"/>
                  </a:lnTo>
                  <a:lnTo>
                    <a:pt x="1691" y="3143"/>
                  </a:lnTo>
                  <a:lnTo>
                    <a:pt x="1690" y="3146"/>
                  </a:lnTo>
                  <a:lnTo>
                    <a:pt x="1688" y="3147"/>
                  </a:lnTo>
                  <a:lnTo>
                    <a:pt x="1685" y="3147"/>
                  </a:lnTo>
                  <a:lnTo>
                    <a:pt x="1683" y="3147"/>
                  </a:lnTo>
                  <a:lnTo>
                    <a:pt x="1680" y="3146"/>
                  </a:lnTo>
                  <a:lnTo>
                    <a:pt x="1678" y="3143"/>
                  </a:lnTo>
                  <a:lnTo>
                    <a:pt x="1677" y="3141"/>
                  </a:lnTo>
                  <a:lnTo>
                    <a:pt x="1675" y="3136"/>
                  </a:lnTo>
                  <a:lnTo>
                    <a:pt x="1674" y="3129"/>
                  </a:lnTo>
                  <a:lnTo>
                    <a:pt x="1673" y="3123"/>
                  </a:lnTo>
                  <a:lnTo>
                    <a:pt x="1671" y="3116"/>
                  </a:lnTo>
                  <a:lnTo>
                    <a:pt x="1670" y="3112"/>
                  </a:lnTo>
                  <a:lnTo>
                    <a:pt x="1668" y="3110"/>
                  </a:lnTo>
                  <a:lnTo>
                    <a:pt x="1666" y="3108"/>
                  </a:lnTo>
                  <a:lnTo>
                    <a:pt x="1664" y="3107"/>
                  </a:lnTo>
                  <a:lnTo>
                    <a:pt x="1649" y="3102"/>
                  </a:lnTo>
                  <a:lnTo>
                    <a:pt x="1637" y="3097"/>
                  </a:lnTo>
                  <a:lnTo>
                    <a:pt x="1632" y="3094"/>
                  </a:lnTo>
                  <a:lnTo>
                    <a:pt x="1626" y="3090"/>
                  </a:lnTo>
                  <a:lnTo>
                    <a:pt x="1625" y="3088"/>
                  </a:lnTo>
                  <a:lnTo>
                    <a:pt x="1624" y="3085"/>
                  </a:lnTo>
                  <a:lnTo>
                    <a:pt x="1623" y="3082"/>
                  </a:lnTo>
                  <a:lnTo>
                    <a:pt x="1623" y="3078"/>
                  </a:lnTo>
                  <a:lnTo>
                    <a:pt x="1623" y="3070"/>
                  </a:lnTo>
                  <a:lnTo>
                    <a:pt x="1624" y="3063"/>
                  </a:lnTo>
                  <a:lnTo>
                    <a:pt x="1626" y="3056"/>
                  </a:lnTo>
                  <a:lnTo>
                    <a:pt x="1628" y="3049"/>
                  </a:lnTo>
                  <a:lnTo>
                    <a:pt x="1631" y="3042"/>
                  </a:lnTo>
                  <a:lnTo>
                    <a:pt x="1633" y="3036"/>
                  </a:lnTo>
                  <a:lnTo>
                    <a:pt x="1634" y="3028"/>
                  </a:lnTo>
                  <a:lnTo>
                    <a:pt x="1634" y="3021"/>
                  </a:lnTo>
                  <a:lnTo>
                    <a:pt x="1633" y="3016"/>
                  </a:lnTo>
                  <a:lnTo>
                    <a:pt x="1629" y="3013"/>
                  </a:lnTo>
                  <a:lnTo>
                    <a:pt x="1623" y="3016"/>
                  </a:lnTo>
                  <a:lnTo>
                    <a:pt x="1617" y="3021"/>
                  </a:lnTo>
                  <a:lnTo>
                    <a:pt x="1613" y="3025"/>
                  </a:lnTo>
                  <a:lnTo>
                    <a:pt x="1609" y="3029"/>
                  </a:lnTo>
                  <a:lnTo>
                    <a:pt x="1606" y="3035"/>
                  </a:lnTo>
                  <a:lnTo>
                    <a:pt x="1604" y="3040"/>
                  </a:lnTo>
                  <a:lnTo>
                    <a:pt x="1603" y="3046"/>
                  </a:lnTo>
                  <a:lnTo>
                    <a:pt x="1602" y="3054"/>
                  </a:lnTo>
                  <a:lnTo>
                    <a:pt x="1603" y="3059"/>
                  </a:lnTo>
                  <a:lnTo>
                    <a:pt x="1604" y="3063"/>
                  </a:lnTo>
                  <a:lnTo>
                    <a:pt x="1606" y="3067"/>
                  </a:lnTo>
                  <a:lnTo>
                    <a:pt x="1607" y="3070"/>
                  </a:lnTo>
                  <a:lnTo>
                    <a:pt x="1609" y="3073"/>
                  </a:lnTo>
                  <a:lnTo>
                    <a:pt x="1611" y="3077"/>
                  </a:lnTo>
                  <a:lnTo>
                    <a:pt x="1612" y="3082"/>
                  </a:lnTo>
                  <a:lnTo>
                    <a:pt x="1612" y="3087"/>
                  </a:lnTo>
                  <a:lnTo>
                    <a:pt x="1612" y="3091"/>
                  </a:lnTo>
                  <a:lnTo>
                    <a:pt x="1611" y="3094"/>
                  </a:lnTo>
                  <a:lnTo>
                    <a:pt x="1609" y="3097"/>
                  </a:lnTo>
                  <a:lnTo>
                    <a:pt x="1607" y="3101"/>
                  </a:lnTo>
                  <a:lnTo>
                    <a:pt x="1602" y="3109"/>
                  </a:lnTo>
                  <a:lnTo>
                    <a:pt x="1598" y="3119"/>
                  </a:lnTo>
                  <a:lnTo>
                    <a:pt x="1596" y="3128"/>
                  </a:lnTo>
                  <a:lnTo>
                    <a:pt x="1596" y="3138"/>
                  </a:lnTo>
                  <a:lnTo>
                    <a:pt x="1596" y="3148"/>
                  </a:lnTo>
                  <a:lnTo>
                    <a:pt x="1598" y="3155"/>
                  </a:lnTo>
                  <a:lnTo>
                    <a:pt x="1599" y="3162"/>
                  </a:lnTo>
                  <a:lnTo>
                    <a:pt x="1600" y="3170"/>
                  </a:lnTo>
                  <a:lnTo>
                    <a:pt x="1600" y="3177"/>
                  </a:lnTo>
                  <a:lnTo>
                    <a:pt x="1598" y="3182"/>
                  </a:lnTo>
                  <a:lnTo>
                    <a:pt x="1595" y="3186"/>
                  </a:lnTo>
                  <a:lnTo>
                    <a:pt x="1592" y="3191"/>
                  </a:lnTo>
                  <a:lnTo>
                    <a:pt x="1584" y="3174"/>
                  </a:lnTo>
                  <a:lnTo>
                    <a:pt x="1579" y="3160"/>
                  </a:lnTo>
                  <a:lnTo>
                    <a:pt x="1574" y="3144"/>
                  </a:lnTo>
                  <a:lnTo>
                    <a:pt x="1569" y="3127"/>
                  </a:lnTo>
                  <a:lnTo>
                    <a:pt x="1567" y="3132"/>
                  </a:lnTo>
                  <a:lnTo>
                    <a:pt x="1573" y="3197"/>
                  </a:lnTo>
                  <a:lnTo>
                    <a:pt x="1573" y="3203"/>
                  </a:lnTo>
                  <a:lnTo>
                    <a:pt x="1574" y="3207"/>
                  </a:lnTo>
                  <a:lnTo>
                    <a:pt x="1576" y="3212"/>
                  </a:lnTo>
                  <a:lnTo>
                    <a:pt x="1577" y="3216"/>
                  </a:lnTo>
                  <a:lnTo>
                    <a:pt x="1579" y="3220"/>
                  </a:lnTo>
                  <a:lnTo>
                    <a:pt x="1580" y="3226"/>
                  </a:lnTo>
                  <a:lnTo>
                    <a:pt x="1581" y="3233"/>
                  </a:lnTo>
                  <a:lnTo>
                    <a:pt x="1581" y="3243"/>
                  </a:lnTo>
                  <a:lnTo>
                    <a:pt x="1575" y="3236"/>
                  </a:lnTo>
                  <a:lnTo>
                    <a:pt x="1571" y="3229"/>
                  </a:lnTo>
                  <a:lnTo>
                    <a:pt x="1567" y="3223"/>
                  </a:lnTo>
                  <a:lnTo>
                    <a:pt x="1562" y="3216"/>
                  </a:lnTo>
                  <a:lnTo>
                    <a:pt x="1558" y="3210"/>
                  </a:lnTo>
                  <a:lnTo>
                    <a:pt x="1554" y="3204"/>
                  </a:lnTo>
                  <a:lnTo>
                    <a:pt x="1551" y="3202"/>
                  </a:lnTo>
                  <a:lnTo>
                    <a:pt x="1548" y="3201"/>
                  </a:lnTo>
                  <a:lnTo>
                    <a:pt x="1545" y="3200"/>
                  </a:lnTo>
                  <a:lnTo>
                    <a:pt x="1541" y="3200"/>
                  </a:lnTo>
                  <a:lnTo>
                    <a:pt x="1529" y="3201"/>
                  </a:lnTo>
                  <a:lnTo>
                    <a:pt x="1520" y="3204"/>
                  </a:lnTo>
                  <a:lnTo>
                    <a:pt x="1512" y="3209"/>
                  </a:lnTo>
                  <a:lnTo>
                    <a:pt x="1504" y="3213"/>
                  </a:lnTo>
                  <a:lnTo>
                    <a:pt x="1495" y="3218"/>
                  </a:lnTo>
                  <a:lnTo>
                    <a:pt x="1486" y="3222"/>
                  </a:lnTo>
                  <a:lnTo>
                    <a:pt x="1477" y="3225"/>
                  </a:lnTo>
                  <a:lnTo>
                    <a:pt x="1467" y="3226"/>
                  </a:lnTo>
                  <a:lnTo>
                    <a:pt x="1459" y="3226"/>
                  </a:lnTo>
                  <a:lnTo>
                    <a:pt x="1452" y="3226"/>
                  </a:lnTo>
                  <a:lnTo>
                    <a:pt x="1451" y="3232"/>
                  </a:lnTo>
                  <a:lnTo>
                    <a:pt x="1452" y="3238"/>
                  </a:lnTo>
                  <a:lnTo>
                    <a:pt x="1452" y="3246"/>
                  </a:lnTo>
                  <a:lnTo>
                    <a:pt x="1453" y="3251"/>
                  </a:lnTo>
                  <a:lnTo>
                    <a:pt x="1455" y="3257"/>
                  </a:lnTo>
                  <a:lnTo>
                    <a:pt x="1457" y="3262"/>
                  </a:lnTo>
                  <a:lnTo>
                    <a:pt x="1460" y="3266"/>
                  </a:lnTo>
                  <a:lnTo>
                    <a:pt x="1463" y="3270"/>
                  </a:lnTo>
                  <a:lnTo>
                    <a:pt x="1468" y="3275"/>
                  </a:lnTo>
                  <a:lnTo>
                    <a:pt x="1472" y="3279"/>
                  </a:lnTo>
                  <a:lnTo>
                    <a:pt x="1481" y="3286"/>
                  </a:lnTo>
                  <a:lnTo>
                    <a:pt x="1492" y="3292"/>
                  </a:lnTo>
                  <a:lnTo>
                    <a:pt x="1504" y="3298"/>
                  </a:lnTo>
                  <a:lnTo>
                    <a:pt x="1516" y="3304"/>
                  </a:lnTo>
                  <a:lnTo>
                    <a:pt x="1508" y="3314"/>
                  </a:lnTo>
                  <a:lnTo>
                    <a:pt x="1499" y="3322"/>
                  </a:lnTo>
                  <a:lnTo>
                    <a:pt x="1490" y="3329"/>
                  </a:lnTo>
                  <a:lnTo>
                    <a:pt x="1482" y="3340"/>
                  </a:lnTo>
                  <a:lnTo>
                    <a:pt x="1495" y="3340"/>
                  </a:lnTo>
                  <a:lnTo>
                    <a:pt x="1508" y="3336"/>
                  </a:lnTo>
                  <a:lnTo>
                    <a:pt x="1519" y="3332"/>
                  </a:lnTo>
                  <a:lnTo>
                    <a:pt x="1521" y="3332"/>
                  </a:lnTo>
                  <a:lnTo>
                    <a:pt x="1521" y="3333"/>
                  </a:lnTo>
                  <a:lnTo>
                    <a:pt x="1520" y="3335"/>
                  </a:lnTo>
                  <a:lnTo>
                    <a:pt x="1518" y="3337"/>
                  </a:lnTo>
                  <a:lnTo>
                    <a:pt x="1510" y="3341"/>
                  </a:lnTo>
                  <a:lnTo>
                    <a:pt x="1501" y="3346"/>
                  </a:lnTo>
                  <a:lnTo>
                    <a:pt x="1480" y="3357"/>
                  </a:lnTo>
                  <a:lnTo>
                    <a:pt x="1468" y="3364"/>
                  </a:lnTo>
                  <a:lnTo>
                    <a:pt x="1450" y="3386"/>
                  </a:lnTo>
                  <a:lnTo>
                    <a:pt x="1431" y="3405"/>
                  </a:lnTo>
                  <a:lnTo>
                    <a:pt x="1427" y="3409"/>
                  </a:lnTo>
                  <a:lnTo>
                    <a:pt x="1422" y="3412"/>
                  </a:lnTo>
                  <a:lnTo>
                    <a:pt x="1417" y="3415"/>
                  </a:lnTo>
                  <a:lnTo>
                    <a:pt x="1412" y="3417"/>
                  </a:lnTo>
                  <a:lnTo>
                    <a:pt x="1406" y="3419"/>
                  </a:lnTo>
                  <a:lnTo>
                    <a:pt x="1400" y="3420"/>
                  </a:lnTo>
                  <a:lnTo>
                    <a:pt x="1393" y="3421"/>
                  </a:lnTo>
                  <a:lnTo>
                    <a:pt x="1386" y="3421"/>
                  </a:lnTo>
                  <a:lnTo>
                    <a:pt x="1389" y="3415"/>
                  </a:lnTo>
                  <a:lnTo>
                    <a:pt x="1392" y="3412"/>
                  </a:lnTo>
                  <a:lnTo>
                    <a:pt x="1396" y="3409"/>
                  </a:lnTo>
                  <a:lnTo>
                    <a:pt x="1402" y="3406"/>
                  </a:lnTo>
                  <a:lnTo>
                    <a:pt x="1412" y="3402"/>
                  </a:lnTo>
                  <a:lnTo>
                    <a:pt x="1423" y="3396"/>
                  </a:lnTo>
                  <a:lnTo>
                    <a:pt x="1436" y="3386"/>
                  </a:lnTo>
                  <a:lnTo>
                    <a:pt x="1447" y="3377"/>
                  </a:lnTo>
                  <a:lnTo>
                    <a:pt x="1452" y="3372"/>
                  </a:lnTo>
                  <a:lnTo>
                    <a:pt x="1456" y="3365"/>
                  </a:lnTo>
                  <a:lnTo>
                    <a:pt x="1460" y="3359"/>
                  </a:lnTo>
                  <a:lnTo>
                    <a:pt x="1462" y="3351"/>
                  </a:lnTo>
                  <a:lnTo>
                    <a:pt x="1460" y="3350"/>
                  </a:lnTo>
                  <a:lnTo>
                    <a:pt x="1458" y="3349"/>
                  </a:lnTo>
                  <a:lnTo>
                    <a:pt x="1454" y="3349"/>
                  </a:lnTo>
                  <a:lnTo>
                    <a:pt x="1450" y="3350"/>
                  </a:lnTo>
                  <a:lnTo>
                    <a:pt x="1447" y="3351"/>
                  </a:lnTo>
                  <a:lnTo>
                    <a:pt x="1444" y="3353"/>
                  </a:lnTo>
                  <a:lnTo>
                    <a:pt x="1438" y="3358"/>
                  </a:lnTo>
                  <a:lnTo>
                    <a:pt x="1433" y="3363"/>
                  </a:lnTo>
                  <a:lnTo>
                    <a:pt x="1427" y="3369"/>
                  </a:lnTo>
                  <a:lnTo>
                    <a:pt x="1421" y="3374"/>
                  </a:lnTo>
                  <a:lnTo>
                    <a:pt x="1418" y="3376"/>
                  </a:lnTo>
                  <a:lnTo>
                    <a:pt x="1415" y="3377"/>
                  </a:lnTo>
                  <a:lnTo>
                    <a:pt x="1411" y="3378"/>
                  </a:lnTo>
                  <a:lnTo>
                    <a:pt x="1407" y="3378"/>
                  </a:lnTo>
                  <a:lnTo>
                    <a:pt x="1402" y="3378"/>
                  </a:lnTo>
                  <a:lnTo>
                    <a:pt x="1395" y="3377"/>
                  </a:lnTo>
                  <a:lnTo>
                    <a:pt x="1393" y="3354"/>
                  </a:lnTo>
                  <a:lnTo>
                    <a:pt x="1390" y="3335"/>
                  </a:lnTo>
                  <a:lnTo>
                    <a:pt x="1387" y="3325"/>
                  </a:lnTo>
                  <a:lnTo>
                    <a:pt x="1384" y="3316"/>
                  </a:lnTo>
                  <a:lnTo>
                    <a:pt x="1380" y="3306"/>
                  </a:lnTo>
                  <a:lnTo>
                    <a:pt x="1375" y="3295"/>
                  </a:lnTo>
                  <a:lnTo>
                    <a:pt x="1371" y="3291"/>
                  </a:lnTo>
                  <a:lnTo>
                    <a:pt x="1368" y="3288"/>
                  </a:lnTo>
                  <a:lnTo>
                    <a:pt x="1362" y="3284"/>
                  </a:lnTo>
                  <a:lnTo>
                    <a:pt x="1358" y="3282"/>
                  </a:lnTo>
                  <a:lnTo>
                    <a:pt x="1355" y="3279"/>
                  </a:lnTo>
                  <a:lnTo>
                    <a:pt x="1351" y="3275"/>
                  </a:lnTo>
                  <a:lnTo>
                    <a:pt x="1349" y="3270"/>
                  </a:lnTo>
                  <a:lnTo>
                    <a:pt x="1349" y="3265"/>
                  </a:lnTo>
                  <a:lnTo>
                    <a:pt x="1353" y="3253"/>
                  </a:lnTo>
                  <a:lnTo>
                    <a:pt x="1357" y="3239"/>
                  </a:lnTo>
                  <a:lnTo>
                    <a:pt x="1355" y="3230"/>
                  </a:lnTo>
                  <a:lnTo>
                    <a:pt x="1353" y="3223"/>
                  </a:lnTo>
                  <a:lnTo>
                    <a:pt x="1350" y="3215"/>
                  </a:lnTo>
                  <a:lnTo>
                    <a:pt x="1349" y="3206"/>
                  </a:lnTo>
                  <a:lnTo>
                    <a:pt x="1350" y="3196"/>
                  </a:lnTo>
                  <a:lnTo>
                    <a:pt x="1353" y="3188"/>
                  </a:lnTo>
                  <a:lnTo>
                    <a:pt x="1355" y="3179"/>
                  </a:lnTo>
                  <a:lnTo>
                    <a:pt x="1357" y="3169"/>
                  </a:lnTo>
                  <a:lnTo>
                    <a:pt x="1356" y="3164"/>
                  </a:lnTo>
                  <a:lnTo>
                    <a:pt x="1355" y="3160"/>
                  </a:lnTo>
                  <a:lnTo>
                    <a:pt x="1354" y="3156"/>
                  </a:lnTo>
                  <a:lnTo>
                    <a:pt x="1352" y="3153"/>
                  </a:lnTo>
                  <a:lnTo>
                    <a:pt x="1348" y="3147"/>
                  </a:lnTo>
                  <a:lnTo>
                    <a:pt x="1342" y="3140"/>
                  </a:lnTo>
                  <a:lnTo>
                    <a:pt x="1335" y="3135"/>
                  </a:lnTo>
                  <a:lnTo>
                    <a:pt x="1328" y="3130"/>
                  </a:lnTo>
                  <a:lnTo>
                    <a:pt x="1321" y="3124"/>
                  </a:lnTo>
                  <a:lnTo>
                    <a:pt x="1315" y="3117"/>
                  </a:lnTo>
                  <a:lnTo>
                    <a:pt x="1315" y="3131"/>
                  </a:lnTo>
                  <a:lnTo>
                    <a:pt x="1316" y="3146"/>
                  </a:lnTo>
                  <a:lnTo>
                    <a:pt x="1316" y="3162"/>
                  </a:lnTo>
                  <a:lnTo>
                    <a:pt x="1316" y="3178"/>
                  </a:lnTo>
                  <a:lnTo>
                    <a:pt x="1315" y="3185"/>
                  </a:lnTo>
                  <a:lnTo>
                    <a:pt x="1314" y="3192"/>
                  </a:lnTo>
                  <a:lnTo>
                    <a:pt x="1311" y="3199"/>
                  </a:lnTo>
                  <a:lnTo>
                    <a:pt x="1308" y="3207"/>
                  </a:lnTo>
                  <a:lnTo>
                    <a:pt x="1303" y="3215"/>
                  </a:lnTo>
                  <a:lnTo>
                    <a:pt x="1298" y="3221"/>
                  </a:lnTo>
                  <a:lnTo>
                    <a:pt x="1296" y="3225"/>
                  </a:lnTo>
                  <a:lnTo>
                    <a:pt x="1294" y="3228"/>
                  </a:lnTo>
                  <a:lnTo>
                    <a:pt x="1293" y="3232"/>
                  </a:lnTo>
                  <a:lnTo>
                    <a:pt x="1293" y="3236"/>
                  </a:lnTo>
                  <a:lnTo>
                    <a:pt x="1294" y="3243"/>
                  </a:lnTo>
                  <a:lnTo>
                    <a:pt x="1296" y="3248"/>
                  </a:lnTo>
                  <a:lnTo>
                    <a:pt x="1299" y="3253"/>
                  </a:lnTo>
                  <a:lnTo>
                    <a:pt x="1304" y="3258"/>
                  </a:lnTo>
                  <a:lnTo>
                    <a:pt x="1293" y="3265"/>
                  </a:lnTo>
                  <a:lnTo>
                    <a:pt x="1286" y="3274"/>
                  </a:lnTo>
                  <a:lnTo>
                    <a:pt x="1279" y="3283"/>
                  </a:lnTo>
                  <a:lnTo>
                    <a:pt x="1275" y="3293"/>
                  </a:lnTo>
                  <a:lnTo>
                    <a:pt x="1271" y="3304"/>
                  </a:lnTo>
                  <a:lnTo>
                    <a:pt x="1269" y="3315"/>
                  </a:lnTo>
                  <a:lnTo>
                    <a:pt x="1268" y="3327"/>
                  </a:lnTo>
                  <a:lnTo>
                    <a:pt x="1268" y="3340"/>
                  </a:lnTo>
                  <a:lnTo>
                    <a:pt x="1268" y="3407"/>
                  </a:lnTo>
                  <a:lnTo>
                    <a:pt x="1266" y="3418"/>
                  </a:lnTo>
                  <a:lnTo>
                    <a:pt x="1264" y="3427"/>
                  </a:lnTo>
                  <a:lnTo>
                    <a:pt x="1262" y="3438"/>
                  </a:lnTo>
                  <a:lnTo>
                    <a:pt x="1261" y="3449"/>
                  </a:lnTo>
                  <a:lnTo>
                    <a:pt x="1261" y="3453"/>
                  </a:lnTo>
                  <a:lnTo>
                    <a:pt x="1262" y="3457"/>
                  </a:lnTo>
                  <a:lnTo>
                    <a:pt x="1264" y="3462"/>
                  </a:lnTo>
                  <a:lnTo>
                    <a:pt x="1268" y="3465"/>
                  </a:lnTo>
                  <a:lnTo>
                    <a:pt x="1270" y="3468"/>
                  </a:lnTo>
                  <a:lnTo>
                    <a:pt x="1274" y="3470"/>
                  </a:lnTo>
                  <a:lnTo>
                    <a:pt x="1278" y="3472"/>
                  </a:lnTo>
                  <a:lnTo>
                    <a:pt x="1282" y="3473"/>
                  </a:lnTo>
                  <a:lnTo>
                    <a:pt x="1291" y="3475"/>
                  </a:lnTo>
                  <a:lnTo>
                    <a:pt x="1302" y="3477"/>
                  </a:lnTo>
                  <a:lnTo>
                    <a:pt x="1312" y="3477"/>
                  </a:lnTo>
                  <a:lnTo>
                    <a:pt x="1321" y="3477"/>
                  </a:lnTo>
                  <a:lnTo>
                    <a:pt x="1320" y="3492"/>
                  </a:lnTo>
                  <a:lnTo>
                    <a:pt x="1318" y="3507"/>
                  </a:lnTo>
                  <a:lnTo>
                    <a:pt x="1311" y="3512"/>
                  </a:lnTo>
                  <a:lnTo>
                    <a:pt x="1304" y="3516"/>
                  </a:lnTo>
                  <a:lnTo>
                    <a:pt x="1297" y="3521"/>
                  </a:lnTo>
                  <a:lnTo>
                    <a:pt x="1292" y="3529"/>
                  </a:lnTo>
                  <a:lnTo>
                    <a:pt x="1287" y="3536"/>
                  </a:lnTo>
                  <a:lnTo>
                    <a:pt x="1283" y="3542"/>
                  </a:lnTo>
                  <a:lnTo>
                    <a:pt x="1281" y="3545"/>
                  </a:lnTo>
                  <a:lnTo>
                    <a:pt x="1278" y="3547"/>
                  </a:lnTo>
                  <a:lnTo>
                    <a:pt x="1275" y="3549"/>
                  </a:lnTo>
                  <a:lnTo>
                    <a:pt x="1271" y="3549"/>
                  </a:lnTo>
                  <a:lnTo>
                    <a:pt x="1261" y="3548"/>
                  </a:lnTo>
                  <a:lnTo>
                    <a:pt x="1252" y="3546"/>
                  </a:lnTo>
                  <a:lnTo>
                    <a:pt x="1257" y="3557"/>
                  </a:lnTo>
                  <a:lnTo>
                    <a:pt x="1263" y="3566"/>
                  </a:lnTo>
                  <a:lnTo>
                    <a:pt x="1270" y="3574"/>
                  </a:lnTo>
                  <a:lnTo>
                    <a:pt x="1277" y="3581"/>
                  </a:lnTo>
                  <a:lnTo>
                    <a:pt x="1290" y="3597"/>
                  </a:lnTo>
                  <a:lnTo>
                    <a:pt x="1304" y="3615"/>
                  </a:lnTo>
                  <a:lnTo>
                    <a:pt x="1308" y="3609"/>
                  </a:lnTo>
                  <a:lnTo>
                    <a:pt x="1311" y="3602"/>
                  </a:lnTo>
                  <a:lnTo>
                    <a:pt x="1312" y="3595"/>
                  </a:lnTo>
                  <a:lnTo>
                    <a:pt x="1314" y="3587"/>
                  </a:lnTo>
                  <a:lnTo>
                    <a:pt x="1315" y="3580"/>
                  </a:lnTo>
                  <a:lnTo>
                    <a:pt x="1317" y="3574"/>
                  </a:lnTo>
                  <a:lnTo>
                    <a:pt x="1319" y="3571"/>
                  </a:lnTo>
                  <a:lnTo>
                    <a:pt x="1321" y="3569"/>
                  </a:lnTo>
                  <a:lnTo>
                    <a:pt x="1324" y="3566"/>
                  </a:lnTo>
                  <a:lnTo>
                    <a:pt x="1327" y="3564"/>
                  </a:lnTo>
                  <a:lnTo>
                    <a:pt x="1332" y="3573"/>
                  </a:lnTo>
                  <a:lnTo>
                    <a:pt x="1336" y="3581"/>
                  </a:lnTo>
                  <a:lnTo>
                    <a:pt x="1338" y="3591"/>
                  </a:lnTo>
                  <a:lnTo>
                    <a:pt x="1341" y="3601"/>
                  </a:lnTo>
                  <a:lnTo>
                    <a:pt x="1345" y="3599"/>
                  </a:lnTo>
                  <a:lnTo>
                    <a:pt x="1349" y="3596"/>
                  </a:lnTo>
                  <a:lnTo>
                    <a:pt x="1353" y="3594"/>
                  </a:lnTo>
                  <a:lnTo>
                    <a:pt x="1358" y="3593"/>
                  </a:lnTo>
                  <a:lnTo>
                    <a:pt x="1360" y="3594"/>
                  </a:lnTo>
                  <a:lnTo>
                    <a:pt x="1362" y="3595"/>
                  </a:lnTo>
                  <a:lnTo>
                    <a:pt x="1364" y="3596"/>
                  </a:lnTo>
                  <a:lnTo>
                    <a:pt x="1367" y="3598"/>
                  </a:lnTo>
                  <a:lnTo>
                    <a:pt x="1370" y="3602"/>
                  </a:lnTo>
                  <a:lnTo>
                    <a:pt x="1372" y="3607"/>
                  </a:lnTo>
                  <a:lnTo>
                    <a:pt x="1377" y="3598"/>
                  </a:lnTo>
                  <a:lnTo>
                    <a:pt x="1381" y="3590"/>
                  </a:lnTo>
                  <a:lnTo>
                    <a:pt x="1386" y="3581"/>
                  </a:lnTo>
                  <a:lnTo>
                    <a:pt x="1392" y="3573"/>
                  </a:lnTo>
                  <a:lnTo>
                    <a:pt x="1397" y="3581"/>
                  </a:lnTo>
                  <a:lnTo>
                    <a:pt x="1401" y="3591"/>
                  </a:lnTo>
                  <a:lnTo>
                    <a:pt x="1403" y="3599"/>
                  </a:lnTo>
                  <a:lnTo>
                    <a:pt x="1404" y="3607"/>
                  </a:lnTo>
                  <a:lnTo>
                    <a:pt x="1406" y="3625"/>
                  </a:lnTo>
                  <a:lnTo>
                    <a:pt x="1408" y="3644"/>
                  </a:lnTo>
                  <a:lnTo>
                    <a:pt x="1403" y="3665"/>
                  </a:lnTo>
                  <a:lnTo>
                    <a:pt x="1403" y="3689"/>
                  </a:lnTo>
                  <a:lnTo>
                    <a:pt x="1404" y="3705"/>
                  </a:lnTo>
                  <a:lnTo>
                    <a:pt x="1407" y="3720"/>
                  </a:lnTo>
                  <a:lnTo>
                    <a:pt x="1410" y="3734"/>
                  </a:lnTo>
                  <a:lnTo>
                    <a:pt x="1411" y="3751"/>
                  </a:lnTo>
                  <a:lnTo>
                    <a:pt x="1411" y="3773"/>
                  </a:lnTo>
                  <a:lnTo>
                    <a:pt x="1410" y="3785"/>
                  </a:lnTo>
                  <a:lnTo>
                    <a:pt x="1408" y="3795"/>
                  </a:lnTo>
                  <a:lnTo>
                    <a:pt x="1405" y="3805"/>
                  </a:lnTo>
                  <a:lnTo>
                    <a:pt x="1401" y="3815"/>
                  </a:lnTo>
                  <a:lnTo>
                    <a:pt x="1396" y="3824"/>
                  </a:lnTo>
                  <a:lnTo>
                    <a:pt x="1393" y="3833"/>
                  </a:lnTo>
                  <a:lnTo>
                    <a:pt x="1390" y="3844"/>
                  </a:lnTo>
                  <a:lnTo>
                    <a:pt x="1390" y="3855"/>
                  </a:lnTo>
                  <a:lnTo>
                    <a:pt x="1390" y="3871"/>
                  </a:lnTo>
                  <a:lnTo>
                    <a:pt x="1389" y="3877"/>
                  </a:lnTo>
                  <a:lnTo>
                    <a:pt x="1387" y="3880"/>
                  </a:lnTo>
                  <a:lnTo>
                    <a:pt x="1385" y="3883"/>
                  </a:lnTo>
                  <a:lnTo>
                    <a:pt x="1381" y="3885"/>
                  </a:lnTo>
                  <a:lnTo>
                    <a:pt x="1372" y="3888"/>
                  </a:lnTo>
                  <a:lnTo>
                    <a:pt x="1361" y="3891"/>
                  </a:lnTo>
                  <a:lnTo>
                    <a:pt x="1350" y="3858"/>
                  </a:lnTo>
                  <a:lnTo>
                    <a:pt x="1339" y="3829"/>
                  </a:lnTo>
                  <a:lnTo>
                    <a:pt x="1332" y="3815"/>
                  </a:lnTo>
                  <a:lnTo>
                    <a:pt x="1325" y="3801"/>
                  </a:lnTo>
                  <a:lnTo>
                    <a:pt x="1318" y="3789"/>
                  </a:lnTo>
                  <a:lnTo>
                    <a:pt x="1311" y="3776"/>
                  </a:lnTo>
                  <a:lnTo>
                    <a:pt x="1303" y="3764"/>
                  </a:lnTo>
                  <a:lnTo>
                    <a:pt x="1294" y="3753"/>
                  </a:lnTo>
                  <a:lnTo>
                    <a:pt x="1285" y="3741"/>
                  </a:lnTo>
                  <a:lnTo>
                    <a:pt x="1275" y="3730"/>
                  </a:lnTo>
                  <a:lnTo>
                    <a:pt x="1263" y="3720"/>
                  </a:lnTo>
                  <a:lnTo>
                    <a:pt x="1252" y="3709"/>
                  </a:lnTo>
                  <a:lnTo>
                    <a:pt x="1240" y="3698"/>
                  </a:lnTo>
                  <a:lnTo>
                    <a:pt x="1226" y="3688"/>
                  </a:lnTo>
                  <a:lnTo>
                    <a:pt x="1194" y="3663"/>
                  </a:lnTo>
                  <a:lnTo>
                    <a:pt x="1164" y="3641"/>
                  </a:lnTo>
                  <a:lnTo>
                    <a:pt x="1157" y="3637"/>
                  </a:lnTo>
                  <a:lnTo>
                    <a:pt x="1149" y="3633"/>
                  </a:lnTo>
                  <a:lnTo>
                    <a:pt x="1141" y="3630"/>
                  </a:lnTo>
                  <a:lnTo>
                    <a:pt x="1132" y="3627"/>
                  </a:lnTo>
                  <a:lnTo>
                    <a:pt x="1123" y="3625"/>
                  </a:lnTo>
                  <a:lnTo>
                    <a:pt x="1114" y="3623"/>
                  </a:lnTo>
                  <a:lnTo>
                    <a:pt x="1105" y="3622"/>
                  </a:lnTo>
                  <a:lnTo>
                    <a:pt x="1094" y="3622"/>
                  </a:lnTo>
                  <a:lnTo>
                    <a:pt x="1068" y="3622"/>
                  </a:lnTo>
                  <a:lnTo>
                    <a:pt x="1045" y="3623"/>
                  </a:lnTo>
                  <a:lnTo>
                    <a:pt x="1023" y="3624"/>
                  </a:lnTo>
                  <a:lnTo>
                    <a:pt x="1001" y="3627"/>
                  </a:lnTo>
                  <a:lnTo>
                    <a:pt x="980" y="3630"/>
                  </a:lnTo>
                  <a:lnTo>
                    <a:pt x="959" y="3635"/>
                  </a:lnTo>
                  <a:lnTo>
                    <a:pt x="936" y="3641"/>
                  </a:lnTo>
                  <a:lnTo>
                    <a:pt x="913" y="3649"/>
                  </a:lnTo>
                  <a:lnTo>
                    <a:pt x="903" y="3655"/>
                  </a:lnTo>
                  <a:lnTo>
                    <a:pt x="896" y="3660"/>
                  </a:lnTo>
                  <a:lnTo>
                    <a:pt x="890" y="3666"/>
                  </a:lnTo>
                  <a:lnTo>
                    <a:pt x="884" y="3672"/>
                  </a:lnTo>
                  <a:lnTo>
                    <a:pt x="878" y="3678"/>
                  </a:lnTo>
                  <a:lnTo>
                    <a:pt x="870" y="3683"/>
                  </a:lnTo>
                  <a:lnTo>
                    <a:pt x="866" y="3685"/>
                  </a:lnTo>
                  <a:lnTo>
                    <a:pt x="862" y="3687"/>
                  </a:lnTo>
                  <a:lnTo>
                    <a:pt x="858" y="3688"/>
                  </a:lnTo>
                  <a:lnTo>
                    <a:pt x="853" y="3688"/>
                  </a:lnTo>
                  <a:lnTo>
                    <a:pt x="843" y="3687"/>
                  </a:lnTo>
                  <a:lnTo>
                    <a:pt x="833" y="3685"/>
                  </a:lnTo>
                  <a:lnTo>
                    <a:pt x="824" y="3681"/>
                  </a:lnTo>
                  <a:lnTo>
                    <a:pt x="816" y="3678"/>
                  </a:lnTo>
                  <a:lnTo>
                    <a:pt x="808" y="3674"/>
                  </a:lnTo>
                  <a:lnTo>
                    <a:pt x="798" y="3671"/>
                  </a:lnTo>
                  <a:lnTo>
                    <a:pt x="789" y="3669"/>
                  </a:lnTo>
                  <a:lnTo>
                    <a:pt x="778" y="3669"/>
                  </a:lnTo>
                  <a:lnTo>
                    <a:pt x="768" y="3669"/>
                  </a:lnTo>
                  <a:lnTo>
                    <a:pt x="760" y="3672"/>
                  </a:lnTo>
                  <a:lnTo>
                    <a:pt x="753" y="3676"/>
                  </a:lnTo>
                  <a:lnTo>
                    <a:pt x="746" y="3680"/>
                  </a:lnTo>
                  <a:lnTo>
                    <a:pt x="732" y="3693"/>
                  </a:lnTo>
                  <a:lnTo>
                    <a:pt x="719" y="3706"/>
                  </a:lnTo>
                  <a:lnTo>
                    <a:pt x="701" y="3724"/>
                  </a:lnTo>
                  <a:lnTo>
                    <a:pt x="686" y="3739"/>
                  </a:lnTo>
                  <a:lnTo>
                    <a:pt x="679" y="3748"/>
                  </a:lnTo>
                  <a:lnTo>
                    <a:pt x="672" y="3758"/>
                  </a:lnTo>
                  <a:lnTo>
                    <a:pt x="667" y="3768"/>
                  </a:lnTo>
                  <a:lnTo>
                    <a:pt x="662" y="3780"/>
                  </a:lnTo>
                  <a:lnTo>
                    <a:pt x="660" y="3787"/>
                  </a:lnTo>
                  <a:lnTo>
                    <a:pt x="657" y="3793"/>
                  </a:lnTo>
                  <a:lnTo>
                    <a:pt x="653" y="3798"/>
                  </a:lnTo>
                  <a:lnTo>
                    <a:pt x="649" y="3803"/>
                  </a:lnTo>
                  <a:lnTo>
                    <a:pt x="644" y="3807"/>
                  </a:lnTo>
                  <a:lnTo>
                    <a:pt x="637" y="3811"/>
                  </a:lnTo>
                  <a:lnTo>
                    <a:pt x="631" y="3812"/>
                  </a:lnTo>
                  <a:lnTo>
                    <a:pt x="625" y="3813"/>
                  </a:lnTo>
                  <a:lnTo>
                    <a:pt x="617" y="3813"/>
                  </a:lnTo>
                  <a:lnTo>
                    <a:pt x="610" y="3812"/>
                  </a:lnTo>
                  <a:lnTo>
                    <a:pt x="602" y="3810"/>
                  </a:lnTo>
                  <a:lnTo>
                    <a:pt x="596" y="3808"/>
                  </a:lnTo>
                  <a:lnTo>
                    <a:pt x="585" y="3802"/>
                  </a:lnTo>
                  <a:lnTo>
                    <a:pt x="573" y="3796"/>
                  </a:lnTo>
                  <a:lnTo>
                    <a:pt x="552" y="3780"/>
                  </a:lnTo>
                  <a:lnTo>
                    <a:pt x="528" y="3761"/>
                  </a:lnTo>
                  <a:lnTo>
                    <a:pt x="521" y="3770"/>
                  </a:lnTo>
                  <a:lnTo>
                    <a:pt x="514" y="3779"/>
                  </a:lnTo>
                  <a:lnTo>
                    <a:pt x="510" y="3783"/>
                  </a:lnTo>
                  <a:lnTo>
                    <a:pt x="507" y="3788"/>
                  </a:lnTo>
                  <a:lnTo>
                    <a:pt x="505" y="3793"/>
                  </a:lnTo>
                  <a:lnTo>
                    <a:pt x="504" y="3798"/>
                  </a:lnTo>
                  <a:lnTo>
                    <a:pt x="505" y="3807"/>
                  </a:lnTo>
                  <a:lnTo>
                    <a:pt x="507" y="3816"/>
                  </a:lnTo>
                  <a:lnTo>
                    <a:pt x="511" y="3823"/>
                  </a:lnTo>
                  <a:lnTo>
                    <a:pt x="515" y="3830"/>
                  </a:lnTo>
                  <a:lnTo>
                    <a:pt x="524" y="3844"/>
                  </a:lnTo>
                  <a:lnTo>
                    <a:pt x="533" y="3860"/>
                  </a:lnTo>
                  <a:lnTo>
                    <a:pt x="518" y="3858"/>
                  </a:lnTo>
                  <a:lnTo>
                    <a:pt x="504" y="3859"/>
                  </a:lnTo>
                  <a:lnTo>
                    <a:pt x="491" y="3861"/>
                  </a:lnTo>
                  <a:lnTo>
                    <a:pt x="479" y="3864"/>
                  </a:lnTo>
                  <a:lnTo>
                    <a:pt x="466" y="3867"/>
                  </a:lnTo>
                  <a:lnTo>
                    <a:pt x="453" y="3870"/>
                  </a:lnTo>
                  <a:lnTo>
                    <a:pt x="439" y="3874"/>
                  </a:lnTo>
                  <a:lnTo>
                    <a:pt x="424" y="3874"/>
                  </a:lnTo>
                  <a:lnTo>
                    <a:pt x="410" y="3874"/>
                  </a:lnTo>
                  <a:lnTo>
                    <a:pt x="396" y="3871"/>
                  </a:lnTo>
                  <a:lnTo>
                    <a:pt x="384" y="3868"/>
                  </a:lnTo>
                  <a:lnTo>
                    <a:pt x="371" y="3864"/>
                  </a:lnTo>
                  <a:lnTo>
                    <a:pt x="361" y="3859"/>
                  </a:lnTo>
                  <a:lnTo>
                    <a:pt x="350" y="3854"/>
                  </a:lnTo>
                  <a:lnTo>
                    <a:pt x="339" y="3848"/>
                  </a:lnTo>
                  <a:lnTo>
                    <a:pt x="329" y="3840"/>
                  </a:lnTo>
                  <a:lnTo>
                    <a:pt x="309" y="3825"/>
                  </a:lnTo>
                  <a:lnTo>
                    <a:pt x="289" y="3810"/>
                  </a:lnTo>
                  <a:lnTo>
                    <a:pt x="278" y="3801"/>
                  </a:lnTo>
                  <a:lnTo>
                    <a:pt x="266" y="3794"/>
                  </a:lnTo>
                  <a:lnTo>
                    <a:pt x="254" y="3787"/>
                  </a:lnTo>
                  <a:lnTo>
                    <a:pt x="240" y="3780"/>
                  </a:lnTo>
                  <a:lnTo>
                    <a:pt x="197" y="3759"/>
                  </a:lnTo>
                  <a:lnTo>
                    <a:pt x="158" y="3740"/>
                  </a:lnTo>
                  <a:lnTo>
                    <a:pt x="150" y="3735"/>
                  </a:lnTo>
                  <a:lnTo>
                    <a:pt x="140" y="3729"/>
                  </a:lnTo>
                  <a:lnTo>
                    <a:pt x="132" y="3723"/>
                  </a:lnTo>
                  <a:lnTo>
                    <a:pt x="124" y="3716"/>
                  </a:lnTo>
                  <a:lnTo>
                    <a:pt x="117" y="3708"/>
                  </a:lnTo>
                  <a:lnTo>
                    <a:pt x="108" y="3700"/>
                  </a:lnTo>
                  <a:lnTo>
                    <a:pt x="101" y="3691"/>
                  </a:lnTo>
                  <a:lnTo>
                    <a:pt x="94" y="3680"/>
                  </a:lnTo>
                  <a:lnTo>
                    <a:pt x="89" y="3670"/>
                  </a:lnTo>
                  <a:lnTo>
                    <a:pt x="85" y="3661"/>
                  </a:lnTo>
                  <a:lnTo>
                    <a:pt x="81" y="3652"/>
                  </a:lnTo>
                  <a:lnTo>
                    <a:pt x="77" y="3641"/>
                  </a:lnTo>
                  <a:lnTo>
                    <a:pt x="74" y="3632"/>
                  </a:lnTo>
                  <a:lnTo>
                    <a:pt x="70" y="3624"/>
                  </a:lnTo>
                  <a:lnTo>
                    <a:pt x="66" y="3614"/>
                  </a:lnTo>
                  <a:lnTo>
                    <a:pt x="59" y="3605"/>
                  </a:lnTo>
                  <a:lnTo>
                    <a:pt x="52" y="3598"/>
                  </a:lnTo>
                  <a:lnTo>
                    <a:pt x="44" y="3592"/>
                  </a:lnTo>
                  <a:lnTo>
                    <a:pt x="36" y="3586"/>
                  </a:lnTo>
                  <a:lnTo>
                    <a:pt x="29" y="3581"/>
                  </a:lnTo>
                  <a:lnTo>
                    <a:pt x="21" y="3576"/>
                  </a:lnTo>
                  <a:lnTo>
                    <a:pt x="14" y="3570"/>
                  </a:lnTo>
                  <a:lnTo>
                    <a:pt x="6" y="3564"/>
                  </a:lnTo>
                  <a:lnTo>
                    <a:pt x="0" y="3555"/>
                  </a:lnTo>
                  <a:lnTo>
                    <a:pt x="12" y="3539"/>
                  </a:lnTo>
                  <a:lnTo>
                    <a:pt x="25" y="3523"/>
                  </a:lnTo>
                  <a:lnTo>
                    <a:pt x="31" y="3516"/>
                  </a:lnTo>
                  <a:lnTo>
                    <a:pt x="38" y="3510"/>
                  </a:lnTo>
                  <a:lnTo>
                    <a:pt x="45" y="3504"/>
                  </a:lnTo>
                  <a:lnTo>
                    <a:pt x="53" y="3499"/>
                  </a:lnTo>
                  <a:lnTo>
                    <a:pt x="61" y="3494"/>
                  </a:lnTo>
                  <a:lnTo>
                    <a:pt x="69" y="3489"/>
                  </a:lnTo>
                  <a:lnTo>
                    <a:pt x="77" y="3486"/>
                  </a:lnTo>
                  <a:lnTo>
                    <a:pt x="86" y="3483"/>
                  </a:lnTo>
                  <a:lnTo>
                    <a:pt x="95" y="3480"/>
                  </a:lnTo>
                  <a:lnTo>
                    <a:pt x="104" y="3479"/>
                  </a:lnTo>
                  <a:lnTo>
                    <a:pt x="115" y="3478"/>
                  </a:lnTo>
                  <a:lnTo>
                    <a:pt x="125" y="3477"/>
                  </a:lnTo>
                  <a:lnTo>
                    <a:pt x="138" y="3478"/>
                  </a:lnTo>
                  <a:lnTo>
                    <a:pt x="152" y="3480"/>
                  </a:lnTo>
                  <a:lnTo>
                    <a:pt x="163" y="3482"/>
                  </a:lnTo>
                  <a:lnTo>
                    <a:pt x="174" y="3484"/>
                  </a:lnTo>
                  <a:lnTo>
                    <a:pt x="186" y="3487"/>
                  </a:lnTo>
                  <a:lnTo>
                    <a:pt x="197" y="3489"/>
                  </a:lnTo>
                  <a:lnTo>
                    <a:pt x="210" y="3491"/>
                  </a:lnTo>
                  <a:lnTo>
                    <a:pt x="224" y="3491"/>
                  </a:lnTo>
                  <a:lnTo>
                    <a:pt x="227" y="3491"/>
                  </a:lnTo>
                  <a:lnTo>
                    <a:pt x="230" y="3490"/>
                  </a:lnTo>
                  <a:lnTo>
                    <a:pt x="232" y="3489"/>
                  </a:lnTo>
                  <a:lnTo>
                    <a:pt x="235" y="3487"/>
                  </a:lnTo>
                  <a:lnTo>
                    <a:pt x="239" y="3483"/>
                  </a:lnTo>
                  <a:lnTo>
                    <a:pt x="246" y="3480"/>
                  </a:lnTo>
                  <a:lnTo>
                    <a:pt x="249" y="3476"/>
                  </a:lnTo>
                  <a:lnTo>
                    <a:pt x="252" y="3472"/>
                  </a:lnTo>
                  <a:lnTo>
                    <a:pt x="256" y="3468"/>
                  </a:lnTo>
                  <a:lnTo>
                    <a:pt x="259" y="3466"/>
                  </a:lnTo>
                  <a:lnTo>
                    <a:pt x="265" y="3467"/>
                  </a:lnTo>
                  <a:lnTo>
                    <a:pt x="269" y="3470"/>
                  </a:lnTo>
                  <a:lnTo>
                    <a:pt x="273" y="3474"/>
                  </a:lnTo>
                  <a:lnTo>
                    <a:pt x="279" y="3477"/>
                  </a:lnTo>
                  <a:lnTo>
                    <a:pt x="289" y="3427"/>
                  </a:lnTo>
                  <a:lnTo>
                    <a:pt x="289" y="3315"/>
                  </a:lnTo>
                  <a:lnTo>
                    <a:pt x="279" y="3246"/>
                  </a:lnTo>
                  <a:lnTo>
                    <a:pt x="280" y="3237"/>
                  </a:lnTo>
                  <a:lnTo>
                    <a:pt x="282" y="3230"/>
                  </a:lnTo>
                  <a:lnTo>
                    <a:pt x="285" y="3223"/>
                  </a:lnTo>
                  <a:lnTo>
                    <a:pt x="289" y="3217"/>
                  </a:lnTo>
                  <a:lnTo>
                    <a:pt x="293" y="3211"/>
                  </a:lnTo>
                  <a:lnTo>
                    <a:pt x="298" y="3205"/>
                  </a:lnTo>
                  <a:lnTo>
                    <a:pt x="304" y="3200"/>
                  </a:lnTo>
                  <a:lnTo>
                    <a:pt x="311" y="3195"/>
                  </a:lnTo>
                  <a:lnTo>
                    <a:pt x="324" y="3187"/>
                  </a:lnTo>
                  <a:lnTo>
                    <a:pt x="338" y="3180"/>
                  </a:lnTo>
                  <a:lnTo>
                    <a:pt x="354" y="3172"/>
                  </a:lnTo>
                  <a:lnTo>
                    <a:pt x="370" y="3166"/>
                  </a:lnTo>
                  <a:lnTo>
                    <a:pt x="383" y="3160"/>
                  </a:lnTo>
                  <a:lnTo>
                    <a:pt x="394" y="3153"/>
                  </a:lnTo>
                  <a:lnTo>
                    <a:pt x="403" y="3147"/>
                  </a:lnTo>
                  <a:lnTo>
                    <a:pt x="413" y="3138"/>
                  </a:lnTo>
                  <a:lnTo>
                    <a:pt x="429" y="3122"/>
                  </a:lnTo>
                  <a:lnTo>
                    <a:pt x="448" y="3102"/>
                  </a:lnTo>
                  <a:lnTo>
                    <a:pt x="470" y="3083"/>
                  </a:lnTo>
                  <a:lnTo>
                    <a:pt x="491" y="3066"/>
                  </a:lnTo>
                  <a:lnTo>
                    <a:pt x="500" y="3058"/>
                  </a:lnTo>
                  <a:lnTo>
                    <a:pt x="509" y="3047"/>
                  </a:lnTo>
                  <a:lnTo>
                    <a:pt x="513" y="3042"/>
                  </a:lnTo>
                  <a:lnTo>
                    <a:pt x="516" y="3036"/>
                  </a:lnTo>
                  <a:lnTo>
                    <a:pt x="519" y="3029"/>
                  </a:lnTo>
                  <a:lnTo>
                    <a:pt x="521" y="3022"/>
                  </a:lnTo>
                  <a:lnTo>
                    <a:pt x="523" y="3014"/>
                  </a:lnTo>
                  <a:lnTo>
                    <a:pt x="524" y="3008"/>
                  </a:lnTo>
                  <a:lnTo>
                    <a:pt x="524" y="3001"/>
                  </a:lnTo>
                  <a:lnTo>
                    <a:pt x="523" y="2995"/>
                  </a:lnTo>
                  <a:lnTo>
                    <a:pt x="522" y="2981"/>
                  </a:lnTo>
                  <a:lnTo>
                    <a:pt x="519" y="2969"/>
                  </a:lnTo>
                  <a:lnTo>
                    <a:pt x="518" y="2957"/>
                  </a:lnTo>
                  <a:lnTo>
                    <a:pt x="517" y="2944"/>
                  </a:lnTo>
                  <a:lnTo>
                    <a:pt x="518" y="2938"/>
                  </a:lnTo>
                  <a:lnTo>
                    <a:pt x="520" y="2933"/>
                  </a:lnTo>
                  <a:lnTo>
                    <a:pt x="522" y="2927"/>
                  </a:lnTo>
                  <a:lnTo>
                    <a:pt x="526" y="2920"/>
                  </a:lnTo>
                  <a:lnTo>
                    <a:pt x="530" y="2914"/>
                  </a:lnTo>
                  <a:lnTo>
                    <a:pt x="535" y="2908"/>
                  </a:lnTo>
                  <a:lnTo>
                    <a:pt x="540" y="2903"/>
                  </a:lnTo>
                  <a:lnTo>
                    <a:pt x="547" y="2898"/>
                  </a:lnTo>
                  <a:lnTo>
                    <a:pt x="558" y="2889"/>
                  </a:lnTo>
                  <a:lnTo>
                    <a:pt x="571" y="2882"/>
                  </a:lnTo>
                  <a:lnTo>
                    <a:pt x="597" y="2870"/>
                  </a:lnTo>
                  <a:lnTo>
                    <a:pt x="624" y="2861"/>
                  </a:lnTo>
                  <a:lnTo>
                    <a:pt x="637" y="2855"/>
                  </a:lnTo>
                  <a:lnTo>
                    <a:pt x="651" y="2850"/>
                  </a:lnTo>
                  <a:lnTo>
                    <a:pt x="662" y="2844"/>
                  </a:lnTo>
                  <a:lnTo>
                    <a:pt x="674" y="2837"/>
                  </a:lnTo>
                  <a:lnTo>
                    <a:pt x="684" y="2829"/>
                  </a:lnTo>
                  <a:lnTo>
                    <a:pt x="693" y="2819"/>
                  </a:lnTo>
                  <a:lnTo>
                    <a:pt x="697" y="2813"/>
                  </a:lnTo>
                  <a:lnTo>
                    <a:pt x="701" y="2807"/>
                  </a:lnTo>
                  <a:lnTo>
                    <a:pt x="704" y="2801"/>
                  </a:lnTo>
                  <a:lnTo>
                    <a:pt x="708" y="2792"/>
                  </a:lnTo>
                  <a:lnTo>
                    <a:pt x="711" y="2780"/>
                  </a:lnTo>
                  <a:lnTo>
                    <a:pt x="713" y="2768"/>
                  </a:lnTo>
                  <a:lnTo>
                    <a:pt x="714" y="2756"/>
                  </a:lnTo>
                  <a:lnTo>
                    <a:pt x="715" y="2745"/>
                  </a:lnTo>
                  <a:lnTo>
                    <a:pt x="715" y="2734"/>
                  </a:lnTo>
                  <a:lnTo>
                    <a:pt x="716" y="2721"/>
                  </a:lnTo>
                  <a:lnTo>
                    <a:pt x="718" y="2709"/>
                  </a:lnTo>
                  <a:lnTo>
                    <a:pt x="721" y="2696"/>
                  </a:lnTo>
                  <a:lnTo>
                    <a:pt x="727" y="2681"/>
                  </a:lnTo>
                  <a:lnTo>
                    <a:pt x="734" y="2667"/>
                  </a:lnTo>
                  <a:lnTo>
                    <a:pt x="742" y="2656"/>
                  </a:lnTo>
                  <a:lnTo>
                    <a:pt x="750" y="2644"/>
                  </a:lnTo>
                  <a:lnTo>
                    <a:pt x="757" y="2632"/>
                  </a:lnTo>
                  <a:lnTo>
                    <a:pt x="763" y="2620"/>
                  </a:lnTo>
                  <a:lnTo>
                    <a:pt x="765" y="2613"/>
                  </a:lnTo>
                  <a:lnTo>
                    <a:pt x="767" y="2605"/>
                  </a:lnTo>
                  <a:lnTo>
                    <a:pt x="768" y="2598"/>
                  </a:lnTo>
                  <a:lnTo>
                    <a:pt x="768" y="2590"/>
                  </a:lnTo>
                  <a:lnTo>
                    <a:pt x="767" y="2582"/>
                  </a:lnTo>
                  <a:lnTo>
                    <a:pt x="765" y="2573"/>
                  </a:lnTo>
                  <a:lnTo>
                    <a:pt x="761" y="2567"/>
                  </a:lnTo>
                  <a:lnTo>
                    <a:pt x="756" y="2561"/>
                  </a:lnTo>
                  <a:lnTo>
                    <a:pt x="744" y="2551"/>
                  </a:lnTo>
                  <a:lnTo>
                    <a:pt x="728" y="2541"/>
                  </a:lnTo>
                  <a:lnTo>
                    <a:pt x="714" y="2532"/>
                  </a:lnTo>
                  <a:lnTo>
                    <a:pt x="701" y="2522"/>
                  </a:lnTo>
                  <a:lnTo>
                    <a:pt x="696" y="2516"/>
                  </a:lnTo>
                  <a:lnTo>
                    <a:pt x="692" y="2509"/>
                  </a:lnTo>
                  <a:lnTo>
                    <a:pt x="689" y="2502"/>
                  </a:lnTo>
                  <a:lnTo>
                    <a:pt x="688" y="2493"/>
                  </a:lnTo>
                  <a:lnTo>
                    <a:pt x="689" y="2488"/>
                  </a:lnTo>
                  <a:lnTo>
                    <a:pt x="690" y="2483"/>
                  </a:lnTo>
                  <a:lnTo>
                    <a:pt x="691" y="2478"/>
                  </a:lnTo>
                  <a:lnTo>
                    <a:pt x="692" y="2473"/>
                  </a:lnTo>
                  <a:lnTo>
                    <a:pt x="697" y="2465"/>
                  </a:lnTo>
                  <a:lnTo>
                    <a:pt x="702" y="2458"/>
                  </a:lnTo>
                  <a:lnTo>
                    <a:pt x="708" y="2450"/>
                  </a:lnTo>
                  <a:lnTo>
                    <a:pt x="713" y="2442"/>
                  </a:lnTo>
                  <a:lnTo>
                    <a:pt x="717" y="2433"/>
                  </a:lnTo>
                  <a:lnTo>
                    <a:pt x="719" y="2423"/>
                  </a:lnTo>
                  <a:lnTo>
                    <a:pt x="704" y="2328"/>
                  </a:lnTo>
                  <a:lnTo>
                    <a:pt x="707" y="2323"/>
                  </a:lnTo>
                  <a:lnTo>
                    <a:pt x="708" y="2318"/>
                  </a:lnTo>
                  <a:lnTo>
                    <a:pt x="711" y="2314"/>
                  </a:lnTo>
                  <a:lnTo>
                    <a:pt x="713" y="2310"/>
                  </a:lnTo>
                  <a:lnTo>
                    <a:pt x="720" y="2305"/>
                  </a:lnTo>
                  <a:lnTo>
                    <a:pt x="728" y="2300"/>
                  </a:lnTo>
                  <a:lnTo>
                    <a:pt x="747" y="2293"/>
                  </a:lnTo>
                  <a:lnTo>
                    <a:pt x="766" y="2283"/>
                  </a:lnTo>
                  <a:lnTo>
                    <a:pt x="779" y="2276"/>
                  </a:lnTo>
                  <a:lnTo>
                    <a:pt x="791" y="2270"/>
                  </a:lnTo>
                  <a:lnTo>
                    <a:pt x="804" y="2265"/>
                  </a:lnTo>
                  <a:lnTo>
                    <a:pt x="816" y="2260"/>
                  </a:lnTo>
                  <a:lnTo>
                    <a:pt x="841" y="2253"/>
                  </a:lnTo>
                  <a:lnTo>
                    <a:pt x="864" y="2246"/>
                  </a:lnTo>
                  <a:lnTo>
                    <a:pt x="876" y="2243"/>
                  </a:lnTo>
                  <a:lnTo>
                    <a:pt x="888" y="2239"/>
                  </a:lnTo>
                  <a:lnTo>
                    <a:pt x="899" y="2235"/>
                  </a:lnTo>
                  <a:lnTo>
                    <a:pt x="911" y="2230"/>
                  </a:lnTo>
                  <a:lnTo>
                    <a:pt x="922" y="2223"/>
                  </a:lnTo>
                  <a:lnTo>
                    <a:pt x="932" y="2217"/>
                  </a:lnTo>
                  <a:lnTo>
                    <a:pt x="944" y="2208"/>
                  </a:lnTo>
                  <a:lnTo>
                    <a:pt x="955" y="2198"/>
                  </a:lnTo>
                  <a:lnTo>
                    <a:pt x="966" y="2269"/>
                  </a:lnTo>
                  <a:lnTo>
                    <a:pt x="966" y="2313"/>
                  </a:lnTo>
                  <a:lnTo>
                    <a:pt x="966" y="2319"/>
                  </a:lnTo>
                  <a:lnTo>
                    <a:pt x="964" y="2325"/>
                  </a:lnTo>
                  <a:lnTo>
                    <a:pt x="963" y="2330"/>
                  </a:lnTo>
                  <a:lnTo>
                    <a:pt x="960" y="2335"/>
                  </a:lnTo>
                  <a:lnTo>
                    <a:pt x="958" y="2340"/>
                  </a:lnTo>
                  <a:lnTo>
                    <a:pt x="957" y="2345"/>
                  </a:lnTo>
                  <a:lnTo>
                    <a:pt x="955" y="2350"/>
                  </a:lnTo>
                  <a:lnTo>
                    <a:pt x="955" y="2357"/>
                  </a:lnTo>
                  <a:lnTo>
                    <a:pt x="956" y="2363"/>
                  </a:lnTo>
                  <a:lnTo>
                    <a:pt x="957" y="2368"/>
                  </a:lnTo>
                  <a:lnTo>
                    <a:pt x="964" y="2366"/>
                  </a:lnTo>
                  <a:lnTo>
                    <a:pt x="971" y="2363"/>
                  </a:lnTo>
                  <a:lnTo>
                    <a:pt x="977" y="2359"/>
                  </a:lnTo>
                  <a:lnTo>
                    <a:pt x="982" y="2356"/>
                  </a:lnTo>
                  <a:lnTo>
                    <a:pt x="987" y="2350"/>
                  </a:lnTo>
                  <a:lnTo>
                    <a:pt x="991" y="2345"/>
                  </a:lnTo>
                  <a:lnTo>
                    <a:pt x="994" y="2339"/>
                  </a:lnTo>
                  <a:lnTo>
                    <a:pt x="997" y="2333"/>
                  </a:lnTo>
                  <a:lnTo>
                    <a:pt x="999" y="2320"/>
                  </a:lnTo>
                  <a:lnTo>
                    <a:pt x="1002" y="2308"/>
                  </a:lnTo>
                  <a:lnTo>
                    <a:pt x="1005" y="2303"/>
                  </a:lnTo>
                  <a:lnTo>
                    <a:pt x="1007" y="2299"/>
                  </a:lnTo>
                  <a:lnTo>
                    <a:pt x="1009" y="2297"/>
                  </a:lnTo>
                  <a:lnTo>
                    <a:pt x="1011" y="2296"/>
                  </a:lnTo>
                  <a:lnTo>
                    <a:pt x="1013" y="2295"/>
                  </a:lnTo>
                  <a:lnTo>
                    <a:pt x="1016" y="2295"/>
                  </a:lnTo>
                  <a:lnTo>
                    <a:pt x="1022" y="2296"/>
                  </a:lnTo>
                  <a:lnTo>
                    <a:pt x="1028" y="2298"/>
                  </a:lnTo>
                  <a:lnTo>
                    <a:pt x="1033" y="2300"/>
                  </a:lnTo>
                  <a:lnTo>
                    <a:pt x="1040" y="2302"/>
                  </a:lnTo>
                  <a:lnTo>
                    <a:pt x="1078" y="2285"/>
                  </a:lnTo>
                  <a:lnTo>
                    <a:pt x="1086" y="2289"/>
                  </a:lnTo>
                  <a:lnTo>
                    <a:pt x="1093" y="2295"/>
                  </a:lnTo>
                  <a:lnTo>
                    <a:pt x="1099" y="2301"/>
                  </a:lnTo>
                  <a:lnTo>
                    <a:pt x="1104" y="2308"/>
                  </a:lnTo>
                  <a:lnTo>
                    <a:pt x="1112" y="2324"/>
                  </a:lnTo>
                  <a:lnTo>
                    <a:pt x="1120" y="2342"/>
                  </a:lnTo>
                  <a:lnTo>
                    <a:pt x="1130" y="2337"/>
                  </a:lnTo>
                  <a:lnTo>
                    <a:pt x="1141" y="2330"/>
                  </a:lnTo>
                  <a:lnTo>
                    <a:pt x="1145" y="2327"/>
                  </a:lnTo>
                  <a:lnTo>
                    <a:pt x="1148" y="2323"/>
                  </a:lnTo>
                  <a:lnTo>
                    <a:pt x="1150" y="2317"/>
                  </a:lnTo>
                  <a:lnTo>
                    <a:pt x="1150" y="2311"/>
                  </a:lnTo>
                  <a:lnTo>
                    <a:pt x="1146" y="2298"/>
                  </a:lnTo>
                  <a:lnTo>
                    <a:pt x="1141" y="2283"/>
                  </a:lnTo>
                  <a:lnTo>
                    <a:pt x="1141" y="2269"/>
                  </a:lnTo>
                  <a:lnTo>
                    <a:pt x="1160" y="2269"/>
                  </a:lnTo>
                  <a:lnTo>
                    <a:pt x="1210" y="2283"/>
                  </a:lnTo>
                  <a:lnTo>
                    <a:pt x="1218" y="2269"/>
                  </a:lnTo>
                  <a:lnTo>
                    <a:pt x="1226" y="2254"/>
                  </a:lnTo>
                  <a:lnTo>
                    <a:pt x="1229" y="2261"/>
                  </a:lnTo>
                  <a:lnTo>
                    <a:pt x="1232" y="2266"/>
                  </a:lnTo>
                  <a:lnTo>
                    <a:pt x="1233" y="2272"/>
                  </a:lnTo>
                  <a:lnTo>
                    <a:pt x="1236" y="2278"/>
                  </a:lnTo>
                  <a:lnTo>
                    <a:pt x="1237" y="2290"/>
                  </a:lnTo>
                  <a:lnTo>
                    <a:pt x="1237" y="2303"/>
                  </a:lnTo>
                  <a:lnTo>
                    <a:pt x="1238" y="2314"/>
                  </a:lnTo>
                  <a:lnTo>
                    <a:pt x="1241" y="2326"/>
                  </a:lnTo>
                  <a:lnTo>
                    <a:pt x="1243" y="2331"/>
                  </a:lnTo>
                  <a:lnTo>
                    <a:pt x="1246" y="2336"/>
                  </a:lnTo>
                  <a:lnTo>
                    <a:pt x="1249" y="2340"/>
                  </a:lnTo>
                  <a:lnTo>
                    <a:pt x="1254" y="2344"/>
                  </a:lnTo>
                  <a:lnTo>
                    <a:pt x="1259" y="2347"/>
                  </a:lnTo>
                  <a:lnTo>
                    <a:pt x="1263" y="2348"/>
                  </a:lnTo>
                  <a:lnTo>
                    <a:pt x="1269" y="2348"/>
                  </a:lnTo>
                  <a:lnTo>
                    <a:pt x="1274" y="2348"/>
                  </a:lnTo>
                  <a:lnTo>
                    <a:pt x="1278" y="2348"/>
                  </a:lnTo>
                  <a:lnTo>
                    <a:pt x="1283" y="2347"/>
                  </a:lnTo>
                  <a:lnTo>
                    <a:pt x="1289" y="2348"/>
                  </a:lnTo>
                  <a:lnTo>
                    <a:pt x="1294" y="2349"/>
                  </a:lnTo>
                  <a:lnTo>
                    <a:pt x="1303" y="2352"/>
                  </a:lnTo>
                  <a:lnTo>
                    <a:pt x="1311" y="2357"/>
                  </a:lnTo>
                  <a:lnTo>
                    <a:pt x="1318" y="2361"/>
                  </a:lnTo>
                  <a:lnTo>
                    <a:pt x="1324" y="2366"/>
                  </a:lnTo>
                  <a:lnTo>
                    <a:pt x="1331" y="2370"/>
                  </a:lnTo>
                  <a:lnTo>
                    <a:pt x="1339" y="2374"/>
                  </a:lnTo>
                  <a:lnTo>
                    <a:pt x="1347" y="2376"/>
                  </a:lnTo>
                  <a:lnTo>
                    <a:pt x="1355" y="2377"/>
                  </a:lnTo>
                  <a:lnTo>
                    <a:pt x="1360" y="2377"/>
                  </a:lnTo>
                  <a:lnTo>
                    <a:pt x="1365" y="2375"/>
                  </a:lnTo>
                  <a:lnTo>
                    <a:pt x="1369" y="2373"/>
                  </a:lnTo>
                  <a:lnTo>
                    <a:pt x="1372" y="2370"/>
                  </a:lnTo>
                  <a:lnTo>
                    <a:pt x="1375" y="2367"/>
                  </a:lnTo>
                  <a:lnTo>
                    <a:pt x="1377" y="2363"/>
                  </a:lnTo>
                  <a:lnTo>
                    <a:pt x="1379" y="2358"/>
                  </a:lnTo>
                  <a:lnTo>
                    <a:pt x="1380" y="2353"/>
                  </a:lnTo>
                  <a:lnTo>
                    <a:pt x="1383" y="2330"/>
                  </a:lnTo>
                  <a:lnTo>
                    <a:pt x="1386" y="2307"/>
                  </a:lnTo>
                  <a:lnTo>
                    <a:pt x="1382" y="2287"/>
                  </a:lnTo>
                  <a:lnTo>
                    <a:pt x="1384" y="2278"/>
                  </a:lnTo>
                  <a:lnTo>
                    <a:pt x="1394" y="2279"/>
                  </a:lnTo>
                  <a:lnTo>
                    <a:pt x="1405" y="2282"/>
                  </a:lnTo>
                  <a:lnTo>
                    <a:pt x="1413" y="2284"/>
                  </a:lnTo>
                  <a:lnTo>
                    <a:pt x="1422" y="2287"/>
                  </a:lnTo>
                  <a:lnTo>
                    <a:pt x="1430" y="2290"/>
                  </a:lnTo>
                  <a:lnTo>
                    <a:pt x="1440" y="2293"/>
                  </a:lnTo>
                  <a:lnTo>
                    <a:pt x="1450" y="2295"/>
                  </a:lnTo>
                  <a:lnTo>
                    <a:pt x="1460" y="2295"/>
                  </a:lnTo>
                  <a:lnTo>
                    <a:pt x="1470" y="2294"/>
                  </a:lnTo>
                  <a:lnTo>
                    <a:pt x="1478" y="2292"/>
                  </a:lnTo>
                  <a:lnTo>
                    <a:pt x="1486" y="2288"/>
                  </a:lnTo>
                  <a:lnTo>
                    <a:pt x="1494" y="2285"/>
                  </a:lnTo>
                  <a:lnTo>
                    <a:pt x="1500" y="2296"/>
                  </a:lnTo>
                  <a:lnTo>
                    <a:pt x="1504" y="2305"/>
                  </a:lnTo>
                  <a:lnTo>
                    <a:pt x="1507" y="2314"/>
                  </a:lnTo>
                  <a:lnTo>
                    <a:pt x="1509" y="2324"/>
                  </a:lnTo>
                  <a:lnTo>
                    <a:pt x="1511" y="2333"/>
                  </a:lnTo>
                  <a:lnTo>
                    <a:pt x="1512" y="2342"/>
                  </a:lnTo>
                  <a:lnTo>
                    <a:pt x="1512" y="2352"/>
                  </a:lnTo>
                  <a:lnTo>
                    <a:pt x="1512" y="2364"/>
                  </a:lnTo>
                  <a:lnTo>
                    <a:pt x="1512" y="2425"/>
                  </a:lnTo>
                  <a:lnTo>
                    <a:pt x="1519" y="2425"/>
                  </a:lnTo>
                  <a:lnTo>
                    <a:pt x="1525" y="2424"/>
                  </a:lnTo>
                  <a:lnTo>
                    <a:pt x="1532" y="2422"/>
                  </a:lnTo>
                  <a:lnTo>
                    <a:pt x="1537" y="2420"/>
                  </a:lnTo>
                  <a:lnTo>
                    <a:pt x="1547" y="2415"/>
                  </a:lnTo>
                  <a:lnTo>
                    <a:pt x="1556" y="2409"/>
                  </a:lnTo>
                  <a:lnTo>
                    <a:pt x="1566" y="2403"/>
                  </a:lnTo>
                  <a:lnTo>
                    <a:pt x="1576" y="2396"/>
                  </a:lnTo>
                  <a:lnTo>
                    <a:pt x="1586" y="2390"/>
                  </a:lnTo>
                  <a:lnTo>
                    <a:pt x="1599" y="2384"/>
                  </a:lnTo>
                  <a:lnTo>
                    <a:pt x="1619" y="2377"/>
                  </a:lnTo>
                  <a:lnTo>
                    <a:pt x="1638" y="2371"/>
                  </a:lnTo>
                  <a:lnTo>
                    <a:pt x="1656" y="2366"/>
                  </a:lnTo>
                  <a:lnTo>
                    <a:pt x="1674" y="2362"/>
                  </a:lnTo>
                  <a:lnTo>
                    <a:pt x="1691" y="2359"/>
                  </a:lnTo>
                  <a:lnTo>
                    <a:pt x="1710" y="2356"/>
                  </a:lnTo>
                  <a:lnTo>
                    <a:pt x="1730" y="2355"/>
                  </a:lnTo>
                  <a:lnTo>
                    <a:pt x="1751" y="2353"/>
                  </a:lnTo>
                  <a:lnTo>
                    <a:pt x="1745" y="2343"/>
                  </a:lnTo>
                  <a:lnTo>
                    <a:pt x="1738" y="2335"/>
                  </a:lnTo>
                  <a:lnTo>
                    <a:pt x="1730" y="2328"/>
                  </a:lnTo>
                  <a:lnTo>
                    <a:pt x="1721" y="2323"/>
                  </a:lnTo>
                  <a:lnTo>
                    <a:pt x="1702" y="2313"/>
                  </a:lnTo>
                  <a:lnTo>
                    <a:pt x="1681" y="2302"/>
                  </a:lnTo>
                  <a:lnTo>
                    <a:pt x="1674" y="2297"/>
                  </a:lnTo>
                  <a:lnTo>
                    <a:pt x="1668" y="2289"/>
                  </a:lnTo>
                  <a:lnTo>
                    <a:pt x="1664" y="2283"/>
                  </a:lnTo>
                  <a:lnTo>
                    <a:pt x="1659" y="2276"/>
                  </a:lnTo>
                  <a:lnTo>
                    <a:pt x="1655" y="2269"/>
                  </a:lnTo>
                  <a:lnTo>
                    <a:pt x="1651" y="2262"/>
                  </a:lnTo>
                  <a:lnTo>
                    <a:pt x="1645" y="2254"/>
                  </a:lnTo>
                  <a:lnTo>
                    <a:pt x="1639" y="2247"/>
                  </a:lnTo>
                  <a:lnTo>
                    <a:pt x="1626" y="2240"/>
                  </a:lnTo>
                  <a:lnTo>
                    <a:pt x="1614" y="2234"/>
                  </a:lnTo>
                  <a:lnTo>
                    <a:pt x="1601" y="2229"/>
                  </a:lnTo>
                  <a:lnTo>
                    <a:pt x="1588" y="2223"/>
                  </a:lnTo>
                  <a:lnTo>
                    <a:pt x="1583" y="2220"/>
                  </a:lnTo>
                  <a:lnTo>
                    <a:pt x="1578" y="2217"/>
                  </a:lnTo>
                  <a:lnTo>
                    <a:pt x="1573" y="2214"/>
                  </a:lnTo>
                  <a:lnTo>
                    <a:pt x="1569" y="2210"/>
                  </a:lnTo>
                  <a:lnTo>
                    <a:pt x="1566" y="2206"/>
                  </a:lnTo>
                  <a:lnTo>
                    <a:pt x="1562" y="2201"/>
                  </a:lnTo>
                  <a:lnTo>
                    <a:pt x="1561" y="2195"/>
                  </a:lnTo>
                  <a:lnTo>
                    <a:pt x="1560" y="2188"/>
                  </a:lnTo>
                  <a:lnTo>
                    <a:pt x="1561" y="2182"/>
                  </a:lnTo>
                  <a:lnTo>
                    <a:pt x="1562" y="2175"/>
                  </a:lnTo>
                  <a:lnTo>
                    <a:pt x="1565" y="2170"/>
                  </a:lnTo>
                  <a:lnTo>
                    <a:pt x="1568" y="2165"/>
                  </a:lnTo>
                  <a:lnTo>
                    <a:pt x="1575" y="2154"/>
                  </a:lnTo>
                  <a:lnTo>
                    <a:pt x="1584" y="2146"/>
                  </a:lnTo>
                  <a:lnTo>
                    <a:pt x="1593" y="2137"/>
                  </a:lnTo>
                  <a:lnTo>
                    <a:pt x="1602" y="2127"/>
                  </a:lnTo>
                  <a:lnTo>
                    <a:pt x="1605" y="2122"/>
                  </a:lnTo>
                  <a:lnTo>
                    <a:pt x="1608" y="2116"/>
                  </a:lnTo>
                  <a:lnTo>
                    <a:pt x="1611" y="2111"/>
                  </a:lnTo>
                  <a:lnTo>
                    <a:pt x="1613" y="2104"/>
                  </a:lnTo>
                  <a:lnTo>
                    <a:pt x="1617" y="2083"/>
                  </a:lnTo>
                  <a:lnTo>
                    <a:pt x="1620" y="2063"/>
                  </a:lnTo>
                  <a:lnTo>
                    <a:pt x="1623" y="2045"/>
                  </a:lnTo>
                  <a:lnTo>
                    <a:pt x="1624" y="2023"/>
                  </a:lnTo>
                  <a:lnTo>
                    <a:pt x="1623" y="2010"/>
                  </a:lnTo>
                  <a:lnTo>
                    <a:pt x="1622" y="1997"/>
                  </a:lnTo>
                  <a:lnTo>
                    <a:pt x="1619" y="1985"/>
                  </a:lnTo>
                  <a:lnTo>
                    <a:pt x="1617" y="1973"/>
                  </a:lnTo>
                  <a:lnTo>
                    <a:pt x="1614" y="1962"/>
                  </a:lnTo>
                  <a:lnTo>
                    <a:pt x="1611" y="1951"/>
                  </a:lnTo>
                  <a:lnTo>
                    <a:pt x="1610" y="1938"/>
                  </a:lnTo>
                  <a:lnTo>
                    <a:pt x="1609" y="1924"/>
                  </a:lnTo>
                  <a:lnTo>
                    <a:pt x="1609" y="1916"/>
                  </a:lnTo>
                  <a:lnTo>
                    <a:pt x="1608" y="1907"/>
                  </a:lnTo>
                  <a:lnTo>
                    <a:pt x="1608" y="1900"/>
                  </a:lnTo>
                  <a:lnTo>
                    <a:pt x="1610" y="1891"/>
                  </a:lnTo>
                  <a:lnTo>
                    <a:pt x="1614" y="1866"/>
                  </a:lnTo>
                  <a:lnTo>
                    <a:pt x="1618" y="1844"/>
                  </a:lnTo>
                  <a:lnTo>
                    <a:pt x="1620" y="1833"/>
                  </a:lnTo>
                  <a:lnTo>
                    <a:pt x="1622" y="1822"/>
                  </a:lnTo>
                  <a:lnTo>
                    <a:pt x="1624" y="1809"/>
                  </a:lnTo>
                  <a:lnTo>
                    <a:pt x="1624" y="1797"/>
                  </a:lnTo>
                  <a:lnTo>
                    <a:pt x="1624" y="1792"/>
                  </a:lnTo>
                  <a:lnTo>
                    <a:pt x="1622" y="1788"/>
                  </a:lnTo>
                  <a:lnTo>
                    <a:pt x="1620" y="1783"/>
                  </a:lnTo>
                  <a:lnTo>
                    <a:pt x="1617" y="1780"/>
                  </a:lnTo>
                  <a:lnTo>
                    <a:pt x="1609" y="1776"/>
                  </a:lnTo>
                  <a:lnTo>
                    <a:pt x="1600" y="1773"/>
                  </a:lnTo>
                  <a:lnTo>
                    <a:pt x="1589" y="1770"/>
                  </a:lnTo>
                  <a:lnTo>
                    <a:pt x="1578" y="1767"/>
                  </a:lnTo>
                  <a:lnTo>
                    <a:pt x="1573" y="1765"/>
                  </a:lnTo>
                  <a:lnTo>
                    <a:pt x="1568" y="1763"/>
                  </a:lnTo>
                  <a:lnTo>
                    <a:pt x="1562" y="1760"/>
                  </a:lnTo>
                  <a:lnTo>
                    <a:pt x="1558" y="1757"/>
                  </a:lnTo>
                  <a:lnTo>
                    <a:pt x="1551" y="1750"/>
                  </a:lnTo>
                  <a:lnTo>
                    <a:pt x="1545" y="1746"/>
                  </a:lnTo>
                  <a:lnTo>
                    <a:pt x="1538" y="1742"/>
                  </a:lnTo>
                  <a:lnTo>
                    <a:pt x="1530" y="1738"/>
                  </a:lnTo>
                  <a:lnTo>
                    <a:pt x="1517" y="1733"/>
                  </a:lnTo>
                  <a:lnTo>
                    <a:pt x="1503" y="1728"/>
                  </a:lnTo>
                  <a:lnTo>
                    <a:pt x="1488" y="1724"/>
                  </a:lnTo>
                  <a:lnTo>
                    <a:pt x="1474" y="1719"/>
                  </a:lnTo>
                  <a:lnTo>
                    <a:pt x="1458" y="1714"/>
                  </a:lnTo>
                  <a:lnTo>
                    <a:pt x="1443" y="1707"/>
                  </a:lnTo>
                  <a:lnTo>
                    <a:pt x="1430" y="1700"/>
                  </a:lnTo>
                  <a:lnTo>
                    <a:pt x="1419" y="1693"/>
                  </a:lnTo>
                  <a:lnTo>
                    <a:pt x="1410" y="1684"/>
                  </a:lnTo>
                  <a:lnTo>
                    <a:pt x="1402" y="1676"/>
                  </a:lnTo>
                  <a:lnTo>
                    <a:pt x="1392" y="1668"/>
                  </a:lnTo>
                  <a:lnTo>
                    <a:pt x="1383" y="1660"/>
                  </a:lnTo>
                  <a:lnTo>
                    <a:pt x="1373" y="1651"/>
                  </a:lnTo>
                  <a:lnTo>
                    <a:pt x="1360" y="1643"/>
                  </a:lnTo>
                  <a:lnTo>
                    <a:pt x="1349" y="1638"/>
                  </a:lnTo>
                  <a:lnTo>
                    <a:pt x="1338" y="1634"/>
                  </a:lnTo>
                  <a:lnTo>
                    <a:pt x="1325" y="1631"/>
                  </a:lnTo>
                  <a:lnTo>
                    <a:pt x="1315" y="1627"/>
                  </a:lnTo>
                  <a:lnTo>
                    <a:pt x="1310" y="1625"/>
                  </a:lnTo>
                  <a:lnTo>
                    <a:pt x="1305" y="1622"/>
                  </a:lnTo>
                  <a:lnTo>
                    <a:pt x="1301" y="1620"/>
                  </a:lnTo>
                  <a:lnTo>
                    <a:pt x="1296" y="1617"/>
                  </a:lnTo>
                  <a:lnTo>
                    <a:pt x="1293" y="1613"/>
                  </a:lnTo>
                  <a:lnTo>
                    <a:pt x="1291" y="1609"/>
                  </a:lnTo>
                  <a:lnTo>
                    <a:pt x="1290" y="1604"/>
                  </a:lnTo>
                  <a:lnTo>
                    <a:pt x="1289" y="1599"/>
                  </a:lnTo>
                  <a:lnTo>
                    <a:pt x="1290" y="1592"/>
                  </a:lnTo>
                  <a:lnTo>
                    <a:pt x="1292" y="1587"/>
                  </a:lnTo>
                  <a:lnTo>
                    <a:pt x="1296" y="1582"/>
                  </a:lnTo>
                  <a:lnTo>
                    <a:pt x="1301" y="1578"/>
                  </a:lnTo>
                  <a:lnTo>
                    <a:pt x="1305" y="1574"/>
                  </a:lnTo>
                  <a:lnTo>
                    <a:pt x="1309" y="1569"/>
                  </a:lnTo>
                  <a:lnTo>
                    <a:pt x="1313" y="1565"/>
                  </a:lnTo>
                  <a:lnTo>
                    <a:pt x="1316" y="1558"/>
                  </a:lnTo>
                  <a:lnTo>
                    <a:pt x="1323" y="1535"/>
                  </a:lnTo>
                  <a:lnTo>
                    <a:pt x="1328" y="1514"/>
                  </a:lnTo>
                  <a:lnTo>
                    <a:pt x="1332" y="1493"/>
                  </a:lnTo>
                  <a:lnTo>
                    <a:pt x="1337" y="1469"/>
                  </a:lnTo>
                  <a:lnTo>
                    <a:pt x="1327" y="1461"/>
                  </a:lnTo>
                  <a:lnTo>
                    <a:pt x="1285" y="1471"/>
                  </a:lnTo>
                  <a:lnTo>
                    <a:pt x="1275" y="1470"/>
                  </a:lnTo>
                  <a:lnTo>
                    <a:pt x="1264" y="1466"/>
                  </a:lnTo>
                  <a:lnTo>
                    <a:pt x="1256" y="1462"/>
                  </a:lnTo>
                  <a:lnTo>
                    <a:pt x="1248" y="1457"/>
                  </a:lnTo>
                  <a:lnTo>
                    <a:pt x="1241" y="1451"/>
                  </a:lnTo>
                  <a:lnTo>
                    <a:pt x="1236" y="1444"/>
                  </a:lnTo>
                  <a:lnTo>
                    <a:pt x="1233" y="1440"/>
                  </a:lnTo>
                  <a:lnTo>
                    <a:pt x="1231" y="1435"/>
                  </a:lnTo>
                  <a:lnTo>
                    <a:pt x="1231" y="1431"/>
                  </a:lnTo>
                  <a:lnTo>
                    <a:pt x="1230" y="1426"/>
                  </a:lnTo>
                  <a:lnTo>
                    <a:pt x="1230" y="1402"/>
                  </a:lnTo>
                  <a:lnTo>
                    <a:pt x="1231" y="1381"/>
                  </a:lnTo>
                  <a:lnTo>
                    <a:pt x="1232" y="1360"/>
                  </a:lnTo>
                  <a:lnTo>
                    <a:pt x="1235" y="1340"/>
                  </a:lnTo>
                  <a:lnTo>
                    <a:pt x="1238" y="1321"/>
                  </a:lnTo>
                  <a:lnTo>
                    <a:pt x="1244" y="1301"/>
                  </a:lnTo>
                  <a:lnTo>
                    <a:pt x="1251" y="1282"/>
                  </a:lnTo>
                  <a:lnTo>
                    <a:pt x="1261" y="1261"/>
                  </a:lnTo>
                  <a:lnTo>
                    <a:pt x="1268" y="1253"/>
                  </a:lnTo>
                  <a:lnTo>
                    <a:pt x="1274" y="1245"/>
                  </a:lnTo>
                  <a:lnTo>
                    <a:pt x="1281" y="1239"/>
                  </a:lnTo>
                  <a:lnTo>
                    <a:pt x="1289" y="1234"/>
                  </a:lnTo>
                  <a:lnTo>
                    <a:pt x="1295" y="1228"/>
                  </a:lnTo>
                  <a:lnTo>
                    <a:pt x="1301" y="1222"/>
                  </a:lnTo>
                  <a:lnTo>
                    <a:pt x="1303" y="1218"/>
                  </a:lnTo>
                  <a:lnTo>
                    <a:pt x="1305" y="1213"/>
                  </a:lnTo>
                  <a:lnTo>
                    <a:pt x="1306" y="1209"/>
                  </a:lnTo>
                  <a:lnTo>
                    <a:pt x="1306" y="1204"/>
                  </a:lnTo>
                  <a:lnTo>
                    <a:pt x="1306" y="1199"/>
                  </a:lnTo>
                  <a:lnTo>
                    <a:pt x="1305" y="1195"/>
                  </a:lnTo>
                  <a:lnTo>
                    <a:pt x="1304" y="1190"/>
                  </a:lnTo>
                  <a:lnTo>
                    <a:pt x="1302" y="1186"/>
                  </a:lnTo>
                  <a:lnTo>
                    <a:pt x="1296" y="1178"/>
                  </a:lnTo>
                  <a:lnTo>
                    <a:pt x="1289" y="1171"/>
                  </a:lnTo>
                  <a:lnTo>
                    <a:pt x="1281" y="1166"/>
                  </a:lnTo>
                  <a:lnTo>
                    <a:pt x="1272" y="1163"/>
                  </a:lnTo>
                  <a:lnTo>
                    <a:pt x="1262" y="1160"/>
                  </a:lnTo>
                  <a:lnTo>
                    <a:pt x="1252" y="1160"/>
                  </a:lnTo>
                  <a:lnTo>
                    <a:pt x="1247" y="1160"/>
                  </a:lnTo>
                  <a:lnTo>
                    <a:pt x="1242" y="1162"/>
                  </a:lnTo>
                  <a:lnTo>
                    <a:pt x="1238" y="1164"/>
                  </a:lnTo>
                  <a:lnTo>
                    <a:pt x="1233" y="1167"/>
                  </a:lnTo>
                  <a:lnTo>
                    <a:pt x="1227" y="1175"/>
                  </a:lnTo>
                  <a:lnTo>
                    <a:pt x="1222" y="1186"/>
                  </a:lnTo>
                  <a:lnTo>
                    <a:pt x="1217" y="1195"/>
                  </a:lnTo>
                  <a:lnTo>
                    <a:pt x="1211" y="1203"/>
                  </a:lnTo>
                  <a:lnTo>
                    <a:pt x="1207" y="1206"/>
                  </a:lnTo>
                  <a:lnTo>
                    <a:pt x="1203" y="1209"/>
                  </a:lnTo>
                  <a:lnTo>
                    <a:pt x="1198" y="1210"/>
                  </a:lnTo>
                  <a:lnTo>
                    <a:pt x="1193" y="1211"/>
                  </a:lnTo>
                  <a:lnTo>
                    <a:pt x="1188" y="1210"/>
                  </a:lnTo>
                  <a:lnTo>
                    <a:pt x="1184" y="1208"/>
                  </a:lnTo>
                  <a:lnTo>
                    <a:pt x="1180" y="1206"/>
                  </a:lnTo>
                  <a:lnTo>
                    <a:pt x="1177" y="1202"/>
                  </a:lnTo>
                  <a:lnTo>
                    <a:pt x="1171" y="1195"/>
                  </a:lnTo>
                  <a:lnTo>
                    <a:pt x="1162" y="1188"/>
                  </a:lnTo>
                  <a:lnTo>
                    <a:pt x="1156" y="1185"/>
                  </a:lnTo>
                  <a:lnTo>
                    <a:pt x="1149" y="1181"/>
                  </a:lnTo>
                  <a:lnTo>
                    <a:pt x="1143" y="1180"/>
                  </a:lnTo>
                  <a:lnTo>
                    <a:pt x="1136" y="1178"/>
                  </a:lnTo>
                  <a:lnTo>
                    <a:pt x="1129" y="1176"/>
                  </a:lnTo>
                  <a:lnTo>
                    <a:pt x="1124" y="1173"/>
                  </a:lnTo>
                  <a:lnTo>
                    <a:pt x="1119" y="1170"/>
                  </a:lnTo>
                  <a:lnTo>
                    <a:pt x="1115" y="1164"/>
                  </a:lnTo>
                  <a:lnTo>
                    <a:pt x="1109" y="1150"/>
                  </a:lnTo>
                  <a:lnTo>
                    <a:pt x="1105" y="1137"/>
                  </a:lnTo>
                  <a:lnTo>
                    <a:pt x="1103" y="1124"/>
                  </a:lnTo>
                  <a:lnTo>
                    <a:pt x="1100" y="1111"/>
                  </a:lnTo>
                  <a:lnTo>
                    <a:pt x="1099" y="1098"/>
                  </a:lnTo>
                  <a:lnTo>
                    <a:pt x="1098" y="1084"/>
                  </a:lnTo>
                  <a:lnTo>
                    <a:pt x="1095" y="1070"/>
                  </a:lnTo>
                  <a:lnTo>
                    <a:pt x="1091" y="1055"/>
                  </a:lnTo>
                  <a:lnTo>
                    <a:pt x="1089" y="1048"/>
                  </a:lnTo>
                  <a:lnTo>
                    <a:pt x="1085" y="1042"/>
                  </a:lnTo>
                  <a:lnTo>
                    <a:pt x="1081" y="1036"/>
                  </a:lnTo>
                  <a:lnTo>
                    <a:pt x="1077" y="1030"/>
                  </a:lnTo>
                  <a:lnTo>
                    <a:pt x="1072" y="1024"/>
                  </a:lnTo>
                  <a:lnTo>
                    <a:pt x="1066" y="1019"/>
                  </a:lnTo>
                  <a:lnTo>
                    <a:pt x="1061" y="1015"/>
                  </a:lnTo>
                  <a:lnTo>
                    <a:pt x="1055" y="1011"/>
                  </a:lnTo>
                  <a:lnTo>
                    <a:pt x="1042" y="1004"/>
                  </a:lnTo>
                  <a:lnTo>
                    <a:pt x="1028" y="997"/>
                  </a:lnTo>
                  <a:lnTo>
                    <a:pt x="1015" y="991"/>
                  </a:lnTo>
                  <a:lnTo>
                    <a:pt x="1000" y="985"/>
                  </a:lnTo>
                  <a:lnTo>
                    <a:pt x="986" y="979"/>
                  </a:lnTo>
                  <a:lnTo>
                    <a:pt x="974" y="973"/>
                  </a:lnTo>
                  <a:lnTo>
                    <a:pt x="961" y="967"/>
                  </a:lnTo>
                  <a:lnTo>
                    <a:pt x="951" y="958"/>
                  </a:lnTo>
                  <a:lnTo>
                    <a:pt x="946" y="954"/>
                  </a:lnTo>
                  <a:lnTo>
                    <a:pt x="942" y="949"/>
                  </a:lnTo>
                  <a:lnTo>
                    <a:pt x="938" y="944"/>
                  </a:lnTo>
                  <a:lnTo>
                    <a:pt x="934" y="939"/>
                  </a:lnTo>
                  <a:lnTo>
                    <a:pt x="932" y="933"/>
                  </a:lnTo>
                  <a:lnTo>
                    <a:pt x="930" y="926"/>
                  </a:lnTo>
                  <a:lnTo>
                    <a:pt x="929" y="919"/>
                  </a:lnTo>
                  <a:lnTo>
                    <a:pt x="929" y="912"/>
                  </a:lnTo>
                  <a:lnTo>
                    <a:pt x="929" y="902"/>
                  </a:lnTo>
                  <a:lnTo>
                    <a:pt x="932" y="893"/>
                  </a:lnTo>
                  <a:lnTo>
                    <a:pt x="935" y="885"/>
                  </a:lnTo>
                  <a:lnTo>
                    <a:pt x="941" y="878"/>
                  </a:lnTo>
                  <a:lnTo>
                    <a:pt x="945" y="871"/>
                  </a:lnTo>
                  <a:lnTo>
                    <a:pt x="950" y="863"/>
                  </a:lnTo>
                  <a:lnTo>
                    <a:pt x="954" y="855"/>
                  </a:lnTo>
                  <a:lnTo>
                    <a:pt x="957" y="846"/>
                  </a:lnTo>
                  <a:lnTo>
                    <a:pt x="966" y="808"/>
                  </a:lnTo>
                  <a:lnTo>
                    <a:pt x="973" y="775"/>
                  </a:lnTo>
                  <a:lnTo>
                    <a:pt x="976" y="758"/>
                  </a:lnTo>
                  <a:lnTo>
                    <a:pt x="981" y="742"/>
                  </a:lnTo>
                  <a:lnTo>
                    <a:pt x="987" y="724"/>
                  </a:lnTo>
                  <a:lnTo>
                    <a:pt x="995" y="706"/>
                  </a:lnTo>
                  <a:lnTo>
                    <a:pt x="1007" y="686"/>
                  </a:lnTo>
                  <a:lnTo>
                    <a:pt x="1018" y="667"/>
                  </a:lnTo>
                  <a:lnTo>
                    <a:pt x="1023" y="658"/>
                  </a:lnTo>
                  <a:lnTo>
                    <a:pt x="1027" y="649"/>
                  </a:lnTo>
                  <a:lnTo>
                    <a:pt x="1029" y="638"/>
                  </a:lnTo>
                  <a:lnTo>
                    <a:pt x="1030" y="626"/>
                  </a:lnTo>
                  <a:lnTo>
                    <a:pt x="1029" y="616"/>
                  </a:lnTo>
                  <a:lnTo>
                    <a:pt x="1028" y="605"/>
                  </a:lnTo>
                  <a:lnTo>
                    <a:pt x="1025" y="596"/>
                  </a:lnTo>
                  <a:lnTo>
                    <a:pt x="1021" y="588"/>
                  </a:lnTo>
                  <a:lnTo>
                    <a:pt x="1013" y="571"/>
                  </a:lnTo>
                  <a:lnTo>
                    <a:pt x="1001" y="556"/>
                  </a:lnTo>
                  <a:lnTo>
                    <a:pt x="991" y="541"/>
                  </a:lnTo>
                  <a:lnTo>
                    <a:pt x="983" y="525"/>
                  </a:lnTo>
                  <a:lnTo>
                    <a:pt x="979" y="516"/>
                  </a:lnTo>
                  <a:lnTo>
                    <a:pt x="976" y="507"/>
                  </a:lnTo>
                  <a:lnTo>
                    <a:pt x="975" y="497"/>
                  </a:lnTo>
                  <a:lnTo>
                    <a:pt x="974" y="486"/>
                  </a:lnTo>
                  <a:lnTo>
                    <a:pt x="975" y="479"/>
                  </a:lnTo>
                  <a:lnTo>
                    <a:pt x="978" y="472"/>
                  </a:lnTo>
                  <a:lnTo>
                    <a:pt x="982" y="466"/>
                  </a:lnTo>
                  <a:lnTo>
                    <a:pt x="987" y="461"/>
                  </a:lnTo>
                  <a:lnTo>
                    <a:pt x="991" y="454"/>
                  </a:lnTo>
                  <a:lnTo>
                    <a:pt x="995" y="449"/>
                  </a:lnTo>
                  <a:lnTo>
                    <a:pt x="998" y="442"/>
                  </a:lnTo>
                  <a:lnTo>
                    <a:pt x="999" y="435"/>
                  </a:lnTo>
                  <a:lnTo>
                    <a:pt x="998" y="423"/>
                  </a:lnTo>
                  <a:lnTo>
                    <a:pt x="996" y="414"/>
                  </a:lnTo>
                  <a:lnTo>
                    <a:pt x="993" y="405"/>
                  </a:lnTo>
                  <a:lnTo>
                    <a:pt x="988" y="397"/>
                  </a:lnTo>
                  <a:lnTo>
                    <a:pt x="983" y="389"/>
                  </a:lnTo>
                  <a:lnTo>
                    <a:pt x="976" y="382"/>
                  </a:lnTo>
                  <a:lnTo>
                    <a:pt x="969" y="375"/>
                  </a:lnTo>
                  <a:lnTo>
                    <a:pt x="962" y="369"/>
                  </a:lnTo>
                  <a:lnTo>
                    <a:pt x="948" y="355"/>
                  </a:lnTo>
                  <a:lnTo>
                    <a:pt x="934" y="340"/>
                  </a:lnTo>
                  <a:lnTo>
                    <a:pt x="928" y="332"/>
                  </a:lnTo>
                  <a:lnTo>
                    <a:pt x="923" y="323"/>
                  </a:lnTo>
                  <a:lnTo>
                    <a:pt x="920" y="313"/>
                  </a:lnTo>
                  <a:lnTo>
                    <a:pt x="917" y="303"/>
                  </a:lnTo>
                  <a:lnTo>
                    <a:pt x="903" y="309"/>
                  </a:lnTo>
                  <a:lnTo>
                    <a:pt x="892" y="317"/>
                  </a:lnTo>
                  <a:lnTo>
                    <a:pt x="881" y="325"/>
                  </a:lnTo>
                  <a:lnTo>
                    <a:pt x="870" y="335"/>
                  </a:lnTo>
                  <a:lnTo>
                    <a:pt x="860" y="342"/>
                  </a:lnTo>
                  <a:lnTo>
                    <a:pt x="849" y="348"/>
                  </a:lnTo>
                  <a:lnTo>
                    <a:pt x="844" y="351"/>
                  </a:lnTo>
                  <a:lnTo>
                    <a:pt x="836" y="353"/>
                  </a:lnTo>
                  <a:lnTo>
                    <a:pt x="829" y="354"/>
                  </a:lnTo>
                  <a:lnTo>
                    <a:pt x="822" y="354"/>
                  </a:lnTo>
                  <a:lnTo>
                    <a:pt x="807" y="354"/>
                  </a:lnTo>
                  <a:lnTo>
                    <a:pt x="794" y="356"/>
                  </a:lnTo>
                  <a:lnTo>
                    <a:pt x="783" y="358"/>
                  </a:lnTo>
                  <a:lnTo>
                    <a:pt x="773" y="358"/>
                  </a:lnTo>
                  <a:lnTo>
                    <a:pt x="759" y="359"/>
                  </a:lnTo>
                  <a:lnTo>
                    <a:pt x="754" y="358"/>
                  </a:lnTo>
                  <a:lnTo>
                    <a:pt x="749" y="356"/>
                  </a:lnTo>
                  <a:lnTo>
                    <a:pt x="746" y="352"/>
                  </a:lnTo>
                  <a:lnTo>
                    <a:pt x="743" y="348"/>
                  </a:lnTo>
                  <a:lnTo>
                    <a:pt x="736" y="339"/>
                  </a:lnTo>
                  <a:lnTo>
                    <a:pt x="731" y="328"/>
                  </a:lnTo>
                  <a:lnTo>
                    <a:pt x="719" y="314"/>
                  </a:lnTo>
                  <a:lnTo>
                    <a:pt x="709" y="302"/>
                  </a:lnTo>
                  <a:lnTo>
                    <a:pt x="704" y="295"/>
                  </a:lnTo>
                  <a:lnTo>
                    <a:pt x="700" y="288"/>
                  </a:lnTo>
                  <a:lnTo>
                    <a:pt x="696" y="280"/>
                  </a:lnTo>
                  <a:lnTo>
                    <a:pt x="693" y="272"/>
                  </a:lnTo>
                  <a:lnTo>
                    <a:pt x="686" y="251"/>
                  </a:lnTo>
                  <a:lnTo>
                    <a:pt x="679" y="232"/>
                  </a:lnTo>
                  <a:lnTo>
                    <a:pt x="671" y="216"/>
                  </a:lnTo>
                  <a:lnTo>
                    <a:pt x="663" y="198"/>
                  </a:lnTo>
                  <a:lnTo>
                    <a:pt x="690" y="196"/>
                  </a:lnTo>
                  <a:lnTo>
                    <a:pt x="713" y="193"/>
                  </a:lnTo>
                  <a:lnTo>
                    <a:pt x="724" y="191"/>
                  </a:lnTo>
                  <a:lnTo>
                    <a:pt x="735" y="189"/>
                  </a:lnTo>
                  <a:lnTo>
                    <a:pt x="747" y="185"/>
                  </a:lnTo>
                  <a:lnTo>
                    <a:pt x="759" y="180"/>
                  </a:lnTo>
                  <a:lnTo>
                    <a:pt x="764" y="177"/>
                  </a:lnTo>
                  <a:lnTo>
                    <a:pt x="768" y="173"/>
                  </a:lnTo>
                  <a:lnTo>
                    <a:pt x="771" y="168"/>
                  </a:lnTo>
                  <a:lnTo>
                    <a:pt x="774" y="164"/>
                  </a:lnTo>
                  <a:lnTo>
                    <a:pt x="776" y="154"/>
                  </a:lnTo>
                  <a:lnTo>
                    <a:pt x="778" y="144"/>
                  </a:lnTo>
                  <a:lnTo>
                    <a:pt x="779" y="132"/>
                  </a:lnTo>
                  <a:lnTo>
                    <a:pt x="781" y="121"/>
                  </a:lnTo>
                  <a:lnTo>
                    <a:pt x="783" y="116"/>
                  </a:lnTo>
                  <a:lnTo>
                    <a:pt x="785" y="111"/>
                  </a:lnTo>
                  <a:lnTo>
                    <a:pt x="788" y="106"/>
                  </a:lnTo>
                  <a:lnTo>
                    <a:pt x="792" y="101"/>
                  </a:lnTo>
                  <a:lnTo>
                    <a:pt x="819" y="79"/>
                  </a:lnTo>
                  <a:lnTo>
                    <a:pt x="842" y="56"/>
                  </a:lnTo>
                  <a:lnTo>
                    <a:pt x="852" y="44"/>
                  </a:lnTo>
                  <a:lnTo>
                    <a:pt x="861" y="31"/>
                  </a:lnTo>
                  <a:lnTo>
                    <a:pt x="869" y="17"/>
                  </a:lnTo>
                  <a:lnTo>
                    <a:pt x="877" y="0"/>
                  </a:lnTo>
                  <a:lnTo>
                    <a:pt x="896" y="21"/>
                  </a:lnTo>
                  <a:lnTo>
                    <a:pt x="916" y="40"/>
                  </a:lnTo>
                  <a:lnTo>
                    <a:pt x="935" y="58"/>
                  </a:lnTo>
                  <a:lnTo>
                    <a:pt x="955" y="74"/>
                  </a:lnTo>
                  <a:lnTo>
                    <a:pt x="975" y="90"/>
                  </a:lnTo>
                  <a:lnTo>
                    <a:pt x="994" y="103"/>
                  </a:lnTo>
                  <a:lnTo>
                    <a:pt x="1015" y="116"/>
                  </a:lnTo>
                  <a:lnTo>
                    <a:pt x="1037" y="127"/>
                  </a:lnTo>
                  <a:lnTo>
                    <a:pt x="1058" y="136"/>
                  </a:lnTo>
                  <a:lnTo>
                    <a:pt x="1080" y="145"/>
                  </a:lnTo>
                  <a:lnTo>
                    <a:pt x="1104" y="152"/>
                  </a:lnTo>
                  <a:lnTo>
                    <a:pt x="1127" y="158"/>
                  </a:lnTo>
                  <a:lnTo>
                    <a:pt x="1152" y="162"/>
                  </a:lnTo>
                  <a:lnTo>
                    <a:pt x="1178" y="165"/>
                  </a:lnTo>
                  <a:lnTo>
                    <a:pt x="1205" y="167"/>
                  </a:lnTo>
                  <a:lnTo>
                    <a:pt x="1233" y="167"/>
                  </a:lnTo>
                  <a:lnTo>
                    <a:pt x="1261" y="167"/>
                  </a:lnTo>
                  <a:lnTo>
                    <a:pt x="1286" y="166"/>
                  </a:lnTo>
                  <a:lnTo>
                    <a:pt x="1298" y="164"/>
                  </a:lnTo>
                  <a:lnTo>
                    <a:pt x="1311" y="161"/>
                  </a:lnTo>
                  <a:lnTo>
                    <a:pt x="1323" y="157"/>
                  </a:lnTo>
                  <a:lnTo>
                    <a:pt x="1337" y="151"/>
                  </a:lnTo>
                  <a:lnTo>
                    <a:pt x="1349" y="145"/>
                  </a:lnTo>
                  <a:lnTo>
                    <a:pt x="1359" y="137"/>
                  </a:lnTo>
                  <a:lnTo>
                    <a:pt x="1370" y="130"/>
                  </a:lnTo>
                  <a:lnTo>
                    <a:pt x="1379" y="123"/>
                  </a:lnTo>
                  <a:lnTo>
                    <a:pt x="1395" y="106"/>
                  </a:lnTo>
                  <a:lnTo>
                    <a:pt x="1411" y="90"/>
                  </a:lnTo>
                  <a:lnTo>
                    <a:pt x="1419" y="82"/>
                  </a:lnTo>
                  <a:lnTo>
                    <a:pt x="1427" y="74"/>
                  </a:lnTo>
                  <a:lnTo>
                    <a:pt x="1436" y="67"/>
                  </a:lnTo>
                  <a:lnTo>
                    <a:pt x="1445" y="61"/>
                  </a:lnTo>
                  <a:lnTo>
                    <a:pt x="1454" y="55"/>
                  </a:lnTo>
                  <a:lnTo>
                    <a:pt x="1466" y="49"/>
                  </a:lnTo>
                  <a:lnTo>
                    <a:pt x="1477" y="44"/>
                  </a:lnTo>
                  <a:lnTo>
                    <a:pt x="1490" y="40"/>
                  </a:lnTo>
                  <a:lnTo>
                    <a:pt x="1508" y="34"/>
                  </a:lnTo>
                  <a:lnTo>
                    <a:pt x="1523" y="30"/>
                  </a:lnTo>
                  <a:lnTo>
                    <a:pt x="1532" y="29"/>
                  </a:lnTo>
                  <a:lnTo>
                    <a:pt x="1540" y="27"/>
                  </a:lnTo>
                  <a:lnTo>
                    <a:pt x="1548" y="27"/>
                  </a:lnTo>
                  <a:lnTo>
                    <a:pt x="1558" y="26"/>
                  </a:lnTo>
                  <a:lnTo>
                    <a:pt x="1569" y="27"/>
                  </a:lnTo>
                  <a:lnTo>
                    <a:pt x="1578" y="27"/>
                  </a:lnTo>
                  <a:lnTo>
                    <a:pt x="1587" y="29"/>
                  </a:lnTo>
                  <a:lnTo>
                    <a:pt x="1596" y="30"/>
                  </a:lnTo>
                  <a:lnTo>
                    <a:pt x="1613" y="35"/>
                  </a:lnTo>
                  <a:lnTo>
                    <a:pt x="1628" y="41"/>
                  </a:lnTo>
                  <a:lnTo>
                    <a:pt x="1660" y="56"/>
                  </a:lnTo>
                  <a:lnTo>
                    <a:pt x="1695" y="73"/>
                  </a:lnTo>
                  <a:lnTo>
                    <a:pt x="1722" y="86"/>
                  </a:lnTo>
                  <a:lnTo>
                    <a:pt x="1748" y="95"/>
                  </a:lnTo>
                  <a:lnTo>
                    <a:pt x="1772" y="104"/>
                  </a:lnTo>
                  <a:lnTo>
                    <a:pt x="1796" y="111"/>
                  </a:lnTo>
                  <a:lnTo>
                    <a:pt x="1820" y="117"/>
                  </a:lnTo>
                  <a:lnTo>
                    <a:pt x="1846" y="120"/>
                  </a:lnTo>
                  <a:lnTo>
                    <a:pt x="1873" y="122"/>
                  </a:lnTo>
                  <a:lnTo>
                    <a:pt x="1903" y="123"/>
                  </a:lnTo>
                  <a:lnTo>
                    <a:pt x="1913" y="123"/>
                  </a:lnTo>
                  <a:lnTo>
                    <a:pt x="1922" y="122"/>
                  </a:lnTo>
                  <a:lnTo>
                    <a:pt x="1932" y="120"/>
                  </a:lnTo>
                  <a:lnTo>
                    <a:pt x="1940" y="117"/>
                  </a:lnTo>
                  <a:lnTo>
                    <a:pt x="1947" y="113"/>
                  </a:lnTo>
                  <a:lnTo>
                    <a:pt x="1954" y="107"/>
                  </a:lnTo>
                  <a:lnTo>
                    <a:pt x="1962" y="100"/>
                  </a:lnTo>
                  <a:lnTo>
                    <a:pt x="1969" y="92"/>
                  </a:lnTo>
                  <a:lnTo>
                    <a:pt x="1974" y="105"/>
                  </a:lnTo>
                  <a:lnTo>
                    <a:pt x="1978" y="118"/>
                  </a:lnTo>
                  <a:lnTo>
                    <a:pt x="1978" y="123"/>
                  </a:lnTo>
                  <a:lnTo>
                    <a:pt x="1977" y="127"/>
                  </a:lnTo>
                  <a:lnTo>
                    <a:pt x="1975" y="131"/>
                  </a:lnTo>
                  <a:lnTo>
                    <a:pt x="1974" y="135"/>
                  </a:lnTo>
                  <a:lnTo>
                    <a:pt x="1969" y="142"/>
                  </a:lnTo>
                  <a:lnTo>
                    <a:pt x="1963" y="148"/>
                  </a:lnTo>
                  <a:lnTo>
                    <a:pt x="1954" y="153"/>
                  </a:lnTo>
                  <a:lnTo>
                    <a:pt x="1946" y="157"/>
                  </a:lnTo>
                  <a:lnTo>
                    <a:pt x="1937" y="160"/>
                  </a:lnTo>
                  <a:lnTo>
                    <a:pt x="1928" y="164"/>
                  </a:lnTo>
                  <a:lnTo>
                    <a:pt x="1918" y="168"/>
                  </a:lnTo>
                  <a:lnTo>
                    <a:pt x="1909" y="172"/>
                  </a:lnTo>
                  <a:lnTo>
                    <a:pt x="1900" y="176"/>
                  </a:lnTo>
                  <a:lnTo>
                    <a:pt x="1892" y="181"/>
                  </a:lnTo>
                  <a:lnTo>
                    <a:pt x="1886" y="187"/>
                  </a:lnTo>
                  <a:lnTo>
                    <a:pt x="1881" y="193"/>
                  </a:lnTo>
                  <a:lnTo>
                    <a:pt x="1879" y="197"/>
                  </a:lnTo>
                  <a:lnTo>
                    <a:pt x="1878" y="201"/>
                  </a:lnTo>
                  <a:lnTo>
                    <a:pt x="1877" y="206"/>
                  </a:lnTo>
                  <a:lnTo>
                    <a:pt x="1877" y="211"/>
                  </a:lnTo>
                  <a:lnTo>
                    <a:pt x="1877" y="215"/>
                  </a:lnTo>
                  <a:lnTo>
                    <a:pt x="1879" y="219"/>
                  </a:lnTo>
                  <a:lnTo>
                    <a:pt x="1881" y="223"/>
                  </a:lnTo>
                  <a:lnTo>
                    <a:pt x="1883" y="227"/>
                  </a:lnTo>
                  <a:lnTo>
                    <a:pt x="1886" y="230"/>
                  </a:lnTo>
                  <a:lnTo>
                    <a:pt x="1888" y="234"/>
                  </a:lnTo>
                  <a:lnTo>
                    <a:pt x="1890" y="239"/>
                  </a:lnTo>
                  <a:lnTo>
                    <a:pt x="1890" y="244"/>
                  </a:lnTo>
                  <a:lnTo>
                    <a:pt x="1889" y="252"/>
                  </a:lnTo>
                  <a:lnTo>
                    <a:pt x="1887" y="260"/>
                  </a:lnTo>
                  <a:lnTo>
                    <a:pt x="1885" y="268"/>
                  </a:lnTo>
                  <a:lnTo>
                    <a:pt x="1883" y="277"/>
                  </a:lnTo>
                  <a:lnTo>
                    <a:pt x="1884" y="283"/>
                  </a:lnTo>
                  <a:lnTo>
                    <a:pt x="1885" y="289"/>
                  </a:lnTo>
                  <a:lnTo>
                    <a:pt x="1886" y="294"/>
                  </a:lnTo>
                  <a:lnTo>
                    <a:pt x="1888" y="301"/>
                  </a:lnTo>
                  <a:lnTo>
                    <a:pt x="1895" y="310"/>
                  </a:lnTo>
                  <a:lnTo>
                    <a:pt x="1902" y="319"/>
                  </a:lnTo>
                  <a:lnTo>
                    <a:pt x="1919" y="336"/>
                  </a:lnTo>
                  <a:lnTo>
                    <a:pt x="1938" y="354"/>
                  </a:lnTo>
                  <a:lnTo>
                    <a:pt x="1941" y="358"/>
                  </a:lnTo>
                  <a:lnTo>
                    <a:pt x="1944" y="364"/>
                  </a:lnTo>
                  <a:lnTo>
                    <a:pt x="1946" y="368"/>
                  </a:lnTo>
                  <a:lnTo>
                    <a:pt x="1948" y="372"/>
                  </a:lnTo>
                  <a:lnTo>
                    <a:pt x="1950" y="382"/>
                  </a:lnTo>
                  <a:lnTo>
                    <a:pt x="1950" y="391"/>
                  </a:lnTo>
                  <a:lnTo>
                    <a:pt x="1949" y="412"/>
                  </a:lnTo>
                  <a:lnTo>
                    <a:pt x="1947" y="434"/>
                  </a:lnTo>
                  <a:lnTo>
                    <a:pt x="1947" y="492"/>
                  </a:lnTo>
                  <a:lnTo>
                    <a:pt x="1971" y="506"/>
                  </a:lnTo>
                  <a:lnTo>
                    <a:pt x="1992" y="521"/>
                  </a:lnTo>
                  <a:lnTo>
                    <a:pt x="1998" y="524"/>
                  </a:lnTo>
                  <a:lnTo>
                    <a:pt x="2002" y="528"/>
                  </a:lnTo>
                  <a:lnTo>
                    <a:pt x="2006" y="533"/>
                  </a:lnTo>
                  <a:lnTo>
                    <a:pt x="2009" y="537"/>
                  </a:lnTo>
                  <a:lnTo>
                    <a:pt x="2012" y="542"/>
                  </a:lnTo>
                  <a:lnTo>
                    <a:pt x="2014" y="548"/>
                  </a:lnTo>
                  <a:lnTo>
                    <a:pt x="2015" y="555"/>
                  </a:lnTo>
                  <a:lnTo>
                    <a:pt x="2015" y="561"/>
                  </a:lnTo>
                  <a:lnTo>
                    <a:pt x="2015" y="574"/>
                  </a:lnTo>
                  <a:lnTo>
                    <a:pt x="2015" y="588"/>
                  </a:lnTo>
                  <a:lnTo>
                    <a:pt x="2014" y="600"/>
                  </a:lnTo>
                  <a:lnTo>
                    <a:pt x="2011" y="612"/>
                  </a:lnTo>
                  <a:lnTo>
                    <a:pt x="2010" y="618"/>
                  </a:lnTo>
                  <a:lnTo>
                    <a:pt x="2008" y="624"/>
                  </a:lnTo>
                  <a:lnTo>
                    <a:pt x="2005" y="628"/>
                  </a:lnTo>
                  <a:lnTo>
                    <a:pt x="2002" y="633"/>
                  </a:lnTo>
                  <a:lnTo>
                    <a:pt x="1998" y="637"/>
                  </a:lnTo>
                  <a:lnTo>
                    <a:pt x="1994" y="641"/>
                  </a:lnTo>
                  <a:lnTo>
                    <a:pt x="1988" y="644"/>
                  </a:lnTo>
                  <a:lnTo>
                    <a:pt x="1982" y="647"/>
                  </a:lnTo>
                  <a:lnTo>
                    <a:pt x="1986" y="661"/>
                  </a:lnTo>
                  <a:lnTo>
                    <a:pt x="1991" y="674"/>
                  </a:lnTo>
                  <a:lnTo>
                    <a:pt x="1997" y="687"/>
                  </a:lnTo>
                  <a:lnTo>
                    <a:pt x="2003" y="699"/>
                  </a:lnTo>
                  <a:lnTo>
                    <a:pt x="2009" y="711"/>
                  </a:lnTo>
                  <a:lnTo>
                    <a:pt x="2016" y="722"/>
                  </a:lnTo>
                  <a:lnTo>
                    <a:pt x="2024" y="732"/>
                  </a:lnTo>
                  <a:lnTo>
                    <a:pt x="2034" y="742"/>
                  </a:lnTo>
                  <a:lnTo>
                    <a:pt x="2043" y="750"/>
                  </a:lnTo>
                  <a:lnTo>
                    <a:pt x="2053" y="757"/>
                  </a:lnTo>
                  <a:lnTo>
                    <a:pt x="2065" y="763"/>
                  </a:lnTo>
                  <a:lnTo>
                    <a:pt x="2076" y="769"/>
                  </a:lnTo>
                  <a:lnTo>
                    <a:pt x="2088" y="774"/>
                  </a:lnTo>
                  <a:lnTo>
                    <a:pt x="2101" y="777"/>
                  </a:lnTo>
                  <a:lnTo>
                    <a:pt x="2115" y="779"/>
                  </a:lnTo>
                  <a:lnTo>
                    <a:pt x="2129" y="780"/>
                  </a:lnTo>
                  <a:lnTo>
                    <a:pt x="2148" y="779"/>
                  </a:lnTo>
                  <a:lnTo>
                    <a:pt x="2167" y="778"/>
                  </a:lnTo>
                  <a:lnTo>
                    <a:pt x="2183" y="777"/>
                  </a:lnTo>
                  <a:lnTo>
                    <a:pt x="2200" y="775"/>
                  </a:lnTo>
                  <a:lnTo>
                    <a:pt x="2216" y="773"/>
                  </a:lnTo>
                  <a:lnTo>
                    <a:pt x="2233" y="771"/>
                  </a:lnTo>
                  <a:lnTo>
                    <a:pt x="2250" y="770"/>
                  </a:lnTo>
                  <a:lnTo>
                    <a:pt x="2270" y="769"/>
                  </a:lnTo>
                  <a:lnTo>
                    <a:pt x="2276" y="770"/>
                  </a:lnTo>
                  <a:lnTo>
                    <a:pt x="2281" y="771"/>
                  </a:lnTo>
                  <a:lnTo>
                    <a:pt x="2285" y="774"/>
                  </a:lnTo>
                  <a:lnTo>
                    <a:pt x="2289" y="776"/>
                  </a:lnTo>
                  <a:lnTo>
                    <a:pt x="2297" y="783"/>
                  </a:lnTo>
                  <a:lnTo>
                    <a:pt x="2303" y="791"/>
                  </a:lnTo>
                  <a:lnTo>
                    <a:pt x="2309" y="799"/>
                  </a:lnTo>
                  <a:lnTo>
                    <a:pt x="2315" y="809"/>
                  </a:lnTo>
                  <a:lnTo>
                    <a:pt x="2322" y="818"/>
                  </a:lnTo>
                  <a:lnTo>
                    <a:pt x="2332" y="826"/>
                  </a:lnTo>
                  <a:lnTo>
                    <a:pt x="2348" y="839"/>
                  </a:lnTo>
                  <a:lnTo>
                    <a:pt x="2363" y="849"/>
                  </a:lnTo>
                  <a:lnTo>
                    <a:pt x="2378" y="858"/>
                  </a:lnTo>
                  <a:lnTo>
                    <a:pt x="2394" y="866"/>
                  </a:lnTo>
                  <a:lnTo>
                    <a:pt x="2409" y="873"/>
                  </a:lnTo>
                  <a:lnTo>
                    <a:pt x="2426" y="878"/>
                  </a:lnTo>
                  <a:lnTo>
                    <a:pt x="2443" y="882"/>
                  </a:lnTo>
                  <a:lnTo>
                    <a:pt x="2464" y="885"/>
                  </a:lnTo>
                  <a:lnTo>
                    <a:pt x="2463" y="900"/>
                  </a:lnTo>
                  <a:lnTo>
                    <a:pt x="2463" y="912"/>
                  </a:lnTo>
                  <a:lnTo>
                    <a:pt x="2464" y="925"/>
                  </a:lnTo>
                  <a:lnTo>
                    <a:pt x="2464" y="939"/>
                  </a:lnTo>
                  <a:lnTo>
                    <a:pt x="2463" y="950"/>
                  </a:lnTo>
                  <a:lnTo>
                    <a:pt x="2462" y="959"/>
                  </a:lnTo>
                  <a:lnTo>
                    <a:pt x="2460" y="969"/>
                  </a:lnTo>
                  <a:lnTo>
                    <a:pt x="2458" y="977"/>
                  </a:lnTo>
                  <a:lnTo>
                    <a:pt x="2456" y="985"/>
                  </a:lnTo>
                  <a:lnTo>
                    <a:pt x="2453" y="995"/>
                  </a:lnTo>
                  <a:lnTo>
                    <a:pt x="2452" y="1004"/>
                  </a:lnTo>
                  <a:lnTo>
                    <a:pt x="2451" y="1015"/>
                  </a:lnTo>
                  <a:lnTo>
                    <a:pt x="2451" y="1063"/>
                  </a:lnTo>
                  <a:lnTo>
                    <a:pt x="2452" y="1074"/>
                  </a:lnTo>
                  <a:lnTo>
                    <a:pt x="2453" y="1083"/>
                  </a:lnTo>
                  <a:lnTo>
                    <a:pt x="2456" y="1093"/>
                  </a:lnTo>
                  <a:lnTo>
                    <a:pt x="2458" y="1102"/>
                  </a:lnTo>
                  <a:lnTo>
                    <a:pt x="2460" y="1110"/>
                  </a:lnTo>
                  <a:lnTo>
                    <a:pt x="2462" y="1119"/>
                  </a:lnTo>
                  <a:lnTo>
                    <a:pt x="2463" y="1130"/>
                  </a:lnTo>
                  <a:lnTo>
                    <a:pt x="2464" y="1140"/>
                  </a:lnTo>
                  <a:lnTo>
                    <a:pt x="2462" y="1164"/>
                  </a:lnTo>
                  <a:lnTo>
                    <a:pt x="2461" y="1186"/>
                  </a:lnTo>
                  <a:lnTo>
                    <a:pt x="2462" y="1196"/>
                  </a:lnTo>
                  <a:lnTo>
                    <a:pt x="2465" y="1205"/>
                  </a:lnTo>
                  <a:lnTo>
                    <a:pt x="2467" y="1209"/>
                  </a:lnTo>
                  <a:lnTo>
                    <a:pt x="2470" y="1213"/>
                  </a:lnTo>
                  <a:lnTo>
                    <a:pt x="2473" y="1218"/>
                  </a:lnTo>
                  <a:lnTo>
                    <a:pt x="2478" y="1221"/>
                  </a:lnTo>
                  <a:lnTo>
                    <a:pt x="2502" y="1236"/>
                  </a:lnTo>
                  <a:lnTo>
                    <a:pt x="2526" y="1249"/>
                  </a:lnTo>
                  <a:lnTo>
                    <a:pt x="2548" y="1259"/>
                  </a:lnTo>
                  <a:lnTo>
                    <a:pt x="2572" y="1267"/>
                  </a:lnTo>
                  <a:lnTo>
                    <a:pt x="2595" y="1273"/>
                  </a:lnTo>
                  <a:lnTo>
                    <a:pt x="2621" y="1280"/>
                  </a:lnTo>
                  <a:lnTo>
                    <a:pt x="2646" y="1284"/>
                  </a:lnTo>
                  <a:lnTo>
                    <a:pt x="2676" y="1289"/>
                  </a:lnTo>
                  <a:lnTo>
                    <a:pt x="2677" y="1305"/>
                  </a:lnTo>
                  <a:lnTo>
                    <a:pt x="2679" y="1321"/>
                  </a:lnTo>
                  <a:lnTo>
                    <a:pt x="2681" y="1337"/>
                  </a:lnTo>
                  <a:lnTo>
                    <a:pt x="2687" y="1352"/>
                  </a:lnTo>
                  <a:lnTo>
                    <a:pt x="2689" y="1358"/>
                  </a:lnTo>
                  <a:lnTo>
                    <a:pt x="2693" y="1364"/>
                  </a:lnTo>
                  <a:lnTo>
                    <a:pt x="2696" y="1370"/>
                  </a:lnTo>
                  <a:lnTo>
                    <a:pt x="2701" y="1375"/>
                  </a:lnTo>
                  <a:lnTo>
                    <a:pt x="2706" y="1379"/>
                  </a:lnTo>
                  <a:lnTo>
                    <a:pt x="2711" y="1381"/>
                  </a:lnTo>
                  <a:lnTo>
                    <a:pt x="2717" y="1383"/>
                  </a:lnTo>
                  <a:lnTo>
                    <a:pt x="2726" y="1384"/>
                  </a:lnTo>
                  <a:lnTo>
                    <a:pt x="2732" y="1383"/>
                  </a:lnTo>
                  <a:lnTo>
                    <a:pt x="2737" y="1381"/>
                  </a:lnTo>
                  <a:lnTo>
                    <a:pt x="2743" y="1378"/>
                  </a:lnTo>
                  <a:lnTo>
                    <a:pt x="2747" y="1375"/>
                  </a:lnTo>
                  <a:lnTo>
                    <a:pt x="2753" y="1370"/>
                  </a:lnTo>
                  <a:lnTo>
                    <a:pt x="2758" y="1367"/>
                  </a:lnTo>
                  <a:lnTo>
                    <a:pt x="2764" y="1365"/>
                  </a:lnTo>
                  <a:lnTo>
                    <a:pt x="2770" y="1364"/>
                  </a:lnTo>
                  <a:lnTo>
                    <a:pt x="2775" y="1365"/>
                  </a:lnTo>
                  <a:lnTo>
                    <a:pt x="2779" y="1366"/>
                  </a:lnTo>
                  <a:lnTo>
                    <a:pt x="2783" y="1368"/>
                  </a:lnTo>
                  <a:lnTo>
                    <a:pt x="2787" y="1371"/>
                  </a:lnTo>
                  <a:lnTo>
                    <a:pt x="2790" y="1375"/>
                  </a:lnTo>
                  <a:lnTo>
                    <a:pt x="2792" y="1378"/>
                  </a:lnTo>
                  <a:lnTo>
                    <a:pt x="2794" y="1383"/>
                  </a:lnTo>
                  <a:lnTo>
                    <a:pt x="2796" y="1387"/>
                  </a:lnTo>
                  <a:lnTo>
                    <a:pt x="2800" y="1409"/>
                  </a:lnTo>
                  <a:lnTo>
                    <a:pt x="2805" y="1430"/>
                  </a:lnTo>
                  <a:lnTo>
                    <a:pt x="2814" y="1458"/>
                  </a:lnTo>
                  <a:lnTo>
                    <a:pt x="2823" y="1483"/>
                  </a:lnTo>
                  <a:lnTo>
                    <a:pt x="2827" y="1495"/>
                  </a:lnTo>
                  <a:lnTo>
                    <a:pt x="2829" y="1508"/>
                  </a:lnTo>
                  <a:lnTo>
                    <a:pt x="2831" y="1522"/>
                  </a:lnTo>
                  <a:lnTo>
                    <a:pt x="2831" y="1537"/>
                  </a:lnTo>
                  <a:lnTo>
                    <a:pt x="2831" y="1555"/>
                  </a:lnTo>
                  <a:lnTo>
                    <a:pt x="2828" y="1574"/>
                  </a:lnTo>
                  <a:lnTo>
                    <a:pt x="2826" y="1583"/>
                  </a:lnTo>
                  <a:lnTo>
                    <a:pt x="2823" y="1592"/>
                  </a:lnTo>
                  <a:lnTo>
                    <a:pt x="2820" y="1601"/>
                  </a:lnTo>
                  <a:lnTo>
                    <a:pt x="2816" y="1609"/>
                  </a:lnTo>
                  <a:lnTo>
                    <a:pt x="2812" y="1616"/>
                  </a:lnTo>
                  <a:lnTo>
                    <a:pt x="2807" y="1622"/>
                  </a:lnTo>
                  <a:lnTo>
                    <a:pt x="2802" y="1629"/>
                  </a:lnTo>
                  <a:lnTo>
                    <a:pt x="2796" y="1634"/>
                  </a:lnTo>
                  <a:lnTo>
                    <a:pt x="2789" y="1638"/>
                  </a:lnTo>
                  <a:lnTo>
                    <a:pt x="2781" y="1641"/>
                  </a:lnTo>
                  <a:lnTo>
                    <a:pt x="2773" y="1643"/>
                  </a:lnTo>
                  <a:lnTo>
                    <a:pt x="2765" y="1643"/>
                  </a:lnTo>
                  <a:lnTo>
                    <a:pt x="2716" y="1643"/>
                  </a:lnTo>
                  <a:lnTo>
                    <a:pt x="2708" y="1644"/>
                  </a:lnTo>
                  <a:lnTo>
                    <a:pt x="2701" y="1645"/>
                  </a:lnTo>
                  <a:lnTo>
                    <a:pt x="2695" y="1648"/>
                  </a:lnTo>
                  <a:lnTo>
                    <a:pt x="2689" y="1651"/>
                  </a:lnTo>
                  <a:lnTo>
                    <a:pt x="2676" y="1659"/>
                  </a:lnTo>
                  <a:lnTo>
                    <a:pt x="2662" y="1665"/>
                  </a:lnTo>
                  <a:lnTo>
                    <a:pt x="2662" y="1677"/>
                  </a:lnTo>
                  <a:lnTo>
                    <a:pt x="2664" y="1689"/>
                  </a:lnTo>
                  <a:lnTo>
                    <a:pt x="2666" y="1701"/>
                  </a:lnTo>
                  <a:lnTo>
                    <a:pt x="2669" y="1711"/>
                  </a:lnTo>
                  <a:lnTo>
                    <a:pt x="2676" y="1732"/>
                  </a:lnTo>
                  <a:lnTo>
                    <a:pt x="2685" y="1751"/>
                  </a:lnTo>
                  <a:lnTo>
                    <a:pt x="2694" y="1771"/>
                  </a:lnTo>
                  <a:lnTo>
                    <a:pt x="2701" y="1792"/>
                  </a:lnTo>
                  <a:lnTo>
                    <a:pt x="2704" y="1802"/>
                  </a:lnTo>
                  <a:lnTo>
                    <a:pt x="2707" y="1813"/>
                  </a:lnTo>
                  <a:lnTo>
                    <a:pt x="2708" y="1826"/>
                  </a:lnTo>
                  <a:lnTo>
                    <a:pt x="2709" y="1838"/>
                  </a:lnTo>
                  <a:lnTo>
                    <a:pt x="2709" y="1863"/>
                  </a:lnTo>
                  <a:lnTo>
                    <a:pt x="2710" y="1884"/>
                  </a:lnTo>
                  <a:lnTo>
                    <a:pt x="2710" y="1905"/>
                  </a:lnTo>
                  <a:lnTo>
                    <a:pt x="2711" y="1929"/>
                  </a:lnTo>
                  <a:lnTo>
                    <a:pt x="2710" y="1948"/>
                  </a:lnTo>
                  <a:lnTo>
                    <a:pt x="2708" y="1965"/>
                  </a:lnTo>
                  <a:lnTo>
                    <a:pt x="2706" y="1981"/>
                  </a:lnTo>
                  <a:lnTo>
                    <a:pt x="2703" y="1996"/>
                  </a:lnTo>
                  <a:lnTo>
                    <a:pt x="2700" y="2012"/>
                  </a:lnTo>
                  <a:lnTo>
                    <a:pt x="2697" y="2027"/>
                  </a:lnTo>
                  <a:lnTo>
                    <a:pt x="2696" y="2044"/>
                  </a:lnTo>
                  <a:lnTo>
                    <a:pt x="2695" y="2063"/>
                  </a:lnTo>
                  <a:lnTo>
                    <a:pt x="2695" y="2076"/>
                  </a:lnTo>
                  <a:lnTo>
                    <a:pt x="2697" y="2088"/>
                  </a:lnTo>
                  <a:close/>
                  <a:moveTo>
                    <a:pt x="6355" y="2492"/>
                  </a:moveTo>
                  <a:lnTo>
                    <a:pt x="6362" y="2494"/>
                  </a:lnTo>
                  <a:lnTo>
                    <a:pt x="6368" y="2497"/>
                  </a:lnTo>
                  <a:lnTo>
                    <a:pt x="6355" y="2492"/>
                  </a:lnTo>
                  <a:close/>
                  <a:moveTo>
                    <a:pt x="6355" y="2492"/>
                  </a:moveTo>
                  <a:lnTo>
                    <a:pt x="6362" y="2494"/>
                  </a:lnTo>
                  <a:lnTo>
                    <a:pt x="6368" y="2497"/>
                  </a:lnTo>
                  <a:lnTo>
                    <a:pt x="6355" y="2492"/>
                  </a:lnTo>
                  <a:close/>
                </a:path>
              </a:pathLst>
            </a:custGeom>
            <a:grpFill/>
            <a:ln w="12700">
              <a:solidFill>
                <a:srgbClr val="7D7D7D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675"/>
            </a:p>
          </p:txBody>
        </p:sp>
        <p:sp>
          <p:nvSpPr>
            <p:cNvPr id="8" name="Odesa"/>
            <p:cNvSpPr>
              <a:spLocks/>
            </p:cNvSpPr>
            <p:nvPr/>
          </p:nvSpPr>
          <p:spPr bwMode="auto">
            <a:xfrm>
              <a:off x="2057" y="2642"/>
              <a:ext cx="848" cy="1132"/>
            </a:xfrm>
            <a:custGeom>
              <a:avLst/>
              <a:gdLst>
                <a:gd name="T0" fmla="*/ 336 w 2831"/>
                <a:gd name="T1" fmla="*/ 230 h 3891"/>
                <a:gd name="T2" fmla="*/ 336 w 2831"/>
                <a:gd name="T3" fmla="*/ 230 h 3891"/>
                <a:gd name="T4" fmla="*/ 336 w 2831"/>
                <a:gd name="T5" fmla="*/ 230 h 3891"/>
                <a:gd name="T6" fmla="*/ 336 w 2831"/>
                <a:gd name="T7" fmla="*/ 230 h 3891"/>
                <a:gd name="T8" fmla="*/ 336 w 2831"/>
                <a:gd name="T9" fmla="*/ 230 h 3891"/>
                <a:gd name="T10" fmla="*/ 336 w 2831"/>
                <a:gd name="T11" fmla="*/ 230 h 3891"/>
                <a:gd name="T12" fmla="*/ 336 w 2831"/>
                <a:gd name="T13" fmla="*/ 230 h 3891"/>
                <a:gd name="T14" fmla="*/ 336 w 2831"/>
                <a:gd name="T15" fmla="*/ 230 h 3891"/>
                <a:gd name="T16" fmla="*/ 336 w 2831"/>
                <a:gd name="T17" fmla="*/ 230 h 3891"/>
                <a:gd name="T18" fmla="*/ 336 w 2831"/>
                <a:gd name="T19" fmla="*/ 230 h 3891"/>
                <a:gd name="T20" fmla="*/ 336 w 2831"/>
                <a:gd name="T21" fmla="*/ 230 h 3891"/>
                <a:gd name="T22" fmla="*/ 336 w 2831"/>
                <a:gd name="T23" fmla="*/ 230 h 3891"/>
                <a:gd name="T24" fmla="*/ 336 w 2831"/>
                <a:gd name="T25" fmla="*/ 230 h 3891"/>
                <a:gd name="T26" fmla="*/ 336 w 2831"/>
                <a:gd name="T27" fmla="*/ 230 h 3891"/>
                <a:gd name="T28" fmla="*/ 336 w 2831"/>
                <a:gd name="T29" fmla="*/ 230 h 3891"/>
                <a:gd name="T30" fmla="*/ 336 w 2831"/>
                <a:gd name="T31" fmla="*/ 230 h 3891"/>
                <a:gd name="T32" fmla="*/ 336 w 2831"/>
                <a:gd name="T33" fmla="*/ 230 h 3891"/>
                <a:gd name="T34" fmla="*/ 336 w 2831"/>
                <a:gd name="T35" fmla="*/ 230 h 3891"/>
                <a:gd name="T36" fmla="*/ 336 w 2831"/>
                <a:gd name="T37" fmla="*/ 230 h 3891"/>
                <a:gd name="T38" fmla="*/ 336 w 2831"/>
                <a:gd name="T39" fmla="*/ 230 h 3891"/>
                <a:gd name="T40" fmla="*/ 336 w 2831"/>
                <a:gd name="T41" fmla="*/ 230 h 3891"/>
                <a:gd name="T42" fmla="*/ 336 w 2831"/>
                <a:gd name="T43" fmla="*/ 230 h 3891"/>
                <a:gd name="T44" fmla="*/ 336 w 2831"/>
                <a:gd name="T45" fmla="*/ 230 h 3891"/>
                <a:gd name="T46" fmla="*/ 336 w 2831"/>
                <a:gd name="T47" fmla="*/ 230 h 3891"/>
                <a:gd name="T48" fmla="*/ 336 w 2831"/>
                <a:gd name="T49" fmla="*/ 230 h 3891"/>
                <a:gd name="T50" fmla="*/ 336 w 2831"/>
                <a:gd name="T51" fmla="*/ 230 h 3891"/>
                <a:gd name="T52" fmla="*/ 336 w 2831"/>
                <a:gd name="T53" fmla="*/ 230 h 3891"/>
                <a:gd name="T54" fmla="*/ 336 w 2831"/>
                <a:gd name="T55" fmla="*/ 230 h 3891"/>
                <a:gd name="T56" fmla="*/ 336 w 2831"/>
                <a:gd name="T57" fmla="*/ 230 h 3891"/>
                <a:gd name="T58" fmla="*/ 336 w 2831"/>
                <a:gd name="T59" fmla="*/ 230 h 3891"/>
                <a:gd name="T60" fmla="*/ 336 w 2831"/>
                <a:gd name="T61" fmla="*/ 230 h 3891"/>
                <a:gd name="T62" fmla="*/ 336 w 2831"/>
                <a:gd name="T63" fmla="*/ 230 h 3891"/>
                <a:gd name="T64" fmla="*/ 336 w 2831"/>
                <a:gd name="T65" fmla="*/ 230 h 3891"/>
                <a:gd name="T66" fmla="*/ 336 w 2831"/>
                <a:gd name="T67" fmla="*/ 230 h 3891"/>
                <a:gd name="T68" fmla="*/ 336 w 2831"/>
                <a:gd name="T69" fmla="*/ 230 h 3891"/>
                <a:gd name="T70" fmla="*/ 336 w 2831"/>
                <a:gd name="T71" fmla="*/ 230 h 3891"/>
                <a:gd name="T72" fmla="*/ 336 w 2831"/>
                <a:gd name="T73" fmla="*/ 230 h 3891"/>
                <a:gd name="T74" fmla="*/ 336 w 2831"/>
                <a:gd name="T75" fmla="*/ 230 h 3891"/>
                <a:gd name="T76" fmla="*/ 336 w 2831"/>
                <a:gd name="T77" fmla="*/ 230 h 3891"/>
                <a:gd name="T78" fmla="*/ 336 w 2831"/>
                <a:gd name="T79" fmla="*/ 230 h 3891"/>
                <a:gd name="T80" fmla="*/ 336 w 2831"/>
                <a:gd name="T81" fmla="*/ 230 h 3891"/>
                <a:gd name="T82" fmla="*/ 336 w 2831"/>
                <a:gd name="T83" fmla="*/ 230 h 3891"/>
                <a:gd name="T84" fmla="*/ 336 w 2831"/>
                <a:gd name="T85" fmla="*/ 230 h 3891"/>
                <a:gd name="T86" fmla="*/ 336 w 2831"/>
                <a:gd name="T87" fmla="*/ 230 h 3891"/>
                <a:gd name="T88" fmla="*/ 336 w 2831"/>
                <a:gd name="T89" fmla="*/ 230 h 3891"/>
                <a:gd name="T90" fmla="*/ 336 w 2831"/>
                <a:gd name="T91" fmla="*/ 230 h 3891"/>
                <a:gd name="T92" fmla="*/ 336 w 2831"/>
                <a:gd name="T93" fmla="*/ 230 h 3891"/>
                <a:gd name="T94" fmla="*/ 336 w 2831"/>
                <a:gd name="T95" fmla="*/ 230 h 3891"/>
                <a:gd name="T96" fmla="*/ 336 w 2831"/>
                <a:gd name="T97" fmla="*/ 230 h 3891"/>
                <a:gd name="T98" fmla="*/ 336 w 2831"/>
                <a:gd name="T99" fmla="*/ 230 h 3891"/>
                <a:gd name="T100" fmla="*/ 336 w 2831"/>
                <a:gd name="T101" fmla="*/ 230 h 3891"/>
                <a:gd name="T102" fmla="*/ 336 w 2831"/>
                <a:gd name="T103" fmla="*/ 230 h 3891"/>
                <a:gd name="T104" fmla="*/ 336 w 2831"/>
                <a:gd name="T105" fmla="*/ 230 h 3891"/>
                <a:gd name="T106" fmla="*/ 336 w 2831"/>
                <a:gd name="T107" fmla="*/ 230 h 3891"/>
                <a:gd name="T108" fmla="*/ 336 w 2831"/>
                <a:gd name="T109" fmla="*/ 230 h 3891"/>
                <a:gd name="T110" fmla="*/ 336 w 2831"/>
                <a:gd name="T111" fmla="*/ 230 h 3891"/>
                <a:gd name="T112" fmla="*/ 336 w 2831"/>
                <a:gd name="T113" fmla="*/ 230 h 3891"/>
                <a:gd name="T114" fmla="*/ 336 w 2831"/>
                <a:gd name="T115" fmla="*/ 230 h 3891"/>
                <a:gd name="T116" fmla="*/ 336 w 2831"/>
                <a:gd name="T117" fmla="*/ 230 h 3891"/>
                <a:gd name="T118" fmla="*/ 336 w 2831"/>
                <a:gd name="T119" fmla="*/ 230 h 3891"/>
                <a:gd name="T120" fmla="*/ 336 w 2831"/>
                <a:gd name="T121" fmla="*/ 230 h 3891"/>
                <a:gd name="T122" fmla="*/ 336 w 2831"/>
                <a:gd name="T123" fmla="*/ 230 h 3891"/>
                <a:gd name="T124" fmla="*/ 336 w 2831"/>
                <a:gd name="T125" fmla="*/ 230 h 389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831"/>
                <a:gd name="T190" fmla="*/ 0 h 3891"/>
                <a:gd name="T191" fmla="*/ 2831 w 2831"/>
                <a:gd name="T192" fmla="*/ 3891 h 389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831" h="3891">
                  <a:moveTo>
                    <a:pt x="2697" y="2088"/>
                  </a:moveTo>
                  <a:lnTo>
                    <a:pt x="2687" y="2088"/>
                  </a:lnTo>
                  <a:lnTo>
                    <a:pt x="2674" y="2089"/>
                  </a:lnTo>
                  <a:lnTo>
                    <a:pt x="2663" y="2092"/>
                  </a:lnTo>
                  <a:lnTo>
                    <a:pt x="2651" y="2095"/>
                  </a:lnTo>
                  <a:lnTo>
                    <a:pt x="2639" y="2098"/>
                  </a:lnTo>
                  <a:lnTo>
                    <a:pt x="2613" y="2103"/>
                  </a:lnTo>
                  <a:lnTo>
                    <a:pt x="2591" y="2106"/>
                  </a:lnTo>
                  <a:lnTo>
                    <a:pt x="2579" y="2107"/>
                  </a:lnTo>
                  <a:lnTo>
                    <a:pt x="2568" y="2109"/>
                  </a:lnTo>
                  <a:lnTo>
                    <a:pt x="2556" y="2112"/>
                  </a:lnTo>
                  <a:lnTo>
                    <a:pt x="2542" y="2117"/>
                  </a:lnTo>
                  <a:lnTo>
                    <a:pt x="2537" y="2119"/>
                  </a:lnTo>
                  <a:lnTo>
                    <a:pt x="2533" y="2122"/>
                  </a:lnTo>
                  <a:lnTo>
                    <a:pt x="2529" y="2126"/>
                  </a:lnTo>
                  <a:lnTo>
                    <a:pt x="2525" y="2129"/>
                  </a:lnTo>
                  <a:lnTo>
                    <a:pt x="2520" y="2134"/>
                  </a:lnTo>
                  <a:lnTo>
                    <a:pt x="2516" y="2137"/>
                  </a:lnTo>
                  <a:lnTo>
                    <a:pt x="2512" y="2139"/>
                  </a:lnTo>
                  <a:lnTo>
                    <a:pt x="2506" y="2139"/>
                  </a:lnTo>
                  <a:lnTo>
                    <a:pt x="2496" y="2138"/>
                  </a:lnTo>
                  <a:lnTo>
                    <a:pt x="2486" y="2136"/>
                  </a:lnTo>
                  <a:lnTo>
                    <a:pt x="2479" y="2137"/>
                  </a:lnTo>
                  <a:lnTo>
                    <a:pt x="2474" y="2138"/>
                  </a:lnTo>
                  <a:lnTo>
                    <a:pt x="2469" y="2141"/>
                  </a:lnTo>
                  <a:lnTo>
                    <a:pt x="2465" y="2145"/>
                  </a:lnTo>
                  <a:lnTo>
                    <a:pt x="2456" y="2152"/>
                  </a:lnTo>
                  <a:lnTo>
                    <a:pt x="2445" y="2160"/>
                  </a:lnTo>
                  <a:lnTo>
                    <a:pt x="2419" y="2175"/>
                  </a:lnTo>
                  <a:lnTo>
                    <a:pt x="2397" y="2188"/>
                  </a:lnTo>
                  <a:lnTo>
                    <a:pt x="2385" y="2193"/>
                  </a:lnTo>
                  <a:lnTo>
                    <a:pt x="2374" y="2197"/>
                  </a:lnTo>
                  <a:lnTo>
                    <a:pt x="2361" y="2200"/>
                  </a:lnTo>
                  <a:lnTo>
                    <a:pt x="2346" y="2201"/>
                  </a:lnTo>
                  <a:lnTo>
                    <a:pt x="2346" y="2212"/>
                  </a:lnTo>
                  <a:lnTo>
                    <a:pt x="2352" y="2231"/>
                  </a:lnTo>
                  <a:lnTo>
                    <a:pt x="2352" y="2254"/>
                  </a:lnTo>
                  <a:lnTo>
                    <a:pt x="2354" y="2269"/>
                  </a:lnTo>
                  <a:lnTo>
                    <a:pt x="2357" y="2280"/>
                  </a:lnTo>
                  <a:lnTo>
                    <a:pt x="2361" y="2293"/>
                  </a:lnTo>
                  <a:lnTo>
                    <a:pt x="2364" y="2307"/>
                  </a:lnTo>
                  <a:lnTo>
                    <a:pt x="2352" y="2341"/>
                  </a:lnTo>
                  <a:lnTo>
                    <a:pt x="2343" y="2372"/>
                  </a:lnTo>
                  <a:lnTo>
                    <a:pt x="2338" y="2388"/>
                  </a:lnTo>
                  <a:lnTo>
                    <a:pt x="2331" y="2401"/>
                  </a:lnTo>
                  <a:lnTo>
                    <a:pt x="2326" y="2407"/>
                  </a:lnTo>
                  <a:lnTo>
                    <a:pt x="2320" y="2413"/>
                  </a:lnTo>
                  <a:lnTo>
                    <a:pt x="2314" y="2420"/>
                  </a:lnTo>
                  <a:lnTo>
                    <a:pt x="2307" y="2426"/>
                  </a:lnTo>
                  <a:lnTo>
                    <a:pt x="2299" y="2434"/>
                  </a:lnTo>
                  <a:lnTo>
                    <a:pt x="2293" y="2442"/>
                  </a:lnTo>
                  <a:lnTo>
                    <a:pt x="2288" y="2446"/>
                  </a:lnTo>
                  <a:lnTo>
                    <a:pt x="2285" y="2450"/>
                  </a:lnTo>
                  <a:lnTo>
                    <a:pt x="2280" y="2451"/>
                  </a:lnTo>
                  <a:lnTo>
                    <a:pt x="2275" y="2452"/>
                  </a:lnTo>
                  <a:lnTo>
                    <a:pt x="2269" y="2452"/>
                  </a:lnTo>
                  <a:lnTo>
                    <a:pt x="2263" y="2451"/>
                  </a:lnTo>
                  <a:lnTo>
                    <a:pt x="2258" y="2448"/>
                  </a:lnTo>
                  <a:lnTo>
                    <a:pt x="2252" y="2446"/>
                  </a:lnTo>
                  <a:lnTo>
                    <a:pt x="2244" y="2442"/>
                  </a:lnTo>
                  <a:lnTo>
                    <a:pt x="2239" y="2440"/>
                  </a:lnTo>
                  <a:lnTo>
                    <a:pt x="2238" y="2439"/>
                  </a:lnTo>
                  <a:lnTo>
                    <a:pt x="2237" y="2440"/>
                  </a:lnTo>
                  <a:lnTo>
                    <a:pt x="2238" y="2442"/>
                  </a:lnTo>
                  <a:lnTo>
                    <a:pt x="2239" y="2445"/>
                  </a:lnTo>
                  <a:lnTo>
                    <a:pt x="2245" y="2458"/>
                  </a:lnTo>
                  <a:lnTo>
                    <a:pt x="2254" y="2477"/>
                  </a:lnTo>
                  <a:lnTo>
                    <a:pt x="2262" y="2484"/>
                  </a:lnTo>
                  <a:lnTo>
                    <a:pt x="2266" y="2491"/>
                  </a:lnTo>
                  <a:lnTo>
                    <a:pt x="2265" y="2498"/>
                  </a:lnTo>
                  <a:lnTo>
                    <a:pt x="2263" y="2505"/>
                  </a:lnTo>
                  <a:lnTo>
                    <a:pt x="2260" y="2511"/>
                  </a:lnTo>
                  <a:lnTo>
                    <a:pt x="2256" y="2518"/>
                  </a:lnTo>
                  <a:lnTo>
                    <a:pt x="2248" y="2529"/>
                  </a:lnTo>
                  <a:lnTo>
                    <a:pt x="2240" y="2542"/>
                  </a:lnTo>
                  <a:lnTo>
                    <a:pt x="2229" y="2562"/>
                  </a:lnTo>
                  <a:lnTo>
                    <a:pt x="2217" y="2580"/>
                  </a:lnTo>
                  <a:lnTo>
                    <a:pt x="2206" y="2595"/>
                  </a:lnTo>
                  <a:lnTo>
                    <a:pt x="2195" y="2610"/>
                  </a:lnTo>
                  <a:lnTo>
                    <a:pt x="2183" y="2625"/>
                  </a:lnTo>
                  <a:lnTo>
                    <a:pt x="2173" y="2641"/>
                  </a:lnTo>
                  <a:lnTo>
                    <a:pt x="2163" y="2658"/>
                  </a:lnTo>
                  <a:lnTo>
                    <a:pt x="2153" y="2679"/>
                  </a:lnTo>
                  <a:lnTo>
                    <a:pt x="2149" y="2687"/>
                  </a:lnTo>
                  <a:lnTo>
                    <a:pt x="2144" y="2694"/>
                  </a:lnTo>
                  <a:lnTo>
                    <a:pt x="2137" y="2700"/>
                  </a:lnTo>
                  <a:lnTo>
                    <a:pt x="2130" y="2708"/>
                  </a:lnTo>
                  <a:lnTo>
                    <a:pt x="2123" y="2716"/>
                  </a:lnTo>
                  <a:lnTo>
                    <a:pt x="2118" y="2723"/>
                  </a:lnTo>
                  <a:lnTo>
                    <a:pt x="2115" y="2731"/>
                  </a:lnTo>
                  <a:lnTo>
                    <a:pt x="2112" y="2739"/>
                  </a:lnTo>
                  <a:lnTo>
                    <a:pt x="2107" y="2756"/>
                  </a:lnTo>
                  <a:lnTo>
                    <a:pt x="2100" y="2774"/>
                  </a:lnTo>
                  <a:lnTo>
                    <a:pt x="2088" y="2798"/>
                  </a:lnTo>
                  <a:lnTo>
                    <a:pt x="2076" y="2819"/>
                  </a:lnTo>
                  <a:lnTo>
                    <a:pt x="2072" y="2823"/>
                  </a:lnTo>
                  <a:lnTo>
                    <a:pt x="2069" y="2827"/>
                  </a:lnTo>
                  <a:lnTo>
                    <a:pt x="2065" y="2832"/>
                  </a:lnTo>
                  <a:lnTo>
                    <a:pt x="2060" y="2835"/>
                  </a:lnTo>
                  <a:lnTo>
                    <a:pt x="2055" y="2837"/>
                  </a:lnTo>
                  <a:lnTo>
                    <a:pt x="2050" y="2839"/>
                  </a:lnTo>
                  <a:lnTo>
                    <a:pt x="2044" y="2840"/>
                  </a:lnTo>
                  <a:lnTo>
                    <a:pt x="2038" y="2840"/>
                  </a:lnTo>
                  <a:lnTo>
                    <a:pt x="2031" y="2840"/>
                  </a:lnTo>
                  <a:lnTo>
                    <a:pt x="2017" y="2848"/>
                  </a:lnTo>
                  <a:lnTo>
                    <a:pt x="2003" y="2854"/>
                  </a:lnTo>
                  <a:lnTo>
                    <a:pt x="1999" y="2846"/>
                  </a:lnTo>
                  <a:lnTo>
                    <a:pt x="1996" y="2839"/>
                  </a:lnTo>
                  <a:lnTo>
                    <a:pt x="1990" y="2832"/>
                  </a:lnTo>
                  <a:lnTo>
                    <a:pt x="1984" y="2825"/>
                  </a:lnTo>
                  <a:lnTo>
                    <a:pt x="1983" y="2829"/>
                  </a:lnTo>
                  <a:lnTo>
                    <a:pt x="1982" y="2831"/>
                  </a:lnTo>
                  <a:lnTo>
                    <a:pt x="1982" y="2842"/>
                  </a:lnTo>
                  <a:lnTo>
                    <a:pt x="1980" y="2853"/>
                  </a:lnTo>
                  <a:lnTo>
                    <a:pt x="1978" y="2863"/>
                  </a:lnTo>
                  <a:lnTo>
                    <a:pt x="1974" y="2872"/>
                  </a:lnTo>
                  <a:lnTo>
                    <a:pt x="1969" y="2881"/>
                  </a:lnTo>
                  <a:lnTo>
                    <a:pt x="1963" y="2888"/>
                  </a:lnTo>
                  <a:lnTo>
                    <a:pt x="1954" y="2896"/>
                  </a:lnTo>
                  <a:lnTo>
                    <a:pt x="1945" y="2903"/>
                  </a:lnTo>
                  <a:lnTo>
                    <a:pt x="1933" y="2909"/>
                  </a:lnTo>
                  <a:lnTo>
                    <a:pt x="1920" y="2915"/>
                  </a:lnTo>
                  <a:lnTo>
                    <a:pt x="1916" y="2919"/>
                  </a:lnTo>
                  <a:lnTo>
                    <a:pt x="1912" y="2924"/>
                  </a:lnTo>
                  <a:lnTo>
                    <a:pt x="1909" y="2929"/>
                  </a:lnTo>
                  <a:lnTo>
                    <a:pt x="1908" y="2935"/>
                  </a:lnTo>
                  <a:lnTo>
                    <a:pt x="1908" y="2959"/>
                  </a:lnTo>
                  <a:lnTo>
                    <a:pt x="1911" y="2967"/>
                  </a:lnTo>
                  <a:lnTo>
                    <a:pt x="1914" y="2975"/>
                  </a:lnTo>
                  <a:lnTo>
                    <a:pt x="1914" y="2981"/>
                  </a:lnTo>
                  <a:lnTo>
                    <a:pt x="1913" y="2988"/>
                  </a:lnTo>
                  <a:lnTo>
                    <a:pt x="1912" y="2994"/>
                  </a:lnTo>
                  <a:lnTo>
                    <a:pt x="1910" y="2999"/>
                  </a:lnTo>
                  <a:lnTo>
                    <a:pt x="1905" y="3009"/>
                  </a:lnTo>
                  <a:lnTo>
                    <a:pt x="1899" y="3019"/>
                  </a:lnTo>
                  <a:lnTo>
                    <a:pt x="1881" y="3035"/>
                  </a:lnTo>
                  <a:lnTo>
                    <a:pt x="1863" y="3054"/>
                  </a:lnTo>
                  <a:lnTo>
                    <a:pt x="1847" y="3069"/>
                  </a:lnTo>
                  <a:lnTo>
                    <a:pt x="1832" y="3083"/>
                  </a:lnTo>
                  <a:lnTo>
                    <a:pt x="1817" y="3094"/>
                  </a:lnTo>
                  <a:lnTo>
                    <a:pt x="1803" y="3104"/>
                  </a:lnTo>
                  <a:lnTo>
                    <a:pt x="1773" y="3125"/>
                  </a:lnTo>
                  <a:lnTo>
                    <a:pt x="1738" y="3147"/>
                  </a:lnTo>
                  <a:lnTo>
                    <a:pt x="1728" y="3153"/>
                  </a:lnTo>
                  <a:lnTo>
                    <a:pt x="1721" y="3159"/>
                  </a:lnTo>
                  <a:lnTo>
                    <a:pt x="1714" y="3164"/>
                  </a:lnTo>
                  <a:lnTo>
                    <a:pt x="1708" y="3170"/>
                  </a:lnTo>
                  <a:lnTo>
                    <a:pt x="1698" y="3183"/>
                  </a:lnTo>
                  <a:lnTo>
                    <a:pt x="1688" y="3196"/>
                  </a:lnTo>
                  <a:lnTo>
                    <a:pt x="1679" y="3210"/>
                  </a:lnTo>
                  <a:lnTo>
                    <a:pt x="1669" y="3223"/>
                  </a:lnTo>
                  <a:lnTo>
                    <a:pt x="1658" y="3237"/>
                  </a:lnTo>
                  <a:lnTo>
                    <a:pt x="1644" y="3253"/>
                  </a:lnTo>
                  <a:lnTo>
                    <a:pt x="1636" y="3259"/>
                  </a:lnTo>
                  <a:lnTo>
                    <a:pt x="1622" y="3267"/>
                  </a:lnTo>
                  <a:lnTo>
                    <a:pt x="1606" y="3278"/>
                  </a:lnTo>
                  <a:lnTo>
                    <a:pt x="1587" y="3287"/>
                  </a:lnTo>
                  <a:lnTo>
                    <a:pt x="1571" y="3296"/>
                  </a:lnTo>
                  <a:lnTo>
                    <a:pt x="1556" y="3302"/>
                  </a:lnTo>
                  <a:lnTo>
                    <a:pt x="1547" y="3307"/>
                  </a:lnTo>
                  <a:lnTo>
                    <a:pt x="1544" y="3307"/>
                  </a:lnTo>
                  <a:lnTo>
                    <a:pt x="1550" y="3299"/>
                  </a:lnTo>
                  <a:lnTo>
                    <a:pt x="1555" y="3294"/>
                  </a:lnTo>
                  <a:lnTo>
                    <a:pt x="1561" y="3289"/>
                  </a:lnTo>
                  <a:lnTo>
                    <a:pt x="1568" y="3285"/>
                  </a:lnTo>
                  <a:lnTo>
                    <a:pt x="1580" y="3278"/>
                  </a:lnTo>
                  <a:lnTo>
                    <a:pt x="1594" y="3268"/>
                  </a:lnTo>
                  <a:lnTo>
                    <a:pt x="1605" y="3261"/>
                  </a:lnTo>
                  <a:lnTo>
                    <a:pt x="1613" y="3255"/>
                  </a:lnTo>
                  <a:lnTo>
                    <a:pt x="1620" y="3248"/>
                  </a:lnTo>
                  <a:lnTo>
                    <a:pt x="1627" y="3242"/>
                  </a:lnTo>
                  <a:lnTo>
                    <a:pt x="1642" y="3227"/>
                  </a:lnTo>
                  <a:lnTo>
                    <a:pt x="1657" y="3211"/>
                  </a:lnTo>
                  <a:lnTo>
                    <a:pt x="1665" y="3203"/>
                  </a:lnTo>
                  <a:lnTo>
                    <a:pt x="1670" y="3195"/>
                  </a:lnTo>
                  <a:lnTo>
                    <a:pt x="1675" y="3188"/>
                  </a:lnTo>
                  <a:lnTo>
                    <a:pt x="1679" y="3181"/>
                  </a:lnTo>
                  <a:lnTo>
                    <a:pt x="1683" y="3173"/>
                  </a:lnTo>
                  <a:lnTo>
                    <a:pt x="1689" y="3166"/>
                  </a:lnTo>
                  <a:lnTo>
                    <a:pt x="1695" y="3160"/>
                  </a:lnTo>
                  <a:lnTo>
                    <a:pt x="1704" y="3154"/>
                  </a:lnTo>
                  <a:lnTo>
                    <a:pt x="1721" y="3143"/>
                  </a:lnTo>
                  <a:lnTo>
                    <a:pt x="1737" y="3132"/>
                  </a:lnTo>
                  <a:lnTo>
                    <a:pt x="1744" y="3126"/>
                  </a:lnTo>
                  <a:lnTo>
                    <a:pt x="1748" y="3119"/>
                  </a:lnTo>
                  <a:lnTo>
                    <a:pt x="1750" y="3115"/>
                  </a:lnTo>
                  <a:lnTo>
                    <a:pt x="1751" y="3110"/>
                  </a:lnTo>
                  <a:lnTo>
                    <a:pt x="1752" y="3105"/>
                  </a:lnTo>
                  <a:lnTo>
                    <a:pt x="1753" y="3100"/>
                  </a:lnTo>
                  <a:lnTo>
                    <a:pt x="1753" y="3069"/>
                  </a:lnTo>
                  <a:lnTo>
                    <a:pt x="1753" y="3059"/>
                  </a:lnTo>
                  <a:lnTo>
                    <a:pt x="1752" y="3049"/>
                  </a:lnTo>
                  <a:lnTo>
                    <a:pt x="1751" y="3045"/>
                  </a:lnTo>
                  <a:lnTo>
                    <a:pt x="1749" y="3042"/>
                  </a:lnTo>
                  <a:lnTo>
                    <a:pt x="1746" y="3040"/>
                  </a:lnTo>
                  <a:lnTo>
                    <a:pt x="1742" y="3039"/>
                  </a:lnTo>
                  <a:lnTo>
                    <a:pt x="1737" y="3040"/>
                  </a:lnTo>
                  <a:lnTo>
                    <a:pt x="1733" y="3043"/>
                  </a:lnTo>
                  <a:lnTo>
                    <a:pt x="1730" y="3046"/>
                  </a:lnTo>
                  <a:lnTo>
                    <a:pt x="1727" y="3052"/>
                  </a:lnTo>
                  <a:lnTo>
                    <a:pt x="1724" y="3063"/>
                  </a:lnTo>
                  <a:lnTo>
                    <a:pt x="1722" y="3075"/>
                  </a:lnTo>
                  <a:lnTo>
                    <a:pt x="1719" y="3091"/>
                  </a:lnTo>
                  <a:lnTo>
                    <a:pt x="1717" y="3105"/>
                  </a:lnTo>
                  <a:lnTo>
                    <a:pt x="1716" y="3112"/>
                  </a:lnTo>
                  <a:lnTo>
                    <a:pt x="1714" y="3119"/>
                  </a:lnTo>
                  <a:lnTo>
                    <a:pt x="1711" y="3126"/>
                  </a:lnTo>
                  <a:lnTo>
                    <a:pt x="1708" y="3134"/>
                  </a:lnTo>
                  <a:lnTo>
                    <a:pt x="1699" y="3132"/>
                  </a:lnTo>
                  <a:lnTo>
                    <a:pt x="1695" y="3136"/>
                  </a:lnTo>
                  <a:lnTo>
                    <a:pt x="1692" y="3141"/>
                  </a:lnTo>
                  <a:lnTo>
                    <a:pt x="1691" y="3143"/>
                  </a:lnTo>
                  <a:lnTo>
                    <a:pt x="1690" y="3146"/>
                  </a:lnTo>
                  <a:lnTo>
                    <a:pt x="1688" y="3147"/>
                  </a:lnTo>
                  <a:lnTo>
                    <a:pt x="1685" y="3147"/>
                  </a:lnTo>
                  <a:lnTo>
                    <a:pt x="1683" y="3147"/>
                  </a:lnTo>
                  <a:lnTo>
                    <a:pt x="1680" y="3146"/>
                  </a:lnTo>
                  <a:lnTo>
                    <a:pt x="1678" y="3143"/>
                  </a:lnTo>
                  <a:lnTo>
                    <a:pt x="1677" y="3141"/>
                  </a:lnTo>
                  <a:lnTo>
                    <a:pt x="1675" y="3136"/>
                  </a:lnTo>
                  <a:lnTo>
                    <a:pt x="1674" y="3129"/>
                  </a:lnTo>
                  <a:lnTo>
                    <a:pt x="1673" y="3123"/>
                  </a:lnTo>
                  <a:lnTo>
                    <a:pt x="1671" y="3116"/>
                  </a:lnTo>
                  <a:lnTo>
                    <a:pt x="1670" y="3112"/>
                  </a:lnTo>
                  <a:lnTo>
                    <a:pt x="1668" y="3110"/>
                  </a:lnTo>
                  <a:lnTo>
                    <a:pt x="1666" y="3108"/>
                  </a:lnTo>
                  <a:lnTo>
                    <a:pt x="1664" y="3107"/>
                  </a:lnTo>
                  <a:lnTo>
                    <a:pt x="1649" y="3102"/>
                  </a:lnTo>
                  <a:lnTo>
                    <a:pt x="1637" y="3097"/>
                  </a:lnTo>
                  <a:lnTo>
                    <a:pt x="1632" y="3094"/>
                  </a:lnTo>
                  <a:lnTo>
                    <a:pt x="1626" y="3090"/>
                  </a:lnTo>
                  <a:lnTo>
                    <a:pt x="1625" y="3088"/>
                  </a:lnTo>
                  <a:lnTo>
                    <a:pt x="1624" y="3085"/>
                  </a:lnTo>
                  <a:lnTo>
                    <a:pt x="1623" y="3082"/>
                  </a:lnTo>
                  <a:lnTo>
                    <a:pt x="1623" y="3078"/>
                  </a:lnTo>
                  <a:lnTo>
                    <a:pt x="1623" y="3070"/>
                  </a:lnTo>
                  <a:lnTo>
                    <a:pt x="1624" y="3063"/>
                  </a:lnTo>
                  <a:lnTo>
                    <a:pt x="1626" y="3056"/>
                  </a:lnTo>
                  <a:lnTo>
                    <a:pt x="1628" y="3049"/>
                  </a:lnTo>
                  <a:lnTo>
                    <a:pt x="1631" y="3042"/>
                  </a:lnTo>
                  <a:lnTo>
                    <a:pt x="1633" y="3036"/>
                  </a:lnTo>
                  <a:lnTo>
                    <a:pt x="1634" y="3028"/>
                  </a:lnTo>
                  <a:lnTo>
                    <a:pt x="1634" y="3021"/>
                  </a:lnTo>
                  <a:lnTo>
                    <a:pt x="1633" y="3016"/>
                  </a:lnTo>
                  <a:lnTo>
                    <a:pt x="1629" y="3013"/>
                  </a:lnTo>
                  <a:lnTo>
                    <a:pt x="1623" y="3016"/>
                  </a:lnTo>
                  <a:lnTo>
                    <a:pt x="1617" y="3021"/>
                  </a:lnTo>
                  <a:lnTo>
                    <a:pt x="1613" y="3025"/>
                  </a:lnTo>
                  <a:lnTo>
                    <a:pt x="1609" y="3029"/>
                  </a:lnTo>
                  <a:lnTo>
                    <a:pt x="1606" y="3035"/>
                  </a:lnTo>
                  <a:lnTo>
                    <a:pt x="1604" y="3040"/>
                  </a:lnTo>
                  <a:lnTo>
                    <a:pt x="1603" y="3046"/>
                  </a:lnTo>
                  <a:lnTo>
                    <a:pt x="1602" y="3054"/>
                  </a:lnTo>
                  <a:lnTo>
                    <a:pt x="1603" y="3059"/>
                  </a:lnTo>
                  <a:lnTo>
                    <a:pt x="1604" y="3063"/>
                  </a:lnTo>
                  <a:lnTo>
                    <a:pt x="1606" y="3067"/>
                  </a:lnTo>
                  <a:lnTo>
                    <a:pt x="1607" y="3070"/>
                  </a:lnTo>
                  <a:lnTo>
                    <a:pt x="1609" y="3073"/>
                  </a:lnTo>
                  <a:lnTo>
                    <a:pt x="1611" y="3077"/>
                  </a:lnTo>
                  <a:lnTo>
                    <a:pt x="1612" y="3082"/>
                  </a:lnTo>
                  <a:lnTo>
                    <a:pt x="1612" y="3087"/>
                  </a:lnTo>
                  <a:lnTo>
                    <a:pt x="1612" y="3091"/>
                  </a:lnTo>
                  <a:lnTo>
                    <a:pt x="1611" y="3094"/>
                  </a:lnTo>
                  <a:lnTo>
                    <a:pt x="1609" y="3097"/>
                  </a:lnTo>
                  <a:lnTo>
                    <a:pt x="1607" y="3101"/>
                  </a:lnTo>
                  <a:lnTo>
                    <a:pt x="1602" y="3109"/>
                  </a:lnTo>
                  <a:lnTo>
                    <a:pt x="1598" y="3119"/>
                  </a:lnTo>
                  <a:lnTo>
                    <a:pt x="1596" y="3128"/>
                  </a:lnTo>
                  <a:lnTo>
                    <a:pt x="1596" y="3138"/>
                  </a:lnTo>
                  <a:lnTo>
                    <a:pt x="1596" y="3148"/>
                  </a:lnTo>
                  <a:lnTo>
                    <a:pt x="1598" y="3155"/>
                  </a:lnTo>
                  <a:lnTo>
                    <a:pt x="1599" y="3162"/>
                  </a:lnTo>
                  <a:lnTo>
                    <a:pt x="1600" y="3170"/>
                  </a:lnTo>
                  <a:lnTo>
                    <a:pt x="1600" y="3177"/>
                  </a:lnTo>
                  <a:lnTo>
                    <a:pt x="1598" y="3182"/>
                  </a:lnTo>
                  <a:lnTo>
                    <a:pt x="1595" y="3186"/>
                  </a:lnTo>
                  <a:lnTo>
                    <a:pt x="1592" y="3191"/>
                  </a:lnTo>
                  <a:lnTo>
                    <a:pt x="1584" y="3174"/>
                  </a:lnTo>
                  <a:lnTo>
                    <a:pt x="1579" y="3160"/>
                  </a:lnTo>
                  <a:lnTo>
                    <a:pt x="1574" y="3144"/>
                  </a:lnTo>
                  <a:lnTo>
                    <a:pt x="1569" y="3127"/>
                  </a:lnTo>
                  <a:lnTo>
                    <a:pt x="1567" y="3132"/>
                  </a:lnTo>
                  <a:lnTo>
                    <a:pt x="1573" y="3197"/>
                  </a:lnTo>
                  <a:lnTo>
                    <a:pt x="1573" y="3203"/>
                  </a:lnTo>
                  <a:lnTo>
                    <a:pt x="1574" y="3207"/>
                  </a:lnTo>
                  <a:lnTo>
                    <a:pt x="1576" y="3212"/>
                  </a:lnTo>
                  <a:lnTo>
                    <a:pt x="1577" y="3216"/>
                  </a:lnTo>
                  <a:lnTo>
                    <a:pt x="1579" y="3220"/>
                  </a:lnTo>
                  <a:lnTo>
                    <a:pt x="1580" y="3226"/>
                  </a:lnTo>
                  <a:lnTo>
                    <a:pt x="1581" y="3233"/>
                  </a:lnTo>
                  <a:lnTo>
                    <a:pt x="1581" y="3243"/>
                  </a:lnTo>
                  <a:lnTo>
                    <a:pt x="1575" y="3236"/>
                  </a:lnTo>
                  <a:lnTo>
                    <a:pt x="1571" y="3229"/>
                  </a:lnTo>
                  <a:lnTo>
                    <a:pt x="1567" y="3223"/>
                  </a:lnTo>
                  <a:lnTo>
                    <a:pt x="1562" y="3216"/>
                  </a:lnTo>
                  <a:lnTo>
                    <a:pt x="1558" y="3210"/>
                  </a:lnTo>
                  <a:lnTo>
                    <a:pt x="1554" y="3204"/>
                  </a:lnTo>
                  <a:lnTo>
                    <a:pt x="1551" y="3202"/>
                  </a:lnTo>
                  <a:lnTo>
                    <a:pt x="1548" y="3201"/>
                  </a:lnTo>
                  <a:lnTo>
                    <a:pt x="1545" y="3200"/>
                  </a:lnTo>
                  <a:lnTo>
                    <a:pt x="1541" y="3200"/>
                  </a:lnTo>
                  <a:lnTo>
                    <a:pt x="1529" y="3201"/>
                  </a:lnTo>
                  <a:lnTo>
                    <a:pt x="1520" y="3204"/>
                  </a:lnTo>
                  <a:lnTo>
                    <a:pt x="1512" y="3209"/>
                  </a:lnTo>
                  <a:lnTo>
                    <a:pt x="1504" y="3213"/>
                  </a:lnTo>
                  <a:lnTo>
                    <a:pt x="1495" y="3218"/>
                  </a:lnTo>
                  <a:lnTo>
                    <a:pt x="1486" y="3222"/>
                  </a:lnTo>
                  <a:lnTo>
                    <a:pt x="1477" y="3225"/>
                  </a:lnTo>
                  <a:lnTo>
                    <a:pt x="1467" y="3226"/>
                  </a:lnTo>
                  <a:lnTo>
                    <a:pt x="1459" y="3226"/>
                  </a:lnTo>
                  <a:lnTo>
                    <a:pt x="1452" y="3226"/>
                  </a:lnTo>
                  <a:lnTo>
                    <a:pt x="1451" y="3232"/>
                  </a:lnTo>
                  <a:lnTo>
                    <a:pt x="1452" y="3238"/>
                  </a:lnTo>
                  <a:lnTo>
                    <a:pt x="1452" y="3246"/>
                  </a:lnTo>
                  <a:lnTo>
                    <a:pt x="1453" y="3251"/>
                  </a:lnTo>
                  <a:lnTo>
                    <a:pt x="1455" y="3257"/>
                  </a:lnTo>
                  <a:lnTo>
                    <a:pt x="1457" y="3262"/>
                  </a:lnTo>
                  <a:lnTo>
                    <a:pt x="1460" y="3266"/>
                  </a:lnTo>
                  <a:lnTo>
                    <a:pt x="1463" y="3270"/>
                  </a:lnTo>
                  <a:lnTo>
                    <a:pt x="1468" y="3275"/>
                  </a:lnTo>
                  <a:lnTo>
                    <a:pt x="1472" y="3279"/>
                  </a:lnTo>
                  <a:lnTo>
                    <a:pt x="1481" y="3286"/>
                  </a:lnTo>
                  <a:lnTo>
                    <a:pt x="1492" y="3292"/>
                  </a:lnTo>
                  <a:lnTo>
                    <a:pt x="1504" y="3298"/>
                  </a:lnTo>
                  <a:lnTo>
                    <a:pt x="1516" y="3304"/>
                  </a:lnTo>
                  <a:lnTo>
                    <a:pt x="1508" y="3314"/>
                  </a:lnTo>
                  <a:lnTo>
                    <a:pt x="1499" y="3322"/>
                  </a:lnTo>
                  <a:lnTo>
                    <a:pt x="1490" y="3329"/>
                  </a:lnTo>
                  <a:lnTo>
                    <a:pt x="1482" y="3340"/>
                  </a:lnTo>
                  <a:lnTo>
                    <a:pt x="1495" y="3340"/>
                  </a:lnTo>
                  <a:lnTo>
                    <a:pt x="1508" y="3336"/>
                  </a:lnTo>
                  <a:lnTo>
                    <a:pt x="1519" y="3332"/>
                  </a:lnTo>
                  <a:lnTo>
                    <a:pt x="1521" y="3332"/>
                  </a:lnTo>
                  <a:lnTo>
                    <a:pt x="1521" y="3333"/>
                  </a:lnTo>
                  <a:lnTo>
                    <a:pt x="1520" y="3335"/>
                  </a:lnTo>
                  <a:lnTo>
                    <a:pt x="1518" y="3337"/>
                  </a:lnTo>
                  <a:lnTo>
                    <a:pt x="1510" y="3341"/>
                  </a:lnTo>
                  <a:lnTo>
                    <a:pt x="1501" y="3346"/>
                  </a:lnTo>
                  <a:lnTo>
                    <a:pt x="1480" y="3357"/>
                  </a:lnTo>
                  <a:lnTo>
                    <a:pt x="1468" y="3364"/>
                  </a:lnTo>
                  <a:lnTo>
                    <a:pt x="1450" y="3386"/>
                  </a:lnTo>
                  <a:lnTo>
                    <a:pt x="1431" y="3405"/>
                  </a:lnTo>
                  <a:lnTo>
                    <a:pt x="1427" y="3409"/>
                  </a:lnTo>
                  <a:lnTo>
                    <a:pt x="1422" y="3412"/>
                  </a:lnTo>
                  <a:lnTo>
                    <a:pt x="1417" y="3415"/>
                  </a:lnTo>
                  <a:lnTo>
                    <a:pt x="1412" y="3417"/>
                  </a:lnTo>
                  <a:lnTo>
                    <a:pt x="1406" y="3419"/>
                  </a:lnTo>
                  <a:lnTo>
                    <a:pt x="1400" y="3420"/>
                  </a:lnTo>
                  <a:lnTo>
                    <a:pt x="1393" y="3421"/>
                  </a:lnTo>
                  <a:lnTo>
                    <a:pt x="1386" y="3421"/>
                  </a:lnTo>
                  <a:lnTo>
                    <a:pt x="1389" y="3415"/>
                  </a:lnTo>
                  <a:lnTo>
                    <a:pt x="1392" y="3412"/>
                  </a:lnTo>
                  <a:lnTo>
                    <a:pt x="1396" y="3409"/>
                  </a:lnTo>
                  <a:lnTo>
                    <a:pt x="1402" y="3406"/>
                  </a:lnTo>
                  <a:lnTo>
                    <a:pt x="1412" y="3402"/>
                  </a:lnTo>
                  <a:lnTo>
                    <a:pt x="1423" y="3396"/>
                  </a:lnTo>
                  <a:lnTo>
                    <a:pt x="1436" y="3386"/>
                  </a:lnTo>
                  <a:lnTo>
                    <a:pt x="1447" y="3377"/>
                  </a:lnTo>
                  <a:lnTo>
                    <a:pt x="1452" y="3372"/>
                  </a:lnTo>
                  <a:lnTo>
                    <a:pt x="1456" y="3365"/>
                  </a:lnTo>
                  <a:lnTo>
                    <a:pt x="1460" y="3359"/>
                  </a:lnTo>
                  <a:lnTo>
                    <a:pt x="1462" y="3351"/>
                  </a:lnTo>
                  <a:lnTo>
                    <a:pt x="1460" y="3350"/>
                  </a:lnTo>
                  <a:lnTo>
                    <a:pt x="1458" y="3349"/>
                  </a:lnTo>
                  <a:lnTo>
                    <a:pt x="1454" y="3349"/>
                  </a:lnTo>
                  <a:lnTo>
                    <a:pt x="1450" y="3350"/>
                  </a:lnTo>
                  <a:lnTo>
                    <a:pt x="1447" y="3351"/>
                  </a:lnTo>
                  <a:lnTo>
                    <a:pt x="1444" y="3353"/>
                  </a:lnTo>
                  <a:lnTo>
                    <a:pt x="1438" y="3358"/>
                  </a:lnTo>
                  <a:lnTo>
                    <a:pt x="1433" y="3363"/>
                  </a:lnTo>
                  <a:lnTo>
                    <a:pt x="1427" y="3369"/>
                  </a:lnTo>
                  <a:lnTo>
                    <a:pt x="1421" y="3374"/>
                  </a:lnTo>
                  <a:lnTo>
                    <a:pt x="1418" y="3376"/>
                  </a:lnTo>
                  <a:lnTo>
                    <a:pt x="1415" y="3377"/>
                  </a:lnTo>
                  <a:lnTo>
                    <a:pt x="1411" y="3378"/>
                  </a:lnTo>
                  <a:lnTo>
                    <a:pt x="1407" y="3378"/>
                  </a:lnTo>
                  <a:lnTo>
                    <a:pt x="1402" y="3378"/>
                  </a:lnTo>
                  <a:lnTo>
                    <a:pt x="1395" y="3377"/>
                  </a:lnTo>
                  <a:lnTo>
                    <a:pt x="1393" y="3354"/>
                  </a:lnTo>
                  <a:lnTo>
                    <a:pt x="1390" y="3335"/>
                  </a:lnTo>
                  <a:lnTo>
                    <a:pt x="1387" y="3325"/>
                  </a:lnTo>
                  <a:lnTo>
                    <a:pt x="1384" y="3316"/>
                  </a:lnTo>
                  <a:lnTo>
                    <a:pt x="1380" y="3306"/>
                  </a:lnTo>
                  <a:lnTo>
                    <a:pt x="1375" y="3295"/>
                  </a:lnTo>
                  <a:lnTo>
                    <a:pt x="1371" y="3291"/>
                  </a:lnTo>
                  <a:lnTo>
                    <a:pt x="1368" y="3288"/>
                  </a:lnTo>
                  <a:lnTo>
                    <a:pt x="1362" y="3284"/>
                  </a:lnTo>
                  <a:lnTo>
                    <a:pt x="1358" y="3282"/>
                  </a:lnTo>
                  <a:lnTo>
                    <a:pt x="1355" y="3279"/>
                  </a:lnTo>
                  <a:lnTo>
                    <a:pt x="1351" y="3275"/>
                  </a:lnTo>
                  <a:lnTo>
                    <a:pt x="1349" y="3270"/>
                  </a:lnTo>
                  <a:lnTo>
                    <a:pt x="1349" y="3265"/>
                  </a:lnTo>
                  <a:lnTo>
                    <a:pt x="1353" y="3253"/>
                  </a:lnTo>
                  <a:lnTo>
                    <a:pt x="1357" y="3239"/>
                  </a:lnTo>
                  <a:lnTo>
                    <a:pt x="1355" y="3230"/>
                  </a:lnTo>
                  <a:lnTo>
                    <a:pt x="1353" y="3223"/>
                  </a:lnTo>
                  <a:lnTo>
                    <a:pt x="1350" y="3215"/>
                  </a:lnTo>
                  <a:lnTo>
                    <a:pt x="1349" y="3206"/>
                  </a:lnTo>
                  <a:lnTo>
                    <a:pt x="1350" y="3196"/>
                  </a:lnTo>
                  <a:lnTo>
                    <a:pt x="1353" y="3188"/>
                  </a:lnTo>
                  <a:lnTo>
                    <a:pt x="1355" y="3179"/>
                  </a:lnTo>
                  <a:lnTo>
                    <a:pt x="1357" y="3169"/>
                  </a:lnTo>
                  <a:lnTo>
                    <a:pt x="1356" y="3164"/>
                  </a:lnTo>
                  <a:lnTo>
                    <a:pt x="1355" y="3160"/>
                  </a:lnTo>
                  <a:lnTo>
                    <a:pt x="1354" y="3156"/>
                  </a:lnTo>
                  <a:lnTo>
                    <a:pt x="1352" y="3153"/>
                  </a:lnTo>
                  <a:lnTo>
                    <a:pt x="1348" y="3147"/>
                  </a:lnTo>
                  <a:lnTo>
                    <a:pt x="1342" y="3140"/>
                  </a:lnTo>
                  <a:lnTo>
                    <a:pt x="1335" y="3135"/>
                  </a:lnTo>
                  <a:lnTo>
                    <a:pt x="1328" y="3130"/>
                  </a:lnTo>
                  <a:lnTo>
                    <a:pt x="1321" y="3124"/>
                  </a:lnTo>
                  <a:lnTo>
                    <a:pt x="1315" y="3117"/>
                  </a:lnTo>
                  <a:lnTo>
                    <a:pt x="1315" y="3131"/>
                  </a:lnTo>
                  <a:lnTo>
                    <a:pt x="1316" y="3146"/>
                  </a:lnTo>
                  <a:lnTo>
                    <a:pt x="1316" y="3162"/>
                  </a:lnTo>
                  <a:lnTo>
                    <a:pt x="1316" y="3178"/>
                  </a:lnTo>
                  <a:lnTo>
                    <a:pt x="1315" y="3185"/>
                  </a:lnTo>
                  <a:lnTo>
                    <a:pt x="1314" y="3192"/>
                  </a:lnTo>
                  <a:lnTo>
                    <a:pt x="1311" y="3199"/>
                  </a:lnTo>
                  <a:lnTo>
                    <a:pt x="1308" y="3207"/>
                  </a:lnTo>
                  <a:lnTo>
                    <a:pt x="1303" y="3215"/>
                  </a:lnTo>
                  <a:lnTo>
                    <a:pt x="1298" y="3221"/>
                  </a:lnTo>
                  <a:lnTo>
                    <a:pt x="1296" y="3225"/>
                  </a:lnTo>
                  <a:lnTo>
                    <a:pt x="1294" y="3228"/>
                  </a:lnTo>
                  <a:lnTo>
                    <a:pt x="1293" y="3232"/>
                  </a:lnTo>
                  <a:lnTo>
                    <a:pt x="1293" y="3236"/>
                  </a:lnTo>
                  <a:lnTo>
                    <a:pt x="1294" y="3243"/>
                  </a:lnTo>
                  <a:lnTo>
                    <a:pt x="1296" y="3248"/>
                  </a:lnTo>
                  <a:lnTo>
                    <a:pt x="1299" y="3253"/>
                  </a:lnTo>
                  <a:lnTo>
                    <a:pt x="1304" y="3258"/>
                  </a:lnTo>
                  <a:lnTo>
                    <a:pt x="1293" y="3265"/>
                  </a:lnTo>
                  <a:lnTo>
                    <a:pt x="1286" y="3274"/>
                  </a:lnTo>
                  <a:lnTo>
                    <a:pt x="1279" y="3283"/>
                  </a:lnTo>
                  <a:lnTo>
                    <a:pt x="1275" y="3293"/>
                  </a:lnTo>
                  <a:lnTo>
                    <a:pt x="1271" y="3304"/>
                  </a:lnTo>
                  <a:lnTo>
                    <a:pt x="1269" y="3315"/>
                  </a:lnTo>
                  <a:lnTo>
                    <a:pt x="1268" y="3327"/>
                  </a:lnTo>
                  <a:lnTo>
                    <a:pt x="1268" y="3340"/>
                  </a:lnTo>
                  <a:lnTo>
                    <a:pt x="1268" y="3407"/>
                  </a:lnTo>
                  <a:lnTo>
                    <a:pt x="1266" y="3418"/>
                  </a:lnTo>
                  <a:lnTo>
                    <a:pt x="1264" y="3427"/>
                  </a:lnTo>
                  <a:lnTo>
                    <a:pt x="1262" y="3438"/>
                  </a:lnTo>
                  <a:lnTo>
                    <a:pt x="1261" y="3449"/>
                  </a:lnTo>
                  <a:lnTo>
                    <a:pt x="1261" y="3453"/>
                  </a:lnTo>
                  <a:lnTo>
                    <a:pt x="1262" y="3457"/>
                  </a:lnTo>
                  <a:lnTo>
                    <a:pt x="1264" y="3462"/>
                  </a:lnTo>
                  <a:lnTo>
                    <a:pt x="1268" y="3465"/>
                  </a:lnTo>
                  <a:lnTo>
                    <a:pt x="1270" y="3468"/>
                  </a:lnTo>
                  <a:lnTo>
                    <a:pt x="1274" y="3470"/>
                  </a:lnTo>
                  <a:lnTo>
                    <a:pt x="1278" y="3472"/>
                  </a:lnTo>
                  <a:lnTo>
                    <a:pt x="1282" y="3473"/>
                  </a:lnTo>
                  <a:lnTo>
                    <a:pt x="1291" y="3475"/>
                  </a:lnTo>
                  <a:lnTo>
                    <a:pt x="1302" y="3477"/>
                  </a:lnTo>
                  <a:lnTo>
                    <a:pt x="1312" y="3477"/>
                  </a:lnTo>
                  <a:lnTo>
                    <a:pt x="1321" y="3477"/>
                  </a:lnTo>
                  <a:lnTo>
                    <a:pt x="1320" y="3492"/>
                  </a:lnTo>
                  <a:lnTo>
                    <a:pt x="1318" y="3507"/>
                  </a:lnTo>
                  <a:lnTo>
                    <a:pt x="1311" y="3512"/>
                  </a:lnTo>
                  <a:lnTo>
                    <a:pt x="1304" y="3516"/>
                  </a:lnTo>
                  <a:lnTo>
                    <a:pt x="1297" y="3521"/>
                  </a:lnTo>
                  <a:lnTo>
                    <a:pt x="1292" y="3529"/>
                  </a:lnTo>
                  <a:lnTo>
                    <a:pt x="1287" y="3536"/>
                  </a:lnTo>
                  <a:lnTo>
                    <a:pt x="1283" y="3542"/>
                  </a:lnTo>
                  <a:lnTo>
                    <a:pt x="1281" y="3545"/>
                  </a:lnTo>
                  <a:lnTo>
                    <a:pt x="1278" y="3547"/>
                  </a:lnTo>
                  <a:lnTo>
                    <a:pt x="1275" y="3549"/>
                  </a:lnTo>
                  <a:lnTo>
                    <a:pt x="1271" y="3549"/>
                  </a:lnTo>
                  <a:lnTo>
                    <a:pt x="1261" y="3548"/>
                  </a:lnTo>
                  <a:lnTo>
                    <a:pt x="1252" y="3546"/>
                  </a:lnTo>
                  <a:lnTo>
                    <a:pt x="1257" y="3557"/>
                  </a:lnTo>
                  <a:lnTo>
                    <a:pt x="1263" y="3566"/>
                  </a:lnTo>
                  <a:lnTo>
                    <a:pt x="1270" y="3574"/>
                  </a:lnTo>
                  <a:lnTo>
                    <a:pt x="1277" y="3581"/>
                  </a:lnTo>
                  <a:lnTo>
                    <a:pt x="1290" y="3597"/>
                  </a:lnTo>
                  <a:lnTo>
                    <a:pt x="1304" y="3615"/>
                  </a:lnTo>
                  <a:lnTo>
                    <a:pt x="1308" y="3609"/>
                  </a:lnTo>
                  <a:lnTo>
                    <a:pt x="1311" y="3602"/>
                  </a:lnTo>
                  <a:lnTo>
                    <a:pt x="1312" y="3595"/>
                  </a:lnTo>
                  <a:lnTo>
                    <a:pt x="1314" y="3587"/>
                  </a:lnTo>
                  <a:lnTo>
                    <a:pt x="1315" y="3580"/>
                  </a:lnTo>
                  <a:lnTo>
                    <a:pt x="1317" y="3574"/>
                  </a:lnTo>
                  <a:lnTo>
                    <a:pt x="1319" y="3571"/>
                  </a:lnTo>
                  <a:lnTo>
                    <a:pt x="1321" y="3569"/>
                  </a:lnTo>
                  <a:lnTo>
                    <a:pt x="1324" y="3566"/>
                  </a:lnTo>
                  <a:lnTo>
                    <a:pt x="1327" y="3564"/>
                  </a:lnTo>
                  <a:lnTo>
                    <a:pt x="1332" y="3573"/>
                  </a:lnTo>
                  <a:lnTo>
                    <a:pt x="1336" y="3581"/>
                  </a:lnTo>
                  <a:lnTo>
                    <a:pt x="1338" y="3591"/>
                  </a:lnTo>
                  <a:lnTo>
                    <a:pt x="1341" y="3601"/>
                  </a:lnTo>
                  <a:lnTo>
                    <a:pt x="1345" y="3599"/>
                  </a:lnTo>
                  <a:lnTo>
                    <a:pt x="1349" y="3596"/>
                  </a:lnTo>
                  <a:lnTo>
                    <a:pt x="1353" y="3594"/>
                  </a:lnTo>
                  <a:lnTo>
                    <a:pt x="1358" y="3593"/>
                  </a:lnTo>
                  <a:lnTo>
                    <a:pt x="1360" y="3594"/>
                  </a:lnTo>
                  <a:lnTo>
                    <a:pt x="1362" y="3595"/>
                  </a:lnTo>
                  <a:lnTo>
                    <a:pt x="1364" y="3596"/>
                  </a:lnTo>
                  <a:lnTo>
                    <a:pt x="1367" y="3598"/>
                  </a:lnTo>
                  <a:lnTo>
                    <a:pt x="1370" y="3602"/>
                  </a:lnTo>
                  <a:lnTo>
                    <a:pt x="1372" y="3607"/>
                  </a:lnTo>
                  <a:lnTo>
                    <a:pt x="1377" y="3598"/>
                  </a:lnTo>
                  <a:lnTo>
                    <a:pt x="1381" y="3590"/>
                  </a:lnTo>
                  <a:lnTo>
                    <a:pt x="1386" y="3581"/>
                  </a:lnTo>
                  <a:lnTo>
                    <a:pt x="1392" y="3573"/>
                  </a:lnTo>
                  <a:lnTo>
                    <a:pt x="1397" y="3581"/>
                  </a:lnTo>
                  <a:lnTo>
                    <a:pt x="1401" y="3591"/>
                  </a:lnTo>
                  <a:lnTo>
                    <a:pt x="1403" y="3599"/>
                  </a:lnTo>
                  <a:lnTo>
                    <a:pt x="1404" y="3607"/>
                  </a:lnTo>
                  <a:lnTo>
                    <a:pt x="1406" y="3625"/>
                  </a:lnTo>
                  <a:lnTo>
                    <a:pt x="1408" y="3644"/>
                  </a:lnTo>
                  <a:lnTo>
                    <a:pt x="1403" y="3665"/>
                  </a:lnTo>
                  <a:lnTo>
                    <a:pt x="1403" y="3689"/>
                  </a:lnTo>
                  <a:lnTo>
                    <a:pt x="1404" y="3705"/>
                  </a:lnTo>
                  <a:lnTo>
                    <a:pt x="1407" y="3720"/>
                  </a:lnTo>
                  <a:lnTo>
                    <a:pt x="1410" y="3734"/>
                  </a:lnTo>
                  <a:lnTo>
                    <a:pt x="1411" y="3751"/>
                  </a:lnTo>
                  <a:lnTo>
                    <a:pt x="1411" y="3773"/>
                  </a:lnTo>
                  <a:lnTo>
                    <a:pt x="1410" y="3785"/>
                  </a:lnTo>
                  <a:lnTo>
                    <a:pt x="1408" y="3795"/>
                  </a:lnTo>
                  <a:lnTo>
                    <a:pt x="1405" y="3805"/>
                  </a:lnTo>
                  <a:lnTo>
                    <a:pt x="1401" y="3815"/>
                  </a:lnTo>
                  <a:lnTo>
                    <a:pt x="1396" y="3824"/>
                  </a:lnTo>
                  <a:lnTo>
                    <a:pt x="1393" y="3833"/>
                  </a:lnTo>
                  <a:lnTo>
                    <a:pt x="1390" y="3844"/>
                  </a:lnTo>
                  <a:lnTo>
                    <a:pt x="1390" y="3855"/>
                  </a:lnTo>
                  <a:lnTo>
                    <a:pt x="1390" y="3871"/>
                  </a:lnTo>
                  <a:lnTo>
                    <a:pt x="1389" y="3877"/>
                  </a:lnTo>
                  <a:lnTo>
                    <a:pt x="1387" y="3880"/>
                  </a:lnTo>
                  <a:lnTo>
                    <a:pt x="1385" y="3883"/>
                  </a:lnTo>
                  <a:lnTo>
                    <a:pt x="1381" y="3885"/>
                  </a:lnTo>
                  <a:lnTo>
                    <a:pt x="1372" y="3888"/>
                  </a:lnTo>
                  <a:lnTo>
                    <a:pt x="1361" y="3891"/>
                  </a:lnTo>
                  <a:lnTo>
                    <a:pt x="1350" y="3858"/>
                  </a:lnTo>
                  <a:lnTo>
                    <a:pt x="1339" y="3829"/>
                  </a:lnTo>
                  <a:lnTo>
                    <a:pt x="1332" y="3815"/>
                  </a:lnTo>
                  <a:lnTo>
                    <a:pt x="1325" y="3801"/>
                  </a:lnTo>
                  <a:lnTo>
                    <a:pt x="1318" y="3789"/>
                  </a:lnTo>
                  <a:lnTo>
                    <a:pt x="1311" y="3776"/>
                  </a:lnTo>
                  <a:lnTo>
                    <a:pt x="1303" y="3764"/>
                  </a:lnTo>
                  <a:lnTo>
                    <a:pt x="1294" y="3753"/>
                  </a:lnTo>
                  <a:lnTo>
                    <a:pt x="1285" y="3741"/>
                  </a:lnTo>
                  <a:lnTo>
                    <a:pt x="1275" y="3730"/>
                  </a:lnTo>
                  <a:lnTo>
                    <a:pt x="1263" y="3720"/>
                  </a:lnTo>
                  <a:lnTo>
                    <a:pt x="1252" y="3709"/>
                  </a:lnTo>
                  <a:lnTo>
                    <a:pt x="1240" y="3698"/>
                  </a:lnTo>
                  <a:lnTo>
                    <a:pt x="1226" y="3688"/>
                  </a:lnTo>
                  <a:lnTo>
                    <a:pt x="1194" y="3663"/>
                  </a:lnTo>
                  <a:lnTo>
                    <a:pt x="1164" y="3641"/>
                  </a:lnTo>
                  <a:lnTo>
                    <a:pt x="1157" y="3637"/>
                  </a:lnTo>
                  <a:lnTo>
                    <a:pt x="1149" y="3633"/>
                  </a:lnTo>
                  <a:lnTo>
                    <a:pt x="1141" y="3630"/>
                  </a:lnTo>
                  <a:lnTo>
                    <a:pt x="1132" y="3627"/>
                  </a:lnTo>
                  <a:lnTo>
                    <a:pt x="1123" y="3625"/>
                  </a:lnTo>
                  <a:lnTo>
                    <a:pt x="1114" y="3623"/>
                  </a:lnTo>
                  <a:lnTo>
                    <a:pt x="1105" y="3622"/>
                  </a:lnTo>
                  <a:lnTo>
                    <a:pt x="1094" y="3622"/>
                  </a:lnTo>
                  <a:lnTo>
                    <a:pt x="1068" y="3622"/>
                  </a:lnTo>
                  <a:lnTo>
                    <a:pt x="1045" y="3623"/>
                  </a:lnTo>
                  <a:lnTo>
                    <a:pt x="1023" y="3624"/>
                  </a:lnTo>
                  <a:lnTo>
                    <a:pt x="1001" y="3627"/>
                  </a:lnTo>
                  <a:lnTo>
                    <a:pt x="980" y="3630"/>
                  </a:lnTo>
                  <a:lnTo>
                    <a:pt x="959" y="3635"/>
                  </a:lnTo>
                  <a:lnTo>
                    <a:pt x="936" y="3641"/>
                  </a:lnTo>
                  <a:lnTo>
                    <a:pt x="913" y="3649"/>
                  </a:lnTo>
                  <a:lnTo>
                    <a:pt x="903" y="3655"/>
                  </a:lnTo>
                  <a:lnTo>
                    <a:pt x="896" y="3660"/>
                  </a:lnTo>
                  <a:lnTo>
                    <a:pt x="890" y="3666"/>
                  </a:lnTo>
                  <a:lnTo>
                    <a:pt x="884" y="3672"/>
                  </a:lnTo>
                  <a:lnTo>
                    <a:pt x="878" y="3678"/>
                  </a:lnTo>
                  <a:lnTo>
                    <a:pt x="870" y="3683"/>
                  </a:lnTo>
                  <a:lnTo>
                    <a:pt x="866" y="3685"/>
                  </a:lnTo>
                  <a:lnTo>
                    <a:pt x="862" y="3687"/>
                  </a:lnTo>
                  <a:lnTo>
                    <a:pt x="858" y="3688"/>
                  </a:lnTo>
                  <a:lnTo>
                    <a:pt x="853" y="3688"/>
                  </a:lnTo>
                  <a:lnTo>
                    <a:pt x="843" y="3687"/>
                  </a:lnTo>
                  <a:lnTo>
                    <a:pt x="833" y="3685"/>
                  </a:lnTo>
                  <a:lnTo>
                    <a:pt x="824" y="3681"/>
                  </a:lnTo>
                  <a:lnTo>
                    <a:pt x="816" y="3678"/>
                  </a:lnTo>
                  <a:lnTo>
                    <a:pt x="808" y="3674"/>
                  </a:lnTo>
                  <a:lnTo>
                    <a:pt x="798" y="3671"/>
                  </a:lnTo>
                  <a:lnTo>
                    <a:pt x="789" y="3669"/>
                  </a:lnTo>
                  <a:lnTo>
                    <a:pt x="778" y="3669"/>
                  </a:lnTo>
                  <a:lnTo>
                    <a:pt x="768" y="3669"/>
                  </a:lnTo>
                  <a:lnTo>
                    <a:pt x="760" y="3672"/>
                  </a:lnTo>
                  <a:lnTo>
                    <a:pt x="753" y="3676"/>
                  </a:lnTo>
                  <a:lnTo>
                    <a:pt x="746" y="3680"/>
                  </a:lnTo>
                  <a:lnTo>
                    <a:pt x="732" y="3693"/>
                  </a:lnTo>
                  <a:lnTo>
                    <a:pt x="719" y="3706"/>
                  </a:lnTo>
                  <a:lnTo>
                    <a:pt x="701" y="3724"/>
                  </a:lnTo>
                  <a:lnTo>
                    <a:pt x="686" y="3739"/>
                  </a:lnTo>
                  <a:lnTo>
                    <a:pt x="679" y="3748"/>
                  </a:lnTo>
                  <a:lnTo>
                    <a:pt x="672" y="3758"/>
                  </a:lnTo>
                  <a:lnTo>
                    <a:pt x="667" y="3768"/>
                  </a:lnTo>
                  <a:lnTo>
                    <a:pt x="662" y="3780"/>
                  </a:lnTo>
                  <a:lnTo>
                    <a:pt x="660" y="3787"/>
                  </a:lnTo>
                  <a:lnTo>
                    <a:pt x="657" y="3793"/>
                  </a:lnTo>
                  <a:lnTo>
                    <a:pt x="653" y="3798"/>
                  </a:lnTo>
                  <a:lnTo>
                    <a:pt x="649" y="3803"/>
                  </a:lnTo>
                  <a:lnTo>
                    <a:pt x="644" y="3807"/>
                  </a:lnTo>
                  <a:lnTo>
                    <a:pt x="637" y="3811"/>
                  </a:lnTo>
                  <a:lnTo>
                    <a:pt x="631" y="3812"/>
                  </a:lnTo>
                  <a:lnTo>
                    <a:pt x="625" y="3813"/>
                  </a:lnTo>
                  <a:lnTo>
                    <a:pt x="617" y="3813"/>
                  </a:lnTo>
                  <a:lnTo>
                    <a:pt x="610" y="3812"/>
                  </a:lnTo>
                  <a:lnTo>
                    <a:pt x="602" y="3810"/>
                  </a:lnTo>
                  <a:lnTo>
                    <a:pt x="596" y="3808"/>
                  </a:lnTo>
                  <a:lnTo>
                    <a:pt x="585" y="3802"/>
                  </a:lnTo>
                  <a:lnTo>
                    <a:pt x="573" y="3796"/>
                  </a:lnTo>
                  <a:lnTo>
                    <a:pt x="552" y="3780"/>
                  </a:lnTo>
                  <a:lnTo>
                    <a:pt x="528" y="3761"/>
                  </a:lnTo>
                  <a:lnTo>
                    <a:pt x="521" y="3770"/>
                  </a:lnTo>
                  <a:lnTo>
                    <a:pt x="514" y="3779"/>
                  </a:lnTo>
                  <a:lnTo>
                    <a:pt x="510" y="3783"/>
                  </a:lnTo>
                  <a:lnTo>
                    <a:pt x="507" y="3788"/>
                  </a:lnTo>
                  <a:lnTo>
                    <a:pt x="505" y="3793"/>
                  </a:lnTo>
                  <a:lnTo>
                    <a:pt x="504" y="3798"/>
                  </a:lnTo>
                  <a:lnTo>
                    <a:pt x="505" y="3807"/>
                  </a:lnTo>
                  <a:lnTo>
                    <a:pt x="507" y="3816"/>
                  </a:lnTo>
                  <a:lnTo>
                    <a:pt x="511" y="3823"/>
                  </a:lnTo>
                  <a:lnTo>
                    <a:pt x="515" y="3830"/>
                  </a:lnTo>
                  <a:lnTo>
                    <a:pt x="524" y="3844"/>
                  </a:lnTo>
                  <a:lnTo>
                    <a:pt x="533" y="3860"/>
                  </a:lnTo>
                  <a:lnTo>
                    <a:pt x="518" y="3858"/>
                  </a:lnTo>
                  <a:lnTo>
                    <a:pt x="504" y="3859"/>
                  </a:lnTo>
                  <a:lnTo>
                    <a:pt x="491" y="3861"/>
                  </a:lnTo>
                  <a:lnTo>
                    <a:pt x="479" y="3864"/>
                  </a:lnTo>
                  <a:lnTo>
                    <a:pt x="466" y="3867"/>
                  </a:lnTo>
                  <a:lnTo>
                    <a:pt x="453" y="3870"/>
                  </a:lnTo>
                  <a:lnTo>
                    <a:pt x="439" y="3874"/>
                  </a:lnTo>
                  <a:lnTo>
                    <a:pt x="424" y="3874"/>
                  </a:lnTo>
                  <a:lnTo>
                    <a:pt x="410" y="3874"/>
                  </a:lnTo>
                  <a:lnTo>
                    <a:pt x="396" y="3871"/>
                  </a:lnTo>
                  <a:lnTo>
                    <a:pt x="384" y="3868"/>
                  </a:lnTo>
                  <a:lnTo>
                    <a:pt x="371" y="3864"/>
                  </a:lnTo>
                  <a:lnTo>
                    <a:pt x="361" y="3859"/>
                  </a:lnTo>
                  <a:lnTo>
                    <a:pt x="350" y="3854"/>
                  </a:lnTo>
                  <a:lnTo>
                    <a:pt x="339" y="3848"/>
                  </a:lnTo>
                  <a:lnTo>
                    <a:pt x="329" y="3840"/>
                  </a:lnTo>
                  <a:lnTo>
                    <a:pt x="309" y="3825"/>
                  </a:lnTo>
                  <a:lnTo>
                    <a:pt x="289" y="3810"/>
                  </a:lnTo>
                  <a:lnTo>
                    <a:pt x="278" y="3801"/>
                  </a:lnTo>
                  <a:lnTo>
                    <a:pt x="266" y="3794"/>
                  </a:lnTo>
                  <a:lnTo>
                    <a:pt x="254" y="3787"/>
                  </a:lnTo>
                  <a:lnTo>
                    <a:pt x="240" y="3780"/>
                  </a:lnTo>
                  <a:lnTo>
                    <a:pt x="197" y="3759"/>
                  </a:lnTo>
                  <a:lnTo>
                    <a:pt x="158" y="3740"/>
                  </a:lnTo>
                  <a:lnTo>
                    <a:pt x="150" y="3735"/>
                  </a:lnTo>
                  <a:lnTo>
                    <a:pt x="140" y="3729"/>
                  </a:lnTo>
                  <a:lnTo>
                    <a:pt x="132" y="3723"/>
                  </a:lnTo>
                  <a:lnTo>
                    <a:pt x="124" y="3716"/>
                  </a:lnTo>
                  <a:lnTo>
                    <a:pt x="117" y="3708"/>
                  </a:lnTo>
                  <a:lnTo>
                    <a:pt x="108" y="3700"/>
                  </a:lnTo>
                  <a:lnTo>
                    <a:pt x="101" y="3691"/>
                  </a:lnTo>
                  <a:lnTo>
                    <a:pt x="94" y="3680"/>
                  </a:lnTo>
                  <a:lnTo>
                    <a:pt x="89" y="3670"/>
                  </a:lnTo>
                  <a:lnTo>
                    <a:pt x="85" y="3661"/>
                  </a:lnTo>
                  <a:lnTo>
                    <a:pt x="81" y="3652"/>
                  </a:lnTo>
                  <a:lnTo>
                    <a:pt x="77" y="3641"/>
                  </a:lnTo>
                  <a:lnTo>
                    <a:pt x="74" y="3632"/>
                  </a:lnTo>
                  <a:lnTo>
                    <a:pt x="70" y="3624"/>
                  </a:lnTo>
                  <a:lnTo>
                    <a:pt x="66" y="3614"/>
                  </a:lnTo>
                  <a:lnTo>
                    <a:pt x="59" y="3605"/>
                  </a:lnTo>
                  <a:lnTo>
                    <a:pt x="52" y="3598"/>
                  </a:lnTo>
                  <a:lnTo>
                    <a:pt x="44" y="3592"/>
                  </a:lnTo>
                  <a:lnTo>
                    <a:pt x="36" y="3586"/>
                  </a:lnTo>
                  <a:lnTo>
                    <a:pt x="29" y="3581"/>
                  </a:lnTo>
                  <a:lnTo>
                    <a:pt x="21" y="3576"/>
                  </a:lnTo>
                  <a:lnTo>
                    <a:pt x="14" y="3570"/>
                  </a:lnTo>
                  <a:lnTo>
                    <a:pt x="6" y="3564"/>
                  </a:lnTo>
                  <a:lnTo>
                    <a:pt x="0" y="3555"/>
                  </a:lnTo>
                  <a:lnTo>
                    <a:pt x="12" y="3539"/>
                  </a:lnTo>
                  <a:lnTo>
                    <a:pt x="25" y="3523"/>
                  </a:lnTo>
                  <a:lnTo>
                    <a:pt x="31" y="3516"/>
                  </a:lnTo>
                  <a:lnTo>
                    <a:pt x="38" y="3510"/>
                  </a:lnTo>
                  <a:lnTo>
                    <a:pt x="45" y="3504"/>
                  </a:lnTo>
                  <a:lnTo>
                    <a:pt x="53" y="3499"/>
                  </a:lnTo>
                  <a:lnTo>
                    <a:pt x="61" y="3494"/>
                  </a:lnTo>
                  <a:lnTo>
                    <a:pt x="69" y="3489"/>
                  </a:lnTo>
                  <a:lnTo>
                    <a:pt x="77" y="3486"/>
                  </a:lnTo>
                  <a:lnTo>
                    <a:pt x="86" y="3483"/>
                  </a:lnTo>
                  <a:lnTo>
                    <a:pt x="95" y="3480"/>
                  </a:lnTo>
                  <a:lnTo>
                    <a:pt x="104" y="3479"/>
                  </a:lnTo>
                  <a:lnTo>
                    <a:pt x="115" y="3478"/>
                  </a:lnTo>
                  <a:lnTo>
                    <a:pt x="125" y="3477"/>
                  </a:lnTo>
                  <a:lnTo>
                    <a:pt x="138" y="3478"/>
                  </a:lnTo>
                  <a:lnTo>
                    <a:pt x="152" y="3480"/>
                  </a:lnTo>
                  <a:lnTo>
                    <a:pt x="163" y="3482"/>
                  </a:lnTo>
                  <a:lnTo>
                    <a:pt x="174" y="3484"/>
                  </a:lnTo>
                  <a:lnTo>
                    <a:pt x="186" y="3487"/>
                  </a:lnTo>
                  <a:lnTo>
                    <a:pt x="197" y="3489"/>
                  </a:lnTo>
                  <a:lnTo>
                    <a:pt x="210" y="3491"/>
                  </a:lnTo>
                  <a:lnTo>
                    <a:pt x="224" y="3491"/>
                  </a:lnTo>
                  <a:lnTo>
                    <a:pt x="227" y="3491"/>
                  </a:lnTo>
                  <a:lnTo>
                    <a:pt x="230" y="3490"/>
                  </a:lnTo>
                  <a:lnTo>
                    <a:pt x="232" y="3489"/>
                  </a:lnTo>
                  <a:lnTo>
                    <a:pt x="235" y="3487"/>
                  </a:lnTo>
                  <a:lnTo>
                    <a:pt x="239" y="3483"/>
                  </a:lnTo>
                  <a:lnTo>
                    <a:pt x="246" y="3480"/>
                  </a:lnTo>
                  <a:lnTo>
                    <a:pt x="249" y="3476"/>
                  </a:lnTo>
                  <a:lnTo>
                    <a:pt x="252" y="3472"/>
                  </a:lnTo>
                  <a:lnTo>
                    <a:pt x="256" y="3468"/>
                  </a:lnTo>
                  <a:lnTo>
                    <a:pt x="259" y="3466"/>
                  </a:lnTo>
                  <a:lnTo>
                    <a:pt x="265" y="3467"/>
                  </a:lnTo>
                  <a:lnTo>
                    <a:pt x="269" y="3470"/>
                  </a:lnTo>
                  <a:lnTo>
                    <a:pt x="273" y="3474"/>
                  </a:lnTo>
                  <a:lnTo>
                    <a:pt x="279" y="3477"/>
                  </a:lnTo>
                  <a:lnTo>
                    <a:pt x="289" y="3427"/>
                  </a:lnTo>
                  <a:lnTo>
                    <a:pt x="289" y="3315"/>
                  </a:lnTo>
                  <a:lnTo>
                    <a:pt x="279" y="3246"/>
                  </a:lnTo>
                  <a:lnTo>
                    <a:pt x="280" y="3237"/>
                  </a:lnTo>
                  <a:lnTo>
                    <a:pt x="282" y="3230"/>
                  </a:lnTo>
                  <a:lnTo>
                    <a:pt x="285" y="3223"/>
                  </a:lnTo>
                  <a:lnTo>
                    <a:pt x="289" y="3217"/>
                  </a:lnTo>
                  <a:lnTo>
                    <a:pt x="293" y="3211"/>
                  </a:lnTo>
                  <a:lnTo>
                    <a:pt x="298" y="3205"/>
                  </a:lnTo>
                  <a:lnTo>
                    <a:pt x="304" y="3200"/>
                  </a:lnTo>
                  <a:lnTo>
                    <a:pt x="311" y="3195"/>
                  </a:lnTo>
                  <a:lnTo>
                    <a:pt x="324" y="3187"/>
                  </a:lnTo>
                  <a:lnTo>
                    <a:pt x="338" y="3180"/>
                  </a:lnTo>
                  <a:lnTo>
                    <a:pt x="354" y="3172"/>
                  </a:lnTo>
                  <a:lnTo>
                    <a:pt x="370" y="3166"/>
                  </a:lnTo>
                  <a:lnTo>
                    <a:pt x="383" y="3160"/>
                  </a:lnTo>
                  <a:lnTo>
                    <a:pt x="394" y="3153"/>
                  </a:lnTo>
                  <a:lnTo>
                    <a:pt x="403" y="3147"/>
                  </a:lnTo>
                  <a:lnTo>
                    <a:pt x="413" y="3138"/>
                  </a:lnTo>
                  <a:lnTo>
                    <a:pt x="429" y="3122"/>
                  </a:lnTo>
                  <a:lnTo>
                    <a:pt x="448" y="3102"/>
                  </a:lnTo>
                  <a:lnTo>
                    <a:pt x="470" y="3083"/>
                  </a:lnTo>
                  <a:lnTo>
                    <a:pt x="491" y="3066"/>
                  </a:lnTo>
                  <a:lnTo>
                    <a:pt x="500" y="3058"/>
                  </a:lnTo>
                  <a:lnTo>
                    <a:pt x="509" y="3047"/>
                  </a:lnTo>
                  <a:lnTo>
                    <a:pt x="513" y="3042"/>
                  </a:lnTo>
                  <a:lnTo>
                    <a:pt x="516" y="3036"/>
                  </a:lnTo>
                  <a:lnTo>
                    <a:pt x="519" y="3029"/>
                  </a:lnTo>
                  <a:lnTo>
                    <a:pt x="521" y="3022"/>
                  </a:lnTo>
                  <a:lnTo>
                    <a:pt x="523" y="3014"/>
                  </a:lnTo>
                  <a:lnTo>
                    <a:pt x="524" y="3008"/>
                  </a:lnTo>
                  <a:lnTo>
                    <a:pt x="524" y="3001"/>
                  </a:lnTo>
                  <a:lnTo>
                    <a:pt x="523" y="2995"/>
                  </a:lnTo>
                  <a:lnTo>
                    <a:pt x="522" y="2981"/>
                  </a:lnTo>
                  <a:lnTo>
                    <a:pt x="519" y="2969"/>
                  </a:lnTo>
                  <a:lnTo>
                    <a:pt x="518" y="2957"/>
                  </a:lnTo>
                  <a:lnTo>
                    <a:pt x="517" y="2944"/>
                  </a:lnTo>
                  <a:lnTo>
                    <a:pt x="518" y="2938"/>
                  </a:lnTo>
                  <a:lnTo>
                    <a:pt x="520" y="2933"/>
                  </a:lnTo>
                  <a:lnTo>
                    <a:pt x="522" y="2927"/>
                  </a:lnTo>
                  <a:lnTo>
                    <a:pt x="526" y="2920"/>
                  </a:lnTo>
                  <a:lnTo>
                    <a:pt x="530" y="2914"/>
                  </a:lnTo>
                  <a:lnTo>
                    <a:pt x="535" y="2908"/>
                  </a:lnTo>
                  <a:lnTo>
                    <a:pt x="540" y="2903"/>
                  </a:lnTo>
                  <a:lnTo>
                    <a:pt x="547" y="2898"/>
                  </a:lnTo>
                  <a:lnTo>
                    <a:pt x="558" y="2889"/>
                  </a:lnTo>
                  <a:lnTo>
                    <a:pt x="571" y="2882"/>
                  </a:lnTo>
                  <a:lnTo>
                    <a:pt x="597" y="2870"/>
                  </a:lnTo>
                  <a:lnTo>
                    <a:pt x="624" y="2861"/>
                  </a:lnTo>
                  <a:lnTo>
                    <a:pt x="637" y="2855"/>
                  </a:lnTo>
                  <a:lnTo>
                    <a:pt x="651" y="2850"/>
                  </a:lnTo>
                  <a:lnTo>
                    <a:pt x="662" y="2844"/>
                  </a:lnTo>
                  <a:lnTo>
                    <a:pt x="674" y="2837"/>
                  </a:lnTo>
                  <a:lnTo>
                    <a:pt x="684" y="2829"/>
                  </a:lnTo>
                  <a:lnTo>
                    <a:pt x="693" y="2819"/>
                  </a:lnTo>
                  <a:lnTo>
                    <a:pt x="697" y="2813"/>
                  </a:lnTo>
                  <a:lnTo>
                    <a:pt x="701" y="2807"/>
                  </a:lnTo>
                  <a:lnTo>
                    <a:pt x="704" y="2801"/>
                  </a:lnTo>
                  <a:lnTo>
                    <a:pt x="708" y="2792"/>
                  </a:lnTo>
                  <a:lnTo>
                    <a:pt x="711" y="2780"/>
                  </a:lnTo>
                  <a:lnTo>
                    <a:pt x="713" y="2768"/>
                  </a:lnTo>
                  <a:lnTo>
                    <a:pt x="714" y="2756"/>
                  </a:lnTo>
                  <a:lnTo>
                    <a:pt x="715" y="2745"/>
                  </a:lnTo>
                  <a:lnTo>
                    <a:pt x="715" y="2734"/>
                  </a:lnTo>
                  <a:lnTo>
                    <a:pt x="716" y="2721"/>
                  </a:lnTo>
                  <a:lnTo>
                    <a:pt x="718" y="2709"/>
                  </a:lnTo>
                  <a:lnTo>
                    <a:pt x="721" y="2696"/>
                  </a:lnTo>
                  <a:lnTo>
                    <a:pt x="727" y="2681"/>
                  </a:lnTo>
                  <a:lnTo>
                    <a:pt x="734" y="2667"/>
                  </a:lnTo>
                  <a:lnTo>
                    <a:pt x="742" y="2656"/>
                  </a:lnTo>
                  <a:lnTo>
                    <a:pt x="750" y="2644"/>
                  </a:lnTo>
                  <a:lnTo>
                    <a:pt x="757" y="2632"/>
                  </a:lnTo>
                  <a:lnTo>
                    <a:pt x="763" y="2620"/>
                  </a:lnTo>
                  <a:lnTo>
                    <a:pt x="765" y="2613"/>
                  </a:lnTo>
                  <a:lnTo>
                    <a:pt x="767" y="2605"/>
                  </a:lnTo>
                  <a:lnTo>
                    <a:pt x="768" y="2598"/>
                  </a:lnTo>
                  <a:lnTo>
                    <a:pt x="768" y="2590"/>
                  </a:lnTo>
                  <a:lnTo>
                    <a:pt x="767" y="2582"/>
                  </a:lnTo>
                  <a:lnTo>
                    <a:pt x="765" y="2573"/>
                  </a:lnTo>
                  <a:lnTo>
                    <a:pt x="761" y="2567"/>
                  </a:lnTo>
                  <a:lnTo>
                    <a:pt x="756" y="2561"/>
                  </a:lnTo>
                  <a:lnTo>
                    <a:pt x="744" y="2551"/>
                  </a:lnTo>
                  <a:lnTo>
                    <a:pt x="728" y="2541"/>
                  </a:lnTo>
                  <a:lnTo>
                    <a:pt x="714" y="2532"/>
                  </a:lnTo>
                  <a:lnTo>
                    <a:pt x="701" y="2522"/>
                  </a:lnTo>
                  <a:lnTo>
                    <a:pt x="696" y="2516"/>
                  </a:lnTo>
                  <a:lnTo>
                    <a:pt x="692" y="2509"/>
                  </a:lnTo>
                  <a:lnTo>
                    <a:pt x="689" y="2502"/>
                  </a:lnTo>
                  <a:lnTo>
                    <a:pt x="688" y="2493"/>
                  </a:lnTo>
                  <a:lnTo>
                    <a:pt x="689" y="2488"/>
                  </a:lnTo>
                  <a:lnTo>
                    <a:pt x="690" y="2483"/>
                  </a:lnTo>
                  <a:lnTo>
                    <a:pt x="691" y="2478"/>
                  </a:lnTo>
                  <a:lnTo>
                    <a:pt x="692" y="2473"/>
                  </a:lnTo>
                  <a:lnTo>
                    <a:pt x="697" y="2465"/>
                  </a:lnTo>
                  <a:lnTo>
                    <a:pt x="702" y="2458"/>
                  </a:lnTo>
                  <a:lnTo>
                    <a:pt x="708" y="2450"/>
                  </a:lnTo>
                  <a:lnTo>
                    <a:pt x="713" y="2442"/>
                  </a:lnTo>
                  <a:lnTo>
                    <a:pt x="717" y="2433"/>
                  </a:lnTo>
                  <a:lnTo>
                    <a:pt x="719" y="2423"/>
                  </a:lnTo>
                  <a:lnTo>
                    <a:pt x="704" y="2328"/>
                  </a:lnTo>
                  <a:lnTo>
                    <a:pt x="707" y="2323"/>
                  </a:lnTo>
                  <a:lnTo>
                    <a:pt x="708" y="2318"/>
                  </a:lnTo>
                  <a:lnTo>
                    <a:pt x="711" y="2314"/>
                  </a:lnTo>
                  <a:lnTo>
                    <a:pt x="713" y="2310"/>
                  </a:lnTo>
                  <a:lnTo>
                    <a:pt x="720" y="2305"/>
                  </a:lnTo>
                  <a:lnTo>
                    <a:pt x="728" y="2300"/>
                  </a:lnTo>
                  <a:lnTo>
                    <a:pt x="747" y="2293"/>
                  </a:lnTo>
                  <a:lnTo>
                    <a:pt x="766" y="2283"/>
                  </a:lnTo>
                  <a:lnTo>
                    <a:pt x="779" y="2276"/>
                  </a:lnTo>
                  <a:lnTo>
                    <a:pt x="791" y="2270"/>
                  </a:lnTo>
                  <a:lnTo>
                    <a:pt x="804" y="2265"/>
                  </a:lnTo>
                  <a:lnTo>
                    <a:pt x="816" y="2260"/>
                  </a:lnTo>
                  <a:lnTo>
                    <a:pt x="841" y="2253"/>
                  </a:lnTo>
                  <a:lnTo>
                    <a:pt x="864" y="2246"/>
                  </a:lnTo>
                  <a:lnTo>
                    <a:pt x="876" y="2243"/>
                  </a:lnTo>
                  <a:lnTo>
                    <a:pt x="888" y="2239"/>
                  </a:lnTo>
                  <a:lnTo>
                    <a:pt x="899" y="2235"/>
                  </a:lnTo>
                  <a:lnTo>
                    <a:pt x="911" y="2230"/>
                  </a:lnTo>
                  <a:lnTo>
                    <a:pt x="922" y="2223"/>
                  </a:lnTo>
                  <a:lnTo>
                    <a:pt x="932" y="2217"/>
                  </a:lnTo>
                  <a:lnTo>
                    <a:pt x="944" y="2208"/>
                  </a:lnTo>
                  <a:lnTo>
                    <a:pt x="955" y="2198"/>
                  </a:lnTo>
                  <a:lnTo>
                    <a:pt x="966" y="2269"/>
                  </a:lnTo>
                  <a:lnTo>
                    <a:pt x="966" y="2313"/>
                  </a:lnTo>
                  <a:lnTo>
                    <a:pt x="966" y="2319"/>
                  </a:lnTo>
                  <a:lnTo>
                    <a:pt x="964" y="2325"/>
                  </a:lnTo>
                  <a:lnTo>
                    <a:pt x="963" y="2330"/>
                  </a:lnTo>
                  <a:lnTo>
                    <a:pt x="960" y="2335"/>
                  </a:lnTo>
                  <a:lnTo>
                    <a:pt x="958" y="2340"/>
                  </a:lnTo>
                  <a:lnTo>
                    <a:pt x="957" y="2345"/>
                  </a:lnTo>
                  <a:lnTo>
                    <a:pt x="955" y="2350"/>
                  </a:lnTo>
                  <a:lnTo>
                    <a:pt x="955" y="2357"/>
                  </a:lnTo>
                  <a:lnTo>
                    <a:pt x="956" y="2363"/>
                  </a:lnTo>
                  <a:lnTo>
                    <a:pt x="957" y="2368"/>
                  </a:lnTo>
                  <a:lnTo>
                    <a:pt x="964" y="2366"/>
                  </a:lnTo>
                  <a:lnTo>
                    <a:pt x="971" y="2363"/>
                  </a:lnTo>
                  <a:lnTo>
                    <a:pt x="977" y="2359"/>
                  </a:lnTo>
                  <a:lnTo>
                    <a:pt x="982" y="2356"/>
                  </a:lnTo>
                  <a:lnTo>
                    <a:pt x="987" y="2350"/>
                  </a:lnTo>
                  <a:lnTo>
                    <a:pt x="991" y="2345"/>
                  </a:lnTo>
                  <a:lnTo>
                    <a:pt x="994" y="2339"/>
                  </a:lnTo>
                  <a:lnTo>
                    <a:pt x="997" y="2333"/>
                  </a:lnTo>
                  <a:lnTo>
                    <a:pt x="999" y="2320"/>
                  </a:lnTo>
                  <a:lnTo>
                    <a:pt x="1002" y="2308"/>
                  </a:lnTo>
                  <a:lnTo>
                    <a:pt x="1005" y="2303"/>
                  </a:lnTo>
                  <a:lnTo>
                    <a:pt x="1007" y="2299"/>
                  </a:lnTo>
                  <a:lnTo>
                    <a:pt x="1009" y="2297"/>
                  </a:lnTo>
                  <a:lnTo>
                    <a:pt x="1011" y="2296"/>
                  </a:lnTo>
                  <a:lnTo>
                    <a:pt x="1013" y="2295"/>
                  </a:lnTo>
                  <a:lnTo>
                    <a:pt x="1016" y="2295"/>
                  </a:lnTo>
                  <a:lnTo>
                    <a:pt x="1022" y="2296"/>
                  </a:lnTo>
                  <a:lnTo>
                    <a:pt x="1028" y="2298"/>
                  </a:lnTo>
                  <a:lnTo>
                    <a:pt x="1033" y="2300"/>
                  </a:lnTo>
                  <a:lnTo>
                    <a:pt x="1040" y="2302"/>
                  </a:lnTo>
                  <a:lnTo>
                    <a:pt x="1078" y="2285"/>
                  </a:lnTo>
                  <a:lnTo>
                    <a:pt x="1086" y="2289"/>
                  </a:lnTo>
                  <a:lnTo>
                    <a:pt x="1093" y="2295"/>
                  </a:lnTo>
                  <a:lnTo>
                    <a:pt x="1099" y="2301"/>
                  </a:lnTo>
                  <a:lnTo>
                    <a:pt x="1104" y="2308"/>
                  </a:lnTo>
                  <a:lnTo>
                    <a:pt x="1112" y="2324"/>
                  </a:lnTo>
                  <a:lnTo>
                    <a:pt x="1120" y="2342"/>
                  </a:lnTo>
                  <a:lnTo>
                    <a:pt x="1130" y="2337"/>
                  </a:lnTo>
                  <a:lnTo>
                    <a:pt x="1141" y="2330"/>
                  </a:lnTo>
                  <a:lnTo>
                    <a:pt x="1145" y="2327"/>
                  </a:lnTo>
                  <a:lnTo>
                    <a:pt x="1148" y="2323"/>
                  </a:lnTo>
                  <a:lnTo>
                    <a:pt x="1150" y="2317"/>
                  </a:lnTo>
                  <a:lnTo>
                    <a:pt x="1150" y="2311"/>
                  </a:lnTo>
                  <a:lnTo>
                    <a:pt x="1146" y="2298"/>
                  </a:lnTo>
                  <a:lnTo>
                    <a:pt x="1141" y="2283"/>
                  </a:lnTo>
                  <a:lnTo>
                    <a:pt x="1141" y="2269"/>
                  </a:lnTo>
                  <a:lnTo>
                    <a:pt x="1160" y="2269"/>
                  </a:lnTo>
                  <a:lnTo>
                    <a:pt x="1210" y="2283"/>
                  </a:lnTo>
                  <a:lnTo>
                    <a:pt x="1218" y="2269"/>
                  </a:lnTo>
                  <a:lnTo>
                    <a:pt x="1226" y="2254"/>
                  </a:lnTo>
                  <a:lnTo>
                    <a:pt x="1229" y="2261"/>
                  </a:lnTo>
                  <a:lnTo>
                    <a:pt x="1232" y="2266"/>
                  </a:lnTo>
                  <a:lnTo>
                    <a:pt x="1233" y="2272"/>
                  </a:lnTo>
                  <a:lnTo>
                    <a:pt x="1236" y="2278"/>
                  </a:lnTo>
                  <a:lnTo>
                    <a:pt x="1237" y="2290"/>
                  </a:lnTo>
                  <a:lnTo>
                    <a:pt x="1237" y="2303"/>
                  </a:lnTo>
                  <a:lnTo>
                    <a:pt x="1238" y="2314"/>
                  </a:lnTo>
                  <a:lnTo>
                    <a:pt x="1241" y="2326"/>
                  </a:lnTo>
                  <a:lnTo>
                    <a:pt x="1243" y="2331"/>
                  </a:lnTo>
                  <a:lnTo>
                    <a:pt x="1246" y="2336"/>
                  </a:lnTo>
                  <a:lnTo>
                    <a:pt x="1249" y="2340"/>
                  </a:lnTo>
                  <a:lnTo>
                    <a:pt x="1254" y="2344"/>
                  </a:lnTo>
                  <a:lnTo>
                    <a:pt x="1259" y="2347"/>
                  </a:lnTo>
                  <a:lnTo>
                    <a:pt x="1263" y="2348"/>
                  </a:lnTo>
                  <a:lnTo>
                    <a:pt x="1269" y="2348"/>
                  </a:lnTo>
                  <a:lnTo>
                    <a:pt x="1274" y="2348"/>
                  </a:lnTo>
                  <a:lnTo>
                    <a:pt x="1278" y="2348"/>
                  </a:lnTo>
                  <a:lnTo>
                    <a:pt x="1283" y="2347"/>
                  </a:lnTo>
                  <a:lnTo>
                    <a:pt x="1289" y="2348"/>
                  </a:lnTo>
                  <a:lnTo>
                    <a:pt x="1294" y="2349"/>
                  </a:lnTo>
                  <a:lnTo>
                    <a:pt x="1303" y="2352"/>
                  </a:lnTo>
                  <a:lnTo>
                    <a:pt x="1311" y="2357"/>
                  </a:lnTo>
                  <a:lnTo>
                    <a:pt x="1318" y="2361"/>
                  </a:lnTo>
                  <a:lnTo>
                    <a:pt x="1324" y="2366"/>
                  </a:lnTo>
                  <a:lnTo>
                    <a:pt x="1331" y="2370"/>
                  </a:lnTo>
                  <a:lnTo>
                    <a:pt x="1339" y="2374"/>
                  </a:lnTo>
                  <a:lnTo>
                    <a:pt x="1347" y="2376"/>
                  </a:lnTo>
                  <a:lnTo>
                    <a:pt x="1355" y="2377"/>
                  </a:lnTo>
                  <a:lnTo>
                    <a:pt x="1360" y="2377"/>
                  </a:lnTo>
                  <a:lnTo>
                    <a:pt x="1365" y="2375"/>
                  </a:lnTo>
                  <a:lnTo>
                    <a:pt x="1369" y="2373"/>
                  </a:lnTo>
                  <a:lnTo>
                    <a:pt x="1372" y="2370"/>
                  </a:lnTo>
                  <a:lnTo>
                    <a:pt x="1375" y="2367"/>
                  </a:lnTo>
                  <a:lnTo>
                    <a:pt x="1377" y="2363"/>
                  </a:lnTo>
                  <a:lnTo>
                    <a:pt x="1379" y="2358"/>
                  </a:lnTo>
                  <a:lnTo>
                    <a:pt x="1380" y="2353"/>
                  </a:lnTo>
                  <a:lnTo>
                    <a:pt x="1383" y="2330"/>
                  </a:lnTo>
                  <a:lnTo>
                    <a:pt x="1386" y="2307"/>
                  </a:lnTo>
                  <a:lnTo>
                    <a:pt x="1382" y="2287"/>
                  </a:lnTo>
                  <a:lnTo>
                    <a:pt x="1384" y="2278"/>
                  </a:lnTo>
                  <a:lnTo>
                    <a:pt x="1394" y="2279"/>
                  </a:lnTo>
                  <a:lnTo>
                    <a:pt x="1405" y="2282"/>
                  </a:lnTo>
                  <a:lnTo>
                    <a:pt x="1413" y="2284"/>
                  </a:lnTo>
                  <a:lnTo>
                    <a:pt x="1422" y="2287"/>
                  </a:lnTo>
                  <a:lnTo>
                    <a:pt x="1430" y="2290"/>
                  </a:lnTo>
                  <a:lnTo>
                    <a:pt x="1440" y="2293"/>
                  </a:lnTo>
                  <a:lnTo>
                    <a:pt x="1450" y="2295"/>
                  </a:lnTo>
                  <a:lnTo>
                    <a:pt x="1460" y="2295"/>
                  </a:lnTo>
                  <a:lnTo>
                    <a:pt x="1470" y="2294"/>
                  </a:lnTo>
                  <a:lnTo>
                    <a:pt x="1478" y="2292"/>
                  </a:lnTo>
                  <a:lnTo>
                    <a:pt x="1486" y="2288"/>
                  </a:lnTo>
                  <a:lnTo>
                    <a:pt x="1494" y="2285"/>
                  </a:lnTo>
                  <a:lnTo>
                    <a:pt x="1500" y="2296"/>
                  </a:lnTo>
                  <a:lnTo>
                    <a:pt x="1504" y="2305"/>
                  </a:lnTo>
                  <a:lnTo>
                    <a:pt x="1507" y="2314"/>
                  </a:lnTo>
                  <a:lnTo>
                    <a:pt x="1509" y="2324"/>
                  </a:lnTo>
                  <a:lnTo>
                    <a:pt x="1511" y="2333"/>
                  </a:lnTo>
                  <a:lnTo>
                    <a:pt x="1512" y="2342"/>
                  </a:lnTo>
                  <a:lnTo>
                    <a:pt x="1512" y="2352"/>
                  </a:lnTo>
                  <a:lnTo>
                    <a:pt x="1512" y="2364"/>
                  </a:lnTo>
                  <a:lnTo>
                    <a:pt x="1512" y="2425"/>
                  </a:lnTo>
                  <a:lnTo>
                    <a:pt x="1519" y="2425"/>
                  </a:lnTo>
                  <a:lnTo>
                    <a:pt x="1525" y="2424"/>
                  </a:lnTo>
                  <a:lnTo>
                    <a:pt x="1532" y="2422"/>
                  </a:lnTo>
                  <a:lnTo>
                    <a:pt x="1537" y="2420"/>
                  </a:lnTo>
                  <a:lnTo>
                    <a:pt x="1547" y="2415"/>
                  </a:lnTo>
                  <a:lnTo>
                    <a:pt x="1556" y="2409"/>
                  </a:lnTo>
                  <a:lnTo>
                    <a:pt x="1566" y="2403"/>
                  </a:lnTo>
                  <a:lnTo>
                    <a:pt x="1576" y="2396"/>
                  </a:lnTo>
                  <a:lnTo>
                    <a:pt x="1586" y="2390"/>
                  </a:lnTo>
                  <a:lnTo>
                    <a:pt x="1599" y="2384"/>
                  </a:lnTo>
                  <a:lnTo>
                    <a:pt x="1619" y="2377"/>
                  </a:lnTo>
                  <a:lnTo>
                    <a:pt x="1638" y="2371"/>
                  </a:lnTo>
                  <a:lnTo>
                    <a:pt x="1656" y="2366"/>
                  </a:lnTo>
                  <a:lnTo>
                    <a:pt x="1674" y="2362"/>
                  </a:lnTo>
                  <a:lnTo>
                    <a:pt x="1691" y="2359"/>
                  </a:lnTo>
                  <a:lnTo>
                    <a:pt x="1710" y="2356"/>
                  </a:lnTo>
                  <a:lnTo>
                    <a:pt x="1730" y="2355"/>
                  </a:lnTo>
                  <a:lnTo>
                    <a:pt x="1751" y="2353"/>
                  </a:lnTo>
                  <a:lnTo>
                    <a:pt x="1745" y="2343"/>
                  </a:lnTo>
                  <a:lnTo>
                    <a:pt x="1738" y="2335"/>
                  </a:lnTo>
                  <a:lnTo>
                    <a:pt x="1730" y="2328"/>
                  </a:lnTo>
                  <a:lnTo>
                    <a:pt x="1721" y="2323"/>
                  </a:lnTo>
                  <a:lnTo>
                    <a:pt x="1702" y="2313"/>
                  </a:lnTo>
                  <a:lnTo>
                    <a:pt x="1681" y="2302"/>
                  </a:lnTo>
                  <a:lnTo>
                    <a:pt x="1674" y="2297"/>
                  </a:lnTo>
                  <a:lnTo>
                    <a:pt x="1668" y="2289"/>
                  </a:lnTo>
                  <a:lnTo>
                    <a:pt x="1664" y="2283"/>
                  </a:lnTo>
                  <a:lnTo>
                    <a:pt x="1659" y="2276"/>
                  </a:lnTo>
                  <a:lnTo>
                    <a:pt x="1655" y="2269"/>
                  </a:lnTo>
                  <a:lnTo>
                    <a:pt x="1651" y="2262"/>
                  </a:lnTo>
                  <a:lnTo>
                    <a:pt x="1645" y="2254"/>
                  </a:lnTo>
                  <a:lnTo>
                    <a:pt x="1639" y="2247"/>
                  </a:lnTo>
                  <a:lnTo>
                    <a:pt x="1626" y="2240"/>
                  </a:lnTo>
                  <a:lnTo>
                    <a:pt x="1614" y="2234"/>
                  </a:lnTo>
                  <a:lnTo>
                    <a:pt x="1601" y="2229"/>
                  </a:lnTo>
                  <a:lnTo>
                    <a:pt x="1588" y="2223"/>
                  </a:lnTo>
                  <a:lnTo>
                    <a:pt x="1583" y="2220"/>
                  </a:lnTo>
                  <a:lnTo>
                    <a:pt x="1578" y="2217"/>
                  </a:lnTo>
                  <a:lnTo>
                    <a:pt x="1573" y="2214"/>
                  </a:lnTo>
                  <a:lnTo>
                    <a:pt x="1569" y="2210"/>
                  </a:lnTo>
                  <a:lnTo>
                    <a:pt x="1566" y="2206"/>
                  </a:lnTo>
                  <a:lnTo>
                    <a:pt x="1562" y="2201"/>
                  </a:lnTo>
                  <a:lnTo>
                    <a:pt x="1561" y="2195"/>
                  </a:lnTo>
                  <a:lnTo>
                    <a:pt x="1560" y="2188"/>
                  </a:lnTo>
                  <a:lnTo>
                    <a:pt x="1561" y="2182"/>
                  </a:lnTo>
                  <a:lnTo>
                    <a:pt x="1562" y="2175"/>
                  </a:lnTo>
                  <a:lnTo>
                    <a:pt x="1565" y="2170"/>
                  </a:lnTo>
                  <a:lnTo>
                    <a:pt x="1568" y="2165"/>
                  </a:lnTo>
                  <a:lnTo>
                    <a:pt x="1575" y="2154"/>
                  </a:lnTo>
                  <a:lnTo>
                    <a:pt x="1584" y="2146"/>
                  </a:lnTo>
                  <a:lnTo>
                    <a:pt x="1593" y="2137"/>
                  </a:lnTo>
                  <a:lnTo>
                    <a:pt x="1602" y="2127"/>
                  </a:lnTo>
                  <a:lnTo>
                    <a:pt x="1605" y="2122"/>
                  </a:lnTo>
                  <a:lnTo>
                    <a:pt x="1608" y="2116"/>
                  </a:lnTo>
                  <a:lnTo>
                    <a:pt x="1611" y="2111"/>
                  </a:lnTo>
                  <a:lnTo>
                    <a:pt x="1613" y="2104"/>
                  </a:lnTo>
                  <a:lnTo>
                    <a:pt x="1617" y="2083"/>
                  </a:lnTo>
                  <a:lnTo>
                    <a:pt x="1620" y="2063"/>
                  </a:lnTo>
                  <a:lnTo>
                    <a:pt x="1623" y="2045"/>
                  </a:lnTo>
                  <a:lnTo>
                    <a:pt x="1624" y="2023"/>
                  </a:lnTo>
                  <a:lnTo>
                    <a:pt x="1623" y="2010"/>
                  </a:lnTo>
                  <a:lnTo>
                    <a:pt x="1622" y="1997"/>
                  </a:lnTo>
                  <a:lnTo>
                    <a:pt x="1619" y="1985"/>
                  </a:lnTo>
                  <a:lnTo>
                    <a:pt x="1617" y="1973"/>
                  </a:lnTo>
                  <a:lnTo>
                    <a:pt x="1614" y="1962"/>
                  </a:lnTo>
                  <a:lnTo>
                    <a:pt x="1611" y="1951"/>
                  </a:lnTo>
                  <a:lnTo>
                    <a:pt x="1610" y="1938"/>
                  </a:lnTo>
                  <a:lnTo>
                    <a:pt x="1609" y="1924"/>
                  </a:lnTo>
                  <a:lnTo>
                    <a:pt x="1609" y="1916"/>
                  </a:lnTo>
                  <a:lnTo>
                    <a:pt x="1608" y="1907"/>
                  </a:lnTo>
                  <a:lnTo>
                    <a:pt x="1608" y="1900"/>
                  </a:lnTo>
                  <a:lnTo>
                    <a:pt x="1610" y="1891"/>
                  </a:lnTo>
                  <a:lnTo>
                    <a:pt x="1614" y="1866"/>
                  </a:lnTo>
                  <a:lnTo>
                    <a:pt x="1618" y="1844"/>
                  </a:lnTo>
                  <a:lnTo>
                    <a:pt x="1620" y="1833"/>
                  </a:lnTo>
                  <a:lnTo>
                    <a:pt x="1622" y="1822"/>
                  </a:lnTo>
                  <a:lnTo>
                    <a:pt x="1624" y="1809"/>
                  </a:lnTo>
                  <a:lnTo>
                    <a:pt x="1624" y="1797"/>
                  </a:lnTo>
                  <a:lnTo>
                    <a:pt x="1624" y="1792"/>
                  </a:lnTo>
                  <a:lnTo>
                    <a:pt x="1622" y="1788"/>
                  </a:lnTo>
                  <a:lnTo>
                    <a:pt x="1620" y="1783"/>
                  </a:lnTo>
                  <a:lnTo>
                    <a:pt x="1617" y="1780"/>
                  </a:lnTo>
                  <a:lnTo>
                    <a:pt x="1609" y="1776"/>
                  </a:lnTo>
                  <a:lnTo>
                    <a:pt x="1600" y="1773"/>
                  </a:lnTo>
                  <a:lnTo>
                    <a:pt x="1589" y="1770"/>
                  </a:lnTo>
                  <a:lnTo>
                    <a:pt x="1578" y="1767"/>
                  </a:lnTo>
                  <a:lnTo>
                    <a:pt x="1573" y="1765"/>
                  </a:lnTo>
                  <a:lnTo>
                    <a:pt x="1568" y="1763"/>
                  </a:lnTo>
                  <a:lnTo>
                    <a:pt x="1562" y="1760"/>
                  </a:lnTo>
                  <a:lnTo>
                    <a:pt x="1558" y="1757"/>
                  </a:lnTo>
                  <a:lnTo>
                    <a:pt x="1551" y="1750"/>
                  </a:lnTo>
                  <a:lnTo>
                    <a:pt x="1545" y="1746"/>
                  </a:lnTo>
                  <a:lnTo>
                    <a:pt x="1538" y="1742"/>
                  </a:lnTo>
                  <a:lnTo>
                    <a:pt x="1530" y="1738"/>
                  </a:lnTo>
                  <a:lnTo>
                    <a:pt x="1517" y="1733"/>
                  </a:lnTo>
                  <a:lnTo>
                    <a:pt x="1503" y="1728"/>
                  </a:lnTo>
                  <a:lnTo>
                    <a:pt x="1488" y="1724"/>
                  </a:lnTo>
                  <a:lnTo>
                    <a:pt x="1474" y="1719"/>
                  </a:lnTo>
                  <a:lnTo>
                    <a:pt x="1458" y="1714"/>
                  </a:lnTo>
                  <a:lnTo>
                    <a:pt x="1443" y="1707"/>
                  </a:lnTo>
                  <a:lnTo>
                    <a:pt x="1430" y="1700"/>
                  </a:lnTo>
                  <a:lnTo>
                    <a:pt x="1419" y="1693"/>
                  </a:lnTo>
                  <a:lnTo>
                    <a:pt x="1410" y="1684"/>
                  </a:lnTo>
                  <a:lnTo>
                    <a:pt x="1402" y="1676"/>
                  </a:lnTo>
                  <a:lnTo>
                    <a:pt x="1392" y="1668"/>
                  </a:lnTo>
                  <a:lnTo>
                    <a:pt x="1383" y="1660"/>
                  </a:lnTo>
                  <a:lnTo>
                    <a:pt x="1373" y="1651"/>
                  </a:lnTo>
                  <a:lnTo>
                    <a:pt x="1360" y="1643"/>
                  </a:lnTo>
                  <a:lnTo>
                    <a:pt x="1349" y="1638"/>
                  </a:lnTo>
                  <a:lnTo>
                    <a:pt x="1338" y="1634"/>
                  </a:lnTo>
                  <a:lnTo>
                    <a:pt x="1325" y="1631"/>
                  </a:lnTo>
                  <a:lnTo>
                    <a:pt x="1315" y="1627"/>
                  </a:lnTo>
                  <a:lnTo>
                    <a:pt x="1310" y="1625"/>
                  </a:lnTo>
                  <a:lnTo>
                    <a:pt x="1305" y="1622"/>
                  </a:lnTo>
                  <a:lnTo>
                    <a:pt x="1301" y="1620"/>
                  </a:lnTo>
                  <a:lnTo>
                    <a:pt x="1296" y="1617"/>
                  </a:lnTo>
                  <a:lnTo>
                    <a:pt x="1293" y="1613"/>
                  </a:lnTo>
                  <a:lnTo>
                    <a:pt x="1291" y="1609"/>
                  </a:lnTo>
                  <a:lnTo>
                    <a:pt x="1290" y="1604"/>
                  </a:lnTo>
                  <a:lnTo>
                    <a:pt x="1289" y="1599"/>
                  </a:lnTo>
                  <a:lnTo>
                    <a:pt x="1290" y="1592"/>
                  </a:lnTo>
                  <a:lnTo>
                    <a:pt x="1292" y="1587"/>
                  </a:lnTo>
                  <a:lnTo>
                    <a:pt x="1296" y="1582"/>
                  </a:lnTo>
                  <a:lnTo>
                    <a:pt x="1301" y="1578"/>
                  </a:lnTo>
                  <a:lnTo>
                    <a:pt x="1305" y="1574"/>
                  </a:lnTo>
                  <a:lnTo>
                    <a:pt x="1309" y="1569"/>
                  </a:lnTo>
                  <a:lnTo>
                    <a:pt x="1313" y="1565"/>
                  </a:lnTo>
                  <a:lnTo>
                    <a:pt x="1316" y="1558"/>
                  </a:lnTo>
                  <a:lnTo>
                    <a:pt x="1323" y="1535"/>
                  </a:lnTo>
                  <a:lnTo>
                    <a:pt x="1328" y="1514"/>
                  </a:lnTo>
                  <a:lnTo>
                    <a:pt x="1332" y="1493"/>
                  </a:lnTo>
                  <a:lnTo>
                    <a:pt x="1337" y="1469"/>
                  </a:lnTo>
                  <a:lnTo>
                    <a:pt x="1327" y="1461"/>
                  </a:lnTo>
                  <a:lnTo>
                    <a:pt x="1285" y="1471"/>
                  </a:lnTo>
                  <a:lnTo>
                    <a:pt x="1275" y="1470"/>
                  </a:lnTo>
                  <a:lnTo>
                    <a:pt x="1264" y="1466"/>
                  </a:lnTo>
                  <a:lnTo>
                    <a:pt x="1256" y="1462"/>
                  </a:lnTo>
                  <a:lnTo>
                    <a:pt x="1248" y="1457"/>
                  </a:lnTo>
                  <a:lnTo>
                    <a:pt x="1241" y="1451"/>
                  </a:lnTo>
                  <a:lnTo>
                    <a:pt x="1236" y="1444"/>
                  </a:lnTo>
                  <a:lnTo>
                    <a:pt x="1233" y="1440"/>
                  </a:lnTo>
                  <a:lnTo>
                    <a:pt x="1231" y="1435"/>
                  </a:lnTo>
                  <a:lnTo>
                    <a:pt x="1231" y="1431"/>
                  </a:lnTo>
                  <a:lnTo>
                    <a:pt x="1230" y="1426"/>
                  </a:lnTo>
                  <a:lnTo>
                    <a:pt x="1230" y="1402"/>
                  </a:lnTo>
                  <a:lnTo>
                    <a:pt x="1231" y="1381"/>
                  </a:lnTo>
                  <a:lnTo>
                    <a:pt x="1232" y="1360"/>
                  </a:lnTo>
                  <a:lnTo>
                    <a:pt x="1235" y="1340"/>
                  </a:lnTo>
                  <a:lnTo>
                    <a:pt x="1238" y="1321"/>
                  </a:lnTo>
                  <a:lnTo>
                    <a:pt x="1244" y="1301"/>
                  </a:lnTo>
                  <a:lnTo>
                    <a:pt x="1251" y="1282"/>
                  </a:lnTo>
                  <a:lnTo>
                    <a:pt x="1261" y="1261"/>
                  </a:lnTo>
                  <a:lnTo>
                    <a:pt x="1268" y="1253"/>
                  </a:lnTo>
                  <a:lnTo>
                    <a:pt x="1274" y="1245"/>
                  </a:lnTo>
                  <a:lnTo>
                    <a:pt x="1281" y="1239"/>
                  </a:lnTo>
                  <a:lnTo>
                    <a:pt x="1289" y="1234"/>
                  </a:lnTo>
                  <a:lnTo>
                    <a:pt x="1295" y="1228"/>
                  </a:lnTo>
                  <a:lnTo>
                    <a:pt x="1301" y="1222"/>
                  </a:lnTo>
                  <a:lnTo>
                    <a:pt x="1303" y="1218"/>
                  </a:lnTo>
                  <a:lnTo>
                    <a:pt x="1305" y="1213"/>
                  </a:lnTo>
                  <a:lnTo>
                    <a:pt x="1306" y="1209"/>
                  </a:lnTo>
                  <a:lnTo>
                    <a:pt x="1306" y="1204"/>
                  </a:lnTo>
                  <a:lnTo>
                    <a:pt x="1306" y="1199"/>
                  </a:lnTo>
                  <a:lnTo>
                    <a:pt x="1305" y="1195"/>
                  </a:lnTo>
                  <a:lnTo>
                    <a:pt x="1304" y="1190"/>
                  </a:lnTo>
                  <a:lnTo>
                    <a:pt x="1302" y="1186"/>
                  </a:lnTo>
                  <a:lnTo>
                    <a:pt x="1296" y="1178"/>
                  </a:lnTo>
                  <a:lnTo>
                    <a:pt x="1289" y="1171"/>
                  </a:lnTo>
                  <a:lnTo>
                    <a:pt x="1281" y="1166"/>
                  </a:lnTo>
                  <a:lnTo>
                    <a:pt x="1272" y="1163"/>
                  </a:lnTo>
                  <a:lnTo>
                    <a:pt x="1262" y="1160"/>
                  </a:lnTo>
                  <a:lnTo>
                    <a:pt x="1252" y="1160"/>
                  </a:lnTo>
                  <a:lnTo>
                    <a:pt x="1247" y="1160"/>
                  </a:lnTo>
                  <a:lnTo>
                    <a:pt x="1242" y="1162"/>
                  </a:lnTo>
                  <a:lnTo>
                    <a:pt x="1238" y="1164"/>
                  </a:lnTo>
                  <a:lnTo>
                    <a:pt x="1233" y="1167"/>
                  </a:lnTo>
                  <a:lnTo>
                    <a:pt x="1227" y="1175"/>
                  </a:lnTo>
                  <a:lnTo>
                    <a:pt x="1222" y="1186"/>
                  </a:lnTo>
                  <a:lnTo>
                    <a:pt x="1217" y="1195"/>
                  </a:lnTo>
                  <a:lnTo>
                    <a:pt x="1211" y="1203"/>
                  </a:lnTo>
                  <a:lnTo>
                    <a:pt x="1207" y="1206"/>
                  </a:lnTo>
                  <a:lnTo>
                    <a:pt x="1203" y="1209"/>
                  </a:lnTo>
                  <a:lnTo>
                    <a:pt x="1198" y="1210"/>
                  </a:lnTo>
                  <a:lnTo>
                    <a:pt x="1193" y="1211"/>
                  </a:lnTo>
                  <a:lnTo>
                    <a:pt x="1188" y="1210"/>
                  </a:lnTo>
                  <a:lnTo>
                    <a:pt x="1184" y="1208"/>
                  </a:lnTo>
                  <a:lnTo>
                    <a:pt x="1180" y="1206"/>
                  </a:lnTo>
                  <a:lnTo>
                    <a:pt x="1177" y="1202"/>
                  </a:lnTo>
                  <a:lnTo>
                    <a:pt x="1171" y="1195"/>
                  </a:lnTo>
                  <a:lnTo>
                    <a:pt x="1162" y="1188"/>
                  </a:lnTo>
                  <a:lnTo>
                    <a:pt x="1156" y="1185"/>
                  </a:lnTo>
                  <a:lnTo>
                    <a:pt x="1149" y="1181"/>
                  </a:lnTo>
                  <a:lnTo>
                    <a:pt x="1143" y="1180"/>
                  </a:lnTo>
                  <a:lnTo>
                    <a:pt x="1136" y="1178"/>
                  </a:lnTo>
                  <a:lnTo>
                    <a:pt x="1129" y="1176"/>
                  </a:lnTo>
                  <a:lnTo>
                    <a:pt x="1124" y="1173"/>
                  </a:lnTo>
                  <a:lnTo>
                    <a:pt x="1119" y="1170"/>
                  </a:lnTo>
                  <a:lnTo>
                    <a:pt x="1115" y="1164"/>
                  </a:lnTo>
                  <a:lnTo>
                    <a:pt x="1109" y="1150"/>
                  </a:lnTo>
                  <a:lnTo>
                    <a:pt x="1105" y="1137"/>
                  </a:lnTo>
                  <a:lnTo>
                    <a:pt x="1103" y="1124"/>
                  </a:lnTo>
                  <a:lnTo>
                    <a:pt x="1100" y="1111"/>
                  </a:lnTo>
                  <a:lnTo>
                    <a:pt x="1099" y="1098"/>
                  </a:lnTo>
                  <a:lnTo>
                    <a:pt x="1098" y="1084"/>
                  </a:lnTo>
                  <a:lnTo>
                    <a:pt x="1095" y="1070"/>
                  </a:lnTo>
                  <a:lnTo>
                    <a:pt x="1091" y="1055"/>
                  </a:lnTo>
                  <a:lnTo>
                    <a:pt x="1089" y="1048"/>
                  </a:lnTo>
                  <a:lnTo>
                    <a:pt x="1085" y="1042"/>
                  </a:lnTo>
                  <a:lnTo>
                    <a:pt x="1081" y="1036"/>
                  </a:lnTo>
                  <a:lnTo>
                    <a:pt x="1077" y="1030"/>
                  </a:lnTo>
                  <a:lnTo>
                    <a:pt x="1072" y="1024"/>
                  </a:lnTo>
                  <a:lnTo>
                    <a:pt x="1066" y="1019"/>
                  </a:lnTo>
                  <a:lnTo>
                    <a:pt x="1061" y="1015"/>
                  </a:lnTo>
                  <a:lnTo>
                    <a:pt x="1055" y="1011"/>
                  </a:lnTo>
                  <a:lnTo>
                    <a:pt x="1042" y="1004"/>
                  </a:lnTo>
                  <a:lnTo>
                    <a:pt x="1028" y="997"/>
                  </a:lnTo>
                  <a:lnTo>
                    <a:pt x="1015" y="991"/>
                  </a:lnTo>
                  <a:lnTo>
                    <a:pt x="1000" y="985"/>
                  </a:lnTo>
                  <a:lnTo>
                    <a:pt x="986" y="979"/>
                  </a:lnTo>
                  <a:lnTo>
                    <a:pt x="974" y="973"/>
                  </a:lnTo>
                  <a:lnTo>
                    <a:pt x="961" y="967"/>
                  </a:lnTo>
                  <a:lnTo>
                    <a:pt x="951" y="958"/>
                  </a:lnTo>
                  <a:lnTo>
                    <a:pt x="946" y="954"/>
                  </a:lnTo>
                  <a:lnTo>
                    <a:pt x="942" y="949"/>
                  </a:lnTo>
                  <a:lnTo>
                    <a:pt x="938" y="944"/>
                  </a:lnTo>
                  <a:lnTo>
                    <a:pt x="934" y="939"/>
                  </a:lnTo>
                  <a:lnTo>
                    <a:pt x="932" y="933"/>
                  </a:lnTo>
                  <a:lnTo>
                    <a:pt x="930" y="926"/>
                  </a:lnTo>
                  <a:lnTo>
                    <a:pt x="929" y="919"/>
                  </a:lnTo>
                  <a:lnTo>
                    <a:pt x="929" y="912"/>
                  </a:lnTo>
                  <a:lnTo>
                    <a:pt x="929" y="902"/>
                  </a:lnTo>
                  <a:lnTo>
                    <a:pt x="932" y="893"/>
                  </a:lnTo>
                  <a:lnTo>
                    <a:pt x="935" y="885"/>
                  </a:lnTo>
                  <a:lnTo>
                    <a:pt x="941" y="878"/>
                  </a:lnTo>
                  <a:lnTo>
                    <a:pt x="945" y="871"/>
                  </a:lnTo>
                  <a:lnTo>
                    <a:pt x="950" y="863"/>
                  </a:lnTo>
                  <a:lnTo>
                    <a:pt x="954" y="855"/>
                  </a:lnTo>
                  <a:lnTo>
                    <a:pt x="957" y="846"/>
                  </a:lnTo>
                  <a:lnTo>
                    <a:pt x="966" y="808"/>
                  </a:lnTo>
                  <a:lnTo>
                    <a:pt x="973" y="775"/>
                  </a:lnTo>
                  <a:lnTo>
                    <a:pt x="976" y="758"/>
                  </a:lnTo>
                  <a:lnTo>
                    <a:pt x="981" y="742"/>
                  </a:lnTo>
                  <a:lnTo>
                    <a:pt x="987" y="724"/>
                  </a:lnTo>
                  <a:lnTo>
                    <a:pt x="995" y="706"/>
                  </a:lnTo>
                  <a:lnTo>
                    <a:pt x="1007" y="686"/>
                  </a:lnTo>
                  <a:lnTo>
                    <a:pt x="1018" y="667"/>
                  </a:lnTo>
                  <a:lnTo>
                    <a:pt x="1023" y="658"/>
                  </a:lnTo>
                  <a:lnTo>
                    <a:pt x="1027" y="649"/>
                  </a:lnTo>
                  <a:lnTo>
                    <a:pt x="1029" y="638"/>
                  </a:lnTo>
                  <a:lnTo>
                    <a:pt x="1030" y="626"/>
                  </a:lnTo>
                  <a:lnTo>
                    <a:pt x="1029" y="616"/>
                  </a:lnTo>
                  <a:lnTo>
                    <a:pt x="1028" y="605"/>
                  </a:lnTo>
                  <a:lnTo>
                    <a:pt x="1025" y="596"/>
                  </a:lnTo>
                  <a:lnTo>
                    <a:pt x="1021" y="588"/>
                  </a:lnTo>
                  <a:lnTo>
                    <a:pt x="1013" y="571"/>
                  </a:lnTo>
                  <a:lnTo>
                    <a:pt x="1001" y="556"/>
                  </a:lnTo>
                  <a:lnTo>
                    <a:pt x="991" y="541"/>
                  </a:lnTo>
                  <a:lnTo>
                    <a:pt x="983" y="525"/>
                  </a:lnTo>
                  <a:lnTo>
                    <a:pt x="979" y="516"/>
                  </a:lnTo>
                  <a:lnTo>
                    <a:pt x="976" y="507"/>
                  </a:lnTo>
                  <a:lnTo>
                    <a:pt x="975" y="497"/>
                  </a:lnTo>
                  <a:lnTo>
                    <a:pt x="974" y="486"/>
                  </a:lnTo>
                  <a:lnTo>
                    <a:pt x="975" y="479"/>
                  </a:lnTo>
                  <a:lnTo>
                    <a:pt x="978" y="472"/>
                  </a:lnTo>
                  <a:lnTo>
                    <a:pt x="982" y="466"/>
                  </a:lnTo>
                  <a:lnTo>
                    <a:pt x="987" y="461"/>
                  </a:lnTo>
                  <a:lnTo>
                    <a:pt x="991" y="454"/>
                  </a:lnTo>
                  <a:lnTo>
                    <a:pt x="995" y="449"/>
                  </a:lnTo>
                  <a:lnTo>
                    <a:pt x="998" y="442"/>
                  </a:lnTo>
                  <a:lnTo>
                    <a:pt x="999" y="435"/>
                  </a:lnTo>
                  <a:lnTo>
                    <a:pt x="998" y="423"/>
                  </a:lnTo>
                  <a:lnTo>
                    <a:pt x="996" y="414"/>
                  </a:lnTo>
                  <a:lnTo>
                    <a:pt x="993" y="405"/>
                  </a:lnTo>
                  <a:lnTo>
                    <a:pt x="988" y="397"/>
                  </a:lnTo>
                  <a:lnTo>
                    <a:pt x="983" y="389"/>
                  </a:lnTo>
                  <a:lnTo>
                    <a:pt x="976" y="382"/>
                  </a:lnTo>
                  <a:lnTo>
                    <a:pt x="969" y="375"/>
                  </a:lnTo>
                  <a:lnTo>
                    <a:pt x="962" y="369"/>
                  </a:lnTo>
                  <a:lnTo>
                    <a:pt x="948" y="355"/>
                  </a:lnTo>
                  <a:lnTo>
                    <a:pt x="934" y="340"/>
                  </a:lnTo>
                  <a:lnTo>
                    <a:pt x="928" y="332"/>
                  </a:lnTo>
                  <a:lnTo>
                    <a:pt x="923" y="323"/>
                  </a:lnTo>
                  <a:lnTo>
                    <a:pt x="920" y="313"/>
                  </a:lnTo>
                  <a:lnTo>
                    <a:pt x="917" y="303"/>
                  </a:lnTo>
                  <a:lnTo>
                    <a:pt x="903" y="309"/>
                  </a:lnTo>
                  <a:lnTo>
                    <a:pt x="892" y="317"/>
                  </a:lnTo>
                  <a:lnTo>
                    <a:pt x="881" y="325"/>
                  </a:lnTo>
                  <a:lnTo>
                    <a:pt x="870" y="335"/>
                  </a:lnTo>
                  <a:lnTo>
                    <a:pt x="860" y="342"/>
                  </a:lnTo>
                  <a:lnTo>
                    <a:pt x="849" y="348"/>
                  </a:lnTo>
                  <a:lnTo>
                    <a:pt x="844" y="351"/>
                  </a:lnTo>
                  <a:lnTo>
                    <a:pt x="836" y="353"/>
                  </a:lnTo>
                  <a:lnTo>
                    <a:pt x="829" y="354"/>
                  </a:lnTo>
                  <a:lnTo>
                    <a:pt x="822" y="354"/>
                  </a:lnTo>
                  <a:lnTo>
                    <a:pt x="807" y="354"/>
                  </a:lnTo>
                  <a:lnTo>
                    <a:pt x="794" y="356"/>
                  </a:lnTo>
                  <a:lnTo>
                    <a:pt x="783" y="358"/>
                  </a:lnTo>
                  <a:lnTo>
                    <a:pt x="773" y="358"/>
                  </a:lnTo>
                  <a:lnTo>
                    <a:pt x="759" y="359"/>
                  </a:lnTo>
                  <a:lnTo>
                    <a:pt x="754" y="358"/>
                  </a:lnTo>
                  <a:lnTo>
                    <a:pt x="749" y="356"/>
                  </a:lnTo>
                  <a:lnTo>
                    <a:pt x="746" y="352"/>
                  </a:lnTo>
                  <a:lnTo>
                    <a:pt x="743" y="348"/>
                  </a:lnTo>
                  <a:lnTo>
                    <a:pt x="736" y="339"/>
                  </a:lnTo>
                  <a:lnTo>
                    <a:pt x="731" y="328"/>
                  </a:lnTo>
                  <a:lnTo>
                    <a:pt x="719" y="314"/>
                  </a:lnTo>
                  <a:lnTo>
                    <a:pt x="709" y="302"/>
                  </a:lnTo>
                  <a:lnTo>
                    <a:pt x="704" y="295"/>
                  </a:lnTo>
                  <a:lnTo>
                    <a:pt x="700" y="288"/>
                  </a:lnTo>
                  <a:lnTo>
                    <a:pt x="696" y="280"/>
                  </a:lnTo>
                  <a:lnTo>
                    <a:pt x="693" y="272"/>
                  </a:lnTo>
                  <a:lnTo>
                    <a:pt x="686" y="251"/>
                  </a:lnTo>
                  <a:lnTo>
                    <a:pt x="679" y="232"/>
                  </a:lnTo>
                  <a:lnTo>
                    <a:pt x="671" y="216"/>
                  </a:lnTo>
                  <a:lnTo>
                    <a:pt x="663" y="198"/>
                  </a:lnTo>
                  <a:lnTo>
                    <a:pt x="690" y="196"/>
                  </a:lnTo>
                  <a:lnTo>
                    <a:pt x="713" y="193"/>
                  </a:lnTo>
                  <a:lnTo>
                    <a:pt x="724" y="191"/>
                  </a:lnTo>
                  <a:lnTo>
                    <a:pt x="735" y="189"/>
                  </a:lnTo>
                  <a:lnTo>
                    <a:pt x="747" y="185"/>
                  </a:lnTo>
                  <a:lnTo>
                    <a:pt x="759" y="180"/>
                  </a:lnTo>
                  <a:lnTo>
                    <a:pt x="764" y="177"/>
                  </a:lnTo>
                  <a:lnTo>
                    <a:pt x="768" y="173"/>
                  </a:lnTo>
                  <a:lnTo>
                    <a:pt x="771" y="168"/>
                  </a:lnTo>
                  <a:lnTo>
                    <a:pt x="774" y="164"/>
                  </a:lnTo>
                  <a:lnTo>
                    <a:pt x="776" y="154"/>
                  </a:lnTo>
                  <a:lnTo>
                    <a:pt x="778" y="144"/>
                  </a:lnTo>
                  <a:lnTo>
                    <a:pt x="779" y="132"/>
                  </a:lnTo>
                  <a:lnTo>
                    <a:pt x="781" y="121"/>
                  </a:lnTo>
                  <a:lnTo>
                    <a:pt x="783" y="116"/>
                  </a:lnTo>
                  <a:lnTo>
                    <a:pt x="785" y="111"/>
                  </a:lnTo>
                  <a:lnTo>
                    <a:pt x="788" y="106"/>
                  </a:lnTo>
                  <a:lnTo>
                    <a:pt x="792" y="101"/>
                  </a:lnTo>
                  <a:lnTo>
                    <a:pt x="819" y="79"/>
                  </a:lnTo>
                  <a:lnTo>
                    <a:pt x="842" y="56"/>
                  </a:lnTo>
                  <a:lnTo>
                    <a:pt x="852" y="44"/>
                  </a:lnTo>
                  <a:lnTo>
                    <a:pt x="861" y="31"/>
                  </a:lnTo>
                  <a:lnTo>
                    <a:pt x="869" y="17"/>
                  </a:lnTo>
                  <a:lnTo>
                    <a:pt x="877" y="0"/>
                  </a:lnTo>
                  <a:lnTo>
                    <a:pt x="896" y="21"/>
                  </a:lnTo>
                  <a:lnTo>
                    <a:pt x="916" y="40"/>
                  </a:lnTo>
                  <a:lnTo>
                    <a:pt x="935" y="58"/>
                  </a:lnTo>
                  <a:lnTo>
                    <a:pt x="955" y="74"/>
                  </a:lnTo>
                  <a:lnTo>
                    <a:pt x="975" y="90"/>
                  </a:lnTo>
                  <a:lnTo>
                    <a:pt x="994" y="103"/>
                  </a:lnTo>
                  <a:lnTo>
                    <a:pt x="1015" y="116"/>
                  </a:lnTo>
                  <a:lnTo>
                    <a:pt x="1037" y="127"/>
                  </a:lnTo>
                  <a:lnTo>
                    <a:pt x="1058" y="136"/>
                  </a:lnTo>
                  <a:lnTo>
                    <a:pt x="1080" y="145"/>
                  </a:lnTo>
                  <a:lnTo>
                    <a:pt x="1104" y="152"/>
                  </a:lnTo>
                  <a:lnTo>
                    <a:pt x="1127" y="158"/>
                  </a:lnTo>
                  <a:lnTo>
                    <a:pt x="1152" y="162"/>
                  </a:lnTo>
                  <a:lnTo>
                    <a:pt x="1178" y="165"/>
                  </a:lnTo>
                  <a:lnTo>
                    <a:pt x="1205" y="167"/>
                  </a:lnTo>
                  <a:lnTo>
                    <a:pt x="1233" y="167"/>
                  </a:lnTo>
                  <a:lnTo>
                    <a:pt x="1261" y="167"/>
                  </a:lnTo>
                  <a:lnTo>
                    <a:pt x="1286" y="166"/>
                  </a:lnTo>
                  <a:lnTo>
                    <a:pt x="1298" y="164"/>
                  </a:lnTo>
                  <a:lnTo>
                    <a:pt x="1311" y="161"/>
                  </a:lnTo>
                  <a:lnTo>
                    <a:pt x="1323" y="157"/>
                  </a:lnTo>
                  <a:lnTo>
                    <a:pt x="1337" y="151"/>
                  </a:lnTo>
                  <a:lnTo>
                    <a:pt x="1349" y="145"/>
                  </a:lnTo>
                  <a:lnTo>
                    <a:pt x="1359" y="137"/>
                  </a:lnTo>
                  <a:lnTo>
                    <a:pt x="1370" y="130"/>
                  </a:lnTo>
                  <a:lnTo>
                    <a:pt x="1379" y="123"/>
                  </a:lnTo>
                  <a:lnTo>
                    <a:pt x="1395" y="106"/>
                  </a:lnTo>
                  <a:lnTo>
                    <a:pt x="1411" y="90"/>
                  </a:lnTo>
                  <a:lnTo>
                    <a:pt x="1419" y="82"/>
                  </a:lnTo>
                  <a:lnTo>
                    <a:pt x="1427" y="74"/>
                  </a:lnTo>
                  <a:lnTo>
                    <a:pt x="1436" y="67"/>
                  </a:lnTo>
                  <a:lnTo>
                    <a:pt x="1445" y="61"/>
                  </a:lnTo>
                  <a:lnTo>
                    <a:pt x="1454" y="55"/>
                  </a:lnTo>
                  <a:lnTo>
                    <a:pt x="1466" y="49"/>
                  </a:lnTo>
                  <a:lnTo>
                    <a:pt x="1477" y="44"/>
                  </a:lnTo>
                  <a:lnTo>
                    <a:pt x="1490" y="40"/>
                  </a:lnTo>
                  <a:lnTo>
                    <a:pt x="1508" y="34"/>
                  </a:lnTo>
                  <a:lnTo>
                    <a:pt x="1523" y="30"/>
                  </a:lnTo>
                  <a:lnTo>
                    <a:pt x="1532" y="29"/>
                  </a:lnTo>
                  <a:lnTo>
                    <a:pt x="1540" y="27"/>
                  </a:lnTo>
                  <a:lnTo>
                    <a:pt x="1548" y="27"/>
                  </a:lnTo>
                  <a:lnTo>
                    <a:pt x="1558" y="26"/>
                  </a:lnTo>
                  <a:lnTo>
                    <a:pt x="1569" y="27"/>
                  </a:lnTo>
                  <a:lnTo>
                    <a:pt x="1578" y="27"/>
                  </a:lnTo>
                  <a:lnTo>
                    <a:pt x="1587" y="29"/>
                  </a:lnTo>
                  <a:lnTo>
                    <a:pt x="1596" y="30"/>
                  </a:lnTo>
                  <a:lnTo>
                    <a:pt x="1613" y="35"/>
                  </a:lnTo>
                  <a:lnTo>
                    <a:pt x="1628" y="41"/>
                  </a:lnTo>
                  <a:lnTo>
                    <a:pt x="1660" y="56"/>
                  </a:lnTo>
                  <a:lnTo>
                    <a:pt x="1695" y="73"/>
                  </a:lnTo>
                  <a:lnTo>
                    <a:pt x="1722" y="86"/>
                  </a:lnTo>
                  <a:lnTo>
                    <a:pt x="1748" y="95"/>
                  </a:lnTo>
                  <a:lnTo>
                    <a:pt x="1772" y="104"/>
                  </a:lnTo>
                  <a:lnTo>
                    <a:pt x="1796" y="111"/>
                  </a:lnTo>
                  <a:lnTo>
                    <a:pt x="1820" y="117"/>
                  </a:lnTo>
                  <a:lnTo>
                    <a:pt x="1846" y="120"/>
                  </a:lnTo>
                  <a:lnTo>
                    <a:pt x="1873" y="122"/>
                  </a:lnTo>
                  <a:lnTo>
                    <a:pt x="1903" y="123"/>
                  </a:lnTo>
                  <a:lnTo>
                    <a:pt x="1913" y="123"/>
                  </a:lnTo>
                  <a:lnTo>
                    <a:pt x="1922" y="122"/>
                  </a:lnTo>
                  <a:lnTo>
                    <a:pt x="1932" y="120"/>
                  </a:lnTo>
                  <a:lnTo>
                    <a:pt x="1940" y="117"/>
                  </a:lnTo>
                  <a:lnTo>
                    <a:pt x="1947" y="113"/>
                  </a:lnTo>
                  <a:lnTo>
                    <a:pt x="1954" y="107"/>
                  </a:lnTo>
                  <a:lnTo>
                    <a:pt x="1962" y="100"/>
                  </a:lnTo>
                  <a:lnTo>
                    <a:pt x="1969" y="92"/>
                  </a:lnTo>
                  <a:lnTo>
                    <a:pt x="1974" y="105"/>
                  </a:lnTo>
                  <a:lnTo>
                    <a:pt x="1978" y="118"/>
                  </a:lnTo>
                  <a:lnTo>
                    <a:pt x="1978" y="123"/>
                  </a:lnTo>
                  <a:lnTo>
                    <a:pt x="1977" y="127"/>
                  </a:lnTo>
                  <a:lnTo>
                    <a:pt x="1975" y="131"/>
                  </a:lnTo>
                  <a:lnTo>
                    <a:pt x="1974" y="135"/>
                  </a:lnTo>
                  <a:lnTo>
                    <a:pt x="1969" y="142"/>
                  </a:lnTo>
                  <a:lnTo>
                    <a:pt x="1963" y="148"/>
                  </a:lnTo>
                  <a:lnTo>
                    <a:pt x="1954" y="153"/>
                  </a:lnTo>
                  <a:lnTo>
                    <a:pt x="1946" y="157"/>
                  </a:lnTo>
                  <a:lnTo>
                    <a:pt x="1937" y="160"/>
                  </a:lnTo>
                  <a:lnTo>
                    <a:pt x="1928" y="164"/>
                  </a:lnTo>
                  <a:lnTo>
                    <a:pt x="1918" y="168"/>
                  </a:lnTo>
                  <a:lnTo>
                    <a:pt x="1909" y="172"/>
                  </a:lnTo>
                  <a:lnTo>
                    <a:pt x="1900" y="176"/>
                  </a:lnTo>
                  <a:lnTo>
                    <a:pt x="1892" y="181"/>
                  </a:lnTo>
                  <a:lnTo>
                    <a:pt x="1886" y="187"/>
                  </a:lnTo>
                  <a:lnTo>
                    <a:pt x="1881" y="193"/>
                  </a:lnTo>
                  <a:lnTo>
                    <a:pt x="1879" y="197"/>
                  </a:lnTo>
                  <a:lnTo>
                    <a:pt x="1878" y="201"/>
                  </a:lnTo>
                  <a:lnTo>
                    <a:pt x="1877" y="206"/>
                  </a:lnTo>
                  <a:lnTo>
                    <a:pt x="1877" y="211"/>
                  </a:lnTo>
                  <a:lnTo>
                    <a:pt x="1877" y="215"/>
                  </a:lnTo>
                  <a:lnTo>
                    <a:pt x="1879" y="219"/>
                  </a:lnTo>
                  <a:lnTo>
                    <a:pt x="1881" y="223"/>
                  </a:lnTo>
                  <a:lnTo>
                    <a:pt x="1883" y="227"/>
                  </a:lnTo>
                  <a:lnTo>
                    <a:pt x="1886" y="230"/>
                  </a:lnTo>
                  <a:lnTo>
                    <a:pt x="1888" y="234"/>
                  </a:lnTo>
                  <a:lnTo>
                    <a:pt x="1890" y="239"/>
                  </a:lnTo>
                  <a:lnTo>
                    <a:pt x="1890" y="244"/>
                  </a:lnTo>
                  <a:lnTo>
                    <a:pt x="1889" y="252"/>
                  </a:lnTo>
                  <a:lnTo>
                    <a:pt x="1887" y="260"/>
                  </a:lnTo>
                  <a:lnTo>
                    <a:pt x="1885" y="268"/>
                  </a:lnTo>
                  <a:lnTo>
                    <a:pt x="1883" y="277"/>
                  </a:lnTo>
                  <a:lnTo>
                    <a:pt x="1884" y="283"/>
                  </a:lnTo>
                  <a:lnTo>
                    <a:pt x="1885" y="289"/>
                  </a:lnTo>
                  <a:lnTo>
                    <a:pt x="1886" y="294"/>
                  </a:lnTo>
                  <a:lnTo>
                    <a:pt x="1888" y="301"/>
                  </a:lnTo>
                  <a:lnTo>
                    <a:pt x="1895" y="310"/>
                  </a:lnTo>
                  <a:lnTo>
                    <a:pt x="1902" y="319"/>
                  </a:lnTo>
                  <a:lnTo>
                    <a:pt x="1919" y="336"/>
                  </a:lnTo>
                  <a:lnTo>
                    <a:pt x="1938" y="354"/>
                  </a:lnTo>
                  <a:lnTo>
                    <a:pt x="1941" y="358"/>
                  </a:lnTo>
                  <a:lnTo>
                    <a:pt x="1944" y="364"/>
                  </a:lnTo>
                  <a:lnTo>
                    <a:pt x="1946" y="368"/>
                  </a:lnTo>
                  <a:lnTo>
                    <a:pt x="1948" y="372"/>
                  </a:lnTo>
                  <a:lnTo>
                    <a:pt x="1950" y="382"/>
                  </a:lnTo>
                  <a:lnTo>
                    <a:pt x="1950" y="391"/>
                  </a:lnTo>
                  <a:lnTo>
                    <a:pt x="1949" y="412"/>
                  </a:lnTo>
                  <a:lnTo>
                    <a:pt x="1947" y="434"/>
                  </a:lnTo>
                  <a:lnTo>
                    <a:pt x="1947" y="492"/>
                  </a:lnTo>
                  <a:lnTo>
                    <a:pt x="1971" y="506"/>
                  </a:lnTo>
                  <a:lnTo>
                    <a:pt x="1992" y="521"/>
                  </a:lnTo>
                  <a:lnTo>
                    <a:pt x="1998" y="524"/>
                  </a:lnTo>
                  <a:lnTo>
                    <a:pt x="2002" y="528"/>
                  </a:lnTo>
                  <a:lnTo>
                    <a:pt x="2006" y="533"/>
                  </a:lnTo>
                  <a:lnTo>
                    <a:pt x="2009" y="537"/>
                  </a:lnTo>
                  <a:lnTo>
                    <a:pt x="2012" y="542"/>
                  </a:lnTo>
                  <a:lnTo>
                    <a:pt x="2014" y="548"/>
                  </a:lnTo>
                  <a:lnTo>
                    <a:pt x="2015" y="555"/>
                  </a:lnTo>
                  <a:lnTo>
                    <a:pt x="2015" y="561"/>
                  </a:lnTo>
                  <a:lnTo>
                    <a:pt x="2015" y="574"/>
                  </a:lnTo>
                  <a:lnTo>
                    <a:pt x="2015" y="588"/>
                  </a:lnTo>
                  <a:lnTo>
                    <a:pt x="2014" y="600"/>
                  </a:lnTo>
                  <a:lnTo>
                    <a:pt x="2011" y="612"/>
                  </a:lnTo>
                  <a:lnTo>
                    <a:pt x="2010" y="618"/>
                  </a:lnTo>
                  <a:lnTo>
                    <a:pt x="2008" y="624"/>
                  </a:lnTo>
                  <a:lnTo>
                    <a:pt x="2005" y="628"/>
                  </a:lnTo>
                  <a:lnTo>
                    <a:pt x="2002" y="633"/>
                  </a:lnTo>
                  <a:lnTo>
                    <a:pt x="1998" y="637"/>
                  </a:lnTo>
                  <a:lnTo>
                    <a:pt x="1994" y="641"/>
                  </a:lnTo>
                  <a:lnTo>
                    <a:pt x="1988" y="644"/>
                  </a:lnTo>
                  <a:lnTo>
                    <a:pt x="1982" y="647"/>
                  </a:lnTo>
                  <a:lnTo>
                    <a:pt x="1986" y="661"/>
                  </a:lnTo>
                  <a:lnTo>
                    <a:pt x="1991" y="674"/>
                  </a:lnTo>
                  <a:lnTo>
                    <a:pt x="1997" y="687"/>
                  </a:lnTo>
                  <a:lnTo>
                    <a:pt x="2003" y="699"/>
                  </a:lnTo>
                  <a:lnTo>
                    <a:pt x="2009" y="711"/>
                  </a:lnTo>
                  <a:lnTo>
                    <a:pt x="2016" y="722"/>
                  </a:lnTo>
                  <a:lnTo>
                    <a:pt x="2024" y="732"/>
                  </a:lnTo>
                  <a:lnTo>
                    <a:pt x="2034" y="742"/>
                  </a:lnTo>
                  <a:lnTo>
                    <a:pt x="2043" y="750"/>
                  </a:lnTo>
                  <a:lnTo>
                    <a:pt x="2053" y="757"/>
                  </a:lnTo>
                  <a:lnTo>
                    <a:pt x="2065" y="763"/>
                  </a:lnTo>
                  <a:lnTo>
                    <a:pt x="2076" y="769"/>
                  </a:lnTo>
                  <a:lnTo>
                    <a:pt x="2088" y="774"/>
                  </a:lnTo>
                  <a:lnTo>
                    <a:pt x="2101" y="777"/>
                  </a:lnTo>
                  <a:lnTo>
                    <a:pt x="2115" y="779"/>
                  </a:lnTo>
                  <a:lnTo>
                    <a:pt x="2129" y="780"/>
                  </a:lnTo>
                  <a:lnTo>
                    <a:pt x="2148" y="779"/>
                  </a:lnTo>
                  <a:lnTo>
                    <a:pt x="2167" y="778"/>
                  </a:lnTo>
                  <a:lnTo>
                    <a:pt x="2183" y="777"/>
                  </a:lnTo>
                  <a:lnTo>
                    <a:pt x="2200" y="775"/>
                  </a:lnTo>
                  <a:lnTo>
                    <a:pt x="2216" y="773"/>
                  </a:lnTo>
                  <a:lnTo>
                    <a:pt x="2233" y="771"/>
                  </a:lnTo>
                  <a:lnTo>
                    <a:pt x="2250" y="770"/>
                  </a:lnTo>
                  <a:lnTo>
                    <a:pt x="2270" y="769"/>
                  </a:lnTo>
                  <a:lnTo>
                    <a:pt x="2276" y="770"/>
                  </a:lnTo>
                  <a:lnTo>
                    <a:pt x="2281" y="771"/>
                  </a:lnTo>
                  <a:lnTo>
                    <a:pt x="2285" y="774"/>
                  </a:lnTo>
                  <a:lnTo>
                    <a:pt x="2289" y="776"/>
                  </a:lnTo>
                  <a:lnTo>
                    <a:pt x="2297" y="783"/>
                  </a:lnTo>
                  <a:lnTo>
                    <a:pt x="2303" y="791"/>
                  </a:lnTo>
                  <a:lnTo>
                    <a:pt x="2309" y="799"/>
                  </a:lnTo>
                  <a:lnTo>
                    <a:pt x="2315" y="809"/>
                  </a:lnTo>
                  <a:lnTo>
                    <a:pt x="2322" y="818"/>
                  </a:lnTo>
                  <a:lnTo>
                    <a:pt x="2332" y="826"/>
                  </a:lnTo>
                  <a:lnTo>
                    <a:pt x="2348" y="839"/>
                  </a:lnTo>
                  <a:lnTo>
                    <a:pt x="2363" y="849"/>
                  </a:lnTo>
                  <a:lnTo>
                    <a:pt x="2378" y="858"/>
                  </a:lnTo>
                  <a:lnTo>
                    <a:pt x="2394" y="866"/>
                  </a:lnTo>
                  <a:lnTo>
                    <a:pt x="2409" y="873"/>
                  </a:lnTo>
                  <a:lnTo>
                    <a:pt x="2426" y="878"/>
                  </a:lnTo>
                  <a:lnTo>
                    <a:pt x="2443" y="882"/>
                  </a:lnTo>
                  <a:lnTo>
                    <a:pt x="2464" y="885"/>
                  </a:lnTo>
                  <a:lnTo>
                    <a:pt x="2463" y="900"/>
                  </a:lnTo>
                  <a:lnTo>
                    <a:pt x="2463" y="912"/>
                  </a:lnTo>
                  <a:lnTo>
                    <a:pt x="2464" y="925"/>
                  </a:lnTo>
                  <a:lnTo>
                    <a:pt x="2464" y="939"/>
                  </a:lnTo>
                  <a:lnTo>
                    <a:pt x="2463" y="950"/>
                  </a:lnTo>
                  <a:lnTo>
                    <a:pt x="2462" y="959"/>
                  </a:lnTo>
                  <a:lnTo>
                    <a:pt x="2460" y="969"/>
                  </a:lnTo>
                  <a:lnTo>
                    <a:pt x="2458" y="977"/>
                  </a:lnTo>
                  <a:lnTo>
                    <a:pt x="2456" y="985"/>
                  </a:lnTo>
                  <a:lnTo>
                    <a:pt x="2453" y="995"/>
                  </a:lnTo>
                  <a:lnTo>
                    <a:pt x="2452" y="1004"/>
                  </a:lnTo>
                  <a:lnTo>
                    <a:pt x="2451" y="1015"/>
                  </a:lnTo>
                  <a:lnTo>
                    <a:pt x="2451" y="1063"/>
                  </a:lnTo>
                  <a:lnTo>
                    <a:pt x="2452" y="1074"/>
                  </a:lnTo>
                  <a:lnTo>
                    <a:pt x="2453" y="1083"/>
                  </a:lnTo>
                  <a:lnTo>
                    <a:pt x="2456" y="1093"/>
                  </a:lnTo>
                  <a:lnTo>
                    <a:pt x="2458" y="1102"/>
                  </a:lnTo>
                  <a:lnTo>
                    <a:pt x="2460" y="1110"/>
                  </a:lnTo>
                  <a:lnTo>
                    <a:pt x="2462" y="1119"/>
                  </a:lnTo>
                  <a:lnTo>
                    <a:pt x="2463" y="1130"/>
                  </a:lnTo>
                  <a:lnTo>
                    <a:pt x="2464" y="1140"/>
                  </a:lnTo>
                  <a:lnTo>
                    <a:pt x="2462" y="1164"/>
                  </a:lnTo>
                  <a:lnTo>
                    <a:pt x="2461" y="1186"/>
                  </a:lnTo>
                  <a:lnTo>
                    <a:pt x="2462" y="1196"/>
                  </a:lnTo>
                  <a:lnTo>
                    <a:pt x="2465" y="1205"/>
                  </a:lnTo>
                  <a:lnTo>
                    <a:pt x="2467" y="1209"/>
                  </a:lnTo>
                  <a:lnTo>
                    <a:pt x="2470" y="1213"/>
                  </a:lnTo>
                  <a:lnTo>
                    <a:pt x="2473" y="1218"/>
                  </a:lnTo>
                  <a:lnTo>
                    <a:pt x="2478" y="1221"/>
                  </a:lnTo>
                  <a:lnTo>
                    <a:pt x="2502" y="1236"/>
                  </a:lnTo>
                  <a:lnTo>
                    <a:pt x="2526" y="1249"/>
                  </a:lnTo>
                  <a:lnTo>
                    <a:pt x="2548" y="1259"/>
                  </a:lnTo>
                  <a:lnTo>
                    <a:pt x="2572" y="1267"/>
                  </a:lnTo>
                  <a:lnTo>
                    <a:pt x="2595" y="1273"/>
                  </a:lnTo>
                  <a:lnTo>
                    <a:pt x="2621" y="1280"/>
                  </a:lnTo>
                  <a:lnTo>
                    <a:pt x="2646" y="1284"/>
                  </a:lnTo>
                  <a:lnTo>
                    <a:pt x="2676" y="1289"/>
                  </a:lnTo>
                  <a:lnTo>
                    <a:pt x="2677" y="1305"/>
                  </a:lnTo>
                  <a:lnTo>
                    <a:pt x="2679" y="1321"/>
                  </a:lnTo>
                  <a:lnTo>
                    <a:pt x="2681" y="1337"/>
                  </a:lnTo>
                  <a:lnTo>
                    <a:pt x="2687" y="1352"/>
                  </a:lnTo>
                  <a:lnTo>
                    <a:pt x="2689" y="1358"/>
                  </a:lnTo>
                  <a:lnTo>
                    <a:pt x="2693" y="1364"/>
                  </a:lnTo>
                  <a:lnTo>
                    <a:pt x="2696" y="1370"/>
                  </a:lnTo>
                  <a:lnTo>
                    <a:pt x="2701" y="1375"/>
                  </a:lnTo>
                  <a:lnTo>
                    <a:pt x="2706" y="1379"/>
                  </a:lnTo>
                  <a:lnTo>
                    <a:pt x="2711" y="1381"/>
                  </a:lnTo>
                  <a:lnTo>
                    <a:pt x="2717" y="1383"/>
                  </a:lnTo>
                  <a:lnTo>
                    <a:pt x="2726" y="1384"/>
                  </a:lnTo>
                  <a:lnTo>
                    <a:pt x="2732" y="1383"/>
                  </a:lnTo>
                  <a:lnTo>
                    <a:pt x="2737" y="1381"/>
                  </a:lnTo>
                  <a:lnTo>
                    <a:pt x="2743" y="1378"/>
                  </a:lnTo>
                  <a:lnTo>
                    <a:pt x="2747" y="1375"/>
                  </a:lnTo>
                  <a:lnTo>
                    <a:pt x="2753" y="1370"/>
                  </a:lnTo>
                  <a:lnTo>
                    <a:pt x="2758" y="1367"/>
                  </a:lnTo>
                  <a:lnTo>
                    <a:pt x="2764" y="1365"/>
                  </a:lnTo>
                  <a:lnTo>
                    <a:pt x="2770" y="1364"/>
                  </a:lnTo>
                  <a:lnTo>
                    <a:pt x="2775" y="1365"/>
                  </a:lnTo>
                  <a:lnTo>
                    <a:pt x="2779" y="1366"/>
                  </a:lnTo>
                  <a:lnTo>
                    <a:pt x="2783" y="1368"/>
                  </a:lnTo>
                  <a:lnTo>
                    <a:pt x="2787" y="1371"/>
                  </a:lnTo>
                  <a:lnTo>
                    <a:pt x="2790" y="1375"/>
                  </a:lnTo>
                  <a:lnTo>
                    <a:pt x="2792" y="1378"/>
                  </a:lnTo>
                  <a:lnTo>
                    <a:pt x="2794" y="1383"/>
                  </a:lnTo>
                  <a:lnTo>
                    <a:pt x="2796" y="1387"/>
                  </a:lnTo>
                  <a:lnTo>
                    <a:pt x="2800" y="1409"/>
                  </a:lnTo>
                  <a:lnTo>
                    <a:pt x="2805" y="1430"/>
                  </a:lnTo>
                  <a:lnTo>
                    <a:pt x="2814" y="1458"/>
                  </a:lnTo>
                  <a:lnTo>
                    <a:pt x="2823" y="1483"/>
                  </a:lnTo>
                  <a:lnTo>
                    <a:pt x="2827" y="1495"/>
                  </a:lnTo>
                  <a:lnTo>
                    <a:pt x="2829" y="1508"/>
                  </a:lnTo>
                  <a:lnTo>
                    <a:pt x="2831" y="1522"/>
                  </a:lnTo>
                  <a:lnTo>
                    <a:pt x="2831" y="1537"/>
                  </a:lnTo>
                  <a:lnTo>
                    <a:pt x="2831" y="1555"/>
                  </a:lnTo>
                  <a:lnTo>
                    <a:pt x="2828" y="1574"/>
                  </a:lnTo>
                  <a:lnTo>
                    <a:pt x="2826" y="1583"/>
                  </a:lnTo>
                  <a:lnTo>
                    <a:pt x="2823" y="1592"/>
                  </a:lnTo>
                  <a:lnTo>
                    <a:pt x="2820" y="1601"/>
                  </a:lnTo>
                  <a:lnTo>
                    <a:pt x="2816" y="1609"/>
                  </a:lnTo>
                  <a:lnTo>
                    <a:pt x="2812" y="1616"/>
                  </a:lnTo>
                  <a:lnTo>
                    <a:pt x="2807" y="1622"/>
                  </a:lnTo>
                  <a:lnTo>
                    <a:pt x="2802" y="1629"/>
                  </a:lnTo>
                  <a:lnTo>
                    <a:pt x="2796" y="1634"/>
                  </a:lnTo>
                  <a:lnTo>
                    <a:pt x="2789" y="1638"/>
                  </a:lnTo>
                  <a:lnTo>
                    <a:pt x="2781" y="1641"/>
                  </a:lnTo>
                  <a:lnTo>
                    <a:pt x="2773" y="1643"/>
                  </a:lnTo>
                  <a:lnTo>
                    <a:pt x="2765" y="1643"/>
                  </a:lnTo>
                  <a:lnTo>
                    <a:pt x="2716" y="1643"/>
                  </a:lnTo>
                  <a:lnTo>
                    <a:pt x="2708" y="1644"/>
                  </a:lnTo>
                  <a:lnTo>
                    <a:pt x="2701" y="1645"/>
                  </a:lnTo>
                  <a:lnTo>
                    <a:pt x="2695" y="1648"/>
                  </a:lnTo>
                  <a:lnTo>
                    <a:pt x="2689" y="1651"/>
                  </a:lnTo>
                  <a:lnTo>
                    <a:pt x="2676" y="1659"/>
                  </a:lnTo>
                  <a:lnTo>
                    <a:pt x="2662" y="1665"/>
                  </a:lnTo>
                  <a:lnTo>
                    <a:pt x="2662" y="1677"/>
                  </a:lnTo>
                  <a:lnTo>
                    <a:pt x="2664" y="1689"/>
                  </a:lnTo>
                  <a:lnTo>
                    <a:pt x="2666" y="1701"/>
                  </a:lnTo>
                  <a:lnTo>
                    <a:pt x="2669" y="1711"/>
                  </a:lnTo>
                  <a:lnTo>
                    <a:pt x="2676" y="1732"/>
                  </a:lnTo>
                  <a:lnTo>
                    <a:pt x="2685" y="1751"/>
                  </a:lnTo>
                  <a:lnTo>
                    <a:pt x="2694" y="1771"/>
                  </a:lnTo>
                  <a:lnTo>
                    <a:pt x="2701" y="1792"/>
                  </a:lnTo>
                  <a:lnTo>
                    <a:pt x="2704" y="1802"/>
                  </a:lnTo>
                  <a:lnTo>
                    <a:pt x="2707" y="1813"/>
                  </a:lnTo>
                  <a:lnTo>
                    <a:pt x="2708" y="1826"/>
                  </a:lnTo>
                  <a:lnTo>
                    <a:pt x="2709" y="1838"/>
                  </a:lnTo>
                  <a:lnTo>
                    <a:pt x="2709" y="1863"/>
                  </a:lnTo>
                  <a:lnTo>
                    <a:pt x="2710" y="1884"/>
                  </a:lnTo>
                  <a:lnTo>
                    <a:pt x="2710" y="1905"/>
                  </a:lnTo>
                  <a:lnTo>
                    <a:pt x="2711" y="1929"/>
                  </a:lnTo>
                  <a:lnTo>
                    <a:pt x="2710" y="1948"/>
                  </a:lnTo>
                  <a:lnTo>
                    <a:pt x="2708" y="1965"/>
                  </a:lnTo>
                  <a:lnTo>
                    <a:pt x="2706" y="1981"/>
                  </a:lnTo>
                  <a:lnTo>
                    <a:pt x="2703" y="1996"/>
                  </a:lnTo>
                  <a:lnTo>
                    <a:pt x="2700" y="2012"/>
                  </a:lnTo>
                  <a:lnTo>
                    <a:pt x="2697" y="2027"/>
                  </a:lnTo>
                  <a:lnTo>
                    <a:pt x="2696" y="2044"/>
                  </a:lnTo>
                  <a:lnTo>
                    <a:pt x="2695" y="2063"/>
                  </a:lnTo>
                  <a:lnTo>
                    <a:pt x="2695" y="2076"/>
                  </a:lnTo>
                  <a:lnTo>
                    <a:pt x="2697" y="2088"/>
                  </a:lnTo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ru-RU" altLang="ru-RU" sz="675" dirty="0">
                <a:latin typeface="Calibri" panose="020F0502020204030204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3964" y="3368"/>
              <a:ext cx="6" cy="0"/>
            </a:xfrm>
            <a:custGeom>
              <a:avLst/>
              <a:gdLst>
                <a:gd name="T0" fmla="*/ 0 w 13"/>
                <a:gd name="T1" fmla="*/ 0 h 5"/>
                <a:gd name="T2" fmla="*/ 92604 w 13"/>
                <a:gd name="T3" fmla="*/ 0 h 5"/>
                <a:gd name="T4" fmla="*/ 92604 w 13"/>
                <a:gd name="T5" fmla="*/ 0 h 5"/>
                <a:gd name="T6" fmla="*/ 0 60000 65536"/>
                <a:gd name="T7" fmla="*/ 0 60000 65536"/>
                <a:gd name="T8" fmla="*/ 0 60000 65536"/>
                <a:gd name="T9" fmla="*/ 0 w 13"/>
                <a:gd name="T10" fmla="*/ 0 h 5"/>
                <a:gd name="T11" fmla="*/ 13 w 13"/>
                <a:gd name="T12" fmla="*/ 0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5">
                  <a:moveTo>
                    <a:pt x="0" y="0"/>
                  </a:moveTo>
                  <a:lnTo>
                    <a:pt x="7" y="2"/>
                  </a:lnTo>
                  <a:lnTo>
                    <a:pt x="13" y="5"/>
                  </a:lnTo>
                </a:path>
              </a:pathLst>
            </a:custGeom>
            <a:grpFill/>
            <a:ln w="12700">
              <a:solidFill>
                <a:srgbClr val="7D7D7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675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2616" y="2636"/>
              <a:ext cx="788" cy="680"/>
            </a:xfrm>
            <a:custGeom>
              <a:avLst/>
              <a:gdLst>
                <a:gd name="T0" fmla="*/ 374 w 2609"/>
                <a:gd name="T1" fmla="*/ 230 h 2337"/>
                <a:gd name="T2" fmla="*/ 374 w 2609"/>
                <a:gd name="T3" fmla="*/ 230 h 2337"/>
                <a:gd name="T4" fmla="*/ 374 w 2609"/>
                <a:gd name="T5" fmla="*/ 230 h 2337"/>
                <a:gd name="T6" fmla="*/ 374 w 2609"/>
                <a:gd name="T7" fmla="*/ 230 h 2337"/>
                <a:gd name="T8" fmla="*/ 374 w 2609"/>
                <a:gd name="T9" fmla="*/ 230 h 2337"/>
                <a:gd name="T10" fmla="*/ 374 w 2609"/>
                <a:gd name="T11" fmla="*/ 230 h 2337"/>
                <a:gd name="T12" fmla="*/ 374 w 2609"/>
                <a:gd name="T13" fmla="*/ 230 h 2337"/>
                <a:gd name="T14" fmla="*/ 374 w 2609"/>
                <a:gd name="T15" fmla="*/ 230 h 2337"/>
                <a:gd name="T16" fmla="*/ 374 w 2609"/>
                <a:gd name="T17" fmla="*/ 230 h 2337"/>
                <a:gd name="T18" fmla="*/ 374 w 2609"/>
                <a:gd name="T19" fmla="*/ 230 h 2337"/>
                <a:gd name="T20" fmla="*/ 374 w 2609"/>
                <a:gd name="T21" fmla="*/ 230 h 2337"/>
                <a:gd name="T22" fmla="*/ 374 w 2609"/>
                <a:gd name="T23" fmla="*/ 230 h 2337"/>
                <a:gd name="T24" fmla="*/ 374 w 2609"/>
                <a:gd name="T25" fmla="*/ 230 h 2337"/>
                <a:gd name="T26" fmla="*/ 374 w 2609"/>
                <a:gd name="T27" fmla="*/ 230 h 2337"/>
                <a:gd name="T28" fmla="*/ 374 w 2609"/>
                <a:gd name="T29" fmla="*/ 230 h 2337"/>
                <a:gd name="T30" fmla="*/ 374 w 2609"/>
                <a:gd name="T31" fmla="*/ 230 h 2337"/>
                <a:gd name="T32" fmla="*/ 374 w 2609"/>
                <a:gd name="T33" fmla="*/ 230 h 2337"/>
                <a:gd name="T34" fmla="*/ 374 w 2609"/>
                <a:gd name="T35" fmla="*/ 230 h 2337"/>
                <a:gd name="T36" fmla="*/ 374 w 2609"/>
                <a:gd name="T37" fmla="*/ 230 h 2337"/>
                <a:gd name="T38" fmla="*/ 374 w 2609"/>
                <a:gd name="T39" fmla="*/ 230 h 2337"/>
                <a:gd name="T40" fmla="*/ 374 w 2609"/>
                <a:gd name="T41" fmla="*/ 230 h 2337"/>
                <a:gd name="T42" fmla="*/ 374 w 2609"/>
                <a:gd name="T43" fmla="*/ 230 h 2337"/>
                <a:gd name="T44" fmla="*/ 374 w 2609"/>
                <a:gd name="T45" fmla="*/ 230 h 2337"/>
                <a:gd name="T46" fmla="*/ 374 w 2609"/>
                <a:gd name="T47" fmla="*/ 230 h 2337"/>
                <a:gd name="T48" fmla="*/ 374 w 2609"/>
                <a:gd name="T49" fmla="*/ 230 h 2337"/>
                <a:gd name="T50" fmla="*/ 374 w 2609"/>
                <a:gd name="T51" fmla="*/ 230 h 2337"/>
                <a:gd name="T52" fmla="*/ 374 w 2609"/>
                <a:gd name="T53" fmla="*/ 230 h 2337"/>
                <a:gd name="T54" fmla="*/ 374 w 2609"/>
                <a:gd name="T55" fmla="*/ 230 h 2337"/>
                <a:gd name="T56" fmla="*/ 374 w 2609"/>
                <a:gd name="T57" fmla="*/ 230 h 2337"/>
                <a:gd name="T58" fmla="*/ 374 w 2609"/>
                <a:gd name="T59" fmla="*/ 230 h 2337"/>
                <a:gd name="T60" fmla="*/ 374 w 2609"/>
                <a:gd name="T61" fmla="*/ 230 h 2337"/>
                <a:gd name="T62" fmla="*/ 374 w 2609"/>
                <a:gd name="T63" fmla="*/ 230 h 2337"/>
                <a:gd name="T64" fmla="*/ 374 w 2609"/>
                <a:gd name="T65" fmla="*/ 230 h 2337"/>
                <a:gd name="T66" fmla="*/ 374 w 2609"/>
                <a:gd name="T67" fmla="*/ 230 h 2337"/>
                <a:gd name="T68" fmla="*/ 374 w 2609"/>
                <a:gd name="T69" fmla="*/ 230 h 2337"/>
                <a:gd name="T70" fmla="*/ 374 w 2609"/>
                <a:gd name="T71" fmla="*/ 230 h 2337"/>
                <a:gd name="T72" fmla="*/ 374 w 2609"/>
                <a:gd name="T73" fmla="*/ 230 h 2337"/>
                <a:gd name="T74" fmla="*/ 374 w 2609"/>
                <a:gd name="T75" fmla="*/ 230 h 2337"/>
                <a:gd name="T76" fmla="*/ 374 w 2609"/>
                <a:gd name="T77" fmla="*/ 230 h 2337"/>
                <a:gd name="T78" fmla="*/ 374 w 2609"/>
                <a:gd name="T79" fmla="*/ 230 h 2337"/>
                <a:gd name="T80" fmla="*/ 374 w 2609"/>
                <a:gd name="T81" fmla="*/ 230 h 2337"/>
                <a:gd name="T82" fmla="*/ 374 w 2609"/>
                <a:gd name="T83" fmla="*/ 230 h 2337"/>
                <a:gd name="T84" fmla="*/ 374 w 2609"/>
                <a:gd name="T85" fmla="*/ 230 h 2337"/>
                <a:gd name="T86" fmla="*/ 374 w 2609"/>
                <a:gd name="T87" fmla="*/ 230 h 2337"/>
                <a:gd name="T88" fmla="*/ 374 w 2609"/>
                <a:gd name="T89" fmla="*/ 230 h 2337"/>
                <a:gd name="T90" fmla="*/ 374 w 2609"/>
                <a:gd name="T91" fmla="*/ 230 h 2337"/>
                <a:gd name="T92" fmla="*/ 374 w 2609"/>
                <a:gd name="T93" fmla="*/ 230 h 2337"/>
                <a:gd name="T94" fmla="*/ 374 w 2609"/>
                <a:gd name="T95" fmla="*/ 230 h 2337"/>
                <a:gd name="T96" fmla="*/ 374 w 2609"/>
                <a:gd name="T97" fmla="*/ 230 h 2337"/>
                <a:gd name="T98" fmla="*/ 374 w 2609"/>
                <a:gd name="T99" fmla="*/ 230 h 2337"/>
                <a:gd name="T100" fmla="*/ 374 w 2609"/>
                <a:gd name="T101" fmla="*/ 230 h 2337"/>
                <a:gd name="T102" fmla="*/ 374 w 2609"/>
                <a:gd name="T103" fmla="*/ 230 h 2337"/>
                <a:gd name="T104" fmla="*/ 374 w 2609"/>
                <a:gd name="T105" fmla="*/ 230 h 2337"/>
                <a:gd name="T106" fmla="*/ 374 w 2609"/>
                <a:gd name="T107" fmla="*/ 230 h 2337"/>
                <a:gd name="T108" fmla="*/ 374 w 2609"/>
                <a:gd name="T109" fmla="*/ 230 h 2337"/>
                <a:gd name="T110" fmla="*/ 374 w 2609"/>
                <a:gd name="T111" fmla="*/ 230 h 2337"/>
                <a:gd name="T112" fmla="*/ 374 w 2609"/>
                <a:gd name="T113" fmla="*/ 230 h 2337"/>
                <a:gd name="T114" fmla="*/ 374 w 2609"/>
                <a:gd name="T115" fmla="*/ 230 h 2337"/>
                <a:gd name="T116" fmla="*/ 374 w 2609"/>
                <a:gd name="T117" fmla="*/ 230 h 2337"/>
                <a:gd name="T118" fmla="*/ 374 w 2609"/>
                <a:gd name="T119" fmla="*/ 230 h 2337"/>
                <a:gd name="T120" fmla="*/ 374 w 2609"/>
                <a:gd name="T121" fmla="*/ 230 h 23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609"/>
                <a:gd name="T184" fmla="*/ 0 h 2337"/>
                <a:gd name="T185" fmla="*/ 2609 w 2609"/>
                <a:gd name="T186" fmla="*/ 2337 h 23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609" h="2337">
                  <a:moveTo>
                    <a:pt x="1474" y="2238"/>
                  </a:moveTo>
                  <a:lnTo>
                    <a:pt x="1468" y="2259"/>
                  </a:lnTo>
                  <a:lnTo>
                    <a:pt x="1463" y="2277"/>
                  </a:lnTo>
                  <a:lnTo>
                    <a:pt x="1457" y="2294"/>
                  </a:lnTo>
                  <a:lnTo>
                    <a:pt x="1453" y="2315"/>
                  </a:lnTo>
                  <a:lnTo>
                    <a:pt x="1431" y="2299"/>
                  </a:lnTo>
                  <a:lnTo>
                    <a:pt x="1410" y="2283"/>
                  </a:lnTo>
                  <a:lnTo>
                    <a:pt x="1398" y="2276"/>
                  </a:lnTo>
                  <a:lnTo>
                    <a:pt x="1386" y="2269"/>
                  </a:lnTo>
                  <a:lnTo>
                    <a:pt x="1380" y="2267"/>
                  </a:lnTo>
                  <a:lnTo>
                    <a:pt x="1373" y="2265"/>
                  </a:lnTo>
                  <a:lnTo>
                    <a:pt x="1365" y="2264"/>
                  </a:lnTo>
                  <a:lnTo>
                    <a:pt x="1358" y="2264"/>
                  </a:lnTo>
                  <a:lnTo>
                    <a:pt x="1349" y="2266"/>
                  </a:lnTo>
                  <a:lnTo>
                    <a:pt x="1341" y="2268"/>
                  </a:lnTo>
                  <a:lnTo>
                    <a:pt x="1313" y="2268"/>
                  </a:lnTo>
                  <a:lnTo>
                    <a:pt x="1308" y="2269"/>
                  </a:lnTo>
                  <a:lnTo>
                    <a:pt x="1303" y="2272"/>
                  </a:lnTo>
                  <a:lnTo>
                    <a:pt x="1298" y="2277"/>
                  </a:lnTo>
                  <a:lnTo>
                    <a:pt x="1294" y="2283"/>
                  </a:lnTo>
                  <a:lnTo>
                    <a:pt x="1288" y="2296"/>
                  </a:lnTo>
                  <a:lnTo>
                    <a:pt x="1282" y="2311"/>
                  </a:lnTo>
                  <a:lnTo>
                    <a:pt x="1278" y="2324"/>
                  </a:lnTo>
                  <a:lnTo>
                    <a:pt x="1275" y="2333"/>
                  </a:lnTo>
                  <a:lnTo>
                    <a:pt x="1274" y="2335"/>
                  </a:lnTo>
                  <a:lnTo>
                    <a:pt x="1274" y="2337"/>
                  </a:lnTo>
                  <a:lnTo>
                    <a:pt x="1273" y="2334"/>
                  </a:lnTo>
                  <a:lnTo>
                    <a:pt x="1273" y="2331"/>
                  </a:lnTo>
                  <a:lnTo>
                    <a:pt x="1273" y="2323"/>
                  </a:lnTo>
                  <a:lnTo>
                    <a:pt x="1270" y="2317"/>
                  </a:lnTo>
                  <a:lnTo>
                    <a:pt x="1268" y="2311"/>
                  </a:lnTo>
                  <a:lnTo>
                    <a:pt x="1266" y="2304"/>
                  </a:lnTo>
                  <a:lnTo>
                    <a:pt x="1262" y="2299"/>
                  </a:lnTo>
                  <a:lnTo>
                    <a:pt x="1258" y="2295"/>
                  </a:lnTo>
                  <a:lnTo>
                    <a:pt x="1254" y="2290"/>
                  </a:lnTo>
                  <a:lnTo>
                    <a:pt x="1249" y="2286"/>
                  </a:lnTo>
                  <a:lnTo>
                    <a:pt x="1226" y="2269"/>
                  </a:lnTo>
                  <a:lnTo>
                    <a:pt x="1203" y="2250"/>
                  </a:lnTo>
                  <a:lnTo>
                    <a:pt x="1169" y="2217"/>
                  </a:lnTo>
                  <a:lnTo>
                    <a:pt x="1151" y="2196"/>
                  </a:lnTo>
                  <a:lnTo>
                    <a:pt x="1146" y="2190"/>
                  </a:lnTo>
                  <a:lnTo>
                    <a:pt x="1144" y="2187"/>
                  </a:lnTo>
                  <a:lnTo>
                    <a:pt x="1145" y="2186"/>
                  </a:lnTo>
                  <a:lnTo>
                    <a:pt x="1145" y="2185"/>
                  </a:lnTo>
                  <a:lnTo>
                    <a:pt x="1147" y="2185"/>
                  </a:lnTo>
                  <a:lnTo>
                    <a:pt x="1149" y="2185"/>
                  </a:lnTo>
                  <a:lnTo>
                    <a:pt x="1162" y="2189"/>
                  </a:lnTo>
                  <a:lnTo>
                    <a:pt x="1184" y="2195"/>
                  </a:lnTo>
                  <a:lnTo>
                    <a:pt x="1196" y="2197"/>
                  </a:lnTo>
                  <a:lnTo>
                    <a:pt x="1211" y="2200"/>
                  </a:lnTo>
                  <a:lnTo>
                    <a:pt x="1226" y="2202"/>
                  </a:lnTo>
                  <a:lnTo>
                    <a:pt x="1243" y="2202"/>
                  </a:lnTo>
                  <a:lnTo>
                    <a:pt x="1272" y="2202"/>
                  </a:lnTo>
                  <a:lnTo>
                    <a:pt x="1281" y="2202"/>
                  </a:lnTo>
                  <a:lnTo>
                    <a:pt x="1290" y="2201"/>
                  </a:lnTo>
                  <a:lnTo>
                    <a:pt x="1298" y="2200"/>
                  </a:lnTo>
                  <a:lnTo>
                    <a:pt x="1306" y="2198"/>
                  </a:lnTo>
                  <a:lnTo>
                    <a:pt x="1321" y="2193"/>
                  </a:lnTo>
                  <a:lnTo>
                    <a:pt x="1339" y="2185"/>
                  </a:lnTo>
                  <a:lnTo>
                    <a:pt x="1350" y="2190"/>
                  </a:lnTo>
                  <a:lnTo>
                    <a:pt x="1358" y="2196"/>
                  </a:lnTo>
                  <a:lnTo>
                    <a:pt x="1367" y="2202"/>
                  </a:lnTo>
                  <a:lnTo>
                    <a:pt x="1379" y="2207"/>
                  </a:lnTo>
                  <a:lnTo>
                    <a:pt x="1394" y="2212"/>
                  </a:lnTo>
                  <a:lnTo>
                    <a:pt x="1408" y="2216"/>
                  </a:lnTo>
                  <a:lnTo>
                    <a:pt x="1421" y="2219"/>
                  </a:lnTo>
                  <a:lnTo>
                    <a:pt x="1435" y="2225"/>
                  </a:lnTo>
                  <a:lnTo>
                    <a:pt x="1444" y="2229"/>
                  </a:lnTo>
                  <a:lnTo>
                    <a:pt x="1452" y="2234"/>
                  </a:lnTo>
                  <a:lnTo>
                    <a:pt x="1456" y="2235"/>
                  </a:lnTo>
                  <a:lnTo>
                    <a:pt x="1460" y="2236"/>
                  </a:lnTo>
                  <a:lnTo>
                    <a:pt x="1464" y="2237"/>
                  </a:lnTo>
                  <a:lnTo>
                    <a:pt x="1470" y="2238"/>
                  </a:lnTo>
                  <a:lnTo>
                    <a:pt x="1474" y="2238"/>
                  </a:lnTo>
                  <a:close/>
                  <a:moveTo>
                    <a:pt x="2522" y="847"/>
                  </a:moveTo>
                  <a:lnTo>
                    <a:pt x="2530" y="869"/>
                  </a:lnTo>
                  <a:lnTo>
                    <a:pt x="2536" y="888"/>
                  </a:lnTo>
                  <a:lnTo>
                    <a:pt x="2542" y="906"/>
                  </a:lnTo>
                  <a:lnTo>
                    <a:pt x="2548" y="924"/>
                  </a:lnTo>
                  <a:lnTo>
                    <a:pt x="2553" y="942"/>
                  </a:lnTo>
                  <a:lnTo>
                    <a:pt x="2556" y="961"/>
                  </a:lnTo>
                  <a:lnTo>
                    <a:pt x="2559" y="981"/>
                  </a:lnTo>
                  <a:lnTo>
                    <a:pt x="2560" y="1002"/>
                  </a:lnTo>
                  <a:lnTo>
                    <a:pt x="2560" y="1051"/>
                  </a:lnTo>
                  <a:lnTo>
                    <a:pt x="2559" y="1061"/>
                  </a:lnTo>
                  <a:lnTo>
                    <a:pt x="2556" y="1070"/>
                  </a:lnTo>
                  <a:lnTo>
                    <a:pt x="2553" y="1080"/>
                  </a:lnTo>
                  <a:lnTo>
                    <a:pt x="2550" y="1087"/>
                  </a:lnTo>
                  <a:lnTo>
                    <a:pt x="2547" y="1095"/>
                  </a:lnTo>
                  <a:lnTo>
                    <a:pt x="2544" y="1105"/>
                  </a:lnTo>
                  <a:lnTo>
                    <a:pt x="2542" y="1114"/>
                  </a:lnTo>
                  <a:lnTo>
                    <a:pt x="2541" y="1124"/>
                  </a:lnTo>
                  <a:lnTo>
                    <a:pt x="2542" y="1138"/>
                  </a:lnTo>
                  <a:lnTo>
                    <a:pt x="2544" y="1150"/>
                  </a:lnTo>
                  <a:lnTo>
                    <a:pt x="2547" y="1161"/>
                  </a:lnTo>
                  <a:lnTo>
                    <a:pt x="2550" y="1173"/>
                  </a:lnTo>
                  <a:lnTo>
                    <a:pt x="2561" y="1193"/>
                  </a:lnTo>
                  <a:lnTo>
                    <a:pt x="2573" y="1213"/>
                  </a:lnTo>
                  <a:lnTo>
                    <a:pt x="2585" y="1234"/>
                  </a:lnTo>
                  <a:lnTo>
                    <a:pt x="2596" y="1254"/>
                  </a:lnTo>
                  <a:lnTo>
                    <a:pt x="2601" y="1266"/>
                  </a:lnTo>
                  <a:lnTo>
                    <a:pt x="2605" y="1277"/>
                  </a:lnTo>
                  <a:lnTo>
                    <a:pt x="2608" y="1289"/>
                  </a:lnTo>
                  <a:lnTo>
                    <a:pt x="2609" y="1303"/>
                  </a:lnTo>
                  <a:lnTo>
                    <a:pt x="2596" y="1308"/>
                  </a:lnTo>
                  <a:lnTo>
                    <a:pt x="2584" y="1314"/>
                  </a:lnTo>
                  <a:lnTo>
                    <a:pt x="2574" y="1321"/>
                  </a:lnTo>
                  <a:lnTo>
                    <a:pt x="2564" y="1329"/>
                  </a:lnTo>
                  <a:lnTo>
                    <a:pt x="2554" y="1337"/>
                  </a:lnTo>
                  <a:lnTo>
                    <a:pt x="2544" y="1344"/>
                  </a:lnTo>
                  <a:lnTo>
                    <a:pt x="2533" y="1351"/>
                  </a:lnTo>
                  <a:lnTo>
                    <a:pt x="2519" y="1358"/>
                  </a:lnTo>
                  <a:lnTo>
                    <a:pt x="2507" y="1362"/>
                  </a:lnTo>
                  <a:lnTo>
                    <a:pt x="2496" y="1366"/>
                  </a:lnTo>
                  <a:lnTo>
                    <a:pt x="2490" y="1368"/>
                  </a:lnTo>
                  <a:lnTo>
                    <a:pt x="2485" y="1371"/>
                  </a:lnTo>
                  <a:lnTo>
                    <a:pt x="2480" y="1374"/>
                  </a:lnTo>
                  <a:lnTo>
                    <a:pt x="2475" y="1378"/>
                  </a:lnTo>
                  <a:lnTo>
                    <a:pt x="2470" y="1383"/>
                  </a:lnTo>
                  <a:lnTo>
                    <a:pt x="2464" y="1386"/>
                  </a:lnTo>
                  <a:lnTo>
                    <a:pt x="2457" y="1391"/>
                  </a:lnTo>
                  <a:lnTo>
                    <a:pt x="2451" y="1393"/>
                  </a:lnTo>
                  <a:lnTo>
                    <a:pt x="2439" y="1399"/>
                  </a:lnTo>
                  <a:lnTo>
                    <a:pt x="2427" y="1404"/>
                  </a:lnTo>
                  <a:lnTo>
                    <a:pt x="2421" y="1406"/>
                  </a:lnTo>
                  <a:lnTo>
                    <a:pt x="2416" y="1409"/>
                  </a:lnTo>
                  <a:lnTo>
                    <a:pt x="2411" y="1412"/>
                  </a:lnTo>
                  <a:lnTo>
                    <a:pt x="2407" y="1416"/>
                  </a:lnTo>
                  <a:lnTo>
                    <a:pt x="2404" y="1421"/>
                  </a:lnTo>
                  <a:lnTo>
                    <a:pt x="2402" y="1426"/>
                  </a:lnTo>
                  <a:lnTo>
                    <a:pt x="2400" y="1431"/>
                  </a:lnTo>
                  <a:lnTo>
                    <a:pt x="2400" y="1438"/>
                  </a:lnTo>
                  <a:lnTo>
                    <a:pt x="2401" y="1447"/>
                  </a:lnTo>
                  <a:lnTo>
                    <a:pt x="2403" y="1457"/>
                  </a:lnTo>
                  <a:lnTo>
                    <a:pt x="2407" y="1464"/>
                  </a:lnTo>
                  <a:lnTo>
                    <a:pt x="2411" y="1471"/>
                  </a:lnTo>
                  <a:lnTo>
                    <a:pt x="2416" y="1478"/>
                  </a:lnTo>
                  <a:lnTo>
                    <a:pt x="2421" y="1487"/>
                  </a:lnTo>
                  <a:lnTo>
                    <a:pt x="2427" y="1495"/>
                  </a:lnTo>
                  <a:lnTo>
                    <a:pt x="2430" y="1504"/>
                  </a:lnTo>
                  <a:lnTo>
                    <a:pt x="2434" y="1521"/>
                  </a:lnTo>
                  <a:lnTo>
                    <a:pt x="2437" y="1536"/>
                  </a:lnTo>
                  <a:lnTo>
                    <a:pt x="2439" y="1543"/>
                  </a:lnTo>
                  <a:lnTo>
                    <a:pt x="2442" y="1550"/>
                  </a:lnTo>
                  <a:lnTo>
                    <a:pt x="2447" y="1556"/>
                  </a:lnTo>
                  <a:lnTo>
                    <a:pt x="2453" y="1560"/>
                  </a:lnTo>
                  <a:lnTo>
                    <a:pt x="2469" y="1567"/>
                  </a:lnTo>
                  <a:lnTo>
                    <a:pt x="2484" y="1573"/>
                  </a:lnTo>
                  <a:lnTo>
                    <a:pt x="2491" y="1578"/>
                  </a:lnTo>
                  <a:lnTo>
                    <a:pt x="2497" y="1583"/>
                  </a:lnTo>
                  <a:lnTo>
                    <a:pt x="2498" y="1585"/>
                  </a:lnTo>
                  <a:lnTo>
                    <a:pt x="2500" y="1588"/>
                  </a:lnTo>
                  <a:lnTo>
                    <a:pt x="2501" y="1592"/>
                  </a:lnTo>
                  <a:lnTo>
                    <a:pt x="2501" y="1596"/>
                  </a:lnTo>
                  <a:lnTo>
                    <a:pt x="2501" y="1605"/>
                  </a:lnTo>
                  <a:lnTo>
                    <a:pt x="2500" y="1616"/>
                  </a:lnTo>
                  <a:lnTo>
                    <a:pt x="2499" y="1624"/>
                  </a:lnTo>
                  <a:lnTo>
                    <a:pt x="2497" y="1632"/>
                  </a:lnTo>
                  <a:lnTo>
                    <a:pt x="2493" y="1649"/>
                  </a:lnTo>
                  <a:lnTo>
                    <a:pt x="2486" y="1664"/>
                  </a:lnTo>
                  <a:lnTo>
                    <a:pt x="2473" y="1694"/>
                  </a:lnTo>
                  <a:lnTo>
                    <a:pt x="2458" y="1730"/>
                  </a:lnTo>
                  <a:lnTo>
                    <a:pt x="2453" y="1744"/>
                  </a:lnTo>
                  <a:lnTo>
                    <a:pt x="2448" y="1757"/>
                  </a:lnTo>
                  <a:lnTo>
                    <a:pt x="2442" y="1770"/>
                  </a:lnTo>
                  <a:lnTo>
                    <a:pt x="2436" y="1782"/>
                  </a:lnTo>
                  <a:lnTo>
                    <a:pt x="2429" y="1793"/>
                  </a:lnTo>
                  <a:lnTo>
                    <a:pt x="2420" y="1804"/>
                  </a:lnTo>
                  <a:lnTo>
                    <a:pt x="2412" y="1813"/>
                  </a:lnTo>
                  <a:lnTo>
                    <a:pt x="2403" y="1822"/>
                  </a:lnTo>
                  <a:lnTo>
                    <a:pt x="2394" y="1831"/>
                  </a:lnTo>
                  <a:lnTo>
                    <a:pt x="2383" y="1837"/>
                  </a:lnTo>
                  <a:lnTo>
                    <a:pt x="2373" y="1843"/>
                  </a:lnTo>
                  <a:lnTo>
                    <a:pt x="2361" y="1848"/>
                  </a:lnTo>
                  <a:lnTo>
                    <a:pt x="2349" y="1852"/>
                  </a:lnTo>
                  <a:lnTo>
                    <a:pt x="2336" y="1855"/>
                  </a:lnTo>
                  <a:lnTo>
                    <a:pt x="2322" y="1857"/>
                  </a:lnTo>
                  <a:lnTo>
                    <a:pt x="2309" y="1858"/>
                  </a:lnTo>
                  <a:lnTo>
                    <a:pt x="2297" y="1857"/>
                  </a:lnTo>
                  <a:lnTo>
                    <a:pt x="2284" y="1855"/>
                  </a:lnTo>
                  <a:lnTo>
                    <a:pt x="2274" y="1852"/>
                  </a:lnTo>
                  <a:lnTo>
                    <a:pt x="2264" y="1848"/>
                  </a:lnTo>
                  <a:lnTo>
                    <a:pt x="2245" y="1837"/>
                  </a:lnTo>
                  <a:lnTo>
                    <a:pt x="2226" y="1825"/>
                  </a:lnTo>
                  <a:lnTo>
                    <a:pt x="2209" y="1813"/>
                  </a:lnTo>
                  <a:lnTo>
                    <a:pt x="2189" y="1803"/>
                  </a:lnTo>
                  <a:lnTo>
                    <a:pt x="2180" y="1797"/>
                  </a:lnTo>
                  <a:lnTo>
                    <a:pt x="2169" y="1794"/>
                  </a:lnTo>
                  <a:lnTo>
                    <a:pt x="2157" y="1792"/>
                  </a:lnTo>
                  <a:lnTo>
                    <a:pt x="2145" y="1792"/>
                  </a:lnTo>
                  <a:lnTo>
                    <a:pt x="2137" y="1792"/>
                  </a:lnTo>
                  <a:lnTo>
                    <a:pt x="2128" y="1792"/>
                  </a:lnTo>
                  <a:lnTo>
                    <a:pt x="2120" y="1793"/>
                  </a:lnTo>
                  <a:lnTo>
                    <a:pt x="2113" y="1795"/>
                  </a:lnTo>
                  <a:lnTo>
                    <a:pt x="2107" y="1798"/>
                  </a:lnTo>
                  <a:lnTo>
                    <a:pt x="2101" y="1803"/>
                  </a:lnTo>
                  <a:lnTo>
                    <a:pt x="2094" y="1807"/>
                  </a:lnTo>
                  <a:lnTo>
                    <a:pt x="2088" y="1813"/>
                  </a:lnTo>
                  <a:lnTo>
                    <a:pt x="2082" y="1822"/>
                  </a:lnTo>
                  <a:lnTo>
                    <a:pt x="2076" y="1833"/>
                  </a:lnTo>
                  <a:lnTo>
                    <a:pt x="2072" y="1843"/>
                  </a:lnTo>
                  <a:lnTo>
                    <a:pt x="2068" y="1852"/>
                  </a:lnTo>
                  <a:lnTo>
                    <a:pt x="2062" y="1861"/>
                  </a:lnTo>
                  <a:lnTo>
                    <a:pt x="2056" y="1868"/>
                  </a:lnTo>
                  <a:lnTo>
                    <a:pt x="2053" y="1871"/>
                  </a:lnTo>
                  <a:lnTo>
                    <a:pt x="2049" y="1873"/>
                  </a:lnTo>
                  <a:lnTo>
                    <a:pt x="2044" y="1874"/>
                  </a:lnTo>
                  <a:lnTo>
                    <a:pt x="2039" y="1875"/>
                  </a:lnTo>
                  <a:lnTo>
                    <a:pt x="2033" y="1874"/>
                  </a:lnTo>
                  <a:lnTo>
                    <a:pt x="2027" y="1873"/>
                  </a:lnTo>
                  <a:lnTo>
                    <a:pt x="2022" y="1871"/>
                  </a:lnTo>
                  <a:lnTo>
                    <a:pt x="2018" y="1869"/>
                  </a:lnTo>
                  <a:lnTo>
                    <a:pt x="2010" y="1861"/>
                  </a:lnTo>
                  <a:lnTo>
                    <a:pt x="2003" y="1853"/>
                  </a:lnTo>
                  <a:lnTo>
                    <a:pt x="1995" y="1845"/>
                  </a:lnTo>
                  <a:lnTo>
                    <a:pt x="1988" y="1836"/>
                  </a:lnTo>
                  <a:lnTo>
                    <a:pt x="1980" y="1827"/>
                  </a:lnTo>
                  <a:lnTo>
                    <a:pt x="1971" y="1820"/>
                  </a:lnTo>
                  <a:lnTo>
                    <a:pt x="1968" y="1824"/>
                  </a:lnTo>
                  <a:lnTo>
                    <a:pt x="1966" y="1829"/>
                  </a:lnTo>
                  <a:lnTo>
                    <a:pt x="1968" y="1842"/>
                  </a:lnTo>
                  <a:lnTo>
                    <a:pt x="1971" y="1853"/>
                  </a:lnTo>
                  <a:lnTo>
                    <a:pt x="1970" y="1859"/>
                  </a:lnTo>
                  <a:lnTo>
                    <a:pt x="1969" y="1865"/>
                  </a:lnTo>
                  <a:lnTo>
                    <a:pt x="1968" y="1871"/>
                  </a:lnTo>
                  <a:lnTo>
                    <a:pt x="1965" y="1876"/>
                  </a:lnTo>
                  <a:lnTo>
                    <a:pt x="1961" y="1880"/>
                  </a:lnTo>
                  <a:lnTo>
                    <a:pt x="1957" y="1883"/>
                  </a:lnTo>
                  <a:lnTo>
                    <a:pt x="1952" y="1885"/>
                  </a:lnTo>
                  <a:lnTo>
                    <a:pt x="1947" y="1886"/>
                  </a:lnTo>
                  <a:lnTo>
                    <a:pt x="1938" y="1885"/>
                  </a:lnTo>
                  <a:lnTo>
                    <a:pt x="1929" y="1884"/>
                  </a:lnTo>
                  <a:lnTo>
                    <a:pt x="1922" y="1882"/>
                  </a:lnTo>
                  <a:lnTo>
                    <a:pt x="1914" y="1879"/>
                  </a:lnTo>
                  <a:lnTo>
                    <a:pt x="1901" y="1871"/>
                  </a:lnTo>
                  <a:lnTo>
                    <a:pt x="1887" y="1863"/>
                  </a:lnTo>
                  <a:lnTo>
                    <a:pt x="1875" y="1854"/>
                  </a:lnTo>
                  <a:lnTo>
                    <a:pt x="1860" y="1846"/>
                  </a:lnTo>
                  <a:lnTo>
                    <a:pt x="1853" y="1843"/>
                  </a:lnTo>
                  <a:lnTo>
                    <a:pt x="1846" y="1841"/>
                  </a:lnTo>
                  <a:lnTo>
                    <a:pt x="1838" y="1840"/>
                  </a:lnTo>
                  <a:lnTo>
                    <a:pt x="1828" y="1839"/>
                  </a:lnTo>
                  <a:lnTo>
                    <a:pt x="1810" y="1839"/>
                  </a:lnTo>
                  <a:lnTo>
                    <a:pt x="1810" y="1857"/>
                  </a:lnTo>
                  <a:lnTo>
                    <a:pt x="1809" y="1876"/>
                  </a:lnTo>
                  <a:lnTo>
                    <a:pt x="1807" y="1894"/>
                  </a:lnTo>
                  <a:lnTo>
                    <a:pt x="1803" y="1910"/>
                  </a:lnTo>
                  <a:lnTo>
                    <a:pt x="1801" y="1918"/>
                  </a:lnTo>
                  <a:lnTo>
                    <a:pt x="1797" y="1926"/>
                  </a:lnTo>
                  <a:lnTo>
                    <a:pt x="1793" y="1932"/>
                  </a:lnTo>
                  <a:lnTo>
                    <a:pt x="1788" y="1938"/>
                  </a:lnTo>
                  <a:lnTo>
                    <a:pt x="1783" y="1943"/>
                  </a:lnTo>
                  <a:lnTo>
                    <a:pt x="1776" y="1948"/>
                  </a:lnTo>
                  <a:lnTo>
                    <a:pt x="1769" y="1951"/>
                  </a:lnTo>
                  <a:lnTo>
                    <a:pt x="1760" y="1954"/>
                  </a:lnTo>
                  <a:lnTo>
                    <a:pt x="1728" y="1964"/>
                  </a:lnTo>
                  <a:lnTo>
                    <a:pt x="1696" y="1971"/>
                  </a:lnTo>
                  <a:lnTo>
                    <a:pt x="1681" y="1975"/>
                  </a:lnTo>
                  <a:lnTo>
                    <a:pt x="1665" y="1979"/>
                  </a:lnTo>
                  <a:lnTo>
                    <a:pt x="1651" y="1984"/>
                  </a:lnTo>
                  <a:lnTo>
                    <a:pt x="1637" y="1990"/>
                  </a:lnTo>
                  <a:lnTo>
                    <a:pt x="1624" y="1996"/>
                  </a:lnTo>
                  <a:lnTo>
                    <a:pt x="1612" y="2003"/>
                  </a:lnTo>
                  <a:lnTo>
                    <a:pt x="1600" y="2010"/>
                  </a:lnTo>
                  <a:lnTo>
                    <a:pt x="1590" y="2019"/>
                  </a:lnTo>
                  <a:lnTo>
                    <a:pt x="1581" y="2030"/>
                  </a:lnTo>
                  <a:lnTo>
                    <a:pt x="1573" y="2042"/>
                  </a:lnTo>
                  <a:lnTo>
                    <a:pt x="1570" y="2048"/>
                  </a:lnTo>
                  <a:lnTo>
                    <a:pt x="1566" y="2056"/>
                  </a:lnTo>
                  <a:lnTo>
                    <a:pt x="1564" y="2063"/>
                  </a:lnTo>
                  <a:lnTo>
                    <a:pt x="1562" y="2071"/>
                  </a:lnTo>
                  <a:lnTo>
                    <a:pt x="1555" y="2062"/>
                  </a:lnTo>
                  <a:lnTo>
                    <a:pt x="1550" y="2053"/>
                  </a:lnTo>
                  <a:lnTo>
                    <a:pt x="1546" y="2042"/>
                  </a:lnTo>
                  <a:lnTo>
                    <a:pt x="1542" y="2031"/>
                  </a:lnTo>
                  <a:lnTo>
                    <a:pt x="1537" y="2008"/>
                  </a:lnTo>
                  <a:lnTo>
                    <a:pt x="1529" y="1983"/>
                  </a:lnTo>
                  <a:lnTo>
                    <a:pt x="1526" y="1972"/>
                  </a:lnTo>
                  <a:lnTo>
                    <a:pt x="1521" y="1963"/>
                  </a:lnTo>
                  <a:lnTo>
                    <a:pt x="1517" y="1954"/>
                  </a:lnTo>
                  <a:lnTo>
                    <a:pt x="1512" y="1946"/>
                  </a:lnTo>
                  <a:lnTo>
                    <a:pt x="1508" y="1938"/>
                  </a:lnTo>
                  <a:lnTo>
                    <a:pt x="1505" y="1929"/>
                  </a:lnTo>
                  <a:lnTo>
                    <a:pt x="1503" y="1919"/>
                  </a:lnTo>
                  <a:lnTo>
                    <a:pt x="1501" y="1909"/>
                  </a:lnTo>
                  <a:lnTo>
                    <a:pt x="1501" y="1881"/>
                  </a:lnTo>
                  <a:lnTo>
                    <a:pt x="1503" y="1855"/>
                  </a:lnTo>
                  <a:lnTo>
                    <a:pt x="1505" y="1844"/>
                  </a:lnTo>
                  <a:lnTo>
                    <a:pt x="1509" y="1833"/>
                  </a:lnTo>
                  <a:lnTo>
                    <a:pt x="1514" y="1820"/>
                  </a:lnTo>
                  <a:lnTo>
                    <a:pt x="1521" y="1809"/>
                  </a:lnTo>
                  <a:lnTo>
                    <a:pt x="1532" y="1795"/>
                  </a:lnTo>
                  <a:lnTo>
                    <a:pt x="1543" y="1785"/>
                  </a:lnTo>
                  <a:lnTo>
                    <a:pt x="1547" y="1779"/>
                  </a:lnTo>
                  <a:lnTo>
                    <a:pt x="1550" y="1773"/>
                  </a:lnTo>
                  <a:lnTo>
                    <a:pt x="1552" y="1765"/>
                  </a:lnTo>
                  <a:lnTo>
                    <a:pt x="1553" y="1757"/>
                  </a:lnTo>
                  <a:lnTo>
                    <a:pt x="1553" y="1740"/>
                  </a:lnTo>
                  <a:lnTo>
                    <a:pt x="1550" y="1723"/>
                  </a:lnTo>
                  <a:lnTo>
                    <a:pt x="1548" y="1715"/>
                  </a:lnTo>
                  <a:lnTo>
                    <a:pt x="1546" y="1708"/>
                  </a:lnTo>
                  <a:lnTo>
                    <a:pt x="1542" y="1699"/>
                  </a:lnTo>
                  <a:lnTo>
                    <a:pt x="1537" y="1691"/>
                  </a:lnTo>
                  <a:lnTo>
                    <a:pt x="1533" y="1699"/>
                  </a:lnTo>
                  <a:lnTo>
                    <a:pt x="1532" y="1708"/>
                  </a:lnTo>
                  <a:lnTo>
                    <a:pt x="1531" y="1721"/>
                  </a:lnTo>
                  <a:lnTo>
                    <a:pt x="1530" y="1733"/>
                  </a:lnTo>
                  <a:lnTo>
                    <a:pt x="1527" y="1746"/>
                  </a:lnTo>
                  <a:lnTo>
                    <a:pt x="1524" y="1756"/>
                  </a:lnTo>
                  <a:lnTo>
                    <a:pt x="1520" y="1766"/>
                  </a:lnTo>
                  <a:lnTo>
                    <a:pt x="1514" y="1778"/>
                  </a:lnTo>
                  <a:lnTo>
                    <a:pt x="1507" y="1788"/>
                  </a:lnTo>
                  <a:lnTo>
                    <a:pt x="1499" y="1798"/>
                  </a:lnTo>
                  <a:lnTo>
                    <a:pt x="1494" y="1804"/>
                  </a:lnTo>
                  <a:lnTo>
                    <a:pt x="1489" y="1808"/>
                  </a:lnTo>
                  <a:lnTo>
                    <a:pt x="1484" y="1812"/>
                  </a:lnTo>
                  <a:lnTo>
                    <a:pt x="1479" y="1815"/>
                  </a:lnTo>
                  <a:lnTo>
                    <a:pt x="1467" y="1821"/>
                  </a:lnTo>
                  <a:lnTo>
                    <a:pt x="1456" y="1827"/>
                  </a:lnTo>
                  <a:lnTo>
                    <a:pt x="1446" y="1834"/>
                  </a:lnTo>
                  <a:lnTo>
                    <a:pt x="1439" y="1841"/>
                  </a:lnTo>
                  <a:lnTo>
                    <a:pt x="1434" y="1845"/>
                  </a:lnTo>
                  <a:lnTo>
                    <a:pt x="1432" y="1849"/>
                  </a:lnTo>
                  <a:lnTo>
                    <a:pt x="1431" y="1855"/>
                  </a:lnTo>
                  <a:lnTo>
                    <a:pt x="1430" y="1861"/>
                  </a:lnTo>
                  <a:lnTo>
                    <a:pt x="1431" y="1870"/>
                  </a:lnTo>
                  <a:lnTo>
                    <a:pt x="1432" y="1878"/>
                  </a:lnTo>
                  <a:lnTo>
                    <a:pt x="1434" y="1885"/>
                  </a:lnTo>
                  <a:lnTo>
                    <a:pt x="1438" y="1891"/>
                  </a:lnTo>
                  <a:lnTo>
                    <a:pt x="1445" y="1905"/>
                  </a:lnTo>
                  <a:lnTo>
                    <a:pt x="1452" y="1920"/>
                  </a:lnTo>
                  <a:lnTo>
                    <a:pt x="1455" y="1931"/>
                  </a:lnTo>
                  <a:lnTo>
                    <a:pt x="1458" y="1940"/>
                  </a:lnTo>
                  <a:lnTo>
                    <a:pt x="1459" y="1949"/>
                  </a:lnTo>
                  <a:lnTo>
                    <a:pt x="1460" y="1958"/>
                  </a:lnTo>
                  <a:lnTo>
                    <a:pt x="1462" y="1976"/>
                  </a:lnTo>
                  <a:lnTo>
                    <a:pt x="1465" y="1996"/>
                  </a:lnTo>
                  <a:lnTo>
                    <a:pt x="1470" y="2006"/>
                  </a:lnTo>
                  <a:lnTo>
                    <a:pt x="1474" y="2014"/>
                  </a:lnTo>
                  <a:lnTo>
                    <a:pt x="1476" y="2018"/>
                  </a:lnTo>
                  <a:lnTo>
                    <a:pt x="1478" y="2024"/>
                  </a:lnTo>
                  <a:lnTo>
                    <a:pt x="1479" y="2029"/>
                  </a:lnTo>
                  <a:lnTo>
                    <a:pt x="1479" y="2034"/>
                  </a:lnTo>
                  <a:lnTo>
                    <a:pt x="1476" y="2044"/>
                  </a:lnTo>
                  <a:lnTo>
                    <a:pt x="1472" y="2054"/>
                  </a:lnTo>
                  <a:lnTo>
                    <a:pt x="1472" y="2064"/>
                  </a:lnTo>
                  <a:lnTo>
                    <a:pt x="1471" y="2073"/>
                  </a:lnTo>
                  <a:lnTo>
                    <a:pt x="1459" y="2076"/>
                  </a:lnTo>
                  <a:lnTo>
                    <a:pt x="1447" y="2079"/>
                  </a:lnTo>
                  <a:lnTo>
                    <a:pt x="1441" y="2082"/>
                  </a:lnTo>
                  <a:lnTo>
                    <a:pt x="1434" y="2086"/>
                  </a:lnTo>
                  <a:lnTo>
                    <a:pt x="1429" y="2090"/>
                  </a:lnTo>
                  <a:lnTo>
                    <a:pt x="1424" y="2094"/>
                  </a:lnTo>
                  <a:lnTo>
                    <a:pt x="1419" y="2097"/>
                  </a:lnTo>
                  <a:lnTo>
                    <a:pt x="1413" y="2100"/>
                  </a:lnTo>
                  <a:lnTo>
                    <a:pt x="1407" y="2101"/>
                  </a:lnTo>
                  <a:lnTo>
                    <a:pt x="1399" y="2102"/>
                  </a:lnTo>
                  <a:lnTo>
                    <a:pt x="1385" y="2101"/>
                  </a:lnTo>
                  <a:lnTo>
                    <a:pt x="1371" y="2099"/>
                  </a:lnTo>
                  <a:lnTo>
                    <a:pt x="1358" y="2096"/>
                  </a:lnTo>
                  <a:lnTo>
                    <a:pt x="1346" y="2092"/>
                  </a:lnTo>
                  <a:lnTo>
                    <a:pt x="1321" y="2082"/>
                  </a:lnTo>
                  <a:lnTo>
                    <a:pt x="1292" y="2074"/>
                  </a:lnTo>
                  <a:lnTo>
                    <a:pt x="1279" y="2071"/>
                  </a:lnTo>
                  <a:lnTo>
                    <a:pt x="1266" y="2070"/>
                  </a:lnTo>
                  <a:lnTo>
                    <a:pt x="1254" y="2070"/>
                  </a:lnTo>
                  <a:lnTo>
                    <a:pt x="1240" y="2068"/>
                  </a:lnTo>
                  <a:lnTo>
                    <a:pt x="1231" y="2064"/>
                  </a:lnTo>
                  <a:lnTo>
                    <a:pt x="1223" y="2061"/>
                  </a:lnTo>
                  <a:lnTo>
                    <a:pt x="1218" y="2062"/>
                  </a:lnTo>
                  <a:lnTo>
                    <a:pt x="1214" y="2064"/>
                  </a:lnTo>
                  <a:lnTo>
                    <a:pt x="1211" y="2066"/>
                  </a:lnTo>
                  <a:lnTo>
                    <a:pt x="1208" y="2070"/>
                  </a:lnTo>
                  <a:lnTo>
                    <a:pt x="1203" y="2079"/>
                  </a:lnTo>
                  <a:lnTo>
                    <a:pt x="1200" y="2091"/>
                  </a:lnTo>
                  <a:lnTo>
                    <a:pt x="1197" y="2101"/>
                  </a:lnTo>
                  <a:lnTo>
                    <a:pt x="1192" y="2110"/>
                  </a:lnTo>
                  <a:lnTo>
                    <a:pt x="1190" y="2114"/>
                  </a:lnTo>
                  <a:lnTo>
                    <a:pt x="1186" y="2118"/>
                  </a:lnTo>
                  <a:lnTo>
                    <a:pt x="1182" y="2120"/>
                  </a:lnTo>
                  <a:lnTo>
                    <a:pt x="1177" y="2120"/>
                  </a:lnTo>
                  <a:lnTo>
                    <a:pt x="1170" y="2120"/>
                  </a:lnTo>
                  <a:lnTo>
                    <a:pt x="1165" y="2119"/>
                  </a:lnTo>
                  <a:lnTo>
                    <a:pt x="1160" y="2117"/>
                  </a:lnTo>
                  <a:lnTo>
                    <a:pt x="1155" y="2114"/>
                  </a:lnTo>
                  <a:lnTo>
                    <a:pt x="1146" y="2108"/>
                  </a:lnTo>
                  <a:lnTo>
                    <a:pt x="1137" y="2101"/>
                  </a:lnTo>
                  <a:lnTo>
                    <a:pt x="1128" y="2094"/>
                  </a:lnTo>
                  <a:lnTo>
                    <a:pt x="1119" y="2088"/>
                  </a:lnTo>
                  <a:lnTo>
                    <a:pt x="1115" y="2085"/>
                  </a:lnTo>
                  <a:lnTo>
                    <a:pt x="1109" y="2082"/>
                  </a:lnTo>
                  <a:lnTo>
                    <a:pt x="1103" y="2080"/>
                  </a:lnTo>
                  <a:lnTo>
                    <a:pt x="1097" y="2078"/>
                  </a:lnTo>
                  <a:lnTo>
                    <a:pt x="1101" y="2067"/>
                  </a:lnTo>
                  <a:lnTo>
                    <a:pt x="1107" y="2058"/>
                  </a:lnTo>
                  <a:lnTo>
                    <a:pt x="1113" y="2048"/>
                  </a:lnTo>
                  <a:lnTo>
                    <a:pt x="1120" y="2040"/>
                  </a:lnTo>
                  <a:lnTo>
                    <a:pt x="1126" y="2032"/>
                  </a:lnTo>
                  <a:lnTo>
                    <a:pt x="1133" y="2024"/>
                  </a:lnTo>
                  <a:lnTo>
                    <a:pt x="1140" y="2014"/>
                  </a:lnTo>
                  <a:lnTo>
                    <a:pt x="1147" y="2004"/>
                  </a:lnTo>
                  <a:lnTo>
                    <a:pt x="1151" y="1994"/>
                  </a:lnTo>
                  <a:lnTo>
                    <a:pt x="1154" y="1983"/>
                  </a:lnTo>
                  <a:lnTo>
                    <a:pt x="1155" y="1974"/>
                  </a:lnTo>
                  <a:lnTo>
                    <a:pt x="1156" y="1964"/>
                  </a:lnTo>
                  <a:lnTo>
                    <a:pt x="1156" y="1954"/>
                  </a:lnTo>
                  <a:lnTo>
                    <a:pt x="1157" y="1944"/>
                  </a:lnTo>
                  <a:lnTo>
                    <a:pt x="1159" y="1934"/>
                  </a:lnTo>
                  <a:lnTo>
                    <a:pt x="1163" y="1922"/>
                  </a:lnTo>
                  <a:lnTo>
                    <a:pt x="1169" y="1911"/>
                  </a:lnTo>
                  <a:lnTo>
                    <a:pt x="1176" y="1902"/>
                  </a:lnTo>
                  <a:lnTo>
                    <a:pt x="1183" y="1895"/>
                  </a:lnTo>
                  <a:lnTo>
                    <a:pt x="1189" y="1887"/>
                  </a:lnTo>
                  <a:lnTo>
                    <a:pt x="1195" y="1879"/>
                  </a:lnTo>
                  <a:lnTo>
                    <a:pt x="1201" y="1868"/>
                  </a:lnTo>
                  <a:lnTo>
                    <a:pt x="1203" y="1861"/>
                  </a:lnTo>
                  <a:lnTo>
                    <a:pt x="1207" y="1853"/>
                  </a:lnTo>
                  <a:lnTo>
                    <a:pt x="1209" y="1845"/>
                  </a:lnTo>
                  <a:lnTo>
                    <a:pt x="1210" y="1835"/>
                  </a:lnTo>
                  <a:lnTo>
                    <a:pt x="1206" y="1837"/>
                  </a:lnTo>
                  <a:lnTo>
                    <a:pt x="1197" y="1854"/>
                  </a:lnTo>
                  <a:lnTo>
                    <a:pt x="1189" y="1869"/>
                  </a:lnTo>
                  <a:lnTo>
                    <a:pt x="1185" y="1876"/>
                  </a:lnTo>
                  <a:lnTo>
                    <a:pt x="1180" y="1882"/>
                  </a:lnTo>
                  <a:lnTo>
                    <a:pt x="1173" y="1887"/>
                  </a:lnTo>
                  <a:lnTo>
                    <a:pt x="1164" y="1891"/>
                  </a:lnTo>
                  <a:lnTo>
                    <a:pt x="1160" y="1894"/>
                  </a:lnTo>
                  <a:lnTo>
                    <a:pt x="1156" y="1896"/>
                  </a:lnTo>
                  <a:lnTo>
                    <a:pt x="1154" y="1899"/>
                  </a:lnTo>
                  <a:lnTo>
                    <a:pt x="1151" y="1903"/>
                  </a:lnTo>
                  <a:lnTo>
                    <a:pt x="1147" y="1911"/>
                  </a:lnTo>
                  <a:lnTo>
                    <a:pt x="1143" y="1920"/>
                  </a:lnTo>
                  <a:lnTo>
                    <a:pt x="1140" y="1929"/>
                  </a:lnTo>
                  <a:lnTo>
                    <a:pt x="1135" y="1935"/>
                  </a:lnTo>
                  <a:lnTo>
                    <a:pt x="1132" y="1938"/>
                  </a:lnTo>
                  <a:lnTo>
                    <a:pt x="1129" y="1940"/>
                  </a:lnTo>
                  <a:lnTo>
                    <a:pt x="1125" y="1941"/>
                  </a:lnTo>
                  <a:lnTo>
                    <a:pt x="1121" y="1942"/>
                  </a:lnTo>
                  <a:lnTo>
                    <a:pt x="1110" y="1941"/>
                  </a:lnTo>
                  <a:lnTo>
                    <a:pt x="1100" y="1939"/>
                  </a:lnTo>
                  <a:lnTo>
                    <a:pt x="1096" y="1937"/>
                  </a:lnTo>
                  <a:lnTo>
                    <a:pt x="1092" y="1934"/>
                  </a:lnTo>
                  <a:lnTo>
                    <a:pt x="1089" y="1931"/>
                  </a:lnTo>
                  <a:lnTo>
                    <a:pt x="1085" y="1927"/>
                  </a:lnTo>
                  <a:lnTo>
                    <a:pt x="1082" y="1920"/>
                  </a:lnTo>
                  <a:lnTo>
                    <a:pt x="1079" y="1914"/>
                  </a:lnTo>
                  <a:lnTo>
                    <a:pt x="1077" y="1908"/>
                  </a:lnTo>
                  <a:lnTo>
                    <a:pt x="1075" y="1902"/>
                  </a:lnTo>
                  <a:lnTo>
                    <a:pt x="1074" y="1896"/>
                  </a:lnTo>
                  <a:lnTo>
                    <a:pt x="1070" y="1889"/>
                  </a:lnTo>
                  <a:lnTo>
                    <a:pt x="1067" y="1883"/>
                  </a:lnTo>
                  <a:lnTo>
                    <a:pt x="1063" y="1878"/>
                  </a:lnTo>
                  <a:lnTo>
                    <a:pt x="1062" y="1887"/>
                  </a:lnTo>
                  <a:lnTo>
                    <a:pt x="1060" y="1896"/>
                  </a:lnTo>
                  <a:lnTo>
                    <a:pt x="1059" y="1904"/>
                  </a:lnTo>
                  <a:lnTo>
                    <a:pt x="1058" y="1913"/>
                  </a:lnTo>
                  <a:lnTo>
                    <a:pt x="1058" y="1917"/>
                  </a:lnTo>
                  <a:lnTo>
                    <a:pt x="1060" y="1919"/>
                  </a:lnTo>
                  <a:lnTo>
                    <a:pt x="1061" y="1922"/>
                  </a:lnTo>
                  <a:lnTo>
                    <a:pt x="1063" y="1924"/>
                  </a:lnTo>
                  <a:lnTo>
                    <a:pt x="1069" y="1929"/>
                  </a:lnTo>
                  <a:lnTo>
                    <a:pt x="1075" y="1934"/>
                  </a:lnTo>
                  <a:lnTo>
                    <a:pt x="1083" y="1942"/>
                  </a:lnTo>
                  <a:lnTo>
                    <a:pt x="1089" y="1951"/>
                  </a:lnTo>
                  <a:lnTo>
                    <a:pt x="1092" y="1954"/>
                  </a:lnTo>
                  <a:lnTo>
                    <a:pt x="1096" y="1958"/>
                  </a:lnTo>
                  <a:lnTo>
                    <a:pt x="1101" y="1960"/>
                  </a:lnTo>
                  <a:lnTo>
                    <a:pt x="1107" y="1961"/>
                  </a:lnTo>
                  <a:lnTo>
                    <a:pt x="1114" y="1961"/>
                  </a:lnTo>
                  <a:lnTo>
                    <a:pt x="1121" y="1961"/>
                  </a:lnTo>
                  <a:lnTo>
                    <a:pt x="1119" y="1975"/>
                  </a:lnTo>
                  <a:lnTo>
                    <a:pt x="1115" y="1986"/>
                  </a:lnTo>
                  <a:lnTo>
                    <a:pt x="1111" y="1998"/>
                  </a:lnTo>
                  <a:lnTo>
                    <a:pt x="1104" y="2008"/>
                  </a:lnTo>
                  <a:lnTo>
                    <a:pt x="1090" y="2028"/>
                  </a:lnTo>
                  <a:lnTo>
                    <a:pt x="1072" y="2049"/>
                  </a:lnTo>
                  <a:lnTo>
                    <a:pt x="1064" y="2059"/>
                  </a:lnTo>
                  <a:lnTo>
                    <a:pt x="1057" y="2067"/>
                  </a:lnTo>
                  <a:lnTo>
                    <a:pt x="1050" y="2075"/>
                  </a:lnTo>
                  <a:lnTo>
                    <a:pt x="1042" y="2081"/>
                  </a:lnTo>
                  <a:lnTo>
                    <a:pt x="1033" y="2089"/>
                  </a:lnTo>
                  <a:lnTo>
                    <a:pt x="1025" y="2095"/>
                  </a:lnTo>
                  <a:lnTo>
                    <a:pt x="1016" y="2101"/>
                  </a:lnTo>
                  <a:lnTo>
                    <a:pt x="1005" y="2107"/>
                  </a:lnTo>
                  <a:lnTo>
                    <a:pt x="994" y="2117"/>
                  </a:lnTo>
                  <a:lnTo>
                    <a:pt x="982" y="2125"/>
                  </a:lnTo>
                  <a:lnTo>
                    <a:pt x="837" y="2102"/>
                  </a:lnTo>
                  <a:lnTo>
                    <a:pt x="820" y="2102"/>
                  </a:lnTo>
                  <a:lnTo>
                    <a:pt x="818" y="2090"/>
                  </a:lnTo>
                  <a:lnTo>
                    <a:pt x="818" y="2077"/>
                  </a:lnTo>
                  <a:lnTo>
                    <a:pt x="819" y="2058"/>
                  </a:lnTo>
                  <a:lnTo>
                    <a:pt x="820" y="2041"/>
                  </a:lnTo>
                  <a:lnTo>
                    <a:pt x="823" y="2026"/>
                  </a:lnTo>
                  <a:lnTo>
                    <a:pt x="826" y="2010"/>
                  </a:lnTo>
                  <a:lnTo>
                    <a:pt x="829" y="1995"/>
                  </a:lnTo>
                  <a:lnTo>
                    <a:pt x="831" y="1979"/>
                  </a:lnTo>
                  <a:lnTo>
                    <a:pt x="833" y="1962"/>
                  </a:lnTo>
                  <a:lnTo>
                    <a:pt x="834" y="1943"/>
                  </a:lnTo>
                  <a:lnTo>
                    <a:pt x="833" y="1919"/>
                  </a:lnTo>
                  <a:lnTo>
                    <a:pt x="833" y="1898"/>
                  </a:lnTo>
                  <a:lnTo>
                    <a:pt x="832" y="1877"/>
                  </a:lnTo>
                  <a:lnTo>
                    <a:pt x="832" y="1852"/>
                  </a:lnTo>
                  <a:lnTo>
                    <a:pt x="831" y="1840"/>
                  </a:lnTo>
                  <a:lnTo>
                    <a:pt x="830" y="1827"/>
                  </a:lnTo>
                  <a:lnTo>
                    <a:pt x="827" y="1816"/>
                  </a:lnTo>
                  <a:lnTo>
                    <a:pt x="824" y="1806"/>
                  </a:lnTo>
                  <a:lnTo>
                    <a:pt x="817" y="1785"/>
                  </a:lnTo>
                  <a:lnTo>
                    <a:pt x="808" y="1765"/>
                  </a:lnTo>
                  <a:lnTo>
                    <a:pt x="799" y="1746"/>
                  </a:lnTo>
                  <a:lnTo>
                    <a:pt x="792" y="1725"/>
                  </a:lnTo>
                  <a:lnTo>
                    <a:pt x="789" y="1715"/>
                  </a:lnTo>
                  <a:lnTo>
                    <a:pt x="787" y="1703"/>
                  </a:lnTo>
                  <a:lnTo>
                    <a:pt x="785" y="1691"/>
                  </a:lnTo>
                  <a:lnTo>
                    <a:pt x="785" y="1679"/>
                  </a:lnTo>
                  <a:lnTo>
                    <a:pt x="799" y="1673"/>
                  </a:lnTo>
                  <a:lnTo>
                    <a:pt x="812" y="1665"/>
                  </a:lnTo>
                  <a:lnTo>
                    <a:pt x="818" y="1662"/>
                  </a:lnTo>
                  <a:lnTo>
                    <a:pt x="824" y="1659"/>
                  </a:lnTo>
                  <a:lnTo>
                    <a:pt x="831" y="1658"/>
                  </a:lnTo>
                  <a:lnTo>
                    <a:pt x="839" y="1657"/>
                  </a:lnTo>
                  <a:lnTo>
                    <a:pt x="888" y="1657"/>
                  </a:lnTo>
                  <a:lnTo>
                    <a:pt x="896" y="1657"/>
                  </a:lnTo>
                  <a:lnTo>
                    <a:pt x="904" y="1655"/>
                  </a:lnTo>
                  <a:lnTo>
                    <a:pt x="912" y="1652"/>
                  </a:lnTo>
                  <a:lnTo>
                    <a:pt x="919" y="1648"/>
                  </a:lnTo>
                  <a:lnTo>
                    <a:pt x="925" y="1643"/>
                  </a:lnTo>
                  <a:lnTo>
                    <a:pt x="930" y="1636"/>
                  </a:lnTo>
                  <a:lnTo>
                    <a:pt x="935" y="1630"/>
                  </a:lnTo>
                  <a:lnTo>
                    <a:pt x="939" y="1623"/>
                  </a:lnTo>
                  <a:lnTo>
                    <a:pt x="943" y="1615"/>
                  </a:lnTo>
                  <a:lnTo>
                    <a:pt x="946" y="1606"/>
                  </a:lnTo>
                  <a:lnTo>
                    <a:pt x="949" y="1597"/>
                  </a:lnTo>
                  <a:lnTo>
                    <a:pt x="951" y="1588"/>
                  </a:lnTo>
                  <a:lnTo>
                    <a:pt x="954" y="1569"/>
                  </a:lnTo>
                  <a:lnTo>
                    <a:pt x="954" y="1551"/>
                  </a:lnTo>
                  <a:lnTo>
                    <a:pt x="954" y="1536"/>
                  </a:lnTo>
                  <a:lnTo>
                    <a:pt x="952" y="1522"/>
                  </a:lnTo>
                  <a:lnTo>
                    <a:pt x="950" y="1509"/>
                  </a:lnTo>
                  <a:lnTo>
                    <a:pt x="946" y="1497"/>
                  </a:lnTo>
                  <a:lnTo>
                    <a:pt x="937" y="1472"/>
                  </a:lnTo>
                  <a:lnTo>
                    <a:pt x="928" y="1444"/>
                  </a:lnTo>
                  <a:lnTo>
                    <a:pt x="923" y="1423"/>
                  </a:lnTo>
                  <a:lnTo>
                    <a:pt x="919" y="1401"/>
                  </a:lnTo>
                  <a:lnTo>
                    <a:pt x="917" y="1397"/>
                  </a:lnTo>
                  <a:lnTo>
                    <a:pt x="915" y="1392"/>
                  </a:lnTo>
                  <a:lnTo>
                    <a:pt x="913" y="1389"/>
                  </a:lnTo>
                  <a:lnTo>
                    <a:pt x="910" y="1385"/>
                  </a:lnTo>
                  <a:lnTo>
                    <a:pt x="906" y="1382"/>
                  </a:lnTo>
                  <a:lnTo>
                    <a:pt x="902" y="1380"/>
                  </a:lnTo>
                  <a:lnTo>
                    <a:pt x="898" y="1379"/>
                  </a:lnTo>
                  <a:lnTo>
                    <a:pt x="893" y="1378"/>
                  </a:lnTo>
                  <a:lnTo>
                    <a:pt x="887" y="1379"/>
                  </a:lnTo>
                  <a:lnTo>
                    <a:pt x="881" y="1381"/>
                  </a:lnTo>
                  <a:lnTo>
                    <a:pt x="876" y="1384"/>
                  </a:lnTo>
                  <a:lnTo>
                    <a:pt x="870" y="1389"/>
                  </a:lnTo>
                  <a:lnTo>
                    <a:pt x="866" y="1392"/>
                  </a:lnTo>
                  <a:lnTo>
                    <a:pt x="860" y="1395"/>
                  </a:lnTo>
                  <a:lnTo>
                    <a:pt x="855" y="1397"/>
                  </a:lnTo>
                  <a:lnTo>
                    <a:pt x="849" y="1398"/>
                  </a:lnTo>
                  <a:lnTo>
                    <a:pt x="840" y="1397"/>
                  </a:lnTo>
                  <a:lnTo>
                    <a:pt x="834" y="1395"/>
                  </a:lnTo>
                  <a:lnTo>
                    <a:pt x="829" y="1393"/>
                  </a:lnTo>
                  <a:lnTo>
                    <a:pt x="824" y="1389"/>
                  </a:lnTo>
                  <a:lnTo>
                    <a:pt x="819" y="1384"/>
                  </a:lnTo>
                  <a:lnTo>
                    <a:pt x="816" y="1378"/>
                  </a:lnTo>
                  <a:lnTo>
                    <a:pt x="812" y="1372"/>
                  </a:lnTo>
                  <a:lnTo>
                    <a:pt x="810" y="1366"/>
                  </a:lnTo>
                  <a:lnTo>
                    <a:pt x="804" y="1351"/>
                  </a:lnTo>
                  <a:lnTo>
                    <a:pt x="802" y="1335"/>
                  </a:lnTo>
                  <a:lnTo>
                    <a:pt x="800" y="1319"/>
                  </a:lnTo>
                  <a:lnTo>
                    <a:pt x="799" y="1303"/>
                  </a:lnTo>
                  <a:lnTo>
                    <a:pt x="769" y="1298"/>
                  </a:lnTo>
                  <a:lnTo>
                    <a:pt x="744" y="1294"/>
                  </a:lnTo>
                  <a:lnTo>
                    <a:pt x="718" y="1287"/>
                  </a:lnTo>
                  <a:lnTo>
                    <a:pt x="695" y="1281"/>
                  </a:lnTo>
                  <a:lnTo>
                    <a:pt x="671" y="1273"/>
                  </a:lnTo>
                  <a:lnTo>
                    <a:pt x="649" y="1263"/>
                  </a:lnTo>
                  <a:lnTo>
                    <a:pt x="625" y="1250"/>
                  </a:lnTo>
                  <a:lnTo>
                    <a:pt x="601" y="1235"/>
                  </a:lnTo>
                  <a:lnTo>
                    <a:pt x="596" y="1232"/>
                  </a:lnTo>
                  <a:lnTo>
                    <a:pt x="593" y="1227"/>
                  </a:lnTo>
                  <a:lnTo>
                    <a:pt x="590" y="1223"/>
                  </a:lnTo>
                  <a:lnTo>
                    <a:pt x="588" y="1219"/>
                  </a:lnTo>
                  <a:lnTo>
                    <a:pt x="585" y="1210"/>
                  </a:lnTo>
                  <a:lnTo>
                    <a:pt x="584" y="1200"/>
                  </a:lnTo>
                  <a:lnTo>
                    <a:pt x="585" y="1178"/>
                  </a:lnTo>
                  <a:lnTo>
                    <a:pt x="587" y="1154"/>
                  </a:lnTo>
                  <a:lnTo>
                    <a:pt x="586" y="1144"/>
                  </a:lnTo>
                  <a:lnTo>
                    <a:pt x="585" y="1133"/>
                  </a:lnTo>
                  <a:lnTo>
                    <a:pt x="583" y="1124"/>
                  </a:lnTo>
                  <a:lnTo>
                    <a:pt x="581" y="1116"/>
                  </a:lnTo>
                  <a:lnTo>
                    <a:pt x="579" y="1107"/>
                  </a:lnTo>
                  <a:lnTo>
                    <a:pt x="576" y="1097"/>
                  </a:lnTo>
                  <a:lnTo>
                    <a:pt x="575" y="1088"/>
                  </a:lnTo>
                  <a:lnTo>
                    <a:pt x="574" y="1077"/>
                  </a:lnTo>
                  <a:lnTo>
                    <a:pt x="574" y="1029"/>
                  </a:lnTo>
                  <a:lnTo>
                    <a:pt x="575" y="1018"/>
                  </a:lnTo>
                  <a:lnTo>
                    <a:pt x="576" y="1009"/>
                  </a:lnTo>
                  <a:lnTo>
                    <a:pt x="579" y="999"/>
                  </a:lnTo>
                  <a:lnTo>
                    <a:pt x="581" y="991"/>
                  </a:lnTo>
                  <a:lnTo>
                    <a:pt x="583" y="983"/>
                  </a:lnTo>
                  <a:lnTo>
                    <a:pt x="585" y="973"/>
                  </a:lnTo>
                  <a:lnTo>
                    <a:pt x="586" y="964"/>
                  </a:lnTo>
                  <a:lnTo>
                    <a:pt x="587" y="953"/>
                  </a:lnTo>
                  <a:lnTo>
                    <a:pt x="587" y="939"/>
                  </a:lnTo>
                  <a:lnTo>
                    <a:pt x="586" y="926"/>
                  </a:lnTo>
                  <a:lnTo>
                    <a:pt x="586" y="914"/>
                  </a:lnTo>
                  <a:lnTo>
                    <a:pt x="587" y="899"/>
                  </a:lnTo>
                  <a:lnTo>
                    <a:pt x="566" y="896"/>
                  </a:lnTo>
                  <a:lnTo>
                    <a:pt x="549" y="892"/>
                  </a:lnTo>
                  <a:lnTo>
                    <a:pt x="532" y="887"/>
                  </a:lnTo>
                  <a:lnTo>
                    <a:pt x="517" y="880"/>
                  </a:lnTo>
                  <a:lnTo>
                    <a:pt x="501" y="872"/>
                  </a:lnTo>
                  <a:lnTo>
                    <a:pt x="486" y="863"/>
                  </a:lnTo>
                  <a:lnTo>
                    <a:pt x="471" y="853"/>
                  </a:lnTo>
                  <a:lnTo>
                    <a:pt x="455" y="840"/>
                  </a:lnTo>
                  <a:lnTo>
                    <a:pt x="445" y="832"/>
                  </a:lnTo>
                  <a:lnTo>
                    <a:pt x="438" y="823"/>
                  </a:lnTo>
                  <a:lnTo>
                    <a:pt x="432" y="813"/>
                  </a:lnTo>
                  <a:lnTo>
                    <a:pt x="426" y="805"/>
                  </a:lnTo>
                  <a:lnTo>
                    <a:pt x="420" y="797"/>
                  </a:lnTo>
                  <a:lnTo>
                    <a:pt x="412" y="790"/>
                  </a:lnTo>
                  <a:lnTo>
                    <a:pt x="408" y="788"/>
                  </a:lnTo>
                  <a:lnTo>
                    <a:pt x="404" y="785"/>
                  </a:lnTo>
                  <a:lnTo>
                    <a:pt x="399" y="784"/>
                  </a:lnTo>
                  <a:lnTo>
                    <a:pt x="393" y="783"/>
                  </a:lnTo>
                  <a:lnTo>
                    <a:pt x="373" y="784"/>
                  </a:lnTo>
                  <a:lnTo>
                    <a:pt x="356" y="785"/>
                  </a:lnTo>
                  <a:lnTo>
                    <a:pt x="339" y="787"/>
                  </a:lnTo>
                  <a:lnTo>
                    <a:pt x="323" y="789"/>
                  </a:lnTo>
                  <a:lnTo>
                    <a:pt x="306" y="791"/>
                  </a:lnTo>
                  <a:lnTo>
                    <a:pt x="290" y="792"/>
                  </a:lnTo>
                  <a:lnTo>
                    <a:pt x="271" y="793"/>
                  </a:lnTo>
                  <a:lnTo>
                    <a:pt x="252" y="794"/>
                  </a:lnTo>
                  <a:lnTo>
                    <a:pt x="238" y="793"/>
                  </a:lnTo>
                  <a:lnTo>
                    <a:pt x="224" y="791"/>
                  </a:lnTo>
                  <a:lnTo>
                    <a:pt x="211" y="788"/>
                  </a:lnTo>
                  <a:lnTo>
                    <a:pt x="199" y="783"/>
                  </a:lnTo>
                  <a:lnTo>
                    <a:pt x="188" y="777"/>
                  </a:lnTo>
                  <a:lnTo>
                    <a:pt x="176" y="771"/>
                  </a:lnTo>
                  <a:lnTo>
                    <a:pt x="166" y="764"/>
                  </a:lnTo>
                  <a:lnTo>
                    <a:pt x="157" y="756"/>
                  </a:lnTo>
                  <a:lnTo>
                    <a:pt x="147" y="746"/>
                  </a:lnTo>
                  <a:lnTo>
                    <a:pt x="139" y="736"/>
                  </a:lnTo>
                  <a:lnTo>
                    <a:pt x="132" y="725"/>
                  </a:lnTo>
                  <a:lnTo>
                    <a:pt x="126" y="713"/>
                  </a:lnTo>
                  <a:lnTo>
                    <a:pt x="120" y="701"/>
                  </a:lnTo>
                  <a:lnTo>
                    <a:pt x="114" y="688"/>
                  </a:lnTo>
                  <a:lnTo>
                    <a:pt x="109" y="675"/>
                  </a:lnTo>
                  <a:lnTo>
                    <a:pt x="105" y="661"/>
                  </a:lnTo>
                  <a:lnTo>
                    <a:pt x="111" y="658"/>
                  </a:lnTo>
                  <a:lnTo>
                    <a:pt x="117" y="655"/>
                  </a:lnTo>
                  <a:lnTo>
                    <a:pt x="121" y="651"/>
                  </a:lnTo>
                  <a:lnTo>
                    <a:pt x="125" y="647"/>
                  </a:lnTo>
                  <a:lnTo>
                    <a:pt x="128" y="642"/>
                  </a:lnTo>
                  <a:lnTo>
                    <a:pt x="131" y="638"/>
                  </a:lnTo>
                  <a:lnTo>
                    <a:pt x="133" y="632"/>
                  </a:lnTo>
                  <a:lnTo>
                    <a:pt x="134" y="626"/>
                  </a:lnTo>
                  <a:lnTo>
                    <a:pt x="137" y="614"/>
                  </a:lnTo>
                  <a:lnTo>
                    <a:pt x="138" y="602"/>
                  </a:lnTo>
                  <a:lnTo>
                    <a:pt x="138" y="588"/>
                  </a:lnTo>
                  <a:lnTo>
                    <a:pt x="138" y="575"/>
                  </a:lnTo>
                  <a:lnTo>
                    <a:pt x="138" y="569"/>
                  </a:lnTo>
                  <a:lnTo>
                    <a:pt x="137" y="562"/>
                  </a:lnTo>
                  <a:lnTo>
                    <a:pt x="135" y="556"/>
                  </a:lnTo>
                  <a:lnTo>
                    <a:pt x="132" y="551"/>
                  </a:lnTo>
                  <a:lnTo>
                    <a:pt x="129" y="547"/>
                  </a:lnTo>
                  <a:lnTo>
                    <a:pt x="125" y="542"/>
                  </a:lnTo>
                  <a:lnTo>
                    <a:pt x="121" y="538"/>
                  </a:lnTo>
                  <a:lnTo>
                    <a:pt x="115" y="535"/>
                  </a:lnTo>
                  <a:lnTo>
                    <a:pt x="94" y="520"/>
                  </a:lnTo>
                  <a:lnTo>
                    <a:pt x="70" y="506"/>
                  </a:lnTo>
                  <a:lnTo>
                    <a:pt x="70" y="448"/>
                  </a:lnTo>
                  <a:lnTo>
                    <a:pt x="72" y="426"/>
                  </a:lnTo>
                  <a:lnTo>
                    <a:pt x="73" y="405"/>
                  </a:lnTo>
                  <a:lnTo>
                    <a:pt x="73" y="396"/>
                  </a:lnTo>
                  <a:lnTo>
                    <a:pt x="71" y="386"/>
                  </a:lnTo>
                  <a:lnTo>
                    <a:pt x="69" y="382"/>
                  </a:lnTo>
                  <a:lnTo>
                    <a:pt x="67" y="378"/>
                  </a:lnTo>
                  <a:lnTo>
                    <a:pt x="64" y="372"/>
                  </a:lnTo>
                  <a:lnTo>
                    <a:pt x="61" y="368"/>
                  </a:lnTo>
                  <a:lnTo>
                    <a:pt x="42" y="350"/>
                  </a:lnTo>
                  <a:lnTo>
                    <a:pt x="25" y="333"/>
                  </a:lnTo>
                  <a:lnTo>
                    <a:pt x="18" y="324"/>
                  </a:lnTo>
                  <a:lnTo>
                    <a:pt x="11" y="315"/>
                  </a:lnTo>
                  <a:lnTo>
                    <a:pt x="9" y="308"/>
                  </a:lnTo>
                  <a:lnTo>
                    <a:pt x="8" y="303"/>
                  </a:lnTo>
                  <a:lnTo>
                    <a:pt x="7" y="297"/>
                  </a:lnTo>
                  <a:lnTo>
                    <a:pt x="6" y="291"/>
                  </a:lnTo>
                  <a:lnTo>
                    <a:pt x="8" y="282"/>
                  </a:lnTo>
                  <a:lnTo>
                    <a:pt x="10" y="274"/>
                  </a:lnTo>
                  <a:lnTo>
                    <a:pt x="12" y="266"/>
                  </a:lnTo>
                  <a:lnTo>
                    <a:pt x="13" y="258"/>
                  </a:lnTo>
                  <a:lnTo>
                    <a:pt x="13" y="253"/>
                  </a:lnTo>
                  <a:lnTo>
                    <a:pt x="11" y="248"/>
                  </a:lnTo>
                  <a:lnTo>
                    <a:pt x="9" y="244"/>
                  </a:lnTo>
                  <a:lnTo>
                    <a:pt x="6" y="241"/>
                  </a:lnTo>
                  <a:lnTo>
                    <a:pt x="4" y="237"/>
                  </a:lnTo>
                  <a:lnTo>
                    <a:pt x="2" y="233"/>
                  </a:lnTo>
                  <a:lnTo>
                    <a:pt x="0" y="229"/>
                  </a:lnTo>
                  <a:lnTo>
                    <a:pt x="0" y="225"/>
                  </a:lnTo>
                  <a:lnTo>
                    <a:pt x="0" y="220"/>
                  </a:lnTo>
                  <a:lnTo>
                    <a:pt x="1" y="215"/>
                  </a:lnTo>
                  <a:lnTo>
                    <a:pt x="2" y="211"/>
                  </a:lnTo>
                  <a:lnTo>
                    <a:pt x="4" y="207"/>
                  </a:lnTo>
                  <a:lnTo>
                    <a:pt x="9" y="201"/>
                  </a:lnTo>
                  <a:lnTo>
                    <a:pt x="15" y="195"/>
                  </a:lnTo>
                  <a:lnTo>
                    <a:pt x="23" y="190"/>
                  </a:lnTo>
                  <a:lnTo>
                    <a:pt x="32" y="186"/>
                  </a:lnTo>
                  <a:lnTo>
                    <a:pt x="41" y="182"/>
                  </a:lnTo>
                  <a:lnTo>
                    <a:pt x="51" y="178"/>
                  </a:lnTo>
                  <a:lnTo>
                    <a:pt x="60" y="174"/>
                  </a:lnTo>
                  <a:lnTo>
                    <a:pt x="69" y="171"/>
                  </a:lnTo>
                  <a:lnTo>
                    <a:pt x="77" y="167"/>
                  </a:lnTo>
                  <a:lnTo>
                    <a:pt x="86" y="162"/>
                  </a:lnTo>
                  <a:lnTo>
                    <a:pt x="92" y="156"/>
                  </a:lnTo>
                  <a:lnTo>
                    <a:pt x="97" y="149"/>
                  </a:lnTo>
                  <a:lnTo>
                    <a:pt x="98" y="145"/>
                  </a:lnTo>
                  <a:lnTo>
                    <a:pt x="100" y="141"/>
                  </a:lnTo>
                  <a:lnTo>
                    <a:pt x="101" y="137"/>
                  </a:lnTo>
                  <a:lnTo>
                    <a:pt x="101" y="132"/>
                  </a:lnTo>
                  <a:lnTo>
                    <a:pt x="97" y="119"/>
                  </a:lnTo>
                  <a:lnTo>
                    <a:pt x="92" y="106"/>
                  </a:lnTo>
                  <a:lnTo>
                    <a:pt x="107" y="107"/>
                  </a:lnTo>
                  <a:lnTo>
                    <a:pt x="121" y="109"/>
                  </a:lnTo>
                  <a:lnTo>
                    <a:pt x="135" y="110"/>
                  </a:lnTo>
                  <a:lnTo>
                    <a:pt x="151" y="111"/>
                  </a:lnTo>
                  <a:lnTo>
                    <a:pt x="163" y="109"/>
                  </a:lnTo>
                  <a:lnTo>
                    <a:pt x="174" y="106"/>
                  </a:lnTo>
                  <a:lnTo>
                    <a:pt x="230" y="106"/>
                  </a:lnTo>
                  <a:lnTo>
                    <a:pt x="244" y="109"/>
                  </a:lnTo>
                  <a:lnTo>
                    <a:pt x="259" y="111"/>
                  </a:lnTo>
                  <a:lnTo>
                    <a:pt x="273" y="110"/>
                  </a:lnTo>
                  <a:lnTo>
                    <a:pt x="286" y="108"/>
                  </a:lnTo>
                  <a:lnTo>
                    <a:pt x="298" y="104"/>
                  </a:lnTo>
                  <a:lnTo>
                    <a:pt x="309" y="100"/>
                  </a:lnTo>
                  <a:lnTo>
                    <a:pt x="332" y="91"/>
                  </a:lnTo>
                  <a:lnTo>
                    <a:pt x="358" y="80"/>
                  </a:lnTo>
                  <a:lnTo>
                    <a:pt x="405" y="65"/>
                  </a:lnTo>
                  <a:lnTo>
                    <a:pt x="448" y="50"/>
                  </a:lnTo>
                  <a:lnTo>
                    <a:pt x="488" y="37"/>
                  </a:lnTo>
                  <a:lnTo>
                    <a:pt x="527" y="24"/>
                  </a:lnTo>
                  <a:lnTo>
                    <a:pt x="547" y="19"/>
                  </a:lnTo>
                  <a:lnTo>
                    <a:pt x="567" y="14"/>
                  </a:lnTo>
                  <a:lnTo>
                    <a:pt x="587" y="10"/>
                  </a:lnTo>
                  <a:lnTo>
                    <a:pt x="608" y="7"/>
                  </a:lnTo>
                  <a:lnTo>
                    <a:pt x="630" y="4"/>
                  </a:lnTo>
                  <a:lnTo>
                    <a:pt x="652" y="2"/>
                  </a:lnTo>
                  <a:lnTo>
                    <a:pt x="675" y="1"/>
                  </a:lnTo>
                  <a:lnTo>
                    <a:pt x="701" y="0"/>
                  </a:lnTo>
                  <a:lnTo>
                    <a:pt x="712" y="1"/>
                  </a:lnTo>
                  <a:lnTo>
                    <a:pt x="721" y="1"/>
                  </a:lnTo>
                  <a:lnTo>
                    <a:pt x="730" y="3"/>
                  </a:lnTo>
                  <a:lnTo>
                    <a:pt x="739" y="4"/>
                  </a:lnTo>
                  <a:lnTo>
                    <a:pt x="756" y="9"/>
                  </a:lnTo>
                  <a:lnTo>
                    <a:pt x="772" y="15"/>
                  </a:lnTo>
                  <a:lnTo>
                    <a:pt x="788" y="23"/>
                  </a:lnTo>
                  <a:lnTo>
                    <a:pt x="803" y="33"/>
                  </a:lnTo>
                  <a:lnTo>
                    <a:pt x="820" y="43"/>
                  </a:lnTo>
                  <a:lnTo>
                    <a:pt x="836" y="54"/>
                  </a:lnTo>
                  <a:lnTo>
                    <a:pt x="856" y="66"/>
                  </a:lnTo>
                  <a:lnTo>
                    <a:pt x="874" y="76"/>
                  </a:lnTo>
                  <a:lnTo>
                    <a:pt x="892" y="83"/>
                  </a:lnTo>
                  <a:lnTo>
                    <a:pt x="910" y="91"/>
                  </a:lnTo>
                  <a:lnTo>
                    <a:pt x="928" y="97"/>
                  </a:lnTo>
                  <a:lnTo>
                    <a:pt x="946" y="104"/>
                  </a:lnTo>
                  <a:lnTo>
                    <a:pt x="965" y="112"/>
                  </a:lnTo>
                  <a:lnTo>
                    <a:pt x="985" y="123"/>
                  </a:lnTo>
                  <a:lnTo>
                    <a:pt x="1008" y="136"/>
                  </a:lnTo>
                  <a:lnTo>
                    <a:pt x="1028" y="149"/>
                  </a:lnTo>
                  <a:lnTo>
                    <a:pt x="1048" y="162"/>
                  </a:lnTo>
                  <a:lnTo>
                    <a:pt x="1067" y="173"/>
                  </a:lnTo>
                  <a:lnTo>
                    <a:pt x="1077" y="178"/>
                  </a:lnTo>
                  <a:lnTo>
                    <a:pt x="1087" y="183"/>
                  </a:lnTo>
                  <a:lnTo>
                    <a:pt x="1096" y="188"/>
                  </a:lnTo>
                  <a:lnTo>
                    <a:pt x="1108" y="192"/>
                  </a:lnTo>
                  <a:lnTo>
                    <a:pt x="1119" y="195"/>
                  </a:lnTo>
                  <a:lnTo>
                    <a:pt x="1130" y="197"/>
                  </a:lnTo>
                  <a:lnTo>
                    <a:pt x="1143" y="199"/>
                  </a:lnTo>
                  <a:lnTo>
                    <a:pt x="1156" y="201"/>
                  </a:lnTo>
                  <a:lnTo>
                    <a:pt x="1329" y="175"/>
                  </a:lnTo>
                  <a:lnTo>
                    <a:pt x="1347" y="177"/>
                  </a:lnTo>
                  <a:lnTo>
                    <a:pt x="1347" y="229"/>
                  </a:lnTo>
                  <a:lnTo>
                    <a:pt x="1347" y="235"/>
                  </a:lnTo>
                  <a:lnTo>
                    <a:pt x="1346" y="241"/>
                  </a:lnTo>
                  <a:lnTo>
                    <a:pt x="1344" y="246"/>
                  </a:lnTo>
                  <a:lnTo>
                    <a:pt x="1343" y="253"/>
                  </a:lnTo>
                  <a:lnTo>
                    <a:pt x="1338" y="263"/>
                  </a:lnTo>
                  <a:lnTo>
                    <a:pt x="1332" y="272"/>
                  </a:lnTo>
                  <a:lnTo>
                    <a:pt x="1327" y="283"/>
                  </a:lnTo>
                  <a:lnTo>
                    <a:pt x="1322" y="293"/>
                  </a:lnTo>
                  <a:lnTo>
                    <a:pt x="1320" y="298"/>
                  </a:lnTo>
                  <a:lnTo>
                    <a:pt x="1319" y="304"/>
                  </a:lnTo>
                  <a:lnTo>
                    <a:pt x="1318" y="309"/>
                  </a:lnTo>
                  <a:lnTo>
                    <a:pt x="1317" y="317"/>
                  </a:lnTo>
                  <a:lnTo>
                    <a:pt x="1318" y="321"/>
                  </a:lnTo>
                  <a:lnTo>
                    <a:pt x="1319" y="325"/>
                  </a:lnTo>
                  <a:lnTo>
                    <a:pt x="1321" y="329"/>
                  </a:lnTo>
                  <a:lnTo>
                    <a:pt x="1324" y="332"/>
                  </a:lnTo>
                  <a:lnTo>
                    <a:pt x="1327" y="334"/>
                  </a:lnTo>
                  <a:lnTo>
                    <a:pt x="1331" y="335"/>
                  </a:lnTo>
                  <a:lnTo>
                    <a:pt x="1336" y="337"/>
                  </a:lnTo>
                  <a:lnTo>
                    <a:pt x="1342" y="338"/>
                  </a:lnTo>
                  <a:lnTo>
                    <a:pt x="1363" y="340"/>
                  </a:lnTo>
                  <a:lnTo>
                    <a:pt x="1386" y="342"/>
                  </a:lnTo>
                  <a:lnTo>
                    <a:pt x="1393" y="345"/>
                  </a:lnTo>
                  <a:lnTo>
                    <a:pt x="1401" y="347"/>
                  </a:lnTo>
                  <a:lnTo>
                    <a:pt x="1409" y="349"/>
                  </a:lnTo>
                  <a:lnTo>
                    <a:pt x="1415" y="353"/>
                  </a:lnTo>
                  <a:lnTo>
                    <a:pt x="1421" y="356"/>
                  </a:lnTo>
                  <a:lnTo>
                    <a:pt x="1427" y="360"/>
                  </a:lnTo>
                  <a:lnTo>
                    <a:pt x="1433" y="365"/>
                  </a:lnTo>
                  <a:lnTo>
                    <a:pt x="1439" y="370"/>
                  </a:lnTo>
                  <a:lnTo>
                    <a:pt x="1443" y="376"/>
                  </a:lnTo>
                  <a:lnTo>
                    <a:pt x="1447" y="382"/>
                  </a:lnTo>
                  <a:lnTo>
                    <a:pt x="1450" y="388"/>
                  </a:lnTo>
                  <a:lnTo>
                    <a:pt x="1453" y="395"/>
                  </a:lnTo>
                  <a:lnTo>
                    <a:pt x="1456" y="402"/>
                  </a:lnTo>
                  <a:lnTo>
                    <a:pt x="1457" y="410"/>
                  </a:lnTo>
                  <a:lnTo>
                    <a:pt x="1458" y="417"/>
                  </a:lnTo>
                  <a:lnTo>
                    <a:pt x="1459" y="425"/>
                  </a:lnTo>
                  <a:lnTo>
                    <a:pt x="1458" y="445"/>
                  </a:lnTo>
                  <a:lnTo>
                    <a:pt x="1455" y="462"/>
                  </a:lnTo>
                  <a:lnTo>
                    <a:pt x="1451" y="478"/>
                  </a:lnTo>
                  <a:lnTo>
                    <a:pt x="1446" y="494"/>
                  </a:lnTo>
                  <a:lnTo>
                    <a:pt x="1434" y="525"/>
                  </a:lnTo>
                  <a:lnTo>
                    <a:pt x="1423" y="561"/>
                  </a:lnTo>
                  <a:lnTo>
                    <a:pt x="1435" y="564"/>
                  </a:lnTo>
                  <a:lnTo>
                    <a:pt x="1446" y="558"/>
                  </a:lnTo>
                  <a:lnTo>
                    <a:pt x="1455" y="553"/>
                  </a:lnTo>
                  <a:lnTo>
                    <a:pt x="1464" y="550"/>
                  </a:lnTo>
                  <a:lnTo>
                    <a:pt x="1474" y="546"/>
                  </a:lnTo>
                  <a:lnTo>
                    <a:pt x="1484" y="544"/>
                  </a:lnTo>
                  <a:lnTo>
                    <a:pt x="1493" y="542"/>
                  </a:lnTo>
                  <a:lnTo>
                    <a:pt x="1505" y="541"/>
                  </a:lnTo>
                  <a:lnTo>
                    <a:pt x="1516" y="541"/>
                  </a:lnTo>
                  <a:lnTo>
                    <a:pt x="1572" y="541"/>
                  </a:lnTo>
                  <a:lnTo>
                    <a:pt x="1581" y="542"/>
                  </a:lnTo>
                  <a:lnTo>
                    <a:pt x="1590" y="545"/>
                  </a:lnTo>
                  <a:lnTo>
                    <a:pt x="1597" y="549"/>
                  </a:lnTo>
                  <a:lnTo>
                    <a:pt x="1605" y="554"/>
                  </a:lnTo>
                  <a:lnTo>
                    <a:pt x="1611" y="561"/>
                  </a:lnTo>
                  <a:lnTo>
                    <a:pt x="1616" y="569"/>
                  </a:lnTo>
                  <a:lnTo>
                    <a:pt x="1622" y="576"/>
                  </a:lnTo>
                  <a:lnTo>
                    <a:pt x="1627" y="584"/>
                  </a:lnTo>
                  <a:lnTo>
                    <a:pt x="1632" y="592"/>
                  </a:lnTo>
                  <a:lnTo>
                    <a:pt x="1638" y="601"/>
                  </a:lnTo>
                  <a:lnTo>
                    <a:pt x="1644" y="608"/>
                  </a:lnTo>
                  <a:lnTo>
                    <a:pt x="1650" y="614"/>
                  </a:lnTo>
                  <a:lnTo>
                    <a:pt x="1656" y="620"/>
                  </a:lnTo>
                  <a:lnTo>
                    <a:pt x="1664" y="624"/>
                  </a:lnTo>
                  <a:lnTo>
                    <a:pt x="1673" y="627"/>
                  </a:lnTo>
                  <a:lnTo>
                    <a:pt x="1683" y="627"/>
                  </a:lnTo>
                  <a:lnTo>
                    <a:pt x="1694" y="627"/>
                  </a:lnTo>
                  <a:lnTo>
                    <a:pt x="1705" y="624"/>
                  </a:lnTo>
                  <a:lnTo>
                    <a:pt x="1714" y="620"/>
                  </a:lnTo>
                  <a:lnTo>
                    <a:pt x="1723" y="615"/>
                  </a:lnTo>
                  <a:lnTo>
                    <a:pt x="1730" y="609"/>
                  </a:lnTo>
                  <a:lnTo>
                    <a:pt x="1738" y="602"/>
                  </a:lnTo>
                  <a:lnTo>
                    <a:pt x="1745" y="594"/>
                  </a:lnTo>
                  <a:lnTo>
                    <a:pt x="1751" y="586"/>
                  </a:lnTo>
                  <a:lnTo>
                    <a:pt x="1764" y="569"/>
                  </a:lnTo>
                  <a:lnTo>
                    <a:pt x="1780" y="552"/>
                  </a:lnTo>
                  <a:lnTo>
                    <a:pt x="1787" y="545"/>
                  </a:lnTo>
                  <a:lnTo>
                    <a:pt x="1796" y="538"/>
                  </a:lnTo>
                  <a:lnTo>
                    <a:pt x="1807" y="531"/>
                  </a:lnTo>
                  <a:lnTo>
                    <a:pt x="1817" y="526"/>
                  </a:lnTo>
                  <a:lnTo>
                    <a:pt x="1954" y="555"/>
                  </a:lnTo>
                  <a:lnTo>
                    <a:pt x="1978" y="555"/>
                  </a:lnTo>
                  <a:lnTo>
                    <a:pt x="2002" y="554"/>
                  </a:lnTo>
                  <a:lnTo>
                    <a:pt x="2023" y="552"/>
                  </a:lnTo>
                  <a:lnTo>
                    <a:pt x="2044" y="549"/>
                  </a:lnTo>
                  <a:lnTo>
                    <a:pt x="2054" y="547"/>
                  </a:lnTo>
                  <a:lnTo>
                    <a:pt x="2064" y="544"/>
                  </a:lnTo>
                  <a:lnTo>
                    <a:pt x="2074" y="540"/>
                  </a:lnTo>
                  <a:lnTo>
                    <a:pt x="2083" y="536"/>
                  </a:lnTo>
                  <a:lnTo>
                    <a:pt x="2092" y="530"/>
                  </a:lnTo>
                  <a:lnTo>
                    <a:pt x="2103" y="524"/>
                  </a:lnTo>
                  <a:lnTo>
                    <a:pt x="2112" y="518"/>
                  </a:lnTo>
                  <a:lnTo>
                    <a:pt x="2121" y="510"/>
                  </a:lnTo>
                  <a:lnTo>
                    <a:pt x="2138" y="496"/>
                  </a:lnTo>
                  <a:lnTo>
                    <a:pt x="2153" y="484"/>
                  </a:lnTo>
                  <a:lnTo>
                    <a:pt x="2159" y="478"/>
                  </a:lnTo>
                  <a:lnTo>
                    <a:pt x="2165" y="469"/>
                  </a:lnTo>
                  <a:lnTo>
                    <a:pt x="2166" y="465"/>
                  </a:lnTo>
                  <a:lnTo>
                    <a:pt x="2168" y="461"/>
                  </a:lnTo>
                  <a:lnTo>
                    <a:pt x="2168" y="456"/>
                  </a:lnTo>
                  <a:lnTo>
                    <a:pt x="2169" y="451"/>
                  </a:lnTo>
                  <a:lnTo>
                    <a:pt x="2168" y="442"/>
                  </a:lnTo>
                  <a:lnTo>
                    <a:pt x="2166" y="433"/>
                  </a:lnTo>
                  <a:lnTo>
                    <a:pt x="2164" y="426"/>
                  </a:lnTo>
                  <a:lnTo>
                    <a:pt x="2160" y="418"/>
                  </a:lnTo>
                  <a:lnTo>
                    <a:pt x="2157" y="411"/>
                  </a:lnTo>
                  <a:lnTo>
                    <a:pt x="2154" y="403"/>
                  </a:lnTo>
                  <a:lnTo>
                    <a:pt x="2152" y="395"/>
                  </a:lnTo>
                  <a:lnTo>
                    <a:pt x="2152" y="386"/>
                  </a:lnTo>
                  <a:lnTo>
                    <a:pt x="2152" y="376"/>
                  </a:lnTo>
                  <a:lnTo>
                    <a:pt x="2152" y="367"/>
                  </a:lnTo>
                  <a:lnTo>
                    <a:pt x="2153" y="359"/>
                  </a:lnTo>
                  <a:lnTo>
                    <a:pt x="2154" y="350"/>
                  </a:lnTo>
                  <a:lnTo>
                    <a:pt x="2176" y="348"/>
                  </a:lnTo>
                  <a:lnTo>
                    <a:pt x="2194" y="346"/>
                  </a:lnTo>
                  <a:lnTo>
                    <a:pt x="2204" y="345"/>
                  </a:lnTo>
                  <a:lnTo>
                    <a:pt x="2213" y="342"/>
                  </a:lnTo>
                  <a:lnTo>
                    <a:pt x="2222" y="338"/>
                  </a:lnTo>
                  <a:lnTo>
                    <a:pt x="2232" y="333"/>
                  </a:lnTo>
                  <a:lnTo>
                    <a:pt x="2246" y="323"/>
                  </a:lnTo>
                  <a:lnTo>
                    <a:pt x="2259" y="311"/>
                  </a:lnTo>
                  <a:lnTo>
                    <a:pt x="2271" y="300"/>
                  </a:lnTo>
                  <a:lnTo>
                    <a:pt x="2283" y="289"/>
                  </a:lnTo>
                  <a:lnTo>
                    <a:pt x="2295" y="277"/>
                  </a:lnTo>
                  <a:lnTo>
                    <a:pt x="2307" y="268"/>
                  </a:lnTo>
                  <a:lnTo>
                    <a:pt x="2314" y="264"/>
                  </a:lnTo>
                  <a:lnTo>
                    <a:pt x="2321" y="261"/>
                  </a:lnTo>
                  <a:lnTo>
                    <a:pt x="2330" y="258"/>
                  </a:lnTo>
                  <a:lnTo>
                    <a:pt x="2338" y="255"/>
                  </a:lnTo>
                  <a:lnTo>
                    <a:pt x="2352" y="250"/>
                  </a:lnTo>
                  <a:lnTo>
                    <a:pt x="2365" y="244"/>
                  </a:lnTo>
                  <a:lnTo>
                    <a:pt x="2371" y="242"/>
                  </a:lnTo>
                  <a:lnTo>
                    <a:pt x="2378" y="240"/>
                  </a:lnTo>
                  <a:lnTo>
                    <a:pt x="2384" y="239"/>
                  </a:lnTo>
                  <a:lnTo>
                    <a:pt x="2392" y="238"/>
                  </a:lnTo>
                  <a:lnTo>
                    <a:pt x="2398" y="239"/>
                  </a:lnTo>
                  <a:lnTo>
                    <a:pt x="2403" y="239"/>
                  </a:lnTo>
                  <a:lnTo>
                    <a:pt x="2408" y="241"/>
                  </a:lnTo>
                  <a:lnTo>
                    <a:pt x="2413" y="242"/>
                  </a:lnTo>
                  <a:lnTo>
                    <a:pt x="2421" y="247"/>
                  </a:lnTo>
                  <a:lnTo>
                    <a:pt x="2430" y="253"/>
                  </a:lnTo>
                  <a:lnTo>
                    <a:pt x="2445" y="266"/>
                  </a:lnTo>
                  <a:lnTo>
                    <a:pt x="2463" y="278"/>
                  </a:lnTo>
                  <a:lnTo>
                    <a:pt x="2442" y="302"/>
                  </a:lnTo>
                  <a:lnTo>
                    <a:pt x="2423" y="323"/>
                  </a:lnTo>
                  <a:lnTo>
                    <a:pt x="2415" y="334"/>
                  </a:lnTo>
                  <a:lnTo>
                    <a:pt x="2409" y="347"/>
                  </a:lnTo>
                  <a:lnTo>
                    <a:pt x="2407" y="353"/>
                  </a:lnTo>
                  <a:lnTo>
                    <a:pt x="2406" y="360"/>
                  </a:lnTo>
                  <a:lnTo>
                    <a:pt x="2405" y="367"/>
                  </a:lnTo>
                  <a:lnTo>
                    <a:pt x="2404" y="376"/>
                  </a:lnTo>
                  <a:lnTo>
                    <a:pt x="2405" y="381"/>
                  </a:lnTo>
                  <a:lnTo>
                    <a:pt x="2406" y="386"/>
                  </a:lnTo>
                  <a:lnTo>
                    <a:pt x="2407" y="390"/>
                  </a:lnTo>
                  <a:lnTo>
                    <a:pt x="2409" y="394"/>
                  </a:lnTo>
                  <a:lnTo>
                    <a:pt x="2414" y="401"/>
                  </a:lnTo>
                  <a:lnTo>
                    <a:pt x="2421" y="408"/>
                  </a:lnTo>
                  <a:lnTo>
                    <a:pt x="2438" y="419"/>
                  </a:lnTo>
                  <a:lnTo>
                    <a:pt x="2456" y="429"/>
                  </a:lnTo>
                  <a:lnTo>
                    <a:pt x="2467" y="437"/>
                  </a:lnTo>
                  <a:lnTo>
                    <a:pt x="2476" y="446"/>
                  </a:lnTo>
                  <a:lnTo>
                    <a:pt x="2484" y="455"/>
                  </a:lnTo>
                  <a:lnTo>
                    <a:pt x="2491" y="465"/>
                  </a:lnTo>
                  <a:lnTo>
                    <a:pt x="2497" y="476"/>
                  </a:lnTo>
                  <a:lnTo>
                    <a:pt x="2500" y="487"/>
                  </a:lnTo>
                  <a:lnTo>
                    <a:pt x="2503" y="499"/>
                  </a:lnTo>
                  <a:lnTo>
                    <a:pt x="2503" y="513"/>
                  </a:lnTo>
                  <a:lnTo>
                    <a:pt x="2503" y="638"/>
                  </a:lnTo>
                  <a:lnTo>
                    <a:pt x="2503" y="648"/>
                  </a:lnTo>
                  <a:lnTo>
                    <a:pt x="2501" y="657"/>
                  </a:lnTo>
                  <a:lnTo>
                    <a:pt x="2498" y="666"/>
                  </a:lnTo>
                  <a:lnTo>
                    <a:pt x="2495" y="674"/>
                  </a:lnTo>
                  <a:lnTo>
                    <a:pt x="2486" y="689"/>
                  </a:lnTo>
                  <a:lnTo>
                    <a:pt x="2479" y="708"/>
                  </a:lnTo>
                  <a:lnTo>
                    <a:pt x="2474" y="735"/>
                  </a:lnTo>
                  <a:lnTo>
                    <a:pt x="2468" y="759"/>
                  </a:lnTo>
                  <a:lnTo>
                    <a:pt x="2465" y="769"/>
                  </a:lnTo>
                  <a:lnTo>
                    <a:pt x="2458" y="779"/>
                  </a:lnTo>
                  <a:lnTo>
                    <a:pt x="2455" y="784"/>
                  </a:lnTo>
                  <a:lnTo>
                    <a:pt x="2451" y="790"/>
                  </a:lnTo>
                  <a:lnTo>
                    <a:pt x="2447" y="794"/>
                  </a:lnTo>
                  <a:lnTo>
                    <a:pt x="2442" y="798"/>
                  </a:lnTo>
                  <a:lnTo>
                    <a:pt x="2449" y="809"/>
                  </a:lnTo>
                  <a:lnTo>
                    <a:pt x="2456" y="820"/>
                  </a:lnTo>
                  <a:lnTo>
                    <a:pt x="2465" y="828"/>
                  </a:lnTo>
                  <a:lnTo>
                    <a:pt x="2475" y="835"/>
                  </a:lnTo>
                  <a:lnTo>
                    <a:pt x="2485" y="840"/>
                  </a:lnTo>
                  <a:lnTo>
                    <a:pt x="2497" y="844"/>
                  </a:lnTo>
                  <a:lnTo>
                    <a:pt x="2509" y="846"/>
                  </a:lnTo>
                  <a:lnTo>
                    <a:pt x="2522" y="847"/>
                  </a:lnTo>
                  <a:close/>
                </a:path>
              </a:pathLst>
            </a:custGeom>
            <a:grpFill/>
            <a:ln w="12700">
              <a:solidFill>
                <a:srgbClr val="7D7D7D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675"/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2965" y="3275"/>
              <a:ext cx="97" cy="41"/>
            </a:xfrm>
            <a:custGeom>
              <a:avLst/>
              <a:gdLst>
                <a:gd name="T0" fmla="*/ 262 w 330"/>
                <a:gd name="T1" fmla="*/ 86 h 152"/>
                <a:gd name="T2" fmla="*/ 262 w 330"/>
                <a:gd name="T3" fmla="*/ 86 h 152"/>
                <a:gd name="T4" fmla="*/ 262 w 330"/>
                <a:gd name="T5" fmla="*/ 86 h 152"/>
                <a:gd name="T6" fmla="*/ 262 w 330"/>
                <a:gd name="T7" fmla="*/ 86 h 152"/>
                <a:gd name="T8" fmla="*/ 262 w 330"/>
                <a:gd name="T9" fmla="*/ 86 h 152"/>
                <a:gd name="T10" fmla="*/ 262 w 330"/>
                <a:gd name="T11" fmla="*/ 86 h 152"/>
                <a:gd name="T12" fmla="*/ 262 w 330"/>
                <a:gd name="T13" fmla="*/ 86 h 152"/>
                <a:gd name="T14" fmla="*/ 262 w 330"/>
                <a:gd name="T15" fmla="*/ 86 h 152"/>
                <a:gd name="T16" fmla="*/ 262 w 330"/>
                <a:gd name="T17" fmla="*/ 86 h 152"/>
                <a:gd name="T18" fmla="*/ 262 w 330"/>
                <a:gd name="T19" fmla="*/ 86 h 152"/>
                <a:gd name="T20" fmla="*/ 262 w 330"/>
                <a:gd name="T21" fmla="*/ 86 h 152"/>
                <a:gd name="T22" fmla="*/ 262 w 330"/>
                <a:gd name="T23" fmla="*/ 86 h 152"/>
                <a:gd name="T24" fmla="*/ 262 w 330"/>
                <a:gd name="T25" fmla="*/ 86 h 152"/>
                <a:gd name="T26" fmla="*/ 262 w 330"/>
                <a:gd name="T27" fmla="*/ 86 h 152"/>
                <a:gd name="T28" fmla="*/ 262 w 330"/>
                <a:gd name="T29" fmla="*/ 86 h 152"/>
                <a:gd name="T30" fmla="*/ 262 w 330"/>
                <a:gd name="T31" fmla="*/ 86 h 152"/>
                <a:gd name="T32" fmla="*/ 262 w 330"/>
                <a:gd name="T33" fmla="*/ 86 h 152"/>
                <a:gd name="T34" fmla="*/ 262 w 330"/>
                <a:gd name="T35" fmla="*/ 86 h 152"/>
                <a:gd name="T36" fmla="*/ 262 w 330"/>
                <a:gd name="T37" fmla="*/ 86 h 152"/>
                <a:gd name="T38" fmla="*/ 262 w 330"/>
                <a:gd name="T39" fmla="*/ 86 h 152"/>
                <a:gd name="T40" fmla="*/ 262 w 330"/>
                <a:gd name="T41" fmla="*/ 86 h 152"/>
                <a:gd name="T42" fmla="*/ 262 w 330"/>
                <a:gd name="T43" fmla="*/ 86 h 152"/>
                <a:gd name="T44" fmla="*/ 262 w 330"/>
                <a:gd name="T45" fmla="*/ 0 h 152"/>
                <a:gd name="T46" fmla="*/ 262 w 330"/>
                <a:gd name="T47" fmla="*/ 86 h 152"/>
                <a:gd name="T48" fmla="*/ 262 w 330"/>
                <a:gd name="T49" fmla="*/ 86 h 152"/>
                <a:gd name="T50" fmla="*/ 262 w 330"/>
                <a:gd name="T51" fmla="*/ 86 h 152"/>
                <a:gd name="T52" fmla="*/ 262 w 330"/>
                <a:gd name="T53" fmla="*/ 86 h 152"/>
                <a:gd name="T54" fmla="*/ 262 w 330"/>
                <a:gd name="T55" fmla="*/ 86 h 152"/>
                <a:gd name="T56" fmla="*/ 262 w 330"/>
                <a:gd name="T57" fmla="*/ 86 h 152"/>
                <a:gd name="T58" fmla="*/ 262 w 330"/>
                <a:gd name="T59" fmla="*/ 0 h 152"/>
                <a:gd name="T60" fmla="*/ 262 w 330"/>
                <a:gd name="T61" fmla="*/ 86 h 152"/>
                <a:gd name="T62" fmla="*/ 262 w 330"/>
                <a:gd name="T63" fmla="*/ 86 h 152"/>
                <a:gd name="T64" fmla="*/ 262 w 330"/>
                <a:gd name="T65" fmla="*/ 86 h 152"/>
                <a:gd name="T66" fmla="*/ 262 w 330"/>
                <a:gd name="T67" fmla="*/ 86 h 152"/>
                <a:gd name="T68" fmla="*/ 262 w 330"/>
                <a:gd name="T69" fmla="*/ 86 h 152"/>
                <a:gd name="T70" fmla="*/ 262 w 330"/>
                <a:gd name="T71" fmla="*/ 86 h 152"/>
                <a:gd name="T72" fmla="*/ 262 w 330"/>
                <a:gd name="T73" fmla="*/ 86 h 152"/>
                <a:gd name="T74" fmla="*/ 262 w 330"/>
                <a:gd name="T75" fmla="*/ 86 h 15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30"/>
                <a:gd name="T115" fmla="*/ 0 h 152"/>
                <a:gd name="T116" fmla="*/ 330 w 330"/>
                <a:gd name="T117" fmla="*/ 152 h 15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30" h="152">
                  <a:moveTo>
                    <a:pt x="330" y="53"/>
                  </a:moveTo>
                  <a:lnTo>
                    <a:pt x="324" y="74"/>
                  </a:lnTo>
                  <a:lnTo>
                    <a:pt x="319" y="92"/>
                  </a:lnTo>
                  <a:lnTo>
                    <a:pt x="313" y="109"/>
                  </a:lnTo>
                  <a:lnTo>
                    <a:pt x="309" y="130"/>
                  </a:lnTo>
                  <a:lnTo>
                    <a:pt x="287" y="114"/>
                  </a:lnTo>
                  <a:lnTo>
                    <a:pt x="266" y="98"/>
                  </a:lnTo>
                  <a:lnTo>
                    <a:pt x="254" y="91"/>
                  </a:lnTo>
                  <a:lnTo>
                    <a:pt x="242" y="84"/>
                  </a:lnTo>
                  <a:lnTo>
                    <a:pt x="236" y="82"/>
                  </a:lnTo>
                  <a:lnTo>
                    <a:pt x="229" y="80"/>
                  </a:lnTo>
                  <a:lnTo>
                    <a:pt x="221" y="79"/>
                  </a:lnTo>
                  <a:lnTo>
                    <a:pt x="214" y="79"/>
                  </a:lnTo>
                  <a:lnTo>
                    <a:pt x="205" y="81"/>
                  </a:lnTo>
                  <a:lnTo>
                    <a:pt x="197" y="83"/>
                  </a:lnTo>
                  <a:lnTo>
                    <a:pt x="169" y="83"/>
                  </a:lnTo>
                  <a:lnTo>
                    <a:pt x="164" y="84"/>
                  </a:lnTo>
                  <a:lnTo>
                    <a:pt x="159" y="87"/>
                  </a:lnTo>
                  <a:lnTo>
                    <a:pt x="154" y="92"/>
                  </a:lnTo>
                  <a:lnTo>
                    <a:pt x="150" y="98"/>
                  </a:lnTo>
                  <a:lnTo>
                    <a:pt x="144" y="111"/>
                  </a:lnTo>
                  <a:lnTo>
                    <a:pt x="138" y="126"/>
                  </a:lnTo>
                  <a:lnTo>
                    <a:pt x="134" y="139"/>
                  </a:lnTo>
                  <a:lnTo>
                    <a:pt x="131" y="148"/>
                  </a:lnTo>
                  <a:lnTo>
                    <a:pt x="130" y="150"/>
                  </a:lnTo>
                  <a:lnTo>
                    <a:pt x="130" y="152"/>
                  </a:lnTo>
                  <a:lnTo>
                    <a:pt x="129" y="149"/>
                  </a:lnTo>
                  <a:lnTo>
                    <a:pt x="129" y="146"/>
                  </a:lnTo>
                  <a:lnTo>
                    <a:pt x="129" y="138"/>
                  </a:lnTo>
                  <a:lnTo>
                    <a:pt x="126" y="132"/>
                  </a:lnTo>
                  <a:lnTo>
                    <a:pt x="124" y="126"/>
                  </a:lnTo>
                  <a:lnTo>
                    <a:pt x="122" y="119"/>
                  </a:lnTo>
                  <a:lnTo>
                    <a:pt x="118" y="114"/>
                  </a:lnTo>
                  <a:lnTo>
                    <a:pt x="114" y="110"/>
                  </a:lnTo>
                  <a:lnTo>
                    <a:pt x="110" y="105"/>
                  </a:lnTo>
                  <a:lnTo>
                    <a:pt x="105" y="101"/>
                  </a:lnTo>
                  <a:lnTo>
                    <a:pt x="82" y="84"/>
                  </a:lnTo>
                  <a:lnTo>
                    <a:pt x="59" y="65"/>
                  </a:lnTo>
                  <a:lnTo>
                    <a:pt x="25" y="32"/>
                  </a:lnTo>
                  <a:lnTo>
                    <a:pt x="7" y="11"/>
                  </a:lnTo>
                  <a:lnTo>
                    <a:pt x="2" y="5"/>
                  </a:lnTo>
                  <a:lnTo>
                    <a:pt x="0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18" y="4"/>
                  </a:lnTo>
                  <a:lnTo>
                    <a:pt x="40" y="10"/>
                  </a:lnTo>
                  <a:lnTo>
                    <a:pt x="52" y="12"/>
                  </a:lnTo>
                  <a:lnTo>
                    <a:pt x="67" y="15"/>
                  </a:lnTo>
                  <a:lnTo>
                    <a:pt x="82" y="17"/>
                  </a:lnTo>
                  <a:lnTo>
                    <a:pt x="99" y="17"/>
                  </a:lnTo>
                  <a:lnTo>
                    <a:pt x="128" y="17"/>
                  </a:lnTo>
                  <a:lnTo>
                    <a:pt x="137" y="17"/>
                  </a:lnTo>
                  <a:lnTo>
                    <a:pt x="146" y="16"/>
                  </a:lnTo>
                  <a:lnTo>
                    <a:pt x="154" y="15"/>
                  </a:lnTo>
                  <a:lnTo>
                    <a:pt x="162" y="13"/>
                  </a:lnTo>
                  <a:lnTo>
                    <a:pt x="177" y="8"/>
                  </a:lnTo>
                  <a:lnTo>
                    <a:pt x="195" y="0"/>
                  </a:lnTo>
                  <a:lnTo>
                    <a:pt x="206" y="5"/>
                  </a:lnTo>
                  <a:lnTo>
                    <a:pt x="214" y="11"/>
                  </a:lnTo>
                  <a:lnTo>
                    <a:pt x="223" y="17"/>
                  </a:lnTo>
                  <a:lnTo>
                    <a:pt x="235" y="22"/>
                  </a:lnTo>
                  <a:lnTo>
                    <a:pt x="250" y="27"/>
                  </a:lnTo>
                  <a:lnTo>
                    <a:pt x="264" y="31"/>
                  </a:lnTo>
                  <a:lnTo>
                    <a:pt x="277" y="34"/>
                  </a:lnTo>
                  <a:lnTo>
                    <a:pt x="291" y="40"/>
                  </a:lnTo>
                  <a:lnTo>
                    <a:pt x="300" y="44"/>
                  </a:lnTo>
                  <a:lnTo>
                    <a:pt x="308" y="49"/>
                  </a:lnTo>
                  <a:lnTo>
                    <a:pt x="312" y="50"/>
                  </a:lnTo>
                  <a:lnTo>
                    <a:pt x="316" y="51"/>
                  </a:lnTo>
                  <a:lnTo>
                    <a:pt x="320" y="52"/>
                  </a:lnTo>
                  <a:lnTo>
                    <a:pt x="326" y="53"/>
                  </a:lnTo>
                  <a:lnTo>
                    <a:pt x="330" y="53"/>
                  </a:lnTo>
                  <a:close/>
                </a:path>
              </a:pathLst>
            </a:custGeom>
            <a:grpFill/>
            <a:ln w="12700">
              <a:solidFill>
                <a:srgbClr val="7D7D7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675"/>
            </a:p>
          </p:txBody>
        </p:sp>
        <p:sp>
          <p:nvSpPr>
            <p:cNvPr id="12" name="Mykolayiv"/>
            <p:cNvSpPr>
              <a:spLocks/>
            </p:cNvSpPr>
            <p:nvPr/>
          </p:nvSpPr>
          <p:spPr bwMode="auto">
            <a:xfrm>
              <a:off x="2616" y="2636"/>
              <a:ext cx="788" cy="622"/>
            </a:xfrm>
            <a:custGeom>
              <a:avLst/>
              <a:gdLst>
                <a:gd name="T0" fmla="*/ 374 w 2609"/>
                <a:gd name="T1" fmla="*/ 249 h 2125"/>
                <a:gd name="T2" fmla="*/ 374 w 2609"/>
                <a:gd name="T3" fmla="*/ 249 h 2125"/>
                <a:gd name="T4" fmla="*/ 374 w 2609"/>
                <a:gd name="T5" fmla="*/ 249 h 2125"/>
                <a:gd name="T6" fmla="*/ 374 w 2609"/>
                <a:gd name="T7" fmla="*/ 249 h 2125"/>
                <a:gd name="T8" fmla="*/ 374 w 2609"/>
                <a:gd name="T9" fmla="*/ 249 h 2125"/>
                <a:gd name="T10" fmla="*/ 374 w 2609"/>
                <a:gd name="T11" fmla="*/ 249 h 2125"/>
                <a:gd name="T12" fmla="*/ 374 w 2609"/>
                <a:gd name="T13" fmla="*/ 249 h 2125"/>
                <a:gd name="T14" fmla="*/ 374 w 2609"/>
                <a:gd name="T15" fmla="*/ 249 h 2125"/>
                <a:gd name="T16" fmla="*/ 374 w 2609"/>
                <a:gd name="T17" fmla="*/ 249 h 2125"/>
                <a:gd name="T18" fmla="*/ 374 w 2609"/>
                <a:gd name="T19" fmla="*/ 249 h 2125"/>
                <a:gd name="T20" fmla="*/ 374 w 2609"/>
                <a:gd name="T21" fmla="*/ 249 h 2125"/>
                <a:gd name="T22" fmla="*/ 374 w 2609"/>
                <a:gd name="T23" fmla="*/ 249 h 2125"/>
                <a:gd name="T24" fmla="*/ 374 w 2609"/>
                <a:gd name="T25" fmla="*/ 249 h 2125"/>
                <a:gd name="T26" fmla="*/ 374 w 2609"/>
                <a:gd name="T27" fmla="*/ 249 h 2125"/>
                <a:gd name="T28" fmla="*/ 374 w 2609"/>
                <a:gd name="T29" fmla="*/ 249 h 2125"/>
                <a:gd name="T30" fmla="*/ 374 w 2609"/>
                <a:gd name="T31" fmla="*/ 249 h 2125"/>
                <a:gd name="T32" fmla="*/ 374 w 2609"/>
                <a:gd name="T33" fmla="*/ 249 h 2125"/>
                <a:gd name="T34" fmla="*/ 374 w 2609"/>
                <a:gd name="T35" fmla="*/ 249 h 2125"/>
                <a:gd name="T36" fmla="*/ 374 w 2609"/>
                <a:gd name="T37" fmla="*/ 249 h 2125"/>
                <a:gd name="T38" fmla="*/ 374 w 2609"/>
                <a:gd name="T39" fmla="*/ 249 h 2125"/>
                <a:gd name="T40" fmla="*/ 374 w 2609"/>
                <a:gd name="T41" fmla="*/ 249 h 2125"/>
                <a:gd name="T42" fmla="*/ 374 w 2609"/>
                <a:gd name="T43" fmla="*/ 249 h 2125"/>
                <a:gd name="T44" fmla="*/ 374 w 2609"/>
                <a:gd name="T45" fmla="*/ 249 h 2125"/>
                <a:gd name="T46" fmla="*/ 374 w 2609"/>
                <a:gd name="T47" fmla="*/ 249 h 2125"/>
                <a:gd name="T48" fmla="*/ 374 w 2609"/>
                <a:gd name="T49" fmla="*/ 249 h 2125"/>
                <a:gd name="T50" fmla="*/ 374 w 2609"/>
                <a:gd name="T51" fmla="*/ 249 h 2125"/>
                <a:gd name="T52" fmla="*/ 374 w 2609"/>
                <a:gd name="T53" fmla="*/ 249 h 2125"/>
                <a:gd name="T54" fmla="*/ 374 w 2609"/>
                <a:gd name="T55" fmla="*/ 249 h 2125"/>
                <a:gd name="T56" fmla="*/ 374 w 2609"/>
                <a:gd name="T57" fmla="*/ 249 h 2125"/>
                <a:gd name="T58" fmla="*/ 374 w 2609"/>
                <a:gd name="T59" fmla="*/ 249 h 2125"/>
                <a:gd name="T60" fmla="*/ 374 w 2609"/>
                <a:gd name="T61" fmla="*/ 249 h 2125"/>
                <a:gd name="T62" fmla="*/ 374 w 2609"/>
                <a:gd name="T63" fmla="*/ 249 h 2125"/>
                <a:gd name="T64" fmla="*/ 374 w 2609"/>
                <a:gd name="T65" fmla="*/ 249 h 2125"/>
                <a:gd name="T66" fmla="*/ 374 w 2609"/>
                <a:gd name="T67" fmla="*/ 249 h 2125"/>
                <a:gd name="T68" fmla="*/ 374 w 2609"/>
                <a:gd name="T69" fmla="*/ 249 h 2125"/>
                <a:gd name="T70" fmla="*/ 374 w 2609"/>
                <a:gd name="T71" fmla="*/ 249 h 2125"/>
                <a:gd name="T72" fmla="*/ 374 w 2609"/>
                <a:gd name="T73" fmla="*/ 249 h 2125"/>
                <a:gd name="T74" fmla="*/ 374 w 2609"/>
                <a:gd name="T75" fmla="*/ 249 h 2125"/>
                <a:gd name="T76" fmla="*/ 374 w 2609"/>
                <a:gd name="T77" fmla="*/ 249 h 2125"/>
                <a:gd name="T78" fmla="*/ 374 w 2609"/>
                <a:gd name="T79" fmla="*/ 249 h 2125"/>
                <a:gd name="T80" fmla="*/ 374 w 2609"/>
                <a:gd name="T81" fmla="*/ 249 h 2125"/>
                <a:gd name="T82" fmla="*/ 0 w 2609"/>
                <a:gd name="T83" fmla="*/ 249 h 2125"/>
                <a:gd name="T84" fmla="*/ 374 w 2609"/>
                <a:gd name="T85" fmla="*/ 249 h 2125"/>
                <a:gd name="T86" fmla="*/ 374 w 2609"/>
                <a:gd name="T87" fmla="*/ 249 h 2125"/>
                <a:gd name="T88" fmla="*/ 374 w 2609"/>
                <a:gd name="T89" fmla="*/ 249 h 2125"/>
                <a:gd name="T90" fmla="*/ 374 w 2609"/>
                <a:gd name="T91" fmla="*/ 249 h 2125"/>
                <a:gd name="T92" fmla="*/ 374 w 2609"/>
                <a:gd name="T93" fmla="*/ 249 h 2125"/>
                <a:gd name="T94" fmla="*/ 374 w 2609"/>
                <a:gd name="T95" fmla="*/ 249 h 2125"/>
                <a:gd name="T96" fmla="*/ 374 w 2609"/>
                <a:gd name="T97" fmla="*/ 249 h 2125"/>
                <a:gd name="T98" fmla="*/ 374 w 2609"/>
                <a:gd name="T99" fmla="*/ 249 h 2125"/>
                <a:gd name="T100" fmla="*/ 374 w 2609"/>
                <a:gd name="T101" fmla="*/ 249 h 2125"/>
                <a:gd name="T102" fmla="*/ 374 w 2609"/>
                <a:gd name="T103" fmla="*/ 249 h 2125"/>
                <a:gd name="T104" fmla="*/ 374 w 2609"/>
                <a:gd name="T105" fmla="*/ 249 h 2125"/>
                <a:gd name="T106" fmla="*/ 374 w 2609"/>
                <a:gd name="T107" fmla="*/ 249 h 2125"/>
                <a:gd name="T108" fmla="*/ 374 w 2609"/>
                <a:gd name="T109" fmla="*/ 249 h 2125"/>
                <a:gd name="T110" fmla="*/ 374 w 2609"/>
                <a:gd name="T111" fmla="*/ 249 h 2125"/>
                <a:gd name="T112" fmla="*/ 374 w 2609"/>
                <a:gd name="T113" fmla="*/ 249 h 2125"/>
                <a:gd name="T114" fmla="*/ 374 w 2609"/>
                <a:gd name="T115" fmla="*/ 249 h 2125"/>
                <a:gd name="T116" fmla="*/ 374 w 2609"/>
                <a:gd name="T117" fmla="*/ 249 h 2125"/>
                <a:gd name="T118" fmla="*/ 374 w 2609"/>
                <a:gd name="T119" fmla="*/ 249 h 212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609"/>
                <a:gd name="T181" fmla="*/ 0 h 2125"/>
                <a:gd name="T182" fmla="*/ 2609 w 2609"/>
                <a:gd name="T183" fmla="*/ 2125 h 212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609" h="2125">
                  <a:moveTo>
                    <a:pt x="2522" y="847"/>
                  </a:moveTo>
                  <a:lnTo>
                    <a:pt x="2530" y="869"/>
                  </a:lnTo>
                  <a:lnTo>
                    <a:pt x="2536" y="888"/>
                  </a:lnTo>
                  <a:lnTo>
                    <a:pt x="2542" y="906"/>
                  </a:lnTo>
                  <a:lnTo>
                    <a:pt x="2548" y="924"/>
                  </a:lnTo>
                  <a:lnTo>
                    <a:pt x="2553" y="942"/>
                  </a:lnTo>
                  <a:lnTo>
                    <a:pt x="2556" y="961"/>
                  </a:lnTo>
                  <a:lnTo>
                    <a:pt x="2559" y="981"/>
                  </a:lnTo>
                  <a:lnTo>
                    <a:pt x="2560" y="1002"/>
                  </a:lnTo>
                  <a:lnTo>
                    <a:pt x="2560" y="1051"/>
                  </a:lnTo>
                  <a:lnTo>
                    <a:pt x="2559" y="1061"/>
                  </a:lnTo>
                  <a:lnTo>
                    <a:pt x="2556" y="1070"/>
                  </a:lnTo>
                  <a:lnTo>
                    <a:pt x="2553" y="1080"/>
                  </a:lnTo>
                  <a:lnTo>
                    <a:pt x="2550" y="1087"/>
                  </a:lnTo>
                  <a:lnTo>
                    <a:pt x="2547" y="1095"/>
                  </a:lnTo>
                  <a:lnTo>
                    <a:pt x="2544" y="1105"/>
                  </a:lnTo>
                  <a:lnTo>
                    <a:pt x="2542" y="1114"/>
                  </a:lnTo>
                  <a:lnTo>
                    <a:pt x="2541" y="1124"/>
                  </a:lnTo>
                  <a:lnTo>
                    <a:pt x="2542" y="1138"/>
                  </a:lnTo>
                  <a:lnTo>
                    <a:pt x="2544" y="1150"/>
                  </a:lnTo>
                  <a:lnTo>
                    <a:pt x="2547" y="1161"/>
                  </a:lnTo>
                  <a:lnTo>
                    <a:pt x="2550" y="1173"/>
                  </a:lnTo>
                  <a:lnTo>
                    <a:pt x="2561" y="1193"/>
                  </a:lnTo>
                  <a:lnTo>
                    <a:pt x="2573" y="1213"/>
                  </a:lnTo>
                  <a:lnTo>
                    <a:pt x="2585" y="1234"/>
                  </a:lnTo>
                  <a:lnTo>
                    <a:pt x="2596" y="1254"/>
                  </a:lnTo>
                  <a:lnTo>
                    <a:pt x="2601" y="1266"/>
                  </a:lnTo>
                  <a:lnTo>
                    <a:pt x="2605" y="1277"/>
                  </a:lnTo>
                  <a:lnTo>
                    <a:pt x="2608" y="1289"/>
                  </a:lnTo>
                  <a:lnTo>
                    <a:pt x="2609" y="1303"/>
                  </a:lnTo>
                  <a:lnTo>
                    <a:pt x="2596" y="1308"/>
                  </a:lnTo>
                  <a:lnTo>
                    <a:pt x="2584" y="1314"/>
                  </a:lnTo>
                  <a:lnTo>
                    <a:pt x="2574" y="1321"/>
                  </a:lnTo>
                  <a:lnTo>
                    <a:pt x="2564" y="1329"/>
                  </a:lnTo>
                  <a:lnTo>
                    <a:pt x="2554" y="1337"/>
                  </a:lnTo>
                  <a:lnTo>
                    <a:pt x="2544" y="1344"/>
                  </a:lnTo>
                  <a:lnTo>
                    <a:pt x="2533" y="1351"/>
                  </a:lnTo>
                  <a:lnTo>
                    <a:pt x="2519" y="1358"/>
                  </a:lnTo>
                  <a:lnTo>
                    <a:pt x="2507" y="1362"/>
                  </a:lnTo>
                  <a:lnTo>
                    <a:pt x="2496" y="1366"/>
                  </a:lnTo>
                  <a:lnTo>
                    <a:pt x="2490" y="1368"/>
                  </a:lnTo>
                  <a:lnTo>
                    <a:pt x="2485" y="1371"/>
                  </a:lnTo>
                  <a:lnTo>
                    <a:pt x="2480" y="1374"/>
                  </a:lnTo>
                  <a:lnTo>
                    <a:pt x="2475" y="1378"/>
                  </a:lnTo>
                  <a:lnTo>
                    <a:pt x="2470" y="1383"/>
                  </a:lnTo>
                  <a:lnTo>
                    <a:pt x="2464" y="1386"/>
                  </a:lnTo>
                  <a:lnTo>
                    <a:pt x="2457" y="1391"/>
                  </a:lnTo>
                  <a:lnTo>
                    <a:pt x="2451" y="1393"/>
                  </a:lnTo>
                  <a:lnTo>
                    <a:pt x="2439" y="1399"/>
                  </a:lnTo>
                  <a:lnTo>
                    <a:pt x="2427" y="1404"/>
                  </a:lnTo>
                  <a:lnTo>
                    <a:pt x="2421" y="1406"/>
                  </a:lnTo>
                  <a:lnTo>
                    <a:pt x="2416" y="1409"/>
                  </a:lnTo>
                  <a:lnTo>
                    <a:pt x="2411" y="1412"/>
                  </a:lnTo>
                  <a:lnTo>
                    <a:pt x="2407" y="1416"/>
                  </a:lnTo>
                  <a:lnTo>
                    <a:pt x="2404" y="1421"/>
                  </a:lnTo>
                  <a:lnTo>
                    <a:pt x="2402" y="1426"/>
                  </a:lnTo>
                  <a:lnTo>
                    <a:pt x="2400" y="1431"/>
                  </a:lnTo>
                  <a:lnTo>
                    <a:pt x="2400" y="1438"/>
                  </a:lnTo>
                  <a:lnTo>
                    <a:pt x="2401" y="1447"/>
                  </a:lnTo>
                  <a:lnTo>
                    <a:pt x="2403" y="1457"/>
                  </a:lnTo>
                  <a:lnTo>
                    <a:pt x="2407" y="1464"/>
                  </a:lnTo>
                  <a:lnTo>
                    <a:pt x="2411" y="1471"/>
                  </a:lnTo>
                  <a:lnTo>
                    <a:pt x="2416" y="1478"/>
                  </a:lnTo>
                  <a:lnTo>
                    <a:pt x="2421" y="1487"/>
                  </a:lnTo>
                  <a:lnTo>
                    <a:pt x="2427" y="1495"/>
                  </a:lnTo>
                  <a:lnTo>
                    <a:pt x="2430" y="1504"/>
                  </a:lnTo>
                  <a:lnTo>
                    <a:pt x="2434" y="1521"/>
                  </a:lnTo>
                  <a:lnTo>
                    <a:pt x="2437" y="1536"/>
                  </a:lnTo>
                  <a:lnTo>
                    <a:pt x="2439" y="1543"/>
                  </a:lnTo>
                  <a:lnTo>
                    <a:pt x="2442" y="1550"/>
                  </a:lnTo>
                  <a:lnTo>
                    <a:pt x="2447" y="1556"/>
                  </a:lnTo>
                  <a:lnTo>
                    <a:pt x="2453" y="1560"/>
                  </a:lnTo>
                  <a:lnTo>
                    <a:pt x="2469" y="1567"/>
                  </a:lnTo>
                  <a:lnTo>
                    <a:pt x="2484" y="1573"/>
                  </a:lnTo>
                  <a:lnTo>
                    <a:pt x="2491" y="1578"/>
                  </a:lnTo>
                  <a:lnTo>
                    <a:pt x="2497" y="1583"/>
                  </a:lnTo>
                  <a:lnTo>
                    <a:pt x="2498" y="1585"/>
                  </a:lnTo>
                  <a:lnTo>
                    <a:pt x="2500" y="1588"/>
                  </a:lnTo>
                  <a:lnTo>
                    <a:pt x="2501" y="1592"/>
                  </a:lnTo>
                  <a:lnTo>
                    <a:pt x="2501" y="1596"/>
                  </a:lnTo>
                  <a:lnTo>
                    <a:pt x="2501" y="1605"/>
                  </a:lnTo>
                  <a:lnTo>
                    <a:pt x="2500" y="1616"/>
                  </a:lnTo>
                  <a:lnTo>
                    <a:pt x="2499" y="1624"/>
                  </a:lnTo>
                  <a:lnTo>
                    <a:pt x="2497" y="1632"/>
                  </a:lnTo>
                  <a:lnTo>
                    <a:pt x="2493" y="1649"/>
                  </a:lnTo>
                  <a:lnTo>
                    <a:pt x="2486" y="1664"/>
                  </a:lnTo>
                  <a:lnTo>
                    <a:pt x="2473" y="1694"/>
                  </a:lnTo>
                  <a:lnTo>
                    <a:pt x="2458" y="1730"/>
                  </a:lnTo>
                  <a:lnTo>
                    <a:pt x="2453" y="1744"/>
                  </a:lnTo>
                  <a:lnTo>
                    <a:pt x="2448" y="1757"/>
                  </a:lnTo>
                  <a:lnTo>
                    <a:pt x="2442" y="1770"/>
                  </a:lnTo>
                  <a:lnTo>
                    <a:pt x="2436" y="1782"/>
                  </a:lnTo>
                  <a:lnTo>
                    <a:pt x="2429" y="1793"/>
                  </a:lnTo>
                  <a:lnTo>
                    <a:pt x="2420" y="1804"/>
                  </a:lnTo>
                  <a:lnTo>
                    <a:pt x="2412" y="1813"/>
                  </a:lnTo>
                  <a:lnTo>
                    <a:pt x="2403" y="1822"/>
                  </a:lnTo>
                  <a:lnTo>
                    <a:pt x="2394" y="1831"/>
                  </a:lnTo>
                  <a:lnTo>
                    <a:pt x="2383" y="1837"/>
                  </a:lnTo>
                  <a:lnTo>
                    <a:pt x="2373" y="1843"/>
                  </a:lnTo>
                  <a:lnTo>
                    <a:pt x="2361" y="1848"/>
                  </a:lnTo>
                  <a:lnTo>
                    <a:pt x="2349" y="1852"/>
                  </a:lnTo>
                  <a:lnTo>
                    <a:pt x="2336" y="1855"/>
                  </a:lnTo>
                  <a:lnTo>
                    <a:pt x="2322" y="1857"/>
                  </a:lnTo>
                  <a:lnTo>
                    <a:pt x="2309" y="1858"/>
                  </a:lnTo>
                  <a:lnTo>
                    <a:pt x="2297" y="1857"/>
                  </a:lnTo>
                  <a:lnTo>
                    <a:pt x="2284" y="1855"/>
                  </a:lnTo>
                  <a:lnTo>
                    <a:pt x="2274" y="1852"/>
                  </a:lnTo>
                  <a:lnTo>
                    <a:pt x="2264" y="1848"/>
                  </a:lnTo>
                  <a:lnTo>
                    <a:pt x="2245" y="1837"/>
                  </a:lnTo>
                  <a:lnTo>
                    <a:pt x="2226" y="1825"/>
                  </a:lnTo>
                  <a:lnTo>
                    <a:pt x="2209" y="1813"/>
                  </a:lnTo>
                  <a:lnTo>
                    <a:pt x="2189" y="1803"/>
                  </a:lnTo>
                  <a:lnTo>
                    <a:pt x="2180" y="1797"/>
                  </a:lnTo>
                  <a:lnTo>
                    <a:pt x="2169" y="1794"/>
                  </a:lnTo>
                  <a:lnTo>
                    <a:pt x="2157" y="1792"/>
                  </a:lnTo>
                  <a:lnTo>
                    <a:pt x="2145" y="1792"/>
                  </a:lnTo>
                  <a:lnTo>
                    <a:pt x="2137" y="1792"/>
                  </a:lnTo>
                  <a:lnTo>
                    <a:pt x="2128" y="1792"/>
                  </a:lnTo>
                  <a:lnTo>
                    <a:pt x="2120" y="1793"/>
                  </a:lnTo>
                  <a:lnTo>
                    <a:pt x="2113" y="1795"/>
                  </a:lnTo>
                  <a:lnTo>
                    <a:pt x="2107" y="1798"/>
                  </a:lnTo>
                  <a:lnTo>
                    <a:pt x="2101" y="1803"/>
                  </a:lnTo>
                  <a:lnTo>
                    <a:pt x="2094" y="1807"/>
                  </a:lnTo>
                  <a:lnTo>
                    <a:pt x="2088" y="1813"/>
                  </a:lnTo>
                  <a:lnTo>
                    <a:pt x="2082" y="1822"/>
                  </a:lnTo>
                  <a:lnTo>
                    <a:pt x="2076" y="1833"/>
                  </a:lnTo>
                  <a:lnTo>
                    <a:pt x="2072" y="1843"/>
                  </a:lnTo>
                  <a:lnTo>
                    <a:pt x="2068" y="1852"/>
                  </a:lnTo>
                  <a:lnTo>
                    <a:pt x="2062" y="1861"/>
                  </a:lnTo>
                  <a:lnTo>
                    <a:pt x="2056" y="1868"/>
                  </a:lnTo>
                  <a:lnTo>
                    <a:pt x="2053" y="1871"/>
                  </a:lnTo>
                  <a:lnTo>
                    <a:pt x="2049" y="1873"/>
                  </a:lnTo>
                  <a:lnTo>
                    <a:pt x="2044" y="1874"/>
                  </a:lnTo>
                  <a:lnTo>
                    <a:pt x="2039" y="1875"/>
                  </a:lnTo>
                  <a:lnTo>
                    <a:pt x="2033" y="1874"/>
                  </a:lnTo>
                  <a:lnTo>
                    <a:pt x="2027" y="1873"/>
                  </a:lnTo>
                  <a:lnTo>
                    <a:pt x="2022" y="1871"/>
                  </a:lnTo>
                  <a:lnTo>
                    <a:pt x="2018" y="1869"/>
                  </a:lnTo>
                  <a:lnTo>
                    <a:pt x="2010" y="1861"/>
                  </a:lnTo>
                  <a:lnTo>
                    <a:pt x="2003" y="1853"/>
                  </a:lnTo>
                  <a:lnTo>
                    <a:pt x="1995" y="1845"/>
                  </a:lnTo>
                  <a:lnTo>
                    <a:pt x="1988" y="1836"/>
                  </a:lnTo>
                  <a:lnTo>
                    <a:pt x="1980" y="1827"/>
                  </a:lnTo>
                  <a:lnTo>
                    <a:pt x="1971" y="1820"/>
                  </a:lnTo>
                  <a:lnTo>
                    <a:pt x="1968" y="1824"/>
                  </a:lnTo>
                  <a:lnTo>
                    <a:pt x="1966" y="1829"/>
                  </a:lnTo>
                  <a:lnTo>
                    <a:pt x="1968" y="1842"/>
                  </a:lnTo>
                  <a:lnTo>
                    <a:pt x="1971" y="1853"/>
                  </a:lnTo>
                  <a:lnTo>
                    <a:pt x="1970" y="1859"/>
                  </a:lnTo>
                  <a:lnTo>
                    <a:pt x="1969" y="1865"/>
                  </a:lnTo>
                  <a:lnTo>
                    <a:pt x="1968" y="1871"/>
                  </a:lnTo>
                  <a:lnTo>
                    <a:pt x="1965" y="1876"/>
                  </a:lnTo>
                  <a:lnTo>
                    <a:pt x="1961" y="1880"/>
                  </a:lnTo>
                  <a:lnTo>
                    <a:pt x="1957" y="1883"/>
                  </a:lnTo>
                  <a:lnTo>
                    <a:pt x="1952" y="1885"/>
                  </a:lnTo>
                  <a:lnTo>
                    <a:pt x="1947" y="1886"/>
                  </a:lnTo>
                  <a:lnTo>
                    <a:pt x="1938" y="1885"/>
                  </a:lnTo>
                  <a:lnTo>
                    <a:pt x="1929" y="1884"/>
                  </a:lnTo>
                  <a:lnTo>
                    <a:pt x="1922" y="1882"/>
                  </a:lnTo>
                  <a:lnTo>
                    <a:pt x="1914" y="1879"/>
                  </a:lnTo>
                  <a:lnTo>
                    <a:pt x="1901" y="1871"/>
                  </a:lnTo>
                  <a:lnTo>
                    <a:pt x="1887" y="1863"/>
                  </a:lnTo>
                  <a:lnTo>
                    <a:pt x="1875" y="1854"/>
                  </a:lnTo>
                  <a:lnTo>
                    <a:pt x="1860" y="1846"/>
                  </a:lnTo>
                  <a:lnTo>
                    <a:pt x="1853" y="1843"/>
                  </a:lnTo>
                  <a:lnTo>
                    <a:pt x="1846" y="1841"/>
                  </a:lnTo>
                  <a:lnTo>
                    <a:pt x="1838" y="1840"/>
                  </a:lnTo>
                  <a:lnTo>
                    <a:pt x="1828" y="1839"/>
                  </a:lnTo>
                  <a:lnTo>
                    <a:pt x="1810" y="1839"/>
                  </a:lnTo>
                  <a:lnTo>
                    <a:pt x="1810" y="1857"/>
                  </a:lnTo>
                  <a:lnTo>
                    <a:pt x="1809" y="1876"/>
                  </a:lnTo>
                  <a:lnTo>
                    <a:pt x="1807" y="1894"/>
                  </a:lnTo>
                  <a:lnTo>
                    <a:pt x="1803" y="1910"/>
                  </a:lnTo>
                  <a:lnTo>
                    <a:pt x="1801" y="1918"/>
                  </a:lnTo>
                  <a:lnTo>
                    <a:pt x="1797" y="1926"/>
                  </a:lnTo>
                  <a:lnTo>
                    <a:pt x="1793" y="1932"/>
                  </a:lnTo>
                  <a:lnTo>
                    <a:pt x="1788" y="1938"/>
                  </a:lnTo>
                  <a:lnTo>
                    <a:pt x="1783" y="1943"/>
                  </a:lnTo>
                  <a:lnTo>
                    <a:pt x="1776" y="1948"/>
                  </a:lnTo>
                  <a:lnTo>
                    <a:pt x="1769" y="1951"/>
                  </a:lnTo>
                  <a:lnTo>
                    <a:pt x="1760" y="1954"/>
                  </a:lnTo>
                  <a:lnTo>
                    <a:pt x="1728" y="1964"/>
                  </a:lnTo>
                  <a:lnTo>
                    <a:pt x="1696" y="1971"/>
                  </a:lnTo>
                  <a:lnTo>
                    <a:pt x="1681" y="1975"/>
                  </a:lnTo>
                  <a:lnTo>
                    <a:pt x="1665" y="1979"/>
                  </a:lnTo>
                  <a:lnTo>
                    <a:pt x="1651" y="1984"/>
                  </a:lnTo>
                  <a:lnTo>
                    <a:pt x="1637" y="1990"/>
                  </a:lnTo>
                  <a:lnTo>
                    <a:pt x="1624" y="1996"/>
                  </a:lnTo>
                  <a:lnTo>
                    <a:pt x="1612" y="2003"/>
                  </a:lnTo>
                  <a:lnTo>
                    <a:pt x="1600" y="2010"/>
                  </a:lnTo>
                  <a:lnTo>
                    <a:pt x="1590" y="2019"/>
                  </a:lnTo>
                  <a:lnTo>
                    <a:pt x="1581" y="2030"/>
                  </a:lnTo>
                  <a:lnTo>
                    <a:pt x="1573" y="2042"/>
                  </a:lnTo>
                  <a:lnTo>
                    <a:pt x="1570" y="2048"/>
                  </a:lnTo>
                  <a:lnTo>
                    <a:pt x="1566" y="2056"/>
                  </a:lnTo>
                  <a:lnTo>
                    <a:pt x="1564" y="2063"/>
                  </a:lnTo>
                  <a:lnTo>
                    <a:pt x="1562" y="2071"/>
                  </a:lnTo>
                  <a:lnTo>
                    <a:pt x="1555" y="2062"/>
                  </a:lnTo>
                  <a:lnTo>
                    <a:pt x="1550" y="2053"/>
                  </a:lnTo>
                  <a:lnTo>
                    <a:pt x="1546" y="2042"/>
                  </a:lnTo>
                  <a:lnTo>
                    <a:pt x="1542" y="2031"/>
                  </a:lnTo>
                  <a:lnTo>
                    <a:pt x="1537" y="2008"/>
                  </a:lnTo>
                  <a:lnTo>
                    <a:pt x="1529" y="1983"/>
                  </a:lnTo>
                  <a:lnTo>
                    <a:pt x="1526" y="1972"/>
                  </a:lnTo>
                  <a:lnTo>
                    <a:pt x="1521" y="1963"/>
                  </a:lnTo>
                  <a:lnTo>
                    <a:pt x="1517" y="1954"/>
                  </a:lnTo>
                  <a:lnTo>
                    <a:pt x="1512" y="1946"/>
                  </a:lnTo>
                  <a:lnTo>
                    <a:pt x="1508" y="1938"/>
                  </a:lnTo>
                  <a:lnTo>
                    <a:pt x="1505" y="1929"/>
                  </a:lnTo>
                  <a:lnTo>
                    <a:pt x="1503" y="1919"/>
                  </a:lnTo>
                  <a:lnTo>
                    <a:pt x="1501" y="1909"/>
                  </a:lnTo>
                  <a:lnTo>
                    <a:pt x="1501" y="1881"/>
                  </a:lnTo>
                  <a:lnTo>
                    <a:pt x="1503" y="1855"/>
                  </a:lnTo>
                  <a:lnTo>
                    <a:pt x="1505" y="1844"/>
                  </a:lnTo>
                  <a:lnTo>
                    <a:pt x="1509" y="1833"/>
                  </a:lnTo>
                  <a:lnTo>
                    <a:pt x="1514" y="1820"/>
                  </a:lnTo>
                  <a:lnTo>
                    <a:pt x="1521" y="1809"/>
                  </a:lnTo>
                  <a:lnTo>
                    <a:pt x="1532" y="1795"/>
                  </a:lnTo>
                  <a:lnTo>
                    <a:pt x="1543" y="1785"/>
                  </a:lnTo>
                  <a:lnTo>
                    <a:pt x="1547" y="1779"/>
                  </a:lnTo>
                  <a:lnTo>
                    <a:pt x="1550" y="1773"/>
                  </a:lnTo>
                  <a:lnTo>
                    <a:pt x="1552" y="1765"/>
                  </a:lnTo>
                  <a:lnTo>
                    <a:pt x="1553" y="1757"/>
                  </a:lnTo>
                  <a:lnTo>
                    <a:pt x="1553" y="1740"/>
                  </a:lnTo>
                  <a:lnTo>
                    <a:pt x="1550" y="1723"/>
                  </a:lnTo>
                  <a:lnTo>
                    <a:pt x="1548" y="1715"/>
                  </a:lnTo>
                  <a:lnTo>
                    <a:pt x="1546" y="1708"/>
                  </a:lnTo>
                  <a:lnTo>
                    <a:pt x="1542" y="1699"/>
                  </a:lnTo>
                  <a:lnTo>
                    <a:pt x="1537" y="1691"/>
                  </a:lnTo>
                  <a:lnTo>
                    <a:pt x="1533" y="1699"/>
                  </a:lnTo>
                  <a:lnTo>
                    <a:pt x="1532" y="1708"/>
                  </a:lnTo>
                  <a:lnTo>
                    <a:pt x="1531" y="1721"/>
                  </a:lnTo>
                  <a:lnTo>
                    <a:pt x="1530" y="1733"/>
                  </a:lnTo>
                  <a:lnTo>
                    <a:pt x="1527" y="1746"/>
                  </a:lnTo>
                  <a:lnTo>
                    <a:pt x="1524" y="1756"/>
                  </a:lnTo>
                  <a:lnTo>
                    <a:pt x="1520" y="1766"/>
                  </a:lnTo>
                  <a:lnTo>
                    <a:pt x="1514" y="1778"/>
                  </a:lnTo>
                  <a:lnTo>
                    <a:pt x="1507" y="1788"/>
                  </a:lnTo>
                  <a:lnTo>
                    <a:pt x="1499" y="1798"/>
                  </a:lnTo>
                  <a:lnTo>
                    <a:pt x="1494" y="1804"/>
                  </a:lnTo>
                  <a:lnTo>
                    <a:pt x="1489" y="1808"/>
                  </a:lnTo>
                  <a:lnTo>
                    <a:pt x="1484" y="1812"/>
                  </a:lnTo>
                  <a:lnTo>
                    <a:pt x="1479" y="1815"/>
                  </a:lnTo>
                  <a:lnTo>
                    <a:pt x="1467" y="1821"/>
                  </a:lnTo>
                  <a:lnTo>
                    <a:pt x="1456" y="1827"/>
                  </a:lnTo>
                  <a:lnTo>
                    <a:pt x="1446" y="1834"/>
                  </a:lnTo>
                  <a:lnTo>
                    <a:pt x="1439" y="1841"/>
                  </a:lnTo>
                  <a:lnTo>
                    <a:pt x="1434" y="1845"/>
                  </a:lnTo>
                  <a:lnTo>
                    <a:pt x="1432" y="1849"/>
                  </a:lnTo>
                  <a:lnTo>
                    <a:pt x="1431" y="1855"/>
                  </a:lnTo>
                  <a:lnTo>
                    <a:pt x="1430" y="1861"/>
                  </a:lnTo>
                  <a:lnTo>
                    <a:pt x="1431" y="1870"/>
                  </a:lnTo>
                  <a:lnTo>
                    <a:pt x="1432" y="1878"/>
                  </a:lnTo>
                  <a:lnTo>
                    <a:pt x="1434" y="1885"/>
                  </a:lnTo>
                  <a:lnTo>
                    <a:pt x="1438" y="1891"/>
                  </a:lnTo>
                  <a:lnTo>
                    <a:pt x="1445" y="1905"/>
                  </a:lnTo>
                  <a:lnTo>
                    <a:pt x="1452" y="1920"/>
                  </a:lnTo>
                  <a:lnTo>
                    <a:pt x="1455" y="1931"/>
                  </a:lnTo>
                  <a:lnTo>
                    <a:pt x="1458" y="1940"/>
                  </a:lnTo>
                  <a:lnTo>
                    <a:pt x="1459" y="1949"/>
                  </a:lnTo>
                  <a:lnTo>
                    <a:pt x="1460" y="1958"/>
                  </a:lnTo>
                  <a:lnTo>
                    <a:pt x="1462" y="1976"/>
                  </a:lnTo>
                  <a:lnTo>
                    <a:pt x="1465" y="1996"/>
                  </a:lnTo>
                  <a:lnTo>
                    <a:pt x="1470" y="2006"/>
                  </a:lnTo>
                  <a:lnTo>
                    <a:pt x="1474" y="2014"/>
                  </a:lnTo>
                  <a:lnTo>
                    <a:pt x="1476" y="2018"/>
                  </a:lnTo>
                  <a:lnTo>
                    <a:pt x="1478" y="2024"/>
                  </a:lnTo>
                  <a:lnTo>
                    <a:pt x="1479" y="2029"/>
                  </a:lnTo>
                  <a:lnTo>
                    <a:pt x="1479" y="2034"/>
                  </a:lnTo>
                  <a:lnTo>
                    <a:pt x="1476" y="2044"/>
                  </a:lnTo>
                  <a:lnTo>
                    <a:pt x="1472" y="2054"/>
                  </a:lnTo>
                  <a:lnTo>
                    <a:pt x="1472" y="2064"/>
                  </a:lnTo>
                  <a:lnTo>
                    <a:pt x="1471" y="2073"/>
                  </a:lnTo>
                  <a:lnTo>
                    <a:pt x="1459" y="2076"/>
                  </a:lnTo>
                  <a:lnTo>
                    <a:pt x="1447" y="2079"/>
                  </a:lnTo>
                  <a:lnTo>
                    <a:pt x="1441" y="2082"/>
                  </a:lnTo>
                  <a:lnTo>
                    <a:pt x="1434" y="2086"/>
                  </a:lnTo>
                  <a:lnTo>
                    <a:pt x="1429" y="2090"/>
                  </a:lnTo>
                  <a:lnTo>
                    <a:pt x="1424" y="2094"/>
                  </a:lnTo>
                  <a:lnTo>
                    <a:pt x="1419" y="2097"/>
                  </a:lnTo>
                  <a:lnTo>
                    <a:pt x="1413" y="2100"/>
                  </a:lnTo>
                  <a:lnTo>
                    <a:pt x="1407" y="2101"/>
                  </a:lnTo>
                  <a:lnTo>
                    <a:pt x="1399" y="2102"/>
                  </a:lnTo>
                  <a:lnTo>
                    <a:pt x="1385" y="2101"/>
                  </a:lnTo>
                  <a:lnTo>
                    <a:pt x="1371" y="2099"/>
                  </a:lnTo>
                  <a:lnTo>
                    <a:pt x="1358" y="2096"/>
                  </a:lnTo>
                  <a:lnTo>
                    <a:pt x="1346" y="2092"/>
                  </a:lnTo>
                  <a:lnTo>
                    <a:pt x="1321" y="2082"/>
                  </a:lnTo>
                  <a:lnTo>
                    <a:pt x="1292" y="2074"/>
                  </a:lnTo>
                  <a:lnTo>
                    <a:pt x="1279" y="2071"/>
                  </a:lnTo>
                  <a:lnTo>
                    <a:pt x="1266" y="2070"/>
                  </a:lnTo>
                  <a:lnTo>
                    <a:pt x="1254" y="2070"/>
                  </a:lnTo>
                  <a:lnTo>
                    <a:pt x="1240" y="2068"/>
                  </a:lnTo>
                  <a:lnTo>
                    <a:pt x="1231" y="2064"/>
                  </a:lnTo>
                  <a:lnTo>
                    <a:pt x="1223" y="2061"/>
                  </a:lnTo>
                  <a:lnTo>
                    <a:pt x="1218" y="2062"/>
                  </a:lnTo>
                  <a:lnTo>
                    <a:pt x="1214" y="2064"/>
                  </a:lnTo>
                  <a:lnTo>
                    <a:pt x="1211" y="2066"/>
                  </a:lnTo>
                  <a:lnTo>
                    <a:pt x="1208" y="2070"/>
                  </a:lnTo>
                  <a:lnTo>
                    <a:pt x="1203" y="2079"/>
                  </a:lnTo>
                  <a:lnTo>
                    <a:pt x="1200" y="2091"/>
                  </a:lnTo>
                  <a:lnTo>
                    <a:pt x="1197" y="2101"/>
                  </a:lnTo>
                  <a:lnTo>
                    <a:pt x="1192" y="2110"/>
                  </a:lnTo>
                  <a:lnTo>
                    <a:pt x="1190" y="2114"/>
                  </a:lnTo>
                  <a:lnTo>
                    <a:pt x="1186" y="2118"/>
                  </a:lnTo>
                  <a:lnTo>
                    <a:pt x="1182" y="2120"/>
                  </a:lnTo>
                  <a:lnTo>
                    <a:pt x="1177" y="2120"/>
                  </a:lnTo>
                  <a:lnTo>
                    <a:pt x="1170" y="2120"/>
                  </a:lnTo>
                  <a:lnTo>
                    <a:pt x="1165" y="2119"/>
                  </a:lnTo>
                  <a:lnTo>
                    <a:pt x="1160" y="2117"/>
                  </a:lnTo>
                  <a:lnTo>
                    <a:pt x="1155" y="2114"/>
                  </a:lnTo>
                  <a:lnTo>
                    <a:pt x="1146" y="2108"/>
                  </a:lnTo>
                  <a:lnTo>
                    <a:pt x="1137" y="2101"/>
                  </a:lnTo>
                  <a:lnTo>
                    <a:pt x="1128" y="2094"/>
                  </a:lnTo>
                  <a:lnTo>
                    <a:pt x="1119" y="2088"/>
                  </a:lnTo>
                  <a:lnTo>
                    <a:pt x="1115" y="2085"/>
                  </a:lnTo>
                  <a:lnTo>
                    <a:pt x="1109" y="2082"/>
                  </a:lnTo>
                  <a:lnTo>
                    <a:pt x="1103" y="2080"/>
                  </a:lnTo>
                  <a:lnTo>
                    <a:pt x="1097" y="2078"/>
                  </a:lnTo>
                  <a:lnTo>
                    <a:pt x="1101" y="2067"/>
                  </a:lnTo>
                  <a:lnTo>
                    <a:pt x="1107" y="2058"/>
                  </a:lnTo>
                  <a:lnTo>
                    <a:pt x="1113" y="2048"/>
                  </a:lnTo>
                  <a:lnTo>
                    <a:pt x="1120" y="2040"/>
                  </a:lnTo>
                  <a:lnTo>
                    <a:pt x="1126" y="2032"/>
                  </a:lnTo>
                  <a:lnTo>
                    <a:pt x="1133" y="2024"/>
                  </a:lnTo>
                  <a:lnTo>
                    <a:pt x="1140" y="2014"/>
                  </a:lnTo>
                  <a:lnTo>
                    <a:pt x="1147" y="2004"/>
                  </a:lnTo>
                  <a:lnTo>
                    <a:pt x="1151" y="1994"/>
                  </a:lnTo>
                  <a:lnTo>
                    <a:pt x="1154" y="1983"/>
                  </a:lnTo>
                  <a:lnTo>
                    <a:pt x="1155" y="1974"/>
                  </a:lnTo>
                  <a:lnTo>
                    <a:pt x="1156" y="1964"/>
                  </a:lnTo>
                  <a:lnTo>
                    <a:pt x="1156" y="1954"/>
                  </a:lnTo>
                  <a:lnTo>
                    <a:pt x="1157" y="1944"/>
                  </a:lnTo>
                  <a:lnTo>
                    <a:pt x="1159" y="1934"/>
                  </a:lnTo>
                  <a:lnTo>
                    <a:pt x="1163" y="1922"/>
                  </a:lnTo>
                  <a:lnTo>
                    <a:pt x="1169" y="1911"/>
                  </a:lnTo>
                  <a:lnTo>
                    <a:pt x="1176" y="1902"/>
                  </a:lnTo>
                  <a:lnTo>
                    <a:pt x="1183" y="1895"/>
                  </a:lnTo>
                  <a:lnTo>
                    <a:pt x="1189" y="1887"/>
                  </a:lnTo>
                  <a:lnTo>
                    <a:pt x="1195" y="1879"/>
                  </a:lnTo>
                  <a:lnTo>
                    <a:pt x="1201" y="1868"/>
                  </a:lnTo>
                  <a:lnTo>
                    <a:pt x="1203" y="1861"/>
                  </a:lnTo>
                  <a:lnTo>
                    <a:pt x="1207" y="1853"/>
                  </a:lnTo>
                  <a:lnTo>
                    <a:pt x="1209" y="1845"/>
                  </a:lnTo>
                  <a:lnTo>
                    <a:pt x="1210" y="1835"/>
                  </a:lnTo>
                  <a:lnTo>
                    <a:pt x="1206" y="1837"/>
                  </a:lnTo>
                  <a:lnTo>
                    <a:pt x="1197" y="1854"/>
                  </a:lnTo>
                  <a:lnTo>
                    <a:pt x="1189" y="1869"/>
                  </a:lnTo>
                  <a:lnTo>
                    <a:pt x="1185" y="1876"/>
                  </a:lnTo>
                  <a:lnTo>
                    <a:pt x="1180" y="1882"/>
                  </a:lnTo>
                  <a:lnTo>
                    <a:pt x="1173" y="1887"/>
                  </a:lnTo>
                  <a:lnTo>
                    <a:pt x="1164" y="1891"/>
                  </a:lnTo>
                  <a:lnTo>
                    <a:pt x="1160" y="1894"/>
                  </a:lnTo>
                  <a:lnTo>
                    <a:pt x="1156" y="1896"/>
                  </a:lnTo>
                  <a:lnTo>
                    <a:pt x="1154" y="1899"/>
                  </a:lnTo>
                  <a:lnTo>
                    <a:pt x="1151" y="1903"/>
                  </a:lnTo>
                  <a:lnTo>
                    <a:pt x="1147" y="1911"/>
                  </a:lnTo>
                  <a:lnTo>
                    <a:pt x="1143" y="1920"/>
                  </a:lnTo>
                  <a:lnTo>
                    <a:pt x="1140" y="1929"/>
                  </a:lnTo>
                  <a:lnTo>
                    <a:pt x="1135" y="1935"/>
                  </a:lnTo>
                  <a:lnTo>
                    <a:pt x="1132" y="1938"/>
                  </a:lnTo>
                  <a:lnTo>
                    <a:pt x="1129" y="1940"/>
                  </a:lnTo>
                  <a:lnTo>
                    <a:pt x="1125" y="1941"/>
                  </a:lnTo>
                  <a:lnTo>
                    <a:pt x="1121" y="1942"/>
                  </a:lnTo>
                  <a:lnTo>
                    <a:pt x="1110" y="1941"/>
                  </a:lnTo>
                  <a:lnTo>
                    <a:pt x="1100" y="1939"/>
                  </a:lnTo>
                  <a:lnTo>
                    <a:pt x="1096" y="1937"/>
                  </a:lnTo>
                  <a:lnTo>
                    <a:pt x="1092" y="1934"/>
                  </a:lnTo>
                  <a:lnTo>
                    <a:pt x="1089" y="1931"/>
                  </a:lnTo>
                  <a:lnTo>
                    <a:pt x="1085" y="1927"/>
                  </a:lnTo>
                  <a:lnTo>
                    <a:pt x="1082" y="1920"/>
                  </a:lnTo>
                  <a:lnTo>
                    <a:pt x="1079" y="1914"/>
                  </a:lnTo>
                  <a:lnTo>
                    <a:pt x="1077" y="1908"/>
                  </a:lnTo>
                  <a:lnTo>
                    <a:pt x="1075" y="1902"/>
                  </a:lnTo>
                  <a:lnTo>
                    <a:pt x="1074" y="1896"/>
                  </a:lnTo>
                  <a:lnTo>
                    <a:pt x="1070" y="1889"/>
                  </a:lnTo>
                  <a:lnTo>
                    <a:pt x="1067" y="1883"/>
                  </a:lnTo>
                  <a:lnTo>
                    <a:pt x="1063" y="1878"/>
                  </a:lnTo>
                  <a:lnTo>
                    <a:pt x="1062" y="1887"/>
                  </a:lnTo>
                  <a:lnTo>
                    <a:pt x="1060" y="1896"/>
                  </a:lnTo>
                  <a:lnTo>
                    <a:pt x="1059" y="1904"/>
                  </a:lnTo>
                  <a:lnTo>
                    <a:pt x="1058" y="1913"/>
                  </a:lnTo>
                  <a:lnTo>
                    <a:pt x="1058" y="1917"/>
                  </a:lnTo>
                  <a:lnTo>
                    <a:pt x="1060" y="1919"/>
                  </a:lnTo>
                  <a:lnTo>
                    <a:pt x="1061" y="1922"/>
                  </a:lnTo>
                  <a:lnTo>
                    <a:pt x="1063" y="1924"/>
                  </a:lnTo>
                  <a:lnTo>
                    <a:pt x="1069" y="1929"/>
                  </a:lnTo>
                  <a:lnTo>
                    <a:pt x="1075" y="1934"/>
                  </a:lnTo>
                  <a:lnTo>
                    <a:pt x="1083" y="1942"/>
                  </a:lnTo>
                  <a:lnTo>
                    <a:pt x="1089" y="1951"/>
                  </a:lnTo>
                  <a:lnTo>
                    <a:pt x="1092" y="1954"/>
                  </a:lnTo>
                  <a:lnTo>
                    <a:pt x="1096" y="1958"/>
                  </a:lnTo>
                  <a:lnTo>
                    <a:pt x="1101" y="1960"/>
                  </a:lnTo>
                  <a:lnTo>
                    <a:pt x="1107" y="1961"/>
                  </a:lnTo>
                  <a:lnTo>
                    <a:pt x="1114" y="1961"/>
                  </a:lnTo>
                  <a:lnTo>
                    <a:pt x="1121" y="1961"/>
                  </a:lnTo>
                  <a:lnTo>
                    <a:pt x="1119" y="1975"/>
                  </a:lnTo>
                  <a:lnTo>
                    <a:pt x="1115" y="1986"/>
                  </a:lnTo>
                  <a:lnTo>
                    <a:pt x="1111" y="1998"/>
                  </a:lnTo>
                  <a:lnTo>
                    <a:pt x="1104" y="2008"/>
                  </a:lnTo>
                  <a:lnTo>
                    <a:pt x="1090" y="2028"/>
                  </a:lnTo>
                  <a:lnTo>
                    <a:pt x="1072" y="2049"/>
                  </a:lnTo>
                  <a:lnTo>
                    <a:pt x="1064" y="2059"/>
                  </a:lnTo>
                  <a:lnTo>
                    <a:pt x="1057" y="2067"/>
                  </a:lnTo>
                  <a:lnTo>
                    <a:pt x="1050" y="2075"/>
                  </a:lnTo>
                  <a:lnTo>
                    <a:pt x="1042" y="2081"/>
                  </a:lnTo>
                  <a:lnTo>
                    <a:pt x="1033" y="2089"/>
                  </a:lnTo>
                  <a:lnTo>
                    <a:pt x="1025" y="2095"/>
                  </a:lnTo>
                  <a:lnTo>
                    <a:pt x="1016" y="2101"/>
                  </a:lnTo>
                  <a:lnTo>
                    <a:pt x="1005" y="2107"/>
                  </a:lnTo>
                  <a:lnTo>
                    <a:pt x="994" y="2117"/>
                  </a:lnTo>
                  <a:lnTo>
                    <a:pt x="982" y="2125"/>
                  </a:lnTo>
                  <a:lnTo>
                    <a:pt x="837" y="2102"/>
                  </a:lnTo>
                  <a:lnTo>
                    <a:pt x="820" y="2102"/>
                  </a:lnTo>
                  <a:lnTo>
                    <a:pt x="818" y="2090"/>
                  </a:lnTo>
                  <a:lnTo>
                    <a:pt x="818" y="2077"/>
                  </a:lnTo>
                  <a:lnTo>
                    <a:pt x="819" y="2058"/>
                  </a:lnTo>
                  <a:lnTo>
                    <a:pt x="820" y="2041"/>
                  </a:lnTo>
                  <a:lnTo>
                    <a:pt x="823" y="2026"/>
                  </a:lnTo>
                  <a:lnTo>
                    <a:pt x="826" y="2010"/>
                  </a:lnTo>
                  <a:lnTo>
                    <a:pt x="829" y="1995"/>
                  </a:lnTo>
                  <a:lnTo>
                    <a:pt x="831" y="1979"/>
                  </a:lnTo>
                  <a:lnTo>
                    <a:pt x="833" y="1962"/>
                  </a:lnTo>
                  <a:lnTo>
                    <a:pt x="834" y="1943"/>
                  </a:lnTo>
                  <a:lnTo>
                    <a:pt x="833" y="1919"/>
                  </a:lnTo>
                  <a:lnTo>
                    <a:pt x="833" y="1898"/>
                  </a:lnTo>
                  <a:lnTo>
                    <a:pt x="832" y="1877"/>
                  </a:lnTo>
                  <a:lnTo>
                    <a:pt x="832" y="1852"/>
                  </a:lnTo>
                  <a:lnTo>
                    <a:pt x="831" y="1840"/>
                  </a:lnTo>
                  <a:lnTo>
                    <a:pt x="830" y="1827"/>
                  </a:lnTo>
                  <a:lnTo>
                    <a:pt x="827" y="1816"/>
                  </a:lnTo>
                  <a:lnTo>
                    <a:pt x="824" y="1806"/>
                  </a:lnTo>
                  <a:lnTo>
                    <a:pt x="817" y="1785"/>
                  </a:lnTo>
                  <a:lnTo>
                    <a:pt x="808" y="1765"/>
                  </a:lnTo>
                  <a:lnTo>
                    <a:pt x="799" y="1746"/>
                  </a:lnTo>
                  <a:lnTo>
                    <a:pt x="792" y="1725"/>
                  </a:lnTo>
                  <a:lnTo>
                    <a:pt x="789" y="1715"/>
                  </a:lnTo>
                  <a:lnTo>
                    <a:pt x="787" y="1703"/>
                  </a:lnTo>
                  <a:lnTo>
                    <a:pt x="785" y="1691"/>
                  </a:lnTo>
                  <a:lnTo>
                    <a:pt x="785" y="1679"/>
                  </a:lnTo>
                  <a:lnTo>
                    <a:pt x="799" y="1673"/>
                  </a:lnTo>
                  <a:lnTo>
                    <a:pt x="812" y="1665"/>
                  </a:lnTo>
                  <a:lnTo>
                    <a:pt x="818" y="1662"/>
                  </a:lnTo>
                  <a:lnTo>
                    <a:pt x="824" y="1659"/>
                  </a:lnTo>
                  <a:lnTo>
                    <a:pt x="831" y="1658"/>
                  </a:lnTo>
                  <a:lnTo>
                    <a:pt x="839" y="1657"/>
                  </a:lnTo>
                  <a:lnTo>
                    <a:pt x="888" y="1657"/>
                  </a:lnTo>
                  <a:lnTo>
                    <a:pt x="896" y="1657"/>
                  </a:lnTo>
                  <a:lnTo>
                    <a:pt x="904" y="1655"/>
                  </a:lnTo>
                  <a:lnTo>
                    <a:pt x="912" y="1652"/>
                  </a:lnTo>
                  <a:lnTo>
                    <a:pt x="919" y="1648"/>
                  </a:lnTo>
                  <a:lnTo>
                    <a:pt x="925" y="1643"/>
                  </a:lnTo>
                  <a:lnTo>
                    <a:pt x="930" y="1636"/>
                  </a:lnTo>
                  <a:lnTo>
                    <a:pt x="935" y="1630"/>
                  </a:lnTo>
                  <a:lnTo>
                    <a:pt x="939" y="1623"/>
                  </a:lnTo>
                  <a:lnTo>
                    <a:pt x="943" y="1615"/>
                  </a:lnTo>
                  <a:lnTo>
                    <a:pt x="946" y="1606"/>
                  </a:lnTo>
                  <a:lnTo>
                    <a:pt x="949" y="1597"/>
                  </a:lnTo>
                  <a:lnTo>
                    <a:pt x="951" y="1588"/>
                  </a:lnTo>
                  <a:lnTo>
                    <a:pt x="954" y="1569"/>
                  </a:lnTo>
                  <a:lnTo>
                    <a:pt x="954" y="1551"/>
                  </a:lnTo>
                  <a:lnTo>
                    <a:pt x="954" y="1536"/>
                  </a:lnTo>
                  <a:lnTo>
                    <a:pt x="952" y="1522"/>
                  </a:lnTo>
                  <a:lnTo>
                    <a:pt x="950" y="1509"/>
                  </a:lnTo>
                  <a:lnTo>
                    <a:pt x="946" y="1497"/>
                  </a:lnTo>
                  <a:lnTo>
                    <a:pt x="937" y="1472"/>
                  </a:lnTo>
                  <a:lnTo>
                    <a:pt x="928" y="1444"/>
                  </a:lnTo>
                  <a:lnTo>
                    <a:pt x="923" y="1423"/>
                  </a:lnTo>
                  <a:lnTo>
                    <a:pt x="919" y="1401"/>
                  </a:lnTo>
                  <a:lnTo>
                    <a:pt x="917" y="1397"/>
                  </a:lnTo>
                  <a:lnTo>
                    <a:pt x="915" y="1392"/>
                  </a:lnTo>
                  <a:lnTo>
                    <a:pt x="913" y="1389"/>
                  </a:lnTo>
                  <a:lnTo>
                    <a:pt x="910" y="1385"/>
                  </a:lnTo>
                  <a:lnTo>
                    <a:pt x="906" y="1382"/>
                  </a:lnTo>
                  <a:lnTo>
                    <a:pt x="902" y="1380"/>
                  </a:lnTo>
                  <a:lnTo>
                    <a:pt x="898" y="1379"/>
                  </a:lnTo>
                  <a:lnTo>
                    <a:pt x="893" y="1378"/>
                  </a:lnTo>
                  <a:lnTo>
                    <a:pt x="887" y="1379"/>
                  </a:lnTo>
                  <a:lnTo>
                    <a:pt x="881" y="1381"/>
                  </a:lnTo>
                  <a:lnTo>
                    <a:pt x="876" y="1384"/>
                  </a:lnTo>
                  <a:lnTo>
                    <a:pt x="870" y="1389"/>
                  </a:lnTo>
                  <a:lnTo>
                    <a:pt x="866" y="1392"/>
                  </a:lnTo>
                  <a:lnTo>
                    <a:pt x="860" y="1395"/>
                  </a:lnTo>
                  <a:lnTo>
                    <a:pt x="855" y="1397"/>
                  </a:lnTo>
                  <a:lnTo>
                    <a:pt x="849" y="1398"/>
                  </a:lnTo>
                  <a:lnTo>
                    <a:pt x="840" y="1397"/>
                  </a:lnTo>
                  <a:lnTo>
                    <a:pt x="834" y="1395"/>
                  </a:lnTo>
                  <a:lnTo>
                    <a:pt x="829" y="1393"/>
                  </a:lnTo>
                  <a:lnTo>
                    <a:pt x="824" y="1389"/>
                  </a:lnTo>
                  <a:lnTo>
                    <a:pt x="819" y="1384"/>
                  </a:lnTo>
                  <a:lnTo>
                    <a:pt x="816" y="1378"/>
                  </a:lnTo>
                  <a:lnTo>
                    <a:pt x="812" y="1372"/>
                  </a:lnTo>
                  <a:lnTo>
                    <a:pt x="810" y="1366"/>
                  </a:lnTo>
                  <a:lnTo>
                    <a:pt x="804" y="1351"/>
                  </a:lnTo>
                  <a:lnTo>
                    <a:pt x="802" y="1335"/>
                  </a:lnTo>
                  <a:lnTo>
                    <a:pt x="800" y="1319"/>
                  </a:lnTo>
                  <a:lnTo>
                    <a:pt x="799" y="1303"/>
                  </a:lnTo>
                  <a:lnTo>
                    <a:pt x="769" y="1298"/>
                  </a:lnTo>
                  <a:lnTo>
                    <a:pt x="744" y="1294"/>
                  </a:lnTo>
                  <a:lnTo>
                    <a:pt x="718" y="1287"/>
                  </a:lnTo>
                  <a:lnTo>
                    <a:pt x="695" y="1281"/>
                  </a:lnTo>
                  <a:lnTo>
                    <a:pt x="671" y="1273"/>
                  </a:lnTo>
                  <a:lnTo>
                    <a:pt x="649" y="1263"/>
                  </a:lnTo>
                  <a:lnTo>
                    <a:pt x="625" y="1250"/>
                  </a:lnTo>
                  <a:lnTo>
                    <a:pt x="601" y="1235"/>
                  </a:lnTo>
                  <a:lnTo>
                    <a:pt x="596" y="1232"/>
                  </a:lnTo>
                  <a:lnTo>
                    <a:pt x="593" y="1227"/>
                  </a:lnTo>
                  <a:lnTo>
                    <a:pt x="590" y="1223"/>
                  </a:lnTo>
                  <a:lnTo>
                    <a:pt x="588" y="1219"/>
                  </a:lnTo>
                  <a:lnTo>
                    <a:pt x="585" y="1210"/>
                  </a:lnTo>
                  <a:lnTo>
                    <a:pt x="584" y="1200"/>
                  </a:lnTo>
                  <a:lnTo>
                    <a:pt x="585" y="1178"/>
                  </a:lnTo>
                  <a:lnTo>
                    <a:pt x="587" y="1154"/>
                  </a:lnTo>
                  <a:lnTo>
                    <a:pt x="586" y="1144"/>
                  </a:lnTo>
                  <a:lnTo>
                    <a:pt x="585" y="1133"/>
                  </a:lnTo>
                  <a:lnTo>
                    <a:pt x="583" y="1124"/>
                  </a:lnTo>
                  <a:lnTo>
                    <a:pt x="581" y="1116"/>
                  </a:lnTo>
                  <a:lnTo>
                    <a:pt x="579" y="1107"/>
                  </a:lnTo>
                  <a:lnTo>
                    <a:pt x="576" y="1097"/>
                  </a:lnTo>
                  <a:lnTo>
                    <a:pt x="575" y="1088"/>
                  </a:lnTo>
                  <a:lnTo>
                    <a:pt x="574" y="1077"/>
                  </a:lnTo>
                  <a:lnTo>
                    <a:pt x="574" y="1029"/>
                  </a:lnTo>
                  <a:lnTo>
                    <a:pt x="575" y="1018"/>
                  </a:lnTo>
                  <a:lnTo>
                    <a:pt x="576" y="1009"/>
                  </a:lnTo>
                  <a:lnTo>
                    <a:pt x="579" y="999"/>
                  </a:lnTo>
                  <a:lnTo>
                    <a:pt x="581" y="991"/>
                  </a:lnTo>
                  <a:lnTo>
                    <a:pt x="583" y="983"/>
                  </a:lnTo>
                  <a:lnTo>
                    <a:pt x="585" y="973"/>
                  </a:lnTo>
                  <a:lnTo>
                    <a:pt x="586" y="964"/>
                  </a:lnTo>
                  <a:lnTo>
                    <a:pt x="587" y="953"/>
                  </a:lnTo>
                  <a:lnTo>
                    <a:pt x="587" y="939"/>
                  </a:lnTo>
                  <a:lnTo>
                    <a:pt x="586" y="926"/>
                  </a:lnTo>
                  <a:lnTo>
                    <a:pt x="586" y="914"/>
                  </a:lnTo>
                  <a:lnTo>
                    <a:pt x="587" y="899"/>
                  </a:lnTo>
                  <a:lnTo>
                    <a:pt x="566" y="896"/>
                  </a:lnTo>
                  <a:lnTo>
                    <a:pt x="549" y="892"/>
                  </a:lnTo>
                  <a:lnTo>
                    <a:pt x="532" y="887"/>
                  </a:lnTo>
                  <a:lnTo>
                    <a:pt x="517" y="880"/>
                  </a:lnTo>
                  <a:lnTo>
                    <a:pt x="501" y="872"/>
                  </a:lnTo>
                  <a:lnTo>
                    <a:pt x="486" y="863"/>
                  </a:lnTo>
                  <a:lnTo>
                    <a:pt x="471" y="853"/>
                  </a:lnTo>
                  <a:lnTo>
                    <a:pt x="455" y="840"/>
                  </a:lnTo>
                  <a:lnTo>
                    <a:pt x="445" y="832"/>
                  </a:lnTo>
                  <a:lnTo>
                    <a:pt x="438" y="823"/>
                  </a:lnTo>
                  <a:lnTo>
                    <a:pt x="432" y="813"/>
                  </a:lnTo>
                  <a:lnTo>
                    <a:pt x="426" y="805"/>
                  </a:lnTo>
                  <a:lnTo>
                    <a:pt x="420" y="797"/>
                  </a:lnTo>
                  <a:lnTo>
                    <a:pt x="412" y="790"/>
                  </a:lnTo>
                  <a:lnTo>
                    <a:pt x="408" y="788"/>
                  </a:lnTo>
                  <a:lnTo>
                    <a:pt x="404" y="785"/>
                  </a:lnTo>
                  <a:lnTo>
                    <a:pt x="399" y="784"/>
                  </a:lnTo>
                  <a:lnTo>
                    <a:pt x="393" y="783"/>
                  </a:lnTo>
                  <a:lnTo>
                    <a:pt x="373" y="784"/>
                  </a:lnTo>
                  <a:lnTo>
                    <a:pt x="356" y="785"/>
                  </a:lnTo>
                  <a:lnTo>
                    <a:pt x="339" y="787"/>
                  </a:lnTo>
                  <a:lnTo>
                    <a:pt x="323" y="789"/>
                  </a:lnTo>
                  <a:lnTo>
                    <a:pt x="306" y="791"/>
                  </a:lnTo>
                  <a:lnTo>
                    <a:pt x="290" y="792"/>
                  </a:lnTo>
                  <a:lnTo>
                    <a:pt x="271" y="793"/>
                  </a:lnTo>
                  <a:lnTo>
                    <a:pt x="252" y="794"/>
                  </a:lnTo>
                  <a:lnTo>
                    <a:pt x="238" y="793"/>
                  </a:lnTo>
                  <a:lnTo>
                    <a:pt x="224" y="791"/>
                  </a:lnTo>
                  <a:lnTo>
                    <a:pt x="211" y="788"/>
                  </a:lnTo>
                  <a:lnTo>
                    <a:pt x="199" y="783"/>
                  </a:lnTo>
                  <a:lnTo>
                    <a:pt x="188" y="777"/>
                  </a:lnTo>
                  <a:lnTo>
                    <a:pt x="176" y="771"/>
                  </a:lnTo>
                  <a:lnTo>
                    <a:pt x="166" y="764"/>
                  </a:lnTo>
                  <a:lnTo>
                    <a:pt x="157" y="756"/>
                  </a:lnTo>
                  <a:lnTo>
                    <a:pt x="147" y="746"/>
                  </a:lnTo>
                  <a:lnTo>
                    <a:pt x="139" y="736"/>
                  </a:lnTo>
                  <a:lnTo>
                    <a:pt x="132" y="725"/>
                  </a:lnTo>
                  <a:lnTo>
                    <a:pt x="126" y="713"/>
                  </a:lnTo>
                  <a:lnTo>
                    <a:pt x="120" y="701"/>
                  </a:lnTo>
                  <a:lnTo>
                    <a:pt x="114" y="688"/>
                  </a:lnTo>
                  <a:lnTo>
                    <a:pt x="109" y="675"/>
                  </a:lnTo>
                  <a:lnTo>
                    <a:pt x="105" y="661"/>
                  </a:lnTo>
                  <a:lnTo>
                    <a:pt x="111" y="658"/>
                  </a:lnTo>
                  <a:lnTo>
                    <a:pt x="117" y="655"/>
                  </a:lnTo>
                  <a:lnTo>
                    <a:pt x="121" y="651"/>
                  </a:lnTo>
                  <a:lnTo>
                    <a:pt x="125" y="647"/>
                  </a:lnTo>
                  <a:lnTo>
                    <a:pt x="128" y="642"/>
                  </a:lnTo>
                  <a:lnTo>
                    <a:pt x="131" y="638"/>
                  </a:lnTo>
                  <a:lnTo>
                    <a:pt x="133" y="632"/>
                  </a:lnTo>
                  <a:lnTo>
                    <a:pt x="134" y="626"/>
                  </a:lnTo>
                  <a:lnTo>
                    <a:pt x="137" y="614"/>
                  </a:lnTo>
                  <a:lnTo>
                    <a:pt x="138" y="602"/>
                  </a:lnTo>
                  <a:lnTo>
                    <a:pt x="138" y="588"/>
                  </a:lnTo>
                  <a:lnTo>
                    <a:pt x="138" y="575"/>
                  </a:lnTo>
                  <a:lnTo>
                    <a:pt x="138" y="569"/>
                  </a:lnTo>
                  <a:lnTo>
                    <a:pt x="137" y="562"/>
                  </a:lnTo>
                  <a:lnTo>
                    <a:pt x="135" y="556"/>
                  </a:lnTo>
                  <a:lnTo>
                    <a:pt x="132" y="551"/>
                  </a:lnTo>
                  <a:lnTo>
                    <a:pt x="129" y="547"/>
                  </a:lnTo>
                  <a:lnTo>
                    <a:pt x="125" y="542"/>
                  </a:lnTo>
                  <a:lnTo>
                    <a:pt x="121" y="538"/>
                  </a:lnTo>
                  <a:lnTo>
                    <a:pt x="115" y="535"/>
                  </a:lnTo>
                  <a:lnTo>
                    <a:pt x="94" y="520"/>
                  </a:lnTo>
                  <a:lnTo>
                    <a:pt x="70" y="506"/>
                  </a:lnTo>
                  <a:lnTo>
                    <a:pt x="70" y="448"/>
                  </a:lnTo>
                  <a:lnTo>
                    <a:pt x="72" y="426"/>
                  </a:lnTo>
                  <a:lnTo>
                    <a:pt x="73" y="405"/>
                  </a:lnTo>
                  <a:lnTo>
                    <a:pt x="73" y="396"/>
                  </a:lnTo>
                  <a:lnTo>
                    <a:pt x="71" y="386"/>
                  </a:lnTo>
                  <a:lnTo>
                    <a:pt x="69" y="382"/>
                  </a:lnTo>
                  <a:lnTo>
                    <a:pt x="67" y="378"/>
                  </a:lnTo>
                  <a:lnTo>
                    <a:pt x="64" y="372"/>
                  </a:lnTo>
                  <a:lnTo>
                    <a:pt x="61" y="368"/>
                  </a:lnTo>
                  <a:lnTo>
                    <a:pt x="42" y="350"/>
                  </a:lnTo>
                  <a:lnTo>
                    <a:pt x="25" y="333"/>
                  </a:lnTo>
                  <a:lnTo>
                    <a:pt x="18" y="324"/>
                  </a:lnTo>
                  <a:lnTo>
                    <a:pt x="11" y="315"/>
                  </a:lnTo>
                  <a:lnTo>
                    <a:pt x="9" y="308"/>
                  </a:lnTo>
                  <a:lnTo>
                    <a:pt x="8" y="303"/>
                  </a:lnTo>
                  <a:lnTo>
                    <a:pt x="7" y="297"/>
                  </a:lnTo>
                  <a:lnTo>
                    <a:pt x="6" y="291"/>
                  </a:lnTo>
                  <a:lnTo>
                    <a:pt x="8" y="282"/>
                  </a:lnTo>
                  <a:lnTo>
                    <a:pt x="10" y="274"/>
                  </a:lnTo>
                  <a:lnTo>
                    <a:pt x="12" y="266"/>
                  </a:lnTo>
                  <a:lnTo>
                    <a:pt x="13" y="258"/>
                  </a:lnTo>
                  <a:lnTo>
                    <a:pt x="13" y="253"/>
                  </a:lnTo>
                  <a:lnTo>
                    <a:pt x="11" y="248"/>
                  </a:lnTo>
                  <a:lnTo>
                    <a:pt x="9" y="244"/>
                  </a:lnTo>
                  <a:lnTo>
                    <a:pt x="6" y="241"/>
                  </a:lnTo>
                  <a:lnTo>
                    <a:pt x="4" y="237"/>
                  </a:lnTo>
                  <a:lnTo>
                    <a:pt x="2" y="233"/>
                  </a:lnTo>
                  <a:lnTo>
                    <a:pt x="0" y="229"/>
                  </a:lnTo>
                  <a:lnTo>
                    <a:pt x="0" y="225"/>
                  </a:lnTo>
                  <a:lnTo>
                    <a:pt x="0" y="220"/>
                  </a:lnTo>
                  <a:lnTo>
                    <a:pt x="1" y="215"/>
                  </a:lnTo>
                  <a:lnTo>
                    <a:pt x="2" y="211"/>
                  </a:lnTo>
                  <a:lnTo>
                    <a:pt x="4" y="207"/>
                  </a:lnTo>
                  <a:lnTo>
                    <a:pt x="9" y="201"/>
                  </a:lnTo>
                  <a:lnTo>
                    <a:pt x="15" y="195"/>
                  </a:lnTo>
                  <a:lnTo>
                    <a:pt x="23" y="190"/>
                  </a:lnTo>
                  <a:lnTo>
                    <a:pt x="32" y="186"/>
                  </a:lnTo>
                  <a:lnTo>
                    <a:pt x="41" y="182"/>
                  </a:lnTo>
                  <a:lnTo>
                    <a:pt x="51" y="178"/>
                  </a:lnTo>
                  <a:lnTo>
                    <a:pt x="60" y="174"/>
                  </a:lnTo>
                  <a:lnTo>
                    <a:pt x="69" y="171"/>
                  </a:lnTo>
                  <a:lnTo>
                    <a:pt x="77" y="167"/>
                  </a:lnTo>
                  <a:lnTo>
                    <a:pt x="86" y="162"/>
                  </a:lnTo>
                  <a:lnTo>
                    <a:pt x="92" y="156"/>
                  </a:lnTo>
                  <a:lnTo>
                    <a:pt x="97" y="149"/>
                  </a:lnTo>
                  <a:lnTo>
                    <a:pt x="98" y="145"/>
                  </a:lnTo>
                  <a:lnTo>
                    <a:pt x="100" y="141"/>
                  </a:lnTo>
                  <a:lnTo>
                    <a:pt x="101" y="137"/>
                  </a:lnTo>
                  <a:lnTo>
                    <a:pt x="101" y="132"/>
                  </a:lnTo>
                  <a:lnTo>
                    <a:pt x="97" y="119"/>
                  </a:lnTo>
                  <a:lnTo>
                    <a:pt x="92" y="106"/>
                  </a:lnTo>
                  <a:lnTo>
                    <a:pt x="107" y="107"/>
                  </a:lnTo>
                  <a:lnTo>
                    <a:pt x="121" y="109"/>
                  </a:lnTo>
                  <a:lnTo>
                    <a:pt x="135" y="110"/>
                  </a:lnTo>
                  <a:lnTo>
                    <a:pt x="151" y="111"/>
                  </a:lnTo>
                  <a:lnTo>
                    <a:pt x="163" y="109"/>
                  </a:lnTo>
                  <a:lnTo>
                    <a:pt x="174" y="106"/>
                  </a:lnTo>
                  <a:lnTo>
                    <a:pt x="230" y="106"/>
                  </a:lnTo>
                  <a:lnTo>
                    <a:pt x="244" y="109"/>
                  </a:lnTo>
                  <a:lnTo>
                    <a:pt x="259" y="111"/>
                  </a:lnTo>
                  <a:lnTo>
                    <a:pt x="273" y="110"/>
                  </a:lnTo>
                  <a:lnTo>
                    <a:pt x="286" y="108"/>
                  </a:lnTo>
                  <a:lnTo>
                    <a:pt x="298" y="104"/>
                  </a:lnTo>
                  <a:lnTo>
                    <a:pt x="309" y="100"/>
                  </a:lnTo>
                  <a:lnTo>
                    <a:pt x="332" y="91"/>
                  </a:lnTo>
                  <a:lnTo>
                    <a:pt x="358" y="80"/>
                  </a:lnTo>
                  <a:lnTo>
                    <a:pt x="405" y="65"/>
                  </a:lnTo>
                  <a:lnTo>
                    <a:pt x="448" y="50"/>
                  </a:lnTo>
                  <a:lnTo>
                    <a:pt x="488" y="37"/>
                  </a:lnTo>
                  <a:lnTo>
                    <a:pt x="527" y="24"/>
                  </a:lnTo>
                  <a:lnTo>
                    <a:pt x="547" y="19"/>
                  </a:lnTo>
                  <a:lnTo>
                    <a:pt x="567" y="14"/>
                  </a:lnTo>
                  <a:lnTo>
                    <a:pt x="587" y="10"/>
                  </a:lnTo>
                  <a:lnTo>
                    <a:pt x="608" y="7"/>
                  </a:lnTo>
                  <a:lnTo>
                    <a:pt x="630" y="4"/>
                  </a:lnTo>
                  <a:lnTo>
                    <a:pt x="652" y="2"/>
                  </a:lnTo>
                  <a:lnTo>
                    <a:pt x="675" y="1"/>
                  </a:lnTo>
                  <a:lnTo>
                    <a:pt x="701" y="0"/>
                  </a:lnTo>
                  <a:lnTo>
                    <a:pt x="712" y="1"/>
                  </a:lnTo>
                  <a:lnTo>
                    <a:pt x="721" y="1"/>
                  </a:lnTo>
                  <a:lnTo>
                    <a:pt x="730" y="3"/>
                  </a:lnTo>
                  <a:lnTo>
                    <a:pt x="739" y="4"/>
                  </a:lnTo>
                  <a:lnTo>
                    <a:pt x="756" y="9"/>
                  </a:lnTo>
                  <a:lnTo>
                    <a:pt x="772" y="15"/>
                  </a:lnTo>
                  <a:lnTo>
                    <a:pt x="788" y="23"/>
                  </a:lnTo>
                  <a:lnTo>
                    <a:pt x="803" y="33"/>
                  </a:lnTo>
                  <a:lnTo>
                    <a:pt x="820" y="43"/>
                  </a:lnTo>
                  <a:lnTo>
                    <a:pt x="836" y="54"/>
                  </a:lnTo>
                  <a:lnTo>
                    <a:pt x="856" y="66"/>
                  </a:lnTo>
                  <a:lnTo>
                    <a:pt x="874" y="76"/>
                  </a:lnTo>
                  <a:lnTo>
                    <a:pt x="892" y="83"/>
                  </a:lnTo>
                  <a:lnTo>
                    <a:pt x="910" y="91"/>
                  </a:lnTo>
                  <a:lnTo>
                    <a:pt x="928" y="97"/>
                  </a:lnTo>
                  <a:lnTo>
                    <a:pt x="946" y="104"/>
                  </a:lnTo>
                  <a:lnTo>
                    <a:pt x="965" y="112"/>
                  </a:lnTo>
                  <a:lnTo>
                    <a:pt x="985" y="123"/>
                  </a:lnTo>
                  <a:lnTo>
                    <a:pt x="1008" y="136"/>
                  </a:lnTo>
                  <a:lnTo>
                    <a:pt x="1028" y="149"/>
                  </a:lnTo>
                  <a:lnTo>
                    <a:pt x="1048" y="162"/>
                  </a:lnTo>
                  <a:lnTo>
                    <a:pt x="1067" y="173"/>
                  </a:lnTo>
                  <a:lnTo>
                    <a:pt x="1077" y="178"/>
                  </a:lnTo>
                  <a:lnTo>
                    <a:pt x="1087" y="183"/>
                  </a:lnTo>
                  <a:lnTo>
                    <a:pt x="1096" y="188"/>
                  </a:lnTo>
                  <a:lnTo>
                    <a:pt x="1108" y="192"/>
                  </a:lnTo>
                  <a:lnTo>
                    <a:pt x="1119" y="195"/>
                  </a:lnTo>
                  <a:lnTo>
                    <a:pt x="1130" y="197"/>
                  </a:lnTo>
                  <a:lnTo>
                    <a:pt x="1143" y="199"/>
                  </a:lnTo>
                  <a:lnTo>
                    <a:pt x="1156" y="201"/>
                  </a:lnTo>
                  <a:lnTo>
                    <a:pt x="1329" y="175"/>
                  </a:lnTo>
                  <a:lnTo>
                    <a:pt x="1347" y="177"/>
                  </a:lnTo>
                  <a:lnTo>
                    <a:pt x="1347" y="229"/>
                  </a:lnTo>
                  <a:lnTo>
                    <a:pt x="1347" y="235"/>
                  </a:lnTo>
                  <a:lnTo>
                    <a:pt x="1346" y="241"/>
                  </a:lnTo>
                  <a:lnTo>
                    <a:pt x="1344" y="246"/>
                  </a:lnTo>
                  <a:lnTo>
                    <a:pt x="1343" y="253"/>
                  </a:lnTo>
                  <a:lnTo>
                    <a:pt x="1338" y="263"/>
                  </a:lnTo>
                  <a:lnTo>
                    <a:pt x="1332" y="272"/>
                  </a:lnTo>
                  <a:lnTo>
                    <a:pt x="1327" y="283"/>
                  </a:lnTo>
                  <a:lnTo>
                    <a:pt x="1322" y="293"/>
                  </a:lnTo>
                  <a:lnTo>
                    <a:pt x="1320" y="298"/>
                  </a:lnTo>
                  <a:lnTo>
                    <a:pt x="1319" y="304"/>
                  </a:lnTo>
                  <a:lnTo>
                    <a:pt x="1318" y="309"/>
                  </a:lnTo>
                  <a:lnTo>
                    <a:pt x="1317" y="317"/>
                  </a:lnTo>
                  <a:lnTo>
                    <a:pt x="1318" y="321"/>
                  </a:lnTo>
                  <a:lnTo>
                    <a:pt x="1319" y="325"/>
                  </a:lnTo>
                  <a:lnTo>
                    <a:pt x="1321" y="329"/>
                  </a:lnTo>
                  <a:lnTo>
                    <a:pt x="1324" y="332"/>
                  </a:lnTo>
                  <a:lnTo>
                    <a:pt x="1327" y="334"/>
                  </a:lnTo>
                  <a:lnTo>
                    <a:pt x="1331" y="335"/>
                  </a:lnTo>
                  <a:lnTo>
                    <a:pt x="1336" y="337"/>
                  </a:lnTo>
                  <a:lnTo>
                    <a:pt x="1342" y="338"/>
                  </a:lnTo>
                  <a:lnTo>
                    <a:pt x="1363" y="340"/>
                  </a:lnTo>
                  <a:lnTo>
                    <a:pt x="1386" y="342"/>
                  </a:lnTo>
                  <a:lnTo>
                    <a:pt x="1393" y="345"/>
                  </a:lnTo>
                  <a:lnTo>
                    <a:pt x="1401" y="347"/>
                  </a:lnTo>
                  <a:lnTo>
                    <a:pt x="1409" y="349"/>
                  </a:lnTo>
                  <a:lnTo>
                    <a:pt x="1415" y="353"/>
                  </a:lnTo>
                  <a:lnTo>
                    <a:pt x="1421" y="356"/>
                  </a:lnTo>
                  <a:lnTo>
                    <a:pt x="1427" y="360"/>
                  </a:lnTo>
                  <a:lnTo>
                    <a:pt x="1433" y="365"/>
                  </a:lnTo>
                  <a:lnTo>
                    <a:pt x="1439" y="370"/>
                  </a:lnTo>
                  <a:lnTo>
                    <a:pt x="1443" y="376"/>
                  </a:lnTo>
                  <a:lnTo>
                    <a:pt x="1447" y="382"/>
                  </a:lnTo>
                  <a:lnTo>
                    <a:pt x="1450" y="388"/>
                  </a:lnTo>
                  <a:lnTo>
                    <a:pt x="1453" y="395"/>
                  </a:lnTo>
                  <a:lnTo>
                    <a:pt x="1456" y="402"/>
                  </a:lnTo>
                  <a:lnTo>
                    <a:pt x="1457" y="410"/>
                  </a:lnTo>
                  <a:lnTo>
                    <a:pt x="1458" y="417"/>
                  </a:lnTo>
                  <a:lnTo>
                    <a:pt x="1459" y="425"/>
                  </a:lnTo>
                  <a:lnTo>
                    <a:pt x="1458" y="445"/>
                  </a:lnTo>
                  <a:lnTo>
                    <a:pt x="1455" y="462"/>
                  </a:lnTo>
                  <a:lnTo>
                    <a:pt x="1451" y="478"/>
                  </a:lnTo>
                  <a:lnTo>
                    <a:pt x="1446" y="494"/>
                  </a:lnTo>
                  <a:lnTo>
                    <a:pt x="1434" y="525"/>
                  </a:lnTo>
                  <a:lnTo>
                    <a:pt x="1423" y="561"/>
                  </a:lnTo>
                  <a:lnTo>
                    <a:pt x="1435" y="564"/>
                  </a:lnTo>
                  <a:lnTo>
                    <a:pt x="1446" y="558"/>
                  </a:lnTo>
                  <a:lnTo>
                    <a:pt x="1455" y="553"/>
                  </a:lnTo>
                  <a:lnTo>
                    <a:pt x="1464" y="550"/>
                  </a:lnTo>
                  <a:lnTo>
                    <a:pt x="1474" y="546"/>
                  </a:lnTo>
                  <a:lnTo>
                    <a:pt x="1484" y="544"/>
                  </a:lnTo>
                  <a:lnTo>
                    <a:pt x="1493" y="542"/>
                  </a:lnTo>
                  <a:lnTo>
                    <a:pt x="1505" y="541"/>
                  </a:lnTo>
                  <a:lnTo>
                    <a:pt x="1516" y="541"/>
                  </a:lnTo>
                  <a:lnTo>
                    <a:pt x="1572" y="541"/>
                  </a:lnTo>
                  <a:lnTo>
                    <a:pt x="1581" y="542"/>
                  </a:lnTo>
                  <a:lnTo>
                    <a:pt x="1590" y="545"/>
                  </a:lnTo>
                  <a:lnTo>
                    <a:pt x="1597" y="549"/>
                  </a:lnTo>
                  <a:lnTo>
                    <a:pt x="1605" y="554"/>
                  </a:lnTo>
                  <a:lnTo>
                    <a:pt x="1611" y="561"/>
                  </a:lnTo>
                  <a:lnTo>
                    <a:pt x="1616" y="569"/>
                  </a:lnTo>
                  <a:lnTo>
                    <a:pt x="1622" y="576"/>
                  </a:lnTo>
                  <a:lnTo>
                    <a:pt x="1627" y="584"/>
                  </a:lnTo>
                  <a:lnTo>
                    <a:pt x="1632" y="592"/>
                  </a:lnTo>
                  <a:lnTo>
                    <a:pt x="1638" y="601"/>
                  </a:lnTo>
                  <a:lnTo>
                    <a:pt x="1644" y="608"/>
                  </a:lnTo>
                  <a:lnTo>
                    <a:pt x="1650" y="614"/>
                  </a:lnTo>
                  <a:lnTo>
                    <a:pt x="1656" y="620"/>
                  </a:lnTo>
                  <a:lnTo>
                    <a:pt x="1664" y="624"/>
                  </a:lnTo>
                  <a:lnTo>
                    <a:pt x="1673" y="627"/>
                  </a:lnTo>
                  <a:lnTo>
                    <a:pt x="1683" y="627"/>
                  </a:lnTo>
                  <a:lnTo>
                    <a:pt x="1694" y="627"/>
                  </a:lnTo>
                  <a:lnTo>
                    <a:pt x="1705" y="624"/>
                  </a:lnTo>
                  <a:lnTo>
                    <a:pt x="1714" y="620"/>
                  </a:lnTo>
                  <a:lnTo>
                    <a:pt x="1723" y="615"/>
                  </a:lnTo>
                  <a:lnTo>
                    <a:pt x="1730" y="609"/>
                  </a:lnTo>
                  <a:lnTo>
                    <a:pt x="1738" y="602"/>
                  </a:lnTo>
                  <a:lnTo>
                    <a:pt x="1745" y="594"/>
                  </a:lnTo>
                  <a:lnTo>
                    <a:pt x="1751" y="586"/>
                  </a:lnTo>
                  <a:lnTo>
                    <a:pt x="1764" y="569"/>
                  </a:lnTo>
                  <a:lnTo>
                    <a:pt x="1780" y="552"/>
                  </a:lnTo>
                  <a:lnTo>
                    <a:pt x="1787" y="545"/>
                  </a:lnTo>
                  <a:lnTo>
                    <a:pt x="1796" y="538"/>
                  </a:lnTo>
                  <a:lnTo>
                    <a:pt x="1807" y="531"/>
                  </a:lnTo>
                  <a:lnTo>
                    <a:pt x="1817" y="526"/>
                  </a:lnTo>
                  <a:lnTo>
                    <a:pt x="1954" y="555"/>
                  </a:lnTo>
                  <a:lnTo>
                    <a:pt x="1978" y="555"/>
                  </a:lnTo>
                  <a:lnTo>
                    <a:pt x="2002" y="554"/>
                  </a:lnTo>
                  <a:lnTo>
                    <a:pt x="2023" y="552"/>
                  </a:lnTo>
                  <a:lnTo>
                    <a:pt x="2044" y="549"/>
                  </a:lnTo>
                  <a:lnTo>
                    <a:pt x="2054" y="547"/>
                  </a:lnTo>
                  <a:lnTo>
                    <a:pt x="2064" y="544"/>
                  </a:lnTo>
                  <a:lnTo>
                    <a:pt x="2074" y="540"/>
                  </a:lnTo>
                  <a:lnTo>
                    <a:pt x="2083" y="536"/>
                  </a:lnTo>
                  <a:lnTo>
                    <a:pt x="2092" y="530"/>
                  </a:lnTo>
                  <a:lnTo>
                    <a:pt x="2103" y="524"/>
                  </a:lnTo>
                  <a:lnTo>
                    <a:pt x="2112" y="518"/>
                  </a:lnTo>
                  <a:lnTo>
                    <a:pt x="2121" y="510"/>
                  </a:lnTo>
                  <a:lnTo>
                    <a:pt x="2138" y="496"/>
                  </a:lnTo>
                  <a:lnTo>
                    <a:pt x="2153" y="484"/>
                  </a:lnTo>
                  <a:lnTo>
                    <a:pt x="2159" y="478"/>
                  </a:lnTo>
                  <a:lnTo>
                    <a:pt x="2165" y="469"/>
                  </a:lnTo>
                  <a:lnTo>
                    <a:pt x="2166" y="465"/>
                  </a:lnTo>
                  <a:lnTo>
                    <a:pt x="2168" y="461"/>
                  </a:lnTo>
                  <a:lnTo>
                    <a:pt x="2168" y="456"/>
                  </a:lnTo>
                  <a:lnTo>
                    <a:pt x="2169" y="451"/>
                  </a:lnTo>
                  <a:lnTo>
                    <a:pt x="2168" y="442"/>
                  </a:lnTo>
                  <a:lnTo>
                    <a:pt x="2166" y="433"/>
                  </a:lnTo>
                  <a:lnTo>
                    <a:pt x="2164" y="426"/>
                  </a:lnTo>
                  <a:lnTo>
                    <a:pt x="2160" y="418"/>
                  </a:lnTo>
                  <a:lnTo>
                    <a:pt x="2157" y="411"/>
                  </a:lnTo>
                  <a:lnTo>
                    <a:pt x="2154" y="403"/>
                  </a:lnTo>
                  <a:lnTo>
                    <a:pt x="2152" y="395"/>
                  </a:lnTo>
                  <a:lnTo>
                    <a:pt x="2152" y="386"/>
                  </a:lnTo>
                  <a:lnTo>
                    <a:pt x="2152" y="376"/>
                  </a:lnTo>
                  <a:lnTo>
                    <a:pt x="2152" y="367"/>
                  </a:lnTo>
                  <a:lnTo>
                    <a:pt x="2153" y="359"/>
                  </a:lnTo>
                  <a:lnTo>
                    <a:pt x="2154" y="350"/>
                  </a:lnTo>
                  <a:lnTo>
                    <a:pt x="2176" y="348"/>
                  </a:lnTo>
                  <a:lnTo>
                    <a:pt x="2194" y="346"/>
                  </a:lnTo>
                  <a:lnTo>
                    <a:pt x="2204" y="345"/>
                  </a:lnTo>
                  <a:lnTo>
                    <a:pt x="2213" y="342"/>
                  </a:lnTo>
                  <a:lnTo>
                    <a:pt x="2222" y="338"/>
                  </a:lnTo>
                  <a:lnTo>
                    <a:pt x="2232" y="333"/>
                  </a:lnTo>
                  <a:lnTo>
                    <a:pt x="2246" y="323"/>
                  </a:lnTo>
                  <a:lnTo>
                    <a:pt x="2259" y="311"/>
                  </a:lnTo>
                  <a:lnTo>
                    <a:pt x="2271" y="300"/>
                  </a:lnTo>
                  <a:lnTo>
                    <a:pt x="2283" y="289"/>
                  </a:lnTo>
                  <a:lnTo>
                    <a:pt x="2295" y="277"/>
                  </a:lnTo>
                  <a:lnTo>
                    <a:pt x="2307" y="268"/>
                  </a:lnTo>
                  <a:lnTo>
                    <a:pt x="2314" y="264"/>
                  </a:lnTo>
                  <a:lnTo>
                    <a:pt x="2321" y="261"/>
                  </a:lnTo>
                  <a:lnTo>
                    <a:pt x="2330" y="258"/>
                  </a:lnTo>
                  <a:lnTo>
                    <a:pt x="2338" y="255"/>
                  </a:lnTo>
                  <a:lnTo>
                    <a:pt x="2352" y="250"/>
                  </a:lnTo>
                  <a:lnTo>
                    <a:pt x="2365" y="244"/>
                  </a:lnTo>
                  <a:lnTo>
                    <a:pt x="2371" y="242"/>
                  </a:lnTo>
                  <a:lnTo>
                    <a:pt x="2378" y="240"/>
                  </a:lnTo>
                  <a:lnTo>
                    <a:pt x="2384" y="239"/>
                  </a:lnTo>
                  <a:lnTo>
                    <a:pt x="2392" y="238"/>
                  </a:lnTo>
                  <a:lnTo>
                    <a:pt x="2398" y="239"/>
                  </a:lnTo>
                  <a:lnTo>
                    <a:pt x="2403" y="239"/>
                  </a:lnTo>
                  <a:lnTo>
                    <a:pt x="2408" y="241"/>
                  </a:lnTo>
                  <a:lnTo>
                    <a:pt x="2413" y="242"/>
                  </a:lnTo>
                  <a:lnTo>
                    <a:pt x="2421" y="247"/>
                  </a:lnTo>
                  <a:lnTo>
                    <a:pt x="2430" y="253"/>
                  </a:lnTo>
                  <a:lnTo>
                    <a:pt x="2445" y="266"/>
                  </a:lnTo>
                  <a:lnTo>
                    <a:pt x="2463" y="278"/>
                  </a:lnTo>
                  <a:lnTo>
                    <a:pt x="2442" y="302"/>
                  </a:lnTo>
                  <a:lnTo>
                    <a:pt x="2423" y="323"/>
                  </a:lnTo>
                  <a:lnTo>
                    <a:pt x="2415" y="334"/>
                  </a:lnTo>
                  <a:lnTo>
                    <a:pt x="2409" y="347"/>
                  </a:lnTo>
                  <a:lnTo>
                    <a:pt x="2407" y="353"/>
                  </a:lnTo>
                  <a:lnTo>
                    <a:pt x="2406" y="360"/>
                  </a:lnTo>
                  <a:lnTo>
                    <a:pt x="2405" y="367"/>
                  </a:lnTo>
                  <a:lnTo>
                    <a:pt x="2404" y="376"/>
                  </a:lnTo>
                  <a:lnTo>
                    <a:pt x="2405" y="381"/>
                  </a:lnTo>
                  <a:lnTo>
                    <a:pt x="2406" y="386"/>
                  </a:lnTo>
                  <a:lnTo>
                    <a:pt x="2407" y="390"/>
                  </a:lnTo>
                  <a:lnTo>
                    <a:pt x="2409" y="394"/>
                  </a:lnTo>
                  <a:lnTo>
                    <a:pt x="2414" y="401"/>
                  </a:lnTo>
                  <a:lnTo>
                    <a:pt x="2421" y="408"/>
                  </a:lnTo>
                  <a:lnTo>
                    <a:pt x="2438" y="419"/>
                  </a:lnTo>
                  <a:lnTo>
                    <a:pt x="2456" y="429"/>
                  </a:lnTo>
                  <a:lnTo>
                    <a:pt x="2467" y="437"/>
                  </a:lnTo>
                  <a:lnTo>
                    <a:pt x="2476" y="446"/>
                  </a:lnTo>
                  <a:lnTo>
                    <a:pt x="2484" y="455"/>
                  </a:lnTo>
                  <a:lnTo>
                    <a:pt x="2491" y="465"/>
                  </a:lnTo>
                  <a:lnTo>
                    <a:pt x="2497" y="476"/>
                  </a:lnTo>
                  <a:lnTo>
                    <a:pt x="2500" y="487"/>
                  </a:lnTo>
                  <a:lnTo>
                    <a:pt x="2503" y="499"/>
                  </a:lnTo>
                  <a:lnTo>
                    <a:pt x="2503" y="513"/>
                  </a:lnTo>
                  <a:lnTo>
                    <a:pt x="2503" y="638"/>
                  </a:lnTo>
                  <a:lnTo>
                    <a:pt x="2503" y="648"/>
                  </a:lnTo>
                  <a:lnTo>
                    <a:pt x="2501" y="657"/>
                  </a:lnTo>
                  <a:lnTo>
                    <a:pt x="2498" y="666"/>
                  </a:lnTo>
                  <a:lnTo>
                    <a:pt x="2495" y="674"/>
                  </a:lnTo>
                  <a:lnTo>
                    <a:pt x="2486" y="689"/>
                  </a:lnTo>
                  <a:lnTo>
                    <a:pt x="2479" y="708"/>
                  </a:lnTo>
                  <a:lnTo>
                    <a:pt x="2474" y="735"/>
                  </a:lnTo>
                  <a:lnTo>
                    <a:pt x="2468" y="759"/>
                  </a:lnTo>
                  <a:lnTo>
                    <a:pt x="2465" y="769"/>
                  </a:lnTo>
                  <a:lnTo>
                    <a:pt x="2458" y="779"/>
                  </a:lnTo>
                  <a:lnTo>
                    <a:pt x="2455" y="784"/>
                  </a:lnTo>
                  <a:lnTo>
                    <a:pt x="2451" y="790"/>
                  </a:lnTo>
                  <a:lnTo>
                    <a:pt x="2447" y="794"/>
                  </a:lnTo>
                  <a:lnTo>
                    <a:pt x="2442" y="798"/>
                  </a:lnTo>
                  <a:lnTo>
                    <a:pt x="2449" y="809"/>
                  </a:lnTo>
                  <a:lnTo>
                    <a:pt x="2456" y="820"/>
                  </a:lnTo>
                  <a:lnTo>
                    <a:pt x="2465" y="828"/>
                  </a:lnTo>
                  <a:lnTo>
                    <a:pt x="2475" y="835"/>
                  </a:lnTo>
                  <a:lnTo>
                    <a:pt x="2485" y="840"/>
                  </a:lnTo>
                  <a:lnTo>
                    <a:pt x="2497" y="844"/>
                  </a:lnTo>
                  <a:lnTo>
                    <a:pt x="2509" y="846"/>
                  </a:lnTo>
                  <a:lnTo>
                    <a:pt x="2522" y="847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>
                  <a:latin typeface="Calibri" panose="020F0502020204030204" pitchFamily="34" charset="0"/>
                </a:rPr>
                <a:t>Mykolayiv</a:t>
              </a:r>
              <a:endParaRPr lang="ru-RU" altLang="ru-RU" sz="675">
                <a:latin typeface="Calibri" panose="020F050202020403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2953" y="2863"/>
              <a:ext cx="969" cy="627"/>
            </a:xfrm>
            <a:custGeom>
              <a:avLst/>
              <a:gdLst>
                <a:gd name="T0" fmla="*/ 351 w 3224"/>
                <a:gd name="T1" fmla="*/ 218 h 2164"/>
                <a:gd name="T2" fmla="*/ 351 w 3224"/>
                <a:gd name="T3" fmla="*/ 218 h 2164"/>
                <a:gd name="T4" fmla="*/ 351 w 3224"/>
                <a:gd name="T5" fmla="*/ 218 h 2164"/>
                <a:gd name="T6" fmla="*/ 351 w 3224"/>
                <a:gd name="T7" fmla="*/ 218 h 2164"/>
                <a:gd name="T8" fmla="*/ 351 w 3224"/>
                <a:gd name="T9" fmla="*/ 218 h 2164"/>
                <a:gd name="T10" fmla="*/ 351 w 3224"/>
                <a:gd name="T11" fmla="*/ 218 h 2164"/>
                <a:gd name="T12" fmla="*/ 351 w 3224"/>
                <a:gd name="T13" fmla="*/ 218 h 2164"/>
                <a:gd name="T14" fmla="*/ 351 w 3224"/>
                <a:gd name="T15" fmla="*/ 218 h 2164"/>
                <a:gd name="T16" fmla="*/ 351 w 3224"/>
                <a:gd name="T17" fmla="*/ 218 h 2164"/>
                <a:gd name="T18" fmla="*/ 351 w 3224"/>
                <a:gd name="T19" fmla="*/ 218 h 2164"/>
                <a:gd name="T20" fmla="*/ 351 w 3224"/>
                <a:gd name="T21" fmla="*/ 218 h 2164"/>
                <a:gd name="T22" fmla="*/ 351 w 3224"/>
                <a:gd name="T23" fmla="*/ 218 h 2164"/>
                <a:gd name="T24" fmla="*/ 351 w 3224"/>
                <a:gd name="T25" fmla="*/ 218 h 2164"/>
                <a:gd name="T26" fmla="*/ 351 w 3224"/>
                <a:gd name="T27" fmla="*/ 218 h 2164"/>
                <a:gd name="T28" fmla="*/ 351 w 3224"/>
                <a:gd name="T29" fmla="*/ 218 h 2164"/>
                <a:gd name="T30" fmla="*/ 351 w 3224"/>
                <a:gd name="T31" fmla="*/ 218 h 2164"/>
                <a:gd name="T32" fmla="*/ 351 w 3224"/>
                <a:gd name="T33" fmla="*/ 218 h 2164"/>
                <a:gd name="T34" fmla="*/ 351 w 3224"/>
                <a:gd name="T35" fmla="*/ 218 h 2164"/>
                <a:gd name="T36" fmla="*/ 351 w 3224"/>
                <a:gd name="T37" fmla="*/ 218 h 2164"/>
                <a:gd name="T38" fmla="*/ 351 w 3224"/>
                <a:gd name="T39" fmla="*/ 218 h 2164"/>
                <a:gd name="T40" fmla="*/ 351 w 3224"/>
                <a:gd name="T41" fmla="*/ 218 h 2164"/>
                <a:gd name="T42" fmla="*/ 351 w 3224"/>
                <a:gd name="T43" fmla="*/ 218 h 2164"/>
                <a:gd name="T44" fmla="*/ 351 w 3224"/>
                <a:gd name="T45" fmla="*/ 218 h 2164"/>
                <a:gd name="T46" fmla="*/ 351 w 3224"/>
                <a:gd name="T47" fmla="*/ 218 h 2164"/>
                <a:gd name="T48" fmla="*/ 351 w 3224"/>
                <a:gd name="T49" fmla="*/ 218 h 2164"/>
                <a:gd name="T50" fmla="*/ 351 w 3224"/>
                <a:gd name="T51" fmla="*/ 218 h 2164"/>
                <a:gd name="T52" fmla="*/ 351 w 3224"/>
                <a:gd name="T53" fmla="*/ 218 h 2164"/>
                <a:gd name="T54" fmla="*/ 351 w 3224"/>
                <a:gd name="T55" fmla="*/ 218 h 2164"/>
                <a:gd name="T56" fmla="*/ 351 w 3224"/>
                <a:gd name="T57" fmla="*/ 218 h 2164"/>
                <a:gd name="T58" fmla="*/ 351 w 3224"/>
                <a:gd name="T59" fmla="*/ 218 h 2164"/>
                <a:gd name="T60" fmla="*/ 351 w 3224"/>
                <a:gd name="T61" fmla="*/ 218 h 2164"/>
                <a:gd name="T62" fmla="*/ 351 w 3224"/>
                <a:gd name="T63" fmla="*/ 218 h 2164"/>
                <a:gd name="T64" fmla="*/ 351 w 3224"/>
                <a:gd name="T65" fmla="*/ 218 h 2164"/>
                <a:gd name="T66" fmla="*/ 351 w 3224"/>
                <a:gd name="T67" fmla="*/ 218 h 2164"/>
                <a:gd name="T68" fmla="*/ 351 w 3224"/>
                <a:gd name="T69" fmla="*/ 218 h 2164"/>
                <a:gd name="T70" fmla="*/ 351 w 3224"/>
                <a:gd name="T71" fmla="*/ 218 h 2164"/>
                <a:gd name="T72" fmla="*/ 351 w 3224"/>
                <a:gd name="T73" fmla="*/ 218 h 2164"/>
                <a:gd name="T74" fmla="*/ 351 w 3224"/>
                <a:gd name="T75" fmla="*/ 218 h 2164"/>
                <a:gd name="T76" fmla="*/ 351 w 3224"/>
                <a:gd name="T77" fmla="*/ 218 h 2164"/>
                <a:gd name="T78" fmla="*/ 351 w 3224"/>
                <a:gd name="T79" fmla="*/ 218 h 2164"/>
                <a:gd name="T80" fmla="*/ 351 w 3224"/>
                <a:gd name="T81" fmla="*/ 218 h 2164"/>
                <a:gd name="T82" fmla="*/ 351 w 3224"/>
                <a:gd name="T83" fmla="*/ 218 h 2164"/>
                <a:gd name="T84" fmla="*/ 351 w 3224"/>
                <a:gd name="T85" fmla="*/ 218 h 2164"/>
                <a:gd name="T86" fmla="*/ 351 w 3224"/>
                <a:gd name="T87" fmla="*/ 218 h 2164"/>
                <a:gd name="T88" fmla="*/ 351 w 3224"/>
                <a:gd name="T89" fmla="*/ 218 h 2164"/>
                <a:gd name="T90" fmla="*/ 351 w 3224"/>
                <a:gd name="T91" fmla="*/ 218 h 2164"/>
                <a:gd name="T92" fmla="*/ 351 w 3224"/>
                <a:gd name="T93" fmla="*/ 218 h 2164"/>
                <a:gd name="T94" fmla="*/ 351 w 3224"/>
                <a:gd name="T95" fmla="*/ 218 h 2164"/>
                <a:gd name="T96" fmla="*/ 351 w 3224"/>
                <a:gd name="T97" fmla="*/ 218 h 2164"/>
                <a:gd name="T98" fmla="*/ 351 w 3224"/>
                <a:gd name="T99" fmla="*/ 218 h 2164"/>
                <a:gd name="T100" fmla="*/ 351 w 3224"/>
                <a:gd name="T101" fmla="*/ 218 h 2164"/>
                <a:gd name="T102" fmla="*/ 351 w 3224"/>
                <a:gd name="T103" fmla="*/ 218 h 2164"/>
                <a:gd name="T104" fmla="*/ 351 w 3224"/>
                <a:gd name="T105" fmla="*/ 218 h 2164"/>
                <a:gd name="T106" fmla="*/ 351 w 3224"/>
                <a:gd name="T107" fmla="*/ 218 h 2164"/>
                <a:gd name="T108" fmla="*/ 351 w 3224"/>
                <a:gd name="T109" fmla="*/ 218 h 2164"/>
                <a:gd name="T110" fmla="*/ 351 w 3224"/>
                <a:gd name="T111" fmla="*/ 218 h 2164"/>
                <a:gd name="T112" fmla="*/ 351 w 3224"/>
                <a:gd name="T113" fmla="*/ 218 h 2164"/>
                <a:gd name="T114" fmla="*/ 351 w 3224"/>
                <a:gd name="T115" fmla="*/ 218 h 2164"/>
                <a:gd name="T116" fmla="*/ 351 w 3224"/>
                <a:gd name="T117" fmla="*/ 218 h 2164"/>
                <a:gd name="T118" fmla="*/ 351 w 3224"/>
                <a:gd name="T119" fmla="*/ 218 h 2164"/>
                <a:gd name="T120" fmla="*/ 351 w 3224"/>
                <a:gd name="T121" fmla="*/ 218 h 2164"/>
                <a:gd name="T122" fmla="*/ 351 w 3224"/>
                <a:gd name="T123" fmla="*/ 218 h 2164"/>
                <a:gd name="T124" fmla="*/ 351 w 3224"/>
                <a:gd name="T125" fmla="*/ 218 h 216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24"/>
                <a:gd name="T190" fmla="*/ 0 h 2164"/>
                <a:gd name="T191" fmla="*/ 3224 w 3224"/>
                <a:gd name="T192" fmla="*/ 2164 h 216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24" h="2164">
                  <a:moveTo>
                    <a:pt x="1018" y="2056"/>
                  </a:moveTo>
                  <a:lnTo>
                    <a:pt x="1036" y="2061"/>
                  </a:lnTo>
                  <a:lnTo>
                    <a:pt x="1054" y="2066"/>
                  </a:lnTo>
                  <a:lnTo>
                    <a:pt x="1070" y="2068"/>
                  </a:lnTo>
                  <a:lnTo>
                    <a:pt x="1090" y="2068"/>
                  </a:lnTo>
                  <a:lnTo>
                    <a:pt x="1113" y="2068"/>
                  </a:lnTo>
                  <a:lnTo>
                    <a:pt x="1134" y="2069"/>
                  </a:lnTo>
                  <a:lnTo>
                    <a:pt x="1155" y="2069"/>
                  </a:lnTo>
                  <a:lnTo>
                    <a:pt x="1177" y="2069"/>
                  </a:lnTo>
                  <a:lnTo>
                    <a:pt x="1190" y="2070"/>
                  </a:lnTo>
                  <a:lnTo>
                    <a:pt x="1200" y="2071"/>
                  </a:lnTo>
                  <a:lnTo>
                    <a:pt x="1210" y="2073"/>
                  </a:lnTo>
                  <a:lnTo>
                    <a:pt x="1220" y="2075"/>
                  </a:lnTo>
                  <a:lnTo>
                    <a:pt x="1239" y="2080"/>
                  </a:lnTo>
                  <a:lnTo>
                    <a:pt x="1262" y="2084"/>
                  </a:lnTo>
                  <a:lnTo>
                    <a:pt x="1296" y="2086"/>
                  </a:lnTo>
                  <a:lnTo>
                    <a:pt x="1326" y="2087"/>
                  </a:lnTo>
                  <a:lnTo>
                    <a:pt x="1356" y="2088"/>
                  </a:lnTo>
                  <a:lnTo>
                    <a:pt x="1390" y="2089"/>
                  </a:lnTo>
                  <a:lnTo>
                    <a:pt x="1397" y="2088"/>
                  </a:lnTo>
                  <a:lnTo>
                    <a:pt x="1404" y="2087"/>
                  </a:lnTo>
                  <a:lnTo>
                    <a:pt x="1407" y="2086"/>
                  </a:lnTo>
                  <a:lnTo>
                    <a:pt x="1409" y="2085"/>
                  </a:lnTo>
                  <a:lnTo>
                    <a:pt x="1410" y="2082"/>
                  </a:lnTo>
                  <a:lnTo>
                    <a:pt x="1411" y="2079"/>
                  </a:lnTo>
                  <a:lnTo>
                    <a:pt x="1410" y="2075"/>
                  </a:lnTo>
                  <a:lnTo>
                    <a:pt x="1408" y="2072"/>
                  </a:lnTo>
                  <a:lnTo>
                    <a:pt x="1405" y="2070"/>
                  </a:lnTo>
                  <a:lnTo>
                    <a:pt x="1401" y="2068"/>
                  </a:lnTo>
                  <a:lnTo>
                    <a:pt x="1392" y="2066"/>
                  </a:lnTo>
                  <a:lnTo>
                    <a:pt x="1382" y="2066"/>
                  </a:lnTo>
                  <a:lnTo>
                    <a:pt x="1370" y="2068"/>
                  </a:lnTo>
                  <a:lnTo>
                    <a:pt x="1360" y="2070"/>
                  </a:lnTo>
                  <a:lnTo>
                    <a:pt x="1356" y="2070"/>
                  </a:lnTo>
                  <a:lnTo>
                    <a:pt x="1354" y="2069"/>
                  </a:lnTo>
                  <a:lnTo>
                    <a:pt x="1351" y="2068"/>
                  </a:lnTo>
                  <a:lnTo>
                    <a:pt x="1349" y="2066"/>
                  </a:lnTo>
                  <a:lnTo>
                    <a:pt x="1343" y="2061"/>
                  </a:lnTo>
                  <a:lnTo>
                    <a:pt x="1340" y="2056"/>
                  </a:lnTo>
                  <a:lnTo>
                    <a:pt x="1336" y="2051"/>
                  </a:lnTo>
                  <a:lnTo>
                    <a:pt x="1332" y="2046"/>
                  </a:lnTo>
                  <a:lnTo>
                    <a:pt x="1330" y="2044"/>
                  </a:lnTo>
                  <a:lnTo>
                    <a:pt x="1327" y="2043"/>
                  </a:lnTo>
                  <a:lnTo>
                    <a:pt x="1324" y="2042"/>
                  </a:lnTo>
                  <a:lnTo>
                    <a:pt x="1321" y="2042"/>
                  </a:lnTo>
                  <a:lnTo>
                    <a:pt x="1318" y="2042"/>
                  </a:lnTo>
                  <a:lnTo>
                    <a:pt x="1315" y="2044"/>
                  </a:lnTo>
                  <a:lnTo>
                    <a:pt x="1314" y="2046"/>
                  </a:lnTo>
                  <a:lnTo>
                    <a:pt x="1311" y="2048"/>
                  </a:lnTo>
                  <a:lnTo>
                    <a:pt x="1307" y="2054"/>
                  </a:lnTo>
                  <a:lnTo>
                    <a:pt x="1303" y="2058"/>
                  </a:lnTo>
                  <a:lnTo>
                    <a:pt x="1296" y="2061"/>
                  </a:lnTo>
                  <a:lnTo>
                    <a:pt x="1290" y="2063"/>
                  </a:lnTo>
                  <a:lnTo>
                    <a:pt x="1284" y="2064"/>
                  </a:lnTo>
                  <a:lnTo>
                    <a:pt x="1275" y="2066"/>
                  </a:lnTo>
                  <a:lnTo>
                    <a:pt x="1272" y="2064"/>
                  </a:lnTo>
                  <a:lnTo>
                    <a:pt x="1270" y="2064"/>
                  </a:lnTo>
                  <a:lnTo>
                    <a:pt x="1267" y="2062"/>
                  </a:lnTo>
                  <a:lnTo>
                    <a:pt x="1265" y="2061"/>
                  </a:lnTo>
                  <a:lnTo>
                    <a:pt x="1262" y="2056"/>
                  </a:lnTo>
                  <a:lnTo>
                    <a:pt x="1258" y="2052"/>
                  </a:lnTo>
                  <a:lnTo>
                    <a:pt x="1255" y="2047"/>
                  </a:lnTo>
                  <a:lnTo>
                    <a:pt x="1251" y="2043"/>
                  </a:lnTo>
                  <a:lnTo>
                    <a:pt x="1249" y="2041"/>
                  </a:lnTo>
                  <a:lnTo>
                    <a:pt x="1246" y="2040"/>
                  </a:lnTo>
                  <a:lnTo>
                    <a:pt x="1243" y="2039"/>
                  </a:lnTo>
                  <a:lnTo>
                    <a:pt x="1240" y="2038"/>
                  </a:lnTo>
                  <a:lnTo>
                    <a:pt x="1235" y="2039"/>
                  </a:lnTo>
                  <a:lnTo>
                    <a:pt x="1231" y="2041"/>
                  </a:lnTo>
                  <a:lnTo>
                    <a:pt x="1227" y="2043"/>
                  </a:lnTo>
                  <a:lnTo>
                    <a:pt x="1224" y="2045"/>
                  </a:lnTo>
                  <a:lnTo>
                    <a:pt x="1220" y="2048"/>
                  </a:lnTo>
                  <a:lnTo>
                    <a:pt x="1216" y="2050"/>
                  </a:lnTo>
                  <a:lnTo>
                    <a:pt x="1211" y="2052"/>
                  </a:lnTo>
                  <a:lnTo>
                    <a:pt x="1206" y="2052"/>
                  </a:lnTo>
                  <a:lnTo>
                    <a:pt x="1189" y="2051"/>
                  </a:lnTo>
                  <a:lnTo>
                    <a:pt x="1172" y="2049"/>
                  </a:lnTo>
                  <a:lnTo>
                    <a:pt x="1157" y="2046"/>
                  </a:lnTo>
                  <a:lnTo>
                    <a:pt x="1139" y="2045"/>
                  </a:lnTo>
                  <a:lnTo>
                    <a:pt x="1096" y="2045"/>
                  </a:lnTo>
                  <a:lnTo>
                    <a:pt x="1085" y="2044"/>
                  </a:lnTo>
                  <a:lnTo>
                    <a:pt x="1075" y="2042"/>
                  </a:lnTo>
                  <a:lnTo>
                    <a:pt x="1065" y="2038"/>
                  </a:lnTo>
                  <a:lnTo>
                    <a:pt x="1055" y="2035"/>
                  </a:lnTo>
                  <a:lnTo>
                    <a:pt x="1048" y="2033"/>
                  </a:lnTo>
                  <a:lnTo>
                    <a:pt x="1042" y="2033"/>
                  </a:lnTo>
                  <a:lnTo>
                    <a:pt x="1037" y="2036"/>
                  </a:lnTo>
                  <a:lnTo>
                    <a:pt x="1032" y="2038"/>
                  </a:lnTo>
                  <a:lnTo>
                    <a:pt x="1027" y="2041"/>
                  </a:lnTo>
                  <a:lnTo>
                    <a:pt x="1024" y="2045"/>
                  </a:lnTo>
                  <a:lnTo>
                    <a:pt x="1020" y="2050"/>
                  </a:lnTo>
                  <a:lnTo>
                    <a:pt x="1018" y="2056"/>
                  </a:lnTo>
                  <a:close/>
                  <a:moveTo>
                    <a:pt x="11" y="1646"/>
                  </a:moveTo>
                  <a:lnTo>
                    <a:pt x="8" y="1646"/>
                  </a:lnTo>
                  <a:lnTo>
                    <a:pt x="6" y="1647"/>
                  </a:lnTo>
                  <a:lnTo>
                    <a:pt x="4" y="1649"/>
                  </a:lnTo>
                  <a:lnTo>
                    <a:pt x="3" y="1650"/>
                  </a:lnTo>
                  <a:lnTo>
                    <a:pt x="0" y="1656"/>
                  </a:lnTo>
                  <a:lnTo>
                    <a:pt x="0" y="1661"/>
                  </a:lnTo>
                  <a:lnTo>
                    <a:pt x="0" y="1670"/>
                  </a:lnTo>
                  <a:lnTo>
                    <a:pt x="2" y="1677"/>
                  </a:lnTo>
                  <a:lnTo>
                    <a:pt x="4" y="1684"/>
                  </a:lnTo>
                  <a:lnTo>
                    <a:pt x="8" y="1692"/>
                  </a:lnTo>
                  <a:lnTo>
                    <a:pt x="16" y="1705"/>
                  </a:lnTo>
                  <a:lnTo>
                    <a:pt x="24" y="1721"/>
                  </a:lnTo>
                  <a:lnTo>
                    <a:pt x="31" y="1740"/>
                  </a:lnTo>
                  <a:lnTo>
                    <a:pt x="37" y="1758"/>
                  </a:lnTo>
                  <a:lnTo>
                    <a:pt x="40" y="1766"/>
                  </a:lnTo>
                  <a:lnTo>
                    <a:pt x="44" y="1774"/>
                  </a:lnTo>
                  <a:lnTo>
                    <a:pt x="50" y="1782"/>
                  </a:lnTo>
                  <a:lnTo>
                    <a:pt x="58" y="1788"/>
                  </a:lnTo>
                  <a:lnTo>
                    <a:pt x="69" y="1794"/>
                  </a:lnTo>
                  <a:lnTo>
                    <a:pt x="79" y="1799"/>
                  </a:lnTo>
                  <a:lnTo>
                    <a:pt x="89" y="1802"/>
                  </a:lnTo>
                  <a:lnTo>
                    <a:pt x="99" y="1805"/>
                  </a:lnTo>
                  <a:lnTo>
                    <a:pt x="120" y="1810"/>
                  </a:lnTo>
                  <a:lnTo>
                    <a:pt x="143" y="1818"/>
                  </a:lnTo>
                  <a:lnTo>
                    <a:pt x="174" y="1829"/>
                  </a:lnTo>
                  <a:lnTo>
                    <a:pt x="201" y="1839"/>
                  </a:lnTo>
                  <a:lnTo>
                    <a:pt x="214" y="1845"/>
                  </a:lnTo>
                  <a:lnTo>
                    <a:pt x="228" y="1849"/>
                  </a:lnTo>
                  <a:lnTo>
                    <a:pt x="243" y="1852"/>
                  </a:lnTo>
                  <a:lnTo>
                    <a:pt x="260" y="1855"/>
                  </a:lnTo>
                  <a:lnTo>
                    <a:pt x="289" y="1860"/>
                  </a:lnTo>
                  <a:lnTo>
                    <a:pt x="317" y="1863"/>
                  </a:lnTo>
                  <a:lnTo>
                    <a:pt x="343" y="1867"/>
                  </a:lnTo>
                  <a:lnTo>
                    <a:pt x="368" y="1871"/>
                  </a:lnTo>
                  <a:lnTo>
                    <a:pt x="392" y="1875"/>
                  </a:lnTo>
                  <a:lnTo>
                    <a:pt x="416" y="1882"/>
                  </a:lnTo>
                  <a:lnTo>
                    <a:pt x="443" y="1890"/>
                  </a:lnTo>
                  <a:lnTo>
                    <a:pt x="471" y="1900"/>
                  </a:lnTo>
                  <a:lnTo>
                    <a:pt x="505" y="1914"/>
                  </a:lnTo>
                  <a:lnTo>
                    <a:pt x="537" y="1925"/>
                  </a:lnTo>
                  <a:lnTo>
                    <a:pt x="552" y="1930"/>
                  </a:lnTo>
                  <a:lnTo>
                    <a:pt x="568" y="1934"/>
                  </a:lnTo>
                  <a:lnTo>
                    <a:pt x="585" y="1936"/>
                  </a:lnTo>
                  <a:lnTo>
                    <a:pt x="605" y="1938"/>
                  </a:lnTo>
                  <a:lnTo>
                    <a:pt x="603" y="1933"/>
                  </a:lnTo>
                  <a:lnTo>
                    <a:pt x="600" y="1928"/>
                  </a:lnTo>
                  <a:lnTo>
                    <a:pt x="596" y="1924"/>
                  </a:lnTo>
                  <a:lnTo>
                    <a:pt x="593" y="1921"/>
                  </a:lnTo>
                  <a:lnTo>
                    <a:pt x="589" y="1918"/>
                  </a:lnTo>
                  <a:lnTo>
                    <a:pt x="583" y="1916"/>
                  </a:lnTo>
                  <a:lnTo>
                    <a:pt x="578" y="1914"/>
                  </a:lnTo>
                  <a:lnTo>
                    <a:pt x="573" y="1912"/>
                  </a:lnTo>
                  <a:lnTo>
                    <a:pt x="550" y="1909"/>
                  </a:lnTo>
                  <a:lnTo>
                    <a:pt x="527" y="1905"/>
                  </a:lnTo>
                  <a:lnTo>
                    <a:pt x="513" y="1904"/>
                  </a:lnTo>
                  <a:lnTo>
                    <a:pt x="502" y="1901"/>
                  </a:lnTo>
                  <a:lnTo>
                    <a:pt x="493" y="1897"/>
                  </a:lnTo>
                  <a:lnTo>
                    <a:pt x="482" y="1893"/>
                  </a:lnTo>
                  <a:lnTo>
                    <a:pt x="473" y="1889"/>
                  </a:lnTo>
                  <a:lnTo>
                    <a:pt x="463" y="1885"/>
                  </a:lnTo>
                  <a:lnTo>
                    <a:pt x="451" y="1881"/>
                  </a:lnTo>
                  <a:lnTo>
                    <a:pt x="439" y="1878"/>
                  </a:lnTo>
                  <a:lnTo>
                    <a:pt x="415" y="1872"/>
                  </a:lnTo>
                  <a:lnTo>
                    <a:pt x="395" y="1868"/>
                  </a:lnTo>
                  <a:lnTo>
                    <a:pt x="375" y="1863"/>
                  </a:lnTo>
                  <a:lnTo>
                    <a:pt x="355" y="1859"/>
                  </a:lnTo>
                  <a:lnTo>
                    <a:pt x="337" y="1854"/>
                  </a:lnTo>
                  <a:lnTo>
                    <a:pt x="317" y="1850"/>
                  </a:lnTo>
                  <a:lnTo>
                    <a:pt x="296" y="1846"/>
                  </a:lnTo>
                  <a:lnTo>
                    <a:pt x="273" y="1841"/>
                  </a:lnTo>
                  <a:lnTo>
                    <a:pt x="249" y="1837"/>
                  </a:lnTo>
                  <a:lnTo>
                    <a:pt x="228" y="1832"/>
                  </a:lnTo>
                  <a:lnTo>
                    <a:pt x="207" y="1828"/>
                  </a:lnTo>
                  <a:lnTo>
                    <a:pt x="188" y="1822"/>
                  </a:lnTo>
                  <a:lnTo>
                    <a:pt x="169" y="1816"/>
                  </a:lnTo>
                  <a:lnTo>
                    <a:pt x="150" y="1807"/>
                  </a:lnTo>
                  <a:lnTo>
                    <a:pt x="131" y="1798"/>
                  </a:lnTo>
                  <a:lnTo>
                    <a:pt x="110" y="1786"/>
                  </a:lnTo>
                  <a:lnTo>
                    <a:pt x="89" y="1772"/>
                  </a:lnTo>
                  <a:lnTo>
                    <a:pt x="72" y="1760"/>
                  </a:lnTo>
                  <a:lnTo>
                    <a:pt x="64" y="1753"/>
                  </a:lnTo>
                  <a:lnTo>
                    <a:pt x="56" y="1744"/>
                  </a:lnTo>
                  <a:lnTo>
                    <a:pt x="49" y="1735"/>
                  </a:lnTo>
                  <a:lnTo>
                    <a:pt x="43" y="1724"/>
                  </a:lnTo>
                  <a:lnTo>
                    <a:pt x="37" y="1710"/>
                  </a:lnTo>
                  <a:lnTo>
                    <a:pt x="33" y="1698"/>
                  </a:lnTo>
                  <a:lnTo>
                    <a:pt x="30" y="1684"/>
                  </a:lnTo>
                  <a:lnTo>
                    <a:pt x="25" y="1670"/>
                  </a:lnTo>
                  <a:lnTo>
                    <a:pt x="22" y="1662"/>
                  </a:lnTo>
                  <a:lnTo>
                    <a:pt x="20" y="1655"/>
                  </a:lnTo>
                  <a:lnTo>
                    <a:pt x="19" y="1651"/>
                  </a:lnTo>
                  <a:lnTo>
                    <a:pt x="17" y="1648"/>
                  </a:lnTo>
                  <a:lnTo>
                    <a:pt x="14" y="1647"/>
                  </a:lnTo>
                  <a:lnTo>
                    <a:pt x="11" y="1646"/>
                  </a:lnTo>
                  <a:close/>
                  <a:moveTo>
                    <a:pt x="1409" y="70"/>
                  </a:moveTo>
                  <a:lnTo>
                    <a:pt x="1417" y="92"/>
                  </a:lnTo>
                  <a:lnTo>
                    <a:pt x="1423" y="111"/>
                  </a:lnTo>
                  <a:lnTo>
                    <a:pt x="1429" y="129"/>
                  </a:lnTo>
                  <a:lnTo>
                    <a:pt x="1435" y="147"/>
                  </a:lnTo>
                  <a:lnTo>
                    <a:pt x="1440" y="165"/>
                  </a:lnTo>
                  <a:lnTo>
                    <a:pt x="1443" y="184"/>
                  </a:lnTo>
                  <a:lnTo>
                    <a:pt x="1446" y="204"/>
                  </a:lnTo>
                  <a:lnTo>
                    <a:pt x="1447" y="225"/>
                  </a:lnTo>
                  <a:lnTo>
                    <a:pt x="1447" y="274"/>
                  </a:lnTo>
                  <a:lnTo>
                    <a:pt x="1446" y="284"/>
                  </a:lnTo>
                  <a:lnTo>
                    <a:pt x="1443" y="293"/>
                  </a:lnTo>
                  <a:lnTo>
                    <a:pt x="1440" y="303"/>
                  </a:lnTo>
                  <a:lnTo>
                    <a:pt x="1437" y="310"/>
                  </a:lnTo>
                  <a:lnTo>
                    <a:pt x="1434" y="318"/>
                  </a:lnTo>
                  <a:lnTo>
                    <a:pt x="1431" y="328"/>
                  </a:lnTo>
                  <a:lnTo>
                    <a:pt x="1429" y="337"/>
                  </a:lnTo>
                  <a:lnTo>
                    <a:pt x="1428" y="347"/>
                  </a:lnTo>
                  <a:lnTo>
                    <a:pt x="1429" y="361"/>
                  </a:lnTo>
                  <a:lnTo>
                    <a:pt x="1431" y="373"/>
                  </a:lnTo>
                  <a:lnTo>
                    <a:pt x="1434" y="384"/>
                  </a:lnTo>
                  <a:lnTo>
                    <a:pt x="1437" y="396"/>
                  </a:lnTo>
                  <a:lnTo>
                    <a:pt x="1448" y="416"/>
                  </a:lnTo>
                  <a:lnTo>
                    <a:pt x="1460" y="436"/>
                  </a:lnTo>
                  <a:lnTo>
                    <a:pt x="1472" y="457"/>
                  </a:lnTo>
                  <a:lnTo>
                    <a:pt x="1483" y="477"/>
                  </a:lnTo>
                  <a:lnTo>
                    <a:pt x="1488" y="489"/>
                  </a:lnTo>
                  <a:lnTo>
                    <a:pt x="1492" y="500"/>
                  </a:lnTo>
                  <a:lnTo>
                    <a:pt x="1495" y="512"/>
                  </a:lnTo>
                  <a:lnTo>
                    <a:pt x="1496" y="526"/>
                  </a:lnTo>
                  <a:lnTo>
                    <a:pt x="1483" y="531"/>
                  </a:lnTo>
                  <a:lnTo>
                    <a:pt x="1471" y="537"/>
                  </a:lnTo>
                  <a:lnTo>
                    <a:pt x="1461" y="544"/>
                  </a:lnTo>
                  <a:lnTo>
                    <a:pt x="1451" y="552"/>
                  </a:lnTo>
                  <a:lnTo>
                    <a:pt x="1441" y="560"/>
                  </a:lnTo>
                  <a:lnTo>
                    <a:pt x="1431" y="567"/>
                  </a:lnTo>
                  <a:lnTo>
                    <a:pt x="1420" y="574"/>
                  </a:lnTo>
                  <a:lnTo>
                    <a:pt x="1406" y="581"/>
                  </a:lnTo>
                  <a:lnTo>
                    <a:pt x="1394" y="585"/>
                  </a:lnTo>
                  <a:lnTo>
                    <a:pt x="1383" y="589"/>
                  </a:lnTo>
                  <a:lnTo>
                    <a:pt x="1377" y="591"/>
                  </a:lnTo>
                  <a:lnTo>
                    <a:pt x="1372" y="594"/>
                  </a:lnTo>
                  <a:lnTo>
                    <a:pt x="1367" y="597"/>
                  </a:lnTo>
                  <a:lnTo>
                    <a:pt x="1362" y="601"/>
                  </a:lnTo>
                  <a:lnTo>
                    <a:pt x="1357" y="606"/>
                  </a:lnTo>
                  <a:lnTo>
                    <a:pt x="1351" y="609"/>
                  </a:lnTo>
                  <a:lnTo>
                    <a:pt x="1344" y="614"/>
                  </a:lnTo>
                  <a:lnTo>
                    <a:pt x="1338" y="616"/>
                  </a:lnTo>
                  <a:lnTo>
                    <a:pt x="1326" y="622"/>
                  </a:lnTo>
                  <a:lnTo>
                    <a:pt x="1314" y="627"/>
                  </a:lnTo>
                  <a:lnTo>
                    <a:pt x="1308" y="629"/>
                  </a:lnTo>
                  <a:lnTo>
                    <a:pt x="1303" y="632"/>
                  </a:lnTo>
                  <a:lnTo>
                    <a:pt x="1298" y="635"/>
                  </a:lnTo>
                  <a:lnTo>
                    <a:pt x="1294" y="639"/>
                  </a:lnTo>
                  <a:lnTo>
                    <a:pt x="1291" y="644"/>
                  </a:lnTo>
                  <a:lnTo>
                    <a:pt x="1289" y="649"/>
                  </a:lnTo>
                  <a:lnTo>
                    <a:pt x="1287" y="654"/>
                  </a:lnTo>
                  <a:lnTo>
                    <a:pt x="1287" y="661"/>
                  </a:lnTo>
                  <a:lnTo>
                    <a:pt x="1288" y="670"/>
                  </a:lnTo>
                  <a:lnTo>
                    <a:pt x="1290" y="680"/>
                  </a:lnTo>
                  <a:lnTo>
                    <a:pt x="1294" y="687"/>
                  </a:lnTo>
                  <a:lnTo>
                    <a:pt x="1298" y="694"/>
                  </a:lnTo>
                  <a:lnTo>
                    <a:pt x="1303" y="701"/>
                  </a:lnTo>
                  <a:lnTo>
                    <a:pt x="1308" y="710"/>
                  </a:lnTo>
                  <a:lnTo>
                    <a:pt x="1314" y="718"/>
                  </a:lnTo>
                  <a:lnTo>
                    <a:pt x="1317" y="727"/>
                  </a:lnTo>
                  <a:lnTo>
                    <a:pt x="1321" y="744"/>
                  </a:lnTo>
                  <a:lnTo>
                    <a:pt x="1324" y="759"/>
                  </a:lnTo>
                  <a:lnTo>
                    <a:pt x="1326" y="766"/>
                  </a:lnTo>
                  <a:lnTo>
                    <a:pt x="1329" y="773"/>
                  </a:lnTo>
                  <a:lnTo>
                    <a:pt x="1334" y="779"/>
                  </a:lnTo>
                  <a:lnTo>
                    <a:pt x="1340" y="783"/>
                  </a:lnTo>
                  <a:lnTo>
                    <a:pt x="1356" y="790"/>
                  </a:lnTo>
                  <a:lnTo>
                    <a:pt x="1371" y="796"/>
                  </a:lnTo>
                  <a:lnTo>
                    <a:pt x="1378" y="801"/>
                  </a:lnTo>
                  <a:lnTo>
                    <a:pt x="1384" y="806"/>
                  </a:lnTo>
                  <a:lnTo>
                    <a:pt x="1385" y="808"/>
                  </a:lnTo>
                  <a:lnTo>
                    <a:pt x="1387" y="811"/>
                  </a:lnTo>
                  <a:lnTo>
                    <a:pt x="1388" y="815"/>
                  </a:lnTo>
                  <a:lnTo>
                    <a:pt x="1388" y="819"/>
                  </a:lnTo>
                  <a:lnTo>
                    <a:pt x="1388" y="828"/>
                  </a:lnTo>
                  <a:lnTo>
                    <a:pt x="1387" y="839"/>
                  </a:lnTo>
                  <a:lnTo>
                    <a:pt x="1386" y="847"/>
                  </a:lnTo>
                  <a:lnTo>
                    <a:pt x="1384" y="855"/>
                  </a:lnTo>
                  <a:lnTo>
                    <a:pt x="1380" y="872"/>
                  </a:lnTo>
                  <a:lnTo>
                    <a:pt x="1373" y="887"/>
                  </a:lnTo>
                  <a:lnTo>
                    <a:pt x="1360" y="917"/>
                  </a:lnTo>
                  <a:lnTo>
                    <a:pt x="1345" y="953"/>
                  </a:lnTo>
                  <a:lnTo>
                    <a:pt x="1340" y="967"/>
                  </a:lnTo>
                  <a:lnTo>
                    <a:pt x="1335" y="980"/>
                  </a:lnTo>
                  <a:lnTo>
                    <a:pt x="1329" y="993"/>
                  </a:lnTo>
                  <a:lnTo>
                    <a:pt x="1323" y="1005"/>
                  </a:lnTo>
                  <a:lnTo>
                    <a:pt x="1316" y="1016"/>
                  </a:lnTo>
                  <a:lnTo>
                    <a:pt x="1307" y="1027"/>
                  </a:lnTo>
                  <a:lnTo>
                    <a:pt x="1299" y="1036"/>
                  </a:lnTo>
                  <a:lnTo>
                    <a:pt x="1290" y="1045"/>
                  </a:lnTo>
                  <a:lnTo>
                    <a:pt x="1281" y="1054"/>
                  </a:lnTo>
                  <a:lnTo>
                    <a:pt x="1270" y="1060"/>
                  </a:lnTo>
                  <a:lnTo>
                    <a:pt x="1260" y="1066"/>
                  </a:lnTo>
                  <a:lnTo>
                    <a:pt x="1248" y="1071"/>
                  </a:lnTo>
                  <a:lnTo>
                    <a:pt x="1236" y="1075"/>
                  </a:lnTo>
                  <a:lnTo>
                    <a:pt x="1223" y="1078"/>
                  </a:lnTo>
                  <a:lnTo>
                    <a:pt x="1209" y="1080"/>
                  </a:lnTo>
                  <a:lnTo>
                    <a:pt x="1196" y="1081"/>
                  </a:lnTo>
                  <a:lnTo>
                    <a:pt x="1184" y="1080"/>
                  </a:lnTo>
                  <a:lnTo>
                    <a:pt x="1171" y="1078"/>
                  </a:lnTo>
                  <a:lnTo>
                    <a:pt x="1161" y="1075"/>
                  </a:lnTo>
                  <a:lnTo>
                    <a:pt x="1151" y="1071"/>
                  </a:lnTo>
                  <a:lnTo>
                    <a:pt x="1132" y="1060"/>
                  </a:lnTo>
                  <a:lnTo>
                    <a:pt x="1113" y="1048"/>
                  </a:lnTo>
                  <a:lnTo>
                    <a:pt x="1096" y="1036"/>
                  </a:lnTo>
                  <a:lnTo>
                    <a:pt x="1076" y="1026"/>
                  </a:lnTo>
                  <a:lnTo>
                    <a:pt x="1067" y="1020"/>
                  </a:lnTo>
                  <a:lnTo>
                    <a:pt x="1056" y="1017"/>
                  </a:lnTo>
                  <a:lnTo>
                    <a:pt x="1044" y="1015"/>
                  </a:lnTo>
                  <a:lnTo>
                    <a:pt x="1032" y="1015"/>
                  </a:lnTo>
                  <a:lnTo>
                    <a:pt x="1024" y="1015"/>
                  </a:lnTo>
                  <a:lnTo>
                    <a:pt x="1015" y="1015"/>
                  </a:lnTo>
                  <a:lnTo>
                    <a:pt x="1007" y="1016"/>
                  </a:lnTo>
                  <a:lnTo>
                    <a:pt x="1000" y="1018"/>
                  </a:lnTo>
                  <a:lnTo>
                    <a:pt x="994" y="1021"/>
                  </a:lnTo>
                  <a:lnTo>
                    <a:pt x="988" y="1026"/>
                  </a:lnTo>
                  <a:lnTo>
                    <a:pt x="981" y="1030"/>
                  </a:lnTo>
                  <a:lnTo>
                    <a:pt x="975" y="1036"/>
                  </a:lnTo>
                  <a:lnTo>
                    <a:pt x="969" y="1045"/>
                  </a:lnTo>
                  <a:lnTo>
                    <a:pt x="963" y="1056"/>
                  </a:lnTo>
                  <a:lnTo>
                    <a:pt x="959" y="1066"/>
                  </a:lnTo>
                  <a:lnTo>
                    <a:pt x="955" y="1075"/>
                  </a:lnTo>
                  <a:lnTo>
                    <a:pt x="949" y="1084"/>
                  </a:lnTo>
                  <a:lnTo>
                    <a:pt x="943" y="1091"/>
                  </a:lnTo>
                  <a:lnTo>
                    <a:pt x="940" y="1094"/>
                  </a:lnTo>
                  <a:lnTo>
                    <a:pt x="936" y="1096"/>
                  </a:lnTo>
                  <a:lnTo>
                    <a:pt x="931" y="1097"/>
                  </a:lnTo>
                  <a:lnTo>
                    <a:pt x="926" y="1098"/>
                  </a:lnTo>
                  <a:lnTo>
                    <a:pt x="920" y="1097"/>
                  </a:lnTo>
                  <a:lnTo>
                    <a:pt x="914" y="1096"/>
                  </a:lnTo>
                  <a:lnTo>
                    <a:pt x="909" y="1094"/>
                  </a:lnTo>
                  <a:lnTo>
                    <a:pt x="905" y="1092"/>
                  </a:lnTo>
                  <a:lnTo>
                    <a:pt x="897" y="1084"/>
                  </a:lnTo>
                  <a:lnTo>
                    <a:pt x="890" y="1076"/>
                  </a:lnTo>
                  <a:lnTo>
                    <a:pt x="882" y="1068"/>
                  </a:lnTo>
                  <a:lnTo>
                    <a:pt x="875" y="1059"/>
                  </a:lnTo>
                  <a:lnTo>
                    <a:pt x="867" y="1050"/>
                  </a:lnTo>
                  <a:lnTo>
                    <a:pt x="858" y="1043"/>
                  </a:lnTo>
                  <a:lnTo>
                    <a:pt x="855" y="1047"/>
                  </a:lnTo>
                  <a:lnTo>
                    <a:pt x="853" y="1052"/>
                  </a:lnTo>
                  <a:lnTo>
                    <a:pt x="855" y="1065"/>
                  </a:lnTo>
                  <a:lnTo>
                    <a:pt x="858" y="1076"/>
                  </a:lnTo>
                  <a:lnTo>
                    <a:pt x="857" y="1082"/>
                  </a:lnTo>
                  <a:lnTo>
                    <a:pt x="856" y="1088"/>
                  </a:lnTo>
                  <a:lnTo>
                    <a:pt x="855" y="1094"/>
                  </a:lnTo>
                  <a:lnTo>
                    <a:pt x="852" y="1099"/>
                  </a:lnTo>
                  <a:lnTo>
                    <a:pt x="848" y="1103"/>
                  </a:lnTo>
                  <a:lnTo>
                    <a:pt x="844" y="1106"/>
                  </a:lnTo>
                  <a:lnTo>
                    <a:pt x="839" y="1108"/>
                  </a:lnTo>
                  <a:lnTo>
                    <a:pt x="834" y="1109"/>
                  </a:lnTo>
                  <a:lnTo>
                    <a:pt x="825" y="1108"/>
                  </a:lnTo>
                  <a:lnTo>
                    <a:pt x="816" y="1107"/>
                  </a:lnTo>
                  <a:lnTo>
                    <a:pt x="809" y="1105"/>
                  </a:lnTo>
                  <a:lnTo>
                    <a:pt x="801" y="1102"/>
                  </a:lnTo>
                  <a:lnTo>
                    <a:pt x="788" y="1094"/>
                  </a:lnTo>
                  <a:lnTo>
                    <a:pt x="774" y="1086"/>
                  </a:lnTo>
                  <a:lnTo>
                    <a:pt x="762" y="1077"/>
                  </a:lnTo>
                  <a:lnTo>
                    <a:pt x="747" y="1069"/>
                  </a:lnTo>
                  <a:lnTo>
                    <a:pt x="740" y="1066"/>
                  </a:lnTo>
                  <a:lnTo>
                    <a:pt x="733" y="1064"/>
                  </a:lnTo>
                  <a:lnTo>
                    <a:pt x="725" y="1063"/>
                  </a:lnTo>
                  <a:lnTo>
                    <a:pt x="715" y="1062"/>
                  </a:lnTo>
                  <a:lnTo>
                    <a:pt x="697" y="1062"/>
                  </a:lnTo>
                  <a:lnTo>
                    <a:pt x="697" y="1080"/>
                  </a:lnTo>
                  <a:lnTo>
                    <a:pt x="696" y="1099"/>
                  </a:lnTo>
                  <a:lnTo>
                    <a:pt x="694" y="1117"/>
                  </a:lnTo>
                  <a:lnTo>
                    <a:pt x="690" y="1133"/>
                  </a:lnTo>
                  <a:lnTo>
                    <a:pt x="688" y="1141"/>
                  </a:lnTo>
                  <a:lnTo>
                    <a:pt x="684" y="1149"/>
                  </a:lnTo>
                  <a:lnTo>
                    <a:pt x="680" y="1155"/>
                  </a:lnTo>
                  <a:lnTo>
                    <a:pt x="675" y="1161"/>
                  </a:lnTo>
                  <a:lnTo>
                    <a:pt x="670" y="1166"/>
                  </a:lnTo>
                  <a:lnTo>
                    <a:pt x="663" y="1171"/>
                  </a:lnTo>
                  <a:lnTo>
                    <a:pt x="656" y="1174"/>
                  </a:lnTo>
                  <a:lnTo>
                    <a:pt x="647" y="1177"/>
                  </a:lnTo>
                  <a:lnTo>
                    <a:pt x="615" y="1187"/>
                  </a:lnTo>
                  <a:lnTo>
                    <a:pt x="583" y="1194"/>
                  </a:lnTo>
                  <a:lnTo>
                    <a:pt x="568" y="1198"/>
                  </a:lnTo>
                  <a:lnTo>
                    <a:pt x="552" y="1202"/>
                  </a:lnTo>
                  <a:lnTo>
                    <a:pt x="538" y="1207"/>
                  </a:lnTo>
                  <a:lnTo>
                    <a:pt x="524" y="1213"/>
                  </a:lnTo>
                  <a:lnTo>
                    <a:pt x="511" y="1219"/>
                  </a:lnTo>
                  <a:lnTo>
                    <a:pt x="499" y="1226"/>
                  </a:lnTo>
                  <a:lnTo>
                    <a:pt x="487" y="1233"/>
                  </a:lnTo>
                  <a:lnTo>
                    <a:pt x="477" y="1242"/>
                  </a:lnTo>
                  <a:lnTo>
                    <a:pt x="468" y="1253"/>
                  </a:lnTo>
                  <a:lnTo>
                    <a:pt x="460" y="1265"/>
                  </a:lnTo>
                  <a:lnTo>
                    <a:pt x="457" y="1271"/>
                  </a:lnTo>
                  <a:lnTo>
                    <a:pt x="453" y="1279"/>
                  </a:lnTo>
                  <a:lnTo>
                    <a:pt x="451" y="1286"/>
                  </a:lnTo>
                  <a:lnTo>
                    <a:pt x="449" y="1294"/>
                  </a:lnTo>
                  <a:lnTo>
                    <a:pt x="458" y="1302"/>
                  </a:lnTo>
                  <a:lnTo>
                    <a:pt x="467" y="1310"/>
                  </a:lnTo>
                  <a:lnTo>
                    <a:pt x="477" y="1316"/>
                  </a:lnTo>
                  <a:lnTo>
                    <a:pt x="486" y="1320"/>
                  </a:lnTo>
                  <a:lnTo>
                    <a:pt x="497" y="1323"/>
                  </a:lnTo>
                  <a:lnTo>
                    <a:pt x="506" y="1325"/>
                  </a:lnTo>
                  <a:lnTo>
                    <a:pt x="526" y="1328"/>
                  </a:lnTo>
                  <a:lnTo>
                    <a:pt x="548" y="1330"/>
                  </a:lnTo>
                  <a:lnTo>
                    <a:pt x="548" y="1341"/>
                  </a:lnTo>
                  <a:lnTo>
                    <a:pt x="549" y="1351"/>
                  </a:lnTo>
                  <a:lnTo>
                    <a:pt x="550" y="1361"/>
                  </a:lnTo>
                  <a:lnTo>
                    <a:pt x="552" y="1371"/>
                  </a:lnTo>
                  <a:lnTo>
                    <a:pt x="556" y="1380"/>
                  </a:lnTo>
                  <a:lnTo>
                    <a:pt x="560" y="1388"/>
                  </a:lnTo>
                  <a:lnTo>
                    <a:pt x="566" y="1395"/>
                  </a:lnTo>
                  <a:lnTo>
                    <a:pt x="573" y="1404"/>
                  </a:lnTo>
                  <a:lnTo>
                    <a:pt x="577" y="1398"/>
                  </a:lnTo>
                  <a:lnTo>
                    <a:pt x="582" y="1393"/>
                  </a:lnTo>
                  <a:lnTo>
                    <a:pt x="586" y="1389"/>
                  </a:lnTo>
                  <a:lnTo>
                    <a:pt x="592" y="1386"/>
                  </a:lnTo>
                  <a:lnTo>
                    <a:pt x="601" y="1380"/>
                  </a:lnTo>
                  <a:lnTo>
                    <a:pt x="611" y="1375"/>
                  </a:lnTo>
                  <a:lnTo>
                    <a:pt x="621" y="1370"/>
                  </a:lnTo>
                  <a:lnTo>
                    <a:pt x="631" y="1363"/>
                  </a:lnTo>
                  <a:lnTo>
                    <a:pt x="635" y="1359"/>
                  </a:lnTo>
                  <a:lnTo>
                    <a:pt x="639" y="1355"/>
                  </a:lnTo>
                  <a:lnTo>
                    <a:pt x="643" y="1351"/>
                  </a:lnTo>
                  <a:lnTo>
                    <a:pt x="647" y="1346"/>
                  </a:lnTo>
                  <a:lnTo>
                    <a:pt x="657" y="1350"/>
                  </a:lnTo>
                  <a:lnTo>
                    <a:pt x="663" y="1355"/>
                  </a:lnTo>
                  <a:lnTo>
                    <a:pt x="669" y="1361"/>
                  </a:lnTo>
                  <a:lnTo>
                    <a:pt x="674" y="1367"/>
                  </a:lnTo>
                  <a:lnTo>
                    <a:pt x="679" y="1374"/>
                  </a:lnTo>
                  <a:lnTo>
                    <a:pt x="685" y="1380"/>
                  </a:lnTo>
                  <a:lnTo>
                    <a:pt x="693" y="1386"/>
                  </a:lnTo>
                  <a:lnTo>
                    <a:pt x="701" y="1390"/>
                  </a:lnTo>
                  <a:lnTo>
                    <a:pt x="705" y="1389"/>
                  </a:lnTo>
                  <a:lnTo>
                    <a:pt x="710" y="1388"/>
                  </a:lnTo>
                  <a:lnTo>
                    <a:pt x="716" y="1388"/>
                  </a:lnTo>
                  <a:lnTo>
                    <a:pt x="723" y="1390"/>
                  </a:lnTo>
                  <a:lnTo>
                    <a:pt x="729" y="1392"/>
                  </a:lnTo>
                  <a:lnTo>
                    <a:pt x="734" y="1395"/>
                  </a:lnTo>
                  <a:lnTo>
                    <a:pt x="739" y="1398"/>
                  </a:lnTo>
                  <a:lnTo>
                    <a:pt x="744" y="1400"/>
                  </a:lnTo>
                  <a:lnTo>
                    <a:pt x="750" y="1403"/>
                  </a:lnTo>
                  <a:lnTo>
                    <a:pt x="758" y="1404"/>
                  </a:lnTo>
                  <a:lnTo>
                    <a:pt x="764" y="1403"/>
                  </a:lnTo>
                  <a:lnTo>
                    <a:pt x="769" y="1400"/>
                  </a:lnTo>
                  <a:lnTo>
                    <a:pt x="774" y="1398"/>
                  </a:lnTo>
                  <a:lnTo>
                    <a:pt x="779" y="1395"/>
                  </a:lnTo>
                  <a:lnTo>
                    <a:pt x="790" y="1388"/>
                  </a:lnTo>
                  <a:lnTo>
                    <a:pt x="801" y="1382"/>
                  </a:lnTo>
                  <a:lnTo>
                    <a:pt x="824" y="1373"/>
                  </a:lnTo>
                  <a:lnTo>
                    <a:pt x="844" y="1364"/>
                  </a:lnTo>
                  <a:lnTo>
                    <a:pt x="864" y="1355"/>
                  </a:lnTo>
                  <a:lnTo>
                    <a:pt x="886" y="1343"/>
                  </a:lnTo>
                  <a:lnTo>
                    <a:pt x="913" y="1329"/>
                  </a:lnTo>
                  <a:lnTo>
                    <a:pt x="939" y="1319"/>
                  </a:lnTo>
                  <a:lnTo>
                    <a:pt x="952" y="1313"/>
                  </a:lnTo>
                  <a:lnTo>
                    <a:pt x="964" y="1305"/>
                  </a:lnTo>
                  <a:lnTo>
                    <a:pt x="976" y="1297"/>
                  </a:lnTo>
                  <a:lnTo>
                    <a:pt x="989" y="1286"/>
                  </a:lnTo>
                  <a:lnTo>
                    <a:pt x="991" y="1282"/>
                  </a:lnTo>
                  <a:lnTo>
                    <a:pt x="990" y="1286"/>
                  </a:lnTo>
                  <a:lnTo>
                    <a:pt x="989" y="1290"/>
                  </a:lnTo>
                  <a:lnTo>
                    <a:pt x="987" y="1294"/>
                  </a:lnTo>
                  <a:lnTo>
                    <a:pt x="985" y="1297"/>
                  </a:lnTo>
                  <a:lnTo>
                    <a:pt x="980" y="1304"/>
                  </a:lnTo>
                  <a:lnTo>
                    <a:pt x="975" y="1313"/>
                  </a:lnTo>
                  <a:lnTo>
                    <a:pt x="970" y="1322"/>
                  </a:lnTo>
                  <a:lnTo>
                    <a:pt x="965" y="1330"/>
                  </a:lnTo>
                  <a:lnTo>
                    <a:pt x="963" y="1334"/>
                  </a:lnTo>
                  <a:lnTo>
                    <a:pt x="960" y="1339"/>
                  </a:lnTo>
                  <a:lnTo>
                    <a:pt x="956" y="1342"/>
                  </a:lnTo>
                  <a:lnTo>
                    <a:pt x="952" y="1346"/>
                  </a:lnTo>
                  <a:lnTo>
                    <a:pt x="937" y="1351"/>
                  </a:lnTo>
                  <a:lnTo>
                    <a:pt x="923" y="1356"/>
                  </a:lnTo>
                  <a:lnTo>
                    <a:pt x="907" y="1363"/>
                  </a:lnTo>
                  <a:lnTo>
                    <a:pt x="894" y="1370"/>
                  </a:lnTo>
                  <a:lnTo>
                    <a:pt x="888" y="1373"/>
                  </a:lnTo>
                  <a:lnTo>
                    <a:pt x="881" y="1376"/>
                  </a:lnTo>
                  <a:lnTo>
                    <a:pt x="875" y="1380"/>
                  </a:lnTo>
                  <a:lnTo>
                    <a:pt x="868" y="1385"/>
                  </a:lnTo>
                  <a:lnTo>
                    <a:pt x="858" y="1396"/>
                  </a:lnTo>
                  <a:lnTo>
                    <a:pt x="848" y="1408"/>
                  </a:lnTo>
                  <a:lnTo>
                    <a:pt x="844" y="1413"/>
                  </a:lnTo>
                  <a:lnTo>
                    <a:pt x="840" y="1418"/>
                  </a:lnTo>
                  <a:lnTo>
                    <a:pt x="835" y="1423"/>
                  </a:lnTo>
                  <a:lnTo>
                    <a:pt x="828" y="1428"/>
                  </a:lnTo>
                  <a:lnTo>
                    <a:pt x="822" y="1431"/>
                  </a:lnTo>
                  <a:lnTo>
                    <a:pt x="815" y="1435"/>
                  </a:lnTo>
                  <a:lnTo>
                    <a:pt x="809" y="1439"/>
                  </a:lnTo>
                  <a:lnTo>
                    <a:pt x="804" y="1443"/>
                  </a:lnTo>
                  <a:lnTo>
                    <a:pt x="808" y="1447"/>
                  </a:lnTo>
                  <a:lnTo>
                    <a:pt x="812" y="1450"/>
                  </a:lnTo>
                  <a:lnTo>
                    <a:pt x="814" y="1454"/>
                  </a:lnTo>
                  <a:lnTo>
                    <a:pt x="817" y="1458"/>
                  </a:lnTo>
                  <a:lnTo>
                    <a:pt x="819" y="1462"/>
                  </a:lnTo>
                  <a:lnTo>
                    <a:pt x="820" y="1468"/>
                  </a:lnTo>
                  <a:lnTo>
                    <a:pt x="821" y="1473"/>
                  </a:lnTo>
                  <a:lnTo>
                    <a:pt x="821" y="1478"/>
                  </a:lnTo>
                  <a:lnTo>
                    <a:pt x="821" y="1484"/>
                  </a:lnTo>
                  <a:lnTo>
                    <a:pt x="819" y="1490"/>
                  </a:lnTo>
                  <a:lnTo>
                    <a:pt x="816" y="1495"/>
                  </a:lnTo>
                  <a:lnTo>
                    <a:pt x="813" y="1500"/>
                  </a:lnTo>
                  <a:lnTo>
                    <a:pt x="810" y="1504"/>
                  </a:lnTo>
                  <a:lnTo>
                    <a:pt x="806" y="1507"/>
                  </a:lnTo>
                  <a:lnTo>
                    <a:pt x="801" y="1510"/>
                  </a:lnTo>
                  <a:lnTo>
                    <a:pt x="796" y="1513"/>
                  </a:lnTo>
                  <a:lnTo>
                    <a:pt x="783" y="1517"/>
                  </a:lnTo>
                  <a:lnTo>
                    <a:pt x="771" y="1520"/>
                  </a:lnTo>
                  <a:lnTo>
                    <a:pt x="758" y="1522"/>
                  </a:lnTo>
                  <a:lnTo>
                    <a:pt x="744" y="1522"/>
                  </a:lnTo>
                  <a:lnTo>
                    <a:pt x="732" y="1522"/>
                  </a:lnTo>
                  <a:lnTo>
                    <a:pt x="721" y="1521"/>
                  </a:lnTo>
                  <a:lnTo>
                    <a:pt x="709" y="1519"/>
                  </a:lnTo>
                  <a:lnTo>
                    <a:pt x="697" y="1515"/>
                  </a:lnTo>
                  <a:lnTo>
                    <a:pt x="688" y="1510"/>
                  </a:lnTo>
                  <a:lnTo>
                    <a:pt x="679" y="1504"/>
                  </a:lnTo>
                  <a:lnTo>
                    <a:pt x="672" y="1498"/>
                  </a:lnTo>
                  <a:lnTo>
                    <a:pt x="666" y="1490"/>
                  </a:lnTo>
                  <a:lnTo>
                    <a:pt x="659" y="1485"/>
                  </a:lnTo>
                  <a:lnTo>
                    <a:pt x="651" y="1480"/>
                  </a:lnTo>
                  <a:lnTo>
                    <a:pt x="647" y="1478"/>
                  </a:lnTo>
                  <a:lnTo>
                    <a:pt x="642" y="1476"/>
                  </a:lnTo>
                  <a:lnTo>
                    <a:pt x="638" y="1476"/>
                  </a:lnTo>
                  <a:lnTo>
                    <a:pt x="632" y="1475"/>
                  </a:lnTo>
                  <a:lnTo>
                    <a:pt x="618" y="1480"/>
                  </a:lnTo>
                  <a:lnTo>
                    <a:pt x="604" y="1486"/>
                  </a:lnTo>
                  <a:lnTo>
                    <a:pt x="595" y="1485"/>
                  </a:lnTo>
                  <a:lnTo>
                    <a:pt x="585" y="1482"/>
                  </a:lnTo>
                  <a:lnTo>
                    <a:pt x="578" y="1479"/>
                  </a:lnTo>
                  <a:lnTo>
                    <a:pt x="570" y="1475"/>
                  </a:lnTo>
                  <a:lnTo>
                    <a:pt x="563" y="1471"/>
                  </a:lnTo>
                  <a:lnTo>
                    <a:pt x="556" y="1467"/>
                  </a:lnTo>
                  <a:lnTo>
                    <a:pt x="546" y="1465"/>
                  </a:lnTo>
                  <a:lnTo>
                    <a:pt x="537" y="1463"/>
                  </a:lnTo>
                  <a:lnTo>
                    <a:pt x="531" y="1463"/>
                  </a:lnTo>
                  <a:lnTo>
                    <a:pt x="526" y="1466"/>
                  </a:lnTo>
                  <a:lnTo>
                    <a:pt x="522" y="1468"/>
                  </a:lnTo>
                  <a:lnTo>
                    <a:pt x="517" y="1470"/>
                  </a:lnTo>
                  <a:lnTo>
                    <a:pt x="513" y="1472"/>
                  </a:lnTo>
                  <a:lnTo>
                    <a:pt x="508" y="1474"/>
                  </a:lnTo>
                  <a:lnTo>
                    <a:pt x="503" y="1476"/>
                  </a:lnTo>
                  <a:lnTo>
                    <a:pt x="498" y="1476"/>
                  </a:lnTo>
                  <a:lnTo>
                    <a:pt x="475" y="1476"/>
                  </a:lnTo>
                  <a:lnTo>
                    <a:pt x="463" y="1476"/>
                  </a:lnTo>
                  <a:lnTo>
                    <a:pt x="452" y="1474"/>
                  </a:lnTo>
                  <a:lnTo>
                    <a:pt x="443" y="1472"/>
                  </a:lnTo>
                  <a:lnTo>
                    <a:pt x="434" y="1469"/>
                  </a:lnTo>
                  <a:lnTo>
                    <a:pt x="425" y="1466"/>
                  </a:lnTo>
                  <a:lnTo>
                    <a:pt x="414" y="1463"/>
                  </a:lnTo>
                  <a:lnTo>
                    <a:pt x="404" y="1461"/>
                  </a:lnTo>
                  <a:lnTo>
                    <a:pt x="393" y="1461"/>
                  </a:lnTo>
                  <a:lnTo>
                    <a:pt x="361" y="1461"/>
                  </a:lnTo>
                  <a:lnTo>
                    <a:pt x="355" y="1482"/>
                  </a:lnTo>
                  <a:lnTo>
                    <a:pt x="350" y="1500"/>
                  </a:lnTo>
                  <a:lnTo>
                    <a:pt x="344" y="1517"/>
                  </a:lnTo>
                  <a:lnTo>
                    <a:pt x="340" y="1538"/>
                  </a:lnTo>
                  <a:lnTo>
                    <a:pt x="349" y="1543"/>
                  </a:lnTo>
                  <a:lnTo>
                    <a:pt x="360" y="1547"/>
                  </a:lnTo>
                  <a:lnTo>
                    <a:pt x="370" y="1550"/>
                  </a:lnTo>
                  <a:lnTo>
                    <a:pt x="382" y="1550"/>
                  </a:lnTo>
                  <a:lnTo>
                    <a:pt x="387" y="1550"/>
                  </a:lnTo>
                  <a:lnTo>
                    <a:pt x="392" y="1549"/>
                  </a:lnTo>
                  <a:lnTo>
                    <a:pt x="396" y="1547"/>
                  </a:lnTo>
                  <a:lnTo>
                    <a:pt x="399" y="1545"/>
                  </a:lnTo>
                  <a:lnTo>
                    <a:pt x="403" y="1543"/>
                  </a:lnTo>
                  <a:lnTo>
                    <a:pt x="406" y="1541"/>
                  </a:lnTo>
                  <a:lnTo>
                    <a:pt x="410" y="1539"/>
                  </a:lnTo>
                  <a:lnTo>
                    <a:pt x="415" y="1539"/>
                  </a:lnTo>
                  <a:lnTo>
                    <a:pt x="423" y="1540"/>
                  </a:lnTo>
                  <a:lnTo>
                    <a:pt x="430" y="1541"/>
                  </a:lnTo>
                  <a:lnTo>
                    <a:pt x="437" y="1540"/>
                  </a:lnTo>
                  <a:lnTo>
                    <a:pt x="444" y="1539"/>
                  </a:lnTo>
                  <a:lnTo>
                    <a:pt x="450" y="1540"/>
                  </a:lnTo>
                  <a:lnTo>
                    <a:pt x="456" y="1542"/>
                  </a:lnTo>
                  <a:lnTo>
                    <a:pt x="460" y="1546"/>
                  </a:lnTo>
                  <a:lnTo>
                    <a:pt x="463" y="1551"/>
                  </a:lnTo>
                  <a:lnTo>
                    <a:pt x="469" y="1563"/>
                  </a:lnTo>
                  <a:lnTo>
                    <a:pt x="474" y="1575"/>
                  </a:lnTo>
                  <a:lnTo>
                    <a:pt x="481" y="1589"/>
                  </a:lnTo>
                  <a:lnTo>
                    <a:pt x="487" y="1603"/>
                  </a:lnTo>
                  <a:lnTo>
                    <a:pt x="493" y="1616"/>
                  </a:lnTo>
                  <a:lnTo>
                    <a:pt x="497" y="1632"/>
                  </a:lnTo>
                  <a:lnTo>
                    <a:pt x="495" y="1634"/>
                  </a:lnTo>
                  <a:lnTo>
                    <a:pt x="492" y="1635"/>
                  </a:lnTo>
                  <a:lnTo>
                    <a:pt x="483" y="1632"/>
                  </a:lnTo>
                  <a:lnTo>
                    <a:pt x="475" y="1630"/>
                  </a:lnTo>
                  <a:lnTo>
                    <a:pt x="468" y="1630"/>
                  </a:lnTo>
                  <a:lnTo>
                    <a:pt x="462" y="1631"/>
                  </a:lnTo>
                  <a:lnTo>
                    <a:pt x="460" y="1638"/>
                  </a:lnTo>
                  <a:lnTo>
                    <a:pt x="458" y="1644"/>
                  </a:lnTo>
                  <a:lnTo>
                    <a:pt x="452" y="1649"/>
                  </a:lnTo>
                  <a:lnTo>
                    <a:pt x="447" y="1653"/>
                  </a:lnTo>
                  <a:lnTo>
                    <a:pt x="435" y="1660"/>
                  </a:lnTo>
                  <a:lnTo>
                    <a:pt x="421" y="1666"/>
                  </a:lnTo>
                  <a:lnTo>
                    <a:pt x="404" y="1675"/>
                  </a:lnTo>
                  <a:lnTo>
                    <a:pt x="387" y="1682"/>
                  </a:lnTo>
                  <a:lnTo>
                    <a:pt x="379" y="1685"/>
                  </a:lnTo>
                  <a:lnTo>
                    <a:pt x="370" y="1688"/>
                  </a:lnTo>
                  <a:lnTo>
                    <a:pt x="361" y="1690"/>
                  </a:lnTo>
                  <a:lnTo>
                    <a:pt x="350" y="1690"/>
                  </a:lnTo>
                  <a:lnTo>
                    <a:pt x="332" y="1691"/>
                  </a:lnTo>
                  <a:lnTo>
                    <a:pt x="315" y="1693"/>
                  </a:lnTo>
                  <a:lnTo>
                    <a:pt x="299" y="1694"/>
                  </a:lnTo>
                  <a:lnTo>
                    <a:pt x="280" y="1696"/>
                  </a:lnTo>
                  <a:lnTo>
                    <a:pt x="265" y="1697"/>
                  </a:lnTo>
                  <a:lnTo>
                    <a:pt x="251" y="1700"/>
                  </a:lnTo>
                  <a:lnTo>
                    <a:pt x="245" y="1702"/>
                  </a:lnTo>
                  <a:lnTo>
                    <a:pt x="240" y="1706"/>
                  </a:lnTo>
                  <a:lnTo>
                    <a:pt x="239" y="1708"/>
                  </a:lnTo>
                  <a:lnTo>
                    <a:pt x="237" y="1711"/>
                  </a:lnTo>
                  <a:lnTo>
                    <a:pt x="237" y="1713"/>
                  </a:lnTo>
                  <a:lnTo>
                    <a:pt x="236" y="1718"/>
                  </a:lnTo>
                  <a:lnTo>
                    <a:pt x="237" y="1727"/>
                  </a:lnTo>
                  <a:lnTo>
                    <a:pt x="239" y="1736"/>
                  </a:lnTo>
                  <a:lnTo>
                    <a:pt x="240" y="1740"/>
                  </a:lnTo>
                  <a:lnTo>
                    <a:pt x="242" y="1743"/>
                  </a:lnTo>
                  <a:lnTo>
                    <a:pt x="245" y="1747"/>
                  </a:lnTo>
                  <a:lnTo>
                    <a:pt x="249" y="1751"/>
                  </a:lnTo>
                  <a:lnTo>
                    <a:pt x="252" y="1752"/>
                  </a:lnTo>
                  <a:lnTo>
                    <a:pt x="255" y="1753"/>
                  </a:lnTo>
                  <a:lnTo>
                    <a:pt x="259" y="1753"/>
                  </a:lnTo>
                  <a:lnTo>
                    <a:pt x="261" y="1753"/>
                  </a:lnTo>
                  <a:lnTo>
                    <a:pt x="268" y="1752"/>
                  </a:lnTo>
                  <a:lnTo>
                    <a:pt x="274" y="1753"/>
                  </a:lnTo>
                  <a:lnTo>
                    <a:pt x="284" y="1757"/>
                  </a:lnTo>
                  <a:lnTo>
                    <a:pt x="293" y="1763"/>
                  </a:lnTo>
                  <a:lnTo>
                    <a:pt x="297" y="1766"/>
                  </a:lnTo>
                  <a:lnTo>
                    <a:pt x="302" y="1768"/>
                  </a:lnTo>
                  <a:lnTo>
                    <a:pt x="306" y="1769"/>
                  </a:lnTo>
                  <a:lnTo>
                    <a:pt x="312" y="1770"/>
                  </a:lnTo>
                  <a:lnTo>
                    <a:pt x="322" y="1767"/>
                  </a:lnTo>
                  <a:lnTo>
                    <a:pt x="332" y="1762"/>
                  </a:lnTo>
                  <a:lnTo>
                    <a:pt x="338" y="1761"/>
                  </a:lnTo>
                  <a:lnTo>
                    <a:pt x="343" y="1760"/>
                  </a:lnTo>
                  <a:lnTo>
                    <a:pt x="346" y="1759"/>
                  </a:lnTo>
                  <a:lnTo>
                    <a:pt x="347" y="1757"/>
                  </a:lnTo>
                  <a:lnTo>
                    <a:pt x="349" y="1755"/>
                  </a:lnTo>
                  <a:lnTo>
                    <a:pt x="349" y="1753"/>
                  </a:lnTo>
                  <a:lnTo>
                    <a:pt x="348" y="1746"/>
                  </a:lnTo>
                  <a:lnTo>
                    <a:pt x="347" y="1740"/>
                  </a:lnTo>
                  <a:lnTo>
                    <a:pt x="347" y="1734"/>
                  </a:lnTo>
                  <a:lnTo>
                    <a:pt x="348" y="1727"/>
                  </a:lnTo>
                  <a:lnTo>
                    <a:pt x="348" y="1724"/>
                  </a:lnTo>
                  <a:lnTo>
                    <a:pt x="350" y="1722"/>
                  </a:lnTo>
                  <a:lnTo>
                    <a:pt x="352" y="1720"/>
                  </a:lnTo>
                  <a:lnTo>
                    <a:pt x="355" y="1720"/>
                  </a:lnTo>
                  <a:lnTo>
                    <a:pt x="361" y="1720"/>
                  </a:lnTo>
                  <a:lnTo>
                    <a:pt x="366" y="1721"/>
                  </a:lnTo>
                  <a:lnTo>
                    <a:pt x="371" y="1723"/>
                  </a:lnTo>
                  <a:lnTo>
                    <a:pt x="375" y="1725"/>
                  </a:lnTo>
                  <a:lnTo>
                    <a:pt x="383" y="1730"/>
                  </a:lnTo>
                  <a:lnTo>
                    <a:pt x="390" y="1737"/>
                  </a:lnTo>
                  <a:lnTo>
                    <a:pt x="402" y="1755"/>
                  </a:lnTo>
                  <a:lnTo>
                    <a:pt x="415" y="1773"/>
                  </a:lnTo>
                  <a:lnTo>
                    <a:pt x="419" y="1778"/>
                  </a:lnTo>
                  <a:lnTo>
                    <a:pt x="424" y="1782"/>
                  </a:lnTo>
                  <a:lnTo>
                    <a:pt x="428" y="1784"/>
                  </a:lnTo>
                  <a:lnTo>
                    <a:pt x="432" y="1786"/>
                  </a:lnTo>
                  <a:lnTo>
                    <a:pt x="441" y="1789"/>
                  </a:lnTo>
                  <a:lnTo>
                    <a:pt x="450" y="1790"/>
                  </a:lnTo>
                  <a:lnTo>
                    <a:pt x="472" y="1789"/>
                  </a:lnTo>
                  <a:lnTo>
                    <a:pt x="495" y="1789"/>
                  </a:lnTo>
                  <a:lnTo>
                    <a:pt x="500" y="1790"/>
                  </a:lnTo>
                  <a:lnTo>
                    <a:pt x="505" y="1791"/>
                  </a:lnTo>
                  <a:lnTo>
                    <a:pt x="509" y="1793"/>
                  </a:lnTo>
                  <a:lnTo>
                    <a:pt x="513" y="1795"/>
                  </a:lnTo>
                  <a:lnTo>
                    <a:pt x="520" y="1801"/>
                  </a:lnTo>
                  <a:lnTo>
                    <a:pt x="527" y="1808"/>
                  </a:lnTo>
                  <a:lnTo>
                    <a:pt x="538" y="1826"/>
                  </a:lnTo>
                  <a:lnTo>
                    <a:pt x="551" y="1845"/>
                  </a:lnTo>
                  <a:lnTo>
                    <a:pt x="560" y="1854"/>
                  </a:lnTo>
                  <a:lnTo>
                    <a:pt x="570" y="1861"/>
                  </a:lnTo>
                  <a:lnTo>
                    <a:pt x="580" y="1866"/>
                  </a:lnTo>
                  <a:lnTo>
                    <a:pt x="591" y="1870"/>
                  </a:lnTo>
                  <a:lnTo>
                    <a:pt x="602" y="1872"/>
                  </a:lnTo>
                  <a:lnTo>
                    <a:pt x="613" y="1874"/>
                  </a:lnTo>
                  <a:lnTo>
                    <a:pt x="627" y="1875"/>
                  </a:lnTo>
                  <a:lnTo>
                    <a:pt x="640" y="1875"/>
                  </a:lnTo>
                  <a:lnTo>
                    <a:pt x="649" y="1875"/>
                  </a:lnTo>
                  <a:lnTo>
                    <a:pt x="659" y="1875"/>
                  </a:lnTo>
                  <a:lnTo>
                    <a:pt x="668" y="1875"/>
                  </a:lnTo>
                  <a:lnTo>
                    <a:pt x="678" y="1874"/>
                  </a:lnTo>
                  <a:lnTo>
                    <a:pt x="678" y="1882"/>
                  </a:lnTo>
                  <a:lnTo>
                    <a:pt x="678" y="1889"/>
                  </a:lnTo>
                  <a:lnTo>
                    <a:pt x="679" y="1900"/>
                  </a:lnTo>
                  <a:lnTo>
                    <a:pt x="680" y="1910"/>
                  </a:lnTo>
                  <a:lnTo>
                    <a:pt x="682" y="1919"/>
                  </a:lnTo>
                  <a:lnTo>
                    <a:pt x="685" y="1929"/>
                  </a:lnTo>
                  <a:lnTo>
                    <a:pt x="687" y="1936"/>
                  </a:lnTo>
                  <a:lnTo>
                    <a:pt x="687" y="1944"/>
                  </a:lnTo>
                  <a:lnTo>
                    <a:pt x="687" y="1947"/>
                  </a:lnTo>
                  <a:lnTo>
                    <a:pt x="688" y="1950"/>
                  </a:lnTo>
                  <a:lnTo>
                    <a:pt x="689" y="1953"/>
                  </a:lnTo>
                  <a:lnTo>
                    <a:pt x="692" y="1955"/>
                  </a:lnTo>
                  <a:lnTo>
                    <a:pt x="696" y="1959"/>
                  </a:lnTo>
                  <a:lnTo>
                    <a:pt x="700" y="1962"/>
                  </a:lnTo>
                  <a:lnTo>
                    <a:pt x="705" y="1964"/>
                  </a:lnTo>
                  <a:lnTo>
                    <a:pt x="709" y="1965"/>
                  </a:lnTo>
                  <a:lnTo>
                    <a:pt x="720" y="1968"/>
                  </a:lnTo>
                  <a:lnTo>
                    <a:pt x="730" y="1974"/>
                  </a:lnTo>
                  <a:lnTo>
                    <a:pt x="739" y="1978"/>
                  </a:lnTo>
                  <a:lnTo>
                    <a:pt x="747" y="1981"/>
                  </a:lnTo>
                  <a:lnTo>
                    <a:pt x="755" y="1983"/>
                  </a:lnTo>
                  <a:lnTo>
                    <a:pt x="763" y="1984"/>
                  </a:lnTo>
                  <a:lnTo>
                    <a:pt x="779" y="1987"/>
                  </a:lnTo>
                  <a:lnTo>
                    <a:pt x="797" y="1992"/>
                  </a:lnTo>
                  <a:lnTo>
                    <a:pt x="827" y="2004"/>
                  </a:lnTo>
                  <a:lnTo>
                    <a:pt x="853" y="2015"/>
                  </a:lnTo>
                  <a:lnTo>
                    <a:pt x="866" y="2019"/>
                  </a:lnTo>
                  <a:lnTo>
                    <a:pt x="879" y="2022"/>
                  </a:lnTo>
                  <a:lnTo>
                    <a:pt x="895" y="2024"/>
                  </a:lnTo>
                  <a:lnTo>
                    <a:pt x="910" y="2025"/>
                  </a:lnTo>
                  <a:lnTo>
                    <a:pt x="938" y="2025"/>
                  </a:lnTo>
                  <a:lnTo>
                    <a:pt x="943" y="2024"/>
                  </a:lnTo>
                  <a:lnTo>
                    <a:pt x="946" y="2022"/>
                  </a:lnTo>
                  <a:lnTo>
                    <a:pt x="949" y="2018"/>
                  </a:lnTo>
                  <a:lnTo>
                    <a:pt x="951" y="2013"/>
                  </a:lnTo>
                  <a:lnTo>
                    <a:pt x="953" y="2009"/>
                  </a:lnTo>
                  <a:lnTo>
                    <a:pt x="955" y="2004"/>
                  </a:lnTo>
                  <a:lnTo>
                    <a:pt x="958" y="1998"/>
                  </a:lnTo>
                  <a:lnTo>
                    <a:pt x="961" y="1994"/>
                  </a:lnTo>
                  <a:lnTo>
                    <a:pt x="970" y="1988"/>
                  </a:lnTo>
                  <a:lnTo>
                    <a:pt x="978" y="1983"/>
                  </a:lnTo>
                  <a:lnTo>
                    <a:pt x="987" y="1979"/>
                  </a:lnTo>
                  <a:lnTo>
                    <a:pt x="995" y="1976"/>
                  </a:lnTo>
                  <a:lnTo>
                    <a:pt x="1004" y="1974"/>
                  </a:lnTo>
                  <a:lnTo>
                    <a:pt x="1013" y="1972"/>
                  </a:lnTo>
                  <a:lnTo>
                    <a:pt x="1024" y="1972"/>
                  </a:lnTo>
                  <a:lnTo>
                    <a:pt x="1034" y="1971"/>
                  </a:lnTo>
                  <a:lnTo>
                    <a:pt x="1042" y="1972"/>
                  </a:lnTo>
                  <a:lnTo>
                    <a:pt x="1050" y="1974"/>
                  </a:lnTo>
                  <a:lnTo>
                    <a:pt x="1057" y="1975"/>
                  </a:lnTo>
                  <a:lnTo>
                    <a:pt x="1065" y="1976"/>
                  </a:lnTo>
                  <a:lnTo>
                    <a:pt x="1073" y="1975"/>
                  </a:lnTo>
                  <a:lnTo>
                    <a:pt x="1079" y="1974"/>
                  </a:lnTo>
                  <a:lnTo>
                    <a:pt x="1086" y="1972"/>
                  </a:lnTo>
                  <a:lnTo>
                    <a:pt x="1091" y="1968"/>
                  </a:lnTo>
                  <a:lnTo>
                    <a:pt x="1102" y="1961"/>
                  </a:lnTo>
                  <a:lnTo>
                    <a:pt x="1114" y="1953"/>
                  </a:lnTo>
                  <a:lnTo>
                    <a:pt x="1124" y="1949"/>
                  </a:lnTo>
                  <a:lnTo>
                    <a:pt x="1132" y="1945"/>
                  </a:lnTo>
                  <a:lnTo>
                    <a:pt x="1140" y="1943"/>
                  </a:lnTo>
                  <a:lnTo>
                    <a:pt x="1147" y="1940"/>
                  </a:lnTo>
                  <a:lnTo>
                    <a:pt x="1156" y="1938"/>
                  </a:lnTo>
                  <a:lnTo>
                    <a:pt x="1164" y="1937"/>
                  </a:lnTo>
                  <a:lnTo>
                    <a:pt x="1173" y="1936"/>
                  </a:lnTo>
                  <a:lnTo>
                    <a:pt x="1184" y="1936"/>
                  </a:lnTo>
                  <a:lnTo>
                    <a:pt x="1190" y="1936"/>
                  </a:lnTo>
                  <a:lnTo>
                    <a:pt x="1196" y="1937"/>
                  </a:lnTo>
                  <a:lnTo>
                    <a:pt x="1201" y="1940"/>
                  </a:lnTo>
                  <a:lnTo>
                    <a:pt x="1207" y="1941"/>
                  </a:lnTo>
                  <a:lnTo>
                    <a:pt x="1217" y="1946"/>
                  </a:lnTo>
                  <a:lnTo>
                    <a:pt x="1227" y="1950"/>
                  </a:lnTo>
                  <a:lnTo>
                    <a:pt x="1236" y="1955"/>
                  </a:lnTo>
                  <a:lnTo>
                    <a:pt x="1246" y="1959"/>
                  </a:lnTo>
                  <a:lnTo>
                    <a:pt x="1252" y="1961"/>
                  </a:lnTo>
                  <a:lnTo>
                    <a:pt x="1258" y="1962"/>
                  </a:lnTo>
                  <a:lnTo>
                    <a:pt x="1264" y="1963"/>
                  </a:lnTo>
                  <a:lnTo>
                    <a:pt x="1270" y="1963"/>
                  </a:lnTo>
                  <a:lnTo>
                    <a:pt x="1285" y="1960"/>
                  </a:lnTo>
                  <a:lnTo>
                    <a:pt x="1299" y="1954"/>
                  </a:lnTo>
                  <a:lnTo>
                    <a:pt x="1311" y="1953"/>
                  </a:lnTo>
                  <a:lnTo>
                    <a:pt x="1322" y="1953"/>
                  </a:lnTo>
                  <a:lnTo>
                    <a:pt x="1332" y="1952"/>
                  </a:lnTo>
                  <a:lnTo>
                    <a:pt x="1344" y="1950"/>
                  </a:lnTo>
                  <a:lnTo>
                    <a:pt x="1354" y="1947"/>
                  </a:lnTo>
                  <a:lnTo>
                    <a:pt x="1363" y="1943"/>
                  </a:lnTo>
                  <a:lnTo>
                    <a:pt x="1366" y="1940"/>
                  </a:lnTo>
                  <a:lnTo>
                    <a:pt x="1369" y="1936"/>
                  </a:lnTo>
                  <a:lnTo>
                    <a:pt x="1372" y="1932"/>
                  </a:lnTo>
                  <a:lnTo>
                    <a:pt x="1373" y="1927"/>
                  </a:lnTo>
                  <a:lnTo>
                    <a:pt x="1374" y="1918"/>
                  </a:lnTo>
                  <a:lnTo>
                    <a:pt x="1374" y="1909"/>
                  </a:lnTo>
                  <a:lnTo>
                    <a:pt x="1375" y="1905"/>
                  </a:lnTo>
                  <a:lnTo>
                    <a:pt x="1376" y="1901"/>
                  </a:lnTo>
                  <a:lnTo>
                    <a:pt x="1378" y="1899"/>
                  </a:lnTo>
                  <a:lnTo>
                    <a:pt x="1382" y="1899"/>
                  </a:lnTo>
                  <a:lnTo>
                    <a:pt x="1387" y="1899"/>
                  </a:lnTo>
                  <a:lnTo>
                    <a:pt x="1392" y="1900"/>
                  </a:lnTo>
                  <a:lnTo>
                    <a:pt x="1396" y="1902"/>
                  </a:lnTo>
                  <a:lnTo>
                    <a:pt x="1400" y="1904"/>
                  </a:lnTo>
                  <a:lnTo>
                    <a:pt x="1407" y="1911"/>
                  </a:lnTo>
                  <a:lnTo>
                    <a:pt x="1414" y="1917"/>
                  </a:lnTo>
                  <a:lnTo>
                    <a:pt x="1421" y="1924"/>
                  </a:lnTo>
                  <a:lnTo>
                    <a:pt x="1428" y="1930"/>
                  </a:lnTo>
                  <a:lnTo>
                    <a:pt x="1431" y="1932"/>
                  </a:lnTo>
                  <a:lnTo>
                    <a:pt x="1436" y="1934"/>
                  </a:lnTo>
                  <a:lnTo>
                    <a:pt x="1440" y="1935"/>
                  </a:lnTo>
                  <a:lnTo>
                    <a:pt x="1446" y="1935"/>
                  </a:lnTo>
                  <a:lnTo>
                    <a:pt x="1452" y="1935"/>
                  </a:lnTo>
                  <a:lnTo>
                    <a:pt x="1458" y="1933"/>
                  </a:lnTo>
                  <a:lnTo>
                    <a:pt x="1463" y="1931"/>
                  </a:lnTo>
                  <a:lnTo>
                    <a:pt x="1467" y="1929"/>
                  </a:lnTo>
                  <a:lnTo>
                    <a:pt x="1477" y="1923"/>
                  </a:lnTo>
                  <a:lnTo>
                    <a:pt x="1488" y="1917"/>
                  </a:lnTo>
                  <a:lnTo>
                    <a:pt x="1500" y="1911"/>
                  </a:lnTo>
                  <a:lnTo>
                    <a:pt x="1512" y="1903"/>
                  </a:lnTo>
                  <a:lnTo>
                    <a:pt x="1516" y="1899"/>
                  </a:lnTo>
                  <a:lnTo>
                    <a:pt x="1520" y="1894"/>
                  </a:lnTo>
                  <a:lnTo>
                    <a:pt x="1522" y="1889"/>
                  </a:lnTo>
                  <a:lnTo>
                    <a:pt x="1522" y="1883"/>
                  </a:lnTo>
                  <a:lnTo>
                    <a:pt x="1524" y="1877"/>
                  </a:lnTo>
                  <a:lnTo>
                    <a:pt x="1528" y="1868"/>
                  </a:lnTo>
                  <a:lnTo>
                    <a:pt x="1534" y="1858"/>
                  </a:lnTo>
                  <a:lnTo>
                    <a:pt x="1540" y="1847"/>
                  </a:lnTo>
                  <a:lnTo>
                    <a:pt x="1548" y="1837"/>
                  </a:lnTo>
                  <a:lnTo>
                    <a:pt x="1553" y="1830"/>
                  </a:lnTo>
                  <a:lnTo>
                    <a:pt x="1556" y="1828"/>
                  </a:lnTo>
                  <a:lnTo>
                    <a:pt x="1557" y="1827"/>
                  </a:lnTo>
                  <a:lnTo>
                    <a:pt x="1558" y="1828"/>
                  </a:lnTo>
                  <a:lnTo>
                    <a:pt x="1559" y="1829"/>
                  </a:lnTo>
                  <a:lnTo>
                    <a:pt x="1558" y="1839"/>
                  </a:lnTo>
                  <a:lnTo>
                    <a:pt x="1556" y="1849"/>
                  </a:lnTo>
                  <a:lnTo>
                    <a:pt x="1554" y="1858"/>
                  </a:lnTo>
                  <a:lnTo>
                    <a:pt x="1553" y="1868"/>
                  </a:lnTo>
                  <a:lnTo>
                    <a:pt x="1553" y="1885"/>
                  </a:lnTo>
                  <a:lnTo>
                    <a:pt x="1553" y="1897"/>
                  </a:lnTo>
                  <a:lnTo>
                    <a:pt x="1552" y="1909"/>
                  </a:lnTo>
                  <a:lnTo>
                    <a:pt x="1550" y="1920"/>
                  </a:lnTo>
                  <a:lnTo>
                    <a:pt x="1547" y="1932"/>
                  </a:lnTo>
                  <a:lnTo>
                    <a:pt x="1550" y="1933"/>
                  </a:lnTo>
                  <a:lnTo>
                    <a:pt x="1552" y="1934"/>
                  </a:lnTo>
                  <a:lnTo>
                    <a:pt x="1566" y="1928"/>
                  </a:lnTo>
                  <a:lnTo>
                    <a:pt x="1582" y="1922"/>
                  </a:lnTo>
                  <a:lnTo>
                    <a:pt x="1587" y="1923"/>
                  </a:lnTo>
                  <a:lnTo>
                    <a:pt x="1592" y="1924"/>
                  </a:lnTo>
                  <a:lnTo>
                    <a:pt x="1596" y="1926"/>
                  </a:lnTo>
                  <a:lnTo>
                    <a:pt x="1601" y="1929"/>
                  </a:lnTo>
                  <a:lnTo>
                    <a:pt x="1609" y="1935"/>
                  </a:lnTo>
                  <a:lnTo>
                    <a:pt x="1619" y="1942"/>
                  </a:lnTo>
                  <a:lnTo>
                    <a:pt x="1627" y="1945"/>
                  </a:lnTo>
                  <a:lnTo>
                    <a:pt x="1635" y="1949"/>
                  </a:lnTo>
                  <a:lnTo>
                    <a:pt x="1638" y="1951"/>
                  </a:lnTo>
                  <a:lnTo>
                    <a:pt x="1641" y="1953"/>
                  </a:lnTo>
                  <a:lnTo>
                    <a:pt x="1642" y="1956"/>
                  </a:lnTo>
                  <a:lnTo>
                    <a:pt x="1644" y="1960"/>
                  </a:lnTo>
                  <a:lnTo>
                    <a:pt x="1642" y="1964"/>
                  </a:lnTo>
                  <a:lnTo>
                    <a:pt x="1641" y="1967"/>
                  </a:lnTo>
                  <a:lnTo>
                    <a:pt x="1638" y="1971"/>
                  </a:lnTo>
                  <a:lnTo>
                    <a:pt x="1635" y="1973"/>
                  </a:lnTo>
                  <a:lnTo>
                    <a:pt x="1632" y="1976"/>
                  </a:lnTo>
                  <a:lnTo>
                    <a:pt x="1629" y="1978"/>
                  </a:lnTo>
                  <a:lnTo>
                    <a:pt x="1626" y="1981"/>
                  </a:lnTo>
                  <a:lnTo>
                    <a:pt x="1624" y="1985"/>
                  </a:lnTo>
                  <a:lnTo>
                    <a:pt x="1626" y="1990"/>
                  </a:lnTo>
                  <a:lnTo>
                    <a:pt x="1635" y="1984"/>
                  </a:lnTo>
                  <a:lnTo>
                    <a:pt x="1642" y="1978"/>
                  </a:lnTo>
                  <a:lnTo>
                    <a:pt x="1647" y="1976"/>
                  </a:lnTo>
                  <a:lnTo>
                    <a:pt x="1651" y="1973"/>
                  </a:lnTo>
                  <a:lnTo>
                    <a:pt x="1655" y="1972"/>
                  </a:lnTo>
                  <a:lnTo>
                    <a:pt x="1660" y="1971"/>
                  </a:lnTo>
                  <a:lnTo>
                    <a:pt x="1668" y="1972"/>
                  </a:lnTo>
                  <a:lnTo>
                    <a:pt x="1677" y="1974"/>
                  </a:lnTo>
                  <a:lnTo>
                    <a:pt x="1683" y="1978"/>
                  </a:lnTo>
                  <a:lnTo>
                    <a:pt x="1689" y="1982"/>
                  </a:lnTo>
                  <a:lnTo>
                    <a:pt x="1700" y="1993"/>
                  </a:lnTo>
                  <a:lnTo>
                    <a:pt x="1711" y="2006"/>
                  </a:lnTo>
                  <a:lnTo>
                    <a:pt x="1721" y="2018"/>
                  </a:lnTo>
                  <a:lnTo>
                    <a:pt x="1732" y="2029"/>
                  </a:lnTo>
                  <a:lnTo>
                    <a:pt x="1738" y="2035"/>
                  </a:lnTo>
                  <a:lnTo>
                    <a:pt x="1745" y="2038"/>
                  </a:lnTo>
                  <a:lnTo>
                    <a:pt x="1753" y="2040"/>
                  </a:lnTo>
                  <a:lnTo>
                    <a:pt x="1761" y="2041"/>
                  </a:lnTo>
                  <a:lnTo>
                    <a:pt x="1764" y="2040"/>
                  </a:lnTo>
                  <a:lnTo>
                    <a:pt x="1766" y="2039"/>
                  </a:lnTo>
                  <a:lnTo>
                    <a:pt x="1768" y="2037"/>
                  </a:lnTo>
                  <a:lnTo>
                    <a:pt x="1770" y="2035"/>
                  </a:lnTo>
                  <a:lnTo>
                    <a:pt x="1774" y="2029"/>
                  </a:lnTo>
                  <a:lnTo>
                    <a:pt x="1780" y="2025"/>
                  </a:lnTo>
                  <a:lnTo>
                    <a:pt x="1785" y="2030"/>
                  </a:lnTo>
                  <a:lnTo>
                    <a:pt x="1790" y="2036"/>
                  </a:lnTo>
                  <a:lnTo>
                    <a:pt x="1793" y="2037"/>
                  </a:lnTo>
                  <a:lnTo>
                    <a:pt x="1796" y="2039"/>
                  </a:lnTo>
                  <a:lnTo>
                    <a:pt x="1799" y="2039"/>
                  </a:lnTo>
                  <a:lnTo>
                    <a:pt x="1803" y="2040"/>
                  </a:lnTo>
                  <a:lnTo>
                    <a:pt x="1813" y="2040"/>
                  </a:lnTo>
                  <a:lnTo>
                    <a:pt x="1814" y="2037"/>
                  </a:lnTo>
                  <a:lnTo>
                    <a:pt x="1815" y="2035"/>
                  </a:lnTo>
                  <a:lnTo>
                    <a:pt x="1814" y="2029"/>
                  </a:lnTo>
                  <a:lnTo>
                    <a:pt x="1813" y="2024"/>
                  </a:lnTo>
                  <a:lnTo>
                    <a:pt x="1811" y="2020"/>
                  </a:lnTo>
                  <a:lnTo>
                    <a:pt x="1809" y="2016"/>
                  </a:lnTo>
                  <a:lnTo>
                    <a:pt x="1806" y="2012"/>
                  </a:lnTo>
                  <a:lnTo>
                    <a:pt x="1804" y="2008"/>
                  </a:lnTo>
                  <a:lnTo>
                    <a:pt x="1803" y="2004"/>
                  </a:lnTo>
                  <a:lnTo>
                    <a:pt x="1802" y="1998"/>
                  </a:lnTo>
                  <a:lnTo>
                    <a:pt x="1803" y="1995"/>
                  </a:lnTo>
                  <a:lnTo>
                    <a:pt x="1803" y="1993"/>
                  </a:lnTo>
                  <a:lnTo>
                    <a:pt x="1805" y="1991"/>
                  </a:lnTo>
                  <a:lnTo>
                    <a:pt x="1806" y="1989"/>
                  </a:lnTo>
                  <a:lnTo>
                    <a:pt x="1811" y="1987"/>
                  </a:lnTo>
                  <a:lnTo>
                    <a:pt x="1816" y="1986"/>
                  </a:lnTo>
                  <a:lnTo>
                    <a:pt x="1830" y="1987"/>
                  </a:lnTo>
                  <a:lnTo>
                    <a:pt x="1844" y="1987"/>
                  </a:lnTo>
                  <a:lnTo>
                    <a:pt x="1849" y="1986"/>
                  </a:lnTo>
                  <a:lnTo>
                    <a:pt x="1854" y="1983"/>
                  </a:lnTo>
                  <a:lnTo>
                    <a:pt x="1845" y="1978"/>
                  </a:lnTo>
                  <a:lnTo>
                    <a:pt x="1835" y="1975"/>
                  </a:lnTo>
                  <a:lnTo>
                    <a:pt x="1832" y="1973"/>
                  </a:lnTo>
                  <a:lnTo>
                    <a:pt x="1829" y="1969"/>
                  </a:lnTo>
                  <a:lnTo>
                    <a:pt x="1827" y="1965"/>
                  </a:lnTo>
                  <a:lnTo>
                    <a:pt x="1826" y="1961"/>
                  </a:lnTo>
                  <a:lnTo>
                    <a:pt x="1827" y="1955"/>
                  </a:lnTo>
                  <a:lnTo>
                    <a:pt x="1828" y="1950"/>
                  </a:lnTo>
                  <a:lnTo>
                    <a:pt x="1829" y="1945"/>
                  </a:lnTo>
                  <a:lnTo>
                    <a:pt x="1831" y="1940"/>
                  </a:lnTo>
                  <a:lnTo>
                    <a:pt x="1837" y="1931"/>
                  </a:lnTo>
                  <a:lnTo>
                    <a:pt x="1845" y="1924"/>
                  </a:lnTo>
                  <a:lnTo>
                    <a:pt x="1862" y="1910"/>
                  </a:lnTo>
                  <a:lnTo>
                    <a:pt x="1882" y="1893"/>
                  </a:lnTo>
                  <a:lnTo>
                    <a:pt x="1888" y="1898"/>
                  </a:lnTo>
                  <a:lnTo>
                    <a:pt x="1893" y="1903"/>
                  </a:lnTo>
                  <a:lnTo>
                    <a:pt x="1888" y="1904"/>
                  </a:lnTo>
                  <a:lnTo>
                    <a:pt x="1895" y="1889"/>
                  </a:lnTo>
                  <a:lnTo>
                    <a:pt x="1902" y="1873"/>
                  </a:lnTo>
                  <a:lnTo>
                    <a:pt x="1911" y="1858"/>
                  </a:lnTo>
                  <a:lnTo>
                    <a:pt x="1919" y="1845"/>
                  </a:lnTo>
                  <a:lnTo>
                    <a:pt x="1924" y="1838"/>
                  </a:lnTo>
                  <a:lnTo>
                    <a:pt x="1929" y="1832"/>
                  </a:lnTo>
                  <a:lnTo>
                    <a:pt x="1934" y="1827"/>
                  </a:lnTo>
                  <a:lnTo>
                    <a:pt x="1941" y="1823"/>
                  </a:lnTo>
                  <a:lnTo>
                    <a:pt x="1947" y="1820"/>
                  </a:lnTo>
                  <a:lnTo>
                    <a:pt x="1954" y="1818"/>
                  </a:lnTo>
                  <a:lnTo>
                    <a:pt x="1962" y="1816"/>
                  </a:lnTo>
                  <a:lnTo>
                    <a:pt x="1970" y="1815"/>
                  </a:lnTo>
                  <a:lnTo>
                    <a:pt x="2003" y="1816"/>
                  </a:lnTo>
                  <a:lnTo>
                    <a:pt x="2033" y="1818"/>
                  </a:lnTo>
                  <a:lnTo>
                    <a:pt x="2048" y="1820"/>
                  </a:lnTo>
                  <a:lnTo>
                    <a:pt x="2062" y="1822"/>
                  </a:lnTo>
                  <a:lnTo>
                    <a:pt x="2076" y="1824"/>
                  </a:lnTo>
                  <a:lnTo>
                    <a:pt x="2089" y="1827"/>
                  </a:lnTo>
                  <a:lnTo>
                    <a:pt x="2102" y="1831"/>
                  </a:lnTo>
                  <a:lnTo>
                    <a:pt x="2116" y="1835"/>
                  </a:lnTo>
                  <a:lnTo>
                    <a:pt x="2129" y="1840"/>
                  </a:lnTo>
                  <a:lnTo>
                    <a:pt x="2143" y="1846"/>
                  </a:lnTo>
                  <a:lnTo>
                    <a:pt x="2170" y="1858"/>
                  </a:lnTo>
                  <a:lnTo>
                    <a:pt x="2198" y="1874"/>
                  </a:lnTo>
                  <a:lnTo>
                    <a:pt x="2211" y="1881"/>
                  </a:lnTo>
                  <a:lnTo>
                    <a:pt x="2222" y="1885"/>
                  </a:lnTo>
                  <a:lnTo>
                    <a:pt x="2233" y="1889"/>
                  </a:lnTo>
                  <a:lnTo>
                    <a:pt x="2245" y="1892"/>
                  </a:lnTo>
                  <a:lnTo>
                    <a:pt x="2255" y="1896"/>
                  </a:lnTo>
                  <a:lnTo>
                    <a:pt x="2266" y="1900"/>
                  </a:lnTo>
                  <a:lnTo>
                    <a:pt x="2277" y="1906"/>
                  </a:lnTo>
                  <a:lnTo>
                    <a:pt x="2288" y="1914"/>
                  </a:lnTo>
                  <a:lnTo>
                    <a:pt x="2306" y="1929"/>
                  </a:lnTo>
                  <a:lnTo>
                    <a:pt x="2321" y="1945"/>
                  </a:lnTo>
                  <a:lnTo>
                    <a:pt x="2334" y="1961"/>
                  </a:lnTo>
                  <a:lnTo>
                    <a:pt x="2349" y="1976"/>
                  </a:lnTo>
                  <a:lnTo>
                    <a:pt x="2356" y="1983"/>
                  </a:lnTo>
                  <a:lnTo>
                    <a:pt x="2363" y="1989"/>
                  </a:lnTo>
                  <a:lnTo>
                    <a:pt x="2371" y="1994"/>
                  </a:lnTo>
                  <a:lnTo>
                    <a:pt x="2379" y="1999"/>
                  </a:lnTo>
                  <a:lnTo>
                    <a:pt x="2388" y="2004"/>
                  </a:lnTo>
                  <a:lnTo>
                    <a:pt x="2397" y="2007"/>
                  </a:lnTo>
                  <a:lnTo>
                    <a:pt x="2408" y="2008"/>
                  </a:lnTo>
                  <a:lnTo>
                    <a:pt x="2419" y="2009"/>
                  </a:lnTo>
                  <a:lnTo>
                    <a:pt x="2466" y="2009"/>
                  </a:lnTo>
                  <a:lnTo>
                    <a:pt x="2475" y="2009"/>
                  </a:lnTo>
                  <a:lnTo>
                    <a:pt x="2481" y="2008"/>
                  </a:lnTo>
                  <a:lnTo>
                    <a:pt x="2488" y="2006"/>
                  </a:lnTo>
                  <a:lnTo>
                    <a:pt x="2494" y="2005"/>
                  </a:lnTo>
                  <a:lnTo>
                    <a:pt x="2506" y="1999"/>
                  </a:lnTo>
                  <a:lnTo>
                    <a:pt x="2517" y="1994"/>
                  </a:lnTo>
                  <a:lnTo>
                    <a:pt x="2528" y="1989"/>
                  </a:lnTo>
                  <a:lnTo>
                    <a:pt x="2540" y="1985"/>
                  </a:lnTo>
                  <a:lnTo>
                    <a:pt x="2546" y="1983"/>
                  </a:lnTo>
                  <a:lnTo>
                    <a:pt x="2552" y="1982"/>
                  </a:lnTo>
                  <a:lnTo>
                    <a:pt x="2559" y="1981"/>
                  </a:lnTo>
                  <a:lnTo>
                    <a:pt x="2566" y="1980"/>
                  </a:lnTo>
                  <a:lnTo>
                    <a:pt x="2572" y="1981"/>
                  </a:lnTo>
                  <a:lnTo>
                    <a:pt x="2577" y="1982"/>
                  </a:lnTo>
                  <a:lnTo>
                    <a:pt x="2582" y="1984"/>
                  </a:lnTo>
                  <a:lnTo>
                    <a:pt x="2586" y="1986"/>
                  </a:lnTo>
                  <a:lnTo>
                    <a:pt x="2589" y="1989"/>
                  </a:lnTo>
                  <a:lnTo>
                    <a:pt x="2592" y="1993"/>
                  </a:lnTo>
                  <a:lnTo>
                    <a:pt x="2595" y="1996"/>
                  </a:lnTo>
                  <a:lnTo>
                    <a:pt x="2597" y="2001"/>
                  </a:lnTo>
                  <a:lnTo>
                    <a:pt x="2602" y="2012"/>
                  </a:lnTo>
                  <a:lnTo>
                    <a:pt x="2605" y="2023"/>
                  </a:lnTo>
                  <a:lnTo>
                    <a:pt x="2608" y="2035"/>
                  </a:lnTo>
                  <a:lnTo>
                    <a:pt x="2610" y="2048"/>
                  </a:lnTo>
                  <a:lnTo>
                    <a:pt x="2613" y="2060"/>
                  </a:lnTo>
                  <a:lnTo>
                    <a:pt x="2615" y="2073"/>
                  </a:lnTo>
                  <a:lnTo>
                    <a:pt x="2618" y="2084"/>
                  </a:lnTo>
                  <a:lnTo>
                    <a:pt x="2622" y="2093"/>
                  </a:lnTo>
                  <a:lnTo>
                    <a:pt x="2625" y="2099"/>
                  </a:lnTo>
                  <a:lnTo>
                    <a:pt x="2628" y="2103"/>
                  </a:lnTo>
                  <a:lnTo>
                    <a:pt x="2631" y="2106"/>
                  </a:lnTo>
                  <a:lnTo>
                    <a:pt x="2635" y="2109"/>
                  </a:lnTo>
                  <a:lnTo>
                    <a:pt x="2639" y="2112"/>
                  </a:lnTo>
                  <a:lnTo>
                    <a:pt x="2643" y="2113"/>
                  </a:lnTo>
                  <a:lnTo>
                    <a:pt x="2648" y="2114"/>
                  </a:lnTo>
                  <a:lnTo>
                    <a:pt x="2654" y="2115"/>
                  </a:lnTo>
                  <a:lnTo>
                    <a:pt x="2663" y="2114"/>
                  </a:lnTo>
                  <a:lnTo>
                    <a:pt x="2673" y="2113"/>
                  </a:lnTo>
                  <a:lnTo>
                    <a:pt x="2681" y="2111"/>
                  </a:lnTo>
                  <a:lnTo>
                    <a:pt x="2689" y="2108"/>
                  </a:lnTo>
                  <a:lnTo>
                    <a:pt x="2705" y="2100"/>
                  </a:lnTo>
                  <a:lnTo>
                    <a:pt x="2719" y="2091"/>
                  </a:lnTo>
                  <a:lnTo>
                    <a:pt x="2733" y="2083"/>
                  </a:lnTo>
                  <a:lnTo>
                    <a:pt x="2748" y="2075"/>
                  </a:lnTo>
                  <a:lnTo>
                    <a:pt x="2756" y="2072"/>
                  </a:lnTo>
                  <a:lnTo>
                    <a:pt x="2764" y="2070"/>
                  </a:lnTo>
                  <a:lnTo>
                    <a:pt x="2774" y="2069"/>
                  </a:lnTo>
                  <a:lnTo>
                    <a:pt x="2783" y="2068"/>
                  </a:lnTo>
                  <a:lnTo>
                    <a:pt x="2796" y="2069"/>
                  </a:lnTo>
                  <a:lnTo>
                    <a:pt x="2808" y="2071"/>
                  </a:lnTo>
                  <a:lnTo>
                    <a:pt x="2818" y="2075"/>
                  </a:lnTo>
                  <a:lnTo>
                    <a:pt x="2828" y="2080"/>
                  </a:lnTo>
                  <a:lnTo>
                    <a:pt x="2838" y="2086"/>
                  </a:lnTo>
                  <a:lnTo>
                    <a:pt x="2846" y="2093"/>
                  </a:lnTo>
                  <a:lnTo>
                    <a:pt x="2853" y="2101"/>
                  </a:lnTo>
                  <a:lnTo>
                    <a:pt x="2861" y="2109"/>
                  </a:lnTo>
                  <a:lnTo>
                    <a:pt x="2877" y="2125"/>
                  </a:lnTo>
                  <a:lnTo>
                    <a:pt x="2894" y="2141"/>
                  </a:lnTo>
                  <a:lnTo>
                    <a:pt x="2904" y="2148"/>
                  </a:lnTo>
                  <a:lnTo>
                    <a:pt x="2914" y="2154"/>
                  </a:lnTo>
                  <a:lnTo>
                    <a:pt x="2925" y="2159"/>
                  </a:lnTo>
                  <a:lnTo>
                    <a:pt x="2938" y="2164"/>
                  </a:lnTo>
                  <a:lnTo>
                    <a:pt x="3054" y="2135"/>
                  </a:lnTo>
                  <a:lnTo>
                    <a:pt x="3051" y="2122"/>
                  </a:lnTo>
                  <a:lnTo>
                    <a:pt x="3048" y="2110"/>
                  </a:lnTo>
                  <a:lnTo>
                    <a:pt x="3045" y="2096"/>
                  </a:lnTo>
                  <a:lnTo>
                    <a:pt x="3042" y="2083"/>
                  </a:lnTo>
                  <a:lnTo>
                    <a:pt x="3038" y="2073"/>
                  </a:lnTo>
                  <a:lnTo>
                    <a:pt x="3034" y="2063"/>
                  </a:lnTo>
                  <a:lnTo>
                    <a:pt x="3030" y="2054"/>
                  </a:lnTo>
                  <a:lnTo>
                    <a:pt x="3025" y="2046"/>
                  </a:lnTo>
                  <a:lnTo>
                    <a:pt x="3015" y="2029"/>
                  </a:lnTo>
                  <a:lnTo>
                    <a:pt x="3006" y="2010"/>
                  </a:lnTo>
                  <a:lnTo>
                    <a:pt x="3000" y="1991"/>
                  </a:lnTo>
                  <a:lnTo>
                    <a:pt x="2995" y="1975"/>
                  </a:lnTo>
                  <a:lnTo>
                    <a:pt x="2992" y="1958"/>
                  </a:lnTo>
                  <a:lnTo>
                    <a:pt x="2990" y="1942"/>
                  </a:lnTo>
                  <a:lnTo>
                    <a:pt x="2988" y="1909"/>
                  </a:lnTo>
                  <a:lnTo>
                    <a:pt x="2984" y="1870"/>
                  </a:lnTo>
                  <a:lnTo>
                    <a:pt x="2982" y="1853"/>
                  </a:lnTo>
                  <a:lnTo>
                    <a:pt x="2979" y="1836"/>
                  </a:lnTo>
                  <a:lnTo>
                    <a:pt x="2978" y="1821"/>
                  </a:lnTo>
                  <a:lnTo>
                    <a:pt x="2977" y="1802"/>
                  </a:lnTo>
                  <a:lnTo>
                    <a:pt x="2977" y="1799"/>
                  </a:lnTo>
                  <a:lnTo>
                    <a:pt x="2978" y="1796"/>
                  </a:lnTo>
                  <a:lnTo>
                    <a:pt x="2979" y="1794"/>
                  </a:lnTo>
                  <a:lnTo>
                    <a:pt x="2981" y="1792"/>
                  </a:lnTo>
                  <a:lnTo>
                    <a:pt x="2986" y="1790"/>
                  </a:lnTo>
                  <a:lnTo>
                    <a:pt x="2992" y="1788"/>
                  </a:lnTo>
                  <a:lnTo>
                    <a:pt x="3007" y="1785"/>
                  </a:lnTo>
                  <a:lnTo>
                    <a:pt x="3020" y="1780"/>
                  </a:lnTo>
                  <a:lnTo>
                    <a:pt x="3024" y="1778"/>
                  </a:lnTo>
                  <a:lnTo>
                    <a:pt x="3028" y="1775"/>
                  </a:lnTo>
                  <a:lnTo>
                    <a:pt x="3032" y="1772"/>
                  </a:lnTo>
                  <a:lnTo>
                    <a:pt x="3034" y="1769"/>
                  </a:lnTo>
                  <a:lnTo>
                    <a:pt x="3038" y="1762"/>
                  </a:lnTo>
                  <a:lnTo>
                    <a:pt x="3041" y="1754"/>
                  </a:lnTo>
                  <a:lnTo>
                    <a:pt x="3044" y="1736"/>
                  </a:lnTo>
                  <a:lnTo>
                    <a:pt x="3045" y="1715"/>
                  </a:lnTo>
                  <a:lnTo>
                    <a:pt x="3050" y="1719"/>
                  </a:lnTo>
                  <a:lnTo>
                    <a:pt x="3054" y="1723"/>
                  </a:lnTo>
                  <a:lnTo>
                    <a:pt x="3057" y="1728"/>
                  </a:lnTo>
                  <a:lnTo>
                    <a:pt x="3060" y="1733"/>
                  </a:lnTo>
                  <a:lnTo>
                    <a:pt x="3064" y="1738"/>
                  </a:lnTo>
                  <a:lnTo>
                    <a:pt x="3067" y="1741"/>
                  </a:lnTo>
                  <a:lnTo>
                    <a:pt x="3072" y="1744"/>
                  </a:lnTo>
                  <a:lnTo>
                    <a:pt x="3077" y="1745"/>
                  </a:lnTo>
                  <a:lnTo>
                    <a:pt x="3084" y="1744"/>
                  </a:lnTo>
                  <a:lnTo>
                    <a:pt x="3090" y="1743"/>
                  </a:lnTo>
                  <a:lnTo>
                    <a:pt x="3097" y="1741"/>
                  </a:lnTo>
                  <a:lnTo>
                    <a:pt x="3102" y="1738"/>
                  </a:lnTo>
                  <a:lnTo>
                    <a:pt x="3113" y="1731"/>
                  </a:lnTo>
                  <a:lnTo>
                    <a:pt x="3125" y="1723"/>
                  </a:lnTo>
                  <a:lnTo>
                    <a:pt x="3152" y="1708"/>
                  </a:lnTo>
                  <a:lnTo>
                    <a:pt x="3177" y="1695"/>
                  </a:lnTo>
                  <a:lnTo>
                    <a:pt x="3188" y="1688"/>
                  </a:lnTo>
                  <a:lnTo>
                    <a:pt x="3199" y="1679"/>
                  </a:lnTo>
                  <a:lnTo>
                    <a:pt x="3210" y="1671"/>
                  </a:lnTo>
                  <a:lnTo>
                    <a:pt x="3220" y="1661"/>
                  </a:lnTo>
                  <a:lnTo>
                    <a:pt x="3217" y="1656"/>
                  </a:lnTo>
                  <a:lnTo>
                    <a:pt x="3216" y="1640"/>
                  </a:lnTo>
                  <a:lnTo>
                    <a:pt x="3213" y="1627"/>
                  </a:lnTo>
                  <a:lnTo>
                    <a:pt x="3211" y="1613"/>
                  </a:lnTo>
                  <a:lnTo>
                    <a:pt x="3210" y="1598"/>
                  </a:lnTo>
                  <a:lnTo>
                    <a:pt x="3211" y="1592"/>
                  </a:lnTo>
                  <a:lnTo>
                    <a:pt x="3212" y="1585"/>
                  </a:lnTo>
                  <a:lnTo>
                    <a:pt x="3215" y="1579"/>
                  </a:lnTo>
                  <a:lnTo>
                    <a:pt x="3217" y="1574"/>
                  </a:lnTo>
                  <a:lnTo>
                    <a:pt x="3220" y="1569"/>
                  </a:lnTo>
                  <a:lnTo>
                    <a:pt x="3222" y="1564"/>
                  </a:lnTo>
                  <a:lnTo>
                    <a:pt x="3223" y="1557"/>
                  </a:lnTo>
                  <a:lnTo>
                    <a:pt x="3224" y="1550"/>
                  </a:lnTo>
                  <a:lnTo>
                    <a:pt x="3223" y="1533"/>
                  </a:lnTo>
                  <a:lnTo>
                    <a:pt x="3220" y="1517"/>
                  </a:lnTo>
                  <a:lnTo>
                    <a:pt x="3217" y="1503"/>
                  </a:lnTo>
                  <a:lnTo>
                    <a:pt x="3215" y="1484"/>
                  </a:lnTo>
                  <a:lnTo>
                    <a:pt x="3214" y="1473"/>
                  </a:lnTo>
                  <a:lnTo>
                    <a:pt x="3214" y="1460"/>
                  </a:lnTo>
                  <a:lnTo>
                    <a:pt x="3214" y="1455"/>
                  </a:lnTo>
                  <a:lnTo>
                    <a:pt x="3212" y="1450"/>
                  </a:lnTo>
                  <a:lnTo>
                    <a:pt x="3210" y="1446"/>
                  </a:lnTo>
                  <a:lnTo>
                    <a:pt x="3206" y="1442"/>
                  </a:lnTo>
                  <a:lnTo>
                    <a:pt x="3190" y="1432"/>
                  </a:lnTo>
                  <a:lnTo>
                    <a:pt x="3176" y="1425"/>
                  </a:lnTo>
                  <a:lnTo>
                    <a:pt x="3163" y="1420"/>
                  </a:lnTo>
                  <a:lnTo>
                    <a:pt x="3148" y="1415"/>
                  </a:lnTo>
                  <a:lnTo>
                    <a:pt x="3118" y="1408"/>
                  </a:lnTo>
                  <a:lnTo>
                    <a:pt x="3085" y="1399"/>
                  </a:lnTo>
                  <a:lnTo>
                    <a:pt x="3063" y="1393"/>
                  </a:lnTo>
                  <a:lnTo>
                    <a:pt x="3043" y="1387"/>
                  </a:lnTo>
                  <a:lnTo>
                    <a:pt x="3023" y="1381"/>
                  </a:lnTo>
                  <a:lnTo>
                    <a:pt x="3001" y="1374"/>
                  </a:lnTo>
                  <a:lnTo>
                    <a:pt x="2981" y="1367"/>
                  </a:lnTo>
                  <a:lnTo>
                    <a:pt x="2962" y="1361"/>
                  </a:lnTo>
                  <a:lnTo>
                    <a:pt x="2955" y="1356"/>
                  </a:lnTo>
                  <a:lnTo>
                    <a:pt x="2949" y="1350"/>
                  </a:lnTo>
                  <a:lnTo>
                    <a:pt x="2947" y="1347"/>
                  </a:lnTo>
                  <a:lnTo>
                    <a:pt x="2945" y="1343"/>
                  </a:lnTo>
                  <a:lnTo>
                    <a:pt x="2944" y="1339"/>
                  </a:lnTo>
                  <a:lnTo>
                    <a:pt x="2944" y="1333"/>
                  </a:lnTo>
                  <a:lnTo>
                    <a:pt x="2945" y="1323"/>
                  </a:lnTo>
                  <a:lnTo>
                    <a:pt x="2946" y="1315"/>
                  </a:lnTo>
                  <a:lnTo>
                    <a:pt x="2949" y="1307"/>
                  </a:lnTo>
                  <a:lnTo>
                    <a:pt x="2952" y="1298"/>
                  </a:lnTo>
                  <a:lnTo>
                    <a:pt x="2955" y="1290"/>
                  </a:lnTo>
                  <a:lnTo>
                    <a:pt x="2957" y="1282"/>
                  </a:lnTo>
                  <a:lnTo>
                    <a:pt x="2959" y="1272"/>
                  </a:lnTo>
                  <a:lnTo>
                    <a:pt x="2960" y="1263"/>
                  </a:lnTo>
                  <a:lnTo>
                    <a:pt x="2959" y="1251"/>
                  </a:lnTo>
                  <a:lnTo>
                    <a:pt x="2957" y="1239"/>
                  </a:lnTo>
                  <a:lnTo>
                    <a:pt x="2953" y="1229"/>
                  </a:lnTo>
                  <a:lnTo>
                    <a:pt x="2949" y="1220"/>
                  </a:lnTo>
                  <a:lnTo>
                    <a:pt x="2943" y="1210"/>
                  </a:lnTo>
                  <a:lnTo>
                    <a:pt x="2936" y="1202"/>
                  </a:lnTo>
                  <a:lnTo>
                    <a:pt x="2927" y="1195"/>
                  </a:lnTo>
                  <a:lnTo>
                    <a:pt x="2918" y="1189"/>
                  </a:lnTo>
                  <a:lnTo>
                    <a:pt x="2909" y="1183"/>
                  </a:lnTo>
                  <a:lnTo>
                    <a:pt x="2899" y="1176"/>
                  </a:lnTo>
                  <a:lnTo>
                    <a:pt x="2888" y="1171"/>
                  </a:lnTo>
                  <a:lnTo>
                    <a:pt x="2877" y="1165"/>
                  </a:lnTo>
                  <a:lnTo>
                    <a:pt x="2854" y="1155"/>
                  </a:lnTo>
                  <a:lnTo>
                    <a:pt x="2830" y="1144"/>
                  </a:lnTo>
                  <a:lnTo>
                    <a:pt x="2838" y="1141"/>
                  </a:lnTo>
                  <a:lnTo>
                    <a:pt x="2845" y="1138"/>
                  </a:lnTo>
                  <a:lnTo>
                    <a:pt x="2852" y="1136"/>
                  </a:lnTo>
                  <a:lnTo>
                    <a:pt x="2859" y="1135"/>
                  </a:lnTo>
                  <a:lnTo>
                    <a:pt x="2873" y="1133"/>
                  </a:lnTo>
                  <a:lnTo>
                    <a:pt x="2887" y="1132"/>
                  </a:lnTo>
                  <a:lnTo>
                    <a:pt x="2901" y="1131"/>
                  </a:lnTo>
                  <a:lnTo>
                    <a:pt x="2914" y="1128"/>
                  </a:lnTo>
                  <a:lnTo>
                    <a:pt x="2920" y="1126"/>
                  </a:lnTo>
                  <a:lnTo>
                    <a:pt x="2926" y="1123"/>
                  </a:lnTo>
                  <a:lnTo>
                    <a:pt x="2933" y="1119"/>
                  </a:lnTo>
                  <a:lnTo>
                    <a:pt x="2939" y="1114"/>
                  </a:lnTo>
                  <a:lnTo>
                    <a:pt x="2945" y="1108"/>
                  </a:lnTo>
                  <a:lnTo>
                    <a:pt x="2950" y="1102"/>
                  </a:lnTo>
                  <a:lnTo>
                    <a:pt x="2953" y="1095"/>
                  </a:lnTo>
                  <a:lnTo>
                    <a:pt x="2956" y="1088"/>
                  </a:lnTo>
                  <a:lnTo>
                    <a:pt x="2958" y="1080"/>
                  </a:lnTo>
                  <a:lnTo>
                    <a:pt x="2959" y="1072"/>
                  </a:lnTo>
                  <a:lnTo>
                    <a:pt x="2960" y="1064"/>
                  </a:lnTo>
                  <a:lnTo>
                    <a:pt x="2960" y="1055"/>
                  </a:lnTo>
                  <a:lnTo>
                    <a:pt x="2959" y="1047"/>
                  </a:lnTo>
                  <a:lnTo>
                    <a:pt x="2956" y="1040"/>
                  </a:lnTo>
                  <a:lnTo>
                    <a:pt x="2952" y="1034"/>
                  </a:lnTo>
                  <a:lnTo>
                    <a:pt x="2948" y="1027"/>
                  </a:lnTo>
                  <a:lnTo>
                    <a:pt x="2956" y="1021"/>
                  </a:lnTo>
                  <a:lnTo>
                    <a:pt x="2964" y="1018"/>
                  </a:lnTo>
                  <a:lnTo>
                    <a:pt x="2971" y="1015"/>
                  </a:lnTo>
                  <a:lnTo>
                    <a:pt x="2978" y="1013"/>
                  </a:lnTo>
                  <a:lnTo>
                    <a:pt x="2994" y="1011"/>
                  </a:lnTo>
                  <a:lnTo>
                    <a:pt x="3012" y="1010"/>
                  </a:lnTo>
                  <a:lnTo>
                    <a:pt x="3013" y="998"/>
                  </a:lnTo>
                  <a:lnTo>
                    <a:pt x="3014" y="986"/>
                  </a:lnTo>
                  <a:lnTo>
                    <a:pt x="3014" y="976"/>
                  </a:lnTo>
                  <a:lnTo>
                    <a:pt x="3012" y="967"/>
                  </a:lnTo>
                  <a:lnTo>
                    <a:pt x="3010" y="957"/>
                  </a:lnTo>
                  <a:lnTo>
                    <a:pt x="3006" y="950"/>
                  </a:lnTo>
                  <a:lnTo>
                    <a:pt x="3002" y="942"/>
                  </a:lnTo>
                  <a:lnTo>
                    <a:pt x="2997" y="936"/>
                  </a:lnTo>
                  <a:lnTo>
                    <a:pt x="2990" y="929"/>
                  </a:lnTo>
                  <a:lnTo>
                    <a:pt x="2984" y="922"/>
                  </a:lnTo>
                  <a:lnTo>
                    <a:pt x="2970" y="911"/>
                  </a:lnTo>
                  <a:lnTo>
                    <a:pt x="2954" y="901"/>
                  </a:lnTo>
                  <a:lnTo>
                    <a:pt x="2938" y="889"/>
                  </a:lnTo>
                  <a:lnTo>
                    <a:pt x="2920" y="878"/>
                  </a:lnTo>
                  <a:lnTo>
                    <a:pt x="2892" y="858"/>
                  </a:lnTo>
                  <a:lnTo>
                    <a:pt x="2867" y="840"/>
                  </a:lnTo>
                  <a:lnTo>
                    <a:pt x="2854" y="830"/>
                  </a:lnTo>
                  <a:lnTo>
                    <a:pt x="2843" y="821"/>
                  </a:lnTo>
                  <a:lnTo>
                    <a:pt x="2832" y="811"/>
                  </a:lnTo>
                  <a:lnTo>
                    <a:pt x="2821" y="801"/>
                  </a:lnTo>
                  <a:lnTo>
                    <a:pt x="2812" y="790"/>
                  </a:lnTo>
                  <a:lnTo>
                    <a:pt x="2803" y="780"/>
                  </a:lnTo>
                  <a:lnTo>
                    <a:pt x="2794" y="767"/>
                  </a:lnTo>
                  <a:lnTo>
                    <a:pt x="2786" y="755"/>
                  </a:lnTo>
                  <a:lnTo>
                    <a:pt x="2779" y="742"/>
                  </a:lnTo>
                  <a:lnTo>
                    <a:pt x="2773" y="728"/>
                  </a:lnTo>
                  <a:lnTo>
                    <a:pt x="2768" y="713"/>
                  </a:lnTo>
                  <a:lnTo>
                    <a:pt x="2762" y="696"/>
                  </a:lnTo>
                  <a:lnTo>
                    <a:pt x="2757" y="681"/>
                  </a:lnTo>
                  <a:lnTo>
                    <a:pt x="2751" y="667"/>
                  </a:lnTo>
                  <a:lnTo>
                    <a:pt x="2744" y="656"/>
                  </a:lnTo>
                  <a:lnTo>
                    <a:pt x="2737" y="645"/>
                  </a:lnTo>
                  <a:lnTo>
                    <a:pt x="2728" y="633"/>
                  </a:lnTo>
                  <a:lnTo>
                    <a:pt x="2720" y="622"/>
                  </a:lnTo>
                  <a:lnTo>
                    <a:pt x="2713" y="608"/>
                  </a:lnTo>
                  <a:lnTo>
                    <a:pt x="2706" y="595"/>
                  </a:lnTo>
                  <a:lnTo>
                    <a:pt x="2692" y="564"/>
                  </a:lnTo>
                  <a:lnTo>
                    <a:pt x="2680" y="536"/>
                  </a:lnTo>
                  <a:lnTo>
                    <a:pt x="2670" y="509"/>
                  </a:lnTo>
                  <a:lnTo>
                    <a:pt x="2660" y="483"/>
                  </a:lnTo>
                  <a:lnTo>
                    <a:pt x="2652" y="457"/>
                  </a:lnTo>
                  <a:lnTo>
                    <a:pt x="2645" y="429"/>
                  </a:lnTo>
                  <a:lnTo>
                    <a:pt x="2639" y="399"/>
                  </a:lnTo>
                  <a:lnTo>
                    <a:pt x="2632" y="366"/>
                  </a:lnTo>
                  <a:lnTo>
                    <a:pt x="2618" y="380"/>
                  </a:lnTo>
                  <a:lnTo>
                    <a:pt x="2606" y="395"/>
                  </a:lnTo>
                  <a:lnTo>
                    <a:pt x="2595" y="409"/>
                  </a:lnTo>
                  <a:lnTo>
                    <a:pt x="2585" y="427"/>
                  </a:lnTo>
                  <a:lnTo>
                    <a:pt x="2582" y="436"/>
                  </a:lnTo>
                  <a:lnTo>
                    <a:pt x="2579" y="444"/>
                  </a:lnTo>
                  <a:lnTo>
                    <a:pt x="2577" y="447"/>
                  </a:lnTo>
                  <a:lnTo>
                    <a:pt x="2574" y="450"/>
                  </a:lnTo>
                  <a:lnTo>
                    <a:pt x="2571" y="453"/>
                  </a:lnTo>
                  <a:lnTo>
                    <a:pt x="2566" y="453"/>
                  </a:lnTo>
                  <a:lnTo>
                    <a:pt x="2561" y="453"/>
                  </a:lnTo>
                  <a:lnTo>
                    <a:pt x="2556" y="451"/>
                  </a:lnTo>
                  <a:lnTo>
                    <a:pt x="2551" y="449"/>
                  </a:lnTo>
                  <a:lnTo>
                    <a:pt x="2548" y="446"/>
                  </a:lnTo>
                  <a:lnTo>
                    <a:pt x="2541" y="440"/>
                  </a:lnTo>
                  <a:lnTo>
                    <a:pt x="2535" y="431"/>
                  </a:lnTo>
                  <a:lnTo>
                    <a:pt x="2529" y="422"/>
                  </a:lnTo>
                  <a:lnTo>
                    <a:pt x="2523" y="412"/>
                  </a:lnTo>
                  <a:lnTo>
                    <a:pt x="2520" y="408"/>
                  </a:lnTo>
                  <a:lnTo>
                    <a:pt x="2516" y="404"/>
                  </a:lnTo>
                  <a:lnTo>
                    <a:pt x="2512" y="400"/>
                  </a:lnTo>
                  <a:lnTo>
                    <a:pt x="2508" y="397"/>
                  </a:lnTo>
                  <a:lnTo>
                    <a:pt x="2503" y="393"/>
                  </a:lnTo>
                  <a:lnTo>
                    <a:pt x="2498" y="388"/>
                  </a:lnTo>
                  <a:lnTo>
                    <a:pt x="2494" y="384"/>
                  </a:lnTo>
                  <a:lnTo>
                    <a:pt x="2490" y="380"/>
                  </a:lnTo>
                  <a:lnTo>
                    <a:pt x="2485" y="370"/>
                  </a:lnTo>
                  <a:lnTo>
                    <a:pt x="2481" y="360"/>
                  </a:lnTo>
                  <a:lnTo>
                    <a:pt x="2479" y="348"/>
                  </a:lnTo>
                  <a:lnTo>
                    <a:pt x="2477" y="337"/>
                  </a:lnTo>
                  <a:lnTo>
                    <a:pt x="2476" y="324"/>
                  </a:lnTo>
                  <a:lnTo>
                    <a:pt x="2475" y="311"/>
                  </a:lnTo>
                  <a:lnTo>
                    <a:pt x="2472" y="290"/>
                  </a:lnTo>
                  <a:lnTo>
                    <a:pt x="2467" y="272"/>
                  </a:lnTo>
                  <a:lnTo>
                    <a:pt x="2465" y="263"/>
                  </a:lnTo>
                  <a:lnTo>
                    <a:pt x="2463" y="253"/>
                  </a:lnTo>
                  <a:lnTo>
                    <a:pt x="2462" y="243"/>
                  </a:lnTo>
                  <a:lnTo>
                    <a:pt x="2461" y="232"/>
                  </a:lnTo>
                  <a:lnTo>
                    <a:pt x="2461" y="179"/>
                  </a:lnTo>
                  <a:lnTo>
                    <a:pt x="2461" y="169"/>
                  </a:lnTo>
                  <a:lnTo>
                    <a:pt x="2461" y="160"/>
                  </a:lnTo>
                  <a:lnTo>
                    <a:pt x="2461" y="151"/>
                  </a:lnTo>
                  <a:lnTo>
                    <a:pt x="2460" y="142"/>
                  </a:lnTo>
                  <a:lnTo>
                    <a:pt x="2449" y="144"/>
                  </a:lnTo>
                  <a:lnTo>
                    <a:pt x="2437" y="146"/>
                  </a:lnTo>
                  <a:lnTo>
                    <a:pt x="2409" y="139"/>
                  </a:lnTo>
                  <a:lnTo>
                    <a:pt x="2392" y="143"/>
                  </a:lnTo>
                  <a:lnTo>
                    <a:pt x="2378" y="145"/>
                  </a:lnTo>
                  <a:lnTo>
                    <a:pt x="2363" y="146"/>
                  </a:lnTo>
                  <a:lnTo>
                    <a:pt x="2347" y="146"/>
                  </a:lnTo>
                  <a:lnTo>
                    <a:pt x="2330" y="146"/>
                  </a:lnTo>
                  <a:lnTo>
                    <a:pt x="2316" y="145"/>
                  </a:lnTo>
                  <a:lnTo>
                    <a:pt x="2300" y="144"/>
                  </a:lnTo>
                  <a:lnTo>
                    <a:pt x="2284" y="144"/>
                  </a:lnTo>
                  <a:lnTo>
                    <a:pt x="2262" y="144"/>
                  </a:lnTo>
                  <a:lnTo>
                    <a:pt x="2242" y="144"/>
                  </a:lnTo>
                  <a:lnTo>
                    <a:pt x="2222" y="143"/>
                  </a:lnTo>
                  <a:lnTo>
                    <a:pt x="2203" y="141"/>
                  </a:lnTo>
                  <a:lnTo>
                    <a:pt x="2185" y="139"/>
                  </a:lnTo>
                  <a:lnTo>
                    <a:pt x="2166" y="134"/>
                  </a:lnTo>
                  <a:lnTo>
                    <a:pt x="2147" y="129"/>
                  </a:lnTo>
                  <a:lnTo>
                    <a:pt x="2126" y="122"/>
                  </a:lnTo>
                  <a:lnTo>
                    <a:pt x="2118" y="119"/>
                  </a:lnTo>
                  <a:lnTo>
                    <a:pt x="2112" y="114"/>
                  </a:lnTo>
                  <a:lnTo>
                    <a:pt x="2109" y="112"/>
                  </a:lnTo>
                  <a:lnTo>
                    <a:pt x="2106" y="110"/>
                  </a:lnTo>
                  <a:lnTo>
                    <a:pt x="2101" y="109"/>
                  </a:lnTo>
                  <a:lnTo>
                    <a:pt x="2097" y="109"/>
                  </a:lnTo>
                  <a:lnTo>
                    <a:pt x="2088" y="109"/>
                  </a:lnTo>
                  <a:lnTo>
                    <a:pt x="2080" y="111"/>
                  </a:lnTo>
                  <a:lnTo>
                    <a:pt x="2071" y="113"/>
                  </a:lnTo>
                  <a:lnTo>
                    <a:pt x="2063" y="117"/>
                  </a:lnTo>
                  <a:lnTo>
                    <a:pt x="2050" y="125"/>
                  </a:lnTo>
                  <a:lnTo>
                    <a:pt x="2036" y="134"/>
                  </a:lnTo>
                  <a:lnTo>
                    <a:pt x="2023" y="144"/>
                  </a:lnTo>
                  <a:lnTo>
                    <a:pt x="2009" y="152"/>
                  </a:lnTo>
                  <a:lnTo>
                    <a:pt x="2001" y="155"/>
                  </a:lnTo>
                  <a:lnTo>
                    <a:pt x="1993" y="158"/>
                  </a:lnTo>
                  <a:lnTo>
                    <a:pt x="1984" y="159"/>
                  </a:lnTo>
                  <a:lnTo>
                    <a:pt x="1975" y="160"/>
                  </a:lnTo>
                  <a:lnTo>
                    <a:pt x="1967" y="160"/>
                  </a:lnTo>
                  <a:lnTo>
                    <a:pt x="1961" y="158"/>
                  </a:lnTo>
                  <a:lnTo>
                    <a:pt x="1955" y="156"/>
                  </a:lnTo>
                  <a:lnTo>
                    <a:pt x="1949" y="154"/>
                  </a:lnTo>
                  <a:lnTo>
                    <a:pt x="1938" y="147"/>
                  </a:lnTo>
                  <a:lnTo>
                    <a:pt x="1930" y="139"/>
                  </a:lnTo>
                  <a:lnTo>
                    <a:pt x="1913" y="118"/>
                  </a:lnTo>
                  <a:lnTo>
                    <a:pt x="1892" y="96"/>
                  </a:lnTo>
                  <a:lnTo>
                    <a:pt x="1865" y="72"/>
                  </a:lnTo>
                  <a:lnTo>
                    <a:pt x="1844" y="50"/>
                  </a:lnTo>
                  <a:lnTo>
                    <a:pt x="1821" y="26"/>
                  </a:lnTo>
                  <a:lnTo>
                    <a:pt x="1796" y="0"/>
                  </a:lnTo>
                  <a:lnTo>
                    <a:pt x="1790" y="4"/>
                  </a:lnTo>
                  <a:lnTo>
                    <a:pt x="1785" y="10"/>
                  </a:lnTo>
                  <a:lnTo>
                    <a:pt x="1781" y="14"/>
                  </a:lnTo>
                  <a:lnTo>
                    <a:pt x="1777" y="19"/>
                  </a:lnTo>
                  <a:lnTo>
                    <a:pt x="1769" y="30"/>
                  </a:lnTo>
                  <a:lnTo>
                    <a:pt x="1764" y="42"/>
                  </a:lnTo>
                  <a:lnTo>
                    <a:pt x="1756" y="66"/>
                  </a:lnTo>
                  <a:lnTo>
                    <a:pt x="1749" y="94"/>
                  </a:lnTo>
                  <a:lnTo>
                    <a:pt x="1747" y="98"/>
                  </a:lnTo>
                  <a:lnTo>
                    <a:pt x="1745" y="102"/>
                  </a:lnTo>
                  <a:lnTo>
                    <a:pt x="1743" y="106"/>
                  </a:lnTo>
                  <a:lnTo>
                    <a:pt x="1739" y="109"/>
                  </a:lnTo>
                  <a:lnTo>
                    <a:pt x="1733" y="113"/>
                  </a:lnTo>
                  <a:lnTo>
                    <a:pt x="1726" y="117"/>
                  </a:lnTo>
                  <a:lnTo>
                    <a:pt x="1710" y="122"/>
                  </a:lnTo>
                  <a:lnTo>
                    <a:pt x="1692" y="129"/>
                  </a:lnTo>
                  <a:lnTo>
                    <a:pt x="1686" y="133"/>
                  </a:lnTo>
                  <a:lnTo>
                    <a:pt x="1681" y="138"/>
                  </a:lnTo>
                  <a:lnTo>
                    <a:pt x="1677" y="143"/>
                  </a:lnTo>
                  <a:lnTo>
                    <a:pt x="1671" y="147"/>
                  </a:lnTo>
                  <a:lnTo>
                    <a:pt x="1667" y="151"/>
                  </a:lnTo>
                  <a:lnTo>
                    <a:pt x="1662" y="155"/>
                  </a:lnTo>
                  <a:lnTo>
                    <a:pt x="1656" y="157"/>
                  </a:lnTo>
                  <a:lnTo>
                    <a:pt x="1650" y="158"/>
                  </a:lnTo>
                  <a:lnTo>
                    <a:pt x="1642" y="157"/>
                  </a:lnTo>
                  <a:lnTo>
                    <a:pt x="1637" y="155"/>
                  </a:lnTo>
                  <a:lnTo>
                    <a:pt x="1632" y="151"/>
                  </a:lnTo>
                  <a:lnTo>
                    <a:pt x="1628" y="146"/>
                  </a:lnTo>
                  <a:lnTo>
                    <a:pt x="1622" y="134"/>
                  </a:lnTo>
                  <a:lnTo>
                    <a:pt x="1617" y="120"/>
                  </a:lnTo>
                  <a:lnTo>
                    <a:pt x="1611" y="107"/>
                  </a:lnTo>
                  <a:lnTo>
                    <a:pt x="1604" y="94"/>
                  </a:lnTo>
                  <a:lnTo>
                    <a:pt x="1600" y="89"/>
                  </a:lnTo>
                  <a:lnTo>
                    <a:pt x="1595" y="86"/>
                  </a:lnTo>
                  <a:lnTo>
                    <a:pt x="1590" y="83"/>
                  </a:lnTo>
                  <a:lnTo>
                    <a:pt x="1583" y="83"/>
                  </a:lnTo>
                  <a:lnTo>
                    <a:pt x="1528" y="83"/>
                  </a:lnTo>
                  <a:lnTo>
                    <a:pt x="1496" y="82"/>
                  </a:lnTo>
                  <a:lnTo>
                    <a:pt x="1468" y="81"/>
                  </a:lnTo>
                  <a:lnTo>
                    <a:pt x="1455" y="79"/>
                  </a:lnTo>
                  <a:lnTo>
                    <a:pt x="1440" y="77"/>
                  </a:lnTo>
                  <a:lnTo>
                    <a:pt x="1426" y="75"/>
                  </a:lnTo>
                  <a:lnTo>
                    <a:pt x="1409" y="70"/>
                  </a:lnTo>
                  <a:close/>
                </a:path>
              </a:pathLst>
            </a:custGeom>
            <a:grpFill/>
            <a:ln w="12700">
              <a:solidFill>
                <a:srgbClr val="7D7D7D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675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3260" y="3455"/>
              <a:ext cx="120" cy="17"/>
            </a:xfrm>
            <a:custGeom>
              <a:avLst/>
              <a:gdLst>
                <a:gd name="T0" fmla="*/ 431 w 393"/>
                <a:gd name="T1" fmla="*/ 399 h 56"/>
                <a:gd name="T2" fmla="*/ 431 w 393"/>
                <a:gd name="T3" fmla="*/ 399 h 56"/>
                <a:gd name="T4" fmla="*/ 431 w 393"/>
                <a:gd name="T5" fmla="*/ 399 h 56"/>
                <a:gd name="T6" fmla="*/ 431 w 393"/>
                <a:gd name="T7" fmla="*/ 399 h 56"/>
                <a:gd name="T8" fmla="*/ 431 w 393"/>
                <a:gd name="T9" fmla="*/ 399 h 56"/>
                <a:gd name="T10" fmla="*/ 431 w 393"/>
                <a:gd name="T11" fmla="*/ 399 h 56"/>
                <a:gd name="T12" fmla="*/ 431 w 393"/>
                <a:gd name="T13" fmla="*/ 399 h 56"/>
                <a:gd name="T14" fmla="*/ 431 w 393"/>
                <a:gd name="T15" fmla="*/ 399 h 56"/>
                <a:gd name="T16" fmla="*/ 431 w 393"/>
                <a:gd name="T17" fmla="*/ 399 h 56"/>
                <a:gd name="T18" fmla="*/ 431 w 393"/>
                <a:gd name="T19" fmla="*/ 399 h 56"/>
                <a:gd name="T20" fmla="*/ 431 w 393"/>
                <a:gd name="T21" fmla="*/ 399 h 56"/>
                <a:gd name="T22" fmla="*/ 431 w 393"/>
                <a:gd name="T23" fmla="*/ 399 h 56"/>
                <a:gd name="T24" fmla="*/ 431 w 393"/>
                <a:gd name="T25" fmla="*/ 399 h 56"/>
                <a:gd name="T26" fmla="*/ 431 w 393"/>
                <a:gd name="T27" fmla="*/ 399 h 56"/>
                <a:gd name="T28" fmla="*/ 431 w 393"/>
                <a:gd name="T29" fmla="*/ 399 h 56"/>
                <a:gd name="T30" fmla="*/ 431 w 393"/>
                <a:gd name="T31" fmla="*/ 399 h 56"/>
                <a:gd name="T32" fmla="*/ 431 w 393"/>
                <a:gd name="T33" fmla="*/ 399 h 56"/>
                <a:gd name="T34" fmla="*/ 431 w 393"/>
                <a:gd name="T35" fmla="*/ 399 h 56"/>
                <a:gd name="T36" fmla="*/ 431 w 393"/>
                <a:gd name="T37" fmla="*/ 399 h 56"/>
                <a:gd name="T38" fmla="*/ 431 w 393"/>
                <a:gd name="T39" fmla="*/ 399 h 56"/>
                <a:gd name="T40" fmla="*/ 431 w 393"/>
                <a:gd name="T41" fmla="*/ 399 h 56"/>
                <a:gd name="T42" fmla="*/ 431 w 393"/>
                <a:gd name="T43" fmla="*/ 399 h 56"/>
                <a:gd name="T44" fmla="*/ 431 w 393"/>
                <a:gd name="T45" fmla="*/ 399 h 56"/>
                <a:gd name="T46" fmla="*/ 431 w 393"/>
                <a:gd name="T47" fmla="*/ 399 h 56"/>
                <a:gd name="T48" fmla="*/ 431 w 393"/>
                <a:gd name="T49" fmla="*/ 399 h 56"/>
                <a:gd name="T50" fmla="*/ 431 w 393"/>
                <a:gd name="T51" fmla="*/ 399 h 56"/>
                <a:gd name="T52" fmla="*/ 431 w 393"/>
                <a:gd name="T53" fmla="*/ 399 h 56"/>
                <a:gd name="T54" fmla="*/ 431 w 393"/>
                <a:gd name="T55" fmla="*/ 399 h 56"/>
                <a:gd name="T56" fmla="*/ 431 w 393"/>
                <a:gd name="T57" fmla="*/ 399 h 56"/>
                <a:gd name="T58" fmla="*/ 431 w 393"/>
                <a:gd name="T59" fmla="*/ 399 h 56"/>
                <a:gd name="T60" fmla="*/ 431 w 393"/>
                <a:gd name="T61" fmla="*/ 399 h 56"/>
                <a:gd name="T62" fmla="*/ 431 w 393"/>
                <a:gd name="T63" fmla="*/ 399 h 56"/>
                <a:gd name="T64" fmla="*/ 431 w 393"/>
                <a:gd name="T65" fmla="*/ 399 h 56"/>
                <a:gd name="T66" fmla="*/ 431 w 393"/>
                <a:gd name="T67" fmla="*/ 399 h 56"/>
                <a:gd name="T68" fmla="*/ 431 w 393"/>
                <a:gd name="T69" fmla="*/ 399 h 56"/>
                <a:gd name="T70" fmla="*/ 431 w 393"/>
                <a:gd name="T71" fmla="*/ 399 h 56"/>
                <a:gd name="T72" fmla="*/ 431 w 393"/>
                <a:gd name="T73" fmla="*/ 399 h 56"/>
                <a:gd name="T74" fmla="*/ 431 w 393"/>
                <a:gd name="T75" fmla="*/ 399 h 56"/>
                <a:gd name="T76" fmla="*/ 431 w 393"/>
                <a:gd name="T77" fmla="*/ 399 h 56"/>
                <a:gd name="T78" fmla="*/ 431 w 393"/>
                <a:gd name="T79" fmla="*/ 399 h 56"/>
                <a:gd name="T80" fmla="*/ 431 w 393"/>
                <a:gd name="T81" fmla="*/ 399 h 56"/>
                <a:gd name="T82" fmla="*/ 431 w 393"/>
                <a:gd name="T83" fmla="*/ 399 h 56"/>
                <a:gd name="T84" fmla="*/ 431 w 393"/>
                <a:gd name="T85" fmla="*/ 0 h 56"/>
                <a:gd name="T86" fmla="*/ 431 w 393"/>
                <a:gd name="T87" fmla="*/ 399 h 56"/>
                <a:gd name="T88" fmla="*/ 431 w 393"/>
                <a:gd name="T89" fmla="*/ 399 h 56"/>
                <a:gd name="T90" fmla="*/ 0 w 393"/>
                <a:gd name="T91" fmla="*/ 399 h 5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93"/>
                <a:gd name="T139" fmla="*/ 0 h 56"/>
                <a:gd name="T140" fmla="*/ 393 w 393"/>
                <a:gd name="T141" fmla="*/ 56 h 5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93" h="56">
                  <a:moveTo>
                    <a:pt x="0" y="23"/>
                  </a:moveTo>
                  <a:lnTo>
                    <a:pt x="18" y="28"/>
                  </a:lnTo>
                  <a:lnTo>
                    <a:pt x="36" y="33"/>
                  </a:lnTo>
                  <a:lnTo>
                    <a:pt x="52" y="35"/>
                  </a:lnTo>
                  <a:lnTo>
                    <a:pt x="72" y="35"/>
                  </a:lnTo>
                  <a:lnTo>
                    <a:pt x="95" y="35"/>
                  </a:lnTo>
                  <a:lnTo>
                    <a:pt x="116" y="36"/>
                  </a:lnTo>
                  <a:lnTo>
                    <a:pt x="137" y="36"/>
                  </a:lnTo>
                  <a:lnTo>
                    <a:pt x="159" y="36"/>
                  </a:lnTo>
                  <a:lnTo>
                    <a:pt x="172" y="37"/>
                  </a:lnTo>
                  <a:lnTo>
                    <a:pt x="182" y="38"/>
                  </a:lnTo>
                  <a:lnTo>
                    <a:pt x="192" y="40"/>
                  </a:lnTo>
                  <a:lnTo>
                    <a:pt x="202" y="42"/>
                  </a:lnTo>
                  <a:lnTo>
                    <a:pt x="221" y="47"/>
                  </a:lnTo>
                  <a:lnTo>
                    <a:pt x="244" y="51"/>
                  </a:lnTo>
                  <a:lnTo>
                    <a:pt x="278" y="53"/>
                  </a:lnTo>
                  <a:lnTo>
                    <a:pt x="308" y="54"/>
                  </a:lnTo>
                  <a:lnTo>
                    <a:pt x="338" y="55"/>
                  </a:lnTo>
                  <a:lnTo>
                    <a:pt x="372" y="56"/>
                  </a:lnTo>
                  <a:lnTo>
                    <a:pt x="379" y="55"/>
                  </a:lnTo>
                  <a:lnTo>
                    <a:pt x="386" y="54"/>
                  </a:lnTo>
                  <a:lnTo>
                    <a:pt x="389" y="53"/>
                  </a:lnTo>
                  <a:lnTo>
                    <a:pt x="391" y="52"/>
                  </a:lnTo>
                  <a:lnTo>
                    <a:pt x="392" y="49"/>
                  </a:lnTo>
                  <a:lnTo>
                    <a:pt x="393" y="46"/>
                  </a:lnTo>
                  <a:lnTo>
                    <a:pt x="392" y="42"/>
                  </a:lnTo>
                  <a:lnTo>
                    <a:pt x="390" y="39"/>
                  </a:lnTo>
                  <a:lnTo>
                    <a:pt x="387" y="37"/>
                  </a:lnTo>
                  <a:lnTo>
                    <a:pt x="383" y="35"/>
                  </a:lnTo>
                  <a:lnTo>
                    <a:pt x="374" y="33"/>
                  </a:lnTo>
                  <a:lnTo>
                    <a:pt x="364" y="33"/>
                  </a:lnTo>
                  <a:lnTo>
                    <a:pt x="352" y="35"/>
                  </a:lnTo>
                  <a:lnTo>
                    <a:pt x="342" y="37"/>
                  </a:lnTo>
                  <a:lnTo>
                    <a:pt x="338" y="37"/>
                  </a:lnTo>
                  <a:lnTo>
                    <a:pt x="336" y="36"/>
                  </a:lnTo>
                  <a:lnTo>
                    <a:pt x="333" y="35"/>
                  </a:lnTo>
                  <a:lnTo>
                    <a:pt x="331" y="33"/>
                  </a:lnTo>
                  <a:lnTo>
                    <a:pt x="325" y="28"/>
                  </a:lnTo>
                  <a:lnTo>
                    <a:pt x="322" y="23"/>
                  </a:lnTo>
                  <a:lnTo>
                    <a:pt x="318" y="18"/>
                  </a:lnTo>
                  <a:lnTo>
                    <a:pt x="314" y="13"/>
                  </a:lnTo>
                  <a:lnTo>
                    <a:pt x="312" y="11"/>
                  </a:lnTo>
                  <a:lnTo>
                    <a:pt x="309" y="10"/>
                  </a:lnTo>
                  <a:lnTo>
                    <a:pt x="306" y="9"/>
                  </a:lnTo>
                  <a:lnTo>
                    <a:pt x="303" y="9"/>
                  </a:lnTo>
                  <a:lnTo>
                    <a:pt x="300" y="9"/>
                  </a:lnTo>
                  <a:lnTo>
                    <a:pt x="297" y="11"/>
                  </a:lnTo>
                  <a:lnTo>
                    <a:pt x="296" y="13"/>
                  </a:lnTo>
                  <a:lnTo>
                    <a:pt x="293" y="15"/>
                  </a:lnTo>
                  <a:lnTo>
                    <a:pt x="289" y="21"/>
                  </a:lnTo>
                  <a:lnTo>
                    <a:pt x="285" y="25"/>
                  </a:lnTo>
                  <a:lnTo>
                    <a:pt x="278" y="28"/>
                  </a:lnTo>
                  <a:lnTo>
                    <a:pt x="272" y="30"/>
                  </a:lnTo>
                  <a:lnTo>
                    <a:pt x="266" y="31"/>
                  </a:lnTo>
                  <a:lnTo>
                    <a:pt x="257" y="33"/>
                  </a:lnTo>
                  <a:lnTo>
                    <a:pt x="254" y="31"/>
                  </a:lnTo>
                  <a:lnTo>
                    <a:pt x="252" y="31"/>
                  </a:lnTo>
                  <a:lnTo>
                    <a:pt x="249" y="29"/>
                  </a:lnTo>
                  <a:lnTo>
                    <a:pt x="247" y="28"/>
                  </a:lnTo>
                  <a:lnTo>
                    <a:pt x="244" y="23"/>
                  </a:lnTo>
                  <a:lnTo>
                    <a:pt x="240" y="19"/>
                  </a:lnTo>
                  <a:lnTo>
                    <a:pt x="237" y="14"/>
                  </a:lnTo>
                  <a:lnTo>
                    <a:pt x="233" y="10"/>
                  </a:lnTo>
                  <a:lnTo>
                    <a:pt x="231" y="8"/>
                  </a:lnTo>
                  <a:lnTo>
                    <a:pt x="228" y="7"/>
                  </a:lnTo>
                  <a:lnTo>
                    <a:pt x="225" y="6"/>
                  </a:lnTo>
                  <a:lnTo>
                    <a:pt x="222" y="5"/>
                  </a:lnTo>
                  <a:lnTo>
                    <a:pt x="217" y="6"/>
                  </a:lnTo>
                  <a:lnTo>
                    <a:pt x="213" y="8"/>
                  </a:lnTo>
                  <a:lnTo>
                    <a:pt x="209" y="10"/>
                  </a:lnTo>
                  <a:lnTo>
                    <a:pt x="206" y="12"/>
                  </a:lnTo>
                  <a:lnTo>
                    <a:pt x="202" y="15"/>
                  </a:lnTo>
                  <a:lnTo>
                    <a:pt x="198" y="17"/>
                  </a:lnTo>
                  <a:lnTo>
                    <a:pt x="193" y="19"/>
                  </a:lnTo>
                  <a:lnTo>
                    <a:pt x="188" y="19"/>
                  </a:lnTo>
                  <a:lnTo>
                    <a:pt x="171" y="18"/>
                  </a:lnTo>
                  <a:lnTo>
                    <a:pt x="154" y="16"/>
                  </a:lnTo>
                  <a:lnTo>
                    <a:pt x="139" y="13"/>
                  </a:lnTo>
                  <a:lnTo>
                    <a:pt x="121" y="12"/>
                  </a:lnTo>
                  <a:lnTo>
                    <a:pt x="78" y="12"/>
                  </a:lnTo>
                  <a:lnTo>
                    <a:pt x="67" y="11"/>
                  </a:lnTo>
                  <a:lnTo>
                    <a:pt x="57" y="9"/>
                  </a:lnTo>
                  <a:lnTo>
                    <a:pt x="47" y="5"/>
                  </a:lnTo>
                  <a:lnTo>
                    <a:pt x="37" y="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9" y="8"/>
                  </a:lnTo>
                  <a:lnTo>
                    <a:pt x="6" y="12"/>
                  </a:lnTo>
                  <a:lnTo>
                    <a:pt x="2" y="17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12700">
              <a:solidFill>
                <a:srgbClr val="7D7D7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675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2953" y="3345"/>
              <a:ext cx="181" cy="75"/>
            </a:xfrm>
            <a:custGeom>
              <a:avLst/>
              <a:gdLst>
                <a:gd name="T0" fmla="*/ 330 w 605"/>
                <a:gd name="T1" fmla="*/ 0 h 292"/>
                <a:gd name="T2" fmla="*/ 330 w 605"/>
                <a:gd name="T3" fmla="*/ 45 h 292"/>
                <a:gd name="T4" fmla="*/ 0 w 605"/>
                <a:gd name="T5" fmla="*/ 45 h 292"/>
                <a:gd name="T6" fmla="*/ 0 w 605"/>
                <a:gd name="T7" fmla="*/ 45 h 292"/>
                <a:gd name="T8" fmla="*/ 330 w 605"/>
                <a:gd name="T9" fmla="*/ 45 h 292"/>
                <a:gd name="T10" fmla="*/ 330 w 605"/>
                <a:gd name="T11" fmla="*/ 45 h 292"/>
                <a:gd name="T12" fmla="*/ 330 w 605"/>
                <a:gd name="T13" fmla="*/ 45 h 292"/>
                <a:gd name="T14" fmla="*/ 330 w 605"/>
                <a:gd name="T15" fmla="*/ 45 h 292"/>
                <a:gd name="T16" fmla="*/ 330 w 605"/>
                <a:gd name="T17" fmla="*/ 45 h 292"/>
                <a:gd name="T18" fmla="*/ 330 w 605"/>
                <a:gd name="T19" fmla="*/ 45 h 292"/>
                <a:gd name="T20" fmla="*/ 330 w 605"/>
                <a:gd name="T21" fmla="*/ 45 h 292"/>
                <a:gd name="T22" fmla="*/ 330 w 605"/>
                <a:gd name="T23" fmla="*/ 45 h 292"/>
                <a:gd name="T24" fmla="*/ 330 w 605"/>
                <a:gd name="T25" fmla="*/ 45 h 292"/>
                <a:gd name="T26" fmla="*/ 330 w 605"/>
                <a:gd name="T27" fmla="*/ 45 h 292"/>
                <a:gd name="T28" fmla="*/ 330 w 605"/>
                <a:gd name="T29" fmla="*/ 45 h 292"/>
                <a:gd name="T30" fmla="*/ 330 w 605"/>
                <a:gd name="T31" fmla="*/ 45 h 292"/>
                <a:gd name="T32" fmla="*/ 330 w 605"/>
                <a:gd name="T33" fmla="*/ 45 h 292"/>
                <a:gd name="T34" fmla="*/ 330 w 605"/>
                <a:gd name="T35" fmla="*/ 45 h 292"/>
                <a:gd name="T36" fmla="*/ 330 w 605"/>
                <a:gd name="T37" fmla="*/ 45 h 292"/>
                <a:gd name="T38" fmla="*/ 330 w 605"/>
                <a:gd name="T39" fmla="*/ 45 h 292"/>
                <a:gd name="T40" fmla="*/ 330 w 605"/>
                <a:gd name="T41" fmla="*/ 45 h 292"/>
                <a:gd name="T42" fmla="*/ 330 w 605"/>
                <a:gd name="T43" fmla="*/ 45 h 292"/>
                <a:gd name="T44" fmla="*/ 330 w 605"/>
                <a:gd name="T45" fmla="*/ 45 h 292"/>
                <a:gd name="T46" fmla="*/ 330 w 605"/>
                <a:gd name="T47" fmla="*/ 45 h 292"/>
                <a:gd name="T48" fmla="*/ 330 w 605"/>
                <a:gd name="T49" fmla="*/ 45 h 292"/>
                <a:gd name="T50" fmla="*/ 330 w 605"/>
                <a:gd name="T51" fmla="*/ 45 h 292"/>
                <a:gd name="T52" fmla="*/ 330 w 605"/>
                <a:gd name="T53" fmla="*/ 45 h 292"/>
                <a:gd name="T54" fmla="*/ 330 w 605"/>
                <a:gd name="T55" fmla="*/ 45 h 292"/>
                <a:gd name="T56" fmla="*/ 330 w 605"/>
                <a:gd name="T57" fmla="*/ 45 h 292"/>
                <a:gd name="T58" fmla="*/ 330 w 605"/>
                <a:gd name="T59" fmla="*/ 45 h 292"/>
                <a:gd name="T60" fmla="*/ 330 w 605"/>
                <a:gd name="T61" fmla="*/ 45 h 292"/>
                <a:gd name="T62" fmla="*/ 330 w 605"/>
                <a:gd name="T63" fmla="*/ 45 h 292"/>
                <a:gd name="T64" fmla="*/ 330 w 605"/>
                <a:gd name="T65" fmla="*/ 45 h 292"/>
                <a:gd name="T66" fmla="*/ 330 w 605"/>
                <a:gd name="T67" fmla="*/ 45 h 292"/>
                <a:gd name="T68" fmla="*/ 330 w 605"/>
                <a:gd name="T69" fmla="*/ 45 h 292"/>
                <a:gd name="T70" fmla="*/ 330 w 605"/>
                <a:gd name="T71" fmla="*/ 45 h 292"/>
                <a:gd name="T72" fmla="*/ 330 w 605"/>
                <a:gd name="T73" fmla="*/ 45 h 292"/>
                <a:gd name="T74" fmla="*/ 330 w 605"/>
                <a:gd name="T75" fmla="*/ 45 h 292"/>
                <a:gd name="T76" fmla="*/ 330 w 605"/>
                <a:gd name="T77" fmla="*/ 45 h 292"/>
                <a:gd name="T78" fmla="*/ 330 w 605"/>
                <a:gd name="T79" fmla="*/ 45 h 292"/>
                <a:gd name="T80" fmla="*/ 330 w 605"/>
                <a:gd name="T81" fmla="*/ 45 h 292"/>
                <a:gd name="T82" fmla="*/ 330 w 605"/>
                <a:gd name="T83" fmla="*/ 45 h 292"/>
                <a:gd name="T84" fmla="*/ 330 w 605"/>
                <a:gd name="T85" fmla="*/ 45 h 292"/>
                <a:gd name="T86" fmla="*/ 330 w 605"/>
                <a:gd name="T87" fmla="*/ 45 h 292"/>
                <a:gd name="T88" fmla="*/ 330 w 605"/>
                <a:gd name="T89" fmla="*/ 45 h 292"/>
                <a:gd name="T90" fmla="*/ 330 w 605"/>
                <a:gd name="T91" fmla="*/ 45 h 292"/>
                <a:gd name="T92" fmla="*/ 330 w 605"/>
                <a:gd name="T93" fmla="*/ 45 h 29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05"/>
                <a:gd name="T142" fmla="*/ 0 h 292"/>
                <a:gd name="T143" fmla="*/ 605 w 605"/>
                <a:gd name="T144" fmla="*/ 292 h 29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05" h="292">
                  <a:moveTo>
                    <a:pt x="11" y="0"/>
                  </a:moveTo>
                  <a:lnTo>
                    <a:pt x="8" y="0"/>
                  </a:lnTo>
                  <a:lnTo>
                    <a:pt x="6" y="1"/>
                  </a:lnTo>
                  <a:lnTo>
                    <a:pt x="4" y="3"/>
                  </a:lnTo>
                  <a:lnTo>
                    <a:pt x="3" y="4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4"/>
                  </a:lnTo>
                  <a:lnTo>
                    <a:pt x="2" y="31"/>
                  </a:lnTo>
                  <a:lnTo>
                    <a:pt x="4" y="38"/>
                  </a:lnTo>
                  <a:lnTo>
                    <a:pt x="8" y="46"/>
                  </a:lnTo>
                  <a:lnTo>
                    <a:pt x="16" y="59"/>
                  </a:lnTo>
                  <a:lnTo>
                    <a:pt x="24" y="75"/>
                  </a:lnTo>
                  <a:lnTo>
                    <a:pt x="31" y="94"/>
                  </a:lnTo>
                  <a:lnTo>
                    <a:pt x="37" y="112"/>
                  </a:lnTo>
                  <a:lnTo>
                    <a:pt x="40" y="120"/>
                  </a:lnTo>
                  <a:lnTo>
                    <a:pt x="44" y="128"/>
                  </a:lnTo>
                  <a:lnTo>
                    <a:pt x="50" y="136"/>
                  </a:lnTo>
                  <a:lnTo>
                    <a:pt x="58" y="142"/>
                  </a:lnTo>
                  <a:lnTo>
                    <a:pt x="69" y="148"/>
                  </a:lnTo>
                  <a:lnTo>
                    <a:pt x="79" y="153"/>
                  </a:lnTo>
                  <a:lnTo>
                    <a:pt x="89" y="156"/>
                  </a:lnTo>
                  <a:lnTo>
                    <a:pt x="99" y="159"/>
                  </a:lnTo>
                  <a:lnTo>
                    <a:pt x="120" y="164"/>
                  </a:lnTo>
                  <a:lnTo>
                    <a:pt x="143" y="172"/>
                  </a:lnTo>
                  <a:lnTo>
                    <a:pt x="174" y="183"/>
                  </a:lnTo>
                  <a:lnTo>
                    <a:pt x="201" y="193"/>
                  </a:lnTo>
                  <a:lnTo>
                    <a:pt x="214" y="199"/>
                  </a:lnTo>
                  <a:lnTo>
                    <a:pt x="228" y="203"/>
                  </a:lnTo>
                  <a:lnTo>
                    <a:pt x="243" y="206"/>
                  </a:lnTo>
                  <a:lnTo>
                    <a:pt x="260" y="209"/>
                  </a:lnTo>
                  <a:lnTo>
                    <a:pt x="289" y="214"/>
                  </a:lnTo>
                  <a:lnTo>
                    <a:pt x="317" y="217"/>
                  </a:lnTo>
                  <a:lnTo>
                    <a:pt x="343" y="221"/>
                  </a:lnTo>
                  <a:lnTo>
                    <a:pt x="368" y="225"/>
                  </a:lnTo>
                  <a:lnTo>
                    <a:pt x="392" y="229"/>
                  </a:lnTo>
                  <a:lnTo>
                    <a:pt x="416" y="236"/>
                  </a:lnTo>
                  <a:lnTo>
                    <a:pt x="443" y="244"/>
                  </a:lnTo>
                  <a:lnTo>
                    <a:pt x="471" y="254"/>
                  </a:lnTo>
                  <a:lnTo>
                    <a:pt x="505" y="268"/>
                  </a:lnTo>
                  <a:lnTo>
                    <a:pt x="537" y="279"/>
                  </a:lnTo>
                  <a:lnTo>
                    <a:pt x="552" y="284"/>
                  </a:lnTo>
                  <a:lnTo>
                    <a:pt x="568" y="288"/>
                  </a:lnTo>
                  <a:lnTo>
                    <a:pt x="585" y="290"/>
                  </a:lnTo>
                  <a:lnTo>
                    <a:pt x="605" y="292"/>
                  </a:lnTo>
                  <a:lnTo>
                    <a:pt x="603" y="287"/>
                  </a:lnTo>
                  <a:lnTo>
                    <a:pt x="600" y="282"/>
                  </a:lnTo>
                  <a:lnTo>
                    <a:pt x="596" y="278"/>
                  </a:lnTo>
                  <a:lnTo>
                    <a:pt x="593" y="275"/>
                  </a:lnTo>
                  <a:lnTo>
                    <a:pt x="589" y="272"/>
                  </a:lnTo>
                  <a:lnTo>
                    <a:pt x="583" y="270"/>
                  </a:lnTo>
                  <a:lnTo>
                    <a:pt x="578" y="268"/>
                  </a:lnTo>
                  <a:lnTo>
                    <a:pt x="573" y="266"/>
                  </a:lnTo>
                  <a:lnTo>
                    <a:pt x="550" y="263"/>
                  </a:lnTo>
                  <a:lnTo>
                    <a:pt x="527" y="259"/>
                  </a:lnTo>
                  <a:lnTo>
                    <a:pt x="513" y="258"/>
                  </a:lnTo>
                  <a:lnTo>
                    <a:pt x="502" y="255"/>
                  </a:lnTo>
                  <a:lnTo>
                    <a:pt x="493" y="251"/>
                  </a:lnTo>
                  <a:lnTo>
                    <a:pt x="482" y="247"/>
                  </a:lnTo>
                  <a:lnTo>
                    <a:pt x="473" y="243"/>
                  </a:lnTo>
                  <a:lnTo>
                    <a:pt x="463" y="239"/>
                  </a:lnTo>
                  <a:lnTo>
                    <a:pt x="451" y="235"/>
                  </a:lnTo>
                  <a:lnTo>
                    <a:pt x="439" y="232"/>
                  </a:lnTo>
                  <a:lnTo>
                    <a:pt x="415" y="226"/>
                  </a:lnTo>
                  <a:lnTo>
                    <a:pt x="395" y="222"/>
                  </a:lnTo>
                  <a:lnTo>
                    <a:pt x="375" y="217"/>
                  </a:lnTo>
                  <a:lnTo>
                    <a:pt x="355" y="213"/>
                  </a:lnTo>
                  <a:lnTo>
                    <a:pt x="337" y="208"/>
                  </a:lnTo>
                  <a:lnTo>
                    <a:pt x="317" y="204"/>
                  </a:lnTo>
                  <a:lnTo>
                    <a:pt x="296" y="200"/>
                  </a:lnTo>
                  <a:lnTo>
                    <a:pt x="273" y="195"/>
                  </a:lnTo>
                  <a:lnTo>
                    <a:pt x="249" y="191"/>
                  </a:lnTo>
                  <a:lnTo>
                    <a:pt x="228" y="186"/>
                  </a:lnTo>
                  <a:lnTo>
                    <a:pt x="207" y="182"/>
                  </a:lnTo>
                  <a:lnTo>
                    <a:pt x="188" y="176"/>
                  </a:lnTo>
                  <a:lnTo>
                    <a:pt x="169" y="170"/>
                  </a:lnTo>
                  <a:lnTo>
                    <a:pt x="150" y="161"/>
                  </a:lnTo>
                  <a:lnTo>
                    <a:pt x="131" y="152"/>
                  </a:lnTo>
                  <a:lnTo>
                    <a:pt x="110" y="140"/>
                  </a:lnTo>
                  <a:lnTo>
                    <a:pt x="89" y="126"/>
                  </a:lnTo>
                  <a:lnTo>
                    <a:pt x="72" y="114"/>
                  </a:lnTo>
                  <a:lnTo>
                    <a:pt x="64" y="107"/>
                  </a:lnTo>
                  <a:lnTo>
                    <a:pt x="56" y="98"/>
                  </a:lnTo>
                  <a:lnTo>
                    <a:pt x="49" y="89"/>
                  </a:lnTo>
                  <a:lnTo>
                    <a:pt x="43" y="78"/>
                  </a:lnTo>
                  <a:lnTo>
                    <a:pt x="37" y="64"/>
                  </a:lnTo>
                  <a:lnTo>
                    <a:pt x="33" y="52"/>
                  </a:lnTo>
                  <a:lnTo>
                    <a:pt x="30" y="38"/>
                  </a:lnTo>
                  <a:lnTo>
                    <a:pt x="25" y="24"/>
                  </a:lnTo>
                  <a:lnTo>
                    <a:pt x="22" y="16"/>
                  </a:lnTo>
                  <a:lnTo>
                    <a:pt x="20" y="9"/>
                  </a:lnTo>
                  <a:lnTo>
                    <a:pt x="19" y="5"/>
                  </a:lnTo>
                  <a:lnTo>
                    <a:pt x="17" y="2"/>
                  </a:lnTo>
                  <a:lnTo>
                    <a:pt x="14" y="1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12700">
              <a:solidFill>
                <a:srgbClr val="7D7D7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675"/>
            </a:p>
          </p:txBody>
        </p:sp>
        <p:sp>
          <p:nvSpPr>
            <p:cNvPr id="16" name="Kherson"/>
            <p:cNvSpPr>
              <a:spLocks/>
            </p:cNvSpPr>
            <p:nvPr/>
          </p:nvSpPr>
          <p:spPr bwMode="auto">
            <a:xfrm>
              <a:off x="3025" y="2863"/>
              <a:ext cx="897" cy="627"/>
            </a:xfrm>
            <a:custGeom>
              <a:avLst/>
              <a:gdLst>
                <a:gd name="T0" fmla="*/ 345 w 2988"/>
                <a:gd name="T1" fmla="*/ 218 h 2164"/>
                <a:gd name="T2" fmla="*/ 345 w 2988"/>
                <a:gd name="T3" fmla="*/ 218 h 2164"/>
                <a:gd name="T4" fmla="*/ 345 w 2988"/>
                <a:gd name="T5" fmla="*/ 218 h 2164"/>
                <a:gd name="T6" fmla="*/ 345 w 2988"/>
                <a:gd name="T7" fmla="*/ 218 h 2164"/>
                <a:gd name="T8" fmla="*/ 345 w 2988"/>
                <a:gd name="T9" fmla="*/ 218 h 2164"/>
                <a:gd name="T10" fmla="*/ 345 w 2988"/>
                <a:gd name="T11" fmla="*/ 218 h 2164"/>
                <a:gd name="T12" fmla="*/ 345 w 2988"/>
                <a:gd name="T13" fmla="*/ 218 h 2164"/>
                <a:gd name="T14" fmla="*/ 345 w 2988"/>
                <a:gd name="T15" fmla="*/ 218 h 2164"/>
                <a:gd name="T16" fmla="*/ 345 w 2988"/>
                <a:gd name="T17" fmla="*/ 218 h 2164"/>
                <a:gd name="T18" fmla="*/ 345 w 2988"/>
                <a:gd name="T19" fmla="*/ 218 h 2164"/>
                <a:gd name="T20" fmla="*/ 345 w 2988"/>
                <a:gd name="T21" fmla="*/ 218 h 2164"/>
                <a:gd name="T22" fmla="*/ 345 w 2988"/>
                <a:gd name="T23" fmla="*/ 218 h 2164"/>
                <a:gd name="T24" fmla="*/ 345 w 2988"/>
                <a:gd name="T25" fmla="*/ 218 h 2164"/>
                <a:gd name="T26" fmla="*/ 345 w 2988"/>
                <a:gd name="T27" fmla="*/ 218 h 2164"/>
                <a:gd name="T28" fmla="*/ 345 w 2988"/>
                <a:gd name="T29" fmla="*/ 218 h 2164"/>
                <a:gd name="T30" fmla="*/ 345 w 2988"/>
                <a:gd name="T31" fmla="*/ 218 h 2164"/>
                <a:gd name="T32" fmla="*/ 345 w 2988"/>
                <a:gd name="T33" fmla="*/ 218 h 2164"/>
                <a:gd name="T34" fmla="*/ 345 w 2988"/>
                <a:gd name="T35" fmla="*/ 218 h 2164"/>
                <a:gd name="T36" fmla="*/ 345 w 2988"/>
                <a:gd name="T37" fmla="*/ 218 h 2164"/>
                <a:gd name="T38" fmla="*/ 345 w 2988"/>
                <a:gd name="T39" fmla="*/ 218 h 2164"/>
                <a:gd name="T40" fmla="*/ 345 w 2988"/>
                <a:gd name="T41" fmla="*/ 218 h 2164"/>
                <a:gd name="T42" fmla="*/ 345 w 2988"/>
                <a:gd name="T43" fmla="*/ 218 h 2164"/>
                <a:gd name="T44" fmla="*/ 345 w 2988"/>
                <a:gd name="T45" fmla="*/ 218 h 2164"/>
                <a:gd name="T46" fmla="*/ 345 w 2988"/>
                <a:gd name="T47" fmla="*/ 218 h 2164"/>
                <a:gd name="T48" fmla="*/ 345 w 2988"/>
                <a:gd name="T49" fmla="*/ 218 h 2164"/>
                <a:gd name="T50" fmla="*/ 345 w 2988"/>
                <a:gd name="T51" fmla="*/ 218 h 2164"/>
                <a:gd name="T52" fmla="*/ 345 w 2988"/>
                <a:gd name="T53" fmla="*/ 218 h 2164"/>
                <a:gd name="T54" fmla="*/ 345 w 2988"/>
                <a:gd name="T55" fmla="*/ 218 h 2164"/>
                <a:gd name="T56" fmla="*/ 345 w 2988"/>
                <a:gd name="T57" fmla="*/ 218 h 2164"/>
                <a:gd name="T58" fmla="*/ 345 w 2988"/>
                <a:gd name="T59" fmla="*/ 218 h 2164"/>
                <a:gd name="T60" fmla="*/ 345 w 2988"/>
                <a:gd name="T61" fmla="*/ 218 h 2164"/>
                <a:gd name="T62" fmla="*/ 345 w 2988"/>
                <a:gd name="T63" fmla="*/ 218 h 2164"/>
                <a:gd name="T64" fmla="*/ 345 w 2988"/>
                <a:gd name="T65" fmla="*/ 218 h 2164"/>
                <a:gd name="T66" fmla="*/ 345 w 2988"/>
                <a:gd name="T67" fmla="*/ 218 h 2164"/>
                <a:gd name="T68" fmla="*/ 345 w 2988"/>
                <a:gd name="T69" fmla="*/ 218 h 2164"/>
                <a:gd name="T70" fmla="*/ 345 w 2988"/>
                <a:gd name="T71" fmla="*/ 218 h 2164"/>
                <a:gd name="T72" fmla="*/ 345 w 2988"/>
                <a:gd name="T73" fmla="*/ 218 h 2164"/>
                <a:gd name="T74" fmla="*/ 345 w 2988"/>
                <a:gd name="T75" fmla="*/ 218 h 2164"/>
                <a:gd name="T76" fmla="*/ 345 w 2988"/>
                <a:gd name="T77" fmla="*/ 218 h 2164"/>
                <a:gd name="T78" fmla="*/ 345 w 2988"/>
                <a:gd name="T79" fmla="*/ 218 h 2164"/>
                <a:gd name="T80" fmla="*/ 345 w 2988"/>
                <a:gd name="T81" fmla="*/ 218 h 2164"/>
                <a:gd name="T82" fmla="*/ 345 w 2988"/>
                <a:gd name="T83" fmla="*/ 218 h 2164"/>
                <a:gd name="T84" fmla="*/ 345 w 2988"/>
                <a:gd name="T85" fmla="*/ 218 h 2164"/>
                <a:gd name="T86" fmla="*/ 345 w 2988"/>
                <a:gd name="T87" fmla="*/ 218 h 2164"/>
                <a:gd name="T88" fmla="*/ 345 w 2988"/>
                <a:gd name="T89" fmla="*/ 218 h 2164"/>
                <a:gd name="T90" fmla="*/ 345 w 2988"/>
                <a:gd name="T91" fmla="*/ 218 h 2164"/>
                <a:gd name="T92" fmla="*/ 345 w 2988"/>
                <a:gd name="T93" fmla="*/ 218 h 2164"/>
                <a:gd name="T94" fmla="*/ 345 w 2988"/>
                <a:gd name="T95" fmla="*/ 218 h 2164"/>
                <a:gd name="T96" fmla="*/ 345 w 2988"/>
                <a:gd name="T97" fmla="*/ 218 h 2164"/>
                <a:gd name="T98" fmla="*/ 345 w 2988"/>
                <a:gd name="T99" fmla="*/ 218 h 2164"/>
                <a:gd name="T100" fmla="*/ 345 w 2988"/>
                <a:gd name="T101" fmla="*/ 218 h 2164"/>
                <a:gd name="T102" fmla="*/ 345 w 2988"/>
                <a:gd name="T103" fmla="*/ 218 h 2164"/>
                <a:gd name="T104" fmla="*/ 345 w 2988"/>
                <a:gd name="T105" fmla="*/ 218 h 2164"/>
                <a:gd name="T106" fmla="*/ 345 w 2988"/>
                <a:gd name="T107" fmla="*/ 218 h 2164"/>
                <a:gd name="T108" fmla="*/ 345 w 2988"/>
                <a:gd name="T109" fmla="*/ 218 h 2164"/>
                <a:gd name="T110" fmla="*/ 345 w 2988"/>
                <a:gd name="T111" fmla="*/ 218 h 2164"/>
                <a:gd name="T112" fmla="*/ 345 w 2988"/>
                <a:gd name="T113" fmla="*/ 218 h 2164"/>
                <a:gd name="T114" fmla="*/ 345 w 2988"/>
                <a:gd name="T115" fmla="*/ 218 h 2164"/>
                <a:gd name="T116" fmla="*/ 345 w 2988"/>
                <a:gd name="T117" fmla="*/ 218 h 2164"/>
                <a:gd name="T118" fmla="*/ 345 w 2988"/>
                <a:gd name="T119" fmla="*/ 218 h 216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88"/>
                <a:gd name="T181" fmla="*/ 0 h 2164"/>
                <a:gd name="T182" fmla="*/ 2988 w 2988"/>
                <a:gd name="T183" fmla="*/ 2164 h 216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88" h="2164">
                  <a:moveTo>
                    <a:pt x="1173" y="70"/>
                  </a:moveTo>
                  <a:lnTo>
                    <a:pt x="1181" y="92"/>
                  </a:lnTo>
                  <a:lnTo>
                    <a:pt x="1187" y="111"/>
                  </a:lnTo>
                  <a:lnTo>
                    <a:pt x="1193" y="129"/>
                  </a:lnTo>
                  <a:lnTo>
                    <a:pt x="1199" y="147"/>
                  </a:lnTo>
                  <a:lnTo>
                    <a:pt x="1204" y="165"/>
                  </a:lnTo>
                  <a:lnTo>
                    <a:pt x="1207" y="184"/>
                  </a:lnTo>
                  <a:lnTo>
                    <a:pt x="1210" y="204"/>
                  </a:lnTo>
                  <a:lnTo>
                    <a:pt x="1211" y="225"/>
                  </a:lnTo>
                  <a:lnTo>
                    <a:pt x="1211" y="274"/>
                  </a:lnTo>
                  <a:lnTo>
                    <a:pt x="1210" y="284"/>
                  </a:lnTo>
                  <a:lnTo>
                    <a:pt x="1207" y="293"/>
                  </a:lnTo>
                  <a:lnTo>
                    <a:pt x="1204" y="303"/>
                  </a:lnTo>
                  <a:lnTo>
                    <a:pt x="1201" y="310"/>
                  </a:lnTo>
                  <a:lnTo>
                    <a:pt x="1198" y="318"/>
                  </a:lnTo>
                  <a:lnTo>
                    <a:pt x="1195" y="328"/>
                  </a:lnTo>
                  <a:lnTo>
                    <a:pt x="1193" y="337"/>
                  </a:lnTo>
                  <a:lnTo>
                    <a:pt x="1192" y="347"/>
                  </a:lnTo>
                  <a:lnTo>
                    <a:pt x="1193" y="361"/>
                  </a:lnTo>
                  <a:lnTo>
                    <a:pt x="1195" y="373"/>
                  </a:lnTo>
                  <a:lnTo>
                    <a:pt x="1198" y="384"/>
                  </a:lnTo>
                  <a:lnTo>
                    <a:pt x="1201" y="396"/>
                  </a:lnTo>
                  <a:lnTo>
                    <a:pt x="1212" y="416"/>
                  </a:lnTo>
                  <a:lnTo>
                    <a:pt x="1224" y="436"/>
                  </a:lnTo>
                  <a:lnTo>
                    <a:pt x="1236" y="457"/>
                  </a:lnTo>
                  <a:lnTo>
                    <a:pt x="1247" y="477"/>
                  </a:lnTo>
                  <a:lnTo>
                    <a:pt x="1252" y="489"/>
                  </a:lnTo>
                  <a:lnTo>
                    <a:pt x="1256" y="500"/>
                  </a:lnTo>
                  <a:lnTo>
                    <a:pt x="1259" y="512"/>
                  </a:lnTo>
                  <a:lnTo>
                    <a:pt x="1260" y="526"/>
                  </a:lnTo>
                  <a:lnTo>
                    <a:pt x="1247" y="531"/>
                  </a:lnTo>
                  <a:lnTo>
                    <a:pt x="1235" y="537"/>
                  </a:lnTo>
                  <a:lnTo>
                    <a:pt x="1225" y="544"/>
                  </a:lnTo>
                  <a:lnTo>
                    <a:pt x="1215" y="552"/>
                  </a:lnTo>
                  <a:lnTo>
                    <a:pt x="1205" y="560"/>
                  </a:lnTo>
                  <a:lnTo>
                    <a:pt x="1195" y="567"/>
                  </a:lnTo>
                  <a:lnTo>
                    <a:pt x="1184" y="574"/>
                  </a:lnTo>
                  <a:lnTo>
                    <a:pt x="1170" y="581"/>
                  </a:lnTo>
                  <a:lnTo>
                    <a:pt x="1158" y="585"/>
                  </a:lnTo>
                  <a:lnTo>
                    <a:pt x="1147" y="589"/>
                  </a:lnTo>
                  <a:lnTo>
                    <a:pt x="1141" y="591"/>
                  </a:lnTo>
                  <a:lnTo>
                    <a:pt x="1136" y="594"/>
                  </a:lnTo>
                  <a:lnTo>
                    <a:pt x="1131" y="597"/>
                  </a:lnTo>
                  <a:lnTo>
                    <a:pt x="1126" y="601"/>
                  </a:lnTo>
                  <a:lnTo>
                    <a:pt x="1121" y="606"/>
                  </a:lnTo>
                  <a:lnTo>
                    <a:pt x="1115" y="609"/>
                  </a:lnTo>
                  <a:lnTo>
                    <a:pt x="1108" y="614"/>
                  </a:lnTo>
                  <a:lnTo>
                    <a:pt x="1102" y="616"/>
                  </a:lnTo>
                  <a:lnTo>
                    <a:pt x="1090" y="622"/>
                  </a:lnTo>
                  <a:lnTo>
                    <a:pt x="1078" y="627"/>
                  </a:lnTo>
                  <a:lnTo>
                    <a:pt x="1072" y="629"/>
                  </a:lnTo>
                  <a:lnTo>
                    <a:pt x="1067" y="632"/>
                  </a:lnTo>
                  <a:lnTo>
                    <a:pt x="1062" y="635"/>
                  </a:lnTo>
                  <a:lnTo>
                    <a:pt x="1058" y="639"/>
                  </a:lnTo>
                  <a:lnTo>
                    <a:pt x="1055" y="644"/>
                  </a:lnTo>
                  <a:lnTo>
                    <a:pt x="1053" y="649"/>
                  </a:lnTo>
                  <a:lnTo>
                    <a:pt x="1051" y="654"/>
                  </a:lnTo>
                  <a:lnTo>
                    <a:pt x="1051" y="661"/>
                  </a:lnTo>
                  <a:lnTo>
                    <a:pt x="1052" y="670"/>
                  </a:lnTo>
                  <a:lnTo>
                    <a:pt x="1054" y="680"/>
                  </a:lnTo>
                  <a:lnTo>
                    <a:pt x="1058" y="687"/>
                  </a:lnTo>
                  <a:lnTo>
                    <a:pt x="1062" y="694"/>
                  </a:lnTo>
                  <a:lnTo>
                    <a:pt x="1067" y="701"/>
                  </a:lnTo>
                  <a:lnTo>
                    <a:pt x="1072" y="710"/>
                  </a:lnTo>
                  <a:lnTo>
                    <a:pt x="1078" y="718"/>
                  </a:lnTo>
                  <a:lnTo>
                    <a:pt x="1081" y="727"/>
                  </a:lnTo>
                  <a:lnTo>
                    <a:pt x="1085" y="744"/>
                  </a:lnTo>
                  <a:lnTo>
                    <a:pt x="1088" y="759"/>
                  </a:lnTo>
                  <a:lnTo>
                    <a:pt x="1090" y="766"/>
                  </a:lnTo>
                  <a:lnTo>
                    <a:pt x="1093" y="773"/>
                  </a:lnTo>
                  <a:lnTo>
                    <a:pt x="1098" y="779"/>
                  </a:lnTo>
                  <a:lnTo>
                    <a:pt x="1104" y="783"/>
                  </a:lnTo>
                  <a:lnTo>
                    <a:pt x="1120" y="790"/>
                  </a:lnTo>
                  <a:lnTo>
                    <a:pt x="1135" y="796"/>
                  </a:lnTo>
                  <a:lnTo>
                    <a:pt x="1142" y="801"/>
                  </a:lnTo>
                  <a:lnTo>
                    <a:pt x="1148" y="806"/>
                  </a:lnTo>
                  <a:lnTo>
                    <a:pt x="1149" y="808"/>
                  </a:lnTo>
                  <a:lnTo>
                    <a:pt x="1151" y="811"/>
                  </a:lnTo>
                  <a:lnTo>
                    <a:pt x="1152" y="815"/>
                  </a:lnTo>
                  <a:lnTo>
                    <a:pt x="1152" y="819"/>
                  </a:lnTo>
                  <a:lnTo>
                    <a:pt x="1152" y="828"/>
                  </a:lnTo>
                  <a:lnTo>
                    <a:pt x="1151" y="839"/>
                  </a:lnTo>
                  <a:lnTo>
                    <a:pt x="1150" y="847"/>
                  </a:lnTo>
                  <a:lnTo>
                    <a:pt x="1148" y="855"/>
                  </a:lnTo>
                  <a:lnTo>
                    <a:pt x="1144" y="872"/>
                  </a:lnTo>
                  <a:lnTo>
                    <a:pt x="1137" y="887"/>
                  </a:lnTo>
                  <a:lnTo>
                    <a:pt x="1124" y="917"/>
                  </a:lnTo>
                  <a:lnTo>
                    <a:pt x="1109" y="953"/>
                  </a:lnTo>
                  <a:lnTo>
                    <a:pt x="1104" y="967"/>
                  </a:lnTo>
                  <a:lnTo>
                    <a:pt x="1099" y="980"/>
                  </a:lnTo>
                  <a:lnTo>
                    <a:pt x="1093" y="993"/>
                  </a:lnTo>
                  <a:lnTo>
                    <a:pt x="1087" y="1005"/>
                  </a:lnTo>
                  <a:lnTo>
                    <a:pt x="1080" y="1016"/>
                  </a:lnTo>
                  <a:lnTo>
                    <a:pt x="1071" y="1027"/>
                  </a:lnTo>
                  <a:lnTo>
                    <a:pt x="1063" y="1036"/>
                  </a:lnTo>
                  <a:lnTo>
                    <a:pt x="1054" y="1045"/>
                  </a:lnTo>
                  <a:lnTo>
                    <a:pt x="1045" y="1054"/>
                  </a:lnTo>
                  <a:lnTo>
                    <a:pt x="1034" y="1060"/>
                  </a:lnTo>
                  <a:lnTo>
                    <a:pt x="1024" y="1066"/>
                  </a:lnTo>
                  <a:lnTo>
                    <a:pt x="1012" y="1071"/>
                  </a:lnTo>
                  <a:lnTo>
                    <a:pt x="1000" y="1075"/>
                  </a:lnTo>
                  <a:lnTo>
                    <a:pt x="987" y="1078"/>
                  </a:lnTo>
                  <a:lnTo>
                    <a:pt x="973" y="1080"/>
                  </a:lnTo>
                  <a:lnTo>
                    <a:pt x="960" y="1081"/>
                  </a:lnTo>
                  <a:lnTo>
                    <a:pt x="948" y="1080"/>
                  </a:lnTo>
                  <a:lnTo>
                    <a:pt x="935" y="1078"/>
                  </a:lnTo>
                  <a:lnTo>
                    <a:pt x="925" y="1075"/>
                  </a:lnTo>
                  <a:lnTo>
                    <a:pt x="915" y="1071"/>
                  </a:lnTo>
                  <a:lnTo>
                    <a:pt x="896" y="1060"/>
                  </a:lnTo>
                  <a:lnTo>
                    <a:pt x="877" y="1048"/>
                  </a:lnTo>
                  <a:lnTo>
                    <a:pt x="860" y="1036"/>
                  </a:lnTo>
                  <a:lnTo>
                    <a:pt x="840" y="1026"/>
                  </a:lnTo>
                  <a:lnTo>
                    <a:pt x="831" y="1020"/>
                  </a:lnTo>
                  <a:lnTo>
                    <a:pt x="820" y="1017"/>
                  </a:lnTo>
                  <a:lnTo>
                    <a:pt x="808" y="1015"/>
                  </a:lnTo>
                  <a:lnTo>
                    <a:pt x="796" y="1015"/>
                  </a:lnTo>
                  <a:lnTo>
                    <a:pt x="788" y="1015"/>
                  </a:lnTo>
                  <a:lnTo>
                    <a:pt x="779" y="1015"/>
                  </a:lnTo>
                  <a:lnTo>
                    <a:pt x="771" y="1016"/>
                  </a:lnTo>
                  <a:lnTo>
                    <a:pt x="764" y="1018"/>
                  </a:lnTo>
                  <a:lnTo>
                    <a:pt x="758" y="1021"/>
                  </a:lnTo>
                  <a:lnTo>
                    <a:pt x="752" y="1026"/>
                  </a:lnTo>
                  <a:lnTo>
                    <a:pt x="745" y="1030"/>
                  </a:lnTo>
                  <a:lnTo>
                    <a:pt x="739" y="1036"/>
                  </a:lnTo>
                  <a:lnTo>
                    <a:pt x="733" y="1045"/>
                  </a:lnTo>
                  <a:lnTo>
                    <a:pt x="727" y="1056"/>
                  </a:lnTo>
                  <a:lnTo>
                    <a:pt x="723" y="1066"/>
                  </a:lnTo>
                  <a:lnTo>
                    <a:pt x="719" y="1075"/>
                  </a:lnTo>
                  <a:lnTo>
                    <a:pt x="713" y="1084"/>
                  </a:lnTo>
                  <a:lnTo>
                    <a:pt x="707" y="1091"/>
                  </a:lnTo>
                  <a:lnTo>
                    <a:pt x="704" y="1094"/>
                  </a:lnTo>
                  <a:lnTo>
                    <a:pt x="700" y="1096"/>
                  </a:lnTo>
                  <a:lnTo>
                    <a:pt x="695" y="1097"/>
                  </a:lnTo>
                  <a:lnTo>
                    <a:pt x="690" y="1098"/>
                  </a:lnTo>
                  <a:lnTo>
                    <a:pt x="684" y="1097"/>
                  </a:lnTo>
                  <a:lnTo>
                    <a:pt x="678" y="1096"/>
                  </a:lnTo>
                  <a:lnTo>
                    <a:pt x="673" y="1094"/>
                  </a:lnTo>
                  <a:lnTo>
                    <a:pt x="669" y="1092"/>
                  </a:lnTo>
                  <a:lnTo>
                    <a:pt x="661" y="1084"/>
                  </a:lnTo>
                  <a:lnTo>
                    <a:pt x="654" y="1076"/>
                  </a:lnTo>
                  <a:lnTo>
                    <a:pt x="646" y="1068"/>
                  </a:lnTo>
                  <a:lnTo>
                    <a:pt x="639" y="1059"/>
                  </a:lnTo>
                  <a:lnTo>
                    <a:pt x="631" y="1050"/>
                  </a:lnTo>
                  <a:lnTo>
                    <a:pt x="622" y="1043"/>
                  </a:lnTo>
                  <a:lnTo>
                    <a:pt x="619" y="1047"/>
                  </a:lnTo>
                  <a:lnTo>
                    <a:pt x="617" y="1052"/>
                  </a:lnTo>
                  <a:lnTo>
                    <a:pt x="619" y="1065"/>
                  </a:lnTo>
                  <a:lnTo>
                    <a:pt x="622" y="1076"/>
                  </a:lnTo>
                  <a:lnTo>
                    <a:pt x="621" y="1082"/>
                  </a:lnTo>
                  <a:lnTo>
                    <a:pt x="620" y="1088"/>
                  </a:lnTo>
                  <a:lnTo>
                    <a:pt x="619" y="1094"/>
                  </a:lnTo>
                  <a:lnTo>
                    <a:pt x="616" y="1099"/>
                  </a:lnTo>
                  <a:lnTo>
                    <a:pt x="612" y="1103"/>
                  </a:lnTo>
                  <a:lnTo>
                    <a:pt x="608" y="1106"/>
                  </a:lnTo>
                  <a:lnTo>
                    <a:pt x="603" y="1108"/>
                  </a:lnTo>
                  <a:lnTo>
                    <a:pt x="598" y="1109"/>
                  </a:lnTo>
                  <a:lnTo>
                    <a:pt x="589" y="1108"/>
                  </a:lnTo>
                  <a:lnTo>
                    <a:pt x="580" y="1107"/>
                  </a:lnTo>
                  <a:lnTo>
                    <a:pt x="573" y="1105"/>
                  </a:lnTo>
                  <a:lnTo>
                    <a:pt x="565" y="1102"/>
                  </a:lnTo>
                  <a:lnTo>
                    <a:pt x="552" y="1094"/>
                  </a:lnTo>
                  <a:lnTo>
                    <a:pt x="538" y="1086"/>
                  </a:lnTo>
                  <a:lnTo>
                    <a:pt x="526" y="1077"/>
                  </a:lnTo>
                  <a:lnTo>
                    <a:pt x="511" y="1069"/>
                  </a:lnTo>
                  <a:lnTo>
                    <a:pt x="504" y="1066"/>
                  </a:lnTo>
                  <a:lnTo>
                    <a:pt x="497" y="1064"/>
                  </a:lnTo>
                  <a:lnTo>
                    <a:pt x="489" y="1063"/>
                  </a:lnTo>
                  <a:lnTo>
                    <a:pt x="479" y="1062"/>
                  </a:lnTo>
                  <a:lnTo>
                    <a:pt x="461" y="1062"/>
                  </a:lnTo>
                  <a:lnTo>
                    <a:pt x="461" y="1080"/>
                  </a:lnTo>
                  <a:lnTo>
                    <a:pt x="460" y="1099"/>
                  </a:lnTo>
                  <a:lnTo>
                    <a:pt x="458" y="1117"/>
                  </a:lnTo>
                  <a:lnTo>
                    <a:pt x="454" y="1133"/>
                  </a:lnTo>
                  <a:lnTo>
                    <a:pt x="452" y="1141"/>
                  </a:lnTo>
                  <a:lnTo>
                    <a:pt x="448" y="1149"/>
                  </a:lnTo>
                  <a:lnTo>
                    <a:pt x="444" y="1155"/>
                  </a:lnTo>
                  <a:lnTo>
                    <a:pt x="439" y="1161"/>
                  </a:lnTo>
                  <a:lnTo>
                    <a:pt x="434" y="1166"/>
                  </a:lnTo>
                  <a:lnTo>
                    <a:pt x="427" y="1171"/>
                  </a:lnTo>
                  <a:lnTo>
                    <a:pt x="420" y="1174"/>
                  </a:lnTo>
                  <a:lnTo>
                    <a:pt x="411" y="1177"/>
                  </a:lnTo>
                  <a:lnTo>
                    <a:pt x="379" y="1187"/>
                  </a:lnTo>
                  <a:lnTo>
                    <a:pt x="347" y="1194"/>
                  </a:lnTo>
                  <a:lnTo>
                    <a:pt x="332" y="1198"/>
                  </a:lnTo>
                  <a:lnTo>
                    <a:pt x="316" y="1202"/>
                  </a:lnTo>
                  <a:lnTo>
                    <a:pt x="302" y="1207"/>
                  </a:lnTo>
                  <a:lnTo>
                    <a:pt x="288" y="1213"/>
                  </a:lnTo>
                  <a:lnTo>
                    <a:pt x="275" y="1219"/>
                  </a:lnTo>
                  <a:lnTo>
                    <a:pt x="263" y="1226"/>
                  </a:lnTo>
                  <a:lnTo>
                    <a:pt x="251" y="1233"/>
                  </a:lnTo>
                  <a:lnTo>
                    <a:pt x="241" y="1242"/>
                  </a:lnTo>
                  <a:lnTo>
                    <a:pt x="232" y="1253"/>
                  </a:lnTo>
                  <a:lnTo>
                    <a:pt x="224" y="1265"/>
                  </a:lnTo>
                  <a:lnTo>
                    <a:pt x="221" y="1271"/>
                  </a:lnTo>
                  <a:lnTo>
                    <a:pt x="217" y="1279"/>
                  </a:lnTo>
                  <a:lnTo>
                    <a:pt x="215" y="1286"/>
                  </a:lnTo>
                  <a:lnTo>
                    <a:pt x="213" y="1294"/>
                  </a:lnTo>
                  <a:lnTo>
                    <a:pt x="222" y="1302"/>
                  </a:lnTo>
                  <a:lnTo>
                    <a:pt x="231" y="1310"/>
                  </a:lnTo>
                  <a:lnTo>
                    <a:pt x="241" y="1316"/>
                  </a:lnTo>
                  <a:lnTo>
                    <a:pt x="250" y="1320"/>
                  </a:lnTo>
                  <a:lnTo>
                    <a:pt x="261" y="1323"/>
                  </a:lnTo>
                  <a:lnTo>
                    <a:pt x="270" y="1325"/>
                  </a:lnTo>
                  <a:lnTo>
                    <a:pt x="290" y="1328"/>
                  </a:lnTo>
                  <a:lnTo>
                    <a:pt x="312" y="1330"/>
                  </a:lnTo>
                  <a:lnTo>
                    <a:pt x="312" y="1341"/>
                  </a:lnTo>
                  <a:lnTo>
                    <a:pt x="313" y="1351"/>
                  </a:lnTo>
                  <a:lnTo>
                    <a:pt x="314" y="1361"/>
                  </a:lnTo>
                  <a:lnTo>
                    <a:pt x="316" y="1371"/>
                  </a:lnTo>
                  <a:lnTo>
                    <a:pt x="320" y="1380"/>
                  </a:lnTo>
                  <a:lnTo>
                    <a:pt x="324" y="1388"/>
                  </a:lnTo>
                  <a:lnTo>
                    <a:pt x="330" y="1395"/>
                  </a:lnTo>
                  <a:lnTo>
                    <a:pt x="337" y="1404"/>
                  </a:lnTo>
                  <a:lnTo>
                    <a:pt x="341" y="1398"/>
                  </a:lnTo>
                  <a:lnTo>
                    <a:pt x="346" y="1393"/>
                  </a:lnTo>
                  <a:lnTo>
                    <a:pt x="350" y="1389"/>
                  </a:lnTo>
                  <a:lnTo>
                    <a:pt x="356" y="1386"/>
                  </a:lnTo>
                  <a:lnTo>
                    <a:pt x="365" y="1380"/>
                  </a:lnTo>
                  <a:lnTo>
                    <a:pt x="375" y="1375"/>
                  </a:lnTo>
                  <a:lnTo>
                    <a:pt x="385" y="1370"/>
                  </a:lnTo>
                  <a:lnTo>
                    <a:pt x="395" y="1363"/>
                  </a:lnTo>
                  <a:lnTo>
                    <a:pt x="399" y="1359"/>
                  </a:lnTo>
                  <a:lnTo>
                    <a:pt x="403" y="1355"/>
                  </a:lnTo>
                  <a:lnTo>
                    <a:pt x="407" y="1351"/>
                  </a:lnTo>
                  <a:lnTo>
                    <a:pt x="411" y="1346"/>
                  </a:lnTo>
                  <a:lnTo>
                    <a:pt x="421" y="1350"/>
                  </a:lnTo>
                  <a:lnTo>
                    <a:pt x="427" y="1355"/>
                  </a:lnTo>
                  <a:lnTo>
                    <a:pt x="433" y="1361"/>
                  </a:lnTo>
                  <a:lnTo>
                    <a:pt x="438" y="1367"/>
                  </a:lnTo>
                  <a:lnTo>
                    <a:pt x="443" y="1374"/>
                  </a:lnTo>
                  <a:lnTo>
                    <a:pt x="449" y="1380"/>
                  </a:lnTo>
                  <a:lnTo>
                    <a:pt x="457" y="1386"/>
                  </a:lnTo>
                  <a:lnTo>
                    <a:pt x="465" y="1390"/>
                  </a:lnTo>
                  <a:lnTo>
                    <a:pt x="469" y="1389"/>
                  </a:lnTo>
                  <a:lnTo>
                    <a:pt x="474" y="1388"/>
                  </a:lnTo>
                  <a:lnTo>
                    <a:pt x="480" y="1388"/>
                  </a:lnTo>
                  <a:lnTo>
                    <a:pt x="487" y="1390"/>
                  </a:lnTo>
                  <a:lnTo>
                    <a:pt x="493" y="1392"/>
                  </a:lnTo>
                  <a:lnTo>
                    <a:pt x="498" y="1395"/>
                  </a:lnTo>
                  <a:lnTo>
                    <a:pt x="503" y="1398"/>
                  </a:lnTo>
                  <a:lnTo>
                    <a:pt x="508" y="1400"/>
                  </a:lnTo>
                  <a:lnTo>
                    <a:pt x="514" y="1403"/>
                  </a:lnTo>
                  <a:lnTo>
                    <a:pt x="522" y="1404"/>
                  </a:lnTo>
                  <a:lnTo>
                    <a:pt x="528" y="1403"/>
                  </a:lnTo>
                  <a:lnTo>
                    <a:pt x="533" y="1400"/>
                  </a:lnTo>
                  <a:lnTo>
                    <a:pt x="538" y="1398"/>
                  </a:lnTo>
                  <a:lnTo>
                    <a:pt x="543" y="1395"/>
                  </a:lnTo>
                  <a:lnTo>
                    <a:pt x="554" y="1388"/>
                  </a:lnTo>
                  <a:lnTo>
                    <a:pt x="565" y="1382"/>
                  </a:lnTo>
                  <a:lnTo>
                    <a:pt x="588" y="1373"/>
                  </a:lnTo>
                  <a:lnTo>
                    <a:pt x="608" y="1364"/>
                  </a:lnTo>
                  <a:lnTo>
                    <a:pt x="628" y="1355"/>
                  </a:lnTo>
                  <a:lnTo>
                    <a:pt x="650" y="1343"/>
                  </a:lnTo>
                  <a:lnTo>
                    <a:pt x="677" y="1329"/>
                  </a:lnTo>
                  <a:lnTo>
                    <a:pt x="703" y="1319"/>
                  </a:lnTo>
                  <a:lnTo>
                    <a:pt x="716" y="1313"/>
                  </a:lnTo>
                  <a:lnTo>
                    <a:pt x="728" y="1305"/>
                  </a:lnTo>
                  <a:lnTo>
                    <a:pt x="740" y="1297"/>
                  </a:lnTo>
                  <a:lnTo>
                    <a:pt x="753" y="1286"/>
                  </a:lnTo>
                  <a:lnTo>
                    <a:pt x="755" y="1282"/>
                  </a:lnTo>
                  <a:lnTo>
                    <a:pt x="754" y="1286"/>
                  </a:lnTo>
                  <a:lnTo>
                    <a:pt x="753" y="1290"/>
                  </a:lnTo>
                  <a:lnTo>
                    <a:pt x="751" y="1294"/>
                  </a:lnTo>
                  <a:lnTo>
                    <a:pt x="749" y="1297"/>
                  </a:lnTo>
                  <a:lnTo>
                    <a:pt x="744" y="1304"/>
                  </a:lnTo>
                  <a:lnTo>
                    <a:pt x="739" y="1313"/>
                  </a:lnTo>
                  <a:lnTo>
                    <a:pt x="734" y="1322"/>
                  </a:lnTo>
                  <a:lnTo>
                    <a:pt x="729" y="1330"/>
                  </a:lnTo>
                  <a:lnTo>
                    <a:pt x="727" y="1334"/>
                  </a:lnTo>
                  <a:lnTo>
                    <a:pt x="724" y="1339"/>
                  </a:lnTo>
                  <a:lnTo>
                    <a:pt x="720" y="1342"/>
                  </a:lnTo>
                  <a:lnTo>
                    <a:pt x="716" y="1346"/>
                  </a:lnTo>
                  <a:lnTo>
                    <a:pt x="701" y="1351"/>
                  </a:lnTo>
                  <a:lnTo>
                    <a:pt x="687" y="1356"/>
                  </a:lnTo>
                  <a:lnTo>
                    <a:pt x="671" y="1363"/>
                  </a:lnTo>
                  <a:lnTo>
                    <a:pt x="658" y="1370"/>
                  </a:lnTo>
                  <a:lnTo>
                    <a:pt x="652" y="1373"/>
                  </a:lnTo>
                  <a:lnTo>
                    <a:pt x="645" y="1376"/>
                  </a:lnTo>
                  <a:lnTo>
                    <a:pt x="639" y="1380"/>
                  </a:lnTo>
                  <a:lnTo>
                    <a:pt x="632" y="1385"/>
                  </a:lnTo>
                  <a:lnTo>
                    <a:pt x="622" y="1396"/>
                  </a:lnTo>
                  <a:lnTo>
                    <a:pt x="612" y="1408"/>
                  </a:lnTo>
                  <a:lnTo>
                    <a:pt x="608" y="1413"/>
                  </a:lnTo>
                  <a:lnTo>
                    <a:pt x="604" y="1418"/>
                  </a:lnTo>
                  <a:lnTo>
                    <a:pt x="599" y="1423"/>
                  </a:lnTo>
                  <a:lnTo>
                    <a:pt x="592" y="1428"/>
                  </a:lnTo>
                  <a:lnTo>
                    <a:pt x="586" y="1431"/>
                  </a:lnTo>
                  <a:lnTo>
                    <a:pt x="579" y="1435"/>
                  </a:lnTo>
                  <a:lnTo>
                    <a:pt x="573" y="1439"/>
                  </a:lnTo>
                  <a:lnTo>
                    <a:pt x="568" y="1443"/>
                  </a:lnTo>
                  <a:lnTo>
                    <a:pt x="572" y="1447"/>
                  </a:lnTo>
                  <a:lnTo>
                    <a:pt x="576" y="1450"/>
                  </a:lnTo>
                  <a:lnTo>
                    <a:pt x="578" y="1454"/>
                  </a:lnTo>
                  <a:lnTo>
                    <a:pt x="581" y="1458"/>
                  </a:lnTo>
                  <a:lnTo>
                    <a:pt x="583" y="1462"/>
                  </a:lnTo>
                  <a:lnTo>
                    <a:pt x="584" y="1468"/>
                  </a:lnTo>
                  <a:lnTo>
                    <a:pt x="585" y="1473"/>
                  </a:lnTo>
                  <a:lnTo>
                    <a:pt x="585" y="1478"/>
                  </a:lnTo>
                  <a:lnTo>
                    <a:pt x="585" y="1484"/>
                  </a:lnTo>
                  <a:lnTo>
                    <a:pt x="583" y="1490"/>
                  </a:lnTo>
                  <a:lnTo>
                    <a:pt x="580" y="1495"/>
                  </a:lnTo>
                  <a:lnTo>
                    <a:pt x="577" y="1500"/>
                  </a:lnTo>
                  <a:lnTo>
                    <a:pt x="574" y="1504"/>
                  </a:lnTo>
                  <a:lnTo>
                    <a:pt x="570" y="1507"/>
                  </a:lnTo>
                  <a:lnTo>
                    <a:pt x="565" y="1510"/>
                  </a:lnTo>
                  <a:lnTo>
                    <a:pt x="560" y="1513"/>
                  </a:lnTo>
                  <a:lnTo>
                    <a:pt x="547" y="1517"/>
                  </a:lnTo>
                  <a:lnTo>
                    <a:pt x="535" y="1520"/>
                  </a:lnTo>
                  <a:lnTo>
                    <a:pt x="522" y="1522"/>
                  </a:lnTo>
                  <a:lnTo>
                    <a:pt x="508" y="1522"/>
                  </a:lnTo>
                  <a:lnTo>
                    <a:pt x="496" y="1522"/>
                  </a:lnTo>
                  <a:lnTo>
                    <a:pt x="485" y="1521"/>
                  </a:lnTo>
                  <a:lnTo>
                    <a:pt x="473" y="1519"/>
                  </a:lnTo>
                  <a:lnTo>
                    <a:pt x="461" y="1515"/>
                  </a:lnTo>
                  <a:lnTo>
                    <a:pt x="452" y="1510"/>
                  </a:lnTo>
                  <a:lnTo>
                    <a:pt x="443" y="1504"/>
                  </a:lnTo>
                  <a:lnTo>
                    <a:pt x="436" y="1498"/>
                  </a:lnTo>
                  <a:lnTo>
                    <a:pt x="430" y="1490"/>
                  </a:lnTo>
                  <a:lnTo>
                    <a:pt x="423" y="1485"/>
                  </a:lnTo>
                  <a:lnTo>
                    <a:pt x="415" y="1480"/>
                  </a:lnTo>
                  <a:lnTo>
                    <a:pt x="411" y="1478"/>
                  </a:lnTo>
                  <a:lnTo>
                    <a:pt x="406" y="1476"/>
                  </a:lnTo>
                  <a:lnTo>
                    <a:pt x="402" y="1476"/>
                  </a:lnTo>
                  <a:lnTo>
                    <a:pt x="396" y="1475"/>
                  </a:lnTo>
                  <a:lnTo>
                    <a:pt x="382" y="1480"/>
                  </a:lnTo>
                  <a:lnTo>
                    <a:pt x="368" y="1486"/>
                  </a:lnTo>
                  <a:lnTo>
                    <a:pt x="359" y="1485"/>
                  </a:lnTo>
                  <a:lnTo>
                    <a:pt x="349" y="1482"/>
                  </a:lnTo>
                  <a:lnTo>
                    <a:pt x="342" y="1479"/>
                  </a:lnTo>
                  <a:lnTo>
                    <a:pt x="334" y="1475"/>
                  </a:lnTo>
                  <a:lnTo>
                    <a:pt x="327" y="1471"/>
                  </a:lnTo>
                  <a:lnTo>
                    <a:pt x="320" y="1467"/>
                  </a:lnTo>
                  <a:lnTo>
                    <a:pt x="310" y="1465"/>
                  </a:lnTo>
                  <a:lnTo>
                    <a:pt x="301" y="1463"/>
                  </a:lnTo>
                  <a:lnTo>
                    <a:pt x="295" y="1463"/>
                  </a:lnTo>
                  <a:lnTo>
                    <a:pt x="290" y="1466"/>
                  </a:lnTo>
                  <a:lnTo>
                    <a:pt x="286" y="1468"/>
                  </a:lnTo>
                  <a:lnTo>
                    <a:pt x="281" y="1470"/>
                  </a:lnTo>
                  <a:lnTo>
                    <a:pt x="277" y="1472"/>
                  </a:lnTo>
                  <a:lnTo>
                    <a:pt x="272" y="1474"/>
                  </a:lnTo>
                  <a:lnTo>
                    <a:pt x="267" y="1476"/>
                  </a:lnTo>
                  <a:lnTo>
                    <a:pt x="262" y="1476"/>
                  </a:lnTo>
                  <a:lnTo>
                    <a:pt x="239" y="1476"/>
                  </a:lnTo>
                  <a:lnTo>
                    <a:pt x="227" y="1476"/>
                  </a:lnTo>
                  <a:lnTo>
                    <a:pt x="216" y="1474"/>
                  </a:lnTo>
                  <a:lnTo>
                    <a:pt x="207" y="1472"/>
                  </a:lnTo>
                  <a:lnTo>
                    <a:pt x="198" y="1469"/>
                  </a:lnTo>
                  <a:lnTo>
                    <a:pt x="189" y="1466"/>
                  </a:lnTo>
                  <a:lnTo>
                    <a:pt x="178" y="1463"/>
                  </a:lnTo>
                  <a:lnTo>
                    <a:pt x="168" y="1461"/>
                  </a:lnTo>
                  <a:lnTo>
                    <a:pt x="157" y="1461"/>
                  </a:lnTo>
                  <a:lnTo>
                    <a:pt x="125" y="1461"/>
                  </a:lnTo>
                  <a:lnTo>
                    <a:pt x="119" y="1482"/>
                  </a:lnTo>
                  <a:lnTo>
                    <a:pt x="114" y="1500"/>
                  </a:lnTo>
                  <a:lnTo>
                    <a:pt x="108" y="1517"/>
                  </a:lnTo>
                  <a:lnTo>
                    <a:pt x="104" y="1538"/>
                  </a:lnTo>
                  <a:lnTo>
                    <a:pt x="113" y="1543"/>
                  </a:lnTo>
                  <a:lnTo>
                    <a:pt x="124" y="1547"/>
                  </a:lnTo>
                  <a:lnTo>
                    <a:pt x="134" y="1550"/>
                  </a:lnTo>
                  <a:lnTo>
                    <a:pt x="146" y="1550"/>
                  </a:lnTo>
                  <a:lnTo>
                    <a:pt x="151" y="1550"/>
                  </a:lnTo>
                  <a:lnTo>
                    <a:pt x="156" y="1549"/>
                  </a:lnTo>
                  <a:lnTo>
                    <a:pt x="160" y="1547"/>
                  </a:lnTo>
                  <a:lnTo>
                    <a:pt x="163" y="1545"/>
                  </a:lnTo>
                  <a:lnTo>
                    <a:pt x="167" y="1543"/>
                  </a:lnTo>
                  <a:lnTo>
                    <a:pt x="170" y="1541"/>
                  </a:lnTo>
                  <a:lnTo>
                    <a:pt x="174" y="1539"/>
                  </a:lnTo>
                  <a:lnTo>
                    <a:pt x="179" y="1539"/>
                  </a:lnTo>
                  <a:lnTo>
                    <a:pt x="187" y="1540"/>
                  </a:lnTo>
                  <a:lnTo>
                    <a:pt x="194" y="1541"/>
                  </a:lnTo>
                  <a:lnTo>
                    <a:pt x="201" y="1540"/>
                  </a:lnTo>
                  <a:lnTo>
                    <a:pt x="208" y="1539"/>
                  </a:lnTo>
                  <a:lnTo>
                    <a:pt x="214" y="1540"/>
                  </a:lnTo>
                  <a:lnTo>
                    <a:pt x="220" y="1542"/>
                  </a:lnTo>
                  <a:lnTo>
                    <a:pt x="224" y="1546"/>
                  </a:lnTo>
                  <a:lnTo>
                    <a:pt x="227" y="1551"/>
                  </a:lnTo>
                  <a:lnTo>
                    <a:pt x="233" y="1563"/>
                  </a:lnTo>
                  <a:lnTo>
                    <a:pt x="238" y="1575"/>
                  </a:lnTo>
                  <a:lnTo>
                    <a:pt x="245" y="1589"/>
                  </a:lnTo>
                  <a:lnTo>
                    <a:pt x="251" y="1603"/>
                  </a:lnTo>
                  <a:lnTo>
                    <a:pt x="257" y="1616"/>
                  </a:lnTo>
                  <a:lnTo>
                    <a:pt x="261" y="1632"/>
                  </a:lnTo>
                  <a:lnTo>
                    <a:pt x="259" y="1634"/>
                  </a:lnTo>
                  <a:lnTo>
                    <a:pt x="256" y="1635"/>
                  </a:lnTo>
                  <a:lnTo>
                    <a:pt x="247" y="1632"/>
                  </a:lnTo>
                  <a:lnTo>
                    <a:pt x="239" y="1630"/>
                  </a:lnTo>
                  <a:lnTo>
                    <a:pt x="232" y="1630"/>
                  </a:lnTo>
                  <a:lnTo>
                    <a:pt x="226" y="1631"/>
                  </a:lnTo>
                  <a:lnTo>
                    <a:pt x="224" y="1638"/>
                  </a:lnTo>
                  <a:lnTo>
                    <a:pt x="222" y="1644"/>
                  </a:lnTo>
                  <a:lnTo>
                    <a:pt x="216" y="1649"/>
                  </a:lnTo>
                  <a:lnTo>
                    <a:pt x="211" y="1653"/>
                  </a:lnTo>
                  <a:lnTo>
                    <a:pt x="199" y="1660"/>
                  </a:lnTo>
                  <a:lnTo>
                    <a:pt x="185" y="1666"/>
                  </a:lnTo>
                  <a:lnTo>
                    <a:pt x="168" y="1675"/>
                  </a:lnTo>
                  <a:lnTo>
                    <a:pt x="151" y="1682"/>
                  </a:lnTo>
                  <a:lnTo>
                    <a:pt x="143" y="1685"/>
                  </a:lnTo>
                  <a:lnTo>
                    <a:pt x="134" y="1688"/>
                  </a:lnTo>
                  <a:lnTo>
                    <a:pt x="125" y="1690"/>
                  </a:lnTo>
                  <a:lnTo>
                    <a:pt x="114" y="1690"/>
                  </a:lnTo>
                  <a:lnTo>
                    <a:pt x="96" y="1691"/>
                  </a:lnTo>
                  <a:lnTo>
                    <a:pt x="79" y="1693"/>
                  </a:lnTo>
                  <a:lnTo>
                    <a:pt x="63" y="1694"/>
                  </a:lnTo>
                  <a:lnTo>
                    <a:pt x="44" y="1696"/>
                  </a:lnTo>
                  <a:lnTo>
                    <a:pt x="29" y="1697"/>
                  </a:lnTo>
                  <a:lnTo>
                    <a:pt x="15" y="1700"/>
                  </a:lnTo>
                  <a:lnTo>
                    <a:pt x="9" y="1702"/>
                  </a:lnTo>
                  <a:lnTo>
                    <a:pt x="4" y="1706"/>
                  </a:lnTo>
                  <a:lnTo>
                    <a:pt x="3" y="1708"/>
                  </a:lnTo>
                  <a:lnTo>
                    <a:pt x="1" y="1711"/>
                  </a:lnTo>
                  <a:lnTo>
                    <a:pt x="1" y="1713"/>
                  </a:lnTo>
                  <a:lnTo>
                    <a:pt x="0" y="1718"/>
                  </a:lnTo>
                  <a:lnTo>
                    <a:pt x="1" y="1727"/>
                  </a:lnTo>
                  <a:lnTo>
                    <a:pt x="3" y="1736"/>
                  </a:lnTo>
                  <a:lnTo>
                    <a:pt x="4" y="1740"/>
                  </a:lnTo>
                  <a:lnTo>
                    <a:pt x="6" y="1743"/>
                  </a:lnTo>
                  <a:lnTo>
                    <a:pt x="9" y="1747"/>
                  </a:lnTo>
                  <a:lnTo>
                    <a:pt x="13" y="1751"/>
                  </a:lnTo>
                  <a:lnTo>
                    <a:pt x="16" y="1752"/>
                  </a:lnTo>
                  <a:lnTo>
                    <a:pt x="19" y="1753"/>
                  </a:lnTo>
                  <a:lnTo>
                    <a:pt x="23" y="1753"/>
                  </a:lnTo>
                  <a:lnTo>
                    <a:pt x="25" y="1753"/>
                  </a:lnTo>
                  <a:lnTo>
                    <a:pt x="32" y="1752"/>
                  </a:lnTo>
                  <a:lnTo>
                    <a:pt x="38" y="1753"/>
                  </a:lnTo>
                  <a:lnTo>
                    <a:pt x="48" y="1757"/>
                  </a:lnTo>
                  <a:lnTo>
                    <a:pt x="57" y="1763"/>
                  </a:lnTo>
                  <a:lnTo>
                    <a:pt x="61" y="1766"/>
                  </a:lnTo>
                  <a:lnTo>
                    <a:pt x="66" y="1768"/>
                  </a:lnTo>
                  <a:lnTo>
                    <a:pt x="70" y="1769"/>
                  </a:lnTo>
                  <a:lnTo>
                    <a:pt x="76" y="1770"/>
                  </a:lnTo>
                  <a:lnTo>
                    <a:pt x="86" y="1767"/>
                  </a:lnTo>
                  <a:lnTo>
                    <a:pt x="96" y="1762"/>
                  </a:lnTo>
                  <a:lnTo>
                    <a:pt x="102" y="1761"/>
                  </a:lnTo>
                  <a:lnTo>
                    <a:pt x="107" y="1760"/>
                  </a:lnTo>
                  <a:lnTo>
                    <a:pt x="110" y="1759"/>
                  </a:lnTo>
                  <a:lnTo>
                    <a:pt x="111" y="1757"/>
                  </a:lnTo>
                  <a:lnTo>
                    <a:pt x="113" y="1755"/>
                  </a:lnTo>
                  <a:lnTo>
                    <a:pt x="113" y="1753"/>
                  </a:lnTo>
                  <a:lnTo>
                    <a:pt x="112" y="1746"/>
                  </a:lnTo>
                  <a:lnTo>
                    <a:pt x="111" y="1740"/>
                  </a:lnTo>
                  <a:lnTo>
                    <a:pt x="111" y="1734"/>
                  </a:lnTo>
                  <a:lnTo>
                    <a:pt x="112" y="1727"/>
                  </a:lnTo>
                  <a:lnTo>
                    <a:pt x="112" y="1724"/>
                  </a:lnTo>
                  <a:lnTo>
                    <a:pt x="114" y="1722"/>
                  </a:lnTo>
                  <a:lnTo>
                    <a:pt x="116" y="1720"/>
                  </a:lnTo>
                  <a:lnTo>
                    <a:pt x="119" y="1720"/>
                  </a:lnTo>
                  <a:lnTo>
                    <a:pt x="125" y="1720"/>
                  </a:lnTo>
                  <a:lnTo>
                    <a:pt x="130" y="1721"/>
                  </a:lnTo>
                  <a:lnTo>
                    <a:pt x="135" y="1723"/>
                  </a:lnTo>
                  <a:lnTo>
                    <a:pt x="139" y="1725"/>
                  </a:lnTo>
                  <a:lnTo>
                    <a:pt x="147" y="1730"/>
                  </a:lnTo>
                  <a:lnTo>
                    <a:pt x="154" y="1737"/>
                  </a:lnTo>
                  <a:lnTo>
                    <a:pt x="166" y="1755"/>
                  </a:lnTo>
                  <a:lnTo>
                    <a:pt x="179" y="1773"/>
                  </a:lnTo>
                  <a:lnTo>
                    <a:pt x="183" y="1778"/>
                  </a:lnTo>
                  <a:lnTo>
                    <a:pt x="188" y="1782"/>
                  </a:lnTo>
                  <a:lnTo>
                    <a:pt x="192" y="1784"/>
                  </a:lnTo>
                  <a:lnTo>
                    <a:pt x="196" y="1786"/>
                  </a:lnTo>
                  <a:lnTo>
                    <a:pt x="205" y="1789"/>
                  </a:lnTo>
                  <a:lnTo>
                    <a:pt x="214" y="1790"/>
                  </a:lnTo>
                  <a:lnTo>
                    <a:pt x="236" y="1789"/>
                  </a:lnTo>
                  <a:lnTo>
                    <a:pt x="259" y="1789"/>
                  </a:lnTo>
                  <a:lnTo>
                    <a:pt x="264" y="1790"/>
                  </a:lnTo>
                  <a:lnTo>
                    <a:pt x="269" y="1791"/>
                  </a:lnTo>
                  <a:lnTo>
                    <a:pt x="273" y="1793"/>
                  </a:lnTo>
                  <a:lnTo>
                    <a:pt x="277" y="1795"/>
                  </a:lnTo>
                  <a:lnTo>
                    <a:pt x="284" y="1801"/>
                  </a:lnTo>
                  <a:lnTo>
                    <a:pt x="291" y="1808"/>
                  </a:lnTo>
                  <a:lnTo>
                    <a:pt x="302" y="1826"/>
                  </a:lnTo>
                  <a:lnTo>
                    <a:pt x="315" y="1845"/>
                  </a:lnTo>
                  <a:lnTo>
                    <a:pt x="324" y="1854"/>
                  </a:lnTo>
                  <a:lnTo>
                    <a:pt x="334" y="1861"/>
                  </a:lnTo>
                  <a:lnTo>
                    <a:pt x="344" y="1866"/>
                  </a:lnTo>
                  <a:lnTo>
                    <a:pt x="355" y="1870"/>
                  </a:lnTo>
                  <a:lnTo>
                    <a:pt x="366" y="1872"/>
                  </a:lnTo>
                  <a:lnTo>
                    <a:pt x="377" y="1874"/>
                  </a:lnTo>
                  <a:lnTo>
                    <a:pt x="391" y="1875"/>
                  </a:lnTo>
                  <a:lnTo>
                    <a:pt x="404" y="1875"/>
                  </a:lnTo>
                  <a:lnTo>
                    <a:pt x="413" y="1875"/>
                  </a:lnTo>
                  <a:lnTo>
                    <a:pt x="423" y="1875"/>
                  </a:lnTo>
                  <a:lnTo>
                    <a:pt x="432" y="1875"/>
                  </a:lnTo>
                  <a:lnTo>
                    <a:pt x="442" y="1874"/>
                  </a:lnTo>
                  <a:lnTo>
                    <a:pt x="442" y="1882"/>
                  </a:lnTo>
                  <a:lnTo>
                    <a:pt x="442" y="1889"/>
                  </a:lnTo>
                  <a:lnTo>
                    <a:pt x="443" y="1900"/>
                  </a:lnTo>
                  <a:lnTo>
                    <a:pt x="444" y="1910"/>
                  </a:lnTo>
                  <a:lnTo>
                    <a:pt x="446" y="1919"/>
                  </a:lnTo>
                  <a:lnTo>
                    <a:pt x="449" y="1929"/>
                  </a:lnTo>
                  <a:lnTo>
                    <a:pt x="451" y="1936"/>
                  </a:lnTo>
                  <a:lnTo>
                    <a:pt x="451" y="1944"/>
                  </a:lnTo>
                  <a:lnTo>
                    <a:pt x="451" y="1947"/>
                  </a:lnTo>
                  <a:lnTo>
                    <a:pt x="452" y="1950"/>
                  </a:lnTo>
                  <a:lnTo>
                    <a:pt x="453" y="1953"/>
                  </a:lnTo>
                  <a:lnTo>
                    <a:pt x="456" y="1955"/>
                  </a:lnTo>
                  <a:lnTo>
                    <a:pt x="460" y="1959"/>
                  </a:lnTo>
                  <a:lnTo>
                    <a:pt x="464" y="1962"/>
                  </a:lnTo>
                  <a:lnTo>
                    <a:pt x="469" y="1964"/>
                  </a:lnTo>
                  <a:lnTo>
                    <a:pt x="473" y="1965"/>
                  </a:lnTo>
                  <a:lnTo>
                    <a:pt x="484" y="1968"/>
                  </a:lnTo>
                  <a:lnTo>
                    <a:pt x="494" y="1974"/>
                  </a:lnTo>
                  <a:lnTo>
                    <a:pt x="503" y="1978"/>
                  </a:lnTo>
                  <a:lnTo>
                    <a:pt x="511" y="1981"/>
                  </a:lnTo>
                  <a:lnTo>
                    <a:pt x="519" y="1983"/>
                  </a:lnTo>
                  <a:lnTo>
                    <a:pt x="527" y="1984"/>
                  </a:lnTo>
                  <a:lnTo>
                    <a:pt x="543" y="1987"/>
                  </a:lnTo>
                  <a:lnTo>
                    <a:pt x="561" y="1992"/>
                  </a:lnTo>
                  <a:lnTo>
                    <a:pt x="591" y="2004"/>
                  </a:lnTo>
                  <a:lnTo>
                    <a:pt x="617" y="2015"/>
                  </a:lnTo>
                  <a:lnTo>
                    <a:pt x="630" y="2019"/>
                  </a:lnTo>
                  <a:lnTo>
                    <a:pt x="643" y="2022"/>
                  </a:lnTo>
                  <a:lnTo>
                    <a:pt x="659" y="2024"/>
                  </a:lnTo>
                  <a:lnTo>
                    <a:pt x="674" y="2025"/>
                  </a:lnTo>
                  <a:lnTo>
                    <a:pt x="702" y="2025"/>
                  </a:lnTo>
                  <a:lnTo>
                    <a:pt x="707" y="2024"/>
                  </a:lnTo>
                  <a:lnTo>
                    <a:pt x="710" y="2022"/>
                  </a:lnTo>
                  <a:lnTo>
                    <a:pt x="713" y="2018"/>
                  </a:lnTo>
                  <a:lnTo>
                    <a:pt x="715" y="2013"/>
                  </a:lnTo>
                  <a:lnTo>
                    <a:pt x="717" y="2009"/>
                  </a:lnTo>
                  <a:lnTo>
                    <a:pt x="719" y="2004"/>
                  </a:lnTo>
                  <a:lnTo>
                    <a:pt x="722" y="1998"/>
                  </a:lnTo>
                  <a:lnTo>
                    <a:pt x="725" y="1994"/>
                  </a:lnTo>
                  <a:lnTo>
                    <a:pt x="734" y="1988"/>
                  </a:lnTo>
                  <a:lnTo>
                    <a:pt x="742" y="1983"/>
                  </a:lnTo>
                  <a:lnTo>
                    <a:pt x="751" y="1979"/>
                  </a:lnTo>
                  <a:lnTo>
                    <a:pt x="759" y="1976"/>
                  </a:lnTo>
                  <a:lnTo>
                    <a:pt x="768" y="1974"/>
                  </a:lnTo>
                  <a:lnTo>
                    <a:pt x="777" y="1972"/>
                  </a:lnTo>
                  <a:lnTo>
                    <a:pt x="788" y="1972"/>
                  </a:lnTo>
                  <a:lnTo>
                    <a:pt x="798" y="1971"/>
                  </a:lnTo>
                  <a:lnTo>
                    <a:pt x="806" y="1972"/>
                  </a:lnTo>
                  <a:lnTo>
                    <a:pt x="814" y="1974"/>
                  </a:lnTo>
                  <a:lnTo>
                    <a:pt x="821" y="1975"/>
                  </a:lnTo>
                  <a:lnTo>
                    <a:pt x="829" y="1976"/>
                  </a:lnTo>
                  <a:lnTo>
                    <a:pt x="837" y="1975"/>
                  </a:lnTo>
                  <a:lnTo>
                    <a:pt x="843" y="1974"/>
                  </a:lnTo>
                  <a:lnTo>
                    <a:pt x="850" y="1972"/>
                  </a:lnTo>
                  <a:lnTo>
                    <a:pt x="855" y="1968"/>
                  </a:lnTo>
                  <a:lnTo>
                    <a:pt x="866" y="1961"/>
                  </a:lnTo>
                  <a:lnTo>
                    <a:pt x="878" y="1953"/>
                  </a:lnTo>
                  <a:lnTo>
                    <a:pt x="888" y="1949"/>
                  </a:lnTo>
                  <a:lnTo>
                    <a:pt x="896" y="1945"/>
                  </a:lnTo>
                  <a:lnTo>
                    <a:pt x="904" y="1943"/>
                  </a:lnTo>
                  <a:lnTo>
                    <a:pt x="911" y="1940"/>
                  </a:lnTo>
                  <a:lnTo>
                    <a:pt x="920" y="1938"/>
                  </a:lnTo>
                  <a:lnTo>
                    <a:pt x="928" y="1937"/>
                  </a:lnTo>
                  <a:lnTo>
                    <a:pt x="937" y="1936"/>
                  </a:lnTo>
                  <a:lnTo>
                    <a:pt x="948" y="1936"/>
                  </a:lnTo>
                  <a:lnTo>
                    <a:pt x="954" y="1936"/>
                  </a:lnTo>
                  <a:lnTo>
                    <a:pt x="960" y="1937"/>
                  </a:lnTo>
                  <a:lnTo>
                    <a:pt x="965" y="1940"/>
                  </a:lnTo>
                  <a:lnTo>
                    <a:pt x="971" y="1941"/>
                  </a:lnTo>
                  <a:lnTo>
                    <a:pt x="981" y="1946"/>
                  </a:lnTo>
                  <a:lnTo>
                    <a:pt x="991" y="1950"/>
                  </a:lnTo>
                  <a:lnTo>
                    <a:pt x="1000" y="1955"/>
                  </a:lnTo>
                  <a:lnTo>
                    <a:pt x="1010" y="1959"/>
                  </a:lnTo>
                  <a:lnTo>
                    <a:pt x="1016" y="1961"/>
                  </a:lnTo>
                  <a:lnTo>
                    <a:pt x="1022" y="1962"/>
                  </a:lnTo>
                  <a:lnTo>
                    <a:pt x="1028" y="1963"/>
                  </a:lnTo>
                  <a:lnTo>
                    <a:pt x="1034" y="1963"/>
                  </a:lnTo>
                  <a:lnTo>
                    <a:pt x="1049" y="1960"/>
                  </a:lnTo>
                  <a:lnTo>
                    <a:pt x="1063" y="1954"/>
                  </a:lnTo>
                  <a:lnTo>
                    <a:pt x="1075" y="1953"/>
                  </a:lnTo>
                  <a:lnTo>
                    <a:pt x="1086" y="1953"/>
                  </a:lnTo>
                  <a:lnTo>
                    <a:pt x="1096" y="1952"/>
                  </a:lnTo>
                  <a:lnTo>
                    <a:pt x="1108" y="1950"/>
                  </a:lnTo>
                  <a:lnTo>
                    <a:pt x="1118" y="1947"/>
                  </a:lnTo>
                  <a:lnTo>
                    <a:pt x="1127" y="1943"/>
                  </a:lnTo>
                  <a:lnTo>
                    <a:pt x="1130" y="1940"/>
                  </a:lnTo>
                  <a:lnTo>
                    <a:pt x="1133" y="1936"/>
                  </a:lnTo>
                  <a:lnTo>
                    <a:pt x="1136" y="1932"/>
                  </a:lnTo>
                  <a:lnTo>
                    <a:pt x="1137" y="1927"/>
                  </a:lnTo>
                  <a:lnTo>
                    <a:pt x="1138" y="1918"/>
                  </a:lnTo>
                  <a:lnTo>
                    <a:pt x="1138" y="1909"/>
                  </a:lnTo>
                  <a:lnTo>
                    <a:pt x="1139" y="1905"/>
                  </a:lnTo>
                  <a:lnTo>
                    <a:pt x="1140" y="1901"/>
                  </a:lnTo>
                  <a:lnTo>
                    <a:pt x="1142" y="1899"/>
                  </a:lnTo>
                  <a:lnTo>
                    <a:pt x="1146" y="1899"/>
                  </a:lnTo>
                  <a:lnTo>
                    <a:pt x="1151" y="1899"/>
                  </a:lnTo>
                  <a:lnTo>
                    <a:pt x="1156" y="1900"/>
                  </a:lnTo>
                  <a:lnTo>
                    <a:pt x="1160" y="1902"/>
                  </a:lnTo>
                  <a:lnTo>
                    <a:pt x="1164" y="1904"/>
                  </a:lnTo>
                  <a:lnTo>
                    <a:pt x="1171" y="1911"/>
                  </a:lnTo>
                  <a:lnTo>
                    <a:pt x="1178" y="1917"/>
                  </a:lnTo>
                  <a:lnTo>
                    <a:pt x="1185" y="1924"/>
                  </a:lnTo>
                  <a:lnTo>
                    <a:pt x="1192" y="1930"/>
                  </a:lnTo>
                  <a:lnTo>
                    <a:pt x="1195" y="1932"/>
                  </a:lnTo>
                  <a:lnTo>
                    <a:pt x="1200" y="1934"/>
                  </a:lnTo>
                  <a:lnTo>
                    <a:pt x="1204" y="1935"/>
                  </a:lnTo>
                  <a:lnTo>
                    <a:pt x="1210" y="1935"/>
                  </a:lnTo>
                  <a:lnTo>
                    <a:pt x="1216" y="1935"/>
                  </a:lnTo>
                  <a:lnTo>
                    <a:pt x="1222" y="1933"/>
                  </a:lnTo>
                  <a:lnTo>
                    <a:pt x="1227" y="1931"/>
                  </a:lnTo>
                  <a:lnTo>
                    <a:pt x="1231" y="1929"/>
                  </a:lnTo>
                  <a:lnTo>
                    <a:pt x="1241" y="1923"/>
                  </a:lnTo>
                  <a:lnTo>
                    <a:pt x="1252" y="1917"/>
                  </a:lnTo>
                  <a:lnTo>
                    <a:pt x="1264" y="1911"/>
                  </a:lnTo>
                  <a:lnTo>
                    <a:pt x="1276" y="1903"/>
                  </a:lnTo>
                  <a:lnTo>
                    <a:pt x="1280" y="1899"/>
                  </a:lnTo>
                  <a:lnTo>
                    <a:pt x="1284" y="1894"/>
                  </a:lnTo>
                  <a:lnTo>
                    <a:pt x="1286" y="1889"/>
                  </a:lnTo>
                  <a:lnTo>
                    <a:pt x="1286" y="1883"/>
                  </a:lnTo>
                  <a:lnTo>
                    <a:pt x="1288" y="1877"/>
                  </a:lnTo>
                  <a:lnTo>
                    <a:pt x="1292" y="1868"/>
                  </a:lnTo>
                  <a:lnTo>
                    <a:pt x="1298" y="1858"/>
                  </a:lnTo>
                  <a:lnTo>
                    <a:pt x="1304" y="1847"/>
                  </a:lnTo>
                  <a:lnTo>
                    <a:pt x="1312" y="1837"/>
                  </a:lnTo>
                  <a:lnTo>
                    <a:pt x="1317" y="1830"/>
                  </a:lnTo>
                  <a:lnTo>
                    <a:pt x="1320" y="1828"/>
                  </a:lnTo>
                  <a:lnTo>
                    <a:pt x="1321" y="1827"/>
                  </a:lnTo>
                  <a:lnTo>
                    <a:pt x="1322" y="1828"/>
                  </a:lnTo>
                  <a:lnTo>
                    <a:pt x="1323" y="1829"/>
                  </a:lnTo>
                  <a:lnTo>
                    <a:pt x="1322" y="1839"/>
                  </a:lnTo>
                  <a:lnTo>
                    <a:pt x="1320" y="1849"/>
                  </a:lnTo>
                  <a:lnTo>
                    <a:pt x="1318" y="1858"/>
                  </a:lnTo>
                  <a:lnTo>
                    <a:pt x="1317" y="1868"/>
                  </a:lnTo>
                  <a:lnTo>
                    <a:pt x="1317" y="1885"/>
                  </a:lnTo>
                  <a:lnTo>
                    <a:pt x="1317" y="1897"/>
                  </a:lnTo>
                  <a:lnTo>
                    <a:pt x="1316" y="1909"/>
                  </a:lnTo>
                  <a:lnTo>
                    <a:pt x="1314" y="1920"/>
                  </a:lnTo>
                  <a:lnTo>
                    <a:pt x="1311" y="1932"/>
                  </a:lnTo>
                  <a:lnTo>
                    <a:pt x="1314" y="1933"/>
                  </a:lnTo>
                  <a:lnTo>
                    <a:pt x="1316" y="1934"/>
                  </a:lnTo>
                  <a:lnTo>
                    <a:pt x="1330" y="1928"/>
                  </a:lnTo>
                  <a:lnTo>
                    <a:pt x="1346" y="1922"/>
                  </a:lnTo>
                  <a:lnTo>
                    <a:pt x="1351" y="1923"/>
                  </a:lnTo>
                  <a:lnTo>
                    <a:pt x="1356" y="1924"/>
                  </a:lnTo>
                  <a:lnTo>
                    <a:pt x="1360" y="1926"/>
                  </a:lnTo>
                  <a:lnTo>
                    <a:pt x="1365" y="1929"/>
                  </a:lnTo>
                  <a:lnTo>
                    <a:pt x="1373" y="1935"/>
                  </a:lnTo>
                  <a:lnTo>
                    <a:pt x="1383" y="1942"/>
                  </a:lnTo>
                  <a:lnTo>
                    <a:pt x="1391" y="1945"/>
                  </a:lnTo>
                  <a:lnTo>
                    <a:pt x="1399" y="1949"/>
                  </a:lnTo>
                  <a:lnTo>
                    <a:pt x="1402" y="1951"/>
                  </a:lnTo>
                  <a:lnTo>
                    <a:pt x="1405" y="1953"/>
                  </a:lnTo>
                  <a:lnTo>
                    <a:pt x="1406" y="1956"/>
                  </a:lnTo>
                  <a:lnTo>
                    <a:pt x="1408" y="1960"/>
                  </a:lnTo>
                  <a:lnTo>
                    <a:pt x="1406" y="1964"/>
                  </a:lnTo>
                  <a:lnTo>
                    <a:pt x="1405" y="1967"/>
                  </a:lnTo>
                  <a:lnTo>
                    <a:pt x="1402" y="1971"/>
                  </a:lnTo>
                  <a:lnTo>
                    <a:pt x="1399" y="1973"/>
                  </a:lnTo>
                  <a:lnTo>
                    <a:pt x="1396" y="1976"/>
                  </a:lnTo>
                  <a:lnTo>
                    <a:pt x="1393" y="1978"/>
                  </a:lnTo>
                  <a:lnTo>
                    <a:pt x="1390" y="1981"/>
                  </a:lnTo>
                  <a:lnTo>
                    <a:pt x="1388" y="1985"/>
                  </a:lnTo>
                  <a:lnTo>
                    <a:pt x="1390" y="1990"/>
                  </a:lnTo>
                  <a:lnTo>
                    <a:pt x="1399" y="1984"/>
                  </a:lnTo>
                  <a:lnTo>
                    <a:pt x="1406" y="1978"/>
                  </a:lnTo>
                  <a:lnTo>
                    <a:pt x="1411" y="1976"/>
                  </a:lnTo>
                  <a:lnTo>
                    <a:pt x="1415" y="1973"/>
                  </a:lnTo>
                  <a:lnTo>
                    <a:pt x="1419" y="1972"/>
                  </a:lnTo>
                  <a:lnTo>
                    <a:pt x="1424" y="1971"/>
                  </a:lnTo>
                  <a:lnTo>
                    <a:pt x="1432" y="1972"/>
                  </a:lnTo>
                  <a:lnTo>
                    <a:pt x="1441" y="1974"/>
                  </a:lnTo>
                  <a:lnTo>
                    <a:pt x="1447" y="1978"/>
                  </a:lnTo>
                  <a:lnTo>
                    <a:pt x="1453" y="1982"/>
                  </a:lnTo>
                  <a:lnTo>
                    <a:pt x="1464" y="1993"/>
                  </a:lnTo>
                  <a:lnTo>
                    <a:pt x="1475" y="2006"/>
                  </a:lnTo>
                  <a:lnTo>
                    <a:pt x="1485" y="2018"/>
                  </a:lnTo>
                  <a:lnTo>
                    <a:pt x="1496" y="2029"/>
                  </a:lnTo>
                  <a:lnTo>
                    <a:pt x="1502" y="2035"/>
                  </a:lnTo>
                  <a:lnTo>
                    <a:pt x="1509" y="2038"/>
                  </a:lnTo>
                  <a:lnTo>
                    <a:pt x="1517" y="2040"/>
                  </a:lnTo>
                  <a:lnTo>
                    <a:pt x="1525" y="2041"/>
                  </a:lnTo>
                  <a:lnTo>
                    <a:pt x="1528" y="2040"/>
                  </a:lnTo>
                  <a:lnTo>
                    <a:pt x="1530" y="2039"/>
                  </a:lnTo>
                  <a:lnTo>
                    <a:pt x="1532" y="2037"/>
                  </a:lnTo>
                  <a:lnTo>
                    <a:pt x="1534" y="2035"/>
                  </a:lnTo>
                  <a:lnTo>
                    <a:pt x="1538" y="2029"/>
                  </a:lnTo>
                  <a:lnTo>
                    <a:pt x="1544" y="2025"/>
                  </a:lnTo>
                  <a:lnTo>
                    <a:pt x="1549" y="2030"/>
                  </a:lnTo>
                  <a:lnTo>
                    <a:pt x="1554" y="2036"/>
                  </a:lnTo>
                  <a:lnTo>
                    <a:pt x="1557" y="2037"/>
                  </a:lnTo>
                  <a:lnTo>
                    <a:pt x="1560" y="2039"/>
                  </a:lnTo>
                  <a:lnTo>
                    <a:pt x="1563" y="2039"/>
                  </a:lnTo>
                  <a:lnTo>
                    <a:pt x="1567" y="2040"/>
                  </a:lnTo>
                  <a:lnTo>
                    <a:pt x="1577" y="2040"/>
                  </a:lnTo>
                  <a:lnTo>
                    <a:pt x="1578" y="2037"/>
                  </a:lnTo>
                  <a:lnTo>
                    <a:pt x="1579" y="2035"/>
                  </a:lnTo>
                  <a:lnTo>
                    <a:pt x="1578" y="2029"/>
                  </a:lnTo>
                  <a:lnTo>
                    <a:pt x="1577" y="2024"/>
                  </a:lnTo>
                  <a:lnTo>
                    <a:pt x="1575" y="2020"/>
                  </a:lnTo>
                  <a:lnTo>
                    <a:pt x="1573" y="2016"/>
                  </a:lnTo>
                  <a:lnTo>
                    <a:pt x="1570" y="2012"/>
                  </a:lnTo>
                  <a:lnTo>
                    <a:pt x="1568" y="2008"/>
                  </a:lnTo>
                  <a:lnTo>
                    <a:pt x="1567" y="2004"/>
                  </a:lnTo>
                  <a:lnTo>
                    <a:pt x="1566" y="1998"/>
                  </a:lnTo>
                  <a:lnTo>
                    <a:pt x="1567" y="1995"/>
                  </a:lnTo>
                  <a:lnTo>
                    <a:pt x="1567" y="1993"/>
                  </a:lnTo>
                  <a:lnTo>
                    <a:pt x="1569" y="1991"/>
                  </a:lnTo>
                  <a:lnTo>
                    <a:pt x="1570" y="1989"/>
                  </a:lnTo>
                  <a:lnTo>
                    <a:pt x="1575" y="1987"/>
                  </a:lnTo>
                  <a:lnTo>
                    <a:pt x="1580" y="1986"/>
                  </a:lnTo>
                  <a:lnTo>
                    <a:pt x="1594" y="1987"/>
                  </a:lnTo>
                  <a:lnTo>
                    <a:pt x="1608" y="1987"/>
                  </a:lnTo>
                  <a:lnTo>
                    <a:pt x="1613" y="1986"/>
                  </a:lnTo>
                  <a:lnTo>
                    <a:pt x="1618" y="1983"/>
                  </a:lnTo>
                  <a:lnTo>
                    <a:pt x="1609" y="1978"/>
                  </a:lnTo>
                  <a:lnTo>
                    <a:pt x="1599" y="1975"/>
                  </a:lnTo>
                  <a:lnTo>
                    <a:pt x="1596" y="1973"/>
                  </a:lnTo>
                  <a:lnTo>
                    <a:pt x="1593" y="1969"/>
                  </a:lnTo>
                  <a:lnTo>
                    <a:pt x="1591" y="1965"/>
                  </a:lnTo>
                  <a:lnTo>
                    <a:pt x="1590" y="1961"/>
                  </a:lnTo>
                  <a:lnTo>
                    <a:pt x="1591" y="1955"/>
                  </a:lnTo>
                  <a:lnTo>
                    <a:pt x="1592" y="1950"/>
                  </a:lnTo>
                  <a:lnTo>
                    <a:pt x="1593" y="1945"/>
                  </a:lnTo>
                  <a:lnTo>
                    <a:pt x="1595" y="1940"/>
                  </a:lnTo>
                  <a:lnTo>
                    <a:pt x="1601" y="1931"/>
                  </a:lnTo>
                  <a:lnTo>
                    <a:pt x="1609" y="1924"/>
                  </a:lnTo>
                  <a:lnTo>
                    <a:pt x="1626" y="1910"/>
                  </a:lnTo>
                  <a:lnTo>
                    <a:pt x="1646" y="1893"/>
                  </a:lnTo>
                  <a:lnTo>
                    <a:pt x="1652" y="1898"/>
                  </a:lnTo>
                  <a:lnTo>
                    <a:pt x="1657" y="1903"/>
                  </a:lnTo>
                  <a:lnTo>
                    <a:pt x="1652" y="1904"/>
                  </a:lnTo>
                  <a:lnTo>
                    <a:pt x="1659" y="1889"/>
                  </a:lnTo>
                  <a:lnTo>
                    <a:pt x="1666" y="1873"/>
                  </a:lnTo>
                  <a:lnTo>
                    <a:pt x="1675" y="1858"/>
                  </a:lnTo>
                  <a:lnTo>
                    <a:pt x="1683" y="1845"/>
                  </a:lnTo>
                  <a:lnTo>
                    <a:pt x="1688" y="1838"/>
                  </a:lnTo>
                  <a:lnTo>
                    <a:pt x="1693" y="1832"/>
                  </a:lnTo>
                  <a:lnTo>
                    <a:pt x="1698" y="1827"/>
                  </a:lnTo>
                  <a:lnTo>
                    <a:pt x="1705" y="1823"/>
                  </a:lnTo>
                  <a:lnTo>
                    <a:pt x="1711" y="1820"/>
                  </a:lnTo>
                  <a:lnTo>
                    <a:pt x="1718" y="1818"/>
                  </a:lnTo>
                  <a:lnTo>
                    <a:pt x="1726" y="1816"/>
                  </a:lnTo>
                  <a:lnTo>
                    <a:pt x="1734" y="1815"/>
                  </a:lnTo>
                  <a:lnTo>
                    <a:pt x="1767" y="1816"/>
                  </a:lnTo>
                  <a:lnTo>
                    <a:pt x="1797" y="1818"/>
                  </a:lnTo>
                  <a:lnTo>
                    <a:pt x="1812" y="1820"/>
                  </a:lnTo>
                  <a:lnTo>
                    <a:pt x="1826" y="1822"/>
                  </a:lnTo>
                  <a:lnTo>
                    <a:pt x="1840" y="1824"/>
                  </a:lnTo>
                  <a:lnTo>
                    <a:pt x="1853" y="1827"/>
                  </a:lnTo>
                  <a:lnTo>
                    <a:pt x="1866" y="1831"/>
                  </a:lnTo>
                  <a:lnTo>
                    <a:pt x="1880" y="1835"/>
                  </a:lnTo>
                  <a:lnTo>
                    <a:pt x="1893" y="1840"/>
                  </a:lnTo>
                  <a:lnTo>
                    <a:pt x="1907" y="1846"/>
                  </a:lnTo>
                  <a:lnTo>
                    <a:pt x="1934" y="1858"/>
                  </a:lnTo>
                  <a:lnTo>
                    <a:pt x="1962" y="1874"/>
                  </a:lnTo>
                  <a:lnTo>
                    <a:pt x="1975" y="1881"/>
                  </a:lnTo>
                  <a:lnTo>
                    <a:pt x="1986" y="1885"/>
                  </a:lnTo>
                  <a:lnTo>
                    <a:pt x="1997" y="1889"/>
                  </a:lnTo>
                  <a:lnTo>
                    <a:pt x="2009" y="1892"/>
                  </a:lnTo>
                  <a:lnTo>
                    <a:pt x="2019" y="1896"/>
                  </a:lnTo>
                  <a:lnTo>
                    <a:pt x="2030" y="1900"/>
                  </a:lnTo>
                  <a:lnTo>
                    <a:pt x="2041" y="1906"/>
                  </a:lnTo>
                  <a:lnTo>
                    <a:pt x="2052" y="1914"/>
                  </a:lnTo>
                  <a:lnTo>
                    <a:pt x="2070" y="1929"/>
                  </a:lnTo>
                  <a:lnTo>
                    <a:pt x="2085" y="1945"/>
                  </a:lnTo>
                  <a:lnTo>
                    <a:pt x="2098" y="1961"/>
                  </a:lnTo>
                  <a:lnTo>
                    <a:pt x="2113" y="1976"/>
                  </a:lnTo>
                  <a:lnTo>
                    <a:pt x="2120" y="1983"/>
                  </a:lnTo>
                  <a:lnTo>
                    <a:pt x="2127" y="1989"/>
                  </a:lnTo>
                  <a:lnTo>
                    <a:pt x="2135" y="1994"/>
                  </a:lnTo>
                  <a:lnTo>
                    <a:pt x="2143" y="1999"/>
                  </a:lnTo>
                  <a:lnTo>
                    <a:pt x="2152" y="2004"/>
                  </a:lnTo>
                  <a:lnTo>
                    <a:pt x="2161" y="2007"/>
                  </a:lnTo>
                  <a:lnTo>
                    <a:pt x="2172" y="2008"/>
                  </a:lnTo>
                  <a:lnTo>
                    <a:pt x="2183" y="2009"/>
                  </a:lnTo>
                  <a:lnTo>
                    <a:pt x="2230" y="2009"/>
                  </a:lnTo>
                  <a:lnTo>
                    <a:pt x="2239" y="2009"/>
                  </a:lnTo>
                  <a:lnTo>
                    <a:pt x="2245" y="2008"/>
                  </a:lnTo>
                  <a:lnTo>
                    <a:pt x="2252" y="2006"/>
                  </a:lnTo>
                  <a:lnTo>
                    <a:pt x="2258" y="2005"/>
                  </a:lnTo>
                  <a:lnTo>
                    <a:pt x="2270" y="1999"/>
                  </a:lnTo>
                  <a:lnTo>
                    <a:pt x="2281" y="1994"/>
                  </a:lnTo>
                  <a:lnTo>
                    <a:pt x="2292" y="1989"/>
                  </a:lnTo>
                  <a:lnTo>
                    <a:pt x="2304" y="1985"/>
                  </a:lnTo>
                  <a:lnTo>
                    <a:pt x="2310" y="1983"/>
                  </a:lnTo>
                  <a:lnTo>
                    <a:pt x="2316" y="1982"/>
                  </a:lnTo>
                  <a:lnTo>
                    <a:pt x="2323" y="1981"/>
                  </a:lnTo>
                  <a:lnTo>
                    <a:pt x="2330" y="1980"/>
                  </a:lnTo>
                  <a:lnTo>
                    <a:pt x="2336" y="1981"/>
                  </a:lnTo>
                  <a:lnTo>
                    <a:pt x="2341" y="1982"/>
                  </a:lnTo>
                  <a:lnTo>
                    <a:pt x="2346" y="1984"/>
                  </a:lnTo>
                  <a:lnTo>
                    <a:pt x="2350" y="1986"/>
                  </a:lnTo>
                  <a:lnTo>
                    <a:pt x="2353" y="1989"/>
                  </a:lnTo>
                  <a:lnTo>
                    <a:pt x="2356" y="1993"/>
                  </a:lnTo>
                  <a:lnTo>
                    <a:pt x="2359" y="1996"/>
                  </a:lnTo>
                  <a:lnTo>
                    <a:pt x="2361" y="2001"/>
                  </a:lnTo>
                  <a:lnTo>
                    <a:pt x="2366" y="2012"/>
                  </a:lnTo>
                  <a:lnTo>
                    <a:pt x="2369" y="2023"/>
                  </a:lnTo>
                  <a:lnTo>
                    <a:pt x="2372" y="2035"/>
                  </a:lnTo>
                  <a:lnTo>
                    <a:pt x="2374" y="2048"/>
                  </a:lnTo>
                  <a:lnTo>
                    <a:pt x="2377" y="2060"/>
                  </a:lnTo>
                  <a:lnTo>
                    <a:pt x="2379" y="2073"/>
                  </a:lnTo>
                  <a:lnTo>
                    <a:pt x="2382" y="2084"/>
                  </a:lnTo>
                  <a:lnTo>
                    <a:pt x="2386" y="2093"/>
                  </a:lnTo>
                  <a:lnTo>
                    <a:pt x="2389" y="2099"/>
                  </a:lnTo>
                  <a:lnTo>
                    <a:pt x="2392" y="2103"/>
                  </a:lnTo>
                  <a:lnTo>
                    <a:pt x="2395" y="2106"/>
                  </a:lnTo>
                  <a:lnTo>
                    <a:pt x="2399" y="2109"/>
                  </a:lnTo>
                  <a:lnTo>
                    <a:pt x="2403" y="2112"/>
                  </a:lnTo>
                  <a:lnTo>
                    <a:pt x="2407" y="2113"/>
                  </a:lnTo>
                  <a:lnTo>
                    <a:pt x="2412" y="2114"/>
                  </a:lnTo>
                  <a:lnTo>
                    <a:pt x="2418" y="2115"/>
                  </a:lnTo>
                  <a:lnTo>
                    <a:pt x="2427" y="2114"/>
                  </a:lnTo>
                  <a:lnTo>
                    <a:pt x="2437" y="2113"/>
                  </a:lnTo>
                  <a:lnTo>
                    <a:pt x="2445" y="2111"/>
                  </a:lnTo>
                  <a:lnTo>
                    <a:pt x="2453" y="2108"/>
                  </a:lnTo>
                  <a:lnTo>
                    <a:pt x="2469" y="2100"/>
                  </a:lnTo>
                  <a:lnTo>
                    <a:pt x="2483" y="2091"/>
                  </a:lnTo>
                  <a:lnTo>
                    <a:pt x="2497" y="2083"/>
                  </a:lnTo>
                  <a:lnTo>
                    <a:pt x="2512" y="2075"/>
                  </a:lnTo>
                  <a:lnTo>
                    <a:pt x="2520" y="2072"/>
                  </a:lnTo>
                  <a:lnTo>
                    <a:pt x="2528" y="2070"/>
                  </a:lnTo>
                  <a:lnTo>
                    <a:pt x="2538" y="2069"/>
                  </a:lnTo>
                  <a:lnTo>
                    <a:pt x="2547" y="2068"/>
                  </a:lnTo>
                  <a:lnTo>
                    <a:pt x="2560" y="2069"/>
                  </a:lnTo>
                  <a:lnTo>
                    <a:pt x="2572" y="2071"/>
                  </a:lnTo>
                  <a:lnTo>
                    <a:pt x="2582" y="2075"/>
                  </a:lnTo>
                  <a:lnTo>
                    <a:pt x="2592" y="2080"/>
                  </a:lnTo>
                  <a:lnTo>
                    <a:pt x="2602" y="2086"/>
                  </a:lnTo>
                  <a:lnTo>
                    <a:pt x="2610" y="2093"/>
                  </a:lnTo>
                  <a:lnTo>
                    <a:pt x="2617" y="2101"/>
                  </a:lnTo>
                  <a:lnTo>
                    <a:pt x="2625" y="2109"/>
                  </a:lnTo>
                  <a:lnTo>
                    <a:pt x="2641" y="2125"/>
                  </a:lnTo>
                  <a:lnTo>
                    <a:pt x="2658" y="2141"/>
                  </a:lnTo>
                  <a:lnTo>
                    <a:pt x="2668" y="2148"/>
                  </a:lnTo>
                  <a:lnTo>
                    <a:pt x="2678" y="2154"/>
                  </a:lnTo>
                  <a:lnTo>
                    <a:pt x="2689" y="2159"/>
                  </a:lnTo>
                  <a:lnTo>
                    <a:pt x="2702" y="2164"/>
                  </a:lnTo>
                  <a:lnTo>
                    <a:pt x="2818" y="2135"/>
                  </a:lnTo>
                  <a:lnTo>
                    <a:pt x="2815" y="2122"/>
                  </a:lnTo>
                  <a:lnTo>
                    <a:pt x="2812" y="2110"/>
                  </a:lnTo>
                  <a:lnTo>
                    <a:pt x="2809" y="2096"/>
                  </a:lnTo>
                  <a:lnTo>
                    <a:pt x="2806" y="2083"/>
                  </a:lnTo>
                  <a:lnTo>
                    <a:pt x="2802" y="2073"/>
                  </a:lnTo>
                  <a:lnTo>
                    <a:pt x="2798" y="2063"/>
                  </a:lnTo>
                  <a:lnTo>
                    <a:pt x="2794" y="2054"/>
                  </a:lnTo>
                  <a:lnTo>
                    <a:pt x="2789" y="2046"/>
                  </a:lnTo>
                  <a:lnTo>
                    <a:pt x="2779" y="2029"/>
                  </a:lnTo>
                  <a:lnTo>
                    <a:pt x="2770" y="2010"/>
                  </a:lnTo>
                  <a:lnTo>
                    <a:pt x="2764" y="1991"/>
                  </a:lnTo>
                  <a:lnTo>
                    <a:pt x="2759" y="1975"/>
                  </a:lnTo>
                  <a:lnTo>
                    <a:pt x="2756" y="1958"/>
                  </a:lnTo>
                  <a:lnTo>
                    <a:pt x="2754" y="1942"/>
                  </a:lnTo>
                  <a:lnTo>
                    <a:pt x="2752" y="1909"/>
                  </a:lnTo>
                  <a:lnTo>
                    <a:pt x="2748" y="1870"/>
                  </a:lnTo>
                  <a:lnTo>
                    <a:pt x="2746" y="1853"/>
                  </a:lnTo>
                  <a:lnTo>
                    <a:pt x="2743" y="1836"/>
                  </a:lnTo>
                  <a:lnTo>
                    <a:pt x="2742" y="1821"/>
                  </a:lnTo>
                  <a:lnTo>
                    <a:pt x="2741" y="1802"/>
                  </a:lnTo>
                  <a:lnTo>
                    <a:pt x="2741" y="1799"/>
                  </a:lnTo>
                  <a:lnTo>
                    <a:pt x="2742" y="1796"/>
                  </a:lnTo>
                  <a:lnTo>
                    <a:pt x="2743" y="1794"/>
                  </a:lnTo>
                  <a:lnTo>
                    <a:pt x="2745" y="1792"/>
                  </a:lnTo>
                  <a:lnTo>
                    <a:pt x="2750" y="1790"/>
                  </a:lnTo>
                  <a:lnTo>
                    <a:pt x="2756" y="1788"/>
                  </a:lnTo>
                  <a:lnTo>
                    <a:pt x="2771" y="1785"/>
                  </a:lnTo>
                  <a:lnTo>
                    <a:pt x="2784" y="1780"/>
                  </a:lnTo>
                  <a:lnTo>
                    <a:pt x="2788" y="1778"/>
                  </a:lnTo>
                  <a:lnTo>
                    <a:pt x="2792" y="1775"/>
                  </a:lnTo>
                  <a:lnTo>
                    <a:pt x="2796" y="1772"/>
                  </a:lnTo>
                  <a:lnTo>
                    <a:pt x="2798" y="1769"/>
                  </a:lnTo>
                  <a:lnTo>
                    <a:pt x="2802" y="1762"/>
                  </a:lnTo>
                  <a:lnTo>
                    <a:pt x="2805" y="1754"/>
                  </a:lnTo>
                  <a:lnTo>
                    <a:pt x="2808" y="1736"/>
                  </a:lnTo>
                  <a:lnTo>
                    <a:pt x="2809" y="1715"/>
                  </a:lnTo>
                  <a:lnTo>
                    <a:pt x="2814" y="1719"/>
                  </a:lnTo>
                  <a:lnTo>
                    <a:pt x="2818" y="1723"/>
                  </a:lnTo>
                  <a:lnTo>
                    <a:pt x="2821" y="1728"/>
                  </a:lnTo>
                  <a:lnTo>
                    <a:pt x="2824" y="1733"/>
                  </a:lnTo>
                  <a:lnTo>
                    <a:pt x="2828" y="1738"/>
                  </a:lnTo>
                  <a:lnTo>
                    <a:pt x="2831" y="1741"/>
                  </a:lnTo>
                  <a:lnTo>
                    <a:pt x="2836" y="1744"/>
                  </a:lnTo>
                  <a:lnTo>
                    <a:pt x="2841" y="1745"/>
                  </a:lnTo>
                  <a:lnTo>
                    <a:pt x="2848" y="1744"/>
                  </a:lnTo>
                  <a:lnTo>
                    <a:pt x="2854" y="1743"/>
                  </a:lnTo>
                  <a:lnTo>
                    <a:pt x="2861" y="1741"/>
                  </a:lnTo>
                  <a:lnTo>
                    <a:pt x="2866" y="1738"/>
                  </a:lnTo>
                  <a:lnTo>
                    <a:pt x="2877" y="1731"/>
                  </a:lnTo>
                  <a:lnTo>
                    <a:pt x="2889" y="1723"/>
                  </a:lnTo>
                  <a:lnTo>
                    <a:pt x="2916" y="1708"/>
                  </a:lnTo>
                  <a:lnTo>
                    <a:pt x="2941" y="1695"/>
                  </a:lnTo>
                  <a:lnTo>
                    <a:pt x="2952" y="1688"/>
                  </a:lnTo>
                  <a:lnTo>
                    <a:pt x="2963" y="1679"/>
                  </a:lnTo>
                  <a:lnTo>
                    <a:pt x="2974" y="1671"/>
                  </a:lnTo>
                  <a:lnTo>
                    <a:pt x="2984" y="1661"/>
                  </a:lnTo>
                  <a:lnTo>
                    <a:pt x="2981" y="1656"/>
                  </a:lnTo>
                  <a:lnTo>
                    <a:pt x="2980" y="1640"/>
                  </a:lnTo>
                  <a:lnTo>
                    <a:pt x="2977" y="1627"/>
                  </a:lnTo>
                  <a:lnTo>
                    <a:pt x="2975" y="1613"/>
                  </a:lnTo>
                  <a:lnTo>
                    <a:pt x="2974" y="1598"/>
                  </a:lnTo>
                  <a:lnTo>
                    <a:pt x="2975" y="1592"/>
                  </a:lnTo>
                  <a:lnTo>
                    <a:pt x="2976" y="1585"/>
                  </a:lnTo>
                  <a:lnTo>
                    <a:pt x="2979" y="1579"/>
                  </a:lnTo>
                  <a:lnTo>
                    <a:pt x="2981" y="1574"/>
                  </a:lnTo>
                  <a:lnTo>
                    <a:pt x="2984" y="1569"/>
                  </a:lnTo>
                  <a:lnTo>
                    <a:pt x="2986" y="1564"/>
                  </a:lnTo>
                  <a:lnTo>
                    <a:pt x="2987" y="1557"/>
                  </a:lnTo>
                  <a:lnTo>
                    <a:pt x="2988" y="1550"/>
                  </a:lnTo>
                  <a:lnTo>
                    <a:pt x="2987" y="1533"/>
                  </a:lnTo>
                  <a:lnTo>
                    <a:pt x="2984" y="1517"/>
                  </a:lnTo>
                  <a:lnTo>
                    <a:pt x="2981" y="1503"/>
                  </a:lnTo>
                  <a:lnTo>
                    <a:pt x="2979" y="1484"/>
                  </a:lnTo>
                  <a:lnTo>
                    <a:pt x="2978" y="1473"/>
                  </a:lnTo>
                  <a:lnTo>
                    <a:pt x="2978" y="1460"/>
                  </a:lnTo>
                  <a:lnTo>
                    <a:pt x="2978" y="1455"/>
                  </a:lnTo>
                  <a:lnTo>
                    <a:pt x="2976" y="1450"/>
                  </a:lnTo>
                  <a:lnTo>
                    <a:pt x="2974" y="1446"/>
                  </a:lnTo>
                  <a:lnTo>
                    <a:pt x="2970" y="1442"/>
                  </a:lnTo>
                  <a:lnTo>
                    <a:pt x="2954" y="1432"/>
                  </a:lnTo>
                  <a:lnTo>
                    <a:pt x="2940" y="1425"/>
                  </a:lnTo>
                  <a:lnTo>
                    <a:pt x="2927" y="1420"/>
                  </a:lnTo>
                  <a:lnTo>
                    <a:pt x="2912" y="1415"/>
                  </a:lnTo>
                  <a:lnTo>
                    <a:pt x="2882" y="1408"/>
                  </a:lnTo>
                  <a:lnTo>
                    <a:pt x="2849" y="1399"/>
                  </a:lnTo>
                  <a:lnTo>
                    <a:pt x="2827" y="1393"/>
                  </a:lnTo>
                  <a:lnTo>
                    <a:pt x="2807" y="1387"/>
                  </a:lnTo>
                  <a:lnTo>
                    <a:pt x="2787" y="1381"/>
                  </a:lnTo>
                  <a:lnTo>
                    <a:pt x="2765" y="1374"/>
                  </a:lnTo>
                  <a:lnTo>
                    <a:pt x="2745" y="1367"/>
                  </a:lnTo>
                  <a:lnTo>
                    <a:pt x="2726" y="1361"/>
                  </a:lnTo>
                  <a:lnTo>
                    <a:pt x="2719" y="1356"/>
                  </a:lnTo>
                  <a:lnTo>
                    <a:pt x="2713" y="1350"/>
                  </a:lnTo>
                  <a:lnTo>
                    <a:pt x="2711" y="1347"/>
                  </a:lnTo>
                  <a:lnTo>
                    <a:pt x="2709" y="1343"/>
                  </a:lnTo>
                  <a:lnTo>
                    <a:pt x="2708" y="1339"/>
                  </a:lnTo>
                  <a:lnTo>
                    <a:pt x="2708" y="1333"/>
                  </a:lnTo>
                  <a:lnTo>
                    <a:pt x="2709" y="1323"/>
                  </a:lnTo>
                  <a:lnTo>
                    <a:pt x="2710" y="1315"/>
                  </a:lnTo>
                  <a:lnTo>
                    <a:pt x="2713" y="1307"/>
                  </a:lnTo>
                  <a:lnTo>
                    <a:pt x="2716" y="1298"/>
                  </a:lnTo>
                  <a:lnTo>
                    <a:pt x="2719" y="1290"/>
                  </a:lnTo>
                  <a:lnTo>
                    <a:pt x="2721" y="1282"/>
                  </a:lnTo>
                  <a:lnTo>
                    <a:pt x="2723" y="1272"/>
                  </a:lnTo>
                  <a:lnTo>
                    <a:pt x="2724" y="1263"/>
                  </a:lnTo>
                  <a:lnTo>
                    <a:pt x="2723" y="1251"/>
                  </a:lnTo>
                  <a:lnTo>
                    <a:pt x="2721" y="1239"/>
                  </a:lnTo>
                  <a:lnTo>
                    <a:pt x="2717" y="1229"/>
                  </a:lnTo>
                  <a:lnTo>
                    <a:pt x="2713" y="1220"/>
                  </a:lnTo>
                  <a:lnTo>
                    <a:pt x="2707" y="1210"/>
                  </a:lnTo>
                  <a:lnTo>
                    <a:pt x="2700" y="1202"/>
                  </a:lnTo>
                  <a:lnTo>
                    <a:pt x="2691" y="1195"/>
                  </a:lnTo>
                  <a:lnTo>
                    <a:pt x="2682" y="1189"/>
                  </a:lnTo>
                  <a:lnTo>
                    <a:pt x="2673" y="1183"/>
                  </a:lnTo>
                  <a:lnTo>
                    <a:pt x="2663" y="1176"/>
                  </a:lnTo>
                  <a:lnTo>
                    <a:pt x="2652" y="1171"/>
                  </a:lnTo>
                  <a:lnTo>
                    <a:pt x="2641" y="1165"/>
                  </a:lnTo>
                  <a:lnTo>
                    <a:pt x="2618" y="1155"/>
                  </a:lnTo>
                  <a:lnTo>
                    <a:pt x="2594" y="1144"/>
                  </a:lnTo>
                  <a:lnTo>
                    <a:pt x="2602" y="1141"/>
                  </a:lnTo>
                  <a:lnTo>
                    <a:pt x="2609" y="1138"/>
                  </a:lnTo>
                  <a:lnTo>
                    <a:pt x="2616" y="1136"/>
                  </a:lnTo>
                  <a:lnTo>
                    <a:pt x="2623" y="1135"/>
                  </a:lnTo>
                  <a:lnTo>
                    <a:pt x="2637" y="1133"/>
                  </a:lnTo>
                  <a:lnTo>
                    <a:pt x="2651" y="1132"/>
                  </a:lnTo>
                  <a:lnTo>
                    <a:pt x="2665" y="1131"/>
                  </a:lnTo>
                  <a:lnTo>
                    <a:pt x="2678" y="1128"/>
                  </a:lnTo>
                  <a:lnTo>
                    <a:pt x="2684" y="1126"/>
                  </a:lnTo>
                  <a:lnTo>
                    <a:pt x="2690" y="1123"/>
                  </a:lnTo>
                  <a:lnTo>
                    <a:pt x="2697" y="1119"/>
                  </a:lnTo>
                  <a:lnTo>
                    <a:pt x="2703" y="1114"/>
                  </a:lnTo>
                  <a:lnTo>
                    <a:pt x="2709" y="1108"/>
                  </a:lnTo>
                  <a:lnTo>
                    <a:pt x="2714" y="1102"/>
                  </a:lnTo>
                  <a:lnTo>
                    <a:pt x="2717" y="1095"/>
                  </a:lnTo>
                  <a:lnTo>
                    <a:pt x="2720" y="1088"/>
                  </a:lnTo>
                  <a:lnTo>
                    <a:pt x="2722" y="1080"/>
                  </a:lnTo>
                  <a:lnTo>
                    <a:pt x="2723" y="1072"/>
                  </a:lnTo>
                  <a:lnTo>
                    <a:pt x="2724" y="1064"/>
                  </a:lnTo>
                  <a:lnTo>
                    <a:pt x="2724" y="1055"/>
                  </a:lnTo>
                  <a:lnTo>
                    <a:pt x="2723" y="1047"/>
                  </a:lnTo>
                  <a:lnTo>
                    <a:pt x="2720" y="1040"/>
                  </a:lnTo>
                  <a:lnTo>
                    <a:pt x="2716" y="1034"/>
                  </a:lnTo>
                  <a:lnTo>
                    <a:pt x="2712" y="1027"/>
                  </a:lnTo>
                  <a:lnTo>
                    <a:pt x="2720" y="1021"/>
                  </a:lnTo>
                  <a:lnTo>
                    <a:pt x="2728" y="1018"/>
                  </a:lnTo>
                  <a:lnTo>
                    <a:pt x="2735" y="1015"/>
                  </a:lnTo>
                  <a:lnTo>
                    <a:pt x="2742" y="1013"/>
                  </a:lnTo>
                  <a:lnTo>
                    <a:pt x="2758" y="1011"/>
                  </a:lnTo>
                  <a:lnTo>
                    <a:pt x="2776" y="1010"/>
                  </a:lnTo>
                  <a:lnTo>
                    <a:pt x="2777" y="998"/>
                  </a:lnTo>
                  <a:lnTo>
                    <a:pt x="2778" y="986"/>
                  </a:lnTo>
                  <a:lnTo>
                    <a:pt x="2778" y="976"/>
                  </a:lnTo>
                  <a:lnTo>
                    <a:pt x="2776" y="967"/>
                  </a:lnTo>
                  <a:lnTo>
                    <a:pt x="2774" y="957"/>
                  </a:lnTo>
                  <a:lnTo>
                    <a:pt x="2770" y="950"/>
                  </a:lnTo>
                  <a:lnTo>
                    <a:pt x="2766" y="942"/>
                  </a:lnTo>
                  <a:lnTo>
                    <a:pt x="2761" y="936"/>
                  </a:lnTo>
                  <a:lnTo>
                    <a:pt x="2754" y="929"/>
                  </a:lnTo>
                  <a:lnTo>
                    <a:pt x="2748" y="922"/>
                  </a:lnTo>
                  <a:lnTo>
                    <a:pt x="2734" y="911"/>
                  </a:lnTo>
                  <a:lnTo>
                    <a:pt x="2718" y="901"/>
                  </a:lnTo>
                  <a:lnTo>
                    <a:pt x="2702" y="889"/>
                  </a:lnTo>
                  <a:lnTo>
                    <a:pt x="2684" y="878"/>
                  </a:lnTo>
                  <a:lnTo>
                    <a:pt x="2656" y="858"/>
                  </a:lnTo>
                  <a:lnTo>
                    <a:pt x="2631" y="840"/>
                  </a:lnTo>
                  <a:lnTo>
                    <a:pt x="2618" y="830"/>
                  </a:lnTo>
                  <a:lnTo>
                    <a:pt x="2607" y="821"/>
                  </a:lnTo>
                  <a:lnTo>
                    <a:pt x="2596" y="811"/>
                  </a:lnTo>
                  <a:lnTo>
                    <a:pt x="2585" y="801"/>
                  </a:lnTo>
                  <a:lnTo>
                    <a:pt x="2576" y="790"/>
                  </a:lnTo>
                  <a:lnTo>
                    <a:pt x="2567" y="780"/>
                  </a:lnTo>
                  <a:lnTo>
                    <a:pt x="2558" y="767"/>
                  </a:lnTo>
                  <a:lnTo>
                    <a:pt x="2550" y="755"/>
                  </a:lnTo>
                  <a:lnTo>
                    <a:pt x="2543" y="742"/>
                  </a:lnTo>
                  <a:lnTo>
                    <a:pt x="2537" y="728"/>
                  </a:lnTo>
                  <a:lnTo>
                    <a:pt x="2532" y="713"/>
                  </a:lnTo>
                  <a:lnTo>
                    <a:pt x="2526" y="696"/>
                  </a:lnTo>
                  <a:lnTo>
                    <a:pt x="2521" y="681"/>
                  </a:lnTo>
                  <a:lnTo>
                    <a:pt x="2515" y="667"/>
                  </a:lnTo>
                  <a:lnTo>
                    <a:pt x="2508" y="656"/>
                  </a:lnTo>
                  <a:lnTo>
                    <a:pt x="2501" y="645"/>
                  </a:lnTo>
                  <a:lnTo>
                    <a:pt x="2492" y="633"/>
                  </a:lnTo>
                  <a:lnTo>
                    <a:pt x="2484" y="622"/>
                  </a:lnTo>
                  <a:lnTo>
                    <a:pt x="2477" y="608"/>
                  </a:lnTo>
                  <a:lnTo>
                    <a:pt x="2470" y="595"/>
                  </a:lnTo>
                  <a:lnTo>
                    <a:pt x="2456" y="564"/>
                  </a:lnTo>
                  <a:lnTo>
                    <a:pt x="2444" y="536"/>
                  </a:lnTo>
                  <a:lnTo>
                    <a:pt x="2434" y="509"/>
                  </a:lnTo>
                  <a:lnTo>
                    <a:pt x="2424" y="483"/>
                  </a:lnTo>
                  <a:lnTo>
                    <a:pt x="2416" y="457"/>
                  </a:lnTo>
                  <a:lnTo>
                    <a:pt x="2409" y="429"/>
                  </a:lnTo>
                  <a:lnTo>
                    <a:pt x="2403" y="399"/>
                  </a:lnTo>
                  <a:lnTo>
                    <a:pt x="2396" y="366"/>
                  </a:lnTo>
                  <a:lnTo>
                    <a:pt x="2382" y="380"/>
                  </a:lnTo>
                  <a:lnTo>
                    <a:pt x="2370" y="395"/>
                  </a:lnTo>
                  <a:lnTo>
                    <a:pt x="2359" y="409"/>
                  </a:lnTo>
                  <a:lnTo>
                    <a:pt x="2349" y="427"/>
                  </a:lnTo>
                  <a:lnTo>
                    <a:pt x="2346" y="436"/>
                  </a:lnTo>
                  <a:lnTo>
                    <a:pt x="2343" y="444"/>
                  </a:lnTo>
                  <a:lnTo>
                    <a:pt x="2341" y="447"/>
                  </a:lnTo>
                  <a:lnTo>
                    <a:pt x="2338" y="450"/>
                  </a:lnTo>
                  <a:lnTo>
                    <a:pt x="2335" y="453"/>
                  </a:lnTo>
                  <a:lnTo>
                    <a:pt x="2330" y="453"/>
                  </a:lnTo>
                  <a:lnTo>
                    <a:pt x="2325" y="453"/>
                  </a:lnTo>
                  <a:lnTo>
                    <a:pt x="2320" y="451"/>
                  </a:lnTo>
                  <a:lnTo>
                    <a:pt x="2315" y="449"/>
                  </a:lnTo>
                  <a:lnTo>
                    <a:pt x="2312" y="446"/>
                  </a:lnTo>
                  <a:lnTo>
                    <a:pt x="2305" y="440"/>
                  </a:lnTo>
                  <a:lnTo>
                    <a:pt x="2299" y="431"/>
                  </a:lnTo>
                  <a:lnTo>
                    <a:pt x="2293" y="422"/>
                  </a:lnTo>
                  <a:lnTo>
                    <a:pt x="2287" y="412"/>
                  </a:lnTo>
                  <a:lnTo>
                    <a:pt x="2284" y="408"/>
                  </a:lnTo>
                  <a:lnTo>
                    <a:pt x="2280" y="404"/>
                  </a:lnTo>
                  <a:lnTo>
                    <a:pt x="2276" y="400"/>
                  </a:lnTo>
                  <a:lnTo>
                    <a:pt x="2272" y="397"/>
                  </a:lnTo>
                  <a:lnTo>
                    <a:pt x="2267" y="393"/>
                  </a:lnTo>
                  <a:lnTo>
                    <a:pt x="2262" y="388"/>
                  </a:lnTo>
                  <a:lnTo>
                    <a:pt x="2258" y="384"/>
                  </a:lnTo>
                  <a:lnTo>
                    <a:pt x="2254" y="380"/>
                  </a:lnTo>
                  <a:lnTo>
                    <a:pt x="2249" y="370"/>
                  </a:lnTo>
                  <a:lnTo>
                    <a:pt x="2245" y="360"/>
                  </a:lnTo>
                  <a:lnTo>
                    <a:pt x="2243" y="348"/>
                  </a:lnTo>
                  <a:lnTo>
                    <a:pt x="2241" y="337"/>
                  </a:lnTo>
                  <a:lnTo>
                    <a:pt x="2240" y="324"/>
                  </a:lnTo>
                  <a:lnTo>
                    <a:pt x="2239" y="311"/>
                  </a:lnTo>
                  <a:lnTo>
                    <a:pt x="2236" y="290"/>
                  </a:lnTo>
                  <a:lnTo>
                    <a:pt x="2231" y="272"/>
                  </a:lnTo>
                  <a:lnTo>
                    <a:pt x="2229" y="263"/>
                  </a:lnTo>
                  <a:lnTo>
                    <a:pt x="2227" y="253"/>
                  </a:lnTo>
                  <a:lnTo>
                    <a:pt x="2226" y="243"/>
                  </a:lnTo>
                  <a:lnTo>
                    <a:pt x="2225" y="232"/>
                  </a:lnTo>
                  <a:lnTo>
                    <a:pt x="2225" y="179"/>
                  </a:lnTo>
                  <a:lnTo>
                    <a:pt x="2225" y="169"/>
                  </a:lnTo>
                  <a:lnTo>
                    <a:pt x="2225" y="160"/>
                  </a:lnTo>
                  <a:lnTo>
                    <a:pt x="2225" y="151"/>
                  </a:lnTo>
                  <a:lnTo>
                    <a:pt x="2224" y="142"/>
                  </a:lnTo>
                  <a:lnTo>
                    <a:pt x="2213" y="144"/>
                  </a:lnTo>
                  <a:lnTo>
                    <a:pt x="2201" y="146"/>
                  </a:lnTo>
                  <a:lnTo>
                    <a:pt x="2173" y="139"/>
                  </a:lnTo>
                  <a:lnTo>
                    <a:pt x="2156" y="143"/>
                  </a:lnTo>
                  <a:lnTo>
                    <a:pt x="2142" y="145"/>
                  </a:lnTo>
                  <a:lnTo>
                    <a:pt x="2127" y="146"/>
                  </a:lnTo>
                  <a:lnTo>
                    <a:pt x="2111" y="146"/>
                  </a:lnTo>
                  <a:lnTo>
                    <a:pt x="2094" y="146"/>
                  </a:lnTo>
                  <a:lnTo>
                    <a:pt x="2080" y="145"/>
                  </a:lnTo>
                  <a:lnTo>
                    <a:pt x="2064" y="144"/>
                  </a:lnTo>
                  <a:lnTo>
                    <a:pt x="2048" y="144"/>
                  </a:lnTo>
                  <a:lnTo>
                    <a:pt x="2026" y="144"/>
                  </a:lnTo>
                  <a:lnTo>
                    <a:pt x="2006" y="144"/>
                  </a:lnTo>
                  <a:lnTo>
                    <a:pt x="1986" y="143"/>
                  </a:lnTo>
                  <a:lnTo>
                    <a:pt x="1967" y="141"/>
                  </a:lnTo>
                  <a:lnTo>
                    <a:pt x="1949" y="139"/>
                  </a:lnTo>
                  <a:lnTo>
                    <a:pt x="1930" y="134"/>
                  </a:lnTo>
                  <a:lnTo>
                    <a:pt x="1911" y="129"/>
                  </a:lnTo>
                  <a:lnTo>
                    <a:pt x="1890" y="122"/>
                  </a:lnTo>
                  <a:lnTo>
                    <a:pt x="1882" y="119"/>
                  </a:lnTo>
                  <a:lnTo>
                    <a:pt x="1876" y="114"/>
                  </a:lnTo>
                  <a:lnTo>
                    <a:pt x="1873" y="112"/>
                  </a:lnTo>
                  <a:lnTo>
                    <a:pt x="1870" y="110"/>
                  </a:lnTo>
                  <a:lnTo>
                    <a:pt x="1865" y="109"/>
                  </a:lnTo>
                  <a:lnTo>
                    <a:pt x="1861" y="109"/>
                  </a:lnTo>
                  <a:lnTo>
                    <a:pt x="1852" y="109"/>
                  </a:lnTo>
                  <a:lnTo>
                    <a:pt x="1844" y="111"/>
                  </a:lnTo>
                  <a:lnTo>
                    <a:pt x="1835" y="113"/>
                  </a:lnTo>
                  <a:lnTo>
                    <a:pt x="1827" y="117"/>
                  </a:lnTo>
                  <a:lnTo>
                    <a:pt x="1814" y="125"/>
                  </a:lnTo>
                  <a:lnTo>
                    <a:pt x="1800" y="134"/>
                  </a:lnTo>
                  <a:lnTo>
                    <a:pt x="1787" y="144"/>
                  </a:lnTo>
                  <a:lnTo>
                    <a:pt x="1773" y="152"/>
                  </a:lnTo>
                  <a:lnTo>
                    <a:pt x="1765" y="155"/>
                  </a:lnTo>
                  <a:lnTo>
                    <a:pt x="1757" y="158"/>
                  </a:lnTo>
                  <a:lnTo>
                    <a:pt x="1748" y="159"/>
                  </a:lnTo>
                  <a:lnTo>
                    <a:pt x="1739" y="160"/>
                  </a:lnTo>
                  <a:lnTo>
                    <a:pt x="1731" y="160"/>
                  </a:lnTo>
                  <a:lnTo>
                    <a:pt x="1725" y="158"/>
                  </a:lnTo>
                  <a:lnTo>
                    <a:pt x="1719" y="156"/>
                  </a:lnTo>
                  <a:lnTo>
                    <a:pt x="1713" y="154"/>
                  </a:lnTo>
                  <a:lnTo>
                    <a:pt x="1702" y="147"/>
                  </a:lnTo>
                  <a:lnTo>
                    <a:pt x="1694" y="139"/>
                  </a:lnTo>
                  <a:lnTo>
                    <a:pt x="1677" y="118"/>
                  </a:lnTo>
                  <a:lnTo>
                    <a:pt x="1656" y="96"/>
                  </a:lnTo>
                  <a:lnTo>
                    <a:pt x="1629" y="72"/>
                  </a:lnTo>
                  <a:lnTo>
                    <a:pt x="1608" y="50"/>
                  </a:lnTo>
                  <a:lnTo>
                    <a:pt x="1585" y="26"/>
                  </a:lnTo>
                  <a:lnTo>
                    <a:pt x="1560" y="0"/>
                  </a:lnTo>
                  <a:lnTo>
                    <a:pt x="1554" y="4"/>
                  </a:lnTo>
                  <a:lnTo>
                    <a:pt x="1549" y="10"/>
                  </a:lnTo>
                  <a:lnTo>
                    <a:pt x="1545" y="14"/>
                  </a:lnTo>
                  <a:lnTo>
                    <a:pt x="1541" y="19"/>
                  </a:lnTo>
                  <a:lnTo>
                    <a:pt x="1533" y="30"/>
                  </a:lnTo>
                  <a:lnTo>
                    <a:pt x="1528" y="42"/>
                  </a:lnTo>
                  <a:lnTo>
                    <a:pt x="1520" y="66"/>
                  </a:lnTo>
                  <a:lnTo>
                    <a:pt x="1513" y="94"/>
                  </a:lnTo>
                  <a:lnTo>
                    <a:pt x="1511" y="98"/>
                  </a:lnTo>
                  <a:lnTo>
                    <a:pt x="1509" y="102"/>
                  </a:lnTo>
                  <a:lnTo>
                    <a:pt x="1507" y="106"/>
                  </a:lnTo>
                  <a:lnTo>
                    <a:pt x="1503" y="109"/>
                  </a:lnTo>
                  <a:lnTo>
                    <a:pt x="1497" y="113"/>
                  </a:lnTo>
                  <a:lnTo>
                    <a:pt x="1490" y="117"/>
                  </a:lnTo>
                  <a:lnTo>
                    <a:pt x="1474" y="122"/>
                  </a:lnTo>
                  <a:lnTo>
                    <a:pt x="1456" y="129"/>
                  </a:lnTo>
                  <a:lnTo>
                    <a:pt x="1450" y="133"/>
                  </a:lnTo>
                  <a:lnTo>
                    <a:pt x="1445" y="138"/>
                  </a:lnTo>
                  <a:lnTo>
                    <a:pt x="1441" y="143"/>
                  </a:lnTo>
                  <a:lnTo>
                    <a:pt x="1435" y="147"/>
                  </a:lnTo>
                  <a:lnTo>
                    <a:pt x="1431" y="151"/>
                  </a:lnTo>
                  <a:lnTo>
                    <a:pt x="1426" y="155"/>
                  </a:lnTo>
                  <a:lnTo>
                    <a:pt x="1420" y="157"/>
                  </a:lnTo>
                  <a:lnTo>
                    <a:pt x="1414" y="158"/>
                  </a:lnTo>
                  <a:lnTo>
                    <a:pt x="1406" y="157"/>
                  </a:lnTo>
                  <a:lnTo>
                    <a:pt x="1401" y="155"/>
                  </a:lnTo>
                  <a:lnTo>
                    <a:pt x="1396" y="151"/>
                  </a:lnTo>
                  <a:lnTo>
                    <a:pt x="1392" y="146"/>
                  </a:lnTo>
                  <a:lnTo>
                    <a:pt x="1386" y="134"/>
                  </a:lnTo>
                  <a:lnTo>
                    <a:pt x="1381" y="120"/>
                  </a:lnTo>
                  <a:lnTo>
                    <a:pt x="1375" y="107"/>
                  </a:lnTo>
                  <a:lnTo>
                    <a:pt x="1368" y="94"/>
                  </a:lnTo>
                  <a:lnTo>
                    <a:pt x="1364" y="89"/>
                  </a:lnTo>
                  <a:lnTo>
                    <a:pt x="1359" y="86"/>
                  </a:lnTo>
                  <a:lnTo>
                    <a:pt x="1354" y="83"/>
                  </a:lnTo>
                  <a:lnTo>
                    <a:pt x="1347" y="83"/>
                  </a:lnTo>
                  <a:lnTo>
                    <a:pt x="1292" y="83"/>
                  </a:lnTo>
                  <a:lnTo>
                    <a:pt x="1260" y="82"/>
                  </a:lnTo>
                  <a:lnTo>
                    <a:pt x="1232" y="81"/>
                  </a:lnTo>
                  <a:lnTo>
                    <a:pt x="1219" y="79"/>
                  </a:lnTo>
                  <a:lnTo>
                    <a:pt x="1204" y="77"/>
                  </a:lnTo>
                  <a:lnTo>
                    <a:pt x="1190" y="75"/>
                  </a:lnTo>
                  <a:lnTo>
                    <a:pt x="1173" y="70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>
                  <a:latin typeface="Calibri" panose="020F0502020204030204" pitchFamily="34" charset="0"/>
                </a:rPr>
                <a:t>Kherson</a:t>
              </a:r>
              <a:endParaRPr lang="ru-RU" altLang="ru-RU" sz="675">
                <a:latin typeface="Calibri" panose="020F0502020204030204" pitchFamily="34" charset="0"/>
              </a:endParaRPr>
            </a:p>
          </p:txBody>
        </p:sp>
        <p:sp>
          <p:nvSpPr>
            <p:cNvPr id="17" name="Crimea"/>
            <p:cNvSpPr>
              <a:spLocks/>
            </p:cNvSpPr>
            <p:nvPr/>
          </p:nvSpPr>
          <p:spPr bwMode="auto">
            <a:xfrm>
              <a:off x="3230" y="3391"/>
              <a:ext cx="1137" cy="685"/>
            </a:xfrm>
            <a:custGeom>
              <a:avLst/>
              <a:gdLst>
                <a:gd name="T0" fmla="*/ 349 w 3784"/>
                <a:gd name="T1" fmla="*/ 220 h 2362"/>
                <a:gd name="T2" fmla="*/ 349 w 3784"/>
                <a:gd name="T3" fmla="*/ 220 h 2362"/>
                <a:gd name="T4" fmla="*/ 349 w 3784"/>
                <a:gd name="T5" fmla="*/ 220 h 2362"/>
                <a:gd name="T6" fmla="*/ 349 w 3784"/>
                <a:gd name="T7" fmla="*/ 220 h 2362"/>
                <a:gd name="T8" fmla="*/ 349 w 3784"/>
                <a:gd name="T9" fmla="*/ 220 h 2362"/>
                <a:gd name="T10" fmla="*/ 349 w 3784"/>
                <a:gd name="T11" fmla="*/ 220 h 2362"/>
                <a:gd name="T12" fmla="*/ 349 w 3784"/>
                <a:gd name="T13" fmla="*/ 220 h 2362"/>
                <a:gd name="T14" fmla="*/ 349 w 3784"/>
                <a:gd name="T15" fmla="*/ 220 h 2362"/>
                <a:gd name="T16" fmla="*/ 349 w 3784"/>
                <a:gd name="T17" fmla="*/ 220 h 2362"/>
                <a:gd name="T18" fmla="*/ 349 w 3784"/>
                <a:gd name="T19" fmla="*/ 220 h 2362"/>
                <a:gd name="T20" fmla="*/ 349 w 3784"/>
                <a:gd name="T21" fmla="*/ 220 h 2362"/>
                <a:gd name="T22" fmla="*/ 349 w 3784"/>
                <a:gd name="T23" fmla="*/ 220 h 2362"/>
                <a:gd name="T24" fmla="*/ 349 w 3784"/>
                <a:gd name="T25" fmla="*/ 220 h 2362"/>
                <a:gd name="T26" fmla="*/ 349 w 3784"/>
                <a:gd name="T27" fmla="*/ 220 h 2362"/>
                <a:gd name="T28" fmla="*/ 349 w 3784"/>
                <a:gd name="T29" fmla="*/ 220 h 2362"/>
                <a:gd name="T30" fmla="*/ 349 w 3784"/>
                <a:gd name="T31" fmla="*/ 220 h 2362"/>
                <a:gd name="T32" fmla="*/ 349 w 3784"/>
                <a:gd name="T33" fmla="*/ 220 h 2362"/>
                <a:gd name="T34" fmla="*/ 349 w 3784"/>
                <a:gd name="T35" fmla="*/ 220 h 2362"/>
                <a:gd name="T36" fmla="*/ 349 w 3784"/>
                <a:gd name="T37" fmla="*/ 220 h 2362"/>
                <a:gd name="T38" fmla="*/ 349 w 3784"/>
                <a:gd name="T39" fmla="*/ 220 h 2362"/>
                <a:gd name="T40" fmla="*/ 349 w 3784"/>
                <a:gd name="T41" fmla="*/ 220 h 2362"/>
                <a:gd name="T42" fmla="*/ 349 w 3784"/>
                <a:gd name="T43" fmla="*/ 220 h 2362"/>
                <a:gd name="T44" fmla="*/ 349 w 3784"/>
                <a:gd name="T45" fmla="*/ 220 h 2362"/>
                <a:gd name="T46" fmla="*/ 349 w 3784"/>
                <a:gd name="T47" fmla="*/ 220 h 2362"/>
                <a:gd name="T48" fmla="*/ 349 w 3784"/>
                <a:gd name="T49" fmla="*/ 220 h 2362"/>
                <a:gd name="T50" fmla="*/ 349 w 3784"/>
                <a:gd name="T51" fmla="*/ 220 h 2362"/>
                <a:gd name="T52" fmla="*/ 349 w 3784"/>
                <a:gd name="T53" fmla="*/ 220 h 2362"/>
                <a:gd name="T54" fmla="*/ 349 w 3784"/>
                <a:gd name="T55" fmla="*/ 220 h 2362"/>
                <a:gd name="T56" fmla="*/ 349 w 3784"/>
                <a:gd name="T57" fmla="*/ 220 h 2362"/>
                <a:gd name="T58" fmla="*/ 349 w 3784"/>
                <a:gd name="T59" fmla="*/ 220 h 2362"/>
                <a:gd name="T60" fmla="*/ 349 w 3784"/>
                <a:gd name="T61" fmla="*/ 220 h 2362"/>
                <a:gd name="T62" fmla="*/ 349 w 3784"/>
                <a:gd name="T63" fmla="*/ 220 h 2362"/>
                <a:gd name="T64" fmla="*/ 349 w 3784"/>
                <a:gd name="T65" fmla="*/ 220 h 2362"/>
                <a:gd name="T66" fmla="*/ 349 w 3784"/>
                <a:gd name="T67" fmla="*/ 220 h 2362"/>
                <a:gd name="T68" fmla="*/ 349 w 3784"/>
                <a:gd name="T69" fmla="*/ 220 h 2362"/>
                <a:gd name="T70" fmla="*/ 349 w 3784"/>
                <a:gd name="T71" fmla="*/ 220 h 2362"/>
                <a:gd name="T72" fmla="*/ 349 w 3784"/>
                <a:gd name="T73" fmla="*/ 220 h 2362"/>
                <a:gd name="T74" fmla="*/ 349 w 3784"/>
                <a:gd name="T75" fmla="*/ 220 h 2362"/>
                <a:gd name="T76" fmla="*/ 349 w 3784"/>
                <a:gd name="T77" fmla="*/ 220 h 2362"/>
                <a:gd name="T78" fmla="*/ 349 w 3784"/>
                <a:gd name="T79" fmla="*/ 220 h 2362"/>
                <a:gd name="T80" fmla="*/ 349 w 3784"/>
                <a:gd name="T81" fmla="*/ 220 h 2362"/>
                <a:gd name="T82" fmla="*/ 349 w 3784"/>
                <a:gd name="T83" fmla="*/ 220 h 2362"/>
                <a:gd name="T84" fmla="*/ 349 w 3784"/>
                <a:gd name="T85" fmla="*/ 220 h 2362"/>
                <a:gd name="T86" fmla="*/ 349 w 3784"/>
                <a:gd name="T87" fmla="*/ 220 h 2362"/>
                <a:gd name="T88" fmla="*/ 349 w 3784"/>
                <a:gd name="T89" fmla="*/ 220 h 2362"/>
                <a:gd name="T90" fmla="*/ 349 w 3784"/>
                <a:gd name="T91" fmla="*/ 220 h 2362"/>
                <a:gd name="T92" fmla="*/ 0 w 3784"/>
                <a:gd name="T93" fmla="*/ 220 h 2362"/>
                <a:gd name="T94" fmla="*/ 349 w 3784"/>
                <a:gd name="T95" fmla="*/ 220 h 2362"/>
                <a:gd name="T96" fmla="*/ 349 w 3784"/>
                <a:gd name="T97" fmla="*/ 220 h 2362"/>
                <a:gd name="T98" fmla="*/ 349 w 3784"/>
                <a:gd name="T99" fmla="*/ 220 h 2362"/>
                <a:gd name="T100" fmla="*/ 349 w 3784"/>
                <a:gd name="T101" fmla="*/ 220 h 2362"/>
                <a:gd name="T102" fmla="*/ 349 w 3784"/>
                <a:gd name="T103" fmla="*/ 220 h 2362"/>
                <a:gd name="T104" fmla="*/ 349 w 3784"/>
                <a:gd name="T105" fmla="*/ 220 h 2362"/>
                <a:gd name="T106" fmla="*/ 349 w 3784"/>
                <a:gd name="T107" fmla="*/ 220 h 2362"/>
                <a:gd name="T108" fmla="*/ 349 w 3784"/>
                <a:gd name="T109" fmla="*/ 220 h 2362"/>
                <a:gd name="T110" fmla="*/ 349 w 3784"/>
                <a:gd name="T111" fmla="*/ 220 h 2362"/>
                <a:gd name="T112" fmla="*/ 349 w 3784"/>
                <a:gd name="T113" fmla="*/ 220 h 2362"/>
                <a:gd name="T114" fmla="*/ 349 w 3784"/>
                <a:gd name="T115" fmla="*/ 220 h 2362"/>
                <a:gd name="T116" fmla="*/ 349 w 3784"/>
                <a:gd name="T117" fmla="*/ 220 h 2362"/>
                <a:gd name="T118" fmla="*/ 349 w 3784"/>
                <a:gd name="T119" fmla="*/ 220 h 2362"/>
                <a:gd name="T120" fmla="*/ 349 w 3784"/>
                <a:gd name="T121" fmla="*/ 220 h 2362"/>
                <a:gd name="T122" fmla="*/ 349 w 3784"/>
                <a:gd name="T123" fmla="*/ 220 h 236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784"/>
                <a:gd name="T187" fmla="*/ 0 h 2362"/>
                <a:gd name="T188" fmla="*/ 3784 w 3784"/>
                <a:gd name="T189" fmla="*/ 2362 h 236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784" h="2362">
                  <a:moveTo>
                    <a:pt x="2146" y="320"/>
                  </a:moveTo>
                  <a:lnTo>
                    <a:pt x="2150" y="335"/>
                  </a:lnTo>
                  <a:lnTo>
                    <a:pt x="2157" y="350"/>
                  </a:lnTo>
                  <a:lnTo>
                    <a:pt x="2161" y="358"/>
                  </a:lnTo>
                  <a:lnTo>
                    <a:pt x="2165" y="365"/>
                  </a:lnTo>
                  <a:lnTo>
                    <a:pt x="2169" y="373"/>
                  </a:lnTo>
                  <a:lnTo>
                    <a:pt x="2175" y="382"/>
                  </a:lnTo>
                  <a:lnTo>
                    <a:pt x="2183" y="393"/>
                  </a:lnTo>
                  <a:lnTo>
                    <a:pt x="2190" y="404"/>
                  </a:lnTo>
                  <a:lnTo>
                    <a:pt x="2196" y="416"/>
                  </a:lnTo>
                  <a:lnTo>
                    <a:pt x="2201" y="427"/>
                  </a:lnTo>
                  <a:lnTo>
                    <a:pt x="2210" y="451"/>
                  </a:lnTo>
                  <a:lnTo>
                    <a:pt x="2221" y="477"/>
                  </a:lnTo>
                  <a:lnTo>
                    <a:pt x="2230" y="495"/>
                  </a:lnTo>
                  <a:lnTo>
                    <a:pt x="2239" y="512"/>
                  </a:lnTo>
                  <a:lnTo>
                    <a:pt x="2248" y="527"/>
                  </a:lnTo>
                  <a:lnTo>
                    <a:pt x="2257" y="543"/>
                  </a:lnTo>
                  <a:lnTo>
                    <a:pt x="2266" y="557"/>
                  </a:lnTo>
                  <a:lnTo>
                    <a:pt x="2274" y="573"/>
                  </a:lnTo>
                  <a:lnTo>
                    <a:pt x="2283" y="589"/>
                  </a:lnTo>
                  <a:lnTo>
                    <a:pt x="2292" y="608"/>
                  </a:lnTo>
                  <a:lnTo>
                    <a:pt x="2303" y="639"/>
                  </a:lnTo>
                  <a:lnTo>
                    <a:pt x="2314" y="667"/>
                  </a:lnTo>
                  <a:lnTo>
                    <a:pt x="2321" y="679"/>
                  </a:lnTo>
                  <a:lnTo>
                    <a:pt x="2330" y="690"/>
                  </a:lnTo>
                  <a:lnTo>
                    <a:pt x="2335" y="696"/>
                  </a:lnTo>
                  <a:lnTo>
                    <a:pt x="2340" y="701"/>
                  </a:lnTo>
                  <a:lnTo>
                    <a:pt x="2346" y="706"/>
                  </a:lnTo>
                  <a:lnTo>
                    <a:pt x="2354" y="711"/>
                  </a:lnTo>
                  <a:lnTo>
                    <a:pt x="2370" y="728"/>
                  </a:lnTo>
                  <a:lnTo>
                    <a:pt x="2382" y="744"/>
                  </a:lnTo>
                  <a:lnTo>
                    <a:pt x="2394" y="760"/>
                  </a:lnTo>
                  <a:lnTo>
                    <a:pt x="2403" y="775"/>
                  </a:lnTo>
                  <a:lnTo>
                    <a:pt x="2413" y="791"/>
                  </a:lnTo>
                  <a:lnTo>
                    <a:pt x="2424" y="807"/>
                  </a:lnTo>
                  <a:lnTo>
                    <a:pt x="2435" y="824"/>
                  </a:lnTo>
                  <a:lnTo>
                    <a:pt x="2448" y="841"/>
                  </a:lnTo>
                  <a:lnTo>
                    <a:pt x="2471" y="869"/>
                  </a:lnTo>
                  <a:lnTo>
                    <a:pt x="2492" y="893"/>
                  </a:lnTo>
                  <a:lnTo>
                    <a:pt x="2512" y="918"/>
                  </a:lnTo>
                  <a:lnTo>
                    <a:pt x="2533" y="947"/>
                  </a:lnTo>
                  <a:lnTo>
                    <a:pt x="2544" y="961"/>
                  </a:lnTo>
                  <a:lnTo>
                    <a:pt x="2555" y="972"/>
                  </a:lnTo>
                  <a:lnTo>
                    <a:pt x="2566" y="983"/>
                  </a:lnTo>
                  <a:lnTo>
                    <a:pt x="2579" y="995"/>
                  </a:lnTo>
                  <a:lnTo>
                    <a:pt x="2585" y="1001"/>
                  </a:lnTo>
                  <a:lnTo>
                    <a:pt x="2589" y="1007"/>
                  </a:lnTo>
                  <a:lnTo>
                    <a:pt x="2592" y="1014"/>
                  </a:lnTo>
                  <a:lnTo>
                    <a:pt x="2595" y="1020"/>
                  </a:lnTo>
                  <a:lnTo>
                    <a:pt x="2597" y="1026"/>
                  </a:lnTo>
                  <a:lnTo>
                    <a:pt x="2601" y="1032"/>
                  </a:lnTo>
                  <a:lnTo>
                    <a:pt x="2605" y="1038"/>
                  </a:lnTo>
                  <a:lnTo>
                    <a:pt x="2611" y="1044"/>
                  </a:lnTo>
                  <a:lnTo>
                    <a:pt x="2623" y="1052"/>
                  </a:lnTo>
                  <a:lnTo>
                    <a:pt x="2633" y="1058"/>
                  </a:lnTo>
                  <a:lnTo>
                    <a:pt x="2643" y="1063"/>
                  </a:lnTo>
                  <a:lnTo>
                    <a:pt x="2654" y="1068"/>
                  </a:lnTo>
                  <a:lnTo>
                    <a:pt x="2676" y="1078"/>
                  </a:lnTo>
                  <a:lnTo>
                    <a:pt x="2701" y="1087"/>
                  </a:lnTo>
                  <a:lnTo>
                    <a:pt x="2709" y="1091"/>
                  </a:lnTo>
                  <a:lnTo>
                    <a:pt x="2717" y="1096"/>
                  </a:lnTo>
                  <a:lnTo>
                    <a:pt x="2723" y="1102"/>
                  </a:lnTo>
                  <a:lnTo>
                    <a:pt x="2729" y="1108"/>
                  </a:lnTo>
                  <a:lnTo>
                    <a:pt x="2735" y="1113"/>
                  </a:lnTo>
                  <a:lnTo>
                    <a:pt x="2741" y="1118"/>
                  </a:lnTo>
                  <a:lnTo>
                    <a:pt x="2745" y="1119"/>
                  </a:lnTo>
                  <a:lnTo>
                    <a:pt x="2750" y="1120"/>
                  </a:lnTo>
                  <a:lnTo>
                    <a:pt x="2754" y="1121"/>
                  </a:lnTo>
                  <a:lnTo>
                    <a:pt x="2759" y="1121"/>
                  </a:lnTo>
                  <a:lnTo>
                    <a:pt x="2768" y="1120"/>
                  </a:lnTo>
                  <a:lnTo>
                    <a:pt x="2776" y="1118"/>
                  </a:lnTo>
                  <a:lnTo>
                    <a:pt x="2784" y="1115"/>
                  </a:lnTo>
                  <a:lnTo>
                    <a:pt x="2791" y="1111"/>
                  </a:lnTo>
                  <a:lnTo>
                    <a:pt x="2797" y="1106"/>
                  </a:lnTo>
                  <a:lnTo>
                    <a:pt x="2805" y="1101"/>
                  </a:lnTo>
                  <a:lnTo>
                    <a:pt x="2812" y="1097"/>
                  </a:lnTo>
                  <a:lnTo>
                    <a:pt x="2822" y="1094"/>
                  </a:lnTo>
                  <a:lnTo>
                    <a:pt x="2857" y="1088"/>
                  </a:lnTo>
                  <a:lnTo>
                    <a:pt x="2889" y="1083"/>
                  </a:lnTo>
                  <a:lnTo>
                    <a:pt x="2903" y="1079"/>
                  </a:lnTo>
                  <a:lnTo>
                    <a:pt x="2917" y="1074"/>
                  </a:lnTo>
                  <a:lnTo>
                    <a:pt x="2924" y="1069"/>
                  </a:lnTo>
                  <a:lnTo>
                    <a:pt x="2930" y="1064"/>
                  </a:lnTo>
                  <a:lnTo>
                    <a:pt x="2937" y="1059"/>
                  </a:lnTo>
                  <a:lnTo>
                    <a:pt x="2943" y="1053"/>
                  </a:lnTo>
                  <a:lnTo>
                    <a:pt x="2953" y="1043"/>
                  </a:lnTo>
                  <a:lnTo>
                    <a:pt x="2961" y="1031"/>
                  </a:lnTo>
                  <a:lnTo>
                    <a:pt x="2967" y="1021"/>
                  </a:lnTo>
                  <a:lnTo>
                    <a:pt x="2973" y="1011"/>
                  </a:lnTo>
                  <a:lnTo>
                    <a:pt x="2984" y="989"/>
                  </a:lnTo>
                  <a:lnTo>
                    <a:pt x="2995" y="963"/>
                  </a:lnTo>
                  <a:lnTo>
                    <a:pt x="3002" y="945"/>
                  </a:lnTo>
                  <a:lnTo>
                    <a:pt x="3006" y="930"/>
                  </a:lnTo>
                  <a:lnTo>
                    <a:pt x="3011" y="914"/>
                  </a:lnTo>
                  <a:lnTo>
                    <a:pt x="3019" y="897"/>
                  </a:lnTo>
                  <a:lnTo>
                    <a:pt x="3023" y="888"/>
                  </a:lnTo>
                  <a:lnTo>
                    <a:pt x="3027" y="878"/>
                  </a:lnTo>
                  <a:lnTo>
                    <a:pt x="3029" y="874"/>
                  </a:lnTo>
                  <a:lnTo>
                    <a:pt x="3032" y="871"/>
                  </a:lnTo>
                  <a:lnTo>
                    <a:pt x="3035" y="869"/>
                  </a:lnTo>
                  <a:lnTo>
                    <a:pt x="3040" y="869"/>
                  </a:lnTo>
                  <a:lnTo>
                    <a:pt x="3046" y="869"/>
                  </a:lnTo>
                  <a:lnTo>
                    <a:pt x="3051" y="870"/>
                  </a:lnTo>
                  <a:lnTo>
                    <a:pt x="3056" y="871"/>
                  </a:lnTo>
                  <a:lnTo>
                    <a:pt x="3061" y="872"/>
                  </a:lnTo>
                  <a:lnTo>
                    <a:pt x="3065" y="875"/>
                  </a:lnTo>
                  <a:lnTo>
                    <a:pt x="3068" y="878"/>
                  </a:lnTo>
                  <a:lnTo>
                    <a:pt x="3070" y="881"/>
                  </a:lnTo>
                  <a:lnTo>
                    <a:pt x="3070" y="887"/>
                  </a:lnTo>
                  <a:lnTo>
                    <a:pt x="3070" y="892"/>
                  </a:lnTo>
                  <a:lnTo>
                    <a:pt x="3068" y="896"/>
                  </a:lnTo>
                  <a:lnTo>
                    <a:pt x="3066" y="899"/>
                  </a:lnTo>
                  <a:lnTo>
                    <a:pt x="3064" y="903"/>
                  </a:lnTo>
                  <a:lnTo>
                    <a:pt x="3061" y="907"/>
                  </a:lnTo>
                  <a:lnTo>
                    <a:pt x="3059" y="910"/>
                  </a:lnTo>
                  <a:lnTo>
                    <a:pt x="3057" y="914"/>
                  </a:lnTo>
                  <a:lnTo>
                    <a:pt x="3057" y="920"/>
                  </a:lnTo>
                  <a:lnTo>
                    <a:pt x="3057" y="933"/>
                  </a:lnTo>
                  <a:lnTo>
                    <a:pt x="3052" y="941"/>
                  </a:lnTo>
                  <a:lnTo>
                    <a:pt x="3046" y="951"/>
                  </a:lnTo>
                  <a:lnTo>
                    <a:pt x="3050" y="959"/>
                  </a:lnTo>
                  <a:lnTo>
                    <a:pt x="3053" y="967"/>
                  </a:lnTo>
                  <a:lnTo>
                    <a:pt x="3053" y="971"/>
                  </a:lnTo>
                  <a:lnTo>
                    <a:pt x="3052" y="975"/>
                  </a:lnTo>
                  <a:lnTo>
                    <a:pt x="3051" y="979"/>
                  </a:lnTo>
                  <a:lnTo>
                    <a:pt x="3049" y="982"/>
                  </a:lnTo>
                  <a:lnTo>
                    <a:pt x="3043" y="987"/>
                  </a:lnTo>
                  <a:lnTo>
                    <a:pt x="3037" y="991"/>
                  </a:lnTo>
                  <a:lnTo>
                    <a:pt x="3022" y="998"/>
                  </a:lnTo>
                  <a:lnTo>
                    <a:pt x="3004" y="1005"/>
                  </a:lnTo>
                  <a:lnTo>
                    <a:pt x="3007" y="1017"/>
                  </a:lnTo>
                  <a:lnTo>
                    <a:pt x="3010" y="1028"/>
                  </a:lnTo>
                  <a:lnTo>
                    <a:pt x="3013" y="1032"/>
                  </a:lnTo>
                  <a:lnTo>
                    <a:pt x="3016" y="1035"/>
                  </a:lnTo>
                  <a:lnTo>
                    <a:pt x="3020" y="1038"/>
                  </a:lnTo>
                  <a:lnTo>
                    <a:pt x="3025" y="1038"/>
                  </a:lnTo>
                  <a:lnTo>
                    <a:pt x="3029" y="1038"/>
                  </a:lnTo>
                  <a:lnTo>
                    <a:pt x="3033" y="1036"/>
                  </a:lnTo>
                  <a:lnTo>
                    <a:pt x="3037" y="1034"/>
                  </a:lnTo>
                  <a:lnTo>
                    <a:pt x="3040" y="1031"/>
                  </a:lnTo>
                  <a:lnTo>
                    <a:pt x="3047" y="1025"/>
                  </a:lnTo>
                  <a:lnTo>
                    <a:pt x="3053" y="1018"/>
                  </a:lnTo>
                  <a:lnTo>
                    <a:pt x="3062" y="1009"/>
                  </a:lnTo>
                  <a:lnTo>
                    <a:pt x="3070" y="1002"/>
                  </a:lnTo>
                  <a:lnTo>
                    <a:pt x="3073" y="998"/>
                  </a:lnTo>
                  <a:lnTo>
                    <a:pt x="3075" y="994"/>
                  </a:lnTo>
                  <a:lnTo>
                    <a:pt x="3077" y="989"/>
                  </a:lnTo>
                  <a:lnTo>
                    <a:pt x="3077" y="984"/>
                  </a:lnTo>
                  <a:lnTo>
                    <a:pt x="3075" y="972"/>
                  </a:lnTo>
                  <a:lnTo>
                    <a:pt x="3073" y="962"/>
                  </a:lnTo>
                  <a:lnTo>
                    <a:pt x="3073" y="959"/>
                  </a:lnTo>
                  <a:lnTo>
                    <a:pt x="3074" y="955"/>
                  </a:lnTo>
                  <a:lnTo>
                    <a:pt x="3083" y="961"/>
                  </a:lnTo>
                  <a:lnTo>
                    <a:pt x="3090" y="967"/>
                  </a:lnTo>
                  <a:lnTo>
                    <a:pt x="3097" y="972"/>
                  </a:lnTo>
                  <a:lnTo>
                    <a:pt x="3106" y="976"/>
                  </a:lnTo>
                  <a:lnTo>
                    <a:pt x="3128" y="986"/>
                  </a:lnTo>
                  <a:lnTo>
                    <a:pt x="3150" y="994"/>
                  </a:lnTo>
                  <a:lnTo>
                    <a:pt x="3160" y="997"/>
                  </a:lnTo>
                  <a:lnTo>
                    <a:pt x="3170" y="999"/>
                  </a:lnTo>
                  <a:lnTo>
                    <a:pt x="3182" y="1000"/>
                  </a:lnTo>
                  <a:lnTo>
                    <a:pt x="3194" y="1001"/>
                  </a:lnTo>
                  <a:lnTo>
                    <a:pt x="3201" y="1000"/>
                  </a:lnTo>
                  <a:lnTo>
                    <a:pt x="3207" y="1000"/>
                  </a:lnTo>
                  <a:lnTo>
                    <a:pt x="3213" y="998"/>
                  </a:lnTo>
                  <a:lnTo>
                    <a:pt x="3219" y="997"/>
                  </a:lnTo>
                  <a:lnTo>
                    <a:pt x="3229" y="992"/>
                  </a:lnTo>
                  <a:lnTo>
                    <a:pt x="3238" y="985"/>
                  </a:lnTo>
                  <a:lnTo>
                    <a:pt x="3247" y="976"/>
                  </a:lnTo>
                  <a:lnTo>
                    <a:pt x="3254" y="967"/>
                  </a:lnTo>
                  <a:lnTo>
                    <a:pt x="3260" y="956"/>
                  </a:lnTo>
                  <a:lnTo>
                    <a:pt x="3265" y="944"/>
                  </a:lnTo>
                  <a:lnTo>
                    <a:pt x="3272" y="922"/>
                  </a:lnTo>
                  <a:lnTo>
                    <a:pt x="3280" y="900"/>
                  </a:lnTo>
                  <a:lnTo>
                    <a:pt x="3284" y="891"/>
                  </a:lnTo>
                  <a:lnTo>
                    <a:pt x="3290" y="882"/>
                  </a:lnTo>
                  <a:lnTo>
                    <a:pt x="3293" y="879"/>
                  </a:lnTo>
                  <a:lnTo>
                    <a:pt x="3297" y="875"/>
                  </a:lnTo>
                  <a:lnTo>
                    <a:pt x="3302" y="872"/>
                  </a:lnTo>
                  <a:lnTo>
                    <a:pt x="3307" y="870"/>
                  </a:lnTo>
                  <a:lnTo>
                    <a:pt x="3315" y="868"/>
                  </a:lnTo>
                  <a:lnTo>
                    <a:pt x="3321" y="866"/>
                  </a:lnTo>
                  <a:lnTo>
                    <a:pt x="3327" y="865"/>
                  </a:lnTo>
                  <a:lnTo>
                    <a:pt x="3333" y="865"/>
                  </a:lnTo>
                  <a:lnTo>
                    <a:pt x="3346" y="865"/>
                  </a:lnTo>
                  <a:lnTo>
                    <a:pt x="3359" y="863"/>
                  </a:lnTo>
                  <a:lnTo>
                    <a:pt x="3390" y="857"/>
                  </a:lnTo>
                  <a:lnTo>
                    <a:pt x="3417" y="852"/>
                  </a:lnTo>
                  <a:lnTo>
                    <a:pt x="3430" y="850"/>
                  </a:lnTo>
                  <a:lnTo>
                    <a:pt x="3445" y="848"/>
                  </a:lnTo>
                  <a:lnTo>
                    <a:pt x="3459" y="847"/>
                  </a:lnTo>
                  <a:lnTo>
                    <a:pt x="3476" y="847"/>
                  </a:lnTo>
                  <a:lnTo>
                    <a:pt x="3481" y="848"/>
                  </a:lnTo>
                  <a:lnTo>
                    <a:pt x="3484" y="850"/>
                  </a:lnTo>
                  <a:lnTo>
                    <a:pt x="3487" y="855"/>
                  </a:lnTo>
                  <a:lnTo>
                    <a:pt x="3489" y="859"/>
                  </a:lnTo>
                  <a:lnTo>
                    <a:pt x="3492" y="869"/>
                  </a:lnTo>
                  <a:lnTo>
                    <a:pt x="3495" y="879"/>
                  </a:lnTo>
                  <a:lnTo>
                    <a:pt x="3500" y="877"/>
                  </a:lnTo>
                  <a:lnTo>
                    <a:pt x="3504" y="875"/>
                  </a:lnTo>
                  <a:lnTo>
                    <a:pt x="3509" y="871"/>
                  </a:lnTo>
                  <a:lnTo>
                    <a:pt x="3512" y="868"/>
                  </a:lnTo>
                  <a:lnTo>
                    <a:pt x="3515" y="864"/>
                  </a:lnTo>
                  <a:lnTo>
                    <a:pt x="3519" y="861"/>
                  </a:lnTo>
                  <a:lnTo>
                    <a:pt x="3523" y="859"/>
                  </a:lnTo>
                  <a:lnTo>
                    <a:pt x="3528" y="858"/>
                  </a:lnTo>
                  <a:lnTo>
                    <a:pt x="3532" y="859"/>
                  </a:lnTo>
                  <a:lnTo>
                    <a:pt x="3536" y="861"/>
                  </a:lnTo>
                  <a:lnTo>
                    <a:pt x="3541" y="863"/>
                  </a:lnTo>
                  <a:lnTo>
                    <a:pt x="3544" y="865"/>
                  </a:lnTo>
                  <a:lnTo>
                    <a:pt x="3548" y="868"/>
                  </a:lnTo>
                  <a:lnTo>
                    <a:pt x="3551" y="870"/>
                  </a:lnTo>
                  <a:lnTo>
                    <a:pt x="3555" y="872"/>
                  </a:lnTo>
                  <a:lnTo>
                    <a:pt x="3560" y="872"/>
                  </a:lnTo>
                  <a:lnTo>
                    <a:pt x="3584" y="872"/>
                  </a:lnTo>
                  <a:lnTo>
                    <a:pt x="3591" y="873"/>
                  </a:lnTo>
                  <a:lnTo>
                    <a:pt x="3598" y="874"/>
                  </a:lnTo>
                  <a:lnTo>
                    <a:pt x="3613" y="870"/>
                  </a:lnTo>
                  <a:lnTo>
                    <a:pt x="3627" y="866"/>
                  </a:lnTo>
                  <a:lnTo>
                    <a:pt x="3632" y="867"/>
                  </a:lnTo>
                  <a:lnTo>
                    <a:pt x="3637" y="868"/>
                  </a:lnTo>
                  <a:lnTo>
                    <a:pt x="3642" y="870"/>
                  </a:lnTo>
                  <a:lnTo>
                    <a:pt x="3646" y="872"/>
                  </a:lnTo>
                  <a:lnTo>
                    <a:pt x="3654" y="878"/>
                  </a:lnTo>
                  <a:lnTo>
                    <a:pt x="3660" y="885"/>
                  </a:lnTo>
                  <a:lnTo>
                    <a:pt x="3667" y="892"/>
                  </a:lnTo>
                  <a:lnTo>
                    <a:pt x="3676" y="897"/>
                  </a:lnTo>
                  <a:lnTo>
                    <a:pt x="3680" y="900"/>
                  </a:lnTo>
                  <a:lnTo>
                    <a:pt x="3684" y="901"/>
                  </a:lnTo>
                  <a:lnTo>
                    <a:pt x="3689" y="902"/>
                  </a:lnTo>
                  <a:lnTo>
                    <a:pt x="3694" y="903"/>
                  </a:lnTo>
                  <a:lnTo>
                    <a:pt x="3702" y="902"/>
                  </a:lnTo>
                  <a:lnTo>
                    <a:pt x="3709" y="899"/>
                  </a:lnTo>
                  <a:lnTo>
                    <a:pt x="3715" y="896"/>
                  </a:lnTo>
                  <a:lnTo>
                    <a:pt x="3721" y="891"/>
                  </a:lnTo>
                  <a:lnTo>
                    <a:pt x="3726" y="887"/>
                  </a:lnTo>
                  <a:lnTo>
                    <a:pt x="3732" y="884"/>
                  </a:lnTo>
                  <a:lnTo>
                    <a:pt x="3740" y="880"/>
                  </a:lnTo>
                  <a:lnTo>
                    <a:pt x="3748" y="879"/>
                  </a:lnTo>
                  <a:lnTo>
                    <a:pt x="3751" y="879"/>
                  </a:lnTo>
                  <a:lnTo>
                    <a:pt x="3753" y="880"/>
                  </a:lnTo>
                  <a:lnTo>
                    <a:pt x="3756" y="881"/>
                  </a:lnTo>
                  <a:lnTo>
                    <a:pt x="3758" y="884"/>
                  </a:lnTo>
                  <a:lnTo>
                    <a:pt x="3761" y="888"/>
                  </a:lnTo>
                  <a:lnTo>
                    <a:pt x="3763" y="893"/>
                  </a:lnTo>
                  <a:lnTo>
                    <a:pt x="3766" y="906"/>
                  </a:lnTo>
                  <a:lnTo>
                    <a:pt x="3769" y="920"/>
                  </a:lnTo>
                  <a:lnTo>
                    <a:pt x="3775" y="935"/>
                  </a:lnTo>
                  <a:lnTo>
                    <a:pt x="3779" y="950"/>
                  </a:lnTo>
                  <a:lnTo>
                    <a:pt x="3781" y="957"/>
                  </a:lnTo>
                  <a:lnTo>
                    <a:pt x="3783" y="964"/>
                  </a:lnTo>
                  <a:lnTo>
                    <a:pt x="3784" y="972"/>
                  </a:lnTo>
                  <a:lnTo>
                    <a:pt x="3784" y="981"/>
                  </a:lnTo>
                  <a:lnTo>
                    <a:pt x="3783" y="984"/>
                  </a:lnTo>
                  <a:lnTo>
                    <a:pt x="3782" y="987"/>
                  </a:lnTo>
                  <a:lnTo>
                    <a:pt x="3780" y="989"/>
                  </a:lnTo>
                  <a:lnTo>
                    <a:pt x="3778" y="991"/>
                  </a:lnTo>
                  <a:lnTo>
                    <a:pt x="3772" y="993"/>
                  </a:lnTo>
                  <a:lnTo>
                    <a:pt x="3764" y="994"/>
                  </a:lnTo>
                  <a:lnTo>
                    <a:pt x="3716" y="994"/>
                  </a:lnTo>
                  <a:lnTo>
                    <a:pt x="3702" y="995"/>
                  </a:lnTo>
                  <a:lnTo>
                    <a:pt x="3689" y="996"/>
                  </a:lnTo>
                  <a:lnTo>
                    <a:pt x="3680" y="995"/>
                  </a:lnTo>
                  <a:lnTo>
                    <a:pt x="3671" y="993"/>
                  </a:lnTo>
                  <a:lnTo>
                    <a:pt x="3664" y="989"/>
                  </a:lnTo>
                  <a:lnTo>
                    <a:pt x="3656" y="982"/>
                  </a:lnTo>
                  <a:lnTo>
                    <a:pt x="3652" y="987"/>
                  </a:lnTo>
                  <a:lnTo>
                    <a:pt x="3648" y="993"/>
                  </a:lnTo>
                  <a:lnTo>
                    <a:pt x="3647" y="999"/>
                  </a:lnTo>
                  <a:lnTo>
                    <a:pt x="3646" y="1006"/>
                  </a:lnTo>
                  <a:lnTo>
                    <a:pt x="3647" y="1023"/>
                  </a:lnTo>
                  <a:lnTo>
                    <a:pt x="3650" y="1036"/>
                  </a:lnTo>
                  <a:lnTo>
                    <a:pt x="3652" y="1051"/>
                  </a:lnTo>
                  <a:lnTo>
                    <a:pt x="3653" y="1066"/>
                  </a:lnTo>
                  <a:lnTo>
                    <a:pt x="3652" y="1071"/>
                  </a:lnTo>
                  <a:lnTo>
                    <a:pt x="3651" y="1075"/>
                  </a:lnTo>
                  <a:lnTo>
                    <a:pt x="3648" y="1079"/>
                  </a:lnTo>
                  <a:lnTo>
                    <a:pt x="3645" y="1081"/>
                  </a:lnTo>
                  <a:lnTo>
                    <a:pt x="3635" y="1085"/>
                  </a:lnTo>
                  <a:lnTo>
                    <a:pt x="3626" y="1088"/>
                  </a:lnTo>
                  <a:lnTo>
                    <a:pt x="3616" y="1091"/>
                  </a:lnTo>
                  <a:lnTo>
                    <a:pt x="3608" y="1095"/>
                  </a:lnTo>
                  <a:lnTo>
                    <a:pt x="3603" y="1098"/>
                  </a:lnTo>
                  <a:lnTo>
                    <a:pt x="3601" y="1101"/>
                  </a:lnTo>
                  <a:lnTo>
                    <a:pt x="3599" y="1106"/>
                  </a:lnTo>
                  <a:lnTo>
                    <a:pt x="3598" y="1110"/>
                  </a:lnTo>
                  <a:lnTo>
                    <a:pt x="3598" y="1144"/>
                  </a:lnTo>
                  <a:lnTo>
                    <a:pt x="3597" y="1155"/>
                  </a:lnTo>
                  <a:lnTo>
                    <a:pt x="3596" y="1165"/>
                  </a:lnTo>
                  <a:lnTo>
                    <a:pt x="3594" y="1175"/>
                  </a:lnTo>
                  <a:lnTo>
                    <a:pt x="3594" y="1186"/>
                  </a:lnTo>
                  <a:lnTo>
                    <a:pt x="3595" y="1200"/>
                  </a:lnTo>
                  <a:lnTo>
                    <a:pt x="3597" y="1211"/>
                  </a:lnTo>
                  <a:lnTo>
                    <a:pt x="3599" y="1222"/>
                  </a:lnTo>
                  <a:lnTo>
                    <a:pt x="3600" y="1235"/>
                  </a:lnTo>
                  <a:lnTo>
                    <a:pt x="3571" y="1235"/>
                  </a:lnTo>
                  <a:lnTo>
                    <a:pt x="3564" y="1234"/>
                  </a:lnTo>
                  <a:lnTo>
                    <a:pt x="3558" y="1233"/>
                  </a:lnTo>
                  <a:lnTo>
                    <a:pt x="3552" y="1230"/>
                  </a:lnTo>
                  <a:lnTo>
                    <a:pt x="3546" y="1227"/>
                  </a:lnTo>
                  <a:lnTo>
                    <a:pt x="3541" y="1225"/>
                  </a:lnTo>
                  <a:lnTo>
                    <a:pt x="3534" y="1222"/>
                  </a:lnTo>
                  <a:lnTo>
                    <a:pt x="3528" y="1221"/>
                  </a:lnTo>
                  <a:lnTo>
                    <a:pt x="3520" y="1220"/>
                  </a:lnTo>
                  <a:lnTo>
                    <a:pt x="3515" y="1220"/>
                  </a:lnTo>
                  <a:lnTo>
                    <a:pt x="3510" y="1221"/>
                  </a:lnTo>
                  <a:lnTo>
                    <a:pt x="3506" y="1221"/>
                  </a:lnTo>
                  <a:lnTo>
                    <a:pt x="3505" y="1222"/>
                  </a:lnTo>
                  <a:lnTo>
                    <a:pt x="3503" y="1224"/>
                  </a:lnTo>
                  <a:lnTo>
                    <a:pt x="3503" y="1226"/>
                  </a:lnTo>
                  <a:lnTo>
                    <a:pt x="3504" y="1230"/>
                  </a:lnTo>
                  <a:lnTo>
                    <a:pt x="3506" y="1235"/>
                  </a:lnTo>
                  <a:lnTo>
                    <a:pt x="3510" y="1237"/>
                  </a:lnTo>
                  <a:lnTo>
                    <a:pt x="3514" y="1239"/>
                  </a:lnTo>
                  <a:lnTo>
                    <a:pt x="3524" y="1241"/>
                  </a:lnTo>
                  <a:lnTo>
                    <a:pt x="3534" y="1243"/>
                  </a:lnTo>
                  <a:lnTo>
                    <a:pt x="3548" y="1249"/>
                  </a:lnTo>
                  <a:lnTo>
                    <a:pt x="3562" y="1253"/>
                  </a:lnTo>
                  <a:lnTo>
                    <a:pt x="3568" y="1253"/>
                  </a:lnTo>
                  <a:lnTo>
                    <a:pt x="3575" y="1250"/>
                  </a:lnTo>
                  <a:lnTo>
                    <a:pt x="3580" y="1247"/>
                  </a:lnTo>
                  <a:lnTo>
                    <a:pt x="3585" y="1243"/>
                  </a:lnTo>
                  <a:lnTo>
                    <a:pt x="3585" y="1255"/>
                  </a:lnTo>
                  <a:lnTo>
                    <a:pt x="3585" y="1268"/>
                  </a:lnTo>
                  <a:lnTo>
                    <a:pt x="3585" y="1274"/>
                  </a:lnTo>
                  <a:lnTo>
                    <a:pt x="3586" y="1279"/>
                  </a:lnTo>
                  <a:lnTo>
                    <a:pt x="3588" y="1283"/>
                  </a:lnTo>
                  <a:lnTo>
                    <a:pt x="3590" y="1288"/>
                  </a:lnTo>
                  <a:lnTo>
                    <a:pt x="3596" y="1296"/>
                  </a:lnTo>
                  <a:lnTo>
                    <a:pt x="3604" y="1303"/>
                  </a:lnTo>
                  <a:lnTo>
                    <a:pt x="3622" y="1315"/>
                  </a:lnTo>
                  <a:lnTo>
                    <a:pt x="3642" y="1331"/>
                  </a:lnTo>
                  <a:lnTo>
                    <a:pt x="3645" y="1333"/>
                  </a:lnTo>
                  <a:lnTo>
                    <a:pt x="3648" y="1335"/>
                  </a:lnTo>
                  <a:lnTo>
                    <a:pt x="3651" y="1337"/>
                  </a:lnTo>
                  <a:lnTo>
                    <a:pt x="3652" y="1341"/>
                  </a:lnTo>
                  <a:lnTo>
                    <a:pt x="3651" y="1346"/>
                  </a:lnTo>
                  <a:lnTo>
                    <a:pt x="3649" y="1349"/>
                  </a:lnTo>
                  <a:lnTo>
                    <a:pt x="3646" y="1352"/>
                  </a:lnTo>
                  <a:lnTo>
                    <a:pt x="3641" y="1354"/>
                  </a:lnTo>
                  <a:lnTo>
                    <a:pt x="3630" y="1358"/>
                  </a:lnTo>
                  <a:lnTo>
                    <a:pt x="3620" y="1361"/>
                  </a:lnTo>
                  <a:lnTo>
                    <a:pt x="3602" y="1369"/>
                  </a:lnTo>
                  <a:lnTo>
                    <a:pt x="3586" y="1375"/>
                  </a:lnTo>
                  <a:lnTo>
                    <a:pt x="3578" y="1378"/>
                  </a:lnTo>
                  <a:lnTo>
                    <a:pt x="3568" y="1379"/>
                  </a:lnTo>
                  <a:lnTo>
                    <a:pt x="3559" y="1380"/>
                  </a:lnTo>
                  <a:lnTo>
                    <a:pt x="3549" y="1381"/>
                  </a:lnTo>
                  <a:lnTo>
                    <a:pt x="3518" y="1381"/>
                  </a:lnTo>
                  <a:lnTo>
                    <a:pt x="3505" y="1380"/>
                  </a:lnTo>
                  <a:lnTo>
                    <a:pt x="3493" y="1381"/>
                  </a:lnTo>
                  <a:lnTo>
                    <a:pt x="3488" y="1382"/>
                  </a:lnTo>
                  <a:lnTo>
                    <a:pt x="3483" y="1384"/>
                  </a:lnTo>
                  <a:lnTo>
                    <a:pt x="3479" y="1387"/>
                  </a:lnTo>
                  <a:lnTo>
                    <a:pt x="3475" y="1392"/>
                  </a:lnTo>
                  <a:lnTo>
                    <a:pt x="3466" y="1407"/>
                  </a:lnTo>
                  <a:lnTo>
                    <a:pt x="3458" y="1422"/>
                  </a:lnTo>
                  <a:lnTo>
                    <a:pt x="3453" y="1428"/>
                  </a:lnTo>
                  <a:lnTo>
                    <a:pt x="3447" y="1433"/>
                  </a:lnTo>
                  <a:lnTo>
                    <a:pt x="3439" y="1437"/>
                  </a:lnTo>
                  <a:lnTo>
                    <a:pt x="3431" y="1439"/>
                  </a:lnTo>
                  <a:lnTo>
                    <a:pt x="3422" y="1437"/>
                  </a:lnTo>
                  <a:lnTo>
                    <a:pt x="3417" y="1438"/>
                  </a:lnTo>
                  <a:lnTo>
                    <a:pt x="3412" y="1439"/>
                  </a:lnTo>
                  <a:lnTo>
                    <a:pt x="3410" y="1435"/>
                  </a:lnTo>
                  <a:lnTo>
                    <a:pt x="3409" y="1432"/>
                  </a:lnTo>
                  <a:lnTo>
                    <a:pt x="3412" y="1423"/>
                  </a:lnTo>
                  <a:lnTo>
                    <a:pt x="3415" y="1413"/>
                  </a:lnTo>
                  <a:lnTo>
                    <a:pt x="3415" y="1407"/>
                  </a:lnTo>
                  <a:lnTo>
                    <a:pt x="3413" y="1401"/>
                  </a:lnTo>
                  <a:lnTo>
                    <a:pt x="3412" y="1399"/>
                  </a:lnTo>
                  <a:lnTo>
                    <a:pt x="3410" y="1397"/>
                  </a:lnTo>
                  <a:lnTo>
                    <a:pt x="3407" y="1396"/>
                  </a:lnTo>
                  <a:lnTo>
                    <a:pt x="3404" y="1396"/>
                  </a:lnTo>
                  <a:lnTo>
                    <a:pt x="3402" y="1397"/>
                  </a:lnTo>
                  <a:lnTo>
                    <a:pt x="3399" y="1398"/>
                  </a:lnTo>
                  <a:lnTo>
                    <a:pt x="3398" y="1411"/>
                  </a:lnTo>
                  <a:lnTo>
                    <a:pt x="3398" y="1425"/>
                  </a:lnTo>
                  <a:lnTo>
                    <a:pt x="3397" y="1431"/>
                  </a:lnTo>
                  <a:lnTo>
                    <a:pt x="3395" y="1436"/>
                  </a:lnTo>
                  <a:lnTo>
                    <a:pt x="3394" y="1438"/>
                  </a:lnTo>
                  <a:lnTo>
                    <a:pt x="3392" y="1439"/>
                  </a:lnTo>
                  <a:lnTo>
                    <a:pt x="3390" y="1440"/>
                  </a:lnTo>
                  <a:lnTo>
                    <a:pt x="3387" y="1440"/>
                  </a:lnTo>
                  <a:lnTo>
                    <a:pt x="3382" y="1438"/>
                  </a:lnTo>
                  <a:lnTo>
                    <a:pt x="3378" y="1435"/>
                  </a:lnTo>
                  <a:lnTo>
                    <a:pt x="3373" y="1437"/>
                  </a:lnTo>
                  <a:lnTo>
                    <a:pt x="3370" y="1438"/>
                  </a:lnTo>
                  <a:lnTo>
                    <a:pt x="3367" y="1437"/>
                  </a:lnTo>
                  <a:lnTo>
                    <a:pt x="3365" y="1436"/>
                  </a:lnTo>
                  <a:lnTo>
                    <a:pt x="3363" y="1435"/>
                  </a:lnTo>
                  <a:lnTo>
                    <a:pt x="3361" y="1433"/>
                  </a:lnTo>
                  <a:lnTo>
                    <a:pt x="3359" y="1427"/>
                  </a:lnTo>
                  <a:lnTo>
                    <a:pt x="3358" y="1422"/>
                  </a:lnTo>
                  <a:lnTo>
                    <a:pt x="3359" y="1418"/>
                  </a:lnTo>
                  <a:lnTo>
                    <a:pt x="3359" y="1415"/>
                  </a:lnTo>
                  <a:lnTo>
                    <a:pt x="3361" y="1413"/>
                  </a:lnTo>
                  <a:lnTo>
                    <a:pt x="3363" y="1410"/>
                  </a:lnTo>
                  <a:lnTo>
                    <a:pt x="3367" y="1407"/>
                  </a:lnTo>
                  <a:lnTo>
                    <a:pt x="3372" y="1404"/>
                  </a:lnTo>
                  <a:lnTo>
                    <a:pt x="3378" y="1400"/>
                  </a:lnTo>
                  <a:lnTo>
                    <a:pt x="3382" y="1397"/>
                  </a:lnTo>
                  <a:lnTo>
                    <a:pt x="3384" y="1394"/>
                  </a:lnTo>
                  <a:lnTo>
                    <a:pt x="3386" y="1392"/>
                  </a:lnTo>
                  <a:lnTo>
                    <a:pt x="3386" y="1388"/>
                  </a:lnTo>
                  <a:lnTo>
                    <a:pt x="3387" y="1385"/>
                  </a:lnTo>
                  <a:lnTo>
                    <a:pt x="3386" y="1383"/>
                  </a:lnTo>
                  <a:lnTo>
                    <a:pt x="3385" y="1381"/>
                  </a:lnTo>
                  <a:lnTo>
                    <a:pt x="3384" y="1379"/>
                  </a:lnTo>
                  <a:lnTo>
                    <a:pt x="3382" y="1378"/>
                  </a:lnTo>
                  <a:lnTo>
                    <a:pt x="3377" y="1377"/>
                  </a:lnTo>
                  <a:lnTo>
                    <a:pt x="3370" y="1376"/>
                  </a:lnTo>
                  <a:lnTo>
                    <a:pt x="3364" y="1377"/>
                  </a:lnTo>
                  <a:lnTo>
                    <a:pt x="3358" y="1379"/>
                  </a:lnTo>
                  <a:lnTo>
                    <a:pt x="3354" y="1378"/>
                  </a:lnTo>
                  <a:lnTo>
                    <a:pt x="3351" y="1377"/>
                  </a:lnTo>
                  <a:lnTo>
                    <a:pt x="3347" y="1375"/>
                  </a:lnTo>
                  <a:lnTo>
                    <a:pt x="3344" y="1372"/>
                  </a:lnTo>
                  <a:lnTo>
                    <a:pt x="3341" y="1369"/>
                  </a:lnTo>
                  <a:lnTo>
                    <a:pt x="3339" y="1365"/>
                  </a:lnTo>
                  <a:lnTo>
                    <a:pt x="3338" y="1361"/>
                  </a:lnTo>
                  <a:lnTo>
                    <a:pt x="3338" y="1356"/>
                  </a:lnTo>
                  <a:lnTo>
                    <a:pt x="3338" y="1350"/>
                  </a:lnTo>
                  <a:lnTo>
                    <a:pt x="3340" y="1345"/>
                  </a:lnTo>
                  <a:lnTo>
                    <a:pt x="3343" y="1341"/>
                  </a:lnTo>
                  <a:lnTo>
                    <a:pt x="3345" y="1336"/>
                  </a:lnTo>
                  <a:lnTo>
                    <a:pt x="3351" y="1328"/>
                  </a:lnTo>
                  <a:lnTo>
                    <a:pt x="3356" y="1317"/>
                  </a:lnTo>
                  <a:lnTo>
                    <a:pt x="3347" y="1315"/>
                  </a:lnTo>
                  <a:lnTo>
                    <a:pt x="3338" y="1313"/>
                  </a:lnTo>
                  <a:lnTo>
                    <a:pt x="3331" y="1312"/>
                  </a:lnTo>
                  <a:lnTo>
                    <a:pt x="3322" y="1311"/>
                  </a:lnTo>
                  <a:lnTo>
                    <a:pt x="3313" y="1311"/>
                  </a:lnTo>
                  <a:lnTo>
                    <a:pt x="3313" y="1323"/>
                  </a:lnTo>
                  <a:lnTo>
                    <a:pt x="3313" y="1334"/>
                  </a:lnTo>
                  <a:lnTo>
                    <a:pt x="3313" y="1343"/>
                  </a:lnTo>
                  <a:lnTo>
                    <a:pt x="3313" y="1355"/>
                  </a:lnTo>
                  <a:lnTo>
                    <a:pt x="3313" y="1365"/>
                  </a:lnTo>
                  <a:lnTo>
                    <a:pt x="3315" y="1374"/>
                  </a:lnTo>
                  <a:lnTo>
                    <a:pt x="3316" y="1382"/>
                  </a:lnTo>
                  <a:lnTo>
                    <a:pt x="3319" y="1391"/>
                  </a:lnTo>
                  <a:lnTo>
                    <a:pt x="3326" y="1406"/>
                  </a:lnTo>
                  <a:lnTo>
                    <a:pt x="3334" y="1423"/>
                  </a:lnTo>
                  <a:lnTo>
                    <a:pt x="3328" y="1418"/>
                  </a:lnTo>
                  <a:lnTo>
                    <a:pt x="3322" y="1415"/>
                  </a:lnTo>
                  <a:lnTo>
                    <a:pt x="3316" y="1412"/>
                  </a:lnTo>
                  <a:lnTo>
                    <a:pt x="3308" y="1409"/>
                  </a:lnTo>
                  <a:lnTo>
                    <a:pt x="3301" y="1410"/>
                  </a:lnTo>
                  <a:lnTo>
                    <a:pt x="3294" y="1410"/>
                  </a:lnTo>
                  <a:lnTo>
                    <a:pt x="3287" y="1412"/>
                  </a:lnTo>
                  <a:lnTo>
                    <a:pt x="3280" y="1414"/>
                  </a:lnTo>
                  <a:lnTo>
                    <a:pt x="3272" y="1416"/>
                  </a:lnTo>
                  <a:lnTo>
                    <a:pt x="3266" y="1419"/>
                  </a:lnTo>
                  <a:lnTo>
                    <a:pt x="3260" y="1424"/>
                  </a:lnTo>
                  <a:lnTo>
                    <a:pt x="3254" y="1428"/>
                  </a:lnTo>
                  <a:lnTo>
                    <a:pt x="3249" y="1432"/>
                  </a:lnTo>
                  <a:lnTo>
                    <a:pt x="3245" y="1437"/>
                  </a:lnTo>
                  <a:lnTo>
                    <a:pt x="3240" y="1442"/>
                  </a:lnTo>
                  <a:lnTo>
                    <a:pt x="3236" y="1448"/>
                  </a:lnTo>
                  <a:lnTo>
                    <a:pt x="3233" y="1455"/>
                  </a:lnTo>
                  <a:lnTo>
                    <a:pt x="3231" y="1461"/>
                  </a:lnTo>
                  <a:lnTo>
                    <a:pt x="3230" y="1468"/>
                  </a:lnTo>
                  <a:lnTo>
                    <a:pt x="3230" y="1475"/>
                  </a:lnTo>
                  <a:lnTo>
                    <a:pt x="3217" y="1475"/>
                  </a:lnTo>
                  <a:lnTo>
                    <a:pt x="3203" y="1475"/>
                  </a:lnTo>
                  <a:lnTo>
                    <a:pt x="3191" y="1474"/>
                  </a:lnTo>
                  <a:lnTo>
                    <a:pt x="3185" y="1473"/>
                  </a:lnTo>
                  <a:lnTo>
                    <a:pt x="3180" y="1470"/>
                  </a:lnTo>
                  <a:lnTo>
                    <a:pt x="3175" y="1466"/>
                  </a:lnTo>
                  <a:lnTo>
                    <a:pt x="3171" y="1462"/>
                  </a:lnTo>
                  <a:lnTo>
                    <a:pt x="3167" y="1453"/>
                  </a:lnTo>
                  <a:lnTo>
                    <a:pt x="3166" y="1443"/>
                  </a:lnTo>
                  <a:lnTo>
                    <a:pt x="3165" y="1439"/>
                  </a:lnTo>
                  <a:lnTo>
                    <a:pt x="3163" y="1436"/>
                  </a:lnTo>
                  <a:lnTo>
                    <a:pt x="3161" y="1434"/>
                  </a:lnTo>
                  <a:lnTo>
                    <a:pt x="3157" y="1433"/>
                  </a:lnTo>
                  <a:lnTo>
                    <a:pt x="3150" y="1434"/>
                  </a:lnTo>
                  <a:lnTo>
                    <a:pt x="3142" y="1437"/>
                  </a:lnTo>
                  <a:lnTo>
                    <a:pt x="3137" y="1440"/>
                  </a:lnTo>
                  <a:lnTo>
                    <a:pt x="3132" y="1446"/>
                  </a:lnTo>
                  <a:lnTo>
                    <a:pt x="3129" y="1453"/>
                  </a:lnTo>
                  <a:lnTo>
                    <a:pt x="3126" y="1459"/>
                  </a:lnTo>
                  <a:lnTo>
                    <a:pt x="3124" y="1467"/>
                  </a:lnTo>
                  <a:lnTo>
                    <a:pt x="3124" y="1474"/>
                  </a:lnTo>
                  <a:lnTo>
                    <a:pt x="3124" y="1479"/>
                  </a:lnTo>
                  <a:lnTo>
                    <a:pt x="3126" y="1483"/>
                  </a:lnTo>
                  <a:lnTo>
                    <a:pt x="3129" y="1488"/>
                  </a:lnTo>
                  <a:lnTo>
                    <a:pt x="3132" y="1492"/>
                  </a:lnTo>
                  <a:lnTo>
                    <a:pt x="3121" y="1492"/>
                  </a:lnTo>
                  <a:lnTo>
                    <a:pt x="3110" y="1492"/>
                  </a:lnTo>
                  <a:lnTo>
                    <a:pt x="3101" y="1492"/>
                  </a:lnTo>
                  <a:lnTo>
                    <a:pt x="3090" y="1492"/>
                  </a:lnTo>
                  <a:lnTo>
                    <a:pt x="3086" y="1490"/>
                  </a:lnTo>
                  <a:lnTo>
                    <a:pt x="3082" y="1488"/>
                  </a:lnTo>
                  <a:lnTo>
                    <a:pt x="3080" y="1485"/>
                  </a:lnTo>
                  <a:lnTo>
                    <a:pt x="3076" y="1482"/>
                  </a:lnTo>
                  <a:lnTo>
                    <a:pt x="3072" y="1475"/>
                  </a:lnTo>
                  <a:lnTo>
                    <a:pt x="3070" y="1468"/>
                  </a:lnTo>
                  <a:lnTo>
                    <a:pt x="3067" y="1460"/>
                  </a:lnTo>
                  <a:lnTo>
                    <a:pt x="3064" y="1451"/>
                  </a:lnTo>
                  <a:lnTo>
                    <a:pt x="3061" y="1444"/>
                  </a:lnTo>
                  <a:lnTo>
                    <a:pt x="3056" y="1437"/>
                  </a:lnTo>
                  <a:lnTo>
                    <a:pt x="3046" y="1426"/>
                  </a:lnTo>
                  <a:lnTo>
                    <a:pt x="3035" y="1415"/>
                  </a:lnTo>
                  <a:lnTo>
                    <a:pt x="3026" y="1406"/>
                  </a:lnTo>
                  <a:lnTo>
                    <a:pt x="3016" y="1399"/>
                  </a:lnTo>
                  <a:lnTo>
                    <a:pt x="2995" y="1383"/>
                  </a:lnTo>
                  <a:lnTo>
                    <a:pt x="2970" y="1367"/>
                  </a:lnTo>
                  <a:lnTo>
                    <a:pt x="2952" y="1355"/>
                  </a:lnTo>
                  <a:lnTo>
                    <a:pt x="2933" y="1346"/>
                  </a:lnTo>
                  <a:lnTo>
                    <a:pt x="2916" y="1338"/>
                  </a:lnTo>
                  <a:lnTo>
                    <a:pt x="2898" y="1333"/>
                  </a:lnTo>
                  <a:lnTo>
                    <a:pt x="2879" y="1329"/>
                  </a:lnTo>
                  <a:lnTo>
                    <a:pt x="2860" y="1327"/>
                  </a:lnTo>
                  <a:lnTo>
                    <a:pt x="2839" y="1324"/>
                  </a:lnTo>
                  <a:lnTo>
                    <a:pt x="2818" y="1324"/>
                  </a:lnTo>
                  <a:lnTo>
                    <a:pt x="2811" y="1324"/>
                  </a:lnTo>
                  <a:lnTo>
                    <a:pt x="2806" y="1325"/>
                  </a:lnTo>
                  <a:lnTo>
                    <a:pt x="2801" y="1327"/>
                  </a:lnTo>
                  <a:lnTo>
                    <a:pt x="2797" y="1329"/>
                  </a:lnTo>
                  <a:lnTo>
                    <a:pt x="2789" y="1334"/>
                  </a:lnTo>
                  <a:lnTo>
                    <a:pt x="2780" y="1340"/>
                  </a:lnTo>
                  <a:lnTo>
                    <a:pt x="2767" y="1355"/>
                  </a:lnTo>
                  <a:lnTo>
                    <a:pt x="2753" y="1373"/>
                  </a:lnTo>
                  <a:lnTo>
                    <a:pt x="2742" y="1383"/>
                  </a:lnTo>
                  <a:lnTo>
                    <a:pt x="2733" y="1392"/>
                  </a:lnTo>
                  <a:lnTo>
                    <a:pt x="2724" y="1401"/>
                  </a:lnTo>
                  <a:lnTo>
                    <a:pt x="2713" y="1410"/>
                  </a:lnTo>
                  <a:lnTo>
                    <a:pt x="2706" y="1417"/>
                  </a:lnTo>
                  <a:lnTo>
                    <a:pt x="2699" y="1424"/>
                  </a:lnTo>
                  <a:lnTo>
                    <a:pt x="2696" y="1427"/>
                  </a:lnTo>
                  <a:lnTo>
                    <a:pt x="2694" y="1431"/>
                  </a:lnTo>
                  <a:lnTo>
                    <a:pt x="2693" y="1435"/>
                  </a:lnTo>
                  <a:lnTo>
                    <a:pt x="2693" y="1440"/>
                  </a:lnTo>
                  <a:lnTo>
                    <a:pt x="2692" y="1454"/>
                  </a:lnTo>
                  <a:lnTo>
                    <a:pt x="2693" y="1466"/>
                  </a:lnTo>
                  <a:lnTo>
                    <a:pt x="2694" y="1472"/>
                  </a:lnTo>
                  <a:lnTo>
                    <a:pt x="2696" y="1477"/>
                  </a:lnTo>
                  <a:lnTo>
                    <a:pt x="2699" y="1482"/>
                  </a:lnTo>
                  <a:lnTo>
                    <a:pt x="2703" y="1488"/>
                  </a:lnTo>
                  <a:lnTo>
                    <a:pt x="2711" y="1492"/>
                  </a:lnTo>
                  <a:lnTo>
                    <a:pt x="2720" y="1496"/>
                  </a:lnTo>
                  <a:lnTo>
                    <a:pt x="2711" y="1503"/>
                  </a:lnTo>
                  <a:lnTo>
                    <a:pt x="2703" y="1509"/>
                  </a:lnTo>
                  <a:lnTo>
                    <a:pt x="2698" y="1512"/>
                  </a:lnTo>
                  <a:lnTo>
                    <a:pt x="2694" y="1514"/>
                  </a:lnTo>
                  <a:lnTo>
                    <a:pt x="2689" y="1515"/>
                  </a:lnTo>
                  <a:lnTo>
                    <a:pt x="2683" y="1517"/>
                  </a:lnTo>
                  <a:lnTo>
                    <a:pt x="2671" y="1519"/>
                  </a:lnTo>
                  <a:lnTo>
                    <a:pt x="2660" y="1522"/>
                  </a:lnTo>
                  <a:lnTo>
                    <a:pt x="2656" y="1524"/>
                  </a:lnTo>
                  <a:lnTo>
                    <a:pt x="2652" y="1528"/>
                  </a:lnTo>
                  <a:lnTo>
                    <a:pt x="2650" y="1532"/>
                  </a:lnTo>
                  <a:lnTo>
                    <a:pt x="2647" y="1537"/>
                  </a:lnTo>
                  <a:lnTo>
                    <a:pt x="2651" y="1553"/>
                  </a:lnTo>
                  <a:lnTo>
                    <a:pt x="2652" y="1561"/>
                  </a:lnTo>
                  <a:lnTo>
                    <a:pt x="2652" y="1563"/>
                  </a:lnTo>
                  <a:lnTo>
                    <a:pt x="2651" y="1564"/>
                  </a:lnTo>
                  <a:lnTo>
                    <a:pt x="2650" y="1563"/>
                  </a:lnTo>
                  <a:lnTo>
                    <a:pt x="2648" y="1561"/>
                  </a:lnTo>
                  <a:lnTo>
                    <a:pt x="2644" y="1557"/>
                  </a:lnTo>
                  <a:lnTo>
                    <a:pt x="2638" y="1551"/>
                  </a:lnTo>
                  <a:lnTo>
                    <a:pt x="2634" y="1549"/>
                  </a:lnTo>
                  <a:lnTo>
                    <a:pt x="2629" y="1545"/>
                  </a:lnTo>
                  <a:lnTo>
                    <a:pt x="2624" y="1544"/>
                  </a:lnTo>
                  <a:lnTo>
                    <a:pt x="2618" y="1544"/>
                  </a:lnTo>
                  <a:lnTo>
                    <a:pt x="2612" y="1544"/>
                  </a:lnTo>
                  <a:lnTo>
                    <a:pt x="2607" y="1545"/>
                  </a:lnTo>
                  <a:lnTo>
                    <a:pt x="2603" y="1548"/>
                  </a:lnTo>
                  <a:lnTo>
                    <a:pt x="2599" y="1551"/>
                  </a:lnTo>
                  <a:lnTo>
                    <a:pt x="2590" y="1556"/>
                  </a:lnTo>
                  <a:lnTo>
                    <a:pt x="2580" y="1562"/>
                  </a:lnTo>
                  <a:lnTo>
                    <a:pt x="2572" y="1564"/>
                  </a:lnTo>
                  <a:lnTo>
                    <a:pt x="2564" y="1566"/>
                  </a:lnTo>
                  <a:lnTo>
                    <a:pt x="2561" y="1567"/>
                  </a:lnTo>
                  <a:lnTo>
                    <a:pt x="2558" y="1569"/>
                  </a:lnTo>
                  <a:lnTo>
                    <a:pt x="2555" y="1571"/>
                  </a:lnTo>
                  <a:lnTo>
                    <a:pt x="2552" y="1574"/>
                  </a:lnTo>
                  <a:lnTo>
                    <a:pt x="2549" y="1584"/>
                  </a:lnTo>
                  <a:lnTo>
                    <a:pt x="2548" y="1593"/>
                  </a:lnTo>
                  <a:lnTo>
                    <a:pt x="2547" y="1597"/>
                  </a:lnTo>
                  <a:lnTo>
                    <a:pt x="2546" y="1601"/>
                  </a:lnTo>
                  <a:lnTo>
                    <a:pt x="2544" y="1605"/>
                  </a:lnTo>
                  <a:lnTo>
                    <a:pt x="2541" y="1608"/>
                  </a:lnTo>
                  <a:lnTo>
                    <a:pt x="2534" y="1614"/>
                  </a:lnTo>
                  <a:lnTo>
                    <a:pt x="2527" y="1617"/>
                  </a:lnTo>
                  <a:lnTo>
                    <a:pt x="2520" y="1619"/>
                  </a:lnTo>
                  <a:lnTo>
                    <a:pt x="2511" y="1620"/>
                  </a:lnTo>
                  <a:lnTo>
                    <a:pt x="2504" y="1622"/>
                  </a:lnTo>
                  <a:lnTo>
                    <a:pt x="2496" y="1623"/>
                  </a:lnTo>
                  <a:lnTo>
                    <a:pt x="2489" y="1625"/>
                  </a:lnTo>
                  <a:lnTo>
                    <a:pt x="2480" y="1629"/>
                  </a:lnTo>
                  <a:lnTo>
                    <a:pt x="2476" y="1631"/>
                  </a:lnTo>
                  <a:lnTo>
                    <a:pt x="2472" y="1634"/>
                  </a:lnTo>
                  <a:lnTo>
                    <a:pt x="2469" y="1637"/>
                  </a:lnTo>
                  <a:lnTo>
                    <a:pt x="2467" y="1641"/>
                  </a:lnTo>
                  <a:lnTo>
                    <a:pt x="2463" y="1649"/>
                  </a:lnTo>
                  <a:lnTo>
                    <a:pt x="2460" y="1657"/>
                  </a:lnTo>
                  <a:lnTo>
                    <a:pt x="2456" y="1675"/>
                  </a:lnTo>
                  <a:lnTo>
                    <a:pt x="2450" y="1694"/>
                  </a:lnTo>
                  <a:lnTo>
                    <a:pt x="2444" y="1711"/>
                  </a:lnTo>
                  <a:lnTo>
                    <a:pt x="2438" y="1725"/>
                  </a:lnTo>
                  <a:lnTo>
                    <a:pt x="2431" y="1739"/>
                  </a:lnTo>
                  <a:lnTo>
                    <a:pt x="2424" y="1755"/>
                  </a:lnTo>
                  <a:lnTo>
                    <a:pt x="2419" y="1768"/>
                  </a:lnTo>
                  <a:lnTo>
                    <a:pt x="2412" y="1780"/>
                  </a:lnTo>
                  <a:lnTo>
                    <a:pt x="2409" y="1785"/>
                  </a:lnTo>
                  <a:lnTo>
                    <a:pt x="2404" y="1788"/>
                  </a:lnTo>
                  <a:lnTo>
                    <a:pt x="2399" y="1791"/>
                  </a:lnTo>
                  <a:lnTo>
                    <a:pt x="2393" y="1792"/>
                  </a:lnTo>
                  <a:lnTo>
                    <a:pt x="2383" y="1791"/>
                  </a:lnTo>
                  <a:lnTo>
                    <a:pt x="2376" y="1788"/>
                  </a:lnTo>
                  <a:lnTo>
                    <a:pt x="2369" y="1784"/>
                  </a:lnTo>
                  <a:lnTo>
                    <a:pt x="2363" y="1779"/>
                  </a:lnTo>
                  <a:lnTo>
                    <a:pt x="2351" y="1765"/>
                  </a:lnTo>
                  <a:lnTo>
                    <a:pt x="2340" y="1751"/>
                  </a:lnTo>
                  <a:lnTo>
                    <a:pt x="2335" y="1742"/>
                  </a:lnTo>
                  <a:lnTo>
                    <a:pt x="2330" y="1732"/>
                  </a:lnTo>
                  <a:lnTo>
                    <a:pt x="2328" y="1729"/>
                  </a:lnTo>
                  <a:lnTo>
                    <a:pt x="2325" y="1726"/>
                  </a:lnTo>
                  <a:lnTo>
                    <a:pt x="2321" y="1724"/>
                  </a:lnTo>
                  <a:lnTo>
                    <a:pt x="2316" y="1723"/>
                  </a:lnTo>
                  <a:lnTo>
                    <a:pt x="2300" y="1724"/>
                  </a:lnTo>
                  <a:lnTo>
                    <a:pt x="2285" y="1726"/>
                  </a:lnTo>
                  <a:lnTo>
                    <a:pt x="2279" y="1728"/>
                  </a:lnTo>
                  <a:lnTo>
                    <a:pt x="2272" y="1731"/>
                  </a:lnTo>
                  <a:lnTo>
                    <a:pt x="2266" y="1735"/>
                  </a:lnTo>
                  <a:lnTo>
                    <a:pt x="2260" y="1741"/>
                  </a:lnTo>
                  <a:lnTo>
                    <a:pt x="2257" y="1745"/>
                  </a:lnTo>
                  <a:lnTo>
                    <a:pt x="2255" y="1749"/>
                  </a:lnTo>
                  <a:lnTo>
                    <a:pt x="2254" y="1754"/>
                  </a:lnTo>
                  <a:lnTo>
                    <a:pt x="2251" y="1758"/>
                  </a:lnTo>
                  <a:lnTo>
                    <a:pt x="2250" y="1762"/>
                  </a:lnTo>
                  <a:lnTo>
                    <a:pt x="2248" y="1766"/>
                  </a:lnTo>
                  <a:lnTo>
                    <a:pt x="2245" y="1768"/>
                  </a:lnTo>
                  <a:lnTo>
                    <a:pt x="2241" y="1770"/>
                  </a:lnTo>
                  <a:lnTo>
                    <a:pt x="2234" y="1768"/>
                  </a:lnTo>
                  <a:lnTo>
                    <a:pt x="2228" y="1766"/>
                  </a:lnTo>
                  <a:lnTo>
                    <a:pt x="2222" y="1763"/>
                  </a:lnTo>
                  <a:lnTo>
                    <a:pt x="2216" y="1760"/>
                  </a:lnTo>
                  <a:lnTo>
                    <a:pt x="2211" y="1757"/>
                  </a:lnTo>
                  <a:lnTo>
                    <a:pt x="2206" y="1754"/>
                  </a:lnTo>
                  <a:lnTo>
                    <a:pt x="2200" y="1752"/>
                  </a:lnTo>
                  <a:lnTo>
                    <a:pt x="2193" y="1752"/>
                  </a:lnTo>
                  <a:lnTo>
                    <a:pt x="2179" y="1764"/>
                  </a:lnTo>
                  <a:lnTo>
                    <a:pt x="2167" y="1777"/>
                  </a:lnTo>
                  <a:lnTo>
                    <a:pt x="2157" y="1776"/>
                  </a:lnTo>
                  <a:lnTo>
                    <a:pt x="2147" y="1774"/>
                  </a:lnTo>
                  <a:lnTo>
                    <a:pt x="2138" y="1772"/>
                  </a:lnTo>
                  <a:lnTo>
                    <a:pt x="2128" y="1770"/>
                  </a:lnTo>
                  <a:lnTo>
                    <a:pt x="2108" y="1773"/>
                  </a:lnTo>
                  <a:lnTo>
                    <a:pt x="2091" y="1776"/>
                  </a:lnTo>
                  <a:lnTo>
                    <a:pt x="2083" y="1778"/>
                  </a:lnTo>
                  <a:lnTo>
                    <a:pt x="2075" y="1781"/>
                  </a:lnTo>
                  <a:lnTo>
                    <a:pt x="2067" y="1785"/>
                  </a:lnTo>
                  <a:lnTo>
                    <a:pt x="2059" y="1790"/>
                  </a:lnTo>
                  <a:lnTo>
                    <a:pt x="2053" y="1794"/>
                  </a:lnTo>
                  <a:lnTo>
                    <a:pt x="2050" y="1798"/>
                  </a:lnTo>
                  <a:lnTo>
                    <a:pt x="2047" y="1803"/>
                  </a:lnTo>
                  <a:lnTo>
                    <a:pt x="2044" y="1807"/>
                  </a:lnTo>
                  <a:lnTo>
                    <a:pt x="2042" y="1812"/>
                  </a:lnTo>
                  <a:lnTo>
                    <a:pt x="2039" y="1816"/>
                  </a:lnTo>
                  <a:lnTo>
                    <a:pt x="2036" y="1820"/>
                  </a:lnTo>
                  <a:lnTo>
                    <a:pt x="2031" y="1823"/>
                  </a:lnTo>
                  <a:lnTo>
                    <a:pt x="2025" y="1827"/>
                  </a:lnTo>
                  <a:lnTo>
                    <a:pt x="2018" y="1830"/>
                  </a:lnTo>
                  <a:lnTo>
                    <a:pt x="2013" y="1833"/>
                  </a:lnTo>
                  <a:lnTo>
                    <a:pt x="2007" y="1834"/>
                  </a:lnTo>
                  <a:lnTo>
                    <a:pt x="1994" y="1837"/>
                  </a:lnTo>
                  <a:lnTo>
                    <a:pt x="1980" y="1840"/>
                  </a:lnTo>
                  <a:lnTo>
                    <a:pt x="1961" y="1847"/>
                  </a:lnTo>
                  <a:lnTo>
                    <a:pt x="1943" y="1853"/>
                  </a:lnTo>
                  <a:lnTo>
                    <a:pt x="1925" y="1858"/>
                  </a:lnTo>
                  <a:lnTo>
                    <a:pt x="1905" y="1865"/>
                  </a:lnTo>
                  <a:lnTo>
                    <a:pt x="1896" y="1870"/>
                  </a:lnTo>
                  <a:lnTo>
                    <a:pt x="1888" y="1875"/>
                  </a:lnTo>
                  <a:lnTo>
                    <a:pt x="1880" y="1881"/>
                  </a:lnTo>
                  <a:lnTo>
                    <a:pt x="1872" y="1887"/>
                  </a:lnTo>
                  <a:lnTo>
                    <a:pt x="1854" y="1898"/>
                  </a:lnTo>
                  <a:lnTo>
                    <a:pt x="1840" y="1909"/>
                  </a:lnTo>
                  <a:lnTo>
                    <a:pt x="1827" y="1921"/>
                  </a:lnTo>
                  <a:lnTo>
                    <a:pt x="1815" y="1934"/>
                  </a:lnTo>
                  <a:lnTo>
                    <a:pt x="1806" y="1948"/>
                  </a:lnTo>
                  <a:lnTo>
                    <a:pt x="1797" y="1964"/>
                  </a:lnTo>
                  <a:lnTo>
                    <a:pt x="1788" y="1981"/>
                  </a:lnTo>
                  <a:lnTo>
                    <a:pt x="1781" y="2000"/>
                  </a:lnTo>
                  <a:lnTo>
                    <a:pt x="1774" y="2020"/>
                  </a:lnTo>
                  <a:lnTo>
                    <a:pt x="1769" y="2039"/>
                  </a:lnTo>
                  <a:lnTo>
                    <a:pt x="1766" y="2048"/>
                  </a:lnTo>
                  <a:lnTo>
                    <a:pt x="1763" y="2058"/>
                  </a:lnTo>
                  <a:lnTo>
                    <a:pt x="1759" y="2067"/>
                  </a:lnTo>
                  <a:lnTo>
                    <a:pt x="1753" y="2077"/>
                  </a:lnTo>
                  <a:lnTo>
                    <a:pt x="1744" y="2096"/>
                  </a:lnTo>
                  <a:lnTo>
                    <a:pt x="1737" y="2113"/>
                  </a:lnTo>
                  <a:lnTo>
                    <a:pt x="1732" y="2121"/>
                  </a:lnTo>
                  <a:lnTo>
                    <a:pt x="1728" y="2129"/>
                  </a:lnTo>
                  <a:lnTo>
                    <a:pt x="1720" y="2136"/>
                  </a:lnTo>
                  <a:lnTo>
                    <a:pt x="1713" y="2142"/>
                  </a:lnTo>
                  <a:lnTo>
                    <a:pt x="1707" y="2145"/>
                  </a:lnTo>
                  <a:lnTo>
                    <a:pt x="1701" y="2147"/>
                  </a:lnTo>
                  <a:lnTo>
                    <a:pt x="1694" y="2149"/>
                  </a:lnTo>
                  <a:lnTo>
                    <a:pt x="1687" y="2150"/>
                  </a:lnTo>
                  <a:lnTo>
                    <a:pt x="1681" y="2151"/>
                  </a:lnTo>
                  <a:lnTo>
                    <a:pt x="1676" y="2153"/>
                  </a:lnTo>
                  <a:lnTo>
                    <a:pt x="1674" y="2154"/>
                  </a:lnTo>
                  <a:lnTo>
                    <a:pt x="1673" y="2156"/>
                  </a:lnTo>
                  <a:lnTo>
                    <a:pt x="1671" y="2158"/>
                  </a:lnTo>
                  <a:lnTo>
                    <a:pt x="1671" y="2161"/>
                  </a:lnTo>
                  <a:lnTo>
                    <a:pt x="1669" y="2169"/>
                  </a:lnTo>
                  <a:lnTo>
                    <a:pt x="1667" y="2176"/>
                  </a:lnTo>
                  <a:lnTo>
                    <a:pt x="1664" y="2184"/>
                  </a:lnTo>
                  <a:lnTo>
                    <a:pt x="1661" y="2191"/>
                  </a:lnTo>
                  <a:lnTo>
                    <a:pt x="1656" y="2196"/>
                  </a:lnTo>
                  <a:lnTo>
                    <a:pt x="1651" y="2201"/>
                  </a:lnTo>
                  <a:lnTo>
                    <a:pt x="1645" y="2206"/>
                  </a:lnTo>
                  <a:lnTo>
                    <a:pt x="1639" y="2209"/>
                  </a:lnTo>
                  <a:lnTo>
                    <a:pt x="1621" y="2215"/>
                  </a:lnTo>
                  <a:lnTo>
                    <a:pt x="1606" y="2218"/>
                  </a:lnTo>
                  <a:lnTo>
                    <a:pt x="1599" y="2220"/>
                  </a:lnTo>
                  <a:lnTo>
                    <a:pt x="1592" y="2224"/>
                  </a:lnTo>
                  <a:lnTo>
                    <a:pt x="1589" y="2226"/>
                  </a:lnTo>
                  <a:lnTo>
                    <a:pt x="1587" y="2228"/>
                  </a:lnTo>
                  <a:lnTo>
                    <a:pt x="1585" y="2232"/>
                  </a:lnTo>
                  <a:lnTo>
                    <a:pt x="1583" y="2235"/>
                  </a:lnTo>
                  <a:lnTo>
                    <a:pt x="1579" y="2246"/>
                  </a:lnTo>
                  <a:lnTo>
                    <a:pt x="1574" y="2255"/>
                  </a:lnTo>
                  <a:lnTo>
                    <a:pt x="1569" y="2263"/>
                  </a:lnTo>
                  <a:lnTo>
                    <a:pt x="1564" y="2270"/>
                  </a:lnTo>
                  <a:lnTo>
                    <a:pt x="1557" y="2278"/>
                  </a:lnTo>
                  <a:lnTo>
                    <a:pt x="1550" y="2283"/>
                  </a:lnTo>
                  <a:lnTo>
                    <a:pt x="1543" y="2289"/>
                  </a:lnTo>
                  <a:lnTo>
                    <a:pt x="1536" y="2294"/>
                  </a:lnTo>
                  <a:lnTo>
                    <a:pt x="1502" y="2313"/>
                  </a:lnTo>
                  <a:lnTo>
                    <a:pt x="1464" y="2331"/>
                  </a:lnTo>
                  <a:lnTo>
                    <a:pt x="1440" y="2344"/>
                  </a:lnTo>
                  <a:lnTo>
                    <a:pt x="1417" y="2354"/>
                  </a:lnTo>
                  <a:lnTo>
                    <a:pt x="1407" y="2357"/>
                  </a:lnTo>
                  <a:lnTo>
                    <a:pt x="1394" y="2360"/>
                  </a:lnTo>
                  <a:lnTo>
                    <a:pt x="1382" y="2361"/>
                  </a:lnTo>
                  <a:lnTo>
                    <a:pt x="1368" y="2362"/>
                  </a:lnTo>
                  <a:lnTo>
                    <a:pt x="1356" y="2361"/>
                  </a:lnTo>
                  <a:lnTo>
                    <a:pt x="1346" y="2358"/>
                  </a:lnTo>
                  <a:lnTo>
                    <a:pt x="1336" y="2354"/>
                  </a:lnTo>
                  <a:lnTo>
                    <a:pt x="1326" y="2350"/>
                  </a:lnTo>
                  <a:lnTo>
                    <a:pt x="1317" y="2346"/>
                  </a:lnTo>
                  <a:lnTo>
                    <a:pt x="1307" y="2342"/>
                  </a:lnTo>
                  <a:lnTo>
                    <a:pt x="1297" y="2340"/>
                  </a:lnTo>
                  <a:lnTo>
                    <a:pt x="1285" y="2339"/>
                  </a:lnTo>
                  <a:lnTo>
                    <a:pt x="1275" y="2340"/>
                  </a:lnTo>
                  <a:lnTo>
                    <a:pt x="1266" y="2342"/>
                  </a:lnTo>
                  <a:lnTo>
                    <a:pt x="1257" y="2346"/>
                  </a:lnTo>
                  <a:lnTo>
                    <a:pt x="1250" y="2350"/>
                  </a:lnTo>
                  <a:lnTo>
                    <a:pt x="1242" y="2354"/>
                  </a:lnTo>
                  <a:lnTo>
                    <a:pt x="1234" y="2358"/>
                  </a:lnTo>
                  <a:lnTo>
                    <a:pt x="1225" y="2361"/>
                  </a:lnTo>
                  <a:lnTo>
                    <a:pt x="1215" y="2362"/>
                  </a:lnTo>
                  <a:lnTo>
                    <a:pt x="1200" y="2362"/>
                  </a:lnTo>
                  <a:lnTo>
                    <a:pt x="1185" y="2361"/>
                  </a:lnTo>
                  <a:lnTo>
                    <a:pt x="1172" y="2360"/>
                  </a:lnTo>
                  <a:lnTo>
                    <a:pt x="1157" y="2356"/>
                  </a:lnTo>
                  <a:lnTo>
                    <a:pt x="1149" y="2352"/>
                  </a:lnTo>
                  <a:lnTo>
                    <a:pt x="1141" y="2347"/>
                  </a:lnTo>
                  <a:lnTo>
                    <a:pt x="1135" y="2341"/>
                  </a:lnTo>
                  <a:lnTo>
                    <a:pt x="1128" y="2334"/>
                  </a:lnTo>
                  <a:lnTo>
                    <a:pt x="1121" y="2328"/>
                  </a:lnTo>
                  <a:lnTo>
                    <a:pt x="1115" y="2323"/>
                  </a:lnTo>
                  <a:lnTo>
                    <a:pt x="1107" y="2318"/>
                  </a:lnTo>
                  <a:lnTo>
                    <a:pt x="1097" y="2315"/>
                  </a:lnTo>
                  <a:lnTo>
                    <a:pt x="1088" y="2317"/>
                  </a:lnTo>
                  <a:lnTo>
                    <a:pt x="1084" y="2314"/>
                  </a:lnTo>
                  <a:lnTo>
                    <a:pt x="1080" y="2311"/>
                  </a:lnTo>
                  <a:lnTo>
                    <a:pt x="1077" y="2307"/>
                  </a:lnTo>
                  <a:lnTo>
                    <a:pt x="1076" y="2302"/>
                  </a:lnTo>
                  <a:lnTo>
                    <a:pt x="1076" y="2278"/>
                  </a:lnTo>
                  <a:lnTo>
                    <a:pt x="1076" y="2273"/>
                  </a:lnTo>
                  <a:lnTo>
                    <a:pt x="1074" y="2269"/>
                  </a:lnTo>
                  <a:lnTo>
                    <a:pt x="1071" y="2266"/>
                  </a:lnTo>
                  <a:lnTo>
                    <a:pt x="1068" y="2264"/>
                  </a:lnTo>
                  <a:lnTo>
                    <a:pt x="1060" y="2259"/>
                  </a:lnTo>
                  <a:lnTo>
                    <a:pt x="1053" y="2252"/>
                  </a:lnTo>
                  <a:lnTo>
                    <a:pt x="1048" y="2246"/>
                  </a:lnTo>
                  <a:lnTo>
                    <a:pt x="1045" y="2239"/>
                  </a:lnTo>
                  <a:lnTo>
                    <a:pt x="1043" y="2236"/>
                  </a:lnTo>
                  <a:lnTo>
                    <a:pt x="1041" y="2234"/>
                  </a:lnTo>
                  <a:lnTo>
                    <a:pt x="1038" y="2232"/>
                  </a:lnTo>
                  <a:lnTo>
                    <a:pt x="1034" y="2232"/>
                  </a:lnTo>
                  <a:lnTo>
                    <a:pt x="1021" y="2239"/>
                  </a:lnTo>
                  <a:lnTo>
                    <a:pt x="1008" y="2247"/>
                  </a:lnTo>
                  <a:lnTo>
                    <a:pt x="1001" y="2246"/>
                  </a:lnTo>
                  <a:lnTo>
                    <a:pt x="994" y="2245"/>
                  </a:lnTo>
                  <a:lnTo>
                    <a:pt x="988" y="2244"/>
                  </a:lnTo>
                  <a:lnTo>
                    <a:pt x="983" y="2241"/>
                  </a:lnTo>
                  <a:lnTo>
                    <a:pt x="972" y="2236"/>
                  </a:lnTo>
                  <a:lnTo>
                    <a:pt x="962" y="2229"/>
                  </a:lnTo>
                  <a:lnTo>
                    <a:pt x="953" y="2222"/>
                  </a:lnTo>
                  <a:lnTo>
                    <a:pt x="943" y="2214"/>
                  </a:lnTo>
                  <a:lnTo>
                    <a:pt x="932" y="2205"/>
                  </a:lnTo>
                  <a:lnTo>
                    <a:pt x="921" y="2198"/>
                  </a:lnTo>
                  <a:lnTo>
                    <a:pt x="912" y="2193"/>
                  </a:lnTo>
                  <a:lnTo>
                    <a:pt x="904" y="2187"/>
                  </a:lnTo>
                  <a:lnTo>
                    <a:pt x="897" y="2182"/>
                  </a:lnTo>
                  <a:lnTo>
                    <a:pt x="890" y="2175"/>
                  </a:lnTo>
                  <a:lnTo>
                    <a:pt x="877" y="2163"/>
                  </a:lnTo>
                  <a:lnTo>
                    <a:pt x="861" y="2151"/>
                  </a:lnTo>
                  <a:lnTo>
                    <a:pt x="851" y="2144"/>
                  </a:lnTo>
                  <a:lnTo>
                    <a:pt x="840" y="2140"/>
                  </a:lnTo>
                  <a:lnTo>
                    <a:pt x="835" y="2138"/>
                  </a:lnTo>
                  <a:lnTo>
                    <a:pt x="831" y="2134"/>
                  </a:lnTo>
                  <a:lnTo>
                    <a:pt x="828" y="2130"/>
                  </a:lnTo>
                  <a:lnTo>
                    <a:pt x="827" y="2125"/>
                  </a:lnTo>
                  <a:lnTo>
                    <a:pt x="828" y="2121"/>
                  </a:lnTo>
                  <a:lnTo>
                    <a:pt x="828" y="2118"/>
                  </a:lnTo>
                  <a:lnTo>
                    <a:pt x="833" y="2116"/>
                  </a:lnTo>
                  <a:lnTo>
                    <a:pt x="841" y="2121"/>
                  </a:lnTo>
                  <a:lnTo>
                    <a:pt x="846" y="2125"/>
                  </a:lnTo>
                  <a:lnTo>
                    <a:pt x="849" y="2127"/>
                  </a:lnTo>
                  <a:lnTo>
                    <a:pt x="852" y="2128"/>
                  </a:lnTo>
                  <a:lnTo>
                    <a:pt x="855" y="2129"/>
                  </a:lnTo>
                  <a:lnTo>
                    <a:pt x="859" y="2129"/>
                  </a:lnTo>
                  <a:lnTo>
                    <a:pt x="865" y="2129"/>
                  </a:lnTo>
                  <a:lnTo>
                    <a:pt x="871" y="2128"/>
                  </a:lnTo>
                  <a:lnTo>
                    <a:pt x="876" y="2127"/>
                  </a:lnTo>
                  <a:lnTo>
                    <a:pt x="880" y="2125"/>
                  </a:lnTo>
                  <a:lnTo>
                    <a:pt x="888" y="2119"/>
                  </a:lnTo>
                  <a:lnTo>
                    <a:pt x="895" y="2111"/>
                  </a:lnTo>
                  <a:lnTo>
                    <a:pt x="903" y="2104"/>
                  </a:lnTo>
                  <a:lnTo>
                    <a:pt x="910" y="2096"/>
                  </a:lnTo>
                  <a:lnTo>
                    <a:pt x="917" y="2088"/>
                  </a:lnTo>
                  <a:lnTo>
                    <a:pt x="926" y="2079"/>
                  </a:lnTo>
                  <a:lnTo>
                    <a:pt x="935" y="2073"/>
                  </a:lnTo>
                  <a:lnTo>
                    <a:pt x="942" y="2066"/>
                  </a:lnTo>
                  <a:lnTo>
                    <a:pt x="947" y="2059"/>
                  </a:lnTo>
                  <a:lnTo>
                    <a:pt x="952" y="2051"/>
                  </a:lnTo>
                  <a:lnTo>
                    <a:pt x="962" y="2036"/>
                  </a:lnTo>
                  <a:lnTo>
                    <a:pt x="974" y="2018"/>
                  </a:lnTo>
                  <a:lnTo>
                    <a:pt x="983" y="2006"/>
                  </a:lnTo>
                  <a:lnTo>
                    <a:pt x="989" y="1994"/>
                  </a:lnTo>
                  <a:lnTo>
                    <a:pt x="992" y="1986"/>
                  </a:lnTo>
                  <a:lnTo>
                    <a:pt x="993" y="1980"/>
                  </a:lnTo>
                  <a:lnTo>
                    <a:pt x="994" y="1973"/>
                  </a:lnTo>
                  <a:lnTo>
                    <a:pt x="995" y="1965"/>
                  </a:lnTo>
                  <a:lnTo>
                    <a:pt x="994" y="1949"/>
                  </a:lnTo>
                  <a:lnTo>
                    <a:pt x="991" y="1935"/>
                  </a:lnTo>
                  <a:lnTo>
                    <a:pt x="988" y="1922"/>
                  </a:lnTo>
                  <a:lnTo>
                    <a:pt x="984" y="1910"/>
                  </a:lnTo>
                  <a:lnTo>
                    <a:pt x="981" y="1897"/>
                  </a:lnTo>
                  <a:lnTo>
                    <a:pt x="977" y="1884"/>
                  </a:lnTo>
                  <a:lnTo>
                    <a:pt x="975" y="1870"/>
                  </a:lnTo>
                  <a:lnTo>
                    <a:pt x="974" y="1854"/>
                  </a:lnTo>
                  <a:lnTo>
                    <a:pt x="975" y="1840"/>
                  </a:lnTo>
                  <a:lnTo>
                    <a:pt x="978" y="1827"/>
                  </a:lnTo>
                  <a:lnTo>
                    <a:pt x="981" y="1815"/>
                  </a:lnTo>
                  <a:lnTo>
                    <a:pt x="985" y="1802"/>
                  </a:lnTo>
                  <a:lnTo>
                    <a:pt x="992" y="1791"/>
                  </a:lnTo>
                  <a:lnTo>
                    <a:pt x="1000" y="1783"/>
                  </a:lnTo>
                  <a:lnTo>
                    <a:pt x="1003" y="1780"/>
                  </a:lnTo>
                  <a:lnTo>
                    <a:pt x="1007" y="1777"/>
                  </a:lnTo>
                  <a:lnTo>
                    <a:pt x="1012" y="1774"/>
                  </a:lnTo>
                  <a:lnTo>
                    <a:pt x="1017" y="1771"/>
                  </a:lnTo>
                  <a:lnTo>
                    <a:pt x="1030" y="1764"/>
                  </a:lnTo>
                  <a:lnTo>
                    <a:pt x="1042" y="1758"/>
                  </a:lnTo>
                  <a:lnTo>
                    <a:pt x="1047" y="1754"/>
                  </a:lnTo>
                  <a:lnTo>
                    <a:pt x="1051" y="1750"/>
                  </a:lnTo>
                  <a:lnTo>
                    <a:pt x="1053" y="1744"/>
                  </a:lnTo>
                  <a:lnTo>
                    <a:pt x="1054" y="1738"/>
                  </a:lnTo>
                  <a:lnTo>
                    <a:pt x="1053" y="1721"/>
                  </a:lnTo>
                  <a:lnTo>
                    <a:pt x="1053" y="1706"/>
                  </a:lnTo>
                  <a:lnTo>
                    <a:pt x="1051" y="1692"/>
                  </a:lnTo>
                  <a:lnTo>
                    <a:pt x="1049" y="1678"/>
                  </a:lnTo>
                  <a:lnTo>
                    <a:pt x="1044" y="1651"/>
                  </a:lnTo>
                  <a:lnTo>
                    <a:pt x="1035" y="1620"/>
                  </a:lnTo>
                  <a:lnTo>
                    <a:pt x="1029" y="1603"/>
                  </a:lnTo>
                  <a:lnTo>
                    <a:pt x="1023" y="1589"/>
                  </a:lnTo>
                  <a:lnTo>
                    <a:pt x="1021" y="1583"/>
                  </a:lnTo>
                  <a:lnTo>
                    <a:pt x="1019" y="1575"/>
                  </a:lnTo>
                  <a:lnTo>
                    <a:pt x="1017" y="1567"/>
                  </a:lnTo>
                  <a:lnTo>
                    <a:pt x="1017" y="1559"/>
                  </a:lnTo>
                  <a:lnTo>
                    <a:pt x="1017" y="1548"/>
                  </a:lnTo>
                  <a:lnTo>
                    <a:pt x="1017" y="1537"/>
                  </a:lnTo>
                  <a:lnTo>
                    <a:pt x="1017" y="1528"/>
                  </a:lnTo>
                  <a:lnTo>
                    <a:pt x="1017" y="1517"/>
                  </a:lnTo>
                  <a:lnTo>
                    <a:pt x="1017" y="1507"/>
                  </a:lnTo>
                  <a:lnTo>
                    <a:pt x="1016" y="1499"/>
                  </a:lnTo>
                  <a:lnTo>
                    <a:pt x="1014" y="1491"/>
                  </a:lnTo>
                  <a:lnTo>
                    <a:pt x="1011" y="1482"/>
                  </a:lnTo>
                  <a:lnTo>
                    <a:pt x="1008" y="1475"/>
                  </a:lnTo>
                  <a:lnTo>
                    <a:pt x="1004" y="1469"/>
                  </a:lnTo>
                  <a:lnTo>
                    <a:pt x="1000" y="1462"/>
                  </a:lnTo>
                  <a:lnTo>
                    <a:pt x="994" y="1456"/>
                  </a:lnTo>
                  <a:lnTo>
                    <a:pt x="983" y="1444"/>
                  </a:lnTo>
                  <a:lnTo>
                    <a:pt x="970" y="1433"/>
                  </a:lnTo>
                  <a:lnTo>
                    <a:pt x="955" y="1423"/>
                  </a:lnTo>
                  <a:lnTo>
                    <a:pt x="940" y="1413"/>
                  </a:lnTo>
                  <a:lnTo>
                    <a:pt x="924" y="1402"/>
                  </a:lnTo>
                  <a:lnTo>
                    <a:pt x="910" y="1391"/>
                  </a:lnTo>
                  <a:lnTo>
                    <a:pt x="897" y="1380"/>
                  </a:lnTo>
                  <a:lnTo>
                    <a:pt x="885" y="1370"/>
                  </a:lnTo>
                  <a:lnTo>
                    <a:pt x="879" y="1365"/>
                  </a:lnTo>
                  <a:lnTo>
                    <a:pt x="872" y="1361"/>
                  </a:lnTo>
                  <a:lnTo>
                    <a:pt x="865" y="1356"/>
                  </a:lnTo>
                  <a:lnTo>
                    <a:pt x="858" y="1353"/>
                  </a:lnTo>
                  <a:lnTo>
                    <a:pt x="851" y="1350"/>
                  </a:lnTo>
                  <a:lnTo>
                    <a:pt x="843" y="1348"/>
                  </a:lnTo>
                  <a:lnTo>
                    <a:pt x="833" y="1347"/>
                  </a:lnTo>
                  <a:lnTo>
                    <a:pt x="824" y="1347"/>
                  </a:lnTo>
                  <a:lnTo>
                    <a:pt x="818" y="1347"/>
                  </a:lnTo>
                  <a:lnTo>
                    <a:pt x="812" y="1348"/>
                  </a:lnTo>
                  <a:lnTo>
                    <a:pt x="807" y="1350"/>
                  </a:lnTo>
                  <a:lnTo>
                    <a:pt x="800" y="1352"/>
                  </a:lnTo>
                  <a:lnTo>
                    <a:pt x="791" y="1358"/>
                  </a:lnTo>
                  <a:lnTo>
                    <a:pt x="781" y="1364"/>
                  </a:lnTo>
                  <a:lnTo>
                    <a:pt x="772" y="1370"/>
                  </a:lnTo>
                  <a:lnTo>
                    <a:pt x="761" y="1375"/>
                  </a:lnTo>
                  <a:lnTo>
                    <a:pt x="756" y="1377"/>
                  </a:lnTo>
                  <a:lnTo>
                    <a:pt x="751" y="1378"/>
                  </a:lnTo>
                  <a:lnTo>
                    <a:pt x="745" y="1379"/>
                  </a:lnTo>
                  <a:lnTo>
                    <a:pt x="738" y="1380"/>
                  </a:lnTo>
                  <a:lnTo>
                    <a:pt x="729" y="1379"/>
                  </a:lnTo>
                  <a:lnTo>
                    <a:pt x="722" y="1378"/>
                  </a:lnTo>
                  <a:lnTo>
                    <a:pt x="715" y="1376"/>
                  </a:lnTo>
                  <a:lnTo>
                    <a:pt x="708" y="1373"/>
                  </a:lnTo>
                  <a:lnTo>
                    <a:pt x="703" y="1370"/>
                  </a:lnTo>
                  <a:lnTo>
                    <a:pt x="698" y="1366"/>
                  </a:lnTo>
                  <a:lnTo>
                    <a:pt x="695" y="1361"/>
                  </a:lnTo>
                  <a:lnTo>
                    <a:pt x="692" y="1355"/>
                  </a:lnTo>
                  <a:lnTo>
                    <a:pt x="689" y="1351"/>
                  </a:lnTo>
                  <a:lnTo>
                    <a:pt x="685" y="1347"/>
                  </a:lnTo>
                  <a:lnTo>
                    <a:pt x="681" y="1344"/>
                  </a:lnTo>
                  <a:lnTo>
                    <a:pt x="676" y="1343"/>
                  </a:lnTo>
                  <a:lnTo>
                    <a:pt x="667" y="1344"/>
                  </a:lnTo>
                  <a:lnTo>
                    <a:pt x="659" y="1346"/>
                  </a:lnTo>
                  <a:lnTo>
                    <a:pt x="649" y="1345"/>
                  </a:lnTo>
                  <a:lnTo>
                    <a:pt x="640" y="1342"/>
                  </a:lnTo>
                  <a:lnTo>
                    <a:pt x="631" y="1338"/>
                  </a:lnTo>
                  <a:lnTo>
                    <a:pt x="623" y="1333"/>
                  </a:lnTo>
                  <a:lnTo>
                    <a:pt x="610" y="1319"/>
                  </a:lnTo>
                  <a:lnTo>
                    <a:pt x="594" y="1303"/>
                  </a:lnTo>
                  <a:lnTo>
                    <a:pt x="586" y="1297"/>
                  </a:lnTo>
                  <a:lnTo>
                    <a:pt x="579" y="1290"/>
                  </a:lnTo>
                  <a:lnTo>
                    <a:pt x="573" y="1284"/>
                  </a:lnTo>
                  <a:lnTo>
                    <a:pt x="566" y="1276"/>
                  </a:lnTo>
                  <a:lnTo>
                    <a:pt x="559" y="1267"/>
                  </a:lnTo>
                  <a:lnTo>
                    <a:pt x="553" y="1258"/>
                  </a:lnTo>
                  <a:lnTo>
                    <a:pt x="547" y="1251"/>
                  </a:lnTo>
                  <a:lnTo>
                    <a:pt x="540" y="1245"/>
                  </a:lnTo>
                  <a:lnTo>
                    <a:pt x="525" y="1233"/>
                  </a:lnTo>
                  <a:lnTo>
                    <a:pt x="508" y="1219"/>
                  </a:lnTo>
                  <a:lnTo>
                    <a:pt x="499" y="1213"/>
                  </a:lnTo>
                  <a:lnTo>
                    <a:pt x="491" y="1207"/>
                  </a:lnTo>
                  <a:lnTo>
                    <a:pt x="488" y="1204"/>
                  </a:lnTo>
                  <a:lnTo>
                    <a:pt x="486" y="1200"/>
                  </a:lnTo>
                  <a:lnTo>
                    <a:pt x="484" y="1195"/>
                  </a:lnTo>
                  <a:lnTo>
                    <a:pt x="483" y="1190"/>
                  </a:lnTo>
                  <a:lnTo>
                    <a:pt x="484" y="1183"/>
                  </a:lnTo>
                  <a:lnTo>
                    <a:pt x="486" y="1177"/>
                  </a:lnTo>
                  <a:lnTo>
                    <a:pt x="489" y="1172"/>
                  </a:lnTo>
                  <a:lnTo>
                    <a:pt x="492" y="1166"/>
                  </a:lnTo>
                  <a:lnTo>
                    <a:pt x="497" y="1162"/>
                  </a:lnTo>
                  <a:lnTo>
                    <a:pt x="502" y="1159"/>
                  </a:lnTo>
                  <a:lnTo>
                    <a:pt x="509" y="1157"/>
                  </a:lnTo>
                  <a:lnTo>
                    <a:pt x="515" y="1157"/>
                  </a:lnTo>
                  <a:lnTo>
                    <a:pt x="517" y="1154"/>
                  </a:lnTo>
                  <a:lnTo>
                    <a:pt x="518" y="1151"/>
                  </a:lnTo>
                  <a:lnTo>
                    <a:pt x="516" y="1145"/>
                  </a:lnTo>
                  <a:lnTo>
                    <a:pt x="514" y="1139"/>
                  </a:lnTo>
                  <a:lnTo>
                    <a:pt x="515" y="1131"/>
                  </a:lnTo>
                  <a:lnTo>
                    <a:pt x="518" y="1124"/>
                  </a:lnTo>
                  <a:lnTo>
                    <a:pt x="522" y="1119"/>
                  </a:lnTo>
                  <a:lnTo>
                    <a:pt x="527" y="1114"/>
                  </a:lnTo>
                  <a:lnTo>
                    <a:pt x="534" y="1110"/>
                  </a:lnTo>
                  <a:lnTo>
                    <a:pt x="542" y="1107"/>
                  </a:lnTo>
                  <a:lnTo>
                    <a:pt x="550" y="1103"/>
                  </a:lnTo>
                  <a:lnTo>
                    <a:pt x="558" y="1100"/>
                  </a:lnTo>
                  <a:lnTo>
                    <a:pt x="565" y="1097"/>
                  </a:lnTo>
                  <a:lnTo>
                    <a:pt x="574" y="1094"/>
                  </a:lnTo>
                  <a:lnTo>
                    <a:pt x="581" y="1090"/>
                  </a:lnTo>
                  <a:lnTo>
                    <a:pt x="588" y="1086"/>
                  </a:lnTo>
                  <a:lnTo>
                    <a:pt x="593" y="1082"/>
                  </a:lnTo>
                  <a:lnTo>
                    <a:pt x="597" y="1076"/>
                  </a:lnTo>
                  <a:lnTo>
                    <a:pt x="600" y="1069"/>
                  </a:lnTo>
                  <a:lnTo>
                    <a:pt x="601" y="1061"/>
                  </a:lnTo>
                  <a:lnTo>
                    <a:pt x="601" y="1058"/>
                  </a:lnTo>
                  <a:lnTo>
                    <a:pt x="600" y="1056"/>
                  </a:lnTo>
                  <a:lnTo>
                    <a:pt x="598" y="1054"/>
                  </a:lnTo>
                  <a:lnTo>
                    <a:pt x="596" y="1053"/>
                  </a:lnTo>
                  <a:lnTo>
                    <a:pt x="590" y="1054"/>
                  </a:lnTo>
                  <a:lnTo>
                    <a:pt x="585" y="1055"/>
                  </a:lnTo>
                  <a:lnTo>
                    <a:pt x="581" y="1058"/>
                  </a:lnTo>
                  <a:lnTo>
                    <a:pt x="576" y="1061"/>
                  </a:lnTo>
                  <a:lnTo>
                    <a:pt x="567" y="1068"/>
                  </a:lnTo>
                  <a:lnTo>
                    <a:pt x="558" y="1077"/>
                  </a:lnTo>
                  <a:lnTo>
                    <a:pt x="548" y="1082"/>
                  </a:lnTo>
                  <a:lnTo>
                    <a:pt x="538" y="1084"/>
                  </a:lnTo>
                  <a:lnTo>
                    <a:pt x="528" y="1087"/>
                  </a:lnTo>
                  <a:lnTo>
                    <a:pt x="518" y="1091"/>
                  </a:lnTo>
                  <a:lnTo>
                    <a:pt x="506" y="1098"/>
                  </a:lnTo>
                  <a:lnTo>
                    <a:pt x="496" y="1107"/>
                  </a:lnTo>
                  <a:lnTo>
                    <a:pt x="492" y="1111"/>
                  </a:lnTo>
                  <a:lnTo>
                    <a:pt x="487" y="1115"/>
                  </a:lnTo>
                  <a:lnTo>
                    <a:pt x="482" y="1118"/>
                  </a:lnTo>
                  <a:lnTo>
                    <a:pt x="475" y="1121"/>
                  </a:lnTo>
                  <a:lnTo>
                    <a:pt x="465" y="1124"/>
                  </a:lnTo>
                  <a:lnTo>
                    <a:pt x="456" y="1126"/>
                  </a:lnTo>
                  <a:lnTo>
                    <a:pt x="452" y="1127"/>
                  </a:lnTo>
                  <a:lnTo>
                    <a:pt x="449" y="1129"/>
                  </a:lnTo>
                  <a:lnTo>
                    <a:pt x="447" y="1132"/>
                  </a:lnTo>
                  <a:lnTo>
                    <a:pt x="446" y="1137"/>
                  </a:lnTo>
                  <a:lnTo>
                    <a:pt x="447" y="1145"/>
                  </a:lnTo>
                  <a:lnTo>
                    <a:pt x="448" y="1151"/>
                  </a:lnTo>
                  <a:lnTo>
                    <a:pt x="451" y="1157"/>
                  </a:lnTo>
                  <a:lnTo>
                    <a:pt x="455" y="1163"/>
                  </a:lnTo>
                  <a:lnTo>
                    <a:pt x="463" y="1175"/>
                  </a:lnTo>
                  <a:lnTo>
                    <a:pt x="472" y="1187"/>
                  </a:lnTo>
                  <a:lnTo>
                    <a:pt x="460" y="1184"/>
                  </a:lnTo>
                  <a:lnTo>
                    <a:pt x="450" y="1179"/>
                  </a:lnTo>
                  <a:lnTo>
                    <a:pt x="440" y="1175"/>
                  </a:lnTo>
                  <a:lnTo>
                    <a:pt x="429" y="1170"/>
                  </a:lnTo>
                  <a:lnTo>
                    <a:pt x="412" y="1159"/>
                  </a:lnTo>
                  <a:lnTo>
                    <a:pt x="394" y="1149"/>
                  </a:lnTo>
                  <a:lnTo>
                    <a:pt x="377" y="1140"/>
                  </a:lnTo>
                  <a:lnTo>
                    <a:pt x="358" y="1132"/>
                  </a:lnTo>
                  <a:lnTo>
                    <a:pt x="348" y="1129"/>
                  </a:lnTo>
                  <a:lnTo>
                    <a:pt x="337" y="1127"/>
                  </a:lnTo>
                  <a:lnTo>
                    <a:pt x="327" y="1125"/>
                  </a:lnTo>
                  <a:lnTo>
                    <a:pt x="315" y="1125"/>
                  </a:lnTo>
                  <a:lnTo>
                    <a:pt x="292" y="1126"/>
                  </a:lnTo>
                  <a:lnTo>
                    <a:pt x="271" y="1128"/>
                  </a:lnTo>
                  <a:lnTo>
                    <a:pt x="252" y="1132"/>
                  </a:lnTo>
                  <a:lnTo>
                    <a:pt x="230" y="1138"/>
                  </a:lnTo>
                  <a:lnTo>
                    <a:pt x="215" y="1142"/>
                  </a:lnTo>
                  <a:lnTo>
                    <a:pt x="200" y="1147"/>
                  </a:lnTo>
                  <a:lnTo>
                    <a:pt x="194" y="1150"/>
                  </a:lnTo>
                  <a:lnTo>
                    <a:pt x="189" y="1154"/>
                  </a:lnTo>
                  <a:lnTo>
                    <a:pt x="183" y="1159"/>
                  </a:lnTo>
                  <a:lnTo>
                    <a:pt x="177" y="1165"/>
                  </a:lnTo>
                  <a:lnTo>
                    <a:pt x="172" y="1174"/>
                  </a:lnTo>
                  <a:lnTo>
                    <a:pt x="168" y="1182"/>
                  </a:lnTo>
                  <a:lnTo>
                    <a:pt x="166" y="1185"/>
                  </a:lnTo>
                  <a:lnTo>
                    <a:pt x="164" y="1188"/>
                  </a:lnTo>
                  <a:lnTo>
                    <a:pt x="161" y="1190"/>
                  </a:lnTo>
                  <a:lnTo>
                    <a:pt x="157" y="1191"/>
                  </a:lnTo>
                  <a:lnTo>
                    <a:pt x="150" y="1190"/>
                  </a:lnTo>
                  <a:lnTo>
                    <a:pt x="144" y="1189"/>
                  </a:lnTo>
                  <a:lnTo>
                    <a:pt x="137" y="1188"/>
                  </a:lnTo>
                  <a:lnTo>
                    <a:pt x="132" y="1186"/>
                  </a:lnTo>
                  <a:lnTo>
                    <a:pt x="126" y="1185"/>
                  </a:lnTo>
                  <a:lnTo>
                    <a:pt x="121" y="1183"/>
                  </a:lnTo>
                  <a:lnTo>
                    <a:pt x="115" y="1182"/>
                  </a:lnTo>
                  <a:lnTo>
                    <a:pt x="107" y="1182"/>
                  </a:lnTo>
                  <a:lnTo>
                    <a:pt x="102" y="1182"/>
                  </a:lnTo>
                  <a:lnTo>
                    <a:pt x="98" y="1183"/>
                  </a:lnTo>
                  <a:lnTo>
                    <a:pt x="94" y="1185"/>
                  </a:lnTo>
                  <a:lnTo>
                    <a:pt x="90" y="1187"/>
                  </a:lnTo>
                  <a:lnTo>
                    <a:pt x="87" y="1189"/>
                  </a:lnTo>
                  <a:lnTo>
                    <a:pt x="83" y="1191"/>
                  </a:lnTo>
                  <a:lnTo>
                    <a:pt x="79" y="1193"/>
                  </a:lnTo>
                  <a:lnTo>
                    <a:pt x="73" y="1193"/>
                  </a:lnTo>
                  <a:lnTo>
                    <a:pt x="70" y="1193"/>
                  </a:lnTo>
                  <a:lnTo>
                    <a:pt x="67" y="1192"/>
                  </a:lnTo>
                  <a:lnTo>
                    <a:pt x="65" y="1191"/>
                  </a:lnTo>
                  <a:lnTo>
                    <a:pt x="63" y="1189"/>
                  </a:lnTo>
                  <a:lnTo>
                    <a:pt x="60" y="1185"/>
                  </a:lnTo>
                  <a:lnTo>
                    <a:pt x="57" y="1180"/>
                  </a:lnTo>
                  <a:lnTo>
                    <a:pt x="54" y="1175"/>
                  </a:lnTo>
                  <a:lnTo>
                    <a:pt x="50" y="1171"/>
                  </a:lnTo>
                  <a:lnTo>
                    <a:pt x="48" y="1169"/>
                  </a:lnTo>
                  <a:lnTo>
                    <a:pt x="46" y="1167"/>
                  </a:lnTo>
                  <a:lnTo>
                    <a:pt x="44" y="1166"/>
                  </a:lnTo>
                  <a:lnTo>
                    <a:pt x="40" y="1166"/>
                  </a:lnTo>
                  <a:lnTo>
                    <a:pt x="34" y="1167"/>
                  </a:lnTo>
                  <a:lnTo>
                    <a:pt x="28" y="1169"/>
                  </a:lnTo>
                  <a:lnTo>
                    <a:pt x="25" y="1169"/>
                  </a:lnTo>
                  <a:lnTo>
                    <a:pt x="22" y="1167"/>
                  </a:lnTo>
                  <a:lnTo>
                    <a:pt x="20" y="1165"/>
                  </a:lnTo>
                  <a:lnTo>
                    <a:pt x="19" y="1164"/>
                  </a:lnTo>
                  <a:lnTo>
                    <a:pt x="16" y="1158"/>
                  </a:lnTo>
                  <a:lnTo>
                    <a:pt x="15" y="1152"/>
                  </a:lnTo>
                  <a:lnTo>
                    <a:pt x="15" y="1137"/>
                  </a:lnTo>
                  <a:lnTo>
                    <a:pt x="15" y="1121"/>
                  </a:lnTo>
                  <a:lnTo>
                    <a:pt x="6" y="1108"/>
                  </a:lnTo>
                  <a:lnTo>
                    <a:pt x="0" y="1093"/>
                  </a:lnTo>
                  <a:lnTo>
                    <a:pt x="0" y="1082"/>
                  </a:lnTo>
                  <a:lnTo>
                    <a:pt x="2" y="1071"/>
                  </a:lnTo>
                  <a:lnTo>
                    <a:pt x="5" y="1062"/>
                  </a:lnTo>
                  <a:lnTo>
                    <a:pt x="10" y="1053"/>
                  </a:lnTo>
                  <a:lnTo>
                    <a:pt x="14" y="1044"/>
                  </a:lnTo>
                  <a:lnTo>
                    <a:pt x="20" y="1035"/>
                  </a:lnTo>
                  <a:lnTo>
                    <a:pt x="27" y="1027"/>
                  </a:lnTo>
                  <a:lnTo>
                    <a:pt x="34" y="1019"/>
                  </a:lnTo>
                  <a:lnTo>
                    <a:pt x="52" y="1000"/>
                  </a:lnTo>
                  <a:lnTo>
                    <a:pt x="68" y="984"/>
                  </a:lnTo>
                  <a:lnTo>
                    <a:pt x="78" y="976"/>
                  </a:lnTo>
                  <a:lnTo>
                    <a:pt x="87" y="969"/>
                  </a:lnTo>
                  <a:lnTo>
                    <a:pt x="97" y="963"/>
                  </a:lnTo>
                  <a:lnTo>
                    <a:pt x="109" y="956"/>
                  </a:lnTo>
                  <a:lnTo>
                    <a:pt x="119" y="945"/>
                  </a:lnTo>
                  <a:lnTo>
                    <a:pt x="130" y="935"/>
                  </a:lnTo>
                  <a:lnTo>
                    <a:pt x="136" y="931"/>
                  </a:lnTo>
                  <a:lnTo>
                    <a:pt x="144" y="929"/>
                  </a:lnTo>
                  <a:lnTo>
                    <a:pt x="150" y="927"/>
                  </a:lnTo>
                  <a:lnTo>
                    <a:pt x="156" y="927"/>
                  </a:lnTo>
                  <a:lnTo>
                    <a:pt x="170" y="926"/>
                  </a:lnTo>
                  <a:lnTo>
                    <a:pt x="185" y="923"/>
                  </a:lnTo>
                  <a:lnTo>
                    <a:pt x="192" y="921"/>
                  </a:lnTo>
                  <a:lnTo>
                    <a:pt x="199" y="919"/>
                  </a:lnTo>
                  <a:lnTo>
                    <a:pt x="205" y="917"/>
                  </a:lnTo>
                  <a:lnTo>
                    <a:pt x="211" y="913"/>
                  </a:lnTo>
                  <a:lnTo>
                    <a:pt x="216" y="909"/>
                  </a:lnTo>
                  <a:lnTo>
                    <a:pt x="221" y="905"/>
                  </a:lnTo>
                  <a:lnTo>
                    <a:pt x="225" y="900"/>
                  </a:lnTo>
                  <a:lnTo>
                    <a:pt x="229" y="894"/>
                  </a:lnTo>
                  <a:lnTo>
                    <a:pt x="233" y="882"/>
                  </a:lnTo>
                  <a:lnTo>
                    <a:pt x="235" y="871"/>
                  </a:lnTo>
                  <a:lnTo>
                    <a:pt x="237" y="866"/>
                  </a:lnTo>
                  <a:lnTo>
                    <a:pt x="241" y="862"/>
                  </a:lnTo>
                  <a:lnTo>
                    <a:pt x="242" y="860"/>
                  </a:lnTo>
                  <a:lnTo>
                    <a:pt x="244" y="859"/>
                  </a:lnTo>
                  <a:lnTo>
                    <a:pt x="246" y="859"/>
                  </a:lnTo>
                  <a:lnTo>
                    <a:pt x="249" y="858"/>
                  </a:lnTo>
                  <a:lnTo>
                    <a:pt x="256" y="859"/>
                  </a:lnTo>
                  <a:lnTo>
                    <a:pt x="261" y="861"/>
                  </a:lnTo>
                  <a:lnTo>
                    <a:pt x="267" y="863"/>
                  </a:lnTo>
                  <a:lnTo>
                    <a:pt x="272" y="866"/>
                  </a:lnTo>
                  <a:lnTo>
                    <a:pt x="278" y="869"/>
                  </a:lnTo>
                  <a:lnTo>
                    <a:pt x="283" y="871"/>
                  </a:lnTo>
                  <a:lnTo>
                    <a:pt x="289" y="873"/>
                  </a:lnTo>
                  <a:lnTo>
                    <a:pt x="296" y="873"/>
                  </a:lnTo>
                  <a:lnTo>
                    <a:pt x="304" y="871"/>
                  </a:lnTo>
                  <a:lnTo>
                    <a:pt x="313" y="868"/>
                  </a:lnTo>
                  <a:lnTo>
                    <a:pt x="314" y="858"/>
                  </a:lnTo>
                  <a:lnTo>
                    <a:pt x="313" y="853"/>
                  </a:lnTo>
                  <a:lnTo>
                    <a:pt x="311" y="846"/>
                  </a:lnTo>
                  <a:lnTo>
                    <a:pt x="309" y="841"/>
                  </a:lnTo>
                  <a:lnTo>
                    <a:pt x="307" y="837"/>
                  </a:lnTo>
                  <a:lnTo>
                    <a:pt x="303" y="832"/>
                  </a:lnTo>
                  <a:lnTo>
                    <a:pt x="301" y="827"/>
                  </a:lnTo>
                  <a:lnTo>
                    <a:pt x="300" y="822"/>
                  </a:lnTo>
                  <a:lnTo>
                    <a:pt x="299" y="815"/>
                  </a:lnTo>
                  <a:lnTo>
                    <a:pt x="300" y="811"/>
                  </a:lnTo>
                  <a:lnTo>
                    <a:pt x="301" y="808"/>
                  </a:lnTo>
                  <a:lnTo>
                    <a:pt x="302" y="805"/>
                  </a:lnTo>
                  <a:lnTo>
                    <a:pt x="305" y="802"/>
                  </a:lnTo>
                  <a:lnTo>
                    <a:pt x="312" y="797"/>
                  </a:lnTo>
                  <a:lnTo>
                    <a:pt x="318" y="792"/>
                  </a:lnTo>
                  <a:lnTo>
                    <a:pt x="329" y="785"/>
                  </a:lnTo>
                  <a:lnTo>
                    <a:pt x="338" y="779"/>
                  </a:lnTo>
                  <a:lnTo>
                    <a:pt x="349" y="773"/>
                  </a:lnTo>
                  <a:lnTo>
                    <a:pt x="359" y="766"/>
                  </a:lnTo>
                  <a:lnTo>
                    <a:pt x="386" y="751"/>
                  </a:lnTo>
                  <a:lnTo>
                    <a:pt x="410" y="739"/>
                  </a:lnTo>
                  <a:lnTo>
                    <a:pt x="433" y="728"/>
                  </a:lnTo>
                  <a:lnTo>
                    <a:pt x="460" y="713"/>
                  </a:lnTo>
                  <a:lnTo>
                    <a:pt x="482" y="701"/>
                  </a:lnTo>
                  <a:lnTo>
                    <a:pt x="501" y="689"/>
                  </a:lnTo>
                  <a:lnTo>
                    <a:pt x="520" y="678"/>
                  </a:lnTo>
                  <a:lnTo>
                    <a:pt x="543" y="666"/>
                  </a:lnTo>
                  <a:lnTo>
                    <a:pt x="558" y="658"/>
                  </a:lnTo>
                  <a:lnTo>
                    <a:pt x="574" y="654"/>
                  </a:lnTo>
                  <a:lnTo>
                    <a:pt x="581" y="651"/>
                  </a:lnTo>
                  <a:lnTo>
                    <a:pt x="588" y="648"/>
                  </a:lnTo>
                  <a:lnTo>
                    <a:pt x="595" y="644"/>
                  </a:lnTo>
                  <a:lnTo>
                    <a:pt x="602" y="639"/>
                  </a:lnTo>
                  <a:lnTo>
                    <a:pt x="609" y="634"/>
                  </a:lnTo>
                  <a:lnTo>
                    <a:pt x="614" y="629"/>
                  </a:lnTo>
                  <a:lnTo>
                    <a:pt x="616" y="627"/>
                  </a:lnTo>
                  <a:lnTo>
                    <a:pt x="617" y="624"/>
                  </a:lnTo>
                  <a:lnTo>
                    <a:pt x="619" y="621"/>
                  </a:lnTo>
                  <a:lnTo>
                    <a:pt x="619" y="617"/>
                  </a:lnTo>
                  <a:lnTo>
                    <a:pt x="618" y="607"/>
                  </a:lnTo>
                  <a:lnTo>
                    <a:pt x="616" y="599"/>
                  </a:lnTo>
                  <a:lnTo>
                    <a:pt x="612" y="590"/>
                  </a:lnTo>
                  <a:lnTo>
                    <a:pt x="608" y="581"/>
                  </a:lnTo>
                  <a:lnTo>
                    <a:pt x="609" y="576"/>
                  </a:lnTo>
                  <a:lnTo>
                    <a:pt x="614" y="578"/>
                  </a:lnTo>
                  <a:lnTo>
                    <a:pt x="619" y="580"/>
                  </a:lnTo>
                  <a:lnTo>
                    <a:pt x="624" y="582"/>
                  </a:lnTo>
                  <a:lnTo>
                    <a:pt x="628" y="586"/>
                  </a:lnTo>
                  <a:lnTo>
                    <a:pt x="637" y="593"/>
                  </a:lnTo>
                  <a:lnTo>
                    <a:pt x="643" y="602"/>
                  </a:lnTo>
                  <a:lnTo>
                    <a:pt x="650" y="610"/>
                  </a:lnTo>
                  <a:lnTo>
                    <a:pt x="658" y="617"/>
                  </a:lnTo>
                  <a:lnTo>
                    <a:pt x="662" y="619"/>
                  </a:lnTo>
                  <a:lnTo>
                    <a:pt x="666" y="621"/>
                  </a:lnTo>
                  <a:lnTo>
                    <a:pt x="672" y="623"/>
                  </a:lnTo>
                  <a:lnTo>
                    <a:pt x="678" y="623"/>
                  </a:lnTo>
                  <a:lnTo>
                    <a:pt x="688" y="622"/>
                  </a:lnTo>
                  <a:lnTo>
                    <a:pt x="697" y="621"/>
                  </a:lnTo>
                  <a:lnTo>
                    <a:pt x="706" y="619"/>
                  </a:lnTo>
                  <a:lnTo>
                    <a:pt x="714" y="616"/>
                  </a:lnTo>
                  <a:lnTo>
                    <a:pt x="721" y="612"/>
                  </a:lnTo>
                  <a:lnTo>
                    <a:pt x="729" y="607"/>
                  </a:lnTo>
                  <a:lnTo>
                    <a:pt x="737" y="602"/>
                  </a:lnTo>
                  <a:lnTo>
                    <a:pt x="745" y="595"/>
                  </a:lnTo>
                  <a:lnTo>
                    <a:pt x="756" y="588"/>
                  </a:lnTo>
                  <a:lnTo>
                    <a:pt x="766" y="582"/>
                  </a:lnTo>
                  <a:lnTo>
                    <a:pt x="772" y="580"/>
                  </a:lnTo>
                  <a:lnTo>
                    <a:pt x="776" y="576"/>
                  </a:lnTo>
                  <a:lnTo>
                    <a:pt x="780" y="572"/>
                  </a:lnTo>
                  <a:lnTo>
                    <a:pt x="784" y="566"/>
                  </a:lnTo>
                  <a:lnTo>
                    <a:pt x="790" y="556"/>
                  </a:lnTo>
                  <a:lnTo>
                    <a:pt x="797" y="548"/>
                  </a:lnTo>
                  <a:lnTo>
                    <a:pt x="804" y="540"/>
                  </a:lnTo>
                  <a:lnTo>
                    <a:pt x="811" y="532"/>
                  </a:lnTo>
                  <a:lnTo>
                    <a:pt x="818" y="525"/>
                  </a:lnTo>
                  <a:lnTo>
                    <a:pt x="826" y="519"/>
                  </a:lnTo>
                  <a:lnTo>
                    <a:pt x="836" y="513"/>
                  </a:lnTo>
                  <a:lnTo>
                    <a:pt x="845" y="507"/>
                  </a:lnTo>
                  <a:lnTo>
                    <a:pt x="854" y="500"/>
                  </a:lnTo>
                  <a:lnTo>
                    <a:pt x="862" y="494"/>
                  </a:lnTo>
                  <a:lnTo>
                    <a:pt x="866" y="491"/>
                  </a:lnTo>
                  <a:lnTo>
                    <a:pt x="871" y="489"/>
                  </a:lnTo>
                  <a:lnTo>
                    <a:pt x="875" y="487"/>
                  </a:lnTo>
                  <a:lnTo>
                    <a:pt x="881" y="485"/>
                  </a:lnTo>
                  <a:lnTo>
                    <a:pt x="905" y="491"/>
                  </a:lnTo>
                  <a:lnTo>
                    <a:pt x="913" y="491"/>
                  </a:lnTo>
                  <a:lnTo>
                    <a:pt x="921" y="491"/>
                  </a:lnTo>
                  <a:lnTo>
                    <a:pt x="929" y="492"/>
                  </a:lnTo>
                  <a:lnTo>
                    <a:pt x="939" y="492"/>
                  </a:lnTo>
                  <a:lnTo>
                    <a:pt x="943" y="492"/>
                  </a:lnTo>
                  <a:lnTo>
                    <a:pt x="948" y="491"/>
                  </a:lnTo>
                  <a:lnTo>
                    <a:pt x="952" y="490"/>
                  </a:lnTo>
                  <a:lnTo>
                    <a:pt x="955" y="488"/>
                  </a:lnTo>
                  <a:lnTo>
                    <a:pt x="959" y="486"/>
                  </a:lnTo>
                  <a:lnTo>
                    <a:pt x="961" y="483"/>
                  </a:lnTo>
                  <a:lnTo>
                    <a:pt x="964" y="479"/>
                  </a:lnTo>
                  <a:lnTo>
                    <a:pt x="965" y="475"/>
                  </a:lnTo>
                  <a:lnTo>
                    <a:pt x="967" y="467"/>
                  </a:lnTo>
                  <a:lnTo>
                    <a:pt x="965" y="461"/>
                  </a:lnTo>
                  <a:lnTo>
                    <a:pt x="965" y="458"/>
                  </a:lnTo>
                  <a:lnTo>
                    <a:pt x="965" y="455"/>
                  </a:lnTo>
                  <a:lnTo>
                    <a:pt x="967" y="452"/>
                  </a:lnTo>
                  <a:lnTo>
                    <a:pt x="969" y="450"/>
                  </a:lnTo>
                  <a:lnTo>
                    <a:pt x="973" y="448"/>
                  </a:lnTo>
                  <a:lnTo>
                    <a:pt x="976" y="446"/>
                  </a:lnTo>
                  <a:lnTo>
                    <a:pt x="980" y="445"/>
                  </a:lnTo>
                  <a:lnTo>
                    <a:pt x="984" y="445"/>
                  </a:lnTo>
                  <a:lnTo>
                    <a:pt x="992" y="445"/>
                  </a:lnTo>
                  <a:lnTo>
                    <a:pt x="1001" y="444"/>
                  </a:lnTo>
                  <a:lnTo>
                    <a:pt x="1012" y="439"/>
                  </a:lnTo>
                  <a:lnTo>
                    <a:pt x="1022" y="436"/>
                  </a:lnTo>
                  <a:lnTo>
                    <a:pt x="1026" y="437"/>
                  </a:lnTo>
                  <a:lnTo>
                    <a:pt x="1030" y="438"/>
                  </a:lnTo>
                  <a:lnTo>
                    <a:pt x="1033" y="441"/>
                  </a:lnTo>
                  <a:lnTo>
                    <a:pt x="1036" y="443"/>
                  </a:lnTo>
                  <a:lnTo>
                    <a:pt x="1040" y="449"/>
                  </a:lnTo>
                  <a:lnTo>
                    <a:pt x="1044" y="456"/>
                  </a:lnTo>
                  <a:lnTo>
                    <a:pt x="1048" y="462"/>
                  </a:lnTo>
                  <a:lnTo>
                    <a:pt x="1053" y="468"/>
                  </a:lnTo>
                  <a:lnTo>
                    <a:pt x="1055" y="471"/>
                  </a:lnTo>
                  <a:lnTo>
                    <a:pt x="1058" y="473"/>
                  </a:lnTo>
                  <a:lnTo>
                    <a:pt x="1061" y="475"/>
                  </a:lnTo>
                  <a:lnTo>
                    <a:pt x="1066" y="475"/>
                  </a:lnTo>
                  <a:lnTo>
                    <a:pt x="1070" y="474"/>
                  </a:lnTo>
                  <a:lnTo>
                    <a:pt x="1075" y="473"/>
                  </a:lnTo>
                  <a:lnTo>
                    <a:pt x="1075" y="438"/>
                  </a:lnTo>
                  <a:lnTo>
                    <a:pt x="1074" y="430"/>
                  </a:lnTo>
                  <a:lnTo>
                    <a:pt x="1072" y="423"/>
                  </a:lnTo>
                  <a:lnTo>
                    <a:pt x="1070" y="415"/>
                  </a:lnTo>
                  <a:lnTo>
                    <a:pt x="1070" y="406"/>
                  </a:lnTo>
                  <a:lnTo>
                    <a:pt x="1070" y="404"/>
                  </a:lnTo>
                  <a:lnTo>
                    <a:pt x="1071" y="401"/>
                  </a:lnTo>
                  <a:lnTo>
                    <a:pt x="1084" y="397"/>
                  </a:lnTo>
                  <a:lnTo>
                    <a:pt x="1095" y="392"/>
                  </a:lnTo>
                  <a:lnTo>
                    <a:pt x="1107" y="386"/>
                  </a:lnTo>
                  <a:lnTo>
                    <a:pt x="1120" y="379"/>
                  </a:lnTo>
                  <a:lnTo>
                    <a:pt x="1130" y="373"/>
                  </a:lnTo>
                  <a:lnTo>
                    <a:pt x="1141" y="369"/>
                  </a:lnTo>
                  <a:lnTo>
                    <a:pt x="1146" y="366"/>
                  </a:lnTo>
                  <a:lnTo>
                    <a:pt x="1150" y="363"/>
                  </a:lnTo>
                  <a:lnTo>
                    <a:pt x="1154" y="359"/>
                  </a:lnTo>
                  <a:lnTo>
                    <a:pt x="1157" y="354"/>
                  </a:lnTo>
                  <a:lnTo>
                    <a:pt x="1152" y="351"/>
                  </a:lnTo>
                  <a:lnTo>
                    <a:pt x="1147" y="348"/>
                  </a:lnTo>
                  <a:lnTo>
                    <a:pt x="1142" y="347"/>
                  </a:lnTo>
                  <a:lnTo>
                    <a:pt x="1137" y="346"/>
                  </a:lnTo>
                  <a:lnTo>
                    <a:pt x="1125" y="346"/>
                  </a:lnTo>
                  <a:lnTo>
                    <a:pt x="1113" y="344"/>
                  </a:lnTo>
                  <a:lnTo>
                    <a:pt x="1096" y="341"/>
                  </a:lnTo>
                  <a:lnTo>
                    <a:pt x="1082" y="337"/>
                  </a:lnTo>
                  <a:lnTo>
                    <a:pt x="1068" y="334"/>
                  </a:lnTo>
                  <a:lnTo>
                    <a:pt x="1050" y="331"/>
                  </a:lnTo>
                  <a:lnTo>
                    <a:pt x="1042" y="336"/>
                  </a:lnTo>
                  <a:lnTo>
                    <a:pt x="1034" y="342"/>
                  </a:lnTo>
                  <a:lnTo>
                    <a:pt x="1030" y="349"/>
                  </a:lnTo>
                  <a:lnTo>
                    <a:pt x="1028" y="354"/>
                  </a:lnTo>
                  <a:lnTo>
                    <a:pt x="1025" y="359"/>
                  </a:lnTo>
                  <a:lnTo>
                    <a:pt x="1021" y="362"/>
                  </a:lnTo>
                  <a:lnTo>
                    <a:pt x="1019" y="358"/>
                  </a:lnTo>
                  <a:lnTo>
                    <a:pt x="1017" y="354"/>
                  </a:lnTo>
                  <a:lnTo>
                    <a:pt x="1016" y="350"/>
                  </a:lnTo>
                  <a:lnTo>
                    <a:pt x="1016" y="346"/>
                  </a:lnTo>
                  <a:lnTo>
                    <a:pt x="1017" y="339"/>
                  </a:lnTo>
                  <a:lnTo>
                    <a:pt x="1018" y="334"/>
                  </a:lnTo>
                  <a:lnTo>
                    <a:pt x="1019" y="330"/>
                  </a:lnTo>
                  <a:lnTo>
                    <a:pt x="1021" y="325"/>
                  </a:lnTo>
                  <a:lnTo>
                    <a:pt x="1023" y="321"/>
                  </a:lnTo>
                  <a:lnTo>
                    <a:pt x="1025" y="316"/>
                  </a:lnTo>
                  <a:lnTo>
                    <a:pt x="1026" y="310"/>
                  </a:lnTo>
                  <a:lnTo>
                    <a:pt x="1026" y="304"/>
                  </a:lnTo>
                  <a:lnTo>
                    <a:pt x="1020" y="295"/>
                  </a:lnTo>
                  <a:lnTo>
                    <a:pt x="1014" y="285"/>
                  </a:lnTo>
                  <a:lnTo>
                    <a:pt x="1020" y="271"/>
                  </a:lnTo>
                  <a:lnTo>
                    <a:pt x="1026" y="259"/>
                  </a:lnTo>
                  <a:lnTo>
                    <a:pt x="1026" y="251"/>
                  </a:lnTo>
                  <a:lnTo>
                    <a:pt x="1023" y="244"/>
                  </a:lnTo>
                  <a:lnTo>
                    <a:pt x="1020" y="238"/>
                  </a:lnTo>
                  <a:lnTo>
                    <a:pt x="1017" y="232"/>
                  </a:lnTo>
                  <a:lnTo>
                    <a:pt x="1013" y="226"/>
                  </a:lnTo>
                  <a:lnTo>
                    <a:pt x="1010" y="220"/>
                  </a:lnTo>
                  <a:lnTo>
                    <a:pt x="1008" y="213"/>
                  </a:lnTo>
                  <a:lnTo>
                    <a:pt x="1007" y="205"/>
                  </a:lnTo>
                  <a:lnTo>
                    <a:pt x="1008" y="201"/>
                  </a:lnTo>
                  <a:lnTo>
                    <a:pt x="1010" y="197"/>
                  </a:lnTo>
                  <a:lnTo>
                    <a:pt x="1013" y="193"/>
                  </a:lnTo>
                  <a:lnTo>
                    <a:pt x="1017" y="190"/>
                  </a:lnTo>
                  <a:lnTo>
                    <a:pt x="1020" y="186"/>
                  </a:lnTo>
                  <a:lnTo>
                    <a:pt x="1023" y="182"/>
                  </a:lnTo>
                  <a:lnTo>
                    <a:pt x="1026" y="178"/>
                  </a:lnTo>
                  <a:lnTo>
                    <a:pt x="1026" y="173"/>
                  </a:lnTo>
                  <a:lnTo>
                    <a:pt x="1026" y="161"/>
                  </a:lnTo>
                  <a:lnTo>
                    <a:pt x="1024" y="148"/>
                  </a:lnTo>
                  <a:lnTo>
                    <a:pt x="1020" y="137"/>
                  </a:lnTo>
                  <a:lnTo>
                    <a:pt x="1015" y="127"/>
                  </a:lnTo>
                  <a:lnTo>
                    <a:pt x="1010" y="116"/>
                  </a:lnTo>
                  <a:lnTo>
                    <a:pt x="1003" y="107"/>
                  </a:lnTo>
                  <a:lnTo>
                    <a:pt x="994" y="98"/>
                  </a:lnTo>
                  <a:lnTo>
                    <a:pt x="985" y="88"/>
                  </a:lnTo>
                  <a:lnTo>
                    <a:pt x="980" y="89"/>
                  </a:lnTo>
                  <a:lnTo>
                    <a:pt x="987" y="74"/>
                  </a:lnTo>
                  <a:lnTo>
                    <a:pt x="994" y="58"/>
                  </a:lnTo>
                  <a:lnTo>
                    <a:pt x="1003" y="43"/>
                  </a:lnTo>
                  <a:lnTo>
                    <a:pt x="1011" y="30"/>
                  </a:lnTo>
                  <a:lnTo>
                    <a:pt x="1016" y="23"/>
                  </a:lnTo>
                  <a:lnTo>
                    <a:pt x="1021" y="17"/>
                  </a:lnTo>
                  <a:lnTo>
                    <a:pt x="1026" y="12"/>
                  </a:lnTo>
                  <a:lnTo>
                    <a:pt x="1033" y="8"/>
                  </a:lnTo>
                  <a:lnTo>
                    <a:pt x="1039" y="5"/>
                  </a:lnTo>
                  <a:lnTo>
                    <a:pt x="1046" y="3"/>
                  </a:lnTo>
                  <a:lnTo>
                    <a:pt x="1054" y="1"/>
                  </a:lnTo>
                  <a:lnTo>
                    <a:pt x="1062" y="0"/>
                  </a:lnTo>
                  <a:lnTo>
                    <a:pt x="1095" y="1"/>
                  </a:lnTo>
                  <a:lnTo>
                    <a:pt x="1125" y="3"/>
                  </a:lnTo>
                  <a:lnTo>
                    <a:pt x="1140" y="5"/>
                  </a:lnTo>
                  <a:lnTo>
                    <a:pt x="1154" y="7"/>
                  </a:lnTo>
                  <a:lnTo>
                    <a:pt x="1168" y="9"/>
                  </a:lnTo>
                  <a:lnTo>
                    <a:pt x="1181" y="12"/>
                  </a:lnTo>
                  <a:lnTo>
                    <a:pt x="1194" y="16"/>
                  </a:lnTo>
                  <a:lnTo>
                    <a:pt x="1208" y="20"/>
                  </a:lnTo>
                  <a:lnTo>
                    <a:pt x="1221" y="25"/>
                  </a:lnTo>
                  <a:lnTo>
                    <a:pt x="1235" y="31"/>
                  </a:lnTo>
                  <a:lnTo>
                    <a:pt x="1262" y="43"/>
                  </a:lnTo>
                  <a:lnTo>
                    <a:pt x="1290" y="59"/>
                  </a:lnTo>
                  <a:lnTo>
                    <a:pt x="1303" y="66"/>
                  </a:lnTo>
                  <a:lnTo>
                    <a:pt x="1314" y="70"/>
                  </a:lnTo>
                  <a:lnTo>
                    <a:pt x="1325" y="74"/>
                  </a:lnTo>
                  <a:lnTo>
                    <a:pt x="1337" y="77"/>
                  </a:lnTo>
                  <a:lnTo>
                    <a:pt x="1347" y="81"/>
                  </a:lnTo>
                  <a:lnTo>
                    <a:pt x="1358" y="85"/>
                  </a:lnTo>
                  <a:lnTo>
                    <a:pt x="1369" y="91"/>
                  </a:lnTo>
                  <a:lnTo>
                    <a:pt x="1380" y="99"/>
                  </a:lnTo>
                  <a:lnTo>
                    <a:pt x="1398" y="114"/>
                  </a:lnTo>
                  <a:lnTo>
                    <a:pt x="1413" y="130"/>
                  </a:lnTo>
                  <a:lnTo>
                    <a:pt x="1426" y="146"/>
                  </a:lnTo>
                  <a:lnTo>
                    <a:pt x="1441" y="161"/>
                  </a:lnTo>
                  <a:lnTo>
                    <a:pt x="1448" y="168"/>
                  </a:lnTo>
                  <a:lnTo>
                    <a:pt x="1455" y="174"/>
                  </a:lnTo>
                  <a:lnTo>
                    <a:pt x="1463" y="179"/>
                  </a:lnTo>
                  <a:lnTo>
                    <a:pt x="1471" y="184"/>
                  </a:lnTo>
                  <a:lnTo>
                    <a:pt x="1480" y="189"/>
                  </a:lnTo>
                  <a:lnTo>
                    <a:pt x="1489" y="192"/>
                  </a:lnTo>
                  <a:lnTo>
                    <a:pt x="1500" y="193"/>
                  </a:lnTo>
                  <a:lnTo>
                    <a:pt x="1511" y="194"/>
                  </a:lnTo>
                  <a:lnTo>
                    <a:pt x="1558" y="194"/>
                  </a:lnTo>
                  <a:lnTo>
                    <a:pt x="1567" y="194"/>
                  </a:lnTo>
                  <a:lnTo>
                    <a:pt x="1573" y="193"/>
                  </a:lnTo>
                  <a:lnTo>
                    <a:pt x="1580" y="191"/>
                  </a:lnTo>
                  <a:lnTo>
                    <a:pt x="1586" y="190"/>
                  </a:lnTo>
                  <a:lnTo>
                    <a:pt x="1598" y="184"/>
                  </a:lnTo>
                  <a:lnTo>
                    <a:pt x="1609" y="179"/>
                  </a:lnTo>
                  <a:lnTo>
                    <a:pt x="1620" y="174"/>
                  </a:lnTo>
                  <a:lnTo>
                    <a:pt x="1632" y="170"/>
                  </a:lnTo>
                  <a:lnTo>
                    <a:pt x="1638" y="168"/>
                  </a:lnTo>
                  <a:lnTo>
                    <a:pt x="1644" y="167"/>
                  </a:lnTo>
                  <a:lnTo>
                    <a:pt x="1651" y="166"/>
                  </a:lnTo>
                  <a:lnTo>
                    <a:pt x="1658" y="165"/>
                  </a:lnTo>
                  <a:lnTo>
                    <a:pt x="1664" y="166"/>
                  </a:lnTo>
                  <a:lnTo>
                    <a:pt x="1669" y="167"/>
                  </a:lnTo>
                  <a:lnTo>
                    <a:pt x="1674" y="169"/>
                  </a:lnTo>
                  <a:lnTo>
                    <a:pt x="1678" y="171"/>
                  </a:lnTo>
                  <a:lnTo>
                    <a:pt x="1681" y="174"/>
                  </a:lnTo>
                  <a:lnTo>
                    <a:pt x="1684" y="178"/>
                  </a:lnTo>
                  <a:lnTo>
                    <a:pt x="1687" y="181"/>
                  </a:lnTo>
                  <a:lnTo>
                    <a:pt x="1689" y="186"/>
                  </a:lnTo>
                  <a:lnTo>
                    <a:pt x="1694" y="197"/>
                  </a:lnTo>
                  <a:lnTo>
                    <a:pt x="1697" y="208"/>
                  </a:lnTo>
                  <a:lnTo>
                    <a:pt x="1700" y="220"/>
                  </a:lnTo>
                  <a:lnTo>
                    <a:pt x="1702" y="233"/>
                  </a:lnTo>
                  <a:lnTo>
                    <a:pt x="1705" y="245"/>
                  </a:lnTo>
                  <a:lnTo>
                    <a:pt x="1707" y="258"/>
                  </a:lnTo>
                  <a:lnTo>
                    <a:pt x="1710" y="269"/>
                  </a:lnTo>
                  <a:lnTo>
                    <a:pt x="1714" y="278"/>
                  </a:lnTo>
                  <a:lnTo>
                    <a:pt x="1717" y="284"/>
                  </a:lnTo>
                  <a:lnTo>
                    <a:pt x="1720" y="288"/>
                  </a:lnTo>
                  <a:lnTo>
                    <a:pt x="1723" y="291"/>
                  </a:lnTo>
                  <a:lnTo>
                    <a:pt x="1727" y="294"/>
                  </a:lnTo>
                  <a:lnTo>
                    <a:pt x="1731" y="297"/>
                  </a:lnTo>
                  <a:lnTo>
                    <a:pt x="1735" y="298"/>
                  </a:lnTo>
                  <a:lnTo>
                    <a:pt x="1740" y="299"/>
                  </a:lnTo>
                  <a:lnTo>
                    <a:pt x="1746" y="300"/>
                  </a:lnTo>
                  <a:lnTo>
                    <a:pt x="1755" y="299"/>
                  </a:lnTo>
                  <a:lnTo>
                    <a:pt x="1765" y="298"/>
                  </a:lnTo>
                  <a:lnTo>
                    <a:pt x="1773" y="296"/>
                  </a:lnTo>
                  <a:lnTo>
                    <a:pt x="1781" y="293"/>
                  </a:lnTo>
                  <a:lnTo>
                    <a:pt x="1797" y="285"/>
                  </a:lnTo>
                  <a:lnTo>
                    <a:pt x="1811" y="276"/>
                  </a:lnTo>
                  <a:lnTo>
                    <a:pt x="1825" y="268"/>
                  </a:lnTo>
                  <a:lnTo>
                    <a:pt x="1840" y="260"/>
                  </a:lnTo>
                  <a:lnTo>
                    <a:pt x="1848" y="257"/>
                  </a:lnTo>
                  <a:lnTo>
                    <a:pt x="1856" y="255"/>
                  </a:lnTo>
                  <a:lnTo>
                    <a:pt x="1866" y="254"/>
                  </a:lnTo>
                  <a:lnTo>
                    <a:pt x="1875" y="253"/>
                  </a:lnTo>
                  <a:lnTo>
                    <a:pt x="1888" y="254"/>
                  </a:lnTo>
                  <a:lnTo>
                    <a:pt x="1900" y="256"/>
                  </a:lnTo>
                  <a:lnTo>
                    <a:pt x="1910" y="260"/>
                  </a:lnTo>
                  <a:lnTo>
                    <a:pt x="1920" y="265"/>
                  </a:lnTo>
                  <a:lnTo>
                    <a:pt x="1930" y="271"/>
                  </a:lnTo>
                  <a:lnTo>
                    <a:pt x="1938" y="278"/>
                  </a:lnTo>
                  <a:lnTo>
                    <a:pt x="1945" y="286"/>
                  </a:lnTo>
                  <a:lnTo>
                    <a:pt x="1953" y="294"/>
                  </a:lnTo>
                  <a:lnTo>
                    <a:pt x="1969" y="310"/>
                  </a:lnTo>
                  <a:lnTo>
                    <a:pt x="1986" y="326"/>
                  </a:lnTo>
                  <a:lnTo>
                    <a:pt x="1996" y="333"/>
                  </a:lnTo>
                  <a:lnTo>
                    <a:pt x="2006" y="339"/>
                  </a:lnTo>
                  <a:lnTo>
                    <a:pt x="2017" y="344"/>
                  </a:lnTo>
                  <a:lnTo>
                    <a:pt x="2030" y="349"/>
                  </a:lnTo>
                  <a:lnTo>
                    <a:pt x="2146" y="320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ru-RU" altLang="ru-RU" sz="675" dirty="0">
                <a:latin typeface="Calibri" panose="020F0502020204030204" pitchFamily="34" charset="0"/>
              </a:endParaRPr>
            </a:p>
          </p:txBody>
        </p:sp>
        <p:sp>
          <p:nvSpPr>
            <p:cNvPr id="18" name="Kirovograd"/>
            <p:cNvSpPr>
              <a:spLocks/>
            </p:cNvSpPr>
            <p:nvPr/>
          </p:nvSpPr>
          <p:spPr bwMode="auto">
            <a:xfrm>
              <a:off x="2496" y="2242"/>
              <a:ext cx="1077" cy="580"/>
            </a:xfrm>
            <a:custGeom>
              <a:avLst/>
              <a:gdLst>
                <a:gd name="T0" fmla="*/ 368 w 3570"/>
                <a:gd name="T1" fmla="*/ 272 h 1968"/>
                <a:gd name="T2" fmla="*/ 368 w 3570"/>
                <a:gd name="T3" fmla="*/ 272 h 1968"/>
                <a:gd name="T4" fmla="*/ 368 w 3570"/>
                <a:gd name="T5" fmla="*/ 272 h 1968"/>
                <a:gd name="T6" fmla="*/ 368 w 3570"/>
                <a:gd name="T7" fmla="*/ 272 h 1968"/>
                <a:gd name="T8" fmla="*/ 368 w 3570"/>
                <a:gd name="T9" fmla="*/ 272 h 1968"/>
                <a:gd name="T10" fmla="*/ 368 w 3570"/>
                <a:gd name="T11" fmla="*/ 272 h 1968"/>
                <a:gd name="T12" fmla="*/ 368 w 3570"/>
                <a:gd name="T13" fmla="*/ 272 h 1968"/>
                <a:gd name="T14" fmla="*/ 368 w 3570"/>
                <a:gd name="T15" fmla="*/ 272 h 1968"/>
                <a:gd name="T16" fmla="*/ 368 w 3570"/>
                <a:gd name="T17" fmla="*/ 272 h 1968"/>
                <a:gd name="T18" fmla="*/ 368 w 3570"/>
                <a:gd name="T19" fmla="*/ 272 h 1968"/>
                <a:gd name="T20" fmla="*/ 368 w 3570"/>
                <a:gd name="T21" fmla="*/ 272 h 1968"/>
                <a:gd name="T22" fmla="*/ 368 w 3570"/>
                <a:gd name="T23" fmla="*/ 272 h 1968"/>
                <a:gd name="T24" fmla="*/ 368 w 3570"/>
                <a:gd name="T25" fmla="*/ 272 h 1968"/>
                <a:gd name="T26" fmla="*/ 368 w 3570"/>
                <a:gd name="T27" fmla="*/ 272 h 1968"/>
                <a:gd name="T28" fmla="*/ 368 w 3570"/>
                <a:gd name="T29" fmla="*/ 272 h 1968"/>
                <a:gd name="T30" fmla="*/ 368 w 3570"/>
                <a:gd name="T31" fmla="*/ 272 h 1968"/>
                <a:gd name="T32" fmla="*/ 368 w 3570"/>
                <a:gd name="T33" fmla="*/ 272 h 1968"/>
                <a:gd name="T34" fmla="*/ 368 w 3570"/>
                <a:gd name="T35" fmla="*/ 272 h 1968"/>
                <a:gd name="T36" fmla="*/ 368 w 3570"/>
                <a:gd name="T37" fmla="*/ 272 h 1968"/>
                <a:gd name="T38" fmla="*/ 368 w 3570"/>
                <a:gd name="T39" fmla="*/ 272 h 1968"/>
                <a:gd name="T40" fmla="*/ 368 w 3570"/>
                <a:gd name="T41" fmla="*/ 272 h 1968"/>
                <a:gd name="T42" fmla="*/ 368 w 3570"/>
                <a:gd name="T43" fmla="*/ 272 h 1968"/>
                <a:gd name="T44" fmla="*/ 368 w 3570"/>
                <a:gd name="T45" fmla="*/ 272 h 1968"/>
                <a:gd name="T46" fmla="*/ 368 w 3570"/>
                <a:gd name="T47" fmla="*/ 272 h 1968"/>
                <a:gd name="T48" fmla="*/ 368 w 3570"/>
                <a:gd name="T49" fmla="*/ 272 h 1968"/>
                <a:gd name="T50" fmla="*/ 368 w 3570"/>
                <a:gd name="T51" fmla="*/ 272 h 1968"/>
                <a:gd name="T52" fmla="*/ 368 w 3570"/>
                <a:gd name="T53" fmla="*/ 272 h 1968"/>
                <a:gd name="T54" fmla="*/ 368 w 3570"/>
                <a:gd name="T55" fmla="*/ 272 h 1968"/>
                <a:gd name="T56" fmla="*/ 368 w 3570"/>
                <a:gd name="T57" fmla="*/ 272 h 1968"/>
                <a:gd name="T58" fmla="*/ 368 w 3570"/>
                <a:gd name="T59" fmla="*/ 272 h 1968"/>
                <a:gd name="T60" fmla="*/ 368 w 3570"/>
                <a:gd name="T61" fmla="*/ 272 h 1968"/>
                <a:gd name="T62" fmla="*/ 368 w 3570"/>
                <a:gd name="T63" fmla="*/ 272 h 1968"/>
                <a:gd name="T64" fmla="*/ 368 w 3570"/>
                <a:gd name="T65" fmla="*/ 272 h 1968"/>
                <a:gd name="T66" fmla="*/ 368 w 3570"/>
                <a:gd name="T67" fmla="*/ 272 h 1968"/>
                <a:gd name="T68" fmla="*/ 368 w 3570"/>
                <a:gd name="T69" fmla="*/ 272 h 1968"/>
                <a:gd name="T70" fmla="*/ 368 w 3570"/>
                <a:gd name="T71" fmla="*/ 0 h 1968"/>
                <a:gd name="T72" fmla="*/ 368 w 3570"/>
                <a:gd name="T73" fmla="*/ 272 h 1968"/>
                <a:gd name="T74" fmla="*/ 368 w 3570"/>
                <a:gd name="T75" fmla="*/ 272 h 1968"/>
                <a:gd name="T76" fmla="*/ 368 w 3570"/>
                <a:gd name="T77" fmla="*/ 272 h 1968"/>
                <a:gd name="T78" fmla="*/ 368 w 3570"/>
                <a:gd name="T79" fmla="*/ 272 h 1968"/>
                <a:gd name="T80" fmla="*/ 368 w 3570"/>
                <a:gd name="T81" fmla="*/ 272 h 1968"/>
                <a:gd name="T82" fmla="*/ 368 w 3570"/>
                <a:gd name="T83" fmla="*/ 272 h 1968"/>
                <a:gd name="T84" fmla="*/ 368 w 3570"/>
                <a:gd name="T85" fmla="*/ 272 h 1968"/>
                <a:gd name="T86" fmla="*/ 368 w 3570"/>
                <a:gd name="T87" fmla="*/ 272 h 1968"/>
                <a:gd name="T88" fmla="*/ 368 w 3570"/>
                <a:gd name="T89" fmla="*/ 272 h 1968"/>
                <a:gd name="T90" fmla="*/ 368 w 3570"/>
                <a:gd name="T91" fmla="*/ 272 h 1968"/>
                <a:gd name="T92" fmla="*/ 368 w 3570"/>
                <a:gd name="T93" fmla="*/ 272 h 1968"/>
                <a:gd name="T94" fmla="*/ 368 w 3570"/>
                <a:gd name="T95" fmla="*/ 272 h 1968"/>
                <a:gd name="T96" fmla="*/ 368 w 3570"/>
                <a:gd name="T97" fmla="*/ 272 h 1968"/>
                <a:gd name="T98" fmla="*/ 368 w 3570"/>
                <a:gd name="T99" fmla="*/ 272 h 1968"/>
                <a:gd name="T100" fmla="*/ 368 w 3570"/>
                <a:gd name="T101" fmla="*/ 272 h 1968"/>
                <a:gd name="T102" fmla="*/ 368 w 3570"/>
                <a:gd name="T103" fmla="*/ 272 h 1968"/>
                <a:gd name="T104" fmla="*/ 368 w 3570"/>
                <a:gd name="T105" fmla="*/ 272 h 1968"/>
                <a:gd name="T106" fmla="*/ 368 w 3570"/>
                <a:gd name="T107" fmla="*/ 272 h 1968"/>
                <a:gd name="T108" fmla="*/ 368 w 3570"/>
                <a:gd name="T109" fmla="*/ 272 h 1968"/>
                <a:gd name="T110" fmla="*/ 368 w 3570"/>
                <a:gd name="T111" fmla="*/ 272 h 1968"/>
                <a:gd name="T112" fmla="*/ 368 w 3570"/>
                <a:gd name="T113" fmla="*/ 272 h 1968"/>
                <a:gd name="T114" fmla="*/ 368 w 3570"/>
                <a:gd name="T115" fmla="*/ 272 h 1968"/>
                <a:gd name="T116" fmla="*/ 368 w 3570"/>
                <a:gd name="T117" fmla="*/ 272 h 1968"/>
                <a:gd name="T118" fmla="*/ 368 w 3570"/>
                <a:gd name="T119" fmla="*/ 272 h 19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570"/>
                <a:gd name="T181" fmla="*/ 0 h 1968"/>
                <a:gd name="T182" fmla="*/ 3570 w 3570"/>
                <a:gd name="T183" fmla="*/ 1968 h 19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570" h="1968">
                  <a:moveTo>
                    <a:pt x="17" y="1395"/>
                  </a:moveTo>
                  <a:lnTo>
                    <a:pt x="35" y="1389"/>
                  </a:lnTo>
                  <a:lnTo>
                    <a:pt x="50" y="1385"/>
                  </a:lnTo>
                  <a:lnTo>
                    <a:pt x="59" y="1384"/>
                  </a:lnTo>
                  <a:lnTo>
                    <a:pt x="67" y="1382"/>
                  </a:lnTo>
                  <a:lnTo>
                    <a:pt x="75" y="1382"/>
                  </a:lnTo>
                  <a:lnTo>
                    <a:pt x="85" y="1381"/>
                  </a:lnTo>
                  <a:lnTo>
                    <a:pt x="96" y="1382"/>
                  </a:lnTo>
                  <a:lnTo>
                    <a:pt x="105" y="1382"/>
                  </a:lnTo>
                  <a:lnTo>
                    <a:pt x="114" y="1384"/>
                  </a:lnTo>
                  <a:lnTo>
                    <a:pt x="123" y="1385"/>
                  </a:lnTo>
                  <a:lnTo>
                    <a:pt x="140" y="1390"/>
                  </a:lnTo>
                  <a:lnTo>
                    <a:pt x="155" y="1396"/>
                  </a:lnTo>
                  <a:lnTo>
                    <a:pt x="187" y="1411"/>
                  </a:lnTo>
                  <a:lnTo>
                    <a:pt x="222" y="1428"/>
                  </a:lnTo>
                  <a:lnTo>
                    <a:pt x="249" y="1441"/>
                  </a:lnTo>
                  <a:lnTo>
                    <a:pt x="275" y="1450"/>
                  </a:lnTo>
                  <a:lnTo>
                    <a:pt x="299" y="1459"/>
                  </a:lnTo>
                  <a:lnTo>
                    <a:pt x="323" y="1466"/>
                  </a:lnTo>
                  <a:lnTo>
                    <a:pt x="347" y="1472"/>
                  </a:lnTo>
                  <a:lnTo>
                    <a:pt x="373" y="1475"/>
                  </a:lnTo>
                  <a:lnTo>
                    <a:pt x="400" y="1477"/>
                  </a:lnTo>
                  <a:lnTo>
                    <a:pt x="430" y="1478"/>
                  </a:lnTo>
                  <a:lnTo>
                    <a:pt x="440" y="1478"/>
                  </a:lnTo>
                  <a:lnTo>
                    <a:pt x="449" y="1477"/>
                  </a:lnTo>
                  <a:lnTo>
                    <a:pt x="459" y="1475"/>
                  </a:lnTo>
                  <a:lnTo>
                    <a:pt x="467" y="1472"/>
                  </a:lnTo>
                  <a:lnTo>
                    <a:pt x="474" y="1468"/>
                  </a:lnTo>
                  <a:lnTo>
                    <a:pt x="481" y="1462"/>
                  </a:lnTo>
                  <a:lnTo>
                    <a:pt x="489" y="1455"/>
                  </a:lnTo>
                  <a:lnTo>
                    <a:pt x="496" y="1447"/>
                  </a:lnTo>
                  <a:lnTo>
                    <a:pt x="511" y="1448"/>
                  </a:lnTo>
                  <a:lnTo>
                    <a:pt x="525" y="1450"/>
                  </a:lnTo>
                  <a:lnTo>
                    <a:pt x="539" y="1451"/>
                  </a:lnTo>
                  <a:lnTo>
                    <a:pt x="555" y="1452"/>
                  </a:lnTo>
                  <a:lnTo>
                    <a:pt x="567" y="1450"/>
                  </a:lnTo>
                  <a:lnTo>
                    <a:pt x="578" y="1447"/>
                  </a:lnTo>
                  <a:lnTo>
                    <a:pt x="634" y="1447"/>
                  </a:lnTo>
                  <a:lnTo>
                    <a:pt x="648" y="1450"/>
                  </a:lnTo>
                  <a:lnTo>
                    <a:pt x="663" y="1452"/>
                  </a:lnTo>
                  <a:lnTo>
                    <a:pt x="677" y="1451"/>
                  </a:lnTo>
                  <a:lnTo>
                    <a:pt x="690" y="1449"/>
                  </a:lnTo>
                  <a:lnTo>
                    <a:pt x="702" y="1445"/>
                  </a:lnTo>
                  <a:lnTo>
                    <a:pt x="713" y="1441"/>
                  </a:lnTo>
                  <a:lnTo>
                    <a:pt x="736" y="1432"/>
                  </a:lnTo>
                  <a:lnTo>
                    <a:pt x="762" y="1421"/>
                  </a:lnTo>
                  <a:lnTo>
                    <a:pt x="809" y="1406"/>
                  </a:lnTo>
                  <a:lnTo>
                    <a:pt x="852" y="1391"/>
                  </a:lnTo>
                  <a:lnTo>
                    <a:pt x="892" y="1378"/>
                  </a:lnTo>
                  <a:lnTo>
                    <a:pt x="931" y="1365"/>
                  </a:lnTo>
                  <a:lnTo>
                    <a:pt x="951" y="1360"/>
                  </a:lnTo>
                  <a:lnTo>
                    <a:pt x="971" y="1355"/>
                  </a:lnTo>
                  <a:lnTo>
                    <a:pt x="991" y="1351"/>
                  </a:lnTo>
                  <a:lnTo>
                    <a:pt x="1012" y="1348"/>
                  </a:lnTo>
                  <a:lnTo>
                    <a:pt x="1034" y="1345"/>
                  </a:lnTo>
                  <a:lnTo>
                    <a:pt x="1056" y="1343"/>
                  </a:lnTo>
                  <a:lnTo>
                    <a:pt x="1079" y="1342"/>
                  </a:lnTo>
                  <a:lnTo>
                    <a:pt x="1105" y="1341"/>
                  </a:lnTo>
                  <a:lnTo>
                    <a:pt x="1116" y="1342"/>
                  </a:lnTo>
                  <a:lnTo>
                    <a:pt x="1125" y="1342"/>
                  </a:lnTo>
                  <a:lnTo>
                    <a:pt x="1134" y="1344"/>
                  </a:lnTo>
                  <a:lnTo>
                    <a:pt x="1143" y="1345"/>
                  </a:lnTo>
                  <a:lnTo>
                    <a:pt x="1160" y="1350"/>
                  </a:lnTo>
                  <a:lnTo>
                    <a:pt x="1176" y="1356"/>
                  </a:lnTo>
                  <a:lnTo>
                    <a:pt x="1192" y="1364"/>
                  </a:lnTo>
                  <a:lnTo>
                    <a:pt x="1207" y="1374"/>
                  </a:lnTo>
                  <a:lnTo>
                    <a:pt x="1224" y="1384"/>
                  </a:lnTo>
                  <a:lnTo>
                    <a:pt x="1240" y="1395"/>
                  </a:lnTo>
                  <a:lnTo>
                    <a:pt x="1260" y="1407"/>
                  </a:lnTo>
                  <a:lnTo>
                    <a:pt x="1278" y="1417"/>
                  </a:lnTo>
                  <a:lnTo>
                    <a:pt x="1296" y="1424"/>
                  </a:lnTo>
                  <a:lnTo>
                    <a:pt x="1314" y="1432"/>
                  </a:lnTo>
                  <a:lnTo>
                    <a:pt x="1332" y="1438"/>
                  </a:lnTo>
                  <a:lnTo>
                    <a:pt x="1350" y="1445"/>
                  </a:lnTo>
                  <a:lnTo>
                    <a:pt x="1369" y="1453"/>
                  </a:lnTo>
                  <a:lnTo>
                    <a:pt x="1389" y="1464"/>
                  </a:lnTo>
                  <a:lnTo>
                    <a:pt x="1412" y="1477"/>
                  </a:lnTo>
                  <a:lnTo>
                    <a:pt x="1432" y="1490"/>
                  </a:lnTo>
                  <a:lnTo>
                    <a:pt x="1452" y="1503"/>
                  </a:lnTo>
                  <a:lnTo>
                    <a:pt x="1471" y="1514"/>
                  </a:lnTo>
                  <a:lnTo>
                    <a:pt x="1481" y="1519"/>
                  </a:lnTo>
                  <a:lnTo>
                    <a:pt x="1491" y="1524"/>
                  </a:lnTo>
                  <a:lnTo>
                    <a:pt x="1500" y="1529"/>
                  </a:lnTo>
                  <a:lnTo>
                    <a:pt x="1512" y="1533"/>
                  </a:lnTo>
                  <a:lnTo>
                    <a:pt x="1523" y="1536"/>
                  </a:lnTo>
                  <a:lnTo>
                    <a:pt x="1534" y="1538"/>
                  </a:lnTo>
                  <a:lnTo>
                    <a:pt x="1547" y="1540"/>
                  </a:lnTo>
                  <a:lnTo>
                    <a:pt x="1560" y="1542"/>
                  </a:lnTo>
                  <a:lnTo>
                    <a:pt x="1733" y="1516"/>
                  </a:lnTo>
                  <a:lnTo>
                    <a:pt x="1751" y="1518"/>
                  </a:lnTo>
                  <a:lnTo>
                    <a:pt x="1751" y="1570"/>
                  </a:lnTo>
                  <a:lnTo>
                    <a:pt x="1751" y="1576"/>
                  </a:lnTo>
                  <a:lnTo>
                    <a:pt x="1750" y="1582"/>
                  </a:lnTo>
                  <a:lnTo>
                    <a:pt x="1748" y="1587"/>
                  </a:lnTo>
                  <a:lnTo>
                    <a:pt x="1747" y="1594"/>
                  </a:lnTo>
                  <a:lnTo>
                    <a:pt x="1742" y="1604"/>
                  </a:lnTo>
                  <a:lnTo>
                    <a:pt x="1736" y="1613"/>
                  </a:lnTo>
                  <a:lnTo>
                    <a:pt x="1731" y="1624"/>
                  </a:lnTo>
                  <a:lnTo>
                    <a:pt x="1726" y="1634"/>
                  </a:lnTo>
                  <a:lnTo>
                    <a:pt x="1724" y="1639"/>
                  </a:lnTo>
                  <a:lnTo>
                    <a:pt x="1723" y="1645"/>
                  </a:lnTo>
                  <a:lnTo>
                    <a:pt x="1722" y="1650"/>
                  </a:lnTo>
                  <a:lnTo>
                    <a:pt x="1721" y="1658"/>
                  </a:lnTo>
                  <a:lnTo>
                    <a:pt x="1722" y="1662"/>
                  </a:lnTo>
                  <a:lnTo>
                    <a:pt x="1723" y="1666"/>
                  </a:lnTo>
                  <a:lnTo>
                    <a:pt x="1725" y="1670"/>
                  </a:lnTo>
                  <a:lnTo>
                    <a:pt x="1728" y="1673"/>
                  </a:lnTo>
                  <a:lnTo>
                    <a:pt x="1731" y="1675"/>
                  </a:lnTo>
                  <a:lnTo>
                    <a:pt x="1735" y="1676"/>
                  </a:lnTo>
                  <a:lnTo>
                    <a:pt x="1740" y="1678"/>
                  </a:lnTo>
                  <a:lnTo>
                    <a:pt x="1746" y="1679"/>
                  </a:lnTo>
                  <a:lnTo>
                    <a:pt x="1767" y="1681"/>
                  </a:lnTo>
                  <a:lnTo>
                    <a:pt x="1790" y="1683"/>
                  </a:lnTo>
                  <a:lnTo>
                    <a:pt x="1797" y="1686"/>
                  </a:lnTo>
                  <a:lnTo>
                    <a:pt x="1805" y="1688"/>
                  </a:lnTo>
                  <a:lnTo>
                    <a:pt x="1813" y="1690"/>
                  </a:lnTo>
                  <a:lnTo>
                    <a:pt x="1819" y="1694"/>
                  </a:lnTo>
                  <a:lnTo>
                    <a:pt x="1825" y="1697"/>
                  </a:lnTo>
                  <a:lnTo>
                    <a:pt x="1831" y="1701"/>
                  </a:lnTo>
                  <a:lnTo>
                    <a:pt x="1837" y="1706"/>
                  </a:lnTo>
                  <a:lnTo>
                    <a:pt x="1843" y="1711"/>
                  </a:lnTo>
                  <a:lnTo>
                    <a:pt x="1847" y="1717"/>
                  </a:lnTo>
                  <a:lnTo>
                    <a:pt x="1851" y="1723"/>
                  </a:lnTo>
                  <a:lnTo>
                    <a:pt x="1854" y="1729"/>
                  </a:lnTo>
                  <a:lnTo>
                    <a:pt x="1857" y="1736"/>
                  </a:lnTo>
                  <a:lnTo>
                    <a:pt x="1860" y="1743"/>
                  </a:lnTo>
                  <a:lnTo>
                    <a:pt x="1861" y="1751"/>
                  </a:lnTo>
                  <a:lnTo>
                    <a:pt x="1862" y="1758"/>
                  </a:lnTo>
                  <a:lnTo>
                    <a:pt x="1863" y="1766"/>
                  </a:lnTo>
                  <a:lnTo>
                    <a:pt x="1862" y="1786"/>
                  </a:lnTo>
                  <a:lnTo>
                    <a:pt x="1859" y="1803"/>
                  </a:lnTo>
                  <a:lnTo>
                    <a:pt x="1855" y="1819"/>
                  </a:lnTo>
                  <a:lnTo>
                    <a:pt x="1850" y="1835"/>
                  </a:lnTo>
                  <a:lnTo>
                    <a:pt x="1838" y="1866"/>
                  </a:lnTo>
                  <a:lnTo>
                    <a:pt x="1827" y="1902"/>
                  </a:lnTo>
                  <a:lnTo>
                    <a:pt x="1839" y="1905"/>
                  </a:lnTo>
                  <a:lnTo>
                    <a:pt x="1850" y="1899"/>
                  </a:lnTo>
                  <a:lnTo>
                    <a:pt x="1859" y="1894"/>
                  </a:lnTo>
                  <a:lnTo>
                    <a:pt x="1868" y="1891"/>
                  </a:lnTo>
                  <a:lnTo>
                    <a:pt x="1878" y="1887"/>
                  </a:lnTo>
                  <a:lnTo>
                    <a:pt x="1888" y="1885"/>
                  </a:lnTo>
                  <a:lnTo>
                    <a:pt x="1897" y="1883"/>
                  </a:lnTo>
                  <a:lnTo>
                    <a:pt x="1909" y="1882"/>
                  </a:lnTo>
                  <a:lnTo>
                    <a:pt x="1920" y="1882"/>
                  </a:lnTo>
                  <a:lnTo>
                    <a:pt x="1976" y="1882"/>
                  </a:lnTo>
                  <a:lnTo>
                    <a:pt x="1985" y="1883"/>
                  </a:lnTo>
                  <a:lnTo>
                    <a:pt x="1994" y="1886"/>
                  </a:lnTo>
                  <a:lnTo>
                    <a:pt x="2001" y="1890"/>
                  </a:lnTo>
                  <a:lnTo>
                    <a:pt x="2009" y="1895"/>
                  </a:lnTo>
                  <a:lnTo>
                    <a:pt x="2015" y="1902"/>
                  </a:lnTo>
                  <a:lnTo>
                    <a:pt x="2020" y="1910"/>
                  </a:lnTo>
                  <a:lnTo>
                    <a:pt x="2026" y="1917"/>
                  </a:lnTo>
                  <a:lnTo>
                    <a:pt x="2031" y="1925"/>
                  </a:lnTo>
                  <a:lnTo>
                    <a:pt x="2036" y="1933"/>
                  </a:lnTo>
                  <a:lnTo>
                    <a:pt x="2042" y="1942"/>
                  </a:lnTo>
                  <a:lnTo>
                    <a:pt x="2048" y="1949"/>
                  </a:lnTo>
                  <a:lnTo>
                    <a:pt x="2054" y="1955"/>
                  </a:lnTo>
                  <a:lnTo>
                    <a:pt x="2060" y="1961"/>
                  </a:lnTo>
                  <a:lnTo>
                    <a:pt x="2068" y="1965"/>
                  </a:lnTo>
                  <a:lnTo>
                    <a:pt x="2077" y="1968"/>
                  </a:lnTo>
                  <a:lnTo>
                    <a:pt x="2087" y="1968"/>
                  </a:lnTo>
                  <a:lnTo>
                    <a:pt x="2098" y="1968"/>
                  </a:lnTo>
                  <a:lnTo>
                    <a:pt x="2109" y="1965"/>
                  </a:lnTo>
                  <a:lnTo>
                    <a:pt x="2118" y="1961"/>
                  </a:lnTo>
                  <a:lnTo>
                    <a:pt x="2127" y="1956"/>
                  </a:lnTo>
                  <a:lnTo>
                    <a:pt x="2134" y="1950"/>
                  </a:lnTo>
                  <a:lnTo>
                    <a:pt x="2142" y="1943"/>
                  </a:lnTo>
                  <a:lnTo>
                    <a:pt x="2149" y="1935"/>
                  </a:lnTo>
                  <a:lnTo>
                    <a:pt x="2155" y="1927"/>
                  </a:lnTo>
                  <a:lnTo>
                    <a:pt x="2168" y="1910"/>
                  </a:lnTo>
                  <a:lnTo>
                    <a:pt x="2184" y="1893"/>
                  </a:lnTo>
                  <a:lnTo>
                    <a:pt x="2191" y="1886"/>
                  </a:lnTo>
                  <a:lnTo>
                    <a:pt x="2200" y="1879"/>
                  </a:lnTo>
                  <a:lnTo>
                    <a:pt x="2211" y="1872"/>
                  </a:lnTo>
                  <a:lnTo>
                    <a:pt x="2221" y="1867"/>
                  </a:lnTo>
                  <a:lnTo>
                    <a:pt x="2358" y="1896"/>
                  </a:lnTo>
                  <a:lnTo>
                    <a:pt x="2382" y="1896"/>
                  </a:lnTo>
                  <a:lnTo>
                    <a:pt x="2406" y="1895"/>
                  </a:lnTo>
                  <a:lnTo>
                    <a:pt x="2427" y="1893"/>
                  </a:lnTo>
                  <a:lnTo>
                    <a:pt x="2448" y="1890"/>
                  </a:lnTo>
                  <a:lnTo>
                    <a:pt x="2458" y="1888"/>
                  </a:lnTo>
                  <a:lnTo>
                    <a:pt x="2468" y="1885"/>
                  </a:lnTo>
                  <a:lnTo>
                    <a:pt x="2478" y="1881"/>
                  </a:lnTo>
                  <a:lnTo>
                    <a:pt x="2487" y="1877"/>
                  </a:lnTo>
                  <a:lnTo>
                    <a:pt x="2496" y="1871"/>
                  </a:lnTo>
                  <a:lnTo>
                    <a:pt x="2507" y="1865"/>
                  </a:lnTo>
                  <a:lnTo>
                    <a:pt x="2516" y="1859"/>
                  </a:lnTo>
                  <a:lnTo>
                    <a:pt x="2525" y="1851"/>
                  </a:lnTo>
                  <a:lnTo>
                    <a:pt x="2542" y="1837"/>
                  </a:lnTo>
                  <a:lnTo>
                    <a:pt x="2557" y="1825"/>
                  </a:lnTo>
                  <a:lnTo>
                    <a:pt x="2563" y="1819"/>
                  </a:lnTo>
                  <a:lnTo>
                    <a:pt x="2569" y="1810"/>
                  </a:lnTo>
                  <a:lnTo>
                    <a:pt x="2570" y="1806"/>
                  </a:lnTo>
                  <a:lnTo>
                    <a:pt x="2572" y="1802"/>
                  </a:lnTo>
                  <a:lnTo>
                    <a:pt x="2572" y="1797"/>
                  </a:lnTo>
                  <a:lnTo>
                    <a:pt x="2573" y="1792"/>
                  </a:lnTo>
                  <a:lnTo>
                    <a:pt x="2572" y="1783"/>
                  </a:lnTo>
                  <a:lnTo>
                    <a:pt x="2570" y="1774"/>
                  </a:lnTo>
                  <a:lnTo>
                    <a:pt x="2568" y="1767"/>
                  </a:lnTo>
                  <a:lnTo>
                    <a:pt x="2564" y="1759"/>
                  </a:lnTo>
                  <a:lnTo>
                    <a:pt x="2561" y="1752"/>
                  </a:lnTo>
                  <a:lnTo>
                    <a:pt x="2558" y="1744"/>
                  </a:lnTo>
                  <a:lnTo>
                    <a:pt x="2556" y="1736"/>
                  </a:lnTo>
                  <a:lnTo>
                    <a:pt x="2556" y="1727"/>
                  </a:lnTo>
                  <a:lnTo>
                    <a:pt x="2556" y="1717"/>
                  </a:lnTo>
                  <a:lnTo>
                    <a:pt x="2556" y="1708"/>
                  </a:lnTo>
                  <a:lnTo>
                    <a:pt x="2557" y="1700"/>
                  </a:lnTo>
                  <a:lnTo>
                    <a:pt x="2558" y="1691"/>
                  </a:lnTo>
                  <a:lnTo>
                    <a:pt x="2580" y="1689"/>
                  </a:lnTo>
                  <a:lnTo>
                    <a:pt x="2598" y="1687"/>
                  </a:lnTo>
                  <a:lnTo>
                    <a:pt x="2608" y="1686"/>
                  </a:lnTo>
                  <a:lnTo>
                    <a:pt x="2617" y="1683"/>
                  </a:lnTo>
                  <a:lnTo>
                    <a:pt x="2626" y="1679"/>
                  </a:lnTo>
                  <a:lnTo>
                    <a:pt x="2636" y="1674"/>
                  </a:lnTo>
                  <a:lnTo>
                    <a:pt x="2650" y="1664"/>
                  </a:lnTo>
                  <a:lnTo>
                    <a:pt x="2663" y="1652"/>
                  </a:lnTo>
                  <a:lnTo>
                    <a:pt x="2675" y="1641"/>
                  </a:lnTo>
                  <a:lnTo>
                    <a:pt x="2687" y="1630"/>
                  </a:lnTo>
                  <a:lnTo>
                    <a:pt x="2699" y="1618"/>
                  </a:lnTo>
                  <a:lnTo>
                    <a:pt x="2711" y="1609"/>
                  </a:lnTo>
                  <a:lnTo>
                    <a:pt x="2718" y="1605"/>
                  </a:lnTo>
                  <a:lnTo>
                    <a:pt x="2725" y="1602"/>
                  </a:lnTo>
                  <a:lnTo>
                    <a:pt x="2734" y="1599"/>
                  </a:lnTo>
                  <a:lnTo>
                    <a:pt x="2742" y="1596"/>
                  </a:lnTo>
                  <a:lnTo>
                    <a:pt x="2756" y="1591"/>
                  </a:lnTo>
                  <a:lnTo>
                    <a:pt x="2769" y="1585"/>
                  </a:lnTo>
                  <a:lnTo>
                    <a:pt x="2775" y="1583"/>
                  </a:lnTo>
                  <a:lnTo>
                    <a:pt x="2782" y="1581"/>
                  </a:lnTo>
                  <a:lnTo>
                    <a:pt x="2788" y="1580"/>
                  </a:lnTo>
                  <a:lnTo>
                    <a:pt x="2796" y="1579"/>
                  </a:lnTo>
                  <a:lnTo>
                    <a:pt x="2802" y="1580"/>
                  </a:lnTo>
                  <a:lnTo>
                    <a:pt x="2807" y="1580"/>
                  </a:lnTo>
                  <a:lnTo>
                    <a:pt x="2812" y="1582"/>
                  </a:lnTo>
                  <a:lnTo>
                    <a:pt x="2817" y="1583"/>
                  </a:lnTo>
                  <a:lnTo>
                    <a:pt x="2825" y="1588"/>
                  </a:lnTo>
                  <a:lnTo>
                    <a:pt x="2834" y="1594"/>
                  </a:lnTo>
                  <a:lnTo>
                    <a:pt x="2849" y="1607"/>
                  </a:lnTo>
                  <a:lnTo>
                    <a:pt x="2867" y="1619"/>
                  </a:lnTo>
                  <a:lnTo>
                    <a:pt x="2877" y="1616"/>
                  </a:lnTo>
                  <a:lnTo>
                    <a:pt x="2887" y="1613"/>
                  </a:lnTo>
                  <a:lnTo>
                    <a:pt x="2897" y="1610"/>
                  </a:lnTo>
                  <a:lnTo>
                    <a:pt x="2905" y="1606"/>
                  </a:lnTo>
                  <a:lnTo>
                    <a:pt x="2913" y="1602"/>
                  </a:lnTo>
                  <a:lnTo>
                    <a:pt x="2921" y="1597"/>
                  </a:lnTo>
                  <a:lnTo>
                    <a:pt x="2930" y="1592"/>
                  </a:lnTo>
                  <a:lnTo>
                    <a:pt x="2937" y="1585"/>
                  </a:lnTo>
                  <a:lnTo>
                    <a:pt x="2943" y="1579"/>
                  </a:lnTo>
                  <a:lnTo>
                    <a:pt x="2949" y="1572"/>
                  </a:lnTo>
                  <a:lnTo>
                    <a:pt x="2955" y="1566"/>
                  </a:lnTo>
                  <a:lnTo>
                    <a:pt x="2961" y="1557"/>
                  </a:lnTo>
                  <a:lnTo>
                    <a:pt x="2967" y="1549"/>
                  </a:lnTo>
                  <a:lnTo>
                    <a:pt x="2972" y="1541"/>
                  </a:lnTo>
                  <a:lnTo>
                    <a:pt x="2976" y="1533"/>
                  </a:lnTo>
                  <a:lnTo>
                    <a:pt x="2980" y="1522"/>
                  </a:lnTo>
                  <a:lnTo>
                    <a:pt x="2992" y="1487"/>
                  </a:lnTo>
                  <a:lnTo>
                    <a:pt x="3004" y="1452"/>
                  </a:lnTo>
                  <a:lnTo>
                    <a:pt x="3008" y="1445"/>
                  </a:lnTo>
                  <a:lnTo>
                    <a:pt x="3012" y="1438"/>
                  </a:lnTo>
                  <a:lnTo>
                    <a:pt x="3016" y="1432"/>
                  </a:lnTo>
                  <a:lnTo>
                    <a:pt x="3021" y="1426"/>
                  </a:lnTo>
                  <a:lnTo>
                    <a:pt x="3027" y="1421"/>
                  </a:lnTo>
                  <a:lnTo>
                    <a:pt x="3035" y="1418"/>
                  </a:lnTo>
                  <a:lnTo>
                    <a:pt x="3042" y="1416"/>
                  </a:lnTo>
                  <a:lnTo>
                    <a:pt x="3051" y="1414"/>
                  </a:lnTo>
                  <a:lnTo>
                    <a:pt x="3065" y="1414"/>
                  </a:lnTo>
                  <a:lnTo>
                    <a:pt x="3076" y="1415"/>
                  </a:lnTo>
                  <a:lnTo>
                    <a:pt x="3087" y="1417"/>
                  </a:lnTo>
                  <a:lnTo>
                    <a:pt x="3099" y="1418"/>
                  </a:lnTo>
                  <a:lnTo>
                    <a:pt x="3110" y="1420"/>
                  </a:lnTo>
                  <a:lnTo>
                    <a:pt x="3121" y="1420"/>
                  </a:lnTo>
                  <a:lnTo>
                    <a:pt x="3133" y="1419"/>
                  </a:lnTo>
                  <a:lnTo>
                    <a:pt x="3145" y="1417"/>
                  </a:lnTo>
                  <a:lnTo>
                    <a:pt x="3158" y="1412"/>
                  </a:lnTo>
                  <a:lnTo>
                    <a:pt x="3171" y="1406"/>
                  </a:lnTo>
                  <a:lnTo>
                    <a:pt x="3181" y="1398"/>
                  </a:lnTo>
                  <a:lnTo>
                    <a:pt x="3190" y="1391"/>
                  </a:lnTo>
                  <a:lnTo>
                    <a:pt x="3209" y="1374"/>
                  </a:lnTo>
                  <a:lnTo>
                    <a:pt x="3231" y="1355"/>
                  </a:lnTo>
                  <a:lnTo>
                    <a:pt x="3247" y="1346"/>
                  </a:lnTo>
                  <a:lnTo>
                    <a:pt x="3264" y="1338"/>
                  </a:lnTo>
                  <a:lnTo>
                    <a:pt x="3271" y="1333"/>
                  </a:lnTo>
                  <a:lnTo>
                    <a:pt x="3277" y="1328"/>
                  </a:lnTo>
                  <a:lnTo>
                    <a:pt x="3279" y="1325"/>
                  </a:lnTo>
                  <a:lnTo>
                    <a:pt x="3280" y="1321"/>
                  </a:lnTo>
                  <a:lnTo>
                    <a:pt x="3281" y="1317"/>
                  </a:lnTo>
                  <a:lnTo>
                    <a:pt x="3282" y="1313"/>
                  </a:lnTo>
                  <a:lnTo>
                    <a:pt x="3281" y="1306"/>
                  </a:lnTo>
                  <a:lnTo>
                    <a:pt x="3280" y="1298"/>
                  </a:lnTo>
                  <a:lnTo>
                    <a:pt x="3279" y="1292"/>
                  </a:lnTo>
                  <a:lnTo>
                    <a:pt x="3277" y="1287"/>
                  </a:lnTo>
                  <a:lnTo>
                    <a:pt x="3274" y="1281"/>
                  </a:lnTo>
                  <a:lnTo>
                    <a:pt x="3271" y="1276"/>
                  </a:lnTo>
                  <a:lnTo>
                    <a:pt x="3267" y="1270"/>
                  </a:lnTo>
                  <a:lnTo>
                    <a:pt x="3263" y="1265"/>
                  </a:lnTo>
                  <a:lnTo>
                    <a:pt x="3253" y="1257"/>
                  </a:lnTo>
                  <a:lnTo>
                    <a:pt x="3242" y="1249"/>
                  </a:lnTo>
                  <a:lnTo>
                    <a:pt x="3232" y="1240"/>
                  </a:lnTo>
                  <a:lnTo>
                    <a:pt x="3219" y="1233"/>
                  </a:lnTo>
                  <a:lnTo>
                    <a:pt x="3208" y="1226"/>
                  </a:lnTo>
                  <a:lnTo>
                    <a:pt x="3197" y="1218"/>
                  </a:lnTo>
                  <a:lnTo>
                    <a:pt x="3186" y="1209"/>
                  </a:lnTo>
                  <a:lnTo>
                    <a:pt x="3177" y="1200"/>
                  </a:lnTo>
                  <a:lnTo>
                    <a:pt x="3173" y="1196"/>
                  </a:lnTo>
                  <a:lnTo>
                    <a:pt x="3169" y="1191"/>
                  </a:lnTo>
                  <a:lnTo>
                    <a:pt x="3166" y="1186"/>
                  </a:lnTo>
                  <a:lnTo>
                    <a:pt x="3163" y="1180"/>
                  </a:lnTo>
                  <a:lnTo>
                    <a:pt x="3161" y="1173"/>
                  </a:lnTo>
                  <a:lnTo>
                    <a:pt x="3158" y="1167"/>
                  </a:lnTo>
                  <a:lnTo>
                    <a:pt x="3157" y="1161"/>
                  </a:lnTo>
                  <a:lnTo>
                    <a:pt x="3157" y="1154"/>
                  </a:lnTo>
                  <a:lnTo>
                    <a:pt x="3157" y="1141"/>
                  </a:lnTo>
                  <a:lnTo>
                    <a:pt x="3161" y="1130"/>
                  </a:lnTo>
                  <a:lnTo>
                    <a:pt x="3164" y="1120"/>
                  </a:lnTo>
                  <a:lnTo>
                    <a:pt x="3169" y="1109"/>
                  </a:lnTo>
                  <a:lnTo>
                    <a:pt x="3175" y="1101"/>
                  </a:lnTo>
                  <a:lnTo>
                    <a:pt x="3181" y="1092"/>
                  </a:lnTo>
                  <a:lnTo>
                    <a:pt x="3187" y="1084"/>
                  </a:lnTo>
                  <a:lnTo>
                    <a:pt x="3195" y="1075"/>
                  </a:lnTo>
                  <a:lnTo>
                    <a:pt x="3202" y="1067"/>
                  </a:lnTo>
                  <a:lnTo>
                    <a:pt x="3209" y="1058"/>
                  </a:lnTo>
                  <a:lnTo>
                    <a:pt x="3215" y="1049"/>
                  </a:lnTo>
                  <a:lnTo>
                    <a:pt x="3220" y="1040"/>
                  </a:lnTo>
                  <a:lnTo>
                    <a:pt x="3225" y="1030"/>
                  </a:lnTo>
                  <a:lnTo>
                    <a:pt x="3230" y="1019"/>
                  </a:lnTo>
                  <a:lnTo>
                    <a:pt x="3232" y="1008"/>
                  </a:lnTo>
                  <a:lnTo>
                    <a:pt x="3233" y="997"/>
                  </a:lnTo>
                  <a:lnTo>
                    <a:pt x="3231" y="984"/>
                  </a:lnTo>
                  <a:lnTo>
                    <a:pt x="3228" y="973"/>
                  </a:lnTo>
                  <a:lnTo>
                    <a:pt x="3229" y="965"/>
                  </a:lnTo>
                  <a:lnTo>
                    <a:pt x="3230" y="958"/>
                  </a:lnTo>
                  <a:lnTo>
                    <a:pt x="3231" y="950"/>
                  </a:lnTo>
                  <a:lnTo>
                    <a:pt x="3234" y="944"/>
                  </a:lnTo>
                  <a:lnTo>
                    <a:pt x="3236" y="938"/>
                  </a:lnTo>
                  <a:lnTo>
                    <a:pt x="3240" y="932"/>
                  </a:lnTo>
                  <a:lnTo>
                    <a:pt x="3244" y="927"/>
                  </a:lnTo>
                  <a:lnTo>
                    <a:pt x="3248" y="920"/>
                  </a:lnTo>
                  <a:lnTo>
                    <a:pt x="3258" y="911"/>
                  </a:lnTo>
                  <a:lnTo>
                    <a:pt x="3271" y="903"/>
                  </a:lnTo>
                  <a:lnTo>
                    <a:pt x="3284" y="896"/>
                  </a:lnTo>
                  <a:lnTo>
                    <a:pt x="3299" y="890"/>
                  </a:lnTo>
                  <a:lnTo>
                    <a:pt x="3309" y="887"/>
                  </a:lnTo>
                  <a:lnTo>
                    <a:pt x="3318" y="885"/>
                  </a:lnTo>
                  <a:lnTo>
                    <a:pt x="3328" y="884"/>
                  </a:lnTo>
                  <a:lnTo>
                    <a:pt x="3337" y="883"/>
                  </a:lnTo>
                  <a:lnTo>
                    <a:pt x="3346" y="882"/>
                  </a:lnTo>
                  <a:lnTo>
                    <a:pt x="3355" y="881"/>
                  </a:lnTo>
                  <a:lnTo>
                    <a:pt x="3365" y="878"/>
                  </a:lnTo>
                  <a:lnTo>
                    <a:pt x="3374" y="874"/>
                  </a:lnTo>
                  <a:lnTo>
                    <a:pt x="3380" y="870"/>
                  </a:lnTo>
                  <a:lnTo>
                    <a:pt x="3385" y="866"/>
                  </a:lnTo>
                  <a:lnTo>
                    <a:pt x="3389" y="861"/>
                  </a:lnTo>
                  <a:lnTo>
                    <a:pt x="3395" y="857"/>
                  </a:lnTo>
                  <a:lnTo>
                    <a:pt x="3401" y="848"/>
                  </a:lnTo>
                  <a:lnTo>
                    <a:pt x="3407" y="838"/>
                  </a:lnTo>
                  <a:lnTo>
                    <a:pt x="3418" y="816"/>
                  </a:lnTo>
                  <a:lnTo>
                    <a:pt x="3433" y="793"/>
                  </a:lnTo>
                  <a:lnTo>
                    <a:pt x="3447" y="777"/>
                  </a:lnTo>
                  <a:lnTo>
                    <a:pt x="3461" y="762"/>
                  </a:lnTo>
                  <a:lnTo>
                    <a:pt x="3467" y="755"/>
                  </a:lnTo>
                  <a:lnTo>
                    <a:pt x="3471" y="747"/>
                  </a:lnTo>
                  <a:lnTo>
                    <a:pt x="3473" y="743"/>
                  </a:lnTo>
                  <a:lnTo>
                    <a:pt x="3474" y="738"/>
                  </a:lnTo>
                  <a:lnTo>
                    <a:pt x="3475" y="732"/>
                  </a:lnTo>
                  <a:lnTo>
                    <a:pt x="3475" y="727"/>
                  </a:lnTo>
                  <a:lnTo>
                    <a:pt x="3475" y="721"/>
                  </a:lnTo>
                  <a:lnTo>
                    <a:pt x="3474" y="716"/>
                  </a:lnTo>
                  <a:lnTo>
                    <a:pt x="3472" y="712"/>
                  </a:lnTo>
                  <a:lnTo>
                    <a:pt x="3469" y="708"/>
                  </a:lnTo>
                  <a:lnTo>
                    <a:pt x="3465" y="703"/>
                  </a:lnTo>
                  <a:lnTo>
                    <a:pt x="3461" y="700"/>
                  </a:lnTo>
                  <a:lnTo>
                    <a:pt x="3456" y="697"/>
                  </a:lnTo>
                  <a:lnTo>
                    <a:pt x="3451" y="695"/>
                  </a:lnTo>
                  <a:lnTo>
                    <a:pt x="3429" y="687"/>
                  </a:lnTo>
                  <a:lnTo>
                    <a:pt x="3405" y="678"/>
                  </a:lnTo>
                  <a:lnTo>
                    <a:pt x="3386" y="669"/>
                  </a:lnTo>
                  <a:lnTo>
                    <a:pt x="3369" y="661"/>
                  </a:lnTo>
                  <a:lnTo>
                    <a:pt x="3353" y="653"/>
                  </a:lnTo>
                  <a:lnTo>
                    <a:pt x="3339" y="644"/>
                  </a:lnTo>
                  <a:lnTo>
                    <a:pt x="3324" y="633"/>
                  </a:lnTo>
                  <a:lnTo>
                    <a:pt x="3312" y="622"/>
                  </a:lnTo>
                  <a:lnTo>
                    <a:pt x="3306" y="615"/>
                  </a:lnTo>
                  <a:lnTo>
                    <a:pt x="3300" y="607"/>
                  </a:lnTo>
                  <a:lnTo>
                    <a:pt x="3295" y="599"/>
                  </a:lnTo>
                  <a:lnTo>
                    <a:pt x="3289" y="590"/>
                  </a:lnTo>
                  <a:lnTo>
                    <a:pt x="3295" y="588"/>
                  </a:lnTo>
                  <a:lnTo>
                    <a:pt x="3300" y="586"/>
                  </a:lnTo>
                  <a:lnTo>
                    <a:pt x="3305" y="584"/>
                  </a:lnTo>
                  <a:lnTo>
                    <a:pt x="3311" y="584"/>
                  </a:lnTo>
                  <a:lnTo>
                    <a:pt x="3335" y="583"/>
                  </a:lnTo>
                  <a:lnTo>
                    <a:pt x="3357" y="583"/>
                  </a:lnTo>
                  <a:lnTo>
                    <a:pt x="3378" y="583"/>
                  </a:lnTo>
                  <a:lnTo>
                    <a:pt x="3399" y="582"/>
                  </a:lnTo>
                  <a:lnTo>
                    <a:pt x="3419" y="582"/>
                  </a:lnTo>
                  <a:lnTo>
                    <a:pt x="3440" y="582"/>
                  </a:lnTo>
                  <a:lnTo>
                    <a:pt x="3462" y="581"/>
                  </a:lnTo>
                  <a:lnTo>
                    <a:pt x="3486" y="581"/>
                  </a:lnTo>
                  <a:lnTo>
                    <a:pt x="3497" y="580"/>
                  </a:lnTo>
                  <a:lnTo>
                    <a:pt x="3505" y="578"/>
                  </a:lnTo>
                  <a:lnTo>
                    <a:pt x="3512" y="573"/>
                  </a:lnTo>
                  <a:lnTo>
                    <a:pt x="3518" y="568"/>
                  </a:lnTo>
                  <a:lnTo>
                    <a:pt x="3524" y="561"/>
                  </a:lnTo>
                  <a:lnTo>
                    <a:pt x="3528" y="554"/>
                  </a:lnTo>
                  <a:lnTo>
                    <a:pt x="3532" y="545"/>
                  </a:lnTo>
                  <a:lnTo>
                    <a:pt x="3536" y="536"/>
                  </a:lnTo>
                  <a:lnTo>
                    <a:pt x="3542" y="517"/>
                  </a:lnTo>
                  <a:lnTo>
                    <a:pt x="3548" y="496"/>
                  </a:lnTo>
                  <a:lnTo>
                    <a:pt x="3552" y="487"/>
                  </a:lnTo>
                  <a:lnTo>
                    <a:pt x="3558" y="476"/>
                  </a:lnTo>
                  <a:lnTo>
                    <a:pt x="3563" y="467"/>
                  </a:lnTo>
                  <a:lnTo>
                    <a:pt x="3570" y="458"/>
                  </a:lnTo>
                  <a:lnTo>
                    <a:pt x="3541" y="438"/>
                  </a:lnTo>
                  <a:lnTo>
                    <a:pt x="3516" y="420"/>
                  </a:lnTo>
                  <a:lnTo>
                    <a:pt x="3504" y="411"/>
                  </a:lnTo>
                  <a:lnTo>
                    <a:pt x="3491" y="405"/>
                  </a:lnTo>
                  <a:lnTo>
                    <a:pt x="3483" y="402"/>
                  </a:lnTo>
                  <a:lnTo>
                    <a:pt x="3476" y="401"/>
                  </a:lnTo>
                  <a:lnTo>
                    <a:pt x="3467" y="400"/>
                  </a:lnTo>
                  <a:lnTo>
                    <a:pt x="3459" y="399"/>
                  </a:lnTo>
                  <a:lnTo>
                    <a:pt x="3412" y="399"/>
                  </a:lnTo>
                  <a:lnTo>
                    <a:pt x="3402" y="400"/>
                  </a:lnTo>
                  <a:lnTo>
                    <a:pt x="3392" y="401"/>
                  </a:lnTo>
                  <a:lnTo>
                    <a:pt x="3381" y="403"/>
                  </a:lnTo>
                  <a:lnTo>
                    <a:pt x="3372" y="405"/>
                  </a:lnTo>
                  <a:lnTo>
                    <a:pt x="3363" y="409"/>
                  </a:lnTo>
                  <a:lnTo>
                    <a:pt x="3354" y="413"/>
                  </a:lnTo>
                  <a:lnTo>
                    <a:pt x="3346" y="417"/>
                  </a:lnTo>
                  <a:lnTo>
                    <a:pt x="3338" y="423"/>
                  </a:lnTo>
                  <a:lnTo>
                    <a:pt x="3322" y="434"/>
                  </a:lnTo>
                  <a:lnTo>
                    <a:pt x="3308" y="446"/>
                  </a:lnTo>
                  <a:lnTo>
                    <a:pt x="3294" y="460"/>
                  </a:lnTo>
                  <a:lnTo>
                    <a:pt x="3280" y="473"/>
                  </a:lnTo>
                  <a:lnTo>
                    <a:pt x="3266" y="488"/>
                  </a:lnTo>
                  <a:lnTo>
                    <a:pt x="3252" y="501"/>
                  </a:lnTo>
                  <a:lnTo>
                    <a:pt x="3238" y="513"/>
                  </a:lnTo>
                  <a:lnTo>
                    <a:pt x="3222" y="525"/>
                  </a:lnTo>
                  <a:lnTo>
                    <a:pt x="3214" y="530"/>
                  </a:lnTo>
                  <a:lnTo>
                    <a:pt x="3206" y="534"/>
                  </a:lnTo>
                  <a:lnTo>
                    <a:pt x="3197" y="538"/>
                  </a:lnTo>
                  <a:lnTo>
                    <a:pt x="3188" y="541"/>
                  </a:lnTo>
                  <a:lnTo>
                    <a:pt x="3179" y="544"/>
                  </a:lnTo>
                  <a:lnTo>
                    <a:pt x="3169" y="547"/>
                  </a:lnTo>
                  <a:lnTo>
                    <a:pt x="3158" y="548"/>
                  </a:lnTo>
                  <a:lnTo>
                    <a:pt x="3148" y="548"/>
                  </a:lnTo>
                  <a:lnTo>
                    <a:pt x="3138" y="548"/>
                  </a:lnTo>
                  <a:lnTo>
                    <a:pt x="3130" y="547"/>
                  </a:lnTo>
                  <a:lnTo>
                    <a:pt x="3121" y="544"/>
                  </a:lnTo>
                  <a:lnTo>
                    <a:pt x="3113" y="541"/>
                  </a:lnTo>
                  <a:lnTo>
                    <a:pt x="3106" y="538"/>
                  </a:lnTo>
                  <a:lnTo>
                    <a:pt x="3099" y="534"/>
                  </a:lnTo>
                  <a:lnTo>
                    <a:pt x="3092" y="530"/>
                  </a:lnTo>
                  <a:lnTo>
                    <a:pt x="3086" y="525"/>
                  </a:lnTo>
                  <a:lnTo>
                    <a:pt x="3059" y="504"/>
                  </a:lnTo>
                  <a:lnTo>
                    <a:pt x="3030" y="481"/>
                  </a:lnTo>
                  <a:lnTo>
                    <a:pt x="3018" y="463"/>
                  </a:lnTo>
                  <a:lnTo>
                    <a:pt x="3009" y="444"/>
                  </a:lnTo>
                  <a:lnTo>
                    <a:pt x="3002" y="426"/>
                  </a:lnTo>
                  <a:lnTo>
                    <a:pt x="2996" y="408"/>
                  </a:lnTo>
                  <a:lnTo>
                    <a:pt x="2990" y="389"/>
                  </a:lnTo>
                  <a:lnTo>
                    <a:pt x="2987" y="369"/>
                  </a:lnTo>
                  <a:lnTo>
                    <a:pt x="2984" y="348"/>
                  </a:lnTo>
                  <a:lnTo>
                    <a:pt x="2983" y="326"/>
                  </a:lnTo>
                  <a:lnTo>
                    <a:pt x="2981" y="302"/>
                  </a:lnTo>
                  <a:lnTo>
                    <a:pt x="2980" y="278"/>
                  </a:lnTo>
                  <a:lnTo>
                    <a:pt x="2978" y="254"/>
                  </a:lnTo>
                  <a:lnTo>
                    <a:pt x="2975" y="233"/>
                  </a:lnTo>
                  <a:lnTo>
                    <a:pt x="2972" y="223"/>
                  </a:lnTo>
                  <a:lnTo>
                    <a:pt x="2969" y="213"/>
                  </a:lnTo>
                  <a:lnTo>
                    <a:pt x="2964" y="205"/>
                  </a:lnTo>
                  <a:lnTo>
                    <a:pt x="2958" y="196"/>
                  </a:lnTo>
                  <a:lnTo>
                    <a:pt x="2951" y="189"/>
                  </a:lnTo>
                  <a:lnTo>
                    <a:pt x="2944" y="183"/>
                  </a:lnTo>
                  <a:lnTo>
                    <a:pt x="2935" y="179"/>
                  </a:lnTo>
                  <a:lnTo>
                    <a:pt x="2923" y="175"/>
                  </a:lnTo>
                  <a:lnTo>
                    <a:pt x="2900" y="170"/>
                  </a:lnTo>
                  <a:lnTo>
                    <a:pt x="2877" y="164"/>
                  </a:lnTo>
                  <a:lnTo>
                    <a:pt x="2855" y="161"/>
                  </a:lnTo>
                  <a:lnTo>
                    <a:pt x="2835" y="157"/>
                  </a:lnTo>
                  <a:lnTo>
                    <a:pt x="2814" y="153"/>
                  </a:lnTo>
                  <a:lnTo>
                    <a:pt x="2793" y="146"/>
                  </a:lnTo>
                  <a:lnTo>
                    <a:pt x="2783" y="142"/>
                  </a:lnTo>
                  <a:lnTo>
                    <a:pt x="2773" y="138"/>
                  </a:lnTo>
                  <a:lnTo>
                    <a:pt x="2762" y="131"/>
                  </a:lnTo>
                  <a:lnTo>
                    <a:pt x="2751" y="125"/>
                  </a:lnTo>
                  <a:lnTo>
                    <a:pt x="2745" y="120"/>
                  </a:lnTo>
                  <a:lnTo>
                    <a:pt x="2739" y="115"/>
                  </a:lnTo>
                  <a:lnTo>
                    <a:pt x="2734" y="110"/>
                  </a:lnTo>
                  <a:lnTo>
                    <a:pt x="2728" y="105"/>
                  </a:lnTo>
                  <a:lnTo>
                    <a:pt x="2721" y="92"/>
                  </a:lnTo>
                  <a:lnTo>
                    <a:pt x="2714" y="80"/>
                  </a:lnTo>
                  <a:lnTo>
                    <a:pt x="2707" y="67"/>
                  </a:lnTo>
                  <a:lnTo>
                    <a:pt x="2699" y="55"/>
                  </a:lnTo>
                  <a:lnTo>
                    <a:pt x="2694" y="49"/>
                  </a:lnTo>
                  <a:lnTo>
                    <a:pt x="2689" y="44"/>
                  </a:lnTo>
                  <a:lnTo>
                    <a:pt x="2683" y="38"/>
                  </a:lnTo>
                  <a:lnTo>
                    <a:pt x="2676" y="33"/>
                  </a:lnTo>
                  <a:lnTo>
                    <a:pt x="2662" y="25"/>
                  </a:lnTo>
                  <a:lnTo>
                    <a:pt x="2650" y="19"/>
                  </a:lnTo>
                  <a:lnTo>
                    <a:pt x="2644" y="15"/>
                  </a:lnTo>
                  <a:lnTo>
                    <a:pt x="2638" y="12"/>
                  </a:lnTo>
                  <a:lnTo>
                    <a:pt x="2633" y="6"/>
                  </a:lnTo>
                  <a:lnTo>
                    <a:pt x="2626" y="0"/>
                  </a:lnTo>
                  <a:lnTo>
                    <a:pt x="2617" y="16"/>
                  </a:lnTo>
                  <a:lnTo>
                    <a:pt x="2608" y="31"/>
                  </a:lnTo>
                  <a:lnTo>
                    <a:pt x="2604" y="38"/>
                  </a:lnTo>
                  <a:lnTo>
                    <a:pt x="2601" y="47"/>
                  </a:lnTo>
                  <a:lnTo>
                    <a:pt x="2600" y="55"/>
                  </a:lnTo>
                  <a:lnTo>
                    <a:pt x="2598" y="64"/>
                  </a:lnTo>
                  <a:lnTo>
                    <a:pt x="2600" y="78"/>
                  </a:lnTo>
                  <a:lnTo>
                    <a:pt x="2602" y="89"/>
                  </a:lnTo>
                  <a:lnTo>
                    <a:pt x="2606" y="100"/>
                  </a:lnTo>
                  <a:lnTo>
                    <a:pt x="2611" y="112"/>
                  </a:lnTo>
                  <a:lnTo>
                    <a:pt x="2616" y="122"/>
                  </a:lnTo>
                  <a:lnTo>
                    <a:pt x="2623" y="131"/>
                  </a:lnTo>
                  <a:lnTo>
                    <a:pt x="2630" y="141"/>
                  </a:lnTo>
                  <a:lnTo>
                    <a:pt x="2638" y="150"/>
                  </a:lnTo>
                  <a:lnTo>
                    <a:pt x="2645" y="159"/>
                  </a:lnTo>
                  <a:lnTo>
                    <a:pt x="2651" y="169"/>
                  </a:lnTo>
                  <a:lnTo>
                    <a:pt x="2658" y="179"/>
                  </a:lnTo>
                  <a:lnTo>
                    <a:pt x="2664" y="188"/>
                  </a:lnTo>
                  <a:lnTo>
                    <a:pt x="2669" y="200"/>
                  </a:lnTo>
                  <a:lnTo>
                    <a:pt x="2673" y="211"/>
                  </a:lnTo>
                  <a:lnTo>
                    <a:pt x="2675" y="223"/>
                  </a:lnTo>
                  <a:lnTo>
                    <a:pt x="2676" y="237"/>
                  </a:lnTo>
                  <a:lnTo>
                    <a:pt x="2675" y="253"/>
                  </a:lnTo>
                  <a:lnTo>
                    <a:pt x="2673" y="270"/>
                  </a:lnTo>
                  <a:lnTo>
                    <a:pt x="2668" y="284"/>
                  </a:lnTo>
                  <a:lnTo>
                    <a:pt x="2661" y="298"/>
                  </a:lnTo>
                  <a:lnTo>
                    <a:pt x="2653" y="311"/>
                  </a:lnTo>
                  <a:lnTo>
                    <a:pt x="2644" y="323"/>
                  </a:lnTo>
                  <a:lnTo>
                    <a:pt x="2633" y="334"/>
                  </a:lnTo>
                  <a:lnTo>
                    <a:pt x="2621" y="344"/>
                  </a:lnTo>
                  <a:lnTo>
                    <a:pt x="2608" y="353"/>
                  </a:lnTo>
                  <a:lnTo>
                    <a:pt x="2594" y="362"/>
                  </a:lnTo>
                  <a:lnTo>
                    <a:pt x="2579" y="370"/>
                  </a:lnTo>
                  <a:lnTo>
                    <a:pt x="2563" y="376"/>
                  </a:lnTo>
                  <a:lnTo>
                    <a:pt x="2548" y="382"/>
                  </a:lnTo>
                  <a:lnTo>
                    <a:pt x="2531" y="387"/>
                  </a:lnTo>
                  <a:lnTo>
                    <a:pt x="2514" y="393"/>
                  </a:lnTo>
                  <a:lnTo>
                    <a:pt x="2497" y="397"/>
                  </a:lnTo>
                  <a:lnTo>
                    <a:pt x="2484" y="400"/>
                  </a:lnTo>
                  <a:lnTo>
                    <a:pt x="2473" y="404"/>
                  </a:lnTo>
                  <a:lnTo>
                    <a:pt x="2461" y="408"/>
                  </a:lnTo>
                  <a:lnTo>
                    <a:pt x="2451" y="412"/>
                  </a:lnTo>
                  <a:lnTo>
                    <a:pt x="2441" y="416"/>
                  </a:lnTo>
                  <a:lnTo>
                    <a:pt x="2430" y="420"/>
                  </a:lnTo>
                  <a:lnTo>
                    <a:pt x="2418" y="422"/>
                  </a:lnTo>
                  <a:lnTo>
                    <a:pt x="2405" y="423"/>
                  </a:lnTo>
                  <a:lnTo>
                    <a:pt x="2400" y="423"/>
                  </a:lnTo>
                  <a:lnTo>
                    <a:pt x="2396" y="422"/>
                  </a:lnTo>
                  <a:lnTo>
                    <a:pt x="2393" y="420"/>
                  </a:lnTo>
                  <a:lnTo>
                    <a:pt x="2390" y="417"/>
                  </a:lnTo>
                  <a:lnTo>
                    <a:pt x="2386" y="412"/>
                  </a:lnTo>
                  <a:lnTo>
                    <a:pt x="2382" y="404"/>
                  </a:lnTo>
                  <a:lnTo>
                    <a:pt x="2377" y="386"/>
                  </a:lnTo>
                  <a:lnTo>
                    <a:pt x="2372" y="369"/>
                  </a:lnTo>
                  <a:lnTo>
                    <a:pt x="2367" y="358"/>
                  </a:lnTo>
                  <a:lnTo>
                    <a:pt x="2362" y="347"/>
                  </a:lnTo>
                  <a:lnTo>
                    <a:pt x="2355" y="339"/>
                  </a:lnTo>
                  <a:lnTo>
                    <a:pt x="2348" y="332"/>
                  </a:lnTo>
                  <a:lnTo>
                    <a:pt x="2332" y="317"/>
                  </a:lnTo>
                  <a:lnTo>
                    <a:pt x="2316" y="300"/>
                  </a:lnTo>
                  <a:lnTo>
                    <a:pt x="2308" y="291"/>
                  </a:lnTo>
                  <a:lnTo>
                    <a:pt x="2299" y="283"/>
                  </a:lnTo>
                  <a:lnTo>
                    <a:pt x="2291" y="277"/>
                  </a:lnTo>
                  <a:lnTo>
                    <a:pt x="2283" y="271"/>
                  </a:lnTo>
                  <a:lnTo>
                    <a:pt x="2266" y="260"/>
                  </a:lnTo>
                  <a:lnTo>
                    <a:pt x="2249" y="251"/>
                  </a:lnTo>
                  <a:lnTo>
                    <a:pt x="2231" y="243"/>
                  </a:lnTo>
                  <a:lnTo>
                    <a:pt x="2213" y="235"/>
                  </a:lnTo>
                  <a:lnTo>
                    <a:pt x="2194" y="224"/>
                  </a:lnTo>
                  <a:lnTo>
                    <a:pt x="2174" y="213"/>
                  </a:lnTo>
                  <a:lnTo>
                    <a:pt x="2159" y="230"/>
                  </a:lnTo>
                  <a:lnTo>
                    <a:pt x="2147" y="246"/>
                  </a:lnTo>
                  <a:lnTo>
                    <a:pt x="2138" y="263"/>
                  </a:lnTo>
                  <a:lnTo>
                    <a:pt x="2128" y="279"/>
                  </a:lnTo>
                  <a:lnTo>
                    <a:pt x="2121" y="296"/>
                  </a:lnTo>
                  <a:lnTo>
                    <a:pt x="2114" y="314"/>
                  </a:lnTo>
                  <a:lnTo>
                    <a:pt x="2107" y="333"/>
                  </a:lnTo>
                  <a:lnTo>
                    <a:pt x="2098" y="354"/>
                  </a:lnTo>
                  <a:lnTo>
                    <a:pt x="2093" y="377"/>
                  </a:lnTo>
                  <a:lnTo>
                    <a:pt x="2089" y="399"/>
                  </a:lnTo>
                  <a:lnTo>
                    <a:pt x="2086" y="409"/>
                  </a:lnTo>
                  <a:lnTo>
                    <a:pt x="2082" y="417"/>
                  </a:lnTo>
                  <a:lnTo>
                    <a:pt x="2079" y="422"/>
                  </a:lnTo>
                  <a:lnTo>
                    <a:pt x="2075" y="425"/>
                  </a:lnTo>
                  <a:lnTo>
                    <a:pt x="2070" y="428"/>
                  </a:lnTo>
                  <a:lnTo>
                    <a:pt x="2065" y="430"/>
                  </a:lnTo>
                  <a:lnTo>
                    <a:pt x="2055" y="433"/>
                  </a:lnTo>
                  <a:lnTo>
                    <a:pt x="2045" y="436"/>
                  </a:lnTo>
                  <a:lnTo>
                    <a:pt x="2035" y="438"/>
                  </a:lnTo>
                  <a:lnTo>
                    <a:pt x="2025" y="439"/>
                  </a:lnTo>
                  <a:lnTo>
                    <a:pt x="2006" y="441"/>
                  </a:lnTo>
                  <a:lnTo>
                    <a:pt x="1987" y="442"/>
                  </a:lnTo>
                  <a:lnTo>
                    <a:pt x="1969" y="444"/>
                  </a:lnTo>
                  <a:lnTo>
                    <a:pt x="1952" y="448"/>
                  </a:lnTo>
                  <a:lnTo>
                    <a:pt x="1943" y="452"/>
                  </a:lnTo>
                  <a:lnTo>
                    <a:pt x="1934" y="456"/>
                  </a:lnTo>
                  <a:lnTo>
                    <a:pt x="1925" y="461"/>
                  </a:lnTo>
                  <a:lnTo>
                    <a:pt x="1917" y="468"/>
                  </a:lnTo>
                  <a:lnTo>
                    <a:pt x="1910" y="475"/>
                  </a:lnTo>
                  <a:lnTo>
                    <a:pt x="1903" y="483"/>
                  </a:lnTo>
                  <a:lnTo>
                    <a:pt x="1899" y="491"/>
                  </a:lnTo>
                  <a:lnTo>
                    <a:pt x="1896" y="499"/>
                  </a:lnTo>
                  <a:lnTo>
                    <a:pt x="1890" y="517"/>
                  </a:lnTo>
                  <a:lnTo>
                    <a:pt x="1882" y="536"/>
                  </a:lnTo>
                  <a:lnTo>
                    <a:pt x="1876" y="533"/>
                  </a:lnTo>
                  <a:lnTo>
                    <a:pt x="1871" y="530"/>
                  </a:lnTo>
                  <a:lnTo>
                    <a:pt x="1866" y="526"/>
                  </a:lnTo>
                  <a:lnTo>
                    <a:pt x="1863" y="522"/>
                  </a:lnTo>
                  <a:lnTo>
                    <a:pt x="1856" y="512"/>
                  </a:lnTo>
                  <a:lnTo>
                    <a:pt x="1850" y="502"/>
                  </a:lnTo>
                  <a:lnTo>
                    <a:pt x="1845" y="493"/>
                  </a:lnTo>
                  <a:lnTo>
                    <a:pt x="1837" y="484"/>
                  </a:lnTo>
                  <a:lnTo>
                    <a:pt x="1833" y="479"/>
                  </a:lnTo>
                  <a:lnTo>
                    <a:pt x="1829" y="475"/>
                  </a:lnTo>
                  <a:lnTo>
                    <a:pt x="1824" y="472"/>
                  </a:lnTo>
                  <a:lnTo>
                    <a:pt x="1818" y="470"/>
                  </a:lnTo>
                  <a:lnTo>
                    <a:pt x="1801" y="466"/>
                  </a:lnTo>
                  <a:lnTo>
                    <a:pt x="1786" y="464"/>
                  </a:lnTo>
                  <a:lnTo>
                    <a:pt x="1779" y="462"/>
                  </a:lnTo>
                  <a:lnTo>
                    <a:pt x="1771" y="460"/>
                  </a:lnTo>
                  <a:lnTo>
                    <a:pt x="1764" y="456"/>
                  </a:lnTo>
                  <a:lnTo>
                    <a:pt x="1757" y="452"/>
                  </a:lnTo>
                  <a:lnTo>
                    <a:pt x="1750" y="444"/>
                  </a:lnTo>
                  <a:lnTo>
                    <a:pt x="1743" y="436"/>
                  </a:lnTo>
                  <a:lnTo>
                    <a:pt x="1737" y="429"/>
                  </a:lnTo>
                  <a:lnTo>
                    <a:pt x="1732" y="422"/>
                  </a:lnTo>
                  <a:lnTo>
                    <a:pt x="1726" y="414"/>
                  </a:lnTo>
                  <a:lnTo>
                    <a:pt x="1720" y="409"/>
                  </a:lnTo>
                  <a:lnTo>
                    <a:pt x="1716" y="407"/>
                  </a:lnTo>
                  <a:lnTo>
                    <a:pt x="1712" y="405"/>
                  </a:lnTo>
                  <a:lnTo>
                    <a:pt x="1707" y="404"/>
                  </a:lnTo>
                  <a:lnTo>
                    <a:pt x="1702" y="404"/>
                  </a:lnTo>
                  <a:lnTo>
                    <a:pt x="1694" y="404"/>
                  </a:lnTo>
                  <a:lnTo>
                    <a:pt x="1687" y="405"/>
                  </a:lnTo>
                  <a:lnTo>
                    <a:pt x="1680" y="406"/>
                  </a:lnTo>
                  <a:lnTo>
                    <a:pt x="1673" y="408"/>
                  </a:lnTo>
                  <a:lnTo>
                    <a:pt x="1661" y="413"/>
                  </a:lnTo>
                  <a:lnTo>
                    <a:pt x="1650" y="421"/>
                  </a:lnTo>
                  <a:lnTo>
                    <a:pt x="1639" y="429"/>
                  </a:lnTo>
                  <a:lnTo>
                    <a:pt x="1630" y="438"/>
                  </a:lnTo>
                  <a:lnTo>
                    <a:pt x="1621" y="448"/>
                  </a:lnTo>
                  <a:lnTo>
                    <a:pt x="1613" y="460"/>
                  </a:lnTo>
                  <a:lnTo>
                    <a:pt x="1596" y="484"/>
                  </a:lnTo>
                  <a:lnTo>
                    <a:pt x="1579" y="508"/>
                  </a:lnTo>
                  <a:lnTo>
                    <a:pt x="1568" y="520"/>
                  </a:lnTo>
                  <a:lnTo>
                    <a:pt x="1558" y="531"/>
                  </a:lnTo>
                  <a:lnTo>
                    <a:pt x="1546" y="541"/>
                  </a:lnTo>
                  <a:lnTo>
                    <a:pt x="1533" y="551"/>
                  </a:lnTo>
                  <a:lnTo>
                    <a:pt x="1501" y="567"/>
                  </a:lnTo>
                  <a:lnTo>
                    <a:pt x="1471" y="582"/>
                  </a:lnTo>
                  <a:lnTo>
                    <a:pt x="1458" y="591"/>
                  </a:lnTo>
                  <a:lnTo>
                    <a:pt x="1446" y="600"/>
                  </a:lnTo>
                  <a:lnTo>
                    <a:pt x="1439" y="606"/>
                  </a:lnTo>
                  <a:lnTo>
                    <a:pt x="1434" y="613"/>
                  </a:lnTo>
                  <a:lnTo>
                    <a:pt x="1429" y="620"/>
                  </a:lnTo>
                  <a:lnTo>
                    <a:pt x="1424" y="628"/>
                  </a:lnTo>
                  <a:lnTo>
                    <a:pt x="1417" y="644"/>
                  </a:lnTo>
                  <a:lnTo>
                    <a:pt x="1410" y="658"/>
                  </a:lnTo>
                  <a:lnTo>
                    <a:pt x="1404" y="673"/>
                  </a:lnTo>
                  <a:lnTo>
                    <a:pt x="1398" y="689"/>
                  </a:lnTo>
                  <a:lnTo>
                    <a:pt x="1395" y="700"/>
                  </a:lnTo>
                  <a:lnTo>
                    <a:pt x="1391" y="712"/>
                  </a:lnTo>
                  <a:lnTo>
                    <a:pt x="1388" y="716"/>
                  </a:lnTo>
                  <a:lnTo>
                    <a:pt x="1385" y="719"/>
                  </a:lnTo>
                  <a:lnTo>
                    <a:pt x="1381" y="722"/>
                  </a:lnTo>
                  <a:lnTo>
                    <a:pt x="1374" y="722"/>
                  </a:lnTo>
                  <a:lnTo>
                    <a:pt x="1365" y="722"/>
                  </a:lnTo>
                  <a:lnTo>
                    <a:pt x="1357" y="719"/>
                  </a:lnTo>
                  <a:lnTo>
                    <a:pt x="1350" y="715"/>
                  </a:lnTo>
                  <a:lnTo>
                    <a:pt x="1342" y="710"/>
                  </a:lnTo>
                  <a:lnTo>
                    <a:pt x="1337" y="702"/>
                  </a:lnTo>
                  <a:lnTo>
                    <a:pt x="1332" y="695"/>
                  </a:lnTo>
                  <a:lnTo>
                    <a:pt x="1328" y="687"/>
                  </a:lnTo>
                  <a:lnTo>
                    <a:pt x="1323" y="679"/>
                  </a:lnTo>
                  <a:lnTo>
                    <a:pt x="1315" y="661"/>
                  </a:lnTo>
                  <a:lnTo>
                    <a:pt x="1304" y="645"/>
                  </a:lnTo>
                  <a:lnTo>
                    <a:pt x="1298" y="637"/>
                  </a:lnTo>
                  <a:lnTo>
                    <a:pt x="1291" y="630"/>
                  </a:lnTo>
                  <a:lnTo>
                    <a:pt x="1283" y="625"/>
                  </a:lnTo>
                  <a:lnTo>
                    <a:pt x="1273" y="621"/>
                  </a:lnTo>
                  <a:lnTo>
                    <a:pt x="1268" y="629"/>
                  </a:lnTo>
                  <a:lnTo>
                    <a:pt x="1263" y="636"/>
                  </a:lnTo>
                  <a:lnTo>
                    <a:pt x="1257" y="643"/>
                  </a:lnTo>
                  <a:lnTo>
                    <a:pt x="1251" y="648"/>
                  </a:lnTo>
                  <a:lnTo>
                    <a:pt x="1238" y="659"/>
                  </a:lnTo>
                  <a:lnTo>
                    <a:pt x="1226" y="673"/>
                  </a:lnTo>
                  <a:lnTo>
                    <a:pt x="1218" y="687"/>
                  </a:lnTo>
                  <a:lnTo>
                    <a:pt x="1211" y="702"/>
                  </a:lnTo>
                  <a:lnTo>
                    <a:pt x="1207" y="709"/>
                  </a:lnTo>
                  <a:lnTo>
                    <a:pt x="1202" y="714"/>
                  </a:lnTo>
                  <a:lnTo>
                    <a:pt x="1199" y="715"/>
                  </a:lnTo>
                  <a:lnTo>
                    <a:pt x="1196" y="717"/>
                  </a:lnTo>
                  <a:lnTo>
                    <a:pt x="1193" y="718"/>
                  </a:lnTo>
                  <a:lnTo>
                    <a:pt x="1189" y="718"/>
                  </a:lnTo>
                  <a:lnTo>
                    <a:pt x="1181" y="717"/>
                  </a:lnTo>
                  <a:lnTo>
                    <a:pt x="1173" y="715"/>
                  </a:lnTo>
                  <a:lnTo>
                    <a:pt x="1166" y="712"/>
                  </a:lnTo>
                  <a:lnTo>
                    <a:pt x="1161" y="708"/>
                  </a:lnTo>
                  <a:lnTo>
                    <a:pt x="1157" y="702"/>
                  </a:lnTo>
                  <a:lnTo>
                    <a:pt x="1152" y="696"/>
                  </a:lnTo>
                  <a:lnTo>
                    <a:pt x="1149" y="689"/>
                  </a:lnTo>
                  <a:lnTo>
                    <a:pt x="1144" y="682"/>
                  </a:lnTo>
                  <a:lnTo>
                    <a:pt x="1138" y="666"/>
                  </a:lnTo>
                  <a:lnTo>
                    <a:pt x="1130" y="651"/>
                  </a:lnTo>
                  <a:lnTo>
                    <a:pt x="1126" y="644"/>
                  </a:lnTo>
                  <a:lnTo>
                    <a:pt x="1121" y="636"/>
                  </a:lnTo>
                  <a:lnTo>
                    <a:pt x="1116" y="629"/>
                  </a:lnTo>
                  <a:lnTo>
                    <a:pt x="1108" y="623"/>
                  </a:lnTo>
                  <a:lnTo>
                    <a:pt x="978" y="654"/>
                  </a:lnTo>
                  <a:lnTo>
                    <a:pt x="965" y="652"/>
                  </a:lnTo>
                  <a:lnTo>
                    <a:pt x="953" y="650"/>
                  </a:lnTo>
                  <a:lnTo>
                    <a:pt x="941" y="648"/>
                  </a:lnTo>
                  <a:lnTo>
                    <a:pt x="930" y="645"/>
                  </a:lnTo>
                  <a:lnTo>
                    <a:pt x="919" y="640"/>
                  </a:lnTo>
                  <a:lnTo>
                    <a:pt x="908" y="635"/>
                  </a:lnTo>
                  <a:lnTo>
                    <a:pt x="898" y="629"/>
                  </a:lnTo>
                  <a:lnTo>
                    <a:pt x="887" y="621"/>
                  </a:lnTo>
                  <a:lnTo>
                    <a:pt x="880" y="615"/>
                  </a:lnTo>
                  <a:lnTo>
                    <a:pt x="874" y="607"/>
                  </a:lnTo>
                  <a:lnTo>
                    <a:pt x="870" y="601"/>
                  </a:lnTo>
                  <a:lnTo>
                    <a:pt x="866" y="594"/>
                  </a:lnTo>
                  <a:lnTo>
                    <a:pt x="861" y="587"/>
                  </a:lnTo>
                  <a:lnTo>
                    <a:pt x="856" y="581"/>
                  </a:lnTo>
                  <a:lnTo>
                    <a:pt x="849" y="575"/>
                  </a:lnTo>
                  <a:lnTo>
                    <a:pt x="842" y="571"/>
                  </a:lnTo>
                  <a:lnTo>
                    <a:pt x="835" y="585"/>
                  </a:lnTo>
                  <a:lnTo>
                    <a:pt x="827" y="598"/>
                  </a:lnTo>
                  <a:lnTo>
                    <a:pt x="820" y="611"/>
                  </a:lnTo>
                  <a:lnTo>
                    <a:pt x="811" y="622"/>
                  </a:lnTo>
                  <a:lnTo>
                    <a:pt x="796" y="644"/>
                  </a:lnTo>
                  <a:lnTo>
                    <a:pt x="780" y="664"/>
                  </a:lnTo>
                  <a:lnTo>
                    <a:pt x="774" y="676"/>
                  </a:lnTo>
                  <a:lnTo>
                    <a:pt x="768" y="686"/>
                  </a:lnTo>
                  <a:lnTo>
                    <a:pt x="762" y="697"/>
                  </a:lnTo>
                  <a:lnTo>
                    <a:pt x="757" y="709"/>
                  </a:lnTo>
                  <a:lnTo>
                    <a:pt x="754" y="721"/>
                  </a:lnTo>
                  <a:lnTo>
                    <a:pt x="750" y="734"/>
                  </a:lnTo>
                  <a:lnTo>
                    <a:pt x="748" y="749"/>
                  </a:lnTo>
                  <a:lnTo>
                    <a:pt x="747" y="763"/>
                  </a:lnTo>
                  <a:lnTo>
                    <a:pt x="750" y="774"/>
                  </a:lnTo>
                  <a:lnTo>
                    <a:pt x="753" y="784"/>
                  </a:lnTo>
                  <a:lnTo>
                    <a:pt x="753" y="787"/>
                  </a:lnTo>
                  <a:lnTo>
                    <a:pt x="752" y="790"/>
                  </a:lnTo>
                  <a:lnTo>
                    <a:pt x="750" y="793"/>
                  </a:lnTo>
                  <a:lnTo>
                    <a:pt x="748" y="795"/>
                  </a:lnTo>
                  <a:lnTo>
                    <a:pt x="743" y="800"/>
                  </a:lnTo>
                  <a:lnTo>
                    <a:pt x="737" y="803"/>
                  </a:lnTo>
                  <a:lnTo>
                    <a:pt x="731" y="806"/>
                  </a:lnTo>
                  <a:lnTo>
                    <a:pt x="723" y="807"/>
                  </a:lnTo>
                  <a:lnTo>
                    <a:pt x="715" y="808"/>
                  </a:lnTo>
                  <a:lnTo>
                    <a:pt x="707" y="808"/>
                  </a:lnTo>
                  <a:lnTo>
                    <a:pt x="696" y="808"/>
                  </a:lnTo>
                  <a:lnTo>
                    <a:pt x="684" y="810"/>
                  </a:lnTo>
                  <a:lnTo>
                    <a:pt x="695" y="839"/>
                  </a:lnTo>
                  <a:lnTo>
                    <a:pt x="706" y="865"/>
                  </a:lnTo>
                  <a:lnTo>
                    <a:pt x="710" y="877"/>
                  </a:lnTo>
                  <a:lnTo>
                    <a:pt x="714" y="890"/>
                  </a:lnTo>
                  <a:lnTo>
                    <a:pt x="716" y="905"/>
                  </a:lnTo>
                  <a:lnTo>
                    <a:pt x="717" y="920"/>
                  </a:lnTo>
                  <a:lnTo>
                    <a:pt x="715" y="927"/>
                  </a:lnTo>
                  <a:lnTo>
                    <a:pt x="712" y="933"/>
                  </a:lnTo>
                  <a:lnTo>
                    <a:pt x="694" y="933"/>
                  </a:lnTo>
                  <a:lnTo>
                    <a:pt x="604" y="914"/>
                  </a:lnTo>
                  <a:lnTo>
                    <a:pt x="597" y="915"/>
                  </a:lnTo>
                  <a:lnTo>
                    <a:pt x="590" y="916"/>
                  </a:lnTo>
                  <a:lnTo>
                    <a:pt x="590" y="930"/>
                  </a:lnTo>
                  <a:lnTo>
                    <a:pt x="590" y="943"/>
                  </a:lnTo>
                  <a:lnTo>
                    <a:pt x="589" y="948"/>
                  </a:lnTo>
                  <a:lnTo>
                    <a:pt x="587" y="953"/>
                  </a:lnTo>
                  <a:lnTo>
                    <a:pt x="582" y="959"/>
                  </a:lnTo>
                  <a:lnTo>
                    <a:pt x="578" y="964"/>
                  </a:lnTo>
                  <a:lnTo>
                    <a:pt x="573" y="967"/>
                  </a:lnTo>
                  <a:lnTo>
                    <a:pt x="568" y="970"/>
                  </a:lnTo>
                  <a:lnTo>
                    <a:pt x="563" y="972"/>
                  </a:lnTo>
                  <a:lnTo>
                    <a:pt x="557" y="973"/>
                  </a:lnTo>
                  <a:lnTo>
                    <a:pt x="546" y="975"/>
                  </a:lnTo>
                  <a:lnTo>
                    <a:pt x="535" y="975"/>
                  </a:lnTo>
                  <a:lnTo>
                    <a:pt x="524" y="975"/>
                  </a:lnTo>
                  <a:lnTo>
                    <a:pt x="512" y="975"/>
                  </a:lnTo>
                  <a:lnTo>
                    <a:pt x="501" y="976"/>
                  </a:lnTo>
                  <a:lnTo>
                    <a:pt x="489" y="980"/>
                  </a:lnTo>
                  <a:lnTo>
                    <a:pt x="481" y="983"/>
                  </a:lnTo>
                  <a:lnTo>
                    <a:pt x="474" y="986"/>
                  </a:lnTo>
                  <a:lnTo>
                    <a:pt x="468" y="991"/>
                  </a:lnTo>
                  <a:lnTo>
                    <a:pt x="463" y="995"/>
                  </a:lnTo>
                  <a:lnTo>
                    <a:pt x="451" y="1004"/>
                  </a:lnTo>
                  <a:lnTo>
                    <a:pt x="441" y="1012"/>
                  </a:lnTo>
                  <a:lnTo>
                    <a:pt x="431" y="1021"/>
                  </a:lnTo>
                  <a:lnTo>
                    <a:pt x="419" y="1028"/>
                  </a:lnTo>
                  <a:lnTo>
                    <a:pt x="413" y="1031"/>
                  </a:lnTo>
                  <a:lnTo>
                    <a:pt x="407" y="1033"/>
                  </a:lnTo>
                  <a:lnTo>
                    <a:pt x="400" y="1034"/>
                  </a:lnTo>
                  <a:lnTo>
                    <a:pt x="392" y="1034"/>
                  </a:lnTo>
                  <a:lnTo>
                    <a:pt x="385" y="1033"/>
                  </a:lnTo>
                  <a:lnTo>
                    <a:pt x="379" y="1031"/>
                  </a:lnTo>
                  <a:lnTo>
                    <a:pt x="374" y="1028"/>
                  </a:lnTo>
                  <a:lnTo>
                    <a:pt x="370" y="1023"/>
                  </a:lnTo>
                  <a:lnTo>
                    <a:pt x="362" y="1013"/>
                  </a:lnTo>
                  <a:lnTo>
                    <a:pt x="351" y="1004"/>
                  </a:lnTo>
                  <a:lnTo>
                    <a:pt x="339" y="1026"/>
                  </a:lnTo>
                  <a:lnTo>
                    <a:pt x="327" y="1045"/>
                  </a:lnTo>
                  <a:lnTo>
                    <a:pt x="320" y="1054"/>
                  </a:lnTo>
                  <a:lnTo>
                    <a:pt x="313" y="1063"/>
                  </a:lnTo>
                  <a:lnTo>
                    <a:pt x="305" y="1071"/>
                  </a:lnTo>
                  <a:lnTo>
                    <a:pt x="295" y="1079"/>
                  </a:lnTo>
                  <a:lnTo>
                    <a:pt x="280" y="1063"/>
                  </a:lnTo>
                  <a:lnTo>
                    <a:pt x="267" y="1048"/>
                  </a:lnTo>
                  <a:lnTo>
                    <a:pt x="253" y="1033"/>
                  </a:lnTo>
                  <a:lnTo>
                    <a:pt x="241" y="1015"/>
                  </a:lnTo>
                  <a:lnTo>
                    <a:pt x="217" y="1033"/>
                  </a:lnTo>
                  <a:lnTo>
                    <a:pt x="197" y="1048"/>
                  </a:lnTo>
                  <a:lnTo>
                    <a:pt x="176" y="1065"/>
                  </a:lnTo>
                  <a:lnTo>
                    <a:pt x="158" y="1080"/>
                  </a:lnTo>
                  <a:lnTo>
                    <a:pt x="138" y="1096"/>
                  </a:lnTo>
                  <a:lnTo>
                    <a:pt x="119" y="1113"/>
                  </a:lnTo>
                  <a:lnTo>
                    <a:pt x="100" y="1132"/>
                  </a:lnTo>
                  <a:lnTo>
                    <a:pt x="78" y="1153"/>
                  </a:lnTo>
                  <a:lnTo>
                    <a:pt x="66" y="1163"/>
                  </a:lnTo>
                  <a:lnTo>
                    <a:pt x="53" y="1172"/>
                  </a:lnTo>
                  <a:lnTo>
                    <a:pt x="40" y="1181"/>
                  </a:lnTo>
                  <a:lnTo>
                    <a:pt x="28" y="1188"/>
                  </a:lnTo>
                  <a:lnTo>
                    <a:pt x="22" y="1193"/>
                  </a:lnTo>
                  <a:lnTo>
                    <a:pt x="17" y="1197"/>
                  </a:lnTo>
                  <a:lnTo>
                    <a:pt x="12" y="1201"/>
                  </a:lnTo>
                  <a:lnTo>
                    <a:pt x="8" y="1206"/>
                  </a:lnTo>
                  <a:lnTo>
                    <a:pt x="5" y="1213"/>
                  </a:lnTo>
                  <a:lnTo>
                    <a:pt x="3" y="1219"/>
                  </a:lnTo>
                  <a:lnTo>
                    <a:pt x="1" y="1226"/>
                  </a:lnTo>
                  <a:lnTo>
                    <a:pt x="1" y="1233"/>
                  </a:lnTo>
                  <a:lnTo>
                    <a:pt x="1" y="1256"/>
                  </a:lnTo>
                  <a:lnTo>
                    <a:pt x="0" y="1277"/>
                  </a:lnTo>
                  <a:lnTo>
                    <a:pt x="1" y="1296"/>
                  </a:lnTo>
                  <a:lnTo>
                    <a:pt x="1" y="1316"/>
                  </a:lnTo>
                  <a:lnTo>
                    <a:pt x="3" y="1334"/>
                  </a:lnTo>
                  <a:lnTo>
                    <a:pt x="6" y="1354"/>
                  </a:lnTo>
                  <a:lnTo>
                    <a:pt x="10" y="1374"/>
                  </a:lnTo>
                  <a:lnTo>
                    <a:pt x="17" y="1395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 dirty="0">
                  <a:latin typeface="Calibri" panose="020F0502020204030204" pitchFamily="34" charset="0"/>
                </a:rPr>
                <a:t>Kirovograd</a:t>
              </a:r>
              <a:endParaRPr lang="ru-RU" altLang="ru-RU" sz="675" dirty="0">
                <a:latin typeface="Calibri" panose="020F0502020204030204" pitchFamily="34" charset="0"/>
              </a:endParaRPr>
            </a:p>
          </p:txBody>
        </p:sp>
        <p:sp>
          <p:nvSpPr>
            <p:cNvPr id="19" name="Dnipropetrovsk"/>
            <p:cNvSpPr>
              <a:spLocks/>
            </p:cNvSpPr>
            <p:nvPr/>
          </p:nvSpPr>
          <p:spPr bwMode="auto">
            <a:xfrm>
              <a:off x="3344" y="2247"/>
              <a:ext cx="1041" cy="662"/>
            </a:xfrm>
            <a:custGeom>
              <a:avLst/>
              <a:gdLst>
                <a:gd name="T0" fmla="*/ 338 w 3473"/>
                <a:gd name="T1" fmla="*/ 236 h 2271"/>
                <a:gd name="T2" fmla="*/ 338 w 3473"/>
                <a:gd name="T3" fmla="*/ 236 h 2271"/>
                <a:gd name="T4" fmla="*/ 338 w 3473"/>
                <a:gd name="T5" fmla="*/ 236 h 2271"/>
                <a:gd name="T6" fmla="*/ 338 w 3473"/>
                <a:gd name="T7" fmla="*/ 236 h 2271"/>
                <a:gd name="T8" fmla="*/ 338 w 3473"/>
                <a:gd name="T9" fmla="*/ 236 h 2271"/>
                <a:gd name="T10" fmla="*/ 338 w 3473"/>
                <a:gd name="T11" fmla="*/ 236 h 2271"/>
                <a:gd name="T12" fmla="*/ 338 w 3473"/>
                <a:gd name="T13" fmla="*/ 236 h 2271"/>
                <a:gd name="T14" fmla="*/ 338 w 3473"/>
                <a:gd name="T15" fmla="*/ 236 h 2271"/>
                <a:gd name="T16" fmla="*/ 338 w 3473"/>
                <a:gd name="T17" fmla="*/ 236 h 2271"/>
                <a:gd name="T18" fmla="*/ 338 w 3473"/>
                <a:gd name="T19" fmla="*/ 236 h 2271"/>
                <a:gd name="T20" fmla="*/ 338 w 3473"/>
                <a:gd name="T21" fmla="*/ 236 h 2271"/>
                <a:gd name="T22" fmla="*/ 338 w 3473"/>
                <a:gd name="T23" fmla="*/ 236 h 2271"/>
                <a:gd name="T24" fmla="*/ 338 w 3473"/>
                <a:gd name="T25" fmla="*/ 236 h 2271"/>
                <a:gd name="T26" fmla="*/ 338 w 3473"/>
                <a:gd name="T27" fmla="*/ 236 h 2271"/>
                <a:gd name="T28" fmla="*/ 338 w 3473"/>
                <a:gd name="T29" fmla="*/ 236 h 2271"/>
                <a:gd name="T30" fmla="*/ 338 w 3473"/>
                <a:gd name="T31" fmla="*/ 236 h 2271"/>
                <a:gd name="T32" fmla="*/ 338 w 3473"/>
                <a:gd name="T33" fmla="*/ 236 h 2271"/>
                <a:gd name="T34" fmla="*/ 338 w 3473"/>
                <a:gd name="T35" fmla="*/ 236 h 2271"/>
                <a:gd name="T36" fmla="*/ 338 w 3473"/>
                <a:gd name="T37" fmla="*/ 236 h 2271"/>
                <a:gd name="T38" fmla="*/ 338 w 3473"/>
                <a:gd name="T39" fmla="*/ 236 h 2271"/>
                <a:gd name="T40" fmla="*/ 338 w 3473"/>
                <a:gd name="T41" fmla="*/ 236 h 2271"/>
                <a:gd name="T42" fmla="*/ 338 w 3473"/>
                <a:gd name="T43" fmla="*/ 236 h 2271"/>
                <a:gd name="T44" fmla="*/ 338 w 3473"/>
                <a:gd name="T45" fmla="*/ 236 h 2271"/>
                <a:gd name="T46" fmla="*/ 338 w 3473"/>
                <a:gd name="T47" fmla="*/ 236 h 2271"/>
                <a:gd name="T48" fmla="*/ 338 w 3473"/>
                <a:gd name="T49" fmla="*/ 236 h 2271"/>
                <a:gd name="T50" fmla="*/ 338 w 3473"/>
                <a:gd name="T51" fmla="*/ 236 h 2271"/>
                <a:gd name="T52" fmla="*/ 338 w 3473"/>
                <a:gd name="T53" fmla="*/ 236 h 2271"/>
                <a:gd name="T54" fmla="*/ 338 w 3473"/>
                <a:gd name="T55" fmla="*/ 236 h 2271"/>
                <a:gd name="T56" fmla="*/ 338 w 3473"/>
                <a:gd name="T57" fmla="*/ 236 h 2271"/>
                <a:gd name="T58" fmla="*/ 338 w 3473"/>
                <a:gd name="T59" fmla="*/ 236 h 2271"/>
                <a:gd name="T60" fmla="*/ 338 w 3473"/>
                <a:gd name="T61" fmla="*/ 236 h 2271"/>
                <a:gd name="T62" fmla="*/ 338 w 3473"/>
                <a:gd name="T63" fmla="*/ 236 h 2271"/>
                <a:gd name="T64" fmla="*/ 338 w 3473"/>
                <a:gd name="T65" fmla="*/ 236 h 2271"/>
                <a:gd name="T66" fmla="*/ 338 w 3473"/>
                <a:gd name="T67" fmla="*/ 236 h 2271"/>
                <a:gd name="T68" fmla="*/ 338 w 3473"/>
                <a:gd name="T69" fmla="*/ 236 h 2271"/>
                <a:gd name="T70" fmla="*/ 338 w 3473"/>
                <a:gd name="T71" fmla="*/ 236 h 2271"/>
                <a:gd name="T72" fmla="*/ 338 w 3473"/>
                <a:gd name="T73" fmla="*/ 236 h 2271"/>
                <a:gd name="T74" fmla="*/ 338 w 3473"/>
                <a:gd name="T75" fmla="*/ 236 h 2271"/>
                <a:gd name="T76" fmla="*/ 338 w 3473"/>
                <a:gd name="T77" fmla="*/ 236 h 2271"/>
                <a:gd name="T78" fmla="*/ 338 w 3473"/>
                <a:gd name="T79" fmla="*/ 236 h 2271"/>
                <a:gd name="T80" fmla="*/ 338 w 3473"/>
                <a:gd name="T81" fmla="*/ 236 h 2271"/>
                <a:gd name="T82" fmla="*/ 338 w 3473"/>
                <a:gd name="T83" fmla="*/ 236 h 2271"/>
                <a:gd name="T84" fmla="*/ 338 w 3473"/>
                <a:gd name="T85" fmla="*/ 236 h 2271"/>
                <a:gd name="T86" fmla="*/ 338 w 3473"/>
                <a:gd name="T87" fmla="*/ 236 h 2271"/>
                <a:gd name="T88" fmla="*/ 338 w 3473"/>
                <a:gd name="T89" fmla="*/ 236 h 2271"/>
                <a:gd name="T90" fmla="*/ 338 w 3473"/>
                <a:gd name="T91" fmla="*/ 236 h 2271"/>
                <a:gd name="T92" fmla="*/ 338 w 3473"/>
                <a:gd name="T93" fmla="*/ 236 h 2271"/>
                <a:gd name="T94" fmla="*/ 338 w 3473"/>
                <a:gd name="T95" fmla="*/ 236 h 2271"/>
                <a:gd name="T96" fmla="*/ 338 w 3473"/>
                <a:gd name="T97" fmla="*/ 236 h 2271"/>
                <a:gd name="T98" fmla="*/ 338 w 3473"/>
                <a:gd name="T99" fmla="*/ 236 h 2271"/>
                <a:gd name="T100" fmla="*/ 338 w 3473"/>
                <a:gd name="T101" fmla="*/ 236 h 2271"/>
                <a:gd name="T102" fmla="*/ 338 w 3473"/>
                <a:gd name="T103" fmla="*/ 236 h 2271"/>
                <a:gd name="T104" fmla="*/ 338 w 3473"/>
                <a:gd name="T105" fmla="*/ 236 h 2271"/>
                <a:gd name="T106" fmla="*/ 338 w 3473"/>
                <a:gd name="T107" fmla="*/ 236 h 2271"/>
                <a:gd name="T108" fmla="*/ 338 w 3473"/>
                <a:gd name="T109" fmla="*/ 236 h 2271"/>
                <a:gd name="T110" fmla="*/ 338 w 3473"/>
                <a:gd name="T111" fmla="*/ 236 h 2271"/>
                <a:gd name="T112" fmla="*/ 338 w 3473"/>
                <a:gd name="T113" fmla="*/ 236 h 2271"/>
                <a:gd name="T114" fmla="*/ 338 w 3473"/>
                <a:gd name="T115" fmla="*/ 236 h 2271"/>
                <a:gd name="T116" fmla="*/ 338 w 3473"/>
                <a:gd name="T117" fmla="*/ 236 h 2271"/>
                <a:gd name="T118" fmla="*/ 338 w 3473"/>
                <a:gd name="T119" fmla="*/ 236 h 227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473"/>
                <a:gd name="T181" fmla="*/ 0 h 2271"/>
                <a:gd name="T182" fmla="*/ 3473 w 3473"/>
                <a:gd name="T183" fmla="*/ 2271 h 227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473" h="2271">
                  <a:moveTo>
                    <a:pt x="59" y="1612"/>
                  </a:moveTo>
                  <a:lnTo>
                    <a:pt x="38" y="1636"/>
                  </a:lnTo>
                  <a:lnTo>
                    <a:pt x="19" y="1657"/>
                  </a:lnTo>
                  <a:lnTo>
                    <a:pt x="11" y="1668"/>
                  </a:lnTo>
                  <a:lnTo>
                    <a:pt x="5" y="1681"/>
                  </a:lnTo>
                  <a:lnTo>
                    <a:pt x="3" y="1687"/>
                  </a:lnTo>
                  <a:lnTo>
                    <a:pt x="2" y="1694"/>
                  </a:lnTo>
                  <a:lnTo>
                    <a:pt x="1" y="1701"/>
                  </a:lnTo>
                  <a:lnTo>
                    <a:pt x="0" y="1710"/>
                  </a:lnTo>
                  <a:lnTo>
                    <a:pt x="1" y="1715"/>
                  </a:lnTo>
                  <a:lnTo>
                    <a:pt x="2" y="1720"/>
                  </a:lnTo>
                  <a:lnTo>
                    <a:pt x="3" y="1724"/>
                  </a:lnTo>
                  <a:lnTo>
                    <a:pt x="5" y="1728"/>
                  </a:lnTo>
                  <a:lnTo>
                    <a:pt x="10" y="1735"/>
                  </a:lnTo>
                  <a:lnTo>
                    <a:pt x="17" y="1742"/>
                  </a:lnTo>
                  <a:lnTo>
                    <a:pt x="34" y="1753"/>
                  </a:lnTo>
                  <a:lnTo>
                    <a:pt x="52" y="1763"/>
                  </a:lnTo>
                  <a:lnTo>
                    <a:pt x="63" y="1771"/>
                  </a:lnTo>
                  <a:lnTo>
                    <a:pt x="72" y="1780"/>
                  </a:lnTo>
                  <a:lnTo>
                    <a:pt x="80" y="1789"/>
                  </a:lnTo>
                  <a:lnTo>
                    <a:pt x="87" y="1799"/>
                  </a:lnTo>
                  <a:lnTo>
                    <a:pt x="93" y="1810"/>
                  </a:lnTo>
                  <a:lnTo>
                    <a:pt x="96" y="1821"/>
                  </a:lnTo>
                  <a:lnTo>
                    <a:pt x="99" y="1833"/>
                  </a:lnTo>
                  <a:lnTo>
                    <a:pt x="99" y="1847"/>
                  </a:lnTo>
                  <a:lnTo>
                    <a:pt x="99" y="1972"/>
                  </a:lnTo>
                  <a:lnTo>
                    <a:pt x="99" y="1982"/>
                  </a:lnTo>
                  <a:lnTo>
                    <a:pt x="97" y="1991"/>
                  </a:lnTo>
                  <a:lnTo>
                    <a:pt x="94" y="2000"/>
                  </a:lnTo>
                  <a:lnTo>
                    <a:pt x="91" y="2008"/>
                  </a:lnTo>
                  <a:lnTo>
                    <a:pt x="82" y="2023"/>
                  </a:lnTo>
                  <a:lnTo>
                    <a:pt x="75" y="2042"/>
                  </a:lnTo>
                  <a:lnTo>
                    <a:pt x="70" y="2069"/>
                  </a:lnTo>
                  <a:lnTo>
                    <a:pt x="64" y="2093"/>
                  </a:lnTo>
                  <a:lnTo>
                    <a:pt x="61" y="2103"/>
                  </a:lnTo>
                  <a:lnTo>
                    <a:pt x="54" y="2113"/>
                  </a:lnTo>
                  <a:lnTo>
                    <a:pt x="51" y="2118"/>
                  </a:lnTo>
                  <a:lnTo>
                    <a:pt x="47" y="2124"/>
                  </a:lnTo>
                  <a:lnTo>
                    <a:pt x="43" y="2128"/>
                  </a:lnTo>
                  <a:lnTo>
                    <a:pt x="38" y="2132"/>
                  </a:lnTo>
                  <a:lnTo>
                    <a:pt x="45" y="2143"/>
                  </a:lnTo>
                  <a:lnTo>
                    <a:pt x="52" y="2154"/>
                  </a:lnTo>
                  <a:lnTo>
                    <a:pt x="61" y="2162"/>
                  </a:lnTo>
                  <a:lnTo>
                    <a:pt x="71" y="2169"/>
                  </a:lnTo>
                  <a:lnTo>
                    <a:pt x="81" y="2174"/>
                  </a:lnTo>
                  <a:lnTo>
                    <a:pt x="93" y="2178"/>
                  </a:lnTo>
                  <a:lnTo>
                    <a:pt x="105" y="2180"/>
                  </a:lnTo>
                  <a:lnTo>
                    <a:pt x="118" y="2181"/>
                  </a:lnTo>
                  <a:lnTo>
                    <a:pt x="135" y="2186"/>
                  </a:lnTo>
                  <a:lnTo>
                    <a:pt x="149" y="2188"/>
                  </a:lnTo>
                  <a:lnTo>
                    <a:pt x="164" y="2190"/>
                  </a:lnTo>
                  <a:lnTo>
                    <a:pt x="177" y="2192"/>
                  </a:lnTo>
                  <a:lnTo>
                    <a:pt x="205" y="2193"/>
                  </a:lnTo>
                  <a:lnTo>
                    <a:pt x="237" y="2194"/>
                  </a:lnTo>
                  <a:lnTo>
                    <a:pt x="292" y="2194"/>
                  </a:lnTo>
                  <a:lnTo>
                    <a:pt x="299" y="2194"/>
                  </a:lnTo>
                  <a:lnTo>
                    <a:pt x="304" y="2197"/>
                  </a:lnTo>
                  <a:lnTo>
                    <a:pt x="309" y="2200"/>
                  </a:lnTo>
                  <a:lnTo>
                    <a:pt x="313" y="2205"/>
                  </a:lnTo>
                  <a:lnTo>
                    <a:pt x="320" y="2218"/>
                  </a:lnTo>
                  <a:lnTo>
                    <a:pt x="326" y="2231"/>
                  </a:lnTo>
                  <a:lnTo>
                    <a:pt x="331" y="2245"/>
                  </a:lnTo>
                  <a:lnTo>
                    <a:pt x="337" y="2257"/>
                  </a:lnTo>
                  <a:lnTo>
                    <a:pt x="341" y="2262"/>
                  </a:lnTo>
                  <a:lnTo>
                    <a:pt x="346" y="2266"/>
                  </a:lnTo>
                  <a:lnTo>
                    <a:pt x="351" y="2268"/>
                  </a:lnTo>
                  <a:lnTo>
                    <a:pt x="359" y="2269"/>
                  </a:lnTo>
                  <a:lnTo>
                    <a:pt x="365" y="2268"/>
                  </a:lnTo>
                  <a:lnTo>
                    <a:pt x="371" y="2266"/>
                  </a:lnTo>
                  <a:lnTo>
                    <a:pt x="376" y="2262"/>
                  </a:lnTo>
                  <a:lnTo>
                    <a:pt x="380" y="2258"/>
                  </a:lnTo>
                  <a:lnTo>
                    <a:pt x="386" y="2254"/>
                  </a:lnTo>
                  <a:lnTo>
                    <a:pt x="390" y="2249"/>
                  </a:lnTo>
                  <a:lnTo>
                    <a:pt x="395" y="2244"/>
                  </a:lnTo>
                  <a:lnTo>
                    <a:pt x="401" y="2240"/>
                  </a:lnTo>
                  <a:lnTo>
                    <a:pt x="419" y="2233"/>
                  </a:lnTo>
                  <a:lnTo>
                    <a:pt x="435" y="2228"/>
                  </a:lnTo>
                  <a:lnTo>
                    <a:pt x="442" y="2224"/>
                  </a:lnTo>
                  <a:lnTo>
                    <a:pt x="448" y="2220"/>
                  </a:lnTo>
                  <a:lnTo>
                    <a:pt x="452" y="2217"/>
                  </a:lnTo>
                  <a:lnTo>
                    <a:pt x="454" y="2213"/>
                  </a:lnTo>
                  <a:lnTo>
                    <a:pt x="456" y="2209"/>
                  </a:lnTo>
                  <a:lnTo>
                    <a:pt x="458" y="2205"/>
                  </a:lnTo>
                  <a:lnTo>
                    <a:pt x="465" y="2177"/>
                  </a:lnTo>
                  <a:lnTo>
                    <a:pt x="473" y="2153"/>
                  </a:lnTo>
                  <a:lnTo>
                    <a:pt x="478" y="2141"/>
                  </a:lnTo>
                  <a:lnTo>
                    <a:pt x="486" y="2130"/>
                  </a:lnTo>
                  <a:lnTo>
                    <a:pt x="490" y="2125"/>
                  </a:lnTo>
                  <a:lnTo>
                    <a:pt x="494" y="2121"/>
                  </a:lnTo>
                  <a:lnTo>
                    <a:pt x="499" y="2115"/>
                  </a:lnTo>
                  <a:lnTo>
                    <a:pt x="505" y="2111"/>
                  </a:lnTo>
                  <a:lnTo>
                    <a:pt x="530" y="2137"/>
                  </a:lnTo>
                  <a:lnTo>
                    <a:pt x="553" y="2161"/>
                  </a:lnTo>
                  <a:lnTo>
                    <a:pt x="574" y="2183"/>
                  </a:lnTo>
                  <a:lnTo>
                    <a:pt x="601" y="2207"/>
                  </a:lnTo>
                  <a:lnTo>
                    <a:pt x="622" y="2229"/>
                  </a:lnTo>
                  <a:lnTo>
                    <a:pt x="639" y="2250"/>
                  </a:lnTo>
                  <a:lnTo>
                    <a:pt x="647" y="2258"/>
                  </a:lnTo>
                  <a:lnTo>
                    <a:pt x="658" y="2265"/>
                  </a:lnTo>
                  <a:lnTo>
                    <a:pt x="664" y="2267"/>
                  </a:lnTo>
                  <a:lnTo>
                    <a:pt x="670" y="2269"/>
                  </a:lnTo>
                  <a:lnTo>
                    <a:pt x="676" y="2271"/>
                  </a:lnTo>
                  <a:lnTo>
                    <a:pt x="684" y="2271"/>
                  </a:lnTo>
                  <a:lnTo>
                    <a:pt x="693" y="2270"/>
                  </a:lnTo>
                  <a:lnTo>
                    <a:pt x="702" y="2269"/>
                  </a:lnTo>
                  <a:lnTo>
                    <a:pt x="710" y="2266"/>
                  </a:lnTo>
                  <a:lnTo>
                    <a:pt x="718" y="2263"/>
                  </a:lnTo>
                  <a:lnTo>
                    <a:pt x="732" y="2255"/>
                  </a:lnTo>
                  <a:lnTo>
                    <a:pt x="745" y="2245"/>
                  </a:lnTo>
                  <a:lnTo>
                    <a:pt x="759" y="2236"/>
                  </a:lnTo>
                  <a:lnTo>
                    <a:pt x="772" y="2228"/>
                  </a:lnTo>
                  <a:lnTo>
                    <a:pt x="780" y="2224"/>
                  </a:lnTo>
                  <a:lnTo>
                    <a:pt x="789" y="2222"/>
                  </a:lnTo>
                  <a:lnTo>
                    <a:pt x="797" y="2220"/>
                  </a:lnTo>
                  <a:lnTo>
                    <a:pt x="806" y="2220"/>
                  </a:lnTo>
                  <a:lnTo>
                    <a:pt x="810" y="2220"/>
                  </a:lnTo>
                  <a:lnTo>
                    <a:pt x="815" y="2221"/>
                  </a:lnTo>
                  <a:lnTo>
                    <a:pt x="818" y="2223"/>
                  </a:lnTo>
                  <a:lnTo>
                    <a:pt x="821" y="2225"/>
                  </a:lnTo>
                  <a:lnTo>
                    <a:pt x="827" y="2230"/>
                  </a:lnTo>
                  <a:lnTo>
                    <a:pt x="835" y="2233"/>
                  </a:lnTo>
                  <a:lnTo>
                    <a:pt x="856" y="2240"/>
                  </a:lnTo>
                  <a:lnTo>
                    <a:pt x="875" y="2245"/>
                  </a:lnTo>
                  <a:lnTo>
                    <a:pt x="894" y="2250"/>
                  </a:lnTo>
                  <a:lnTo>
                    <a:pt x="912" y="2252"/>
                  </a:lnTo>
                  <a:lnTo>
                    <a:pt x="931" y="2254"/>
                  </a:lnTo>
                  <a:lnTo>
                    <a:pt x="951" y="2255"/>
                  </a:lnTo>
                  <a:lnTo>
                    <a:pt x="971" y="2255"/>
                  </a:lnTo>
                  <a:lnTo>
                    <a:pt x="993" y="2255"/>
                  </a:lnTo>
                  <a:lnTo>
                    <a:pt x="1009" y="2255"/>
                  </a:lnTo>
                  <a:lnTo>
                    <a:pt x="1025" y="2256"/>
                  </a:lnTo>
                  <a:lnTo>
                    <a:pt x="1039" y="2257"/>
                  </a:lnTo>
                  <a:lnTo>
                    <a:pt x="1056" y="2257"/>
                  </a:lnTo>
                  <a:lnTo>
                    <a:pt x="1072" y="2257"/>
                  </a:lnTo>
                  <a:lnTo>
                    <a:pt x="1087" y="2256"/>
                  </a:lnTo>
                  <a:lnTo>
                    <a:pt x="1101" y="2254"/>
                  </a:lnTo>
                  <a:lnTo>
                    <a:pt x="1118" y="2250"/>
                  </a:lnTo>
                  <a:lnTo>
                    <a:pt x="1146" y="2257"/>
                  </a:lnTo>
                  <a:lnTo>
                    <a:pt x="1158" y="2255"/>
                  </a:lnTo>
                  <a:lnTo>
                    <a:pt x="1169" y="2253"/>
                  </a:lnTo>
                  <a:lnTo>
                    <a:pt x="1204" y="2231"/>
                  </a:lnTo>
                  <a:lnTo>
                    <a:pt x="1236" y="2211"/>
                  </a:lnTo>
                  <a:lnTo>
                    <a:pt x="1267" y="2192"/>
                  </a:lnTo>
                  <a:lnTo>
                    <a:pt x="1297" y="2174"/>
                  </a:lnTo>
                  <a:lnTo>
                    <a:pt x="1313" y="2167"/>
                  </a:lnTo>
                  <a:lnTo>
                    <a:pt x="1328" y="2160"/>
                  </a:lnTo>
                  <a:lnTo>
                    <a:pt x="1344" y="2154"/>
                  </a:lnTo>
                  <a:lnTo>
                    <a:pt x="1361" y="2148"/>
                  </a:lnTo>
                  <a:lnTo>
                    <a:pt x="1378" y="2144"/>
                  </a:lnTo>
                  <a:lnTo>
                    <a:pt x="1396" y="2141"/>
                  </a:lnTo>
                  <a:lnTo>
                    <a:pt x="1416" y="2140"/>
                  </a:lnTo>
                  <a:lnTo>
                    <a:pt x="1436" y="2139"/>
                  </a:lnTo>
                  <a:lnTo>
                    <a:pt x="1446" y="2139"/>
                  </a:lnTo>
                  <a:lnTo>
                    <a:pt x="1454" y="2140"/>
                  </a:lnTo>
                  <a:lnTo>
                    <a:pt x="1462" y="2142"/>
                  </a:lnTo>
                  <a:lnTo>
                    <a:pt x="1470" y="2144"/>
                  </a:lnTo>
                  <a:lnTo>
                    <a:pt x="1485" y="2150"/>
                  </a:lnTo>
                  <a:lnTo>
                    <a:pt x="1498" y="2159"/>
                  </a:lnTo>
                  <a:lnTo>
                    <a:pt x="1512" y="2167"/>
                  </a:lnTo>
                  <a:lnTo>
                    <a:pt x="1526" y="2175"/>
                  </a:lnTo>
                  <a:lnTo>
                    <a:pt x="1542" y="2183"/>
                  </a:lnTo>
                  <a:lnTo>
                    <a:pt x="1558" y="2191"/>
                  </a:lnTo>
                  <a:lnTo>
                    <a:pt x="1579" y="2198"/>
                  </a:lnTo>
                  <a:lnTo>
                    <a:pt x="1596" y="2203"/>
                  </a:lnTo>
                  <a:lnTo>
                    <a:pt x="1614" y="2206"/>
                  </a:lnTo>
                  <a:lnTo>
                    <a:pt x="1631" y="2209"/>
                  </a:lnTo>
                  <a:lnTo>
                    <a:pt x="1649" y="2210"/>
                  </a:lnTo>
                  <a:lnTo>
                    <a:pt x="1667" y="2211"/>
                  </a:lnTo>
                  <a:lnTo>
                    <a:pt x="1686" y="2212"/>
                  </a:lnTo>
                  <a:lnTo>
                    <a:pt x="1707" y="2212"/>
                  </a:lnTo>
                  <a:lnTo>
                    <a:pt x="1719" y="2212"/>
                  </a:lnTo>
                  <a:lnTo>
                    <a:pt x="1731" y="2211"/>
                  </a:lnTo>
                  <a:lnTo>
                    <a:pt x="1743" y="2209"/>
                  </a:lnTo>
                  <a:lnTo>
                    <a:pt x="1754" y="2206"/>
                  </a:lnTo>
                  <a:lnTo>
                    <a:pt x="1759" y="2204"/>
                  </a:lnTo>
                  <a:lnTo>
                    <a:pt x="1763" y="2201"/>
                  </a:lnTo>
                  <a:lnTo>
                    <a:pt x="1767" y="2199"/>
                  </a:lnTo>
                  <a:lnTo>
                    <a:pt x="1770" y="2195"/>
                  </a:lnTo>
                  <a:lnTo>
                    <a:pt x="1774" y="2192"/>
                  </a:lnTo>
                  <a:lnTo>
                    <a:pt x="1776" y="2188"/>
                  </a:lnTo>
                  <a:lnTo>
                    <a:pt x="1778" y="2182"/>
                  </a:lnTo>
                  <a:lnTo>
                    <a:pt x="1778" y="2177"/>
                  </a:lnTo>
                  <a:lnTo>
                    <a:pt x="1777" y="2162"/>
                  </a:lnTo>
                  <a:lnTo>
                    <a:pt x="1776" y="2147"/>
                  </a:lnTo>
                  <a:lnTo>
                    <a:pt x="1773" y="2133"/>
                  </a:lnTo>
                  <a:lnTo>
                    <a:pt x="1768" y="2121"/>
                  </a:lnTo>
                  <a:lnTo>
                    <a:pt x="1759" y="2096"/>
                  </a:lnTo>
                  <a:lnTo>
                    <a:pt x="1748" y="2072"/>
                  </a:lnTo>
                  <a:lnTo>
                    <a:pt x="1737" y="2048"/>
                  </a:lnTo>
                  <a:lnTo>
                    <a:pt x="1728" y="2023"/>
                  </a:lnTo>
                  <a:lnTo>
                    <a:pt x="1724" y="2010"/>
                  </a:lnTo>
                  <a:lnTo>
                    <a:pt x="1721" y="1997"/>
                  </a:lnTo>
                  <a:lnTo>
                    <a:pt x="1719" y="1982"/>
                  </a:lnTo>
                  <a:lnTo>
                    <a:pt x="1719" y="1967"/>
                  </a:lnTo>
                  <a:lnTo>
                    <a:pt x="1719" y="1959"/>
                  </a:lnTo>
                  <a:lnTo>
                    <a:pt x="1720" y="1952"/>
                  </a:lnTo>
                  <a:lnTo>
                    <a:pt x="1722" y="1945"/>
                  </a:lnTo>
                  <a:lnTo>
                    <a:pt x="1724" y="1939"/>
                  </a:lnTo>
                  <a:lnTo>
                    <a:pt x="1730" y="1927"/>
                  </a:lnTo>
                  <a:lnTo>
                    <a:pt x="1736" y="1916"/>
                  </a:lnTo>
                  <a:lnTo>
                    <a:pt x="1743" y="1905"/>
                  </a:lnTo>
                  <a:lnTo>
                    <a:pt x="1749" y="1893"/>
                  </a:lnTo>
                  <a:lnTo>
                    <a:pt x="1751" y="1886"/>
                  </a:lnTo>
                  <a:lnTo>
                    <a:pt x="1753" y="1880"/>
                  </a:lnTo>
                  <a:lnTo>
                    <a:pt x="1754" y="1873"/>
                  </a:lnTo>
                  <a:lnTo>
                    <a:pt x="1754" y="1865"/>
                  </a:lnTo>
                  <a:lnTo>
                    <a:pt x="1753" y="1845"/>
                  </a:lnTo>
                  <a:lnTo>
                    <a:pt x="1751" y="1826"/>
                  </a:lnTo>
                  <a:lnTo>
                    <a:pt x="1748" y="1809"/>
                  </a:lnTo>
                  <a:lnTo>
                    <a:pt x="1745" y="1792"/>
                  </a:lnTo>
                  <a:lnTo>
                    <a:pt x="1742" y="1776"/>
                  </a:lnTo>
                  <a:lnTo>
                    <a:pt x="1739" y="1758"/>
                  </a:lnTo>
                  <a:lnTo>
                    <a:pt x="1736" y="1739"/>
                  </a:lnTo>
                  <a:lnTo>
                    <a:pt x="1735" y="1719"/>
                  </a:lnTo>
                  <a:lnTo>
                    <a:pt x="1730" y="1717"/>
                  </a:lnTo>
                  <a:lnTo>
                    <a:pt x="1726" y="1714"/>
                  </a:lnTo>
                  <a:lnTo>
                    <a:pt x="1718" y="1715"/>
                  </a:lnTo>
                  <a:lnTo>
                    <a:pt x="1711" y="1717"/>
                  </a:lnTo>
                  <a:lnTo>
                    <a:pt x="1703" y="1720"/>
                  </a:lnTo>
                  <a:lnTo>
                    <a:pt x="1697" y="1722"/>
                  </a:lnTo>
                  <a:lnTo>
                    <a:pt x="1691" y="1725"/>
                  </a:lnTo>
                  <a:lnTo>
                    <a:pt x="1685" y="1728"/>
                  </a:lnTo>
                  <a:lnTo>
                    <a:pt x="1678" y="1730"/>
                  </a:lnTo>
                  <a:lnTo>
                    <a:pt x="1669" y="1730"/>
                  </a:lnTo>
                  <a:lnTo>
                    <a:pt x="1664" y="1730"/>
                  </a:lnTo>
                  <a:lnTo>
                    <a:pt x="1659" y="1729"/>
                  </a:lnTo>
                  <a:lnTo>
                    <a:pt x="1654" y="1728"/>
                  </a:lnTo>
                  <a:lnTo>
                    <a:pt x="1650" y="1726"/>
                  </a:lnTo>
                  <a:lnTo>
                    <a:pt x="1646" y="1723"/>
                  </a:lnTo>
                  <a:lnTo>
                    <a:pt x="1642" y="1720"/>
                  </a:lnTo>
                  <a:lnTo>
                    <a:pt x="1637" y="1716"/>
                  </a:lnTo>
                  <a:lnTo>
                    <a:pt x="1634" y="1713"/>
                  </a:lnTo>
                  <a:lnTo>
                    <a:pt x="1629" y="1703"/>
                  </a:lnTo>
                  <a:lnTo>
                    <a:pt x="1625" y="1693"/>
                  </a:lnTo>
                  <a:lnTo>
                    <a:pt x="1623" y="1683"/>
                  </a:lnTo>
                  <a:lnTo>
                    <a:pt x="1622" y="1671"/>
                  </a:lnTo>
                  <a:lnTo>
                    <a:pt x="1622" y="1668"/>
                  </a:lnTo>
                  <a:lnTo>
                    <a:pt x="1623" y="1665"/>
                  </a:lnTo>
                  <a:lnTo>
                    <a:pt x="1624" y="1662"/>
                  </a:lnTo>
                  <a:lnTo>
                    <a:pt x="1626" y="1659"/>
                  </a:lnTo>
                  <a:lnTo>
                    <a:pt x="1630" y="1655"/>
                  </a:lnTo>
                  <a:lnTo>
                    <a:pt x="1636" y="1652"/>
                  </a:lnTo>
                  <a:lnTo>
                    <a:pt x="1644" y="1650"/>
                  </a:lnTo>
                  <a:lnTo>
                    <a:pt x="1651" y="1648"/>
                  </a:lnTo>
                  <a:lnTo>
                    <a:pt x="1659" y="1647"/>
                  </a:lnTo>
                  <a:lnTo>
                    <a:pt x="1668" y="1645"/>
                  </a:lnTo>
                  <a:lnTo>
                    <a:pt x="1677" y="1644"/>
                  </a:lnTo>
                  <a:lnTo>
                    <a:pt x="1685" y="1643"/>
                  </a:lnTo>
                  <a:lnTo>
                    <a:pt x="1693" y="1641"/>
                  </a:lnTo>
                  <a:lnTo>
                    <a:pt x="1699" y="1639"/>
                  </a:lnTo>
                  <a:lnTo>
                    <a:pt x="1706" y="1636"/>
                  </a:lnTo>
                  <a:lnTo>
                    <a:pt x="1710" y="1632"/>
                  </a:lnTo>
                  <a:lnTo>
                    <a:pt x="1712" y="1630"/>
                  </a:lnTo>
                  <a:lnTo>
                    <a:pt x="1713" y="1627"/>
                  </a:lnTo>
                  <a:lnTo>
                    <a:pt x="1714" y="1624"/>
                  </a:lnTo>
                  <a:lnTo>
                    <a:pt x="1714" y="1620"/>
                  </a:lnTo>
                  <a:lnTo>
                    <a:pt x="1713" y="1612"/>
                  </a:lnTo>
                  <a:lnTo>
                    <a:pt x="1711" y="1607"/>
                  </a:lnTo>
                  <a:lnTo>
                    <a:pt x="1707" y="1602"/>
                  </a:lnTo>
                  <a:lnTo>
                    <a:pt x="1702" y="1598"/>
                  </a:lnTo>
                  <a:lnTo>
                    <a:pt x="1691" y="1590"/>
                  </a:lnTo>
                  <a:lnTo>
                    <a:pt x="1681" y="1579"/>
                  </a:lnTo>
                  <a:lnTo>
                    <a:pt x="1661" y="1553"/>
                  </a:lnTo>
                  <a:lnTo>
                    <a:pt x="1645" y="1529"/>
                  </a:lnTo>
                  <a:lnTo>
                    <a:pt x="1637" y="1516"/>
                  </a:lnTo>
                  <a:lnTo>
                    <a:pt x="1631" y="1502"/>
                  </a:lnTo>
                  <a:lnTo>
                    <a:pt x="1626" y="1487"/>
                  </a:lnTo>
                  <a:lnTo>
                    <a:pt x="1622" y="1471"/>
                  </a:lnTo>
                  <a:lnTo>
                    <a:pt x="1662" y="1355"/>
                  </a:lnTo>
                  <a:lnTo>
                    <a:pt x="1671" y="1353"/>
                  </a:lnTo>
                  <a:lnTo>
                    <a:pt x="1682" y="1388"/>
                  </a:lnTo>
                  <a:lnTo>
                    <a:pt x="1693" y="1420"/>
                  </a:lnTo>
                  <a:lnTo>
                    <a:pt x="1697" y="1428"/>
                  </a:lnTo>
                  <a:lnTo>
                    <a:pt x="1701" y="1435"/>
                  </a:lnTo>
                  <a:lnTo>
                    <a:pt x="1706" y="1440"/>
                  </a:lnTo>
                  <a:lnTo>
                    <a:pt x="1712" y="1445"/>
                  </a:lnTo>
                  <a:lnTo>
                    <a:pt x="1717" y="1449"/>
                  </a:lnTo>
                  <a:lnTo>
                    <a:pt x="1724" y="1452"/>
                  </a:lnTo>
                  <a:lnTo>
                    <a:pt x="1731" y="1453"/>
                  </a:lnTo>
                  <a:lnTo>
                    <a:pt x="1740" y="1454"/>
                  </a:lnTo>
                  <a:lnTo>
                    <a:pt x="1746" y="1454"/>
                  </a:lnTo>
                  <a:lnTo>
                    <a:pt x="1751" y="1453"/>
                  </a:lnTo>
                  <a:lnTo>
                    <a:pt x="1756" y="1451"/>
                  </a:lnTo>
                  <a:lnTo>
                    <a:pt x="1761" y="1449"/>
                  </a:lnTo>
                  <a:lnTo>
                    <a:pt x="1770" y="1444"/>
                  </a:lnTo>
                  <a:lnTo>
                    <a:pt x="1778" y="1438"/>
                  </a:lnTo>
                  <a:lnTo>
                    <a:pt x="1785" y="1430"/>
                  </a:lnTo>
                  <a:lnTo>
                    <a:pt x="1792" y="1420"/>
                  </a:lnTo>
                  <a:lnTo>
                    <a:pt x="1797" y="1410"/>
                  </a:lnTo>
                  <a:lnTo>
                    <a:pt x="1803" y="1400"/>
                  </a:lnTo>
                  <a:lnTo>
                    <a:pt x="1810" y="1390"/>
                  </a:lnTo>
                  <a:lnTo>
                    <a:pt x="1816" y="1380"/>
                  </a:lnTo>
                  <a:lnTo>
                    <a:pt x="1822" y="1371"/>
                  </a:lnTo>
                  <a:lnTo>
                    <a:pt x="1829" y="1363"/>
                  </a:lnTo>
                  <a:lnTo>
                    <a:pt x="1838" y="1356"/>
                  </a:lnTo>
                  <a:lnTo>
                    <a:pt x="1846" y="1350"/>
                  </a:lnTo>
                  <a:lnTo>
                    <a:pt x="1851" y="1348"/>
                  </a:lnTo>
                  <a:lnTo>
                    <a:pt x="1856" y="1347"/>
                  </a:lnTo>
                  <a:lnTo>
                    <a:pt x="1861" y="1346"/>
                  </a:lnTo>
                  <a:lnTo>
                    <a:pt x="1867" y="1346"/>
                  </a:lnTo>
                  <a:lnTo>
                    <a:pt x="1881" y="1346"/>
                  </a:lnTo>
                  <a:lnTo>
                    <a:pt x="1892" y="1348"/>
                  </a:lnTo>
                  <a:lnTo>
                    <a:pt x="1904" y="1350"/>
                  </a:lnTo>
                  <a:lnTo>
                    <a:pt x="1915" y="1353"/>
                  </a:lnTo>
                  <a:lnTo>
                    <a:pt x="1925" y="1355"/>
                  </a:lnTo>
                  <a:lnTo>
                    <a:pt x="1937" y="1357"/>
                  </a:lnTo>
                  <a:lnTo>
                    <a:pt x="1949" y="1359"/>
                  </a:lnTo>
                  <a:lnTo>
                    <a:pt x="1961" y="1360"/>
                  </a:lnTo>
                  <a:lnTo>
                    <a:pt x="1984" y="1359"/>
                  </a:lnTo>
                  <a:lnTo>
                    <a:pt x="2005" y="1356"/>
                  </a:lnTo>
                  <a:lnTo>
                    <a:pt x="2023" y="1353"/>
                  </a:lnTo>
                  <a:lnTo>
                    <a:pt x="2042" y="1349"/>
                  </a:lnTo>
                  <a:lnTo>
                    <a:pt x="2060" y="1345"/>
                  </a:lnTo>
                  <a:lnTo>
                    <a:pt x="2079" y="1342"/>
                  </a:lnTo>
                  <a:lnTo>
                    <a:pt x="2099" y="1340"/>
                  </a:lnTo>
                  <a:lnTo>
                    <a:pt x="2122" y="1339"/>
                  </a:lnTo>
                  <a:lnTo>
                    <a:pt x="2131" y="1340"/>
                  </a:lnTo>
                  <a:lnTo>
                    <a:pt x="2140" y="1342"/>
                  </a:lnTo>
                  <a:lnTo>
                    <a:pt x="2147" y="1346"/>
                  </a:lnTo>
                  <a:lnTo>
                    <a:pt x="2154" y="1350"/>
                  </a:lnTo>
                  <a:lnTo>
                    <a:pt x="2166" y="1362"/>
                  </a:lnTo>
                  <a:lnTo>
                    <a:pt x="2179" y="1375"/>
                  </a:lnTo>
                  <a:lnTo>
                    <a:pt x="2190" y="1388"/>
                  </a:lnTo>
                  <a:lnTo>
                    <a:pt x="2203" y="1401"/>
                  </a:lnTo>
                  <a:lnTo>
                    <a:pt x="2210" y="1405"/>
                  </a:lnTo>
                  <a:lnTo>
                    <a:pt x="2217" y="1409"/>
                  </a:lnTo>
                  <a:lnTo>
                    <a:pt x="2225" y="1411"/>
                  </a:lnTo>
                  <a:lnTo>
                    <a:pt x="2235" y="1412"/>
                  </a:lnTo>
                  <a:lnTo>
                    <a:pt x="2242" y="1411"/>
                  </a:lnTo>
                  <a:lnTo>
                    <a:pt x="2248" y="1409"/>
                  </a:lnTo>
                  <a:lnTo>
                    <a:pt x="2253" y="1405"/>
                  </a:lnTo>
                  <a:lnTo>
                    <a:pt x="2257" y="1401"/>
                  </a:lnTo>
                  <a:lnTo>
                    <a:pt x="2261" y="1397"/>
                  </a:lnTo>
                  <a:lnTo>
                    <a:pt x="2267" y="1391"/>
                  </a:lnTo>
                  <a:lnTo>
                    <a:pt x="2272" y="1387"/>
                  </a:lnTo>
                  <a:lnTo>
                    <a:pt x="2278" y="1383"/>
                  </a:lnTo>
                  <a:lnTo>
                    <a:pt x="2312" y="1365"/>
                  </a:lnTo>
                  <a:lnTo>
                    <a:pt x="2342" y="1347"/>
                  </a:lnTo>
                  <a:lnTo>
                    <a:pt x="2356" y="1340"/>
                  </a:lnTo>
                  <a:lnTo>
                    <a:pt x="2373" y="1335"/>
                  </a:lnTo>
                  <a:lnTo>
                    <a:pt x="2381" y="1333"/>
                  </a:lnTo>
                  <a:lnTo>
                    <a:pt x="2390" y="1331"/>
                  </a:lnTo>
                  <a:lnTo>
                    <a:pt x="2400" y="1329"/>
                  </a:lnTo>
                  <a:lnTo>
                    <a:pt x="2410" y="1329"/>
                  </a:lnTo>
                  <a:lnTo>
                    <a:pt x="2419" y="1329"/>
                  </a:lnTo>
                  <a:lnTo>
                    <a:pt x="2427" y="1332"/>
                  </a:lnTo>
                  <a:lnTo>
                    <a:pt x="2435" y="1334"/>
                  </a:lnTo>
                  <a:lnTo>
                    <a:pt x="2443" y="1337"/>
                  </a:lnTo>
                  <a:lnTo>
                    <a:pt x="2456" y="1345"/>
                  </a:lnTo>
                  <a:lnTo>
                    <a:pt x="2470" y="1354"/>
                  </a:lnTo>
                  <a:lnTo>
                    <a:pt x="2483" y="1364"/>
                  </a:lnTo>
                  <a:lnTo>
                    <a:pt x="2496" y="1371"/>
                  </a:lnTo>
                  <a:lnTo>
                    <a:pt x="2504" y="1374"/>
                  </a:lnTo>
                  <a:lnTo>
                    <a:pt x="2512" y="1377"/>
                  </a:lnTo>
                  <a:lnTo>
                    <a:pt x="2520" y="1378"/>
                  </a:lnTo>
                  <a:lnTo>
                    <a:pt x="2529" y="1379"/>
                  </a:lnTo>
                  <a:lnTo>
                    <a:pt x="2547" y="1378"/>
                  </a:lnTo>
                  <a:lnTo>
                    <a:pt x="2562" y="1376"/>
                  </a:lnTo>
                  <a:lnTo>
                    <a:pt x="2577" y="1373"/>
                  </a:lnTo>
                  <a:lnTo>
                    <a:pt x="2591" y="1370"/>
                  </a:lnTo>
                  <a:lnTo>
                    <a:pt x="2605" y="1366"/>
                  </a:lnTo>
                  <a:lnTo>
                    <a:pt x="2619" y="1363"/>
                  </a:lnTo>
                  <a:lnTo>
                    <a:pt x="2635" y="1360"/>
                  </a:lnTo>
                  <a:lnTo>
                    <a:pt x="2652" y="1360"/>
                  </a:lnTo>
                  <a:lnTo>
                    <a:pt x="2660" y="1360"/>
                  </a:lnTo>
                  <a:lnTo>
                    <a:pt x="2669" y="1363"/>
                  </a:lnTo>
                  <a:lnTo>
                    <a:pt x="2676" y="1365"/>
                  </a:lnTo>
                  <a:lnTo>
                    <a:pt x="2683" y="1369"/>
                  </a:lnTo>
                  <a:lnTo>
                    <a:pt x="2688" y="1373"/>
                  </a:lnTo>
                  <a:lnTo>
                    <a:pt x="2693" y="1378"/>
                  </a:lnTo>
                  <a:lnTo>
                    <a:pt x="2694" y="1381"/>
                  </a:lnTo>
                  <a:lnTo>
                    <a:pt x="2697" y="1385"/>
                  </a:lnTo>
                  <a:lnTo>
                    <a:pt x="2697" y="1388"/>
                  </a:lnTo>
                  <a:lnTo>
                    <a:pt x="2698" y="1392"/>
                  </a:lnTo>
                  <a:lnTo>
                    <a:pt x="2698" y="1478"/>
                  </a:lnTo>
                  <a:lnTo>
                    <a:pt x="2711" y="1479"/>
                  </a:lnTo>
                  <a:lnTo>
                    <a:pt x="2724" y="1478"/>
                  </a:lnTo>
                  <a:lnTo>
                    <a:pt x="2731" y="1478"/>
                  </a:lnTo>
                  <a:lnTo>
                    <a:pt x="2737" y="1479"/>
                  </a:lnTo>
                  <a:lnTo>
                    <a:pt x="2743" y="1481"/>
                  </a:lnTo>
                  <a:lnTo>
                    <a:pt x="2748" y="1483"/>
                  </a:lnTo>
                  <a:lnTo>
                    <a:pt x="2753" y="1485"/>
                  </a:lnTo>
                  <a:lnTo>
                    <a:pt x="2758" y="1489"/>
                  </a:lnTo>
                  <a:lnTo>
                    <a:pt x="2763" y="1493"/>
                  </a:lnTo>
                  <a:lnTo>
                    <a:pt x="2767" y="1497"/>
                  </a:lnTo>
                  <a:lnTo>
                    <a:pt x="2771" y="1501"/>
                  </a:lnTo>
                  <a:lnTo>
                    <a:pt x="2774" y="1505"/>
                  </a:lnTo>
                  <a:lnTo>
                    <a:pt x="2777" y="1510"/>
                  </a:lnTo>
                  <a:lnTo>
                    <a:pt x="2780" y="1516"/>
                  </a:lnTo>
                  <a:lnTo>
                    <a:pt x="2782" y="1522"/>
                  </a:lnTo>
                  <a:lnTo>
                    <a:pt x="2783" y="1528"/>
                  </a:lnTo>
                  <a:lnTo>
                    <a:pt x="2784" y="1533"/>
                  </a:lnTo>
                  <a:lnTo>
                    <a:pt x="2784" y="1539"/>
                  </a:lnTo>
                  <a:lnTo>
                    <a:pt x="2784" y="1557"/>
                  </a:lnTo>
                  <a:lnTo>
                    <a:pt x="2783" y="1572"/>
                  </a:lnTo>
                  <a:lnTo>
                    <a:pt x="2781" y="1587"/>
                  </a:lnTo>
                  <a:lnTo>
                    <a:pt x="2779" y="1601"/>
                  </a:lnTo>
                  <a:lnTo>
                    <a:pt x="2774" y="1629"/>
                  </a:lnTo>
                  <a:lnTo>
                    <a:pt x="2768" y="1662"/>
                  </a:lnTo>
                  <a:lnTo>
                    <a:pt x="2775" y="1665"/>
                  </a:lnTo>
                  <a:lnTo>
                    <a:pt x="2782" y="1667"/>
                  </a:lnTo>
                  <a:lnTo>
                    <a:pt x="2834" y="1655"/>
                  </a:lnTo>
                  <a:lnTo>
                    <a:pt x="2872" y="1654"/>
                  </a:lnTo>
                  <a:lnTo>
                    <a:pt x="2905" y="1652"/>
                  </a:lnTo>
                  <a:lnTo>
                    <a:pt x="2938" y="1651"/>
                  </a:lnTo>
                  <a:lnTo>
                    <a:pt x="2975" y="1651"/>
                  </a:lnTo>
                  <a:lnTo>
                    <a:pt x="3004" y="1651"/>
                  </a:lnTo>
                  <a:lnTo>
                    <a:pt x="3031" y="1653"/>
                  </a:lnTo>
                  <a:lnTo>
                    <a:pt x="3055" y="1655"/>
                  </a:lnTo>
                  <a:lnTo>
                    <a:pt x="3079" y="1658"/>
                  </a:lnTo>
                  <a:lnTo>
                    <a:pt x="3104" y="1662"/>
                  </a:lnTo>
                  <a:lnTo>
                    <a:pt x="3129" y="1665"/>
                  </a:lnTo>
                  <a:lnTo>
                    <a:pt x="3154" y="1668"/>
                  </a:lnTo>
                  <a:lnTo>
                    <a:pt x="3182" y="1671"/>
                  </a:lnTo>
                  <a:lnTo>
                    <a:pt x="3186" y="1645"/>
                  </a:lnTo>
                  <a:lnTo>
                    <a:pt x="3188" y="1622"/>
                  </a:lnTo>
                  <a:lnTo>
                    <a:pt x="3189" y="1611"/>
                  </a:lnTo>
                  <a:lnTo>
                    <a:pt x="3192" y="1599"/>
                  </a:lnTo>
                  <a:lnTo>
                    <a:pt x="3195" y="1588"/>
                  </a:lnTo>
                  <a:lnTo>
                    <a:pt x="3199" y="1575"/>
                  </a:lnTo>
                  <a:lnTo>
                    <a:pt x="3202" y="1569"/>
                  </a:lnTo>
                  <a:lnTo>
                    <a:pt x="3205" y="1564"/>
                  </a:lnTo>
                  <a:lnTo>
                    <a:pt x="3208" y="1559"/>
                  </a:lnTo>
                  <a:lnTo>
                    <a:pt x="3212" y="1555"/>
                  </a:lnTo>
                  <a:lnTo>
                    <a:pt x="3220" y="1546"/>
                  </a:lnTo>
                  <a:lnTo>
                    <a:pt x="3229" y="1539"/>
                  </a:lnTo>
                  <a:lnTo>
                    <a:pt x="3236" y="1532"/>
                  </a:lnTo>
                  <a:lnTo>
                    <a:pt x="3243" y="1523"/>
                  </a:lnTo>
                  <a:lnTo>
                    <a:pt x="3245" y="1518"/>
                  </a:lnTo>
                  <a:lnTo>
                    <a:pt x="3247" y="1513"/>
                  </a:lnTo>
                  <a:lnTo>
                    <a:pt x="3248" y="1508"/>
                  </a:lnTo>
                  <a:lnTo>
                    <a:pt x="3248" y="1502"/>
                  </a:lnTo>
                  <a:lnTo>
                    <a:pt x="3248" y="1497"/>
                  </a:lnTo>
                  <a:lnTo>
                    <a:pt x="3247" y="1493"/>
                  </a:lnTo>
                  <a:lnTo>
                    <a:pt x="3246" y="1489"/>
                  </a:lnTo>
                  <a:lnTo>
                    <a:pt x="3244" y="1484"/>
                  </a:lnTo>
                  <a:lnTo>
                    <a:pt x="3238" y="1478"/>
                  </a:lnTo>
                  <a:lnTo>
                    <a:pt x="3232" y="1472"/>
                  </a:lnTo>
                  <a:lnTo>
                    <a:pt x="3214" y="1463"/>
                  </a:lnTo>
                  <a:lnTo>
                    <a:pt x="3197" y="1452"/>
                  </a:lnTo>
                  <a:lnTo>
                    <a:pt x="3184" y="1443"/>
                  </a:lnTo>
                  <a:lnTo>
                    <a:pt x="3174" y="1434"/>
                  </a:lnTo>
                  <a:lnTo>
                    <a:pt x="3169" y="1430"/>
                  </a:lnTo>
                  <a:lnTo>
                    <a:pt x="3164" y="1426"/>
                  </a:lnTo>
                  <a:lnTo>
                    <a:pt x="3156" y="1422"/>
                  </a:lnTo>
                  <a:lnTo>
                    <a:pt x="3149" y="1419"/>
                  </a:lnTo>
                  <a:lnTo>
                    <a:pt x="3155" y="1409"/>
                  </a:lnTo>
                  <a:lnTo>
                    <a:pt x="3162" y="1401"/>
                  </a:lnTo>
                  <a:lnTo>
                    <a:pt x="3168" y="1394"/>
                  </a:lnTo>
                  <a:lnTo>
                    <a:pt x="3175" y="1386"/>
                  </a:lnTo>
                  <a:lnTo>
                    <a:pt x="3188" y="1372"/>
                  </a:lnTo>
                  <a:lnTo>
                    <a:pt x="3202" y="1355"/>
                  </a:lnTo>
                  <a:lnTo>
                    <a:pt x="3213" y="1339"/>
                  </a:lnTo>
                  <a:lnTo>
                    <a:pt x="3226" y="1324"/>
                  </a:lnTo>
                  <a:lnTo>
                    <a:pt x="3232" y="1319"/>
                  </a:lnTo>
                  <a:lnTo>
                    <a:pt x="3240" y="1314"/>
                  </a:lnTo>
                  <a:lnTo>
                    <a:pt x="3248" y="1312"/>
                  </a:lnTo>
                  <a:lnTo>
                    <a:pt x="3259" y="1311"/>
                  </a:lnTo>
                  <a:lnTo>
                    <a:pt x="3268" y="1311"/>
                  </a:lnTo>
                  <a:lnTo>
                    <a:pt x="3277" y="1314"/>
                  </a:lnTo>
                  <a:lnTo>
                    <a:pt x="3285" y="1317"/>
                  </a:lnTo>
                  <a:lnTo>
                    <a:pt x="3293" y="1321"/>
                  </a:lnTo>
                  <a:lnTo>
                    <a:pt x="3301" y="1325"/>
                  </a:lnTo>
                  <a:lnTo>
                    <a:pt x="3309" y="1328"/>
                  </a:lnTo>
                  <a:lnTo>
                    <a:pt x="3317" y="1331"/>
                  </a:lnTo>
                  <a:lnTo>
                    <a:pt x="3328" y="1332"/>
                  </a:lnTo>
                  <a:lnTo>
                    <a:pt x="3347" y="1331"/>
                  </a:lnTo>
                  <a:lnTo>
                    <a:pt x="3364" y="1327"/>
                  </a:lnTo>
                  <a:lnTo>
                    <a:pt x="3381" y="1323"/>
                  </a:lnTo>
                  <a:lnTo>
                    <a:pt x="3400" y="1322"/>
                  </a:lnTo>
                  <a:lnTo>
                    <a:pt x="3449" y="1322"/>
                  </a:lnTo>
                  <a:lnTo>
                    <a:pt x="3452" y="1286"/>
                  </a:lnTo>
                  <a:lnTo>
                    <a:pt x="3457" y="1253"/>
                  </a:lnTo>
                  <a:lnTo>
                    <a:pt x="3461" y="1221"/>
                  </a:lnTo>
                  <a:lnTo>
                    <a:pt x="3464" y="1191"/>
                  </a:lnTo>
                  <a:lnTo>
                    <a:pt x="3468" y="1161"/>
                  </a:lnTo>
                  <a:lnTo>
                    <a:pt x="3470" y="1130"/>
                  </a:lnTo>
                  <a:lnTo>
                    <a:pt x="3472" y="1097"/>
                  </a:lnTo>
                  <a:lnTo>
                    <a:pt x="3473" y="1060"/>
                  </a:lnTo>
                  <a:lnTo>
                    <a:pt x="3472" y="1056"/>
                  </a:lnTo>
                  <a:lnTo>
                    <a:pt x="3472" y="1053"/>
                  </a:lnTo>
                  <a:lnTo>
                    <a:pt x="3470" y="1050"/>
                  </a:lnTo>
                  <a:lnTo>
                    <a:pt x="3469" y="1048"/>
                  </a:lnTo>
                  <a:lnTo>
                    <a:pt x="3464" y="1042"/>
                  </a:lnTo>
                  <a:lnTo>
                    <a:pt x="3458" y="1039"/>
                  </a:lnTo>
                  <a:lnTo>
                    <a:pt x="3443" y="1033"/>
                  </a:lnTo>
                  <a:lnTo>
                    <a:pt x="3428" y="1027"/>
                  </a:lnTo>
                  <a:lnTo>
                    <a:pt x="3397" y="1014"/>
                  </a:lnTo>
                  <a:lnTo>
                    <a:pt x="3367" y="1000"/>
                  </a:lnTo>
                  <a:lnTo>
                    <a:pt x="3361" y="997"/>
                  </a:lnTo>
                  <a:lnTo>
                    <a:pt x="3354" y="992"/>
                  </a:lnTo>
                  <a:lnTo>
                    <a:pt x="3349" y="988"/>
                  </a:lnTo>
                  <a:lnTo>
                    <a:pt x="3344" y="983"/>
                  </a:lnTo>
                  <a:lnTo>
                    <a:pt x="3341" y="976"/>
                  </a:lnTo>
                  <a:lnTo>
                    <a:pt x="3338" y="970"/>
                  </a:lnTo>
                  <a:lnTo>
                    <a:pt x="3337" y="963"/>
                  </a:lnTo>
                  <a:lnTo>
                    <a:pt x="3336" y="955"/>
                  </a:lnTo>
                  <a:lnTo>
                    <a:pt x="3336" y="878"/>
                  </a:lnTo>
                  <a:lnTo>
                    <a:pt x="3331" y="869"/>
                  </a:lnTo>
                  <a:lnTo>
                    <a:pt x="3327" y="860"/>
                  </a:lnTo>
                  <a:lnTo>
                    <a:pt x="3328" y="850"/>
                  </a:lnTo>
                  <a:lnTo>
                    <a:pt x="3331" y="843"/>
                  </a:lnTo>
                  <a:lnTo>
                    <a:pt x="3335" y="836"/>
                  </a:lnTo>
                  <a:lnTo>
                    <a:pt x="3340" y="830"/>
                  </a:lnTo>
                  <a:lnTo>
                    <a:pt x="3347" y="825"/>
                  </a:lnTo>
                  <a:lnTo>
                    <a:pt x="3354" y="819"/>
                  </a:lnTo>
                  <a:lnTo>
                    <a:pt x="3362" y="814"/>
                  </a:lnTo>
                  <a:lnTo>
                    <a:pt x="3370" y="810"/>
                  </a:lnTo>
                  <a:lnTo>
                    <a:pt x="3378" y="806"/>
                  </a:lnTo>
                  <a:lnTo>
                    <a:pt x="3386" y="801"/>
                  </a:lnTo>
                  <a:lnTo>
                    <a:pt x="3394" y="796"/>
                  </a:lnTo>
                  <a:lnTo>
                    <a:pt x="3400" y="790"/>
                  </a:lnTo>
                  <a:lnTo>
                    <a:pt x="3406" y="784"/>
                  </a:lnTo>
                  <a:lnTo>
                    <a:pt x="3410" y="777"/>
                  </a:lnTo>
                  <a:lnTo>
                    <a:pt x="3413" y="770"/>
                  </a:lnTo>
                  <a:lnTo>
                    <a:pt x="3414" y="761"/>
                  </a:lnTo>
                  <a:lnTo>
                    <a:pt x="3413" y="754"/>
                  </a:lnTo>
                  <a:lnTo>
                    <a:pt x="3412" y="749"/>
                  </a:lnTo>
                  <a:lnTo>
                    <a:pt x="3410" y="745"/>
                  </a:lnTo>
                  <a:lnTo>
                    <a:pt x="3407" y="741"/>
                  </a:lnTo>
                  <a:lnTo>
                    <a:pt x="3401" y="734"/>
                  </a:lnTo>
                  <a:lnTo>
                    <a:pt x="3393" y="728"/>
                  </a:lnTo>
                  <a:lnTo>
                    <a:pt x="3382" y="722"/>
                  </a:lnTo>
                  <a:lnTo>
                    <a:pt x="3373" y="716"/>
                  </a:lnTo>
                  <a:lnTo>
                    <a:pt x="3364" y="710"/>
                  </a:lnTo>
                  <a:lnTo>
                    <a:pt x="3354" y="702"/>
                  </a:lnTo>
                  <a:lnTo>
                    <a:pt x="3343" y="688"/>
                  </a:lnTo>
                  <a:lnTo>
                    <a:pt x="3333" y="677"/>
                  </a:lnTo>
                  <a:lnTo>
                    <a:pt x="3323" y="667"/>
                  </a:lnTo>
                  <a:lnTo>
                    <a:pt x="3312" y="657"/>
                  </a:lnTo>
                  <a:lnTo>
                    <a:pt x="3290" y="639"/>
                  </a:lnTo>
                  <a:lnTo>
                    <a:pt x="3263" y="619"/>
                  </a:lnTo>
                  <a:lnTo>
                    <a:pt x="3236" y="624"/>
                  </a:lnTo>
                  <a:lnTo>
                    <a:pt x="3212" y="626"/>
                  </a:lnTo>
                  <a:lnTo>
                    <a:pt x="3201" y="627"/>
                  </a:lnTo>
                  <a:lnTo>
                    <a:pt x="3188" y="629"/>
                  </a:lnTo>
                  <a:lnTo>
                    <a:pt x="3175" y="631"/>
                  </a:lnTo>
                  <a:lnTo>
                    <a:pt x="3162" y="636"/>
                  </a:lnTo>
                  <a:lnTo>
                    <a:pt x="3152" y="639"/>
                  </a:lnTo>
                  <a:lnTo>
                    <a:pt x="3145" y="643"/>
                  </a:lnTo>
                  <a:lnTo>
                    <a:pt x="3137" y="647"/>
                  </a:lnTo>
                  <a:lnTo>
                    <a:pt x="3130" y="651"/>
                  </a:lnTo>
                  <a:lnTo>
                    <a:pt x="3123" y="655"/>
                  </a:lnTo>
                  <a:lnTo>
                    <a:pt x="3115" y="658"/>
                  </a:lnTo>
                  <a:lnTo>
                    <a:pt x="3107" y="660"/>
                  </a:lnTo>
                  <a:lnTo>
                    <a:pt x="3098" y="661"/>
                  </a:lnTo>
                  <a:lnTo>
                    <a:pt x="3090" y="660"/>
                  </a:lnTo>
                  <a:lnTo>
                    <a:pt x="3083" y="657"/>
                  </a:lnTo>
                  <a:lnTo>
                    <a:pt x="3077" y="653"/>
                  </a:lnTo>
                  <a:lnTo>
                    <a:pt x="3072" y="648"/>
                  </a:lnTo>
                  <a:lnTo>
                    <a:pt x="3067" y="644"/>
                  </a:lnTo>
                  <a:lnTo>
                    <a:pt x="3061" y="640"/>
                  </a:lnTo>
                  <a:lnTo>
                    <a:pt x="3053" y="637"/>
                  </a:lnTo>
                  <a:lnTo>
                    <a:pt x="3046" y="636"/>
                  </a:lnTo>
                  <a:lnTo>
                    <a:pt x="3041" y="636"/>
                  </a:lnTo>
                  <a:lnTo>
                    <a:pt x="3036" y="637"/>
                  </a:lnTo>
                  <a:lnTo>
                    <a:pt x="3032" y="638"/>
                  </a:lnTo>
                  <a:lnTo>
                    <a:pt x="3028" y="640"/>
                  </a:lnTo>
                  <a:lnTo>
                    <a:pt x="3020" y="645"/>
                  </a:lnTo>
                  <a:lnTo>
                    <a:pt x="3014" y="652"/>
                  </a:lnTo>
                  <a:lnTo>
                    <a:pt x="3003" y="668"/>
                  </a:lnTo>
                  <a:lnTo>
                    <a:pt x="2989" y="685"/>
                  </a:lnTo>
                  <a:lnTo>
                    <a:pt x="2976" y="701"/>
                  </a:lnTo>
                  <a:lnTo>
                    <a:pt x="2965" y="716"/>
                  </a:lnTo>
                  <a:lnTo>
                    <a:pt x="2955" y="732"/>
                  </a:lnTo>
                  <a:lnTo>
                    <a:pt x="2947" y="751"/>
                  </a:lnTo>
                  <a:lnTo>
                    <a:pt x="2938" y="741"/>
                  </a:lnTo>
                  <a:lnTo>
                    <a:pt x="2929" y="731"/>
                  </a:lnTo>
                  <a:lnTo>
                    <a:pt x="2921" y="721"/>
                  </a:lnTo>
                  <a:lnTo>
                    <a:pt x="2914" y="712"/>
                  </a:lnTo>
                  <a:lnTo>
                    <a:pt x="2903" y="692"/>
                  </a:lnTo>
                  <a:lnTo>
                    <a:pt x="2891" y="673"/>
                  </a:lnTo>
                  <a:lnTo>
                    <a:pt x="2881" y="653"/>
                  </a:lnTo>
                  <a:lnTo>
                    <a:pt x="2871" y="632"/>
                  </a:lnTo>
                  <a:lnTo>
                    <a:pt x="2858" y="612"/>
                  </a:lnTo>
                  <a:lnTo>
                    <a:pt x="2843" y="590"/>
                  </a:lnTo>
                  <a:lnTo>
                    <a:pt x="2838" y="584"/>
                  </a:lnTo>
                  <a:lnTo>
                    <a:pt x="2833" y="578"/>
                  </a:lnTo>
                  <a:lnTo>
                    <a:pt x="2826" y="573"/>
                  </a:lnTo>
                  <a:lnTo>
                    <a:pt x="2820" y="568"/>
                  </a:lnTo>
                  <a:lnTo>
                    <a:pt x="2807" y="559"/>
                  </a:lnTo>
                  <a:lnTo>
                    <a:pt x="2795" y="550"/>
                  </a:lnTo>
                  <a:lnTo>
                    <a:pt x="2788" y="546"/>
                  </a:lnTo>
                  <a:lnTo>
                    <a:pt x="2783" y="542"/>
                  </a:lnTo>
                  <a:lnTo>
                    <a:pt x="2778" y="536"/>
                  </a:lnTo>
                  <a:lnTo>
                    <a:pt x="2774" y="531"/>
                  </a:lnTo>
                  <a:lnTo>
                    <a:pt x="2771" y="525"/>
                  </a:lnTo>
                  <a:lnTo>
                    <a:pt x="2768" y="519"/>
                  </a:lnTo>
                  <a:lnTo>
                    <a:pt x="2766" y="512"/>
                  </a:lnTo>
                  <a:lnTo>
                    <a:pt x="2766" y="503"/>
                  </a:lnTo>
                  <a:lnTo>
                    <a:pt x="2767" y="492"/>
                  </a:lnTo>
                  <a:lnTo>
                    <a:pt x="2770" y="482"/>
                  </a:lnTo>
                  <a:lnTo>
                    <a:pt x="2774" y="472"/>
                  </a:lnTo>
                  <a:lnTo>
                    <a:pt x="2775" y="461"/>
                  </a:lnTo>
                  <a:lnTo>
                    <a:pt x="2775" y="455"/>
                  </a:lnTo>
                  <a:lnTo>
                    <a:pt x="2774" y="449"/>
                  </a:lnTo>
                  <a:lnTo>
                    <a:pt x="2772" y="443"/>
                  </a:lnTo>
                  <a:lnTo>
                    <a:pt x="2769" y="438"/>
                  </a:lnTo>
                  <a:lnTo>
                    <a:pt x="2766" y="434"/>
                  </a:lnTo>
                  <a:lnTo>
                    <a:pt x="2763" y="430"/>
                  </a:lnTo>
                  <a:lnTo>
                    <a:pt x="2758" y="426"/>
                  </a:lnTo>
                  <a:lnTo>
                    <a:pt x="2754" y="423"/>
                  </a:lnTo>
                  <a:lnTo>
                    <a:pt x="2734" y="409"/>
                  </a:lnTo>
                  <a:lnTo>
                    <a:pt x="2711" y="397"/>
                  </a:lnTo>
                  <a:lnTo>
                    <a:pt x="2697" y="388"/>
                  </a:lnTo>
                  <a:lnTo>
                    <a:pt x="2683" y="378"/>
                  </a:lnTo>
                  <a:lnTo>
                    <a:pt x="2671" y="368"/>
                  </a:lnTo>
                  <a:lnTo>
                    <a:pt x="2660" y="358"/>
                  </a:lnTo>
                  <a:lnTo>
                    <a:pt x="2650" y="347"/>
                  </a:lnTo>
                  <a:lnTo>
                    <a:pt x="2642" y="335"/>
                  </a:lnTo>
                  <a:lnTo>
                    <a:pt x="2634" y="321"/>
                  </a:lnTo>
                  <a:lnTo>
                    <a:pt x="2626" y="305"/>
                  </a:lnTo>
                  <a:lnTo>
                    <a:pt x="2622" y="294"/>
                  </a:lnTo>
                  <a:lnTo>
                    <a:pt x="2620" y="281"/>
                  </a:lnTo>
                  <a:lnTo>
                    <a:pt x="2618" y="270"/>
                  </a:lnTo>
                  <a:lnTo>
                    <a:pt x="2616" y="260"/>
                  </a:lnTo>
                  <a:lnTo>
                    <a:pt x="2614" y="249"/>
                  </a:lnTo>
                  <a:lnTo>
                    <a:pt x="2610" y="240"/>
                  </a:lnTo>
                  <a:lnTo>
                    <a:pt x="2607" y="236"/>
                  </a:lnTo>
                  <a:lnTo>
                    <a:pt x="2603" y="233"/>
                  </a:lnTo>
                  <a:lnTo>
                    <a:pt x="2599" y="230"/>
                  </a:lnTo>
                  <a:lnTo>
                    <a:pt x="2593" y="227"/>
                  </a:lnTo>
                  <a:lnTo>
                    <a:pt x="2579" y="221"/>
                  </a:lnTo>
                  <a:lnTo>
                    <a:pt x="2565" y="216"/>
                  </a:lnTo>
                  <a:lnTo>
                    <a:pt x="2551" y="213"/>
                  </a:lnTo>
                  <a:lnTo>
                    <a:pt x="2538" y="211"/>
                  </a:lnTo>
                  <a:lnTo>
                    <a:pt x="2511" y="208"/>
                  </a:lnTo>
                  <a:lnTo>
                    <a:pt x="2480" y="208"/>
                  </a:lnTo>
                  <a:lnTo>
                    <a:pt x="2477" y="208"/>
                  </a:lnTo>
                  <a:lnTo>
                    <a:pt x="2473" y="209"/>
                  </a:lnTo>
                  <a:lnTo>
                    <a:pt x="2471" y="210"/>
                  </a:lnTo>
                  <a:lnTo>
                    <a:pt x="2468" y="212"/>
                  </a:lnTo>
                  <a:lnTo>
                    <a:pt x="2463" y="216"/>
                  </a:lnTo>
                  <a:lnTo>
                    <a:pt x="2459" y="223"/>
                  </a:lnTo>
                  <a:lnTo>
                    <a:pt x="2455" y="236"/>
                  </a:lnTo>
                  <a:lnTo>
                    <a:pt x="2452" y="252"/>
                  </a:lnTo>
                  <a:lnTo>
                    <a:pt x="2449" y="269"/>
                  </a:lnTo>
                  <a:lnTo>
                    <a:pt x="2444" y="283"/>
                  </a:lnTo>
                  <a:lnTo>
                    <a:pt x="2441" y="290"/>
                  </a:lnTo>
                  <a:lnTo>
                    <a:pt x="2437" y="294"/>
                  </a:lnTo>
                  <a:lnTo>
                    <a:pt x="2434" y="296"/>
                  </a:lnTo>
                  <a:lnTo>
                    <a:pt x="2430" y="297"/>
                  </a:lnTo>
                  <a:lnTo>
                    <a:pt x="2427" y="298"/>
                  </a:lnTo>
                  <a:lnTo>
                    <a:pt x="2423" y="298"/>
                  </a:lnTo>
                  <a:lnTo>
                    <a:pt x="2418" y="297"/>
                  </a:lnTo>
                  <a:lnTo>
                    <a:pt x="2413" y="296"/>
                  </a:lnTo>
                  <a:lnTo>
                    <a:pt x="2409" y="295"/>
                  </a:lnTo>
                  <a:lnTo>
                    <a:pt x="2405" y="293"/>
                  </a:lnTo>
                  <a:lnTo>
                    <a:pt x="2397" y="287"/>
                  </a:lnTo>
                  <a:lnTo>
                    <a:pt x="2391" y="279"/>
                  </a:lnTo>
                  <a:lnTo>
                    <a:pt x="2380" y="262"/>
                  </a:lnTo>
                  <a:lnTo>
                    <a:pt x="2368" y="243"/>
                  </a:lnTo>
                  <a:lnTo>
                    <a:pt x="2358" y="235"/>
                  </a:lnTo>
                  <a:lnTo>
                    <a:pt x="2350" y="229"/>
                  </a:lnTo>
                  <a:lnTo>
                    <a:pt x="2340" y="225"/>
                  </a:lnTo>
                  <a:lnTo>
                    <a:pt x="2330" y="223"/>
                  </a:lnTo>
                  <a:lnTo>
                    <a:pt x="2309" y="219"/>
                  </a:lnTo>
                  <a:lnTo>
                    <a:pt x="2284" y="217"/>
                  </a:lnTo>
                  <a:lnTo>
                    <a:pt x="2262" y="215"/>
                  </a:lnTo>
                  <a:lnTo>
                    <a:pt x="2241" y="212"/>
                  </a:lnTo>
                  <a:lnTo>
                    <a:pt x="2222" y="210"/>
                  </a:lnTo>
                  <a:lnTo>
                    <a:pt x="2203" y="207"/>
                  </a:lnTo>
                  <a:lnTo>
                    <a:pt x="2184" y="205"/>
                  </a:lnTo>
                  <a:lnTo>
                    <a:pt x="2165" y="202"/>
                  </a:lnTo>
                  <a:lnTo>
                    <a:pt x="2145" y="200"/>
                  </a:lnTo>
                  <a:lnTo>
                    <a:pt x="2122" y="197"/>
                  </a:lnTo>
                  <a:lnTo>
                    <a:pt x="2105" y="194"/>
                  </a:lnTo>
                  <a:lnTo>
                    <a:pt x="2088" y="190"/>
                  </a:lnTo>
                  <a:lnTo>
                    <a:pt x="2073" y="186"/>
                  </a:lnTo>
                  <a:lnTo>
                    <a:pt x="2058" y="181"/>
                  </a:lnTo>
                  <a:lnTo>
                    <a:pt x="2044" y="176"/>
                  </a:lnTo>
                  <a:lnTo>
                    <a:pt x="2030" y="171"/>
                  </a:lnTo>
                  <a:lnTo>
                    <a:pt x="2017" y="165"/>
                  </a:lnTo>
                  <a:lnTo>
                    <a:pt x="2005" y="157"/>
                  </a:lnTo>
                  <a:lnTo>
                    <a:pt x="1991" y="150"/>
                  </a:lnTo>
                  <a:lnTo>
                    <a:pt x="1980" y="142"/>
                  </a:lnTo>
                  <a:lnTo>
                    <a:pt x="1967" y="134"/>
                  </a:lnTo>
                  <a:lnTo>
                    <a:pt x="1955" y="124"/>
                  </a:lnTo>
                  <a:lnTo>
                    <a:pt x="1930" y="104"/>
                  </a:lnTo>
                  <a:lnTo>
                    <a:pt x="1905" y="81"/>
                  </a:lnTo>
                  <a:lnTo>
                    <a:pt x="1883" y="62"/>
                  </a:lnTo>
                  <a:lnTo>
                    <a:pt x="1862" y="46"/>
                  </a:lnTo>
                  <a:lnTo>
                    <a:pt x="1853" y="37"/>
                  </a:lnTo>
                  <a:lnTo>
                    <a:pt x="1846" y="26"/>
                  </a:lnTo>
                  <a:lnTo>
                    <a:pt x="1843" y="20"/>
                  </a:lnTo>
                  <a:lnTo>
                    <a:pt x="1841" y="14"/>
                  </a:lnTo>
                  <a:lnTo>
                    <a:pt x="1839" y="8"/>
                  </a:lnTo>
                  <a:lnTo>
                    <a:pt x="1836" y="0"/>
                  </a:lnTo>
                  <a:lnTo>
                    <a:pt x="1824" y="7"/>
                  </a:lnTo>
                  <a:lnTo>
                    <a:pt x="1813" y="12"/>
                  </a:lnTo>
                  <a:lnTo>
                    <a:pt x="1801" y="16"/>
                  </a:lnTo>
                  <a:lnTo>
                    <a:pt x="1791" y="20"/>
                  </a:lnTo>
                  <a:lnTo>
                    <a:pt x="1780" y="22"/>
                  </a:lnTo>
                  <a:lnTo>
                    <a:pt x="1768" y="24"/>
                  </a:lnTo>
                  <a:lnTo>
                    <a:pt x="1755" y="26"/>
                  </a:lnTo>
                  <a:lnTo>
                    <a:pt x="1742" y="26"/>
                  </a:lnTo>
                  <a:lnTo>
                    <a:pt x="1723" y="24"/>
                  </a:lnTo>
                  <a:lnTo>
                    <a:pt x="1686" y="28"/>
                  </a:lnTo>
                  <a:lnTo>
                    <a:pt x="1654" y="32"/>
                  </a:lnTo>
                  <a:lnTo>
                    <a:pt x="1637" y="35"/>
                  </a:lnTo>
                  <a:lnTo>
                    <a:pt x="1621" y="37"/>
                  </a:lnTo>
                  <a:lnTo>
                    <a:pt x="1603" y="38"/>
                  </a:lnTo>
                  <a:lnTo>
                    <a:pt x="1583" y="38"/>
                  </a:lnTo>
                  <a:lnTo>
                    <a:pt x="1574" y="38"/>
                  </a:lnTo>
                  <a:lnTo>
                    <a:pt x="1565" y="35"/>
                  </a:lnTo>
                  <a:lnTo>
                    <a:pt x="1557" y="31"/>
                  </a:lnTo>
                  <a:lnTo>
                    <a:pt x="1550" y="27"/>
                  </a:lnTo>
                  <a:lnTo>
                    <a:pt x="1542" y="23"/>
                  </a:lnTo>
                  <a:lnTo>
                    <a:pt x="1534" y="20"/>
                  </a:lnTo>
                  <a:lnTo>
                    <a:pt x="1526" y="18"/>
                  </a:lnTo>
                  <a:lnTo>
                    <a:pt x="1516" y="17"/>
                  </a:lnTo>
                  <a:lnTo>
                    <a:pt x="1506" y="17"/>
                  </a:lnTo>
                  <a:lnTo>
                    <a:pt x="1498" y="19"/>
                  </a:lnTo>
                  <a:lnTo>
                    <a:pt x="1491" y="21"/>
                  </a:lnTo>
                  <a:lnTo>
                    <a:pt x="1484" y="23"/>
                  </a:lnTo>
                  <a:lnTo>
                    <a:pt x="1477" y="27"/>
                  </a:lnTo>
                  <a:lnTo>
                    <a:pt x="1470" y="31"/>
                  </a:lnTo>
                  <a:lnTo>
                    <a:pt x="1464" y="36"/>
                  </a:lnTo>
                  <a:lnTo>
                    <a:pt x="1458" y="41"/>
                  </a:lnTo>
                  <a:lnTo>
                    <a:pt x="1434" y="63"/>
                  </a:lnTo>
                  <a:lnTo>
                    <a:pt x="1407" y="87"/>
                  </a:lnTo>
                  <a:lnTo>
                    <a:pt x="1382" y="107"/>
                  </a:lnTo>
                  <a:lnTo>
                    <a:pt x="1359" y="124"/>
                  </a:lnTo>
                  <a:lnTo>
                    <a:pt x="1335" y="142"/>
                  </a:lnTo>
                  <a:lnTo>
                    <a:pt x="1308" y="161"/>
                  </a:lnTo>
                  <a:lnTo>
                    <a:pt x="1274" y="182"/>
                  </a:lnTo>
                  <a:lnTo>
                    <a:pt x="1244" y="200"/>
                  </a:lnTo>
                  <a:lnTo>
                    <a:pt x="1228" y="209"/>
                  </a:lnTo>
                  <a:lnTo>
                    <a:pt x="1213" y="218"/>
                  </a:lnTo>
                  <a:lnTo>
                    <a:pt x="1196" y="229"/>
                  </a:lnTo>
                  <a:lnTo>
                    <a:pt x="1179" y="241"/>
                  </a:lnTo>
                  <a:lnTo>
                    <a:pt x="1166" y="250"/>
                  </a:lnTo>
                  <a:lnTo>
                    <a:pt x="1155" y="260"/>
                  </a:lnTo>
                  <a:lnTo>
                    <a:pt x="1145" y="269"/>
                  </a:lnTo>
                  <a:lnTo>
                    <a:pt x="1134" y="278"/>
                  </a:lnTo>
                  <a:lnTo>
                    <a:pt x="1130" y="283"/>
                  </a:lnTo>
                  <a:lnTo>
                    <a:pt x="1127" y="289"/>
                  </a:lnTo>
                  <a:lnTo>
                    <a:pt x="1123" y="295"/>
                  </a:lnTo>
                  <a:lnTo>
                    <a:pt x="1121" y="301"/>
                  </a:lnTo>
                  <a:lnTo>
                    <a:pt x="1119" y="307"/>
                  </a:lnTo>
                  <a:lnTo>
                    <a:pt x="1117" y="314"/>
                  </a:lnTo>
                  <a:lnTo>
                    <a:pt x="1116" y="322"/>
                  </a:lnTo>
                  <a:lnTo>
                    <a:pt x="1116" y="329"/>
                  </a:lnTo>
                  <a:lnTo>
                    <a:pt x="1116" y="383"/>
                  </a:lnTo>
                  <a:lnTo>
                    <a:pt x="1116" y="392"/>
                  </a:lnTo>
                  <a:lnTo>
                    <a:pt x="1117" y="401"/>
                  </a:lnTo>
                  <a:lnTo>
                    <a:pt x="1120" y="409"/>
                  </a:lnTo>
                  <a:lnTo>
                    <a:pt x="1122" y="418"/>
                  </a:lnTo>
                  <a:lnTo>
                    <a:pt x="1129" y="433"/>
                  </a:lnTo>
                  <a:lnTo>
                    <a:pt x="1137" y="449"/>
                  </a:lnTo>
                  <a:lnTo>
                    <a:pt x="1146" y="463"/>
                  </a:lnTo>
                  <a:lnTo>
                    <a:pt x="1153" y="479"/>
                  </a:lnTo>
                  <a:lnTo>
                    <a:pt x="1156" y="487"/>
                  </a:lnTo>
                  <a:lnTo>
                    <a:pt x="1158" y="496"/>
                  </a:lnTo>
                  <a:lnTo>
                    <a:pt x="1160" y="505"/>
                  </a:lnTo>
                  <a:lnTo>
                    <a:pt x="1160" y="515"/>
                  </a:lnTo>
                  <a:lnTo>
                    <a:pt x="1159" y="526"/>
                  </a:lnTo>
                  <a:lnTo>
                    <a:pt x="1157" y="536"/>
                  </a:lnTo>
                  <a:lnTo>
                    <a:pt x="1152" y="546"/>
                  </a:lnTo>
                  <a:lnTo>
                    <a:pt x="1147" y="554"/>
                  </a:lnTo>
                  <a:lnTo>
                    <a:pt x="1139" y="561"/>
                  </a:lnTo>
                  <a:lnTo>
                    <a:pt x="1131" y="567"/>
                  </a:lnTo>
                  <a:lnTo>
                    <a:pt x="1122" y="573"/>
                  </a:lnTo>
                  <a:lnTo>
                    <a:pt x="1112" y="577"/>
                  </a:lnTo>
                  <a:lnTo>
                    <a:pt x="1100" y="581"/>
                  </a:lnTo>
                  <a:lnTo>
                    <a:pt x="1089" y="584"/>
                  </a:lnTo>
                  <a:lnTo>
                    <a:pt x="1076" y="586"/>
                  </a:lnTo>
                  <a:lnTo>
                    <a:pt x="1064" y="588"/>
                  </a:lnTo>
                  <a:lnTo>
                    <a:pt x="1038" y="590"/>
                  </a:lnTo>
                  <a:lnTo>
                    <a:pt x="1014" y="590"/>
                  </a:lnTo>
                  <a:lnTo>
                    <a:pt x="998" y="590"/>
                  </a:lnTo>
                  <a:lnTo>
                    <a:pt x="983" y="588"/>
                  </a:lnTo>
                  <a:lnTo>
                    <a:pt x="968" y="586"/>
                  </a:lnTo>
                  <a:lnTo>
                    <a:pt x="955" y="582"/>
                  </a:lnTo>
                  <a:lnTo>
                    <a:pt x="941" y="578"/>
                  </a:lnTo>
                  <a:lnTo>
                    <a:pt x="929" y="573"/>
                  </a:lnTo>
                  <a:lnTo>
                    <a:pt x="918" y="567"/>
                  </a:lnTo>
                  <a:lnTo>
                    <a:pt x="905" y="561"/>
                  </a:lnTo>
                  <a:lnTo>
                    <a:pt x="883" y="547"/>
                  </a:lnTo>
                  <a:lnTo>
                    <a:pt x="859" y="530"/>
                  </a:lnTo>
                  <a:lnTo>
                    <a:pt x="835" y="513"/>
                  </a:lnTo>
                  <a:lnTo>
                    <a:pt x="808" y="494"/>
                  </a:lnTo>
                  <a:lnTo>
                    <a:pt x="802" y="488"/>
                  </a:lnTo>
                  <a:lnTo>
                    <a:pt x="796" y="483"/>
                  </a:lnTo>
                  <a:lnTo>
                    <a:pt x="791" y="478"/>
                  </a:lnTo>
                  <a:lnTo>
                    <a:pt x="786" y="471"/>
                  </a:lnTo>
                  <a:lnTo>
                    <a:pt x="782" y="466"/>
                  </a:lnTo>
                  <a:lnTo>
                    <a:pt x="775" y="461"/>
                  </a:lnTo>
                  <a:lnTo>
                    <a:pt x="769" y="456"/>
                  </a:lnTo>
                  <a:lnTo>
                    <a:pt x="762" y="451"/>
                  </a:lnTo>
                  <a:lnTo>
                    <a:pt x="755" y="460"/>
                  </a:lnTo>
                  <a:lnTo>
                    <a:pt x="750" y="469"/>
                  </a:lnTo>
                  <a:lnTo>
                    <a:pt x="744" y="480"/>
                  </a:lnTo>
                  <a:lnTo>
                    <a:pt x="740" y="489"/>
                  </a:lnTo>
                  <a:lnTo>
                    <a:pt x="734" y="510"/>
                  </a:lnTo>
                  <a:lnTo>
                    <a:pt x="728" y="529"/>
                  </a:lnTo>
                  <a:lnTo>
                    <a:pt x="724" y="538"/>
                  </a:lnTo>
                  <a:lnTo>
                    <a:pt x="720" y="547"/>
                  </a:lnTo>
                  <a:lnTo>
                    <a:pt x="716" y="554"/>
                  </a:lnTo>
                  <a:lnTo>
                    <a:pt x="710" y="561"/>
                  </a:lnTo>
                  <a:lnTo>
                    <a:pt x="704" y="566"/>
                  </a:lnTo>
                  <a:lnTo>
                    <a:pt x="697" y="571"/>
                  </a:lnTo>
                  <a:lnTo>
                    <a:pt x="689" y="573"/>
                  </a:lnTo>
                  <a:lnTo>
                    <a:pt x="678" y="574"/>
                  </a:lnTo>
                  <a:lnTo>
                    <a:pt x="654" y="574"/>
                  </a:lnTo>
                  <a:lnTo>
                    <a:pt x="632" y="575"/>
                  </a:lnTo>
                  <a:lnTo>
                    <a:pt x="611" y="575"/>
                  </a:lnTo>
                  <a:lnTo>
                    <a:pt x="591" y="575"/>
                  </a:lnTo>
                  <a:lnTo>
                    <a:pt x="570" y="576"/>
                  </a:lnTo>
                  <a:lnTo>
                    <a:pt x="549" y="576"/>
                  </a:lnTo>
                  <a:lnTo>
                    <a:pt x="527" y="576"/>
                  </a:lnTo>
                  <a:lnTo>
                    <a:pt x="503" y="577"/>
                  </a:lnTo>
                  <a:lnTo>
                    <a:pt x="497" y="577"/>
                  </a:lnTo>
                  <a:lnTo>
                    <a:pt x="492" y="579"/>
                  </a:lnTo>
                  <a:lnTo>
                    <a:pt x="487" y="581"/>
                  </a:lnTo>
                  <a:lnTo>
                    <a:pt x="481" y="583"/>
                  </a:lnTo>
                  <a:lnTo>
                    <a:pt x="487" y="592"/>
                  </a:lnTo>
                  <a:lnTo>
                    <a:pt x="492" y="600"/>
                  </a:lnTo>
                  <a:lnTo>
                    <a:pt x="498" y="608"/>
                  </a:lnTo>
                  <a:lnTo>
                    <a:pt x="504" y="615"/>
                  </a:lnTo>
                  <a:lnTo>
                    <a:pt x="516" y="626"/>
                  </a:lnTo>
                  <a:lnTo>
                    <a:pt x="531" y="637"/>
                  </a:lnTo>
                  <a:lnTo>
                    <a:pt x="545" y="646"/>
                  </a:lnTo>
                  <a:lnTo>
                    <a:pt x="561" y="654"/>
                  </a:lnTo>
                  <a:lnTo>
                    <a:pt x="578" y="662"/>
                  </a:lnTo>
                  <a:lnTo>
                    <a:pt x="597" y="671"/>
                  </a:lnTo>
                  <a:lnTo>
                    <a:pt x="621" y="680"/>
                  </a:lnTo>
                  <a:lnTo>
                    <a:pt x="643" y="688"/>
                  </a:lnTo>
                  <a:lnTo>
                    <a:pt x="648" y="690"/>
                  </a:lnTo>
                  <a:lnTo>
                    <a:pt x="653" y="693"/>
                  </a:lnTo>
                  <a:lnTo>
                    <a:pt x="657" y="696"/>
                  </a:lnTo>
                  <a:lnTo>
                    <a:pt x="661" y="701"/>
                  </a:lnTo>
                  <a:lnTo>
                    <a:pt x="664" y="705"/>
                  </a:lnTo>
                  <a:lnTo>
                    <a:pt x="666" y="709"/>
                  </a:lnTo>
                  <a:lnTo>
                    <a:pt x="667" y="714"/>
                  </a:lnTo>
                  <a:lnTo>
                    <a:pt x="667" y="720"/>
                  </a:lnTo>
                  <a:lnTo>
                    <a:pt x="667" y="725"/>
                  </a:lnTo>
                  <a:lnTo>
                    <a:pt x="666" y="731"/>
                  </a:lnTo>
                  <a:lnTo>
                    <a:pt x="665" y="736"/>
                  </a:lnTo>
                  <a:lnTo>
                    <a:pt x="663" y="740"/>
                  </a:lnTo>
                  <a:lnTo>
                    <a:pt x="659" y="748"/>
                  </a:lnTo>
                  <a:lnTo>
                    <a:pt x="653" y="755"/>
                  </a:lnTo>
                  <a:lnTo>
                    <a:pt x="639" y="770"/>
                  </a:lnTo>
                  <a:lnTo>
                    <a:pt x="625" y="786"/>
                  </a:lnTo>
                  <a:lnTo>
                    <a:pt x="610" y="809"/>
                  </a:lnTo>
                  <a:lnTo>
                    <a:pt x="599" y="831"/>
                  </a:lnTo>
                  <a:lnTo>
                    <a:pt x="593" y="841"/>
                  </a:lnTo>
                  <a:lnTo>
                    <a:pt x="587" y="850"/>
                  </a:lnTo>
                  <a:lnTo>
                    <a:pt x="581" y="854"/>
                  </a:lnTo>
                  <a:lnTo>
                    <a:pt x="577" y="859"/>
                  </a:lnTo>
                  <a:lnTo>
                    <a:pt x="572" y="863"/>
                  </a:lnTo>
                  <a:lnTo>
                    <a:pt x="566" y="867"/>
                  </a:lnTo>
                  <a:lnTo>
                    <a:pt x="557" y="871"/>
                  </a:lnTo>
                  <a:lnTo>
                    <a:pt x="547" y="874"/>
                  </a:lnTo>
                  <a:lnTo>
                    <a:pt x="538" y="875"/>
                  </a:lnTo>
                  <a:lnTo>
                    <a:pt x="529" y="876"/>
                  </a:lnTo>
                  <a:lnTo>
                    <a:pt x="520" y="877"/>
                  </a:lnTo>
                  <a:lnTo>
                    <a:pt x="510" y="878"/>
                  </a:lnTo>
                  <a:lnTo>
                    <a:pt x="501" y="880"/>
                  </a:lnTo>
                  <a:lnTo>
                    <a:pt x="491" y="883"/>
                  </a:lnTo>
                  <a:lnTo>
                    <a:pt x="476" y="889"/>
                  </a:lnTo>
                  <a:lnTo>
                    <a:pt x="463" y="896"/>
                  </a:lnTo>
                  <a:lnTo>
                    <a:pt x="450" y="904"/>
                  </a:lnTo>
                  <a:lnTo>
                    <a:pt x="440" y="913"/>
                  </a:lnTo>
                  <a:lnTo>
                    <a:pt x="436" y="920"/>
                  </a:lnTo>
                  <a:lnTo>
                    <a:pt x="432" y="925"/>
                  </a:lnTo>
                  <a:lnTo>
                    <a:pt x="428" y="931"/>
                  </a:lnTo>
                  <a:lnTo>
                    <a:pt x="426" y="937"/>
                  </a:lnTo>
                  <a:lnTo>
                    <a:pt x="423" y="943"/>
                  </a:lnTo>
                  <a:lnTo>
                    <a:pt x="422" y="951"/>
                  </a:lnTo>
                  <a:lnTo>
                    <a:pt x="421" y="958"/>
                  </a:lnTo>
                  <a:lnTo>
                    <a:pt x="420" y="966"/>
                  </a:lnTo>
                  <a:lnTo>
                    <a:pt x="423" y="977"/>
                  </a:lnTo>
                  <a:lnTo>
                    <a:pt x="425" y="990"/>
                  </a:lnTo>
                  <a:lnTo>
                    <a:pt x="424" y="1001"/>
                  </a:lnTo>
                  <a:lnTo>
                    <a:pt x="422" y="1012"/>
                  </a:lnTo>
                  <a:lnTo>
                    <a:pt x="417" y="1023"/>
                  </a:lnTo>
                  <a:lnTo>
                    <a:pt x="412" y="1033"/>
                  </a:lnTo>
                  <a:lnTo>
                    <a:pt x="407" y="1042"/>
                  </a:lnTo>
                  <a:lnTo>
                    <a:pt x="401" y="1051"/>
                  </a:lnTo>
                  <a:lnTo>
                    <a:pt x="394" y="1060"/>
                  </a:lnTo>
                  <a:lnTo>
                    <a:pt x="387" y="1068"/>
                  </a:lnTo>
                  <a:lnTo>
                    <a:pt x="379" y="1077"/>
                  </a:lnTo>
                  <a:lnTo>
                    <a:pt x="373" y="1085"/>
                  </a:lnTo>
                  <a:lnTo>
                    <a:pt x="367" y="1094"/>
                  </a:lnTo>
                  <a:lnTo>
                    <a:pt x="361" y="1102"/>
                  </a:lnTo>
                  <a:lnTo>
                    <a:pt x="356" y="1113"/>
                  </a:lnTo>
                  <a:lnTo>
                    <a:pt x="353" y="1123"/>
                  </a:lnTo>
                  <a:lnTo>
                    <a:pt x="349" y="1134"/>
                  </a:lnTo>
                  <a:lnTo>
                    <a:pt x="349" y="1147"/>
                  </a:lnTo>
                  <a:lnTo>
                    <a:pt x="349" y="1154"/>
                  </a:lnTo>
                  <a:lnTo>
                    <a:pt x="350" y="1160"/>
                  </a:lnTo>
                  <a:lnTo>
                    <a:pt x="353" y="1166"/>
                  </a:lnTo>
                  <a:lnTo>
                    <a:pt x="355" y="1173"/>
                  </a:lnTo>
                  <a:lnTo>
                    <a:pt x="358" y="1179"/>
                  </a:lnTo>
                  <a:lnTo>
                    <a:pt x="361" y="1184"/>
                  </a:lnTo>
                  <a:lnTo>
                    <a:pt x="365" y="1189"/>
                  </a:lnTo>
                  <a:lnTo>
                    <a:pt x="369" y="1193"/>
                  </a:lnTo>
                  <a:lnTo>
                    <a:pt x="378" y="1202"/>
                  </a:lnTo>
                  <a:lnTo>
                    <a:pt x="389" y="1211"/>
                  </a:lnTo>
                  <a:lnTo>
                    <a:pt x="400" y="1219"/>
                  </a:lnTo>
                  <a:lnTo>
                    <a:pt x="411" y="1226"/>
                  </a:lnTo>
                  <a:lnTo>
                    <a:pt x="424" y="1233"/>
                  </a:lnTo>
                  <a:lnTo>
                    <a:pt x="434" y="1242"/>
                  </a:lnTo>
                  <a:lnTo>
                    <a:pt x="445" y="1250"/>
                  </a:lnTo>
                  <a:lnTo>
                    <a:pt x="455" y="1258"/>
                  </a:lnTo>
                  <a:lnTo>
                    <a:pt x="459" y="1263"/>
                  </a:lnTo>
                  <a:lnTo>
                    <a:pt x="463" y="1269"/>
                  </a:lnTo>
                  <a:lnTo>
                    <a:pt x="466" y="1274"/>
                  </a:lnTo>
                  <a:lnTo>
                    <a:pt x="469" y="1280"/>
                  </a:lnTo>
                  <a:lnTo>
                    <a:pt x="471" y="1285"/>
                  </a:lnTo>
                  <a:lnTo>
                    <a:pt x="472" y="1291"/>
                  </a:lnTo>
                  <a:lnTo>
                    <a:pt x="473" y="1299"/>
                  </a:lnTo>
                  <a:lnTo>
                    <a:pt x="474" y="1306"/>
                  </a:lnTo>
                  <a:lnTo>
                    <a:pt x="473" y="1310"/>
                  </a:lnTo>
                  <a:lnTo>
                    <a:pt x="472" y="1314"/>
                  </a:lnTo>
                  <a:lnTo>
                    <a:pt x="471" y="1318"/>
                  </a:lnTo>
                  <a:lnTo>
                    <a:pt x="469" y="1321"/>
                  </a:lnTo>
                  <a:lnTo>
                    <a:pt x="463" y="1326"/>
                  </a:lnTo>
                  <a:lnTo>
                    <a:pt x="456" y="1331"/>
                  </a:lnTo>
                  <a:lnTo>
                    <a:pt x="439" y="1339"/>
                  </a:lnTo>
                  <a:lnTo>
                    <a:pt x="423" y="1348"/>
                  </a:lnTo>
                  <a:lnTo>
                    <a:pt x="401" y="1367"/>
                  </a:lnTo>
                  <a:lnTo>
                    <a:pt x="382" y="1384"/>
                  </a:lnTo>
                  <a:lnTo>
                    <a:pt x="373" y="1391"/>
                  </a:lnTo>
                  <a:lnTo>
                    <a:pt x="363" y="1399"/>
                  </a:lnTo>
                  <a:lnTo>
                    <a:pt x="350" y="1405"/>
                  </a:lnTo>
                  <a:lnTo>
                    <a:pt x="337" y="1410"/>
                  </a:lnTo>
                  <a:lnTo>
                    <a:pt x="325" y="1412"/>
                  </a:lnTo>
                  <a:lnTo>
                    <a:pt x="313" y="1413"/>
                  </a:lnTo>
                  <a:lnTo>
                    <a:pt x="302" y="1413"/>
                  </a:lnTo>
                  <a:lnTo>
                    <a:pt x="291" y="1411"/>
                  </a:lnTo>
                  <a:lnTo>
                    <a:pt x="279" y="1410"/>
                  </a:lnTo>
                  <a:lnTo>
                    <a:pt x="268" y="1408"/>
                  </a:lnTo>
                  <a:lnTo>
                    <a:pt x="257" y="1407"/>
                  </a:lnTo>
                  <a:lnTo>
                    <a:pt x="243" y="1407"/>
                  </a:lnTo>
                  <a:lnTo>
                    <a:pt x="234" y="1409"/>
                  </a:lnTo>
                  <a:lnTo>
                    <a:pt x="227" y="1411"/>
                  </a:lnTo>
                  <a:lnTo>
                    <a:pt x="219" y="1414"/>
                  </a:lnTo>
                  <a:lnTo>
                    <a:pt x="213" y="1419"/>
                  </a:lnTo>
                  <a:lnTo>
                    <a:pt x="208" y="1425"/>
                  </a:lnTo>
                  <a:lnTo>
                    <a:pt x="204" y="1431"/>
                  </a:lnTo>
                  <a:lnTo>
                    <a:pt x="200" y="1438"/>
                  </a:lnTo>
                  <a:lnTo>
                    <a:pt x="196" y="1445"/>
                  </a:lnTo>
                  <a:lnTo>
                    <a:pt x="184" y="1480"/>
                  </a:lnTo>
                  <a:lnTo>
                    <a:pt x="172" y="1515"/>
                  </a:lnTo>
                  <a:lnTo>
                    <a:pt x="168" y="1526"/>
                  </a:lnTo>
                  <a:lnTo>
                    <a:pt x="164" y="1534"/>
                  </a:lnTo>
                  <a:lnTo>
                    <a:pt x="159" y="1542"/>
                  </a:lnTo>
                  <a:lnTo>
                    <a:pt x="153" y="1550"/>
                  </a:lnTo>
                  <a:lnTo>
                    <a:pt x="147" y="1559"/>
                  </a:lnTo>
                  <a:lnTo>
                    <a:pt x="141" y="1565"/>
                  </a:lnTo>
                  <a:lnTo>
                    <a:pt x="135" y="1572"/>
                  </a:lnTo>
                  <a:lnTo>
                    <a:pt x="129" y="1578"/>
                  </a:lnTo>
                  <a:lnTo>
                    <a:pt x="122" y="1585"/>
                  </a:lnTo>
                  <a:lnTo>
                    <a:pt x="113" y="1590"/>
                  </a:lnTo>
                  <a:lnTo>
                    <a:pt x="105" y="1595"/>
                  </a:lnTo>
                  <a:lnTo>
                    <a:pt x="97" y="1599"/>
                  </a:lnTo>
                  <a:lnTo>
                    <a:pt x="89" y="1603"/>
                  </a:lnTo>
                  <a:lnTo>
                    <a:pt x="79" y="1606"/>
                  </a:lnTo>
                  <a:lnTo>
                    <a:pt x="69" y="1609"/>
                  </a:lnTo>
                  <a:lnTo>
                    <a:pt x="59" y="1612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>
                  <a:latin typeface="Calibri" panose="020F0502020204030204" pitchFamily="34" charset="0"/>
                </a:rPr>
                <a:t>Dnipropetrovsk</a:t>
              </a:r>
              <a:endParaRPr lang="ru-RU" altLang="ru-RU" sz="675">
                <a:latin typeface="Calibri" panose="020F0502020204030204" pitchFamily="34" charset="0"/>
              </a:endParaRPr>
            </a:p>
          </p:txBody>
        </p:sp>
        <p:sp>
          <p:nvSpPr>
            <p:cNvPr id="20" name="Freeform 22"/>
            <p:cNvSpPr>
              <a:spLocks/>
            </p:cNvSpPr>
            <p:nvPr/>
          </p:nvSpPr>
          <p:spPr bwMode="auto">
            <a:xfrm>
              <a:off x="4199" y="3217"/>
              <a:ext cx="30" cy="35"/>
            </a:xfrm>
            <a:custGeom>
              <a:avLst/>
              <a:gdLst>
                <a:gd name="T0" fmla="*/ 233 w 103"/>
                <a:gd name="T1" fmla="*/ 213 h 121"/>
                <a:gd name="T2" fmla="*/ 233 w 103"/>
                <a:gd name="T3" fmla="*/ 213 h 121"/>
                <a:gd name="T4" fmla="*/ 233 w 103"/>
                <a:gd name="T5" fmla="*/ 213 h 121"/>
                <a:gd name="T6" fmla="*/ 233 w 103"/>
                <a:gd name="T7" fmla="*/ 213 h 121"/>
                <a:gd name="T8" fmla="*/ 233 w 103"/>
                <a:gd name="T9" fmla="*/ 213 h 121"/>
                <a:gd name="T10" fmla="*/ 233 w 103"/>
                <a:gd name="T11" fmla="*/ 213 h 121"/>
                <a:gd name="T12" fmla="*/ 233 w 103"/>
                <a:gd name="T13" fmla="*/ 213 h 121"/>
                <a:gd name="T14" fmla="*/ 233 w 103"/>
                <a:gd name="T15" fmla="*/ 213 h 121"/>
                <a:gd name="T16" fmla="*/ 233 w 103"/>
                <a:gd name="T17" fmla="*/ 213 h 121"/>
                <a:gd name="T18" fmla="*/ 233 w 103"/>
                <a:gd name="T19" fmla="*/ 213 h 121"/>
                <a:gd name="T20" fmla="*/ 233 w 103"/>
                <a:gd name="T21" fmla="*/ 213 h 121"/>
                <a:gd name="T22" fmla="*/ 233 w 103"/>
                <a:gd name="T23" fmla="*/ 213 h 121"/>
                <a:gd name="T24" fmla="*/ 233 w 103"/>
                <a:gd name="T25" fmla="*/ 213 h 121"/>
                <a:gd name="T26" fmla="*/ 233 w 103"/>
                <a:gd name="T27" fmla="*/ 213 h 121"/>
                <a:gd name="T28" fmla="*/ 233 w 103"/>
                <a:gd name="T29" fmla="*/ 213 h 121"/>
                <a:gd name="T30" fmla="*/ 233 w 103"/>
                <a:gd name="T31" fmla="*/ 213 h 121"/>
                <a:gd name="T32" fmla="*/ 233 w 103"/>
                <a:gd name="T33" fmla="*/ 213 h 121"/>
                <a:gd name="T34" fmla="*/ 0 w 103"/>
                <a:gd name="T35" fmla="*/ 213 h 121"/>
                <a:gd name="T36" fmla="*/ 0 w 103"/>
                <a:gd name="T37" fmla="*/ 213 h 121"/>
                <a:gd name="T38" fmla="*/ 0 w 103"/>
                <a:gd name="T39" fmla="*/ 213 h 121"/>
                <a:gd name="T40" fmla="*/ 233 w 103"/>
                <a:gd name="T41" fmla="*/ 213 h 121"/>
                <a:gd name="T42" fmla="*/ 233 w 103"/>
                <a:gd name="T43" fmla="*/ 213 h 121"/>
                <a:gd name="T44" fmla="*/ 233 w 103"/>
                <a:gd name="T45" fmla="*/ 213 h 121"/>
                <a:gd name="T46" fmla="*/ 233 w 103"/>
                <a:gd name="T47" fmla="*/ 213 h 121"/>
                <a:gd name="T48" fmla="*/ 233 w 103"/>
                <a:gd name="T49" fmla="*/ 213 h 121"/>
                <a:gd name="T50" fmla="*/ 233 w 103"/>
                <a:gd name="T51" fmla="*/ 213 h 121"/>
                <a:gd name="T52" fmla="*/ 233 w 103"/>
                <a:gd name="T53" fmla="*/ 213 h 121"/>
                <a:gd name="T54" fmla="*/ 233 w 103"/>
                <a:gd name="T55" fmla="*/ 213 h 121"/>
                <a:gd name="T56" fmla="*/ 233 w 103"/>
                <a:gd name="T57" fmla="*/ 213 h 121"/>
                <a:gd name="T58" fmla="*/ 233 w 103"/>
                <a:gd name="T59" fmla="*/ 213 h 121"/>
                <a:gd name="T60" fmla="*/ 233 w 103"/>
                <a:gd name="T61" fmla="*/ 213 h 121"/>
                <a:gd name="T62" fmla="*/ 233 w 103"/>
                <a:gd name="T63" fmla="*/ 213 h 121"/>
                <a:gd name="T64" fmla="*/ 233 w 103"/>
                <a:gd name="T65" fmla="*/ 213 h 121"/>
                <a:gd name="T66" fmla="*/ 233 w 103"/>
                <a:gd name="T67" fmla="*/ 213 h 121"/>
                <a:gd name="T68" fmla="*/ 233 w 103"/>
                <a:gd name="T69" fmla="*/ 213 h 121"/>
                <a:gd name="T70" fmla="*/ 233 w 103"/>
                <a:gd name="T71" fmla="*/ 213 h 121"/>
                <a:gd name="T72" fmla="*/ 233 w 103"/>
                <a:gd name="T73" fmla="*/ 213 h 121"/>
                <a:gd name="T74" fmla="*/ 233 w 103"/>
                <a:gd name="T75" fmla="*/ 213 h 121"/>
                <a:gd name="T76" fmla="*/ 233 w 103"/>
                <a:gd name="T77" fmla="*/ 213 h 121"/>
                <a:gd name="T78" fmla="*/ 233 w 103"/>
                <a:gd name="T79" fmla="*/ 213 h 121"/>
                <a:gd name="T80" fmla="*/ 233 w 103"/>
                <a:gd name="T81" fmla="*/ 213 h 121"/>
                <a:gd name="T82" fmla="*/ 233 w 103"/>
                <a:gd name="T83" fmla="*/ 0 h 121"/>
                <a:gd name="T84" fmla="*/ 233 w 103"/>
                <a:gd name="T85" fmla="*/ 213 h 12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3"/>
                <a:gd name="T130" fmla="*/ 0 h 121"/>
                <a:gd name="T131" fmla="*/ 103 w 103"/>
                <a:gd name="T132" fmla="*/ 121 h 12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3" h="121">
                  <a:moveTo>
                    <a:pt x="97" y="2"/>
                  </a:moveTo>
                  <a:lnTo>
                    <a:pt x="87" y="13"/>
                  </a:lnTo>
                  <a:lnTo>
                    <a:pt x="78" y="24"/>
                  </a:lnTo>
                  <a:lnTo>
                    <a:pt x="71" y="35"/>
                  </a:lnTo>
                  <a:lnTo>
                    <a:pt x="65" y="46"/>
                  </a:lnTo>
                  <a:lnTo>
                    <a:pt x="59" y="56"/>
                  </a:lnTo>
                  <a:lnTo>
                    <a:pt x="52" y="67"/>
                  </a:lnTo>
                  <a:lnTo>
                    <a:pt x="44" y="78"/>
                  </a:lnTo>
                  <a:lnTo>
                    <a:pt x="34" y="89"/>
                  </a:lnTo>
                  <a:lnTo>
                    <a:pt x="32" y="82"/>
                  </a:lnTo>
                  <a:lnTo>
                    <a:pt x="29" y="77"/>
                  </a:lnTo>
                  <a:lnTo>
                    <a:pt x="26" y="71"/>
                  </a:lnTo>
                  <a:lnTo>
                    <a:pt x="21" y="66"/>
                  </a:lnTo>
                  <a:lnTo>
                    <a:pt x="12" y="75"/>
                  </a:lnTo>
                  <a:lnTo>
                    <a:pt x="6" y="85"/>
                  </a:lnTo>
                  <a:lnTo>
                    <a:pt x="3" y="89"/>
                  </a:lnTo>
                  <a:lnTo>
                    <a:pt x="1" y="96"/>
                  </a:lnTo>
                  <a:lnTo>
                    <a:pt x="0" y="101"/>
                  </a:lnTo>
                  <a:lnTo>
                    <a:pt x="0" y="108"/>
                  </a:lnTo>
                  <a:lnTo>
                    <a:pt x="0" y="118"/>
                  </a:lnTo>
                  <a:lnTo>
                    <a:pt x="2" y="119"/>
                  </a:lnTo>
                  <a:lnTo>
                    <a:pt x="4" y="121"/>
                  </a:lnTo>
                  <a:lnTo>
                    <a:pt x="9" y="120"/>
                  </a:lnTo>
                  <a:lnTo>
                    <a:pt x="12" y="118"/>
                  </a:lnTo>
                  <a:lnTo>
                    <a:pt x="15" y="116"/>
                  </a:lnTo>
                  <a:lnTo>
                    <a:pt x="19" y="114"/>
                  </a:lnTo>
                  <a:lnTo>
                    <a:pt x="29" y="113"/>
                  </a:lnTo>
                  <a:lnTo>
                    <a:pt x="39" y="115"/>
                  </a:lnTo>
                  <a:lnTo>
                    <a:pt x="45" y="112"/>
                  </a:lnTo>
                  <a:lnTo>
                    <a:pt x="51" y="109"/>
                  </a:lnTo>
                  <a:lnTo>
                    <a:pt x="56" y="104"/>
                  </a:lnTo>
                  <a:lnTo>
                    <a:pt x="59" y="98"/>
                  </a:lnTo>
                  <a:lnTo>
                    <a:pt x="64" y="84"/>
                  </a:lnTo>
                  <a:lnTo>
                    <a:pt x="70" y="70"/>
                  </a:lnTo>
                  <a:lnTo>
                    <a:pt x="81" y="55"/>
                  </a:lnTo>
                  <a:lnTo>
                    <a:pt x="92" y="43"/>
                  </a:lnTo>
                  <a:lnTo>
                    <a:pt x="96" y="37"/>
                  </a:lnTo>
                  <a:lnTo>
                    <a:pt x="100" y="30"/>
                  </a:lnTo>
                  <a:lnTo>
                    <a:pt x="102" y="22"/>
                  </a:lnTo>
                  <a:lnTo>
                    <a:pt x="103" y="13"/>
                  </a:lnTo>
                  <a:lnTo>
                    <a:pt x="103" y="7"/>
                  </a:lnTo>
                  <a:lnTo>
                    <a:pt x="102" y="0"/>
                  </a:lnTo>
                  <a:lnTo>
                    <a:pt x="97" y="2"/>
                  </a:lnTo>
                  <a:close/>
                </a:path>
              </a:pathLst>
            </a:custGeom>
            <a:grpFill/>
            <a:ln w="12700">
              <a:solidFill>
                <a:srgbClr val="7D7D7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675"/>
            </a:p>
          </p:txBody>
        </p:sp>
        <p:sp>
          <p:nvSpPr>
            <p:cNvPr id="22" name="Donetsk"/>
            <p:cNvSpPr>
              <a:spLocks/>
            </p:cNvSpPr>
            <p:nvPr/>
          </p:nvSpPr>
          <p:spPr bwMode="auto">
            <a:xfrm>
              <a:off x="4289" y="2184"/>
              <a:ext cx="649" cy="905"/>
            </a:xfrm>
            <a:custGeom>
              <a:avLst/>
              <a:gdLst>
                <a:gd name="T0" fmla="*/ 347 w 2161"/>
                <a:gd name="T1" fmla="*/ 228 h 3113"/>
                <a:gd name="T2" fmla="*/ 347 w 2161"/>
                <a:gd name="T3" fmla="*/ 228 h 3113"/>
                <a:gd name="T4" fmla="*/ 347 w 2161"/>
                <a:gd name="T5" fmla="*/ 228 h 3113"/>
                <a:gd name="T6" fmla="*/ 347 w 2161"/>
                <a:gd name="T7" fmla="*/ 228 h 3113"/>
                <a:gd name="T8" fmla="*/ 347 w 2161"/>
                <a:gd name="T9" fmla="*/ 228 h 3113"/>
                <a:gd name="T10" fmla="*/ 347 w 2161"/>
                <a:gd name="T11" fmla="*/ 228 h 3113"/>
                <a:gd name="T12" fmla="*/ 347 w 2161"/>
                <a:gd name="T13" fmla="*/ 228 h 3113"/>
                <a:gd name="T14" fmla="*/ 347 w 2161"/>
                <a:gd name="T15" fmla="*/ 228 h 3113"/>
                <a:gd name="T16" fmla="*/ 347 w 2161"/>
                <a:gd name="T17" fmla="*/ 228 h 3113"/>
                <a:gd name="T18" fmla="*/ 347 w 2161"/>
                <a:gd name="T19" fmla="*/ 228 h 3113"/>
                <a:gd name="T20" fmla="*/ 347 w 2161"/>
                <a:gd name="T21" fmla="*/ 228 h 3113"/>
                <a:gd name="T22" fmla="*/ 347 w 2161"/>
                <a:gd name="T23" fmla="*/ 228 h 3113"/>
                <a:gd name="T24" fmla="*/ 347 w 2161"/>
                <a:gd name="T25" fmla="*/ 228 h 3113"/>
                <a:gd name="T26" fmla="*/ 347 w 2161"/>
                <a:gd name="T27" fmla="*/ 228 h 3113"/>
                <a:gd name="T28" fmla="*/ 347 w 2161"/>
                <a:gd name="T29" fmla="*/ 228 h 3113"/>
                <a:gd name="T30" fmla="*/ 347 w 2161"/>
                <a:gd name="T31" fmla="*/ 228 h 3113"/>
                <a:gd name="T32" fmla="*/ 347 w 2161"/>
                <a:gd name="T33" fmla="*/ 228 h 3113"/>
                <a:gd name="T34" fmla="*/ 347 w 2161"/>
                <a:gd name="T35" fmla="*/ 228 h 3113"/>
                <a:gd name="T36" fmla="*/ 347 w 2161"/>
                <a:gd name="T37" fmla="*/ 228 h 3113"/>
                <a:gd name="T38" fmla="*/ 347 w 2161"/>
                <a:gd name="T39" fmla="*/ 228 h 3113"/>
                <a:gd name="T40" fmla="*/ 347 w 2161"/>
                <a:gd name="T41" fmla="*/ 228 h 3113"/>
                <a:gd name="T42" fmla="*/ 347 w 2161"/>
                <a:gd name="T43" fmla="*/ 228 h 3113"/>
                <a:gd name="T44" fmla="*/ 347 w 2161"/>
                <a:gd name="T45" fmla="*/ 228 h 3113"/>
                <a:gd name="T46" fmla="*/ 347 w 2161"/>
                <a:gd name="T47" fmla="*/ 228 h 3113"/>
                <a:gd name="T48" fmla="*/ 347 w 2161"/>
                <a:gd name="T49" fmla="*/ 228 h 3113"/>
                <a:gd name="T50" fmla="*/ 347 w 2161"/>
                <a:gd name="T51" fmla="*/ 228 h 3113"/>
                <a:gd name="T52" fmla="*/ 347 w 2161"/>
                <a:gd name="T53" fmla="*/ 228 h 3113"/>
                <a:gd name="T54" fmla="*/ 347 w 2161"/>
                <a:gd name="T55" fmla="*/ 228 h 3113"/>
                <a:gd name="T56" fmla="*/ 347 w 2161"/>
                <a:gd name="T57" fmla="*/ 228 h 3113"/>
                <a:gd name="T58" fmla="*/ 347 w 2161"/>
                <a:gd name="T59" fmla="*/ 228 h 3113"/>
                <a:gd name="T60" fmla="*/ 347 w 2161"/>
                <a:gd name="T61" fmla="*/ 228 h 3113"/>
                <a:gd name="T62" fmla="*/ 347 w 2161"/>
                <a:gd name="T63" fmla="*/ 228 h 3113"/>
                <a:gd name="T64" fmla="*/ 347 w 2161"/>
                <a:gd name="T65" fmla="*/ 228 h 3113"/>
                <a:gd name="T66" fmla="*/ 347 w 2161"/>
                <a:gd name="T67" fmla="*/ 228 h 3113"/>
                <a:gd name="T68" fmla="*/ 347 w 2161"/>
                <a:gd name="T69" fmla="*/ 228 h 3113"/>
                <a:gd name="T70" fmla="*/ 347 w 2161"/>
                <a:gd name="T71" fmla="*/ 228 h 3113"/>
                <a:gd name="T72" fmla="*/ 347 w 2161"/>
                <a:gd name="T73" fmla="*/ 228 h 3113"/>
                <a:gd name="T74" fmla="*/ 347 w 2161"/>
                <a:gd name="T75" fmla="*/ 228 h 3113"/>
                <a:gd name="T76" fmla="*/ 347 w 2161"/>
                <a:gd name="T77" fmla="*/ 228 h 3113"/>
                <a:gd name="T78" fmla="*/ 347 w 2161"/>
                <a:gd name="T79" fmla="*/ 228 h 3113"/>
                <a:gd name="T80" fmla="*/ 347 w 2161"/>
                <a:gd name="T81" fmla="*/ 228 h 3113"/>
                <a:gd name="T82" fmla="*/ 347 w 2161"/>
                <a:gd name="T83" fmla="*/ 228 h 3113"/>
                <a:gd name="T84" fmla="*/ 347 w 2161"/>
                <a:gd name="T85" fmla="*/ 228 h 3113"/>
                <a:gd name="T86" fmla="*/ 347 w 2161"/>
                <a:gd name="T87" fmla="*/ 228 h 3113"/>
                <a:gd name="T88" fmla="*/ 347 w 2161"/>
                <a:gd name="T89" fmla="*/ 228 h 3113"/>
                <a:gd name="T90" fmla="*/ 347 w 2161"/>
                <a:gd name="T91" fmla="*/ 228 h 3113"/>
                <a:gd name="T92" fmla="*/ 347 w 2161"/>
                <a:gd name="T93" fmla="*/ 228 h 3113"/>
                <a:gd name="T94" fmla="*/ 347 w 2161"/>
                <a:gd name="T95" fmla="*/ 228 h 3113"/>
                <a:gd name="T96" fmla="*/ 347 w 2161"/>
                <a:gd name="T97" fmla="*/ 228 h 3113"/>
                <a:gd name="T98" fmla="*/ 347 w 2161"/>
                <a:gd name="T99" fmla="*/ 228 h 3113"/>
                <a:gd name="T100" fmla="*/ 347 w 2161"/>
                <a:gd name="T101" fmla="*/ 228 h 3113"/>
                <a:gd name="T102" fmla="*/ 347 w 2161"/>
                <a:gd name="T103" fmla="*/ 228 h 3113"/>
                <a:gd name="T104" fmla="*/ 347 w 2161"/>
                <a:gd name="T105" fmla="*/ 228 h 3113"/>
                <a:gd name="T106" fmla="*/ 347 w 2161"/>
                <a:gd name="T107" fmla="*/ 228 h 3113"/>
                <a:gd name="T108" fmla="*/ 347 w 2161"/>
                <a:gd name="T109" fmla="*/ 228 h 3113"/>
                <a:gd name="T110" fmla="*/ 347 w 2161"/>
                <a:gd name="T111" fmla="*/ 228 h 3113"/>
                <a:gd name="T112" fmla="*/ 347 w 2161"/>
                <a:gd name="T113" fmla="*/ 228 h 3113"/>
                <a:gd name="T114" fmla="*/ 347 w 2161"/>
                <a:gd name="T115" fmla="*/ 228 h 3113"/>
                <a:gd name="T116" fmla="*/ 347 w 2161"/>
                <a:gd name="T117" fmla="*/ 228 h 3113"/>
                <a:gd name="T118" fmla="*/ 347 w 2161"/>
                <a:gd name="T119" fmla="*/ 228 h 311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161"/>
                <a:gd name="T181" fmla="*/ 0 h 3113"/>
                <a:gd name="T182" fmla="*/ 2161 w 2161"/>
                <a:gd name="T183" fmla="*/ 3113 h 311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161" h="3113">
                  <a:moveTo>
                    <a:pt x="114" y="843"/>
                  </a:moveTo>
                  <a:lnTo>
                    <a:pt x="141" y="863"/>
                  </a:lnTo>
                  <a:lnTo>
                    <a:pt x="163" y="881"/>
                  </a:lnTo>
                  <a:lnTo>
                    <a:pt x="174" y="891"/>
                  </a:lnTo>
                  <a:lnTo>
                    <a:pt x="184" y="901"/>
                  </a:lnTo>
                  <a:lnTo>
                    <a:pt x="194" y="912"/>
                  </a:lnTo>
                  <a:lnTo>
                    <a:pt x="205" y="926"/>
                  </a:lnTo>
                  <a:lnTo>
                    <a:pt x="215" y="934"/>
                  </a:lnTo>
                  <a:lnTo>
                    <a:pt x="224" y="940"/>
                  </a:lnTo>
                  <a:lnTo>
                    <a:pt x="233" y="946"/>
                  </a:lnTo>
                  <a:lnTo>
                    <a:pt x="244" y="952"/>
                  </a:lnTo>
                  <a:lnTo>
                    <a:pt x="252" y="958"/>
                  </a:lnTo>
                  <a:lnTo>
                    <a:pt x="258" y="965"/>
                  </a:lnTo>
                  <a:lnTo>
                    <a:pt x="261" y="969"/>
                  </a:lnTo>
                  <a:lnTo>
                    <a:pt x="263" y="973"/>
                  </a:lnTo>
                  <a:lnTo>
                    <a:pt x="264" y="978"/>
                  </a:lnTo>
                  <a:lnTo>
                    <a:pt x="265" y="985"/>
                  </a:lnTo>
                  <a:lnTo>
                    <a:pt x="264" y="994"/>
                  </a:lnTo>
                  <a:lnTo>
                    <a:pt x="261" y="1001"/>
                  </a:lnTo>
                  <a:lnTo>
                    <a:pt x="257" y="1008"/>
                  </a:lnTo>
                  <a:lnTo>
                    <a:pt x="251" y="1014"/>
                  </a:lnTo>
                  <a:lnTo>
                    <a:pt x="245" y="1020"/>
                  </a:lnTo>
                  <a:lnTo>
                    <a:pt x="237" y="1025"/>
                  </a:lnTo>
                  <a:lnTo>
                    <a:pt x="229" y="1030"/>
                  </a:lnTo>
                  <a:lnTo>
                    <a:pt x="221" y="1034"/>
                  </a:lnTo>
                  <a:lnTo>
                    <a:pt x="213" y="1038"/>
                  </a:lnTo>
                  <a:lnTo>
                    <a:pt x="205" y="1043"/>
                  </a:lnTo>
                  <a:lnTo>
                    <a:pt x="198" y="1049"/>
                  </a:lnTo>
                  <a:lnTo>
                    <a:pt x="191" y="1054"/>
                  </a:lnTo>
                  <a:lnTo>
                    <a:pt x="186" y="1060"/>
                  </a:lnTo>
                  <a:lnTo>
                    <a:pt x="182" y="1067"/>
                  </a:lnTo>
                  <a:lnTo>
                    <a:pt x="179" y="1074"/>
                  </a:lnTo>
                  <a:lnTo>
                    <a:pt x="178" y="1084"/>
                  </a:lnTo>
                  <a:lnTo>
                    <a:pt x="182" y="1093"/>
                  </a:lnTo>
                  <a:lnTo>
                    <a:pt x="187" y="1102"/>
                  </a:lnTo>
                  <a:lnTo>
                    <a:pt x="187" y="1179"/>
                  </a:lnTo>
                  <a:lnTo>
                    <a:pt x="188" y="1187"/>
                  </a:lnTo>
                  <a:lnTo>
                    <a:pt x="189" y="1194"/>
                  </a:lnTo>
                  <a:lnTo>
                    <a:pt x="192" y="1200"/>
                  </a:lnTo>
                  <a:lnTo>
                    <a:pt x="195" y="1207"/>
                  </a:lnTo>
                  <a:lnTo>
                    <a:pt x="200" y="1212"/>
                  </a:lnTo>
                  <a:lnTo>
                    <a:pt x="205" y="1216"/>
                  </a:lnTo>
                  <a:lnTo>
                    <a:pt x="212" y="1221"/>
                  </a:lnTo>
                  <a:lnTo>
                    <a:pt x="218" y="1224"/>
                  </a:lnTo>
                  <a:lnTo>
                    <a:pt x="248" y="1238"/>
                  </a:lnTo>
                  <a:lnTo>
                    <a:pt x="279" y="1251"/>
                  </a:lnTo>
                  <a:lnTo>
                    <a:pt x="294" y="1257"/>
                  </a:lnTo>
                  <a:lnTo>
                    <a:pt x="309" y="1263"/>
                  </a:lnTo>
                  <a:lnTo>
                    <a:pt x="315" y="1266"/>
                  </a:lnTo>
                  <a:lnTo>
                    <a:pt x="320" y="1272"/>
                  </a:lnTo>
                  <a:lnTo>
                    <a:pt x="321" y="1274"/>
                  </a:lnTo>
                  <a:lnTo>
                    <a:pt x="323" y="1277"/>
                  </a:lnTo>
                  <a:lnTo>
                    <a:pt x="323" y="1280"/>
                  </a:lnTo>
                  <a:lnTo>
                    <a:pt x="324" y="1284"/>
                  </a:lnTo>
                  <a:lnTo>
                    <a:pt x="323" y="1321"/>
                  </a:lnTo>
                  <a:lnTo>
                    <a:pt x="321" y="1354"/>
                  </a:lnTo>
                  <a:lnTo>
                    <a:pt x="319" y="1385"/>
                  </a:lnTo>
                  <a:lnTo>
                    <a:pt x="315" y="1415"/>
                  </a:lnTo>
                  <a:lnTo>
                    <a:pt x="312" y="1445"/>
                  </a:lnTo>
                  <a:lnTo>
                    <a:pt x="308" y="1477"/>
                  </a:lnTo>
                  <a:lnTo>
                    <a:pt x="303" y="1510"/>
                  </a:lnTo>
                  <a:lnTo>
                    <a:pt x="300" y="1546"/>
                  </a:lnTo>
                  <a:lnTo>
                    <a:pt x="251" y="1546"/>
                  </a:lnTo>
                  <a:lnTo>
                    <a:pt x="232" y="1547"/>
                  </a:lnTo>
                  <a:lnTo>
                    <a:pt x="215" y="1551"/>
                  </a:lnTo>
                  <a:lnTo>
                    <a:pt x="198" y="1555"/>
                  </a:lnTo>
                  <a:lnTo>
                    <a:pt x="179" y="1556"/>
                  </a:lnTo>
                  <a:lnTo>
                    <a:pt x="168" y="1555"/>
                  </a:lnTo>
                  <a:lnTo>
                    <a:pt x="160" y="1552"/>
                  </a:lnTo>
                  <a:lnTo>
                    <a:pt x="152" y="1549"/>
                  </a:lnTo>
                  <a:lnTo>
                    <a:pt x="144" y="1545"/>
                  </a:lnTo>
                  <a:lnTo>
                    <a:pt x="136" y="1541"/>
                  </a:lnTo>
                  <a:lnTo>
                    <a:pt x="128" y="1538"/>
                  </a:lnTo>
                  <a:lnTo>
                    <a:pt x="119" y="1535"/>
                  </a:lnTo>
                  <a:lnTo>
                    <a:pt x="110" y="1535"/>
                  </a:lnTo>
                  <a:lnTo>
                    <a:pt x="99" y="1536"/>
                  </a:lnTo>
                  <a:lnTo>
                    <a:pt x="91" y="1538"/>
                  </a:lnTo>
                  <a:lnTo>
                    <a:pt x="83" y="1543"/>
                  </a:lnTo>
                  <a:lnTo>
                    <a:pt x="77" y="1548"/>
                  </a:lnTo>
                  <a:lnTo>
                    <a:pt x="64" y="1563"/>
                  </a:lnTo>
                  <a:lnTo>
                    <a:pt x="53" y="1579"/>
                  </a:lnTo>
                  <a:lnTo>
                    <a:pt x="39" y="1596"/>
                  </a:lnTo>
                  <a:lnTo>
                    <a:pt x="26" y="1610"/>
                  </a:lnTo>
                  <a:lnTo>
                    <a:pt x="19" y="1618"/>
                  </a:lnTo>
                  <a:lnTo>
                    <a:pt x="13" y="1625"/>
                  </a:lnTo>
                  <a:lnTo>
                    <a:pt x="6" y="1633"/>
                  </a:lnTo>
                  <a:lnTo>
                    <a:pt x="0" y="1643"/>
                  </a:lnTo>
                  <a:lnTo>
                    <a:pt x="7" y="1646"/>
                  </a:lnTo>
                  <a:lnTo>
                    <a:pt x="15" y="1650"/>
                  </a:lnTo>
                  <a:lnTo>
                    <a:pt x="20" y="1654"/>
                  </a:lnTo>
                  <a:lnTo>
                    <a:pt x="25" y="1658"/>
                  </a:lnTo>
                  <a:lnTo>
                    <a:pt x="35" y="1667"/>
                  </a:lnTo>
                  <a:lnTo>
                    <a:pt x="48" y="1676"/>
                  </a:lnTo>
                  <a:lnTo>
                    <a:pt x="65" y="1687"/>
                  </a:lnTo>
                  <a:lnTo>
                    <a:pt x="83" y="1696"/>
                  </a:lnTo>
                  <a:lnTo>
                    <a:pt x="89" y="1702"/>
                  </a:lnTo>
                  <a:lnTo>
                    <a:pt x="95" y="1708"/>
                  </a:lnTo>
                  <a:lnTo>
                    <a:pt x="97" y="1713"/>
                  </a:lnTo>
                  <a:lnTo>
                    <a:pt x="98" y="1717"/>
                  </a:lnTo>
                  <a:lnTo>
                    <a:pt x="99" y="1721"/>
                  </a:lnTo>
                  <a:lnTo>
                    <a:pt x="99" y="1726"/>
                  </a:lnTo>
                  <a:lnTo>
                    <a:pt x="99" y="1732"/>
                  </a:lnTo>
                  <a:lnTo>
                    <a:pt x="98" y="1737"/>
                  </a:lnTo>
                  <a:lnTo>
                    <a:pt x="96" y="1742"/>
                  </a:lnTo>
                  <a:lnTo>
                    <a:pt x="94" y="1747"/>
                  </a:lnTo>
                  <a:lnTo>
                    <a:pt x="87" y="1756"/>
                  </a:lnTo>
                  <a:lnTo>
                    <a:pt x="80" y="1763"/>
                  </a:lnTo>
                  <a:lnTo>
                    <a:pt x="71" y="1770"/>
                  </a:lnTo>
                  <a:lnTo>
                    <a:pt x="63" y="1779"/>
                  </a:lnTo>
                  <a:lnTo>
                    <a:pt x="59" y="1783"/>
                  </a:lnTo>
                  <a:lnTo>
                    <a:pt x="56" y="1788"/>
                  </a:lnTo>
                  <a:lnTo>
                    <a:pt x="53" y="1793"/>
                  </a:lnTo>
                  <a:lnTo>
                    <a:pt x="50" y="1799"/>
                  </a:lnTo>
                  <a:lnTo>
                    <a:pt x="46" y="1812"/>
                  </a:lnTo>
                  <a:lnTo>
                    <a:pt x="43" y="1823"/>
                  </a:lnTo>
                  <a:lnTo>
                    <a:pt x="40" y="1835"/>
                  </a:lnTo>
                  <a:lnTo>
                    <a:pt x="39" y="1846"/>
                  </a:lnTo>
                  <a:lnTo>
                    <a:pt x="37" y="1869"/>
                  </a:lnTo>
                  <a:lnTo>
                    <a:pt x="33" y="1895"/>
                  </a:lnTo>
                  <a:lnTo>
                    <a:pt x="53" y="1902"/>
                  </a:lnTo>
                  <a:lnTo>
                    <a:pt x="70" y="1908"/>
                  </a:lnTo>
                  <a:lnTo>
                    <a:pt x="87" y="1916"/>
                  </a:lnTo>
                  <a:lnTo>
                    <a:pt x="102" y="1924"/>
                  </a:lnTo>
                  <a:lnTo>
                    <a:pt x="110" y="1929"/>
                  </a:lnTo>
                  <a:lnTo>
                    <a:pt x="117" y="1935"/>
                  </a:lnTo>
                  <a:lnTo>
                    <a:pt x="123" y="1941"/>
                  </a:lnTo>
                  <a:lnTo>
                    <a:pt x="129" y="1947"/>
                  </a:lnTo>
                  <a:lnTo>
                    <a:pt x="135" y="1954"/>
                  </a:lnTo>
                  <a:lnTo>
                    <a:pt x="142" y="1961"/>
                  </a:lnTo>
                  <a:lnTo>
                    <a:pt x="147" y="1970"/>
                  </a:lnTo>
                  <a:lnTo>
                    <a:pt x="152" y="1978"/>
                  </a:lnTo>
                  <a:lnTo>
                    <a:pt x="159" y="1992"/>
                  </a:lnTo>
                  <a:lnTo>
                    <a:pt x="165" y="2006"/>
                  </a:lnTo>
                  <a:lnTo>
                    <a:pt x="170" y="2019"/>
                  </a:lnTo>
                  <a:lnTo>
                    <a:pt x="176" y="2034"/>
                  </a:lnTo>
                  <a:lnTo>
                    <a:pt x="186" y="2061"/>
                  </a:lnTo>
                  <a:lnTo>
                    <a:pt x="196" y="2085"/>
                  </a:lnTo>
                  <a:lnTo>
                    <a:pt x="201" y="2098"/>
                  </a:lnTo>
                  <a:lnTo>
                    <a:pt x="208" y="2109"/>
                  </a:lnTo>
                  <a:lnTo>
                    <a:pt x="215" y="2119"/>
                  </a:lnTo>
                  <a:lnTo>
                    <a:pt x="223" y="2129"/>
                  </a:lnTo>
                  <a:lnTo>
                    <a:pt x="232" y="2137"/>
                  </a:lnTo>
                  <a:lnTo>
                    <a:pt x="244" y="2144"/>
                  </a:lnTo>
                  <a:lnTo>
                    <a:pt x="256" y="2150"/>
                  </a:lnTo>
                  <a:lnTo>
                    <a:pt x="269" y="2156"/>
                  </a:lnTo>
                  <a:lnTo>
                    <a:pt x="302" y="2164"/>
                  </a:lnTo>
                  <a:lnTo>
                    <a:pt x="333" y="2170"/>
                  </a:lnTo>
                  <a:lnTo>
                    <a:pt x="362" y="2176"/>
                  </a:lnTo>
                  <a:lnTo>
                    <a:pt x="390" y="2183"/>
                  </a:lnTo>
                  <a:lnTo>
                    <a:pt x="403" y="2187"/>
                  </a:lnTo>
                  <a:lnTo>
                    <a:pt x="417" y="2192"/>
                  </a:lnTo>
                  <a:lnTo>
                    <a:pt x="430" y="2196"/>
                  </a:lnTo>
                  <a:lnTo>
                    <a:pt x="444" y="2202"/>
                  </a:lnTo>
                  <a:lnTo>
                    <a:pt x="457" y="2208"/>
                  </a:lnTo>
                  <a:lnTo>
                    <a:pt x="471" y="2216"/>
                  </a:lnTo>
                  <a:lnTo>
                    <a:pt x="484" y="2226"/>
                  </a:lnTo>
                  <a:lnTo>
                    <a:pt x="498" y="2235"/>
                  </a:lnTo>
                  <a:lnTo>
                    <a:pt x="530" y="2258"/>
                  </a:lnTo>
                  <a:lnTo>
                    <a:pt x="561" y="2278"/>
                  </a:lnTo>
                  <a:lnTo>
                    <a:pt x="567" y="2285"/>
                  </a:lnTo>
                  <a:lnTo>
                    <a:pt x="574" y="2290"/>
                  </a:lnTo>
                  <a:lnTo>
                    <a:pt x="579" y="2296"/>
                  </a:lnTo>
                  <a:lnTo>
                    <a:pt x="584" y="2303"/>
                  </a:lnTo>
                  <a:lnTo>
                    <a:pt x="587" y="2310"/>
                  </a:lnTo>
                  <a:lnTo>
                    <a:pt x="590" y="2319"/>
                  </a:lnTo>
                  <a:lnTo>
                    <a:pt x="592" y="2327"/>
                  </a:lnTo>
                  <a:lnTo>
                    <a:pt x="592" y="2337"/>
                  </a:lnTo>
                  <a:lnTo>
                    <a:pt x="591" y="2360"/>
                  </a:lnTo>
                  <a:lnTo>
                    <a:pt x="589" y="2381"/>
                  </a:lnTo>
                  <a:lnTo>
                    <a:pt x="585" y="2399"/>
                  </a:lnTo>
                  <a:lnTo>
                    <a:pt x="580" y="2418"/>
                  </a:lnTo>
                  <a:lnTo>
                    <a:pt x="575" y="2436"/>
                  </a:lnTo>
                  <a:lnTo>
                    <a:pt x="570" y="2455"/>
                  </a:lnTo>
                  <a:lnTo>
                    <a:pt x="564" y="2476"/>
                  </a:lnTo>
                  <a:lnTo>
                    <a:pt x="559" y="2497"/>
                  </a:lnTo>
                  <a:lnTo>
                    <a:pt x="558" y="2505"/>
                  </a:lnTo>
                  <a:lnTo>
                    <a:pt x="555" y="2510"/>
                  </a:lnTo>
                  <a:lnTo>
                    <a:pt x="552" y="2516"/>
                  </a:lnTo>
                  <a:lnTo>
                    <a:pt x="549" y="2520"/>
                  </a:lnTo>
                  <a:lnTo>
                    <a:pt x="545" y="2524"/>
                  </a:lnTo>
                  <a:lnTo>
                    <a:pt x="540" y="2528"/>
                  </a:lnTo>
                  <a:lnTo>
                    <a:pt x="534" y="2531"/>
                  </a:lnTo>
                  <a:lnTo>
                    <a:pt x="528" y="2535"/>
                  </a:lnTo>
                  <a:lnTo>
                    <a:pt x="516" y="2539"/>
                  </a:lnTo>
                  <a:lnTo>
                    <a:pt x="502" y="2542"/>
                  </a:lnTo>
                  <a:lnTo>
                    <a:pt x="489" y="2544"/>
                  </a:lnTo>
                  <a:lnTo>
                    <a:pt x="475" y="2545"/>
                  </a:lnTo>
                  <a:lnTo>
                    <a:pt x="457" y="2546"/>
                  </a:lnTo>
                  <a:lnTo>
                    <a:pt x="441" y="2549"/>
                  </a:lnTo>
                  <a:lnTo>
                    <a:pt x="433" y="2552"/>
                  </a:lnTo>
                  <a:lnTo>
                    <a:pt x="428" y="2556"/>
                  </a:lnTo>
                  <a:lnTo>
                    <a:pt x="426" y="2558"/>
                  </a:lnTo>
                  <a:lnTo>
                    <a:pt x="424" y="2561"/>
                  </a:lnTo>
                  <a:lnTo>
                    <a:pt x="423" y="2564"/>
                  </a:lnTo>
                  <a:lnTo>
                    <a:pt x="423" y="2569"/>
                  </a:lnTo>
                  <a:lnTo>
                    <a:pt x="424" y="2580"/>
                  </a:lnTo>
                  <a:lnTo>
                    <a:pt x="427" y="2589"/>
                  </a:lnTo>
                  <a:lnTo>
                    <a:pt x="430" y="2600"/>
                  </a:lnTo>
                  <a:lnTo>
                    <a:pt x="432" y="2610"/>
                  </a:lnTo>
                  <a:lnTo>
                    <a:pt x="432" y="2619"/>
                  </a:lnTo>
                  <a:lnTo>
                    <a:pt x="432" y="2627"/>
                  </a:lnTo>
                  <a:lnTo>
                    <a:pt x="431" y="2636"/>
                  </a:lnTo>
                  <a:lnTo>
                    <a:pt x="430" y="2644"/>
                  </a:lnTo>
                  <a:lnTo>
                    <a:pt x="424" y="2659"/>
                  </a:lnTo>
                  <a:lnTo>
                    <a:pt x="418" y="2674"/>
                  </a:lnTo>
                  <a:lnTo>
                    <a:pt x="412" y="2687"/>
                  </a:lnTo>
                  <a:lnTo>
                    <a:pt x="407" y="2703"/>
                  </a:lnTo>
                  <a:lnTo>
                    <a:pt x="450" y="2725"/>
                  </a:lnTo>
                  <a:lnTo>
                    <a:pt x="488" y="2745"/>
                  </a:lnTo>
                  <a:lnTo>
                    <a:pt x="497" y="2750"/>
                  </a:lnTo>
                  <a:lnTo>
                    <a:pt x="506" y="2757"/>
                  </a:lnTo>
                  <a:lnTo>
                    <a:pt x="514" y="2763"/>
                  </a:lnTo>
                  <a:lnTo>
                    <a:pt x="522" y="2770"/>
                  </a:lnTo>
                  <a:lnTo>
                    <a:pt x="530" y="2778"/>
                  </a:lnTo>
                  <a:lnTo>
                    <a:pt x="538" y="2786"/>
                  </a:lnTo>
                  <a:lnTo>
                    <a:pt x="545" y="2797"/>
                  </a:lnTo>
                  <a:lnTo>
                    <a:pt x="552" y="2807"/>
                  </a:lnTo>
                  <a:lnTo>
                    <a:pt x="562" y="2820"/>
                  </a:lnTo>
                  <a:lnTo>
                    <a:pt x="573" y="2830"/>
                  </a:lnTo>
                  <a:lnTo>
                    <a:pt x="583" y="2839"/>
                  </a:lnTo>
                  <a:lnTo>
                    <a:pt x="593" y="2848"/>
                  </a:lnTo>
                  <a:lnTo>
                    <a:pt x="603" y="2859"/>
                  </a:lnTo>
                  <a:lnTo>
                    <a:pt x="610" y="2869"/>
                  </a:lnTo>
                  <a:lnTo>
                    <a:pt x="612" y="2875"/>
                  </a:lnTo>
                  <a:lnTo>
                    <a:pt x="614" y="2881"/>
                  </a:lnTo>
                  <a:lnTo>
                    <a:pt x="616" y="2889"/>
                  </a:lnTo>
                  <a:lnTo>
                    <a:pt x="616" y="2897"/>
                  </a:lnTo>
                  <a:lnTo>
                    <a:pt x="615" y="2905"/>
                  </a:lnTo>
                  <a:lnTo>
                    <a:pt x="614" y="2912"/>
                  </a:lnTo>
                  <a:lnTo>
                    <a:pt x="611" y="2920"/>
                  </a:lnTo>
                  <a:lnTo>
                    <a:pt x="607" y="2927"/>
                  </a:lnTo>
                  <a:lnTo>
                    <a:pt x="596" y="2938"/>
                  </a:lnTo>
                  <a:lnTo>
                    <a:pt x="585" y="2950"/>
                  </a:lnTo>
                  <a:lnTo>
                    <a:pt x="574" y="2961"/>
                  </a:lnTo>
                  <a:lnTo>
                    <a:pt x="564" y="2972"/>
                  </a:lnTo>
                  <a:lnTo>
                    <a:pt x="560" y="2980"/>
                  </a:lnTo>
                  <a:lnTo>
                    <a:pt x="557" y="2987"/>
                  </a:lnTo>
                  <a:lnTo>
                    <a:pt x="555" y="2994"/>
                  </a:lnTo>
                  <a:lnTo>
                    <a:pt x="555" y="3002"/>
                  </a:lnTo>
                  <a:lnTo>
                    <a:pt x="555" y="3012"/>
                  </a:lnTo>
                  <a:lnTo>
                    <a:pt x="557" y="3020"/>
                  </a:lnTo>
                  <a:lnTo>
                    <a:pt x="559" y="3027"/>
                  </a:lnTo>
                  <a:lnTo>
                    <a:pt x="561" y="3034"/>
                  </a:lnTo>
                  <a:lnTo>
                    <a:pt x="567" y="3049"/>
                  </a:lnTo>
                  <a:lnTo>
                    <a:pt x="572" y="3066"/>
                  </a:lnTo>
                  <a:lnTo>
                    <a:pt x="586" y="3056"/>
                  </a:lnTo>
                  <a:lnTo>
                    <a:pt x="599" y="3048"/>
                  </a:lnTo>
                  <a:lnTo>
                    <a:pt x="607" y="3045"/>
                  </a:lnTo>
                  <a:lnTo>
                    <a:pt x="615" y="3042"/>
                  </a:lnTo>
                  <a:lnTo>
                    <a:pt x="623" y="3039"/>
                  </a:lnTo>
                  <a:lnTo>
                    <a:pt x="632" y="3039"/>
                  </a:lnTo>
                  <a:lnTo>
                    <a:pt x="644" y="3041"/>
                  </a:lnTo>
                  <a:lnTo>
                    <a:pt x="653" y="3044"/>
                  </a:lnTo>
                  <a:lnTo>
                    <a:pt x="663" y="3047"/>
                  </a:lnTo>
                  <a:lnTo>
                    <a:pt x="674" y="3050"/>
                  </a:lnTo>
                  <a:lnTo>
                    <a:pt x="685" y="3053"/>
                  </a:lnTo>
                  <a:lnTo>
                    <a:pt x="696" y="3057"/>
                  </a:lnTo>
                  <a:lnTo>
                    <a:pt x="700" y="3059"/>
                  </a:lnTo>
                  <a:lnTo>
                    <a:pt x="704" y="3063"/>
                  </a:lnTo>
                  <a:lnTo>
                    <a:pt x="706" y="3067"/>
                  </a:lnTo>
                  <a:lnTo>
                    <a:pt x="707" y="3073"/>
                  </a:lnTo>
                  <a:lnTo>
                    <a:pt x="707" y="3092"/>
                  </a:lnTo>
                  <a:lnTo>
                    <a:pt x="708" y="3098"/>
                  </a:lnTo>
                  <a:lnTo>
                    <a:pt x="709" y="3105"/>
                  </a:lnTo>
                  <a:lnTo>
                    <a:pt x="713" y="3109"/>
                  </a:lnTo>
                  <a:lnTo>
                    <a:pt x="717" y="3113"/>
                  </a:lnTo>
                  <a:lnTo>
                    <a:pt x="721" y="3107"/>
                  </a:lnTo>
                  <a:lnTo>
                    <a:pt x="724" y="3100"/>
                  </a:lnTo>
                  <a:lnTo>
                    <a:pt x="726" y="3094"/>
                  </a:lnTo>
                  <a:lnTo>
                    <a:pt x="727" y="3088"/>
                  </a:lnTo>
                  <a:lnTo>
                    <a:pt x="731" y="3077"/>
                  </a:lnTo>
                  <a:lnTo>
                    <a:pt x="737" y="3063"/>
                  </a:lnTo>
                  <a:lnTo>
                    <a:pt x="752" y="3028"/>
                  </a:lnTo>
                  <a:lnTo>
                    <a:pt x="766" y="2998"/>
                  </a:lnTo>
                  <a:lnTo>
                    <a:pt x="781" y="2968"/>
                  </a:lnTo>
                  <a:lnTo>
                    <a:pt x="799" y="2934"/>
                  </a:lnTo>
                  <a:lnTo>
                    <a:pt x="808" y="2921"/>
                  </a:lnTo>
                  <a:lnTo>
                    <a:pt x="817" y="2908"/>
                  </a:lnTo>
                  <a:lnTo>
                    <a:pt x="825" y="2896"/>
                  </a:lnTo>
                  <a:lnTo>
                    <a:pt x="835" y="2886"/>
                  </a:lnTo>
                  <a:lnTo>
                    <a:pt x="845" y="2875"/>
                  </a:lnTo>
                  <a:lnTo>
                    <a:pt x="854" y="2865"/>
                  </a:lnTo>
                  <a:lnTo>
                    <a:pt x="864" y="2857"/>
                  </a:lnTo>
                  <a:lnTo>
                    <a:pt x="876" y="2848"/>
                  </a:lnTo>
                  <a:lnTo>
                    <a:pt x="887" y="2842"/>
                  </a:lnTo>
                  <a:lnTo>
                    <a:pt x="900" y="2836"/>
                  </a:lnTo>
                  <a:lnTo>
                    <a:pt x="912" y="2831"/>
                  </a:lnTo>
                  <a:lnTo>
                    <a:pt x="924" y="2827"/>
                  </a:lnTo>
                  <a:lnTo>
                    <a:pt x="938" y="2823"/>
                  </a:lnTo>
                  <a:lnTo>
                    <a:pt x="952" y="2821"/>
                  </a:lnTo>
                  <a:lnTo>
                    <a:pt x="968" y="2820"/>
                  </a:lnTo>
                  <a:lnTo>
                    <a:pt x="983" y="2818"/>
                  </a:lnTo>
                  <a:lnTo>
                    <a:pt x="1002" y="2820"/>
                  </a:lnTo>
                  <a:lnTo>
                    <a:pt x="1017" y="2823"/>
                  </a:lnTo>
                  <a:lnTo>
                    <a:pt x="1034" y="2826"/>
                  </a:lnTo>
                  <a:lnTo>
                    <a:pt x="1052" y="2827"/>
                  </a:lnTo>
                  <a:lnTo>
                    <a:pt x="1060" y="2827"/>
                  </a:lnTo>
                  <a:lnTo>
                    <a:pt x="1068" y="2825"/>
                  </a:lnTo>
                  <a:lnTo>
                    <a:pt x="1075" y="2822"/>
                  </a:lnTo>
                  <a:lnTo>
                    <a:pt x="1081" y="2817"/>
                  </a:lnTo>
                  <a:lnTo>
                    <a:pt x="1093" y="2808"/>
                  </a:lnTo>
                  <a:lnTo>
                    <a:pt x="1105" y="2796"/>
                  </a:lnTo>
                  <a:lnTo>
                    <a:pt x="1114" y="2790"/>
                  </a:lnTo>
                  <a:lnTo>
                    <a:pt x="1122" y="2783"/>
                  </a:lnTo>
                  <a:lnTo>
                    <a:pt x="1131" y="2779"/>
                  </a:lnTo>
                  <a:lnTo>
                    <a:pt x="1140" y="2776"/>
                  </a:lnTo>
                  <a:lnTo>
                    <a:pt x="1149" y="2774"/>
                  </a:lnTo>
                  <a:lnTo>
                    <a:pt x="1159" y="2772"/>
                  </a:lnTo>
                  <a:lnTo>
                    <a:pt x="1170" y="2772"/>
                  </a:lnTo>
                  <a:lnTo>
                    <a:pt x="1181" y="2771"/>
                  </a:lnTo>
                  <a:lnTo>
                    <a:pt x="1206" y="2771"/>
                  </a:lnTo>
                  <a:lnTo>
                    <a:pt x="1218" y="2778"/>
                  </a:lnTo>
                  <a:lnTo>
                    <a:pt x="1231" y="2784"/>
                  </a:lnTo>
                  <a:lnTo>
                    <a:pt x="1243" y="2778"/>
                  </a:lnTo>
                  <a:lnTo>
                    <a:pt x="1256" y="2770"/>
                  </a:lnTo>
                  <a:lnTo>
                    <a:pt x="1312" y="2782"/>
                  </a:lnTo>
                  <a:lnTo>
                    <a:pt x="1320" y="2777"/>
                  </a:lnTo>
                  <a:lnTo>
                    <a:pt x="1327" y="2771"/>
                  </a:lnTo>
                  <a:lnTo>
                    <a:pt x="1331" y="2768"/>
                  </a:lnTo>
                  <a:lnTo>
                    <a:pt x="1334" y="2766"/>
                  </a:lnTo>
                  <a:lnTo>
                    <a:pt x="1339" y="2764"/>
                  </a:lnTo>
                  <a:lnTo>
                    <a:pt x="1343" y="2763"/>
                  </a:lnTo>
                  <a:lnTo>
                    <a:pt x="1351" y="2765"/>
                  </a:lnTo>
                  <a:lnTo>
                    <a:pt x="1358" y="2767"/>
                  </a:lnTo>
                  <a:lnTo>
                    <a:pt x="1366" y="2771"/>
                  </a:lnTo>
                  <a:lnTo>
                    <a:pt x="1373" y="2775"/>
                  </a:lnTo>
                  <a:lnTo>
                    <a:pt x="1384" y="2780"/>
                  </a:lnTo>
                  <a:lnTo>
                    <a:pt x="1395" y="2786"/>
                  </a:lnTo>
                  <a:lnTo>
                    <a:pt x="1399" y="2790"/>
                  </a:lnTo>
                  <a:lnTo>
                    <a:pt x="1402" y="2794"/>
                  </a:lnTo>
                  <a:lnTo>
                    <a:pt x="1404" y="2799"/>
                  </a:lnTo>
                  <a:lnTo>
                    <a:pt x="1405" y="2804"/>
                  </a:lnTo>
                  <a:lnTo>
                    <a:pt x="1404" y="2813"/>
                  </a:lnTo>
                  <a:lnTo>
                    <a:pt x="1403" y="2822"/>
                  </a:lnTo>
                  <a:lnTo>
                    <a:pt x="1403" y="2834"/>
                  </a:lnTo>
                  <a:lnTo>
                    <a:pt x="1403" y="2845"/>
                  </a:lnTo>
                  <a:lnTo>
                    <a:pt x="1405" y="2847"/>
                  </a:lnTo>
                  <a:lnTo>
                    <a:pt x="1408" y="2848"/>
                  </a:lnTo>
                  <a:lnTo>
                    <a:pt x="1413" y="2847"/>
                  </a:lnTo>
                  <a:lnTo>
                    <a:pt x="1417" y="2844"/>
                  </a:lnTo>
                  <a:lnTo>
                    <a:pt x="1420" y="2840"/>
                  </a:lnTo>
                  <a:lnTo>
                    <a:pt x="1422" y="2836"/>
                  </a:lnTo>
                  <a:lnTo>
                    <a:pt x="1426" y="2825"/>
                  </a:lnTo>
                  <a:lnTo>
                    <a:pt x="1431" y="2812"/>
                  </a:lnTo>
                  <a:lnTo>
                    <a:pt x="1440" y="2797"/>
                  </a:lnTo>
                  <a:lnTo>
                    <a:pt x="1449" y="2782"/>
                  </a:lnTo>
                  <a:lnTo>
                    <a:pt x="1457" y="2768"/>
                  </a:lnTo>
                  <a:lnTo>
                    <a:pt x="1469" y="2752"/>
                  </a:lnTo>
                  <a:lnTo>
                    <a:pt x="1474" y="2745"/>
                  </a:lnTo>
                  <a:lnTo>
                    <a:pt x="1480" y="2738"/>
                  </a:lnTo>
                  <a:lnTo>
                    <a:pt x="1486" y="2733"/>
                  </a:lnTo>
                  <a:lnTo>
                    <a:pt x="1494" y="2728"/>
                  </a:lnTo>
                  <a:lnTo>
                    <a:pt x="1488" y="2689"/>
                  </a:lnTo>
                  <a:lnTo>
                    <a:pt x="1483" y="2653"/>
                  </a:lnTo>
                  <a:lnTo>
                    <a:pt x="1478" y="2620"/>
                  </a:lnTo>
                  <a:lnTo>
                    <a:pt x="1473" y="2589"/>
                  </a:lnTo>
                  <a:lnTo>
                    <a:pt x="1469" y="2557"/>
                  </a:lnTo>
                  <a:lnTo>
                    <a:pt x="1466" y="2524"/>
                  </a:lnTo>
                  <a:lnTo>
                    <a:pt x="1464" y="2488"/>
                  </a:lnTo>
                  <a:lnTo>
                    <a:pt x="1463" y="2449"/>
                  </a:lnTo>
                  <a:lnTo>
                    <a:pt x="1463" y="2436"/>
                  </a:lnTo>
                  <a:lnTo>
                    <a:pt x="1465" y="2424"/>
                  </a:lnTo>
                  <a:lnTo>
                    <a:pt x="1467" y="2413"/>
                  </a:lnTo>
                  <a:lnTo>
                    <a:pt x="1470" y="2402"/>
                  </a:lnTo>
                  <a:lnTo>
                    <a:pt x="1477" y="2382"/>
                  </a:lnTo>
                  <a:lnTo>
                    <a:pt x="1486" y="2362"/>
                  </a:lnTo>
                  <a:lnTo>
                    <a:pt x="1495" y="2342"/>
                  </a:lnTo>
                  <a:lnTo>
                    <a:pt x="1502" y="2323"/>
                  </a:lnTo>
                  <a:lnTo>
                    <a:pt x="1505" y="2311"/>
                  </a:lnTo>
                  <a:lnTo>
                    <a:pt x="1508" y="2300"/>
                  </a:lnTo>
                  <a:lnTo>
                    <a:pt x="1509" y="2289"/>
                  </a:lnTo>
                  <a:lnTo>
                    <a:pt x="1510" y="2275"/>
                  </a:lnTo>
                  <a:lnTo>
                    <a:pt x="1509" y="2255"/>
                  </a:lnTo>
                  <a:lnTo>
                    <a:pt x="1507" y="2235"/>
                  </a:lnTo>
                  <a:lnTo>
                    <a:pt x="1505" y="2217"/>
                  </a:lnTo>
                  <a:lnTo>
                    <a:pt x="1503" y="2200"/>
                  </a:lnTo>
                  <a:lnTo>
                    <a:pt x="1500" y="2182"/>
                  </a:lnTo>
                  <a:lnTo>
                    <a:pt x="1498" y="2164"/>
                  </a:lnTo>
                  <a:lnTo>
                    <a:pt x="1496" y="2144"/>
                  </a:lnTo>
                  <a:lnTo>
                    <a:pt x="1496" y="2124"/>
                  </a:lnTo>
                  <a:lnTo>
                    <a:pt x="1496" y="2119"/>
                  </a:lnTo>
                  <a:lnTo>
                    <a:pt x="1497" y="2115"/>
                  </a:lnTo>
                  <a:lnTo>
                    <a:pt x="1499" y="2113"/>
                  </a:lnTo>
                  <a:lnTo>
                    <a:pt x="1501" y="2110"/>
                  </a:lnTo>
                  <a:lnTo>
                    <a:pt x="1507" y="2107"/>
                  </a:lnTo>
                  <a:lnTo>
                    <a:pt x="1515" y="2104"/>
                  </a:lnTo>
                  <a:lnTo>
                    <a:pt x="1523" y="2102"/>
                  </a:lnTo>
                  <a:lnTo>
                    <a:pt x="1533" y="2100"/>
                  </a:lnTo>
                  <a:lnTo>
                    <a:pt x="1541" y="2098"/>
                  </a:lnTo>
                  <a:lnTo>
                    <a:pt x="1549" y="2094"/>
                  </a:lnTo>
                  <a:lnTo>
                    <a:pt x="1572" y="2079"/>
                  </a:lnTo>
                  <a:lnTo>
                    <a:pt x="1591" y="2065"/>
                  </a:lnTo>
                  <a:lnTo>
                    <a:pt x="1601" y="2057"/>
                  </a:lnTo>
                  <a:lnTo>
                    <a:pt x="1611" y="2050"/>
                  </a:lnTo>
                  <a:lnTo>
                    <a:pt x="1621" y="2043"/>
                  </a:lnTo>
                  <a:lnTo>
                    <a:pt x="1635" y="2037"/>
                  </a:lnTo>
                  <a:lnTo>
                    <a:pt x="1656" y="2036"/>
                  </a:lnTo>
                  <a:lnTo>
                    <a:pt x="1676" y="2033"/>
                  </a:lnTo>
                  <a:lnTo>
                    <a:pt x="1696" y="2030"/>
                  </a:lnTo>
                  <a:lnTo>
                    <a:pt x="1714" y="2025"/>
                  </a:lnTo>
                  <a:lnTo>
                    <a:pt x="1722" y="2022"/>
                  </a:lnTo>
                  <a:lnTo>
                    <a:pt x="1731" y="2018"/>
                  </a:lnTo>
                  <a:lnTo>
                    <a:pt x="1740" y="2015"/>
                  </a:lnTo>
                  <a:lnTo>
                    <a:pt x="1748" y="2010"/>
                  </a:lnTo>
                  <a:lnTo>
                    <a:pt x="1756" y="2005"/>
                  </a:lnTo>
                  <a:lnTo>
                    <a:pt x="1765" y="2000"/>
                  </a:lnTo>
                  <a:lnTo>
                    <a:pt x="1773" y="1992"/>
                  </a:lnTo>
                  <a:lnTo>
                    <a:pt x="1780" y="1985"/>
                  </a:lnTo>
                  <a:lnTo>
                    <a:pt x="1788" y="1977"/>
                  </a:lnTo>
                  <a:lnTo>
                    <a:pt x="1794" y="1967"/>
                  </a:lnTo>
                  <a:lnTo>
                    <a:pt x="1797" y="1962"/>
                  </a:lnTo>
                  <a:lnTo>
                    <a:pt x="1800" y="1958"/>
                  </a:lnTo>
                  <a:lnTo>
                    <a:pt x="1804" y="1954"/>
                  </a:lnTo>
                  <a:lnTo>
                    <a:pt x="1809" y="1950"/>
                  </a:lnTo>
                  <a:lnTo>
                    <a:pt x="1834" y="1935"/>
                  </a:lnTo>
                  <a:lnTo>
                    <a:pt x="1857" y="1919"/>
                  </a:lnTo>
                  <a:lnTo>
                    <a:pt x="1867" y="1912"/>
                  </a:lnTo>
                  <a:lnTo>
                    <a:pt x="1876" y="1903"/>
                  </a:lnTo>
                  <a:lnTo>
                    <a:pt x="1885" y="1891"/>
                  </a:lnTo>
                  <a:lnTo>
                    <a:pt x="1894" y="1879"/>
                  </a:lnTo>
                  <a:lnTo>
                    <a:pt x="1899" y="1871"/>
                  </a:lnTo>
                  <a:lnTo>
                    <a:pt x="1903" y="1861"/>
                  </a:lnTo>
                  <a:lnTo>
                    <a:pt x="1906" y="1853"/>
                  </a:lnTo>
                  <a:lnTo>
                    <a:pt x="1908" y="1845"/>
                  </a:lnTo>
                  <a:lnTo>
                    <a:pt x="1911" y="1827"/>
                  </a:lnTo>
                  <a:lnTo>
                    <a:pt x="1912" y="1811"/>
                  </a:lnTo>
                  <a:lnTo>
                    <a:pt x="1913" y="1793"/>
                  </a:lnTo>
                  <a:lnTo>
                    <a:pt x="1915" y="1776"/>
                  </a:lnTo>
                  <a:lnTo>
                    <a:pt x="1917" y="1767"/>
                  </a:lnTo>
                  <a:lnTo>
                    <a:pt x="1919" y="1758"/>
                  </a:lnTo>
                  <a:lnTo>
                    <a:pt x="1923" y="1749"/>
                  </a:lnTo>
                  <a:lnTo>
                    <a:pt x="1927" y="1739"/>
                  </a:lnTo>
                  <a:lnTo>
                    <a:pt x="1933" y="1728"/>
                  </a:lnTo>
                  <a:lnTo>
                    <a:pt x="1941" y="1719"/>
                  </a:lnTo>
                  <a:lnTo>
                    <a:pt x="1949" y="1709"/>
                  </a:lnTo>
                  <a:lnTo>
                    <a:pt x="1958" y="1702"/>
                  </a:lnTo>
                  <a:lnTo>
                    <a:pt x="1968" y="1696"/>
                  </a:lnTo>
                  <a:lnTo>
                    <a:pt x="1978" y="1691"/>
                  </a:lnTo>
                  <a:lnTo>
                    <a:pt x="1989" y="1687"/>
                  </a:lnTo>
                  <a:lnTo>
                    <a:pt x="2000" y="1684"/>
                  </a:lnTo>
                  <a:lnTo>
                    <a:pt x="2012" y="1681"/>
                  </a:lnTo>
                  <a:lnTo>
                    <a:pt x="2025" y="1679"/>
                  </a:lnTo>
                  <a:lnTo>
                    <a:pt x="2037" y="1677"/>
                  </a:lnTo>
                  <a:lnTo>
                    <a:pt x="2049" y="1676"/>
                  </a:lnTo>
                  <a:lnTo>
                    <a:pt x="2076" y="1676"/>
                  </a:lnTo>
                  <a:lnTo>
                    <a:pt x="2104" y="1676"/>
                  </a:lnTo>
                  <a:lnTo>
                    <a:pt x="2119" y="1676"/>
                  </a:lnTo>
                  <a:lnTo>
                    <a:pt x="2134" y="1678"/>
                  </a:lnTo>
                  <a:lnTo>
                    <a:pt x="2147" y="1681"/>
                  </a:lnTo>
                  <a:lnTo>
                    <a:pt x="2161" y="1684"/>
                  </a:lnTo>
                  <a:lnTo>
                    <a:pt x="2157" y="1672"/>
                  </a:lnTo>
                  <a:lnTo>
                    <a:pt x="2154" y="1662"/>
                  </a:lnTo>
                  <a:lnTo>
                    <a:pt x="2151" y="1652"/>
                  </a:lnTo>
                  <a:lnTo>
                    <a:pt x="2149" y="1641"/>
                  </a:lnTo>
                  <a:lnTo>
                    <a:pt x="2147" y="1621"/>
                  </a:lnTo>
                  <a:lnTo>
                    <a:pt x="2146" y="1601"/>
                  </a:lnTo>
                  <a:lnTo>
                    <a:pt x="2144" y="1581"/>
                  </a:lnTo>
                  <a:lnTo>
                    <a:pt x="2141" y="1562"/>
                  </a:lnTo>
                  <a:lnTo>
                    <a:pt x="2139" y="1552"/>
                  </a:lnTo>
                  <a:lnTo>
                    <a:pt x="2135" y="1542"/>
                  </a:lnTo>
                  <a:lnTo>
                    <a:pt x="2131" y="1533"/>
                  </a:lnTo>
                  <a:lnTo>
                    <a:pt x="2125" y="1523"/>
                  </a:lnTo>
                  <a:lnTo>
                    <a:pt x="2122" y="1518"/>
                  </a:lnTo>
                  <a:lnTo>
                    <a:pt x="2117" y="1515"/>
                  </a:lnTo>
                  <a:lnTo>
                    <a:pt x="2112" y="1513"/>
                  </a:lnTo>
                  <a:lnTo>
                    <a:pt x="2107" y="1511"/>
                  </a:lnTo>
                  <a:lnTo>
                    <a:pt x="2096" y="1509"/>
                  </a:lnTo>
                  <a:lnTo>
                    <a:pt x="2084" y="1506"/>
                  </a:lnTo>
                  <a:lnTo>
                    <a:pt x="2063" y="1496"/>
                  </a:lnTo>
                  <a:lnTo>
                    <a:pt x="2043" y="1485"/>
                  </a:lnTo>
                  <a:lnTo>
                    <a:pt x="2025" y="1475"/>
                  </a:lnTo>
                  <a:lnTo>
                    <a:pt x="2002" y="1464"/>
                  </a:lnTo>
                  <a:lnTo>
                    <a:pt x="1985" y="1456"/>
                  </a:lnTo>
                  <a:lnTo>
                    <a:pt x="1970" y="1449"/>
                  </a:lnTo>
                  <a:lnTo>
                    <a:pt x="1963" y="1445"/>
                  </a:lnTo>
                  <a:lnTo>
                    <a:pt x="1958" y="1439"/>
                  </a:lnTo>
                  <a:lnTo>
                    <a:pt x="1956" y="1436"/>
                  </a:lnTo>
                  <a:lnTo>
                    <a:pt x="1954" y="1433"/>
                  </a:lnTo>
                  <a:lnTo>
                    <a:pt x="1953" y="1429"/>
                  </a:lnTo>
                  <a:lnTo>
                    <a:pt x="1953" y="1424"/>
                  </a:lnTo>
                  <a:lnTo>
                    <a:pt x="1953" y="1303"/>
                  </a:lnTo>
                  <a:lnTo>
                    <a:pt x="1952" y="1296"/>
                  </a:lnTo>
                  <a:lnTo>
                    <a:pt x="1951" y="1291"/>
                  </a:lnTo>
                  <a:lnTo>
                    <a:pt x="1949" y="1287"/>
                  </a:lnTo>
                  <a:lnTo>
                    <a:pt x="1945" y="1284"/>
                  </a:lnTo>
                  <a:lnTo>
                    <a:pt x="1942" y="1281"/>
                  </a:lnTo>
                  <a:lnTo>
                    <a:pt x="1937" y="1279"/>
                  </a:lnTo>
                  <a:lnTo>
                    <a:pt x="1932" y="1277"/>
                  </a:lnTo>
                  <a:lnTo>
                    <a:pt x="1927" y="1275"/>
                  </a:lnTo>
                  <a:lnTo>
                    <a:pt x="1901" y="1272"/>
                  </a:lnTo>
                  <a:lnTo>
                    <a:pt x="1875" y="1267"/>
                  </a:lnTo>
                  <a:lnTo>
                    <a:pt x="1839" y="1261"/>
                  </a:lnTo>
                  <a:lnTo>
                    <a:pt x="1807" y="1258"/>
                  </a:lnTo>
                  <a:lnTo>
                    <a:pt x="1792" y="1256"/>
                  </a:lnTo>
                  <a:lnTo>
                    <a:pt x="1775" y="1253"/>
                  </a:lnTo>
                  <a:lnTo>
                    <a:pt x="1759" y="1250"/>
                  </a:lnTo>
                  <a:lnTo>
                    <a:pt x="1741" y="1244"/>
                  </a:lnTo>
                  <a:lnTo>
                    <a:pt x="1721" y="1236"/>
                  </a:lnTo>
                  <a:lnTo>
                    <a:pt x="1705" y="1229"/>
                  </a:lnTo>
                  <a:lnTo>
                    <a:pt x="1689" y="1220"/>
                  </a:lnTo>
                  <a:lnTo>
                    <a:pt x="1676" y="1211"/>
                  </a:lnTo>
                  <a:lnTo>
                    <a:pt x="1648" y="1189"/>
                  </a:lnTo>
                  <a:lnTo>
                    <a:pt x="1618" y="1164"/>
                  </a:lnTo>
                  <a:lnTo>
                    <a:pt x="1589" y="1144"/>
                  </a:lnTo>
                  <a:lnTo>
                    <a:pt x="1564" y="1124"/>
                  </a:lnTo>
                  <a:lnTo>
                    <a:pt x="1558" y="1119"/>
                  </a:lnTo>
                  <a:lnTo>
                    <a:pt x="1553" y="1113"/>
                  </a:lnTo>
                  <a:lnTo>
                    <a:pt x="1549" y="1106"/>
                  </a:lnTo>
                  <a:lnTo>
                    <a:pt x="1545" y="1100"/>
                  </a:lnTo>
                  <a:lnTo>
                    <a:pt x="1542" y="1094"/>
                  </a:lnTo>
                  <a:lnTo>
                    <a:pt x="1540" y="1086"/>
                  </a:lnTo>
                  <a:lnTo>
                    <a:pt x="1538" y="1078"/>
                  </a:lnTo>
                  <a:lnTo>
                    <a:pt x="1538" y="1069"/>
                  </a:lnTo>
                  <a:lnTo>
                    <a:pt x="1538" y="1057"/>
                  </a:lnTo>
                  <a:lnTo>
                    <a:pt x="1538" y="1045"/>
                  </a:lnTo>
                  <a:lnTo>
                    <a:pt x="1539" y="1034"/>
                  </a:lnTo>
                  <a:lnTo>
                    <a:pt x="1541" y="1024"/>
                  </a:lnTo>
                  <a:lnTo>
                    <a:pt x="1543" y="1013"/>
                  </a:lnTo>
                  <a:lnTo>
                    <a:pt x="1546" y="1003"/>
                  </a:lnTo>
                  <a:lnTo>
                    <a:pt x="1551" y="993"/>
                  </a:lnTo>
                  <a:lnTo>
                    <a:pt x="1556" y="982"/>
                  </a:lnTo>
                  <a:lnTo>
                    <a:pt x="1554" y="972"/>
                  </a:lnTo>
                  <a:lnTo>
                    <a:pt x="1541" y="977"/>
                  </a:lnTo>
                  <a:lnTo>
                    <a:pt x="1528" y="980"/>
                  </a:lnTo>
                  <a:lnTo>
                    <a:pt x="1515" y="982"/>
                  </a:lnTo>
                  <a:lnTo>
                    <a:pt x="1504" y="983"/>
                  </a:lnTo>
                  <a:lnTo>
                    <a:pt x="1479" y="985"/>
                  </a:lnTo>
                  <a:lnTo>
                    <a:pt x="1450" y="985"/>
                  </a:lnTo>
                  <a:lnTo>
                    <a:pt x="1446" y="955"/>
                  </a:lnTo>
                  <a:lnTo>
                    <a:pt x="1441" y="928"/>
                  </a:lnTo>
                  <a:lnTo>
                    <a:pt x="1435" y="902"/>
                  </a:lnTo>
                  <a:lnTo>
                    <a:pt x="1428" y="878"/>
                  </a:lnTo>
                  <a:lnTo>
                    <a:pt x="1419" y="854"/>
                  </a:lnTo>
                  <a:lnTo>
                    <a:pt x="1409" y="831"/>
                  </a:lnTo>
                  <a:lnTo>
                    <a:pt x="1399" y="805"/>
                  </a:lnTo>
                  <a:lnTo>
                    <a:pt x="1387" y="777"/>
                  </a:lnTo>
                  <a:lnTo>
                    <a:pt x="1383" y="769"/>
                  </a:lnTo>
                  <a:lnTo>
                    <a:pt x="1378" y="761"/>
                  </a:lnTo>
                  <a:lnTo>
                    <a:pt x="1373" y="754"/>
                  </a:lnTo>
                  <a:lnTo>
                    <a:pt x="1367" y="748"/>
                  </a:lnTo>
                  <a:lnTo>
                    <a:pt x="1362" y="742"/>
                  </a:lnTo>
                  <a:lnTo>
                    <a:pt x="1357" y="735"/>
                  </a:lnTo>
                  <a:lnTo>
                    <a:pt x="1355" y="726"/>
                  </a:lnTo>
                  <a:lnTo>
                    <a:pt x="1354" y="718"/>
                  </a:lnTo>
                  <a:lnTo>
                    <a:pt x="1354" y="710"/>
                  </a:lnTo>
                  <a:lnTo>
                    <a:pt x="1355" y="703"/>
                  </a:lnTo>
                  <a:lnTo>
                    <a:pt x="1357" y="695"/>
                  </a:lnTo>
                  <a:lnTo>
                    <a:pt x="1360" y="689"/>
                  </a:lnTo>
                  <a:lnTo>
                    <a:pt x="1368" y="678"/>
                  </a:lnTo>
                  <a:lnTo>
                    <a:pt x="1375" y="666"/>
                  </a:lnTo>
                  <a:lnTo>
                    <a:pt x="1383" y="655"/>
                  </a:lnTo>
                  <a:lnTo>
                    <a:pt x="1389" y="643"/>
                  </a:lnTo>
                  <a:lnTo>
                    <a:pt x="1392" y="637"/>
                  </a:lnTo>
                  <a:lnTo>
                    <a:pt x="1395" y="629"/>
                  </a:lnTo>
                  <a:lnTo>
                    <a:pt x="1396" y="622"/>
                  </a:lnTo>
                  <a:lnTo>
                    <a:pt x="1397" y="615"/>
                  </a:lnTo>
                  <a:lnTo>
                    <a:pt x="1397" y="600"/>
                  </a:lnTo>
                  <a:lnTo>
                    <a:pt x="1397" y="586"/>
                  </a:lnTo>
                  <a:lnTo>
                    <a:pt x="1388" y="563"/>
                  </a:lnTo>
                  <a:lnTo>
                    <a:pt x="1380" y="544"/>
                  </a:lnTo>
                  <a:lnTo>
                    <a:pt x="1372" y="526"/>
                  </a:lnTo>
                  <a:lnTo>
                    <a:pt x="1362" y="508"/>
                  </a:lnTo>
                  <a:lnTo>
                    <a:pt x="1351" y="492"/>
                  </a:lnTo>
                  <a:lnTo>
                    <a:pt x="1340" y="475"/>
                  </a:lnTo>
                  <a:lnTo>
                    <a:pt x="1327" y="458"/>
                  </a:lnTo>
                  <a:lnTo>
                    <a:pt x="1314" y="439"/>
                  </a:lnTo>
                  <a:lnTo>
                    <a:pt x="1301" y="417"/>
                  </a:lnTo>
                  <a:lnTo>
                    <a:pt x="1288" y="394"/>
                  </a:lnTo>
                  <a:lnTo>
                    <a:pt x="1285" y="390"/>
                  </a:lnTo>
                  <a:lnTo>
                    <a:pt x="1282" y="385"/>
                  </a:lnTo>
                  <a:lnTo>
                    <a:pt x="1278" y="380"/>
                  </a:lnTo>
                  <a:lnTo>
                    <a:pt x="1274" y="377"/>
                  </a:lnTo>
                  <a:lnTo>
                    <a:pt x="1270" y="374"/>
                  </a:lnTo>
                  <a:lnTo>
                    <a:pt x="1265" y="372"/>
                  </a:lnTo>
                  <a:lnTo>
                    <a:pt x="1258" y="371"/>
                  </a:lnTo>
                  <a:lnTo>
                    <a:pt x="1252" y="371"/>
                  </a:lnTo>
                  <a:lnTo>
                    <a:pt x="1206" y="371"/>
                  </a:lnTo>
                  <a:lnTo>
                    <a:pt x="1188" y="370"/>
                  </a:lnTo>
                  <a:lnTo>
                    <a:pt x="1173" y="368"/>
                  </a:lnTo>
                  <a:lnTo>
                    <a:pt x="1157" y="365"/>
                  </a:lnTo>
                  <a:lnTo>
                    <a:pt x="1140" y="361"/>
                  </a:lnTo>
                  <a:lnTo>
                    <a:pt x="1120" y="366"/>
                  </a:lnTo>
                  <a:lnTo>
                    <a:pt x="1111" y="361"/>
                  </a:lnTo>
                  <a:lnTo>
                    <a:pt x="1113" y="341"/>
                  </a:lnTo>
                  <a:lnTo>
                    <a:pt x="1116" y="323"/>
                  </a:lnTo>
                  <a:lnTo>
                    <a:pt x="1119" y="306"/>
                  </a:lnTo>
                  <a:lnTo>
                    <a:pt x="1123" y="290"/>
                  </a:lnTo>
                  <a:lnTo>
                    <a:pt x="1135" y="258"/>
                  </a:lnTo>
                  <a:lnTo>
                    <a:pt x="1149" y="222"/>
                  </a:lnTo>
                  <a:lnTo>
                    <a:pt x="1151" y="216"/>
                  </a:lnTo>
                  <a:lnTo>
                    <a:pt x="1155" y="211"/>
                  </a:lnTo>
                  <a:lnTo>
                    <a:pt x="1159" y="207"/>
                  </a:lnTo>
                  <a:lnTo>
                    <a:pt x="1162" y="203"/>
                  </a:lnTo>
                  <a:lnTo>
                    <a:pt x="1167" y="198"/>
                  </a:lnTo>
                  <a:lnTo>
                    <a:pt x="1170" y="194"/>
                  </a:lnTo>
                  <a:lnTo>
                    <a:pt x="1172" y="188"/>
                  </a:lnTo>
                  <a:lnTo>
                    <a:pt x="1173" y="182"/>
                  </a:lnTo>
                  <a:lnTo>
                    <a:pt x="1172" y="175"/>
                  </a:lnTo>
                  <a:lnTo>
                    <a:pt x="1171" y="169"/>
                  </a:lnTo>
                  <a:lnTo>
                    <a:pt x="1168" y="164"/>
                  </a:lnTo>
                  <a:lnTo>
                    <a:pt x="1165" y="159"/>
                  </a:lnTo>
                  <a:lnTo>
                    <a:pt x="1160" y="155"/>
                  </a:lnTo>
                  <a:lnTo>
                    <a:pt x="1156" y="152"/>
                  </a:lnTo>
                  <a:lnTo>
                    <a:pt x="1151" y="149"/>
                  </a:lnTo>
                  <a:lnTo>
                    <a:pt x="1145" y="146"/>
                  </a:lnTo>
                  <a:lnTo>
                    <a:pt x="1119" y="137"/>
                  </a:lnTo>
                  <a:lnTo>
                    <a:pt x="1092" y="125"/>
                  </a:lnTo>
                  <a:lnTo>
                    <a:pt x="1082" y="119"/>
                  </a:lnTo>
                  <a:lnTo>
                    <a:pt x="1073" y="113"/>
                  </a:lnTo>
                  <a:lnTo>
                    <a:pt x="1065" y="107"/>
                  </a:lnTo>
                  <a:lnTo>
                    <a:pt x="1056" y="101"/>
                  </a:lnTo>
                  <a:lnTo>
                    <a:pt x="1042" y="87"/>
                  </a:lnTo>
                  <a:lnTo>
                    <a:pt x="1028" y="73"/>
                  </a:lnTo>
                  <a:lnTo>
                    <a:pt x="1015" y="58"/>
                  </a:lnTo>
                  <a:lnTo>
                    <a:pt x="1002" y="43"/>
                  </a:lnTo>
                  <a:lnTo>
                    <a:pt x="987" y="27"/>
                  </a:lnTo>
                  <a:lnTo>
                    <a:pt x="970" y="12"/>
                  </a:lnTo>
                  <a:lnTo>
                    <a:pt x="942" y="12"/>
                  </a:lnTo>
                  <a:lnTo>
                    <a:pt x="918" y="12"/>
                  </a:lnTo>
                  <a:lnTo>
                    <a:pt x="894" y="12"/>
                  </a:lnTo>
                  <a:lnTo>
                    <a:pt x="867" y="12"/>
                  </a:lnTo>
                  <a:lnTo>
                    <a:pt x="853" y="11"/>
                  </a:lnTo>
                  <a:lnTo>
                    <a:pt x="841" y="7"/>
                  </a:lnTo>
                  <a:lnTo>
                    <a:pt x="829" y="3"/>
                  </a:lnTo>
                  <a:lnTo>
                    <a:pt x="816" y="2"/>
                  </a:lnTo>
                  <a:lnTo>
                    <a:pt x="799" y="2"/>
                  </a:lnTo>
                  <a:lnTo>
                    <a:pt x="785" y="1"/>
                  </a:lnTo>
                  <a:lnTo>
                    <a:pt x="770" y="0"/>
                  </a:lnTo>
                  <a:lnTo>
                    <a:pt x="753" y="0"/>
                  </a:lnTo>
                  <a:lnTo>
                    <a:pt x="745" y="0"/>
                  </a:lnTo>
                  <a:lnTo>
                    <a:pt x="736" y="1"/>
                  </a:lnTo>
                  <a:lnTo>
                    <a:pt x="728" y="3"/>
                  </a:lnTo>
                  <a:lnTo>
                    <a:pt x="721" y="7"/>
                  </a:lnTo>
                  <a:lnTo>
                    <a:pt x="708" y="14"/>
                  </a:lnTo>
                  <a:lnTo>
                    <a:pt x="695" y="23"/>
                  </a:lnTo>
                  <a:lnTo>
                    <a:pt x="683" y="32"/>
                  </a:lnTo>
                  <a:lnTo>
                    <a:pt x="671" y="43"/>
                  </a:lnTo>
                  <a:lnTo>
                    <a:pt x="663" y="47"/>
                  </a:lnTo>
                  <a:lnTo>
                    <a:pt x="656" y="51"/>
                  </a:lnTo>
                  <a:lnTo>
                    <a:pt x="648" y="55"/>
                  </a:lnTo>
                  <a:lnTo>
                    <a:pt x="640" y="59"/>
                  </a:lnTo>
                  <a:lnTo>
                    <a:pt x="643" y="65"/>
                  </a:lnTo>
                  <a:lnTo>
                    <a:pt x="647" y="73"/>
                  </a:lnTo>
                  <a:lnTo>
                    <a:pt x="651" y="78"/>
                  </a:lnTo>
                  <a:lnTo>
                    <a:pt x="655" y="83"/>
                  </a:lnTo>
                  <a:lnTo>
                    <a:pt x="664" y="93"/>
                  </a:lnTo>
                  <a:lnTo>
                    <a:pt x="674" y="103"/>
                  </a:lnTo>
                  <a:lnTo>
                    <a:pt x="682" y="112"/>
                  </a:lnTo>
                  <a:lnTo>
                    <a:pt x="689" y="122"/>
                  </a:lnTo>
                  <a:lnTo>
                    <a:pt x="692" y="128"/>
                  </a:lnTo>
                  <a:lnTo>
                    <a:pt x="694" y="135"/>
                  </a:lnTo>
                  <a:lnTo>
                    <a:pt x="695" y="141"/>
                  </a:lnTo>
                  <a:lnTo>
                    <a:pt x="696" y="149"/>
                  </a:lnTo>
                  <a:lnTo>
                    <a:pt x="695" y="154"/>
                  </a:lnTo>
                  <a:lnTo>
                    <a:pt x="694" y="159"/>
                  </a:lnTo>
                  <a:lnTo>
                    <a:pt x="692" y="164"/>
                  </a:lnTo>
                  <a:lnTo>
                    <a:pt x="689" y="168"/>
                  </a:lnTo>
                  <a:lnTo>
                    <a:pt x="683" y="175"/>
                  </a:lnTo>
                  <a:lnTo>
                    <a:pt x="675" y="182"/>
                  </a:lnTo>
                  <a:lnTo>
                    <a:pt x="667" y="188"/>
                  </a:lnTo>
                  <a:lnTo>
                    <a:pt x="660" y="196"/>
                  </a:lnTo>
                  <a:lnTo>
                    <a:pt x="658" y="200"/>
                  </a:lnTo>
                  <a:lnTo>
                    <a:pt x="655" y="205"/>
                  </a:lnTo>
                  <a:lnTo>
                    <a:pt x="654" y="209"/>
                  </a:lnTo>
                  <a:lnTo>
                    <a:pt x="654" y="215"/>
                  </a:lnTo>
                  <a:lnTo>
                    <a:pt x="654" y="223"/>
                  </a:lnTo>
                  <a:lnTo>
                    <a:pt x="657" y="232"/>
                  </a:lnTo>
                  <a:lnTo>
                    <a:pt x="659" y="239"/>
                  </a:lnTo>
                  <a:lnTo>
                    <a:pt x="663" y="245"/>
                  </a:lnTo>
                  <a:lnTo>
                    <a:pt x="666" y="252"/>
                  </a:lnTo>
                  <a:lnTo>
                    <a:pt x="670" y="260"/>
                  </a:lnTo>
                  <a:lnTo>
                    <a:pt x="672" y="268"/>
                  </a:lnTo>
                  <a:lnTo>
                    <a:pt x="673" y="276"/>
                  </a:lnTo>
                  <a:lnTo>
                    <a:pt x="672" y="285"/>
                  </a:lnTo>
                  <a:lnTo>
                    <a:pt x="670" y="293"/>
                  </a:lnTo>
                  <a:lnTo>
                    <a:pt x="665" y="300"/>
                  </a:lnTo>
                  <a:lnTo>
                    <a:pt x="660" y="305"/>
                  </a:lnTo>
                  <a:lnTo>
                    <a:pt x="653" y="309"/>
                  </a:lnTo>
                  <a:lnTo>
                    <a:pt x="646" y="313"/>
                  </a:lnTo>
                  <a:lnTo>
                    <a:pt x="638" y="316"/>
                  </a:lnTo>
                  <a:lnTo>
                    <a:pt x="629" y="319"/>
                  </a:lnTo>
                  <a:lnTo>
                    <a:pt x="611" y="326"/>
                  </a:lnTo>
                  <a:lnTo>
                    <a:pt x="592" y="332"/>
                  </a:lnTo>
                  <a:lnTo>
                    <a:pt x="583" y="336"/>
                  </a:lnTo>
                  <a:lnTo>
                    <a:pt x="575" y="341"/>
                  </a:lnTo>
                  <a:lnTo>
                    <a:pt x="566" y="347"/>
                  </a:lnTo>
                  <a:lnTo>
                    <a:pt x="559" y="355"/>
                  </a:lnTo>
                  <a:lnTo>
                    <a:pt x="553" y="363"/>
                  </a:lnTo>
                  <a:lnTo>
                    <a:pt x="547" y="371"/>
                  </a:lnTo>
                  <a:lnTo>
                    <a:pt x="543" y="379"/>
                  </a:lnTo>
                  <a:lnTo>
                    <a:pt x="539" y="388"/>
                  </a:lnTo>
                  <a:lnTo>
                    <a:pt x="531" y="404"/>
                  </a:lnTo>
                  <a:lnTo>
                    <a:pt x="526" y="421"/>
                  </a:lnTo>
                  <a:lnTo>
                    <a:pt x="522" y="437"/>
                  </a:lnTo>
                  <a:lnTo>
                    <a:pt x="516" y="454"/>
                  </a:lnTo>
                  <a:lnTo>
                    <a:pt x="513" y="462"/>
                  </a:lnTo>
                  <a:lnTo>
                    <a:pt x="509" y="471"/>
                  </a:lnTo>
                  <a:lnTo>
                    <a:pt x="504" y="480"/>
                  </a:lnTo>
                  <a:lnTo>
                    <a:pt x="498" y="489"/>
                  </a:lnTo>
                  <a:lnTo>
                    <a:pt x="492" y="496"/>
                  </a:lnTo>
                  <a:lnTo>
                    <a:pt x="487" y="502"/>
                  </a:lnTo>
                  <a:lnTo>
                    <a:pt x="480" y="507"/>
                  </a:lnTo>
                  <a:lnTo>
                    <a:pt x="474" y="512"/>
                  </a:lnTo>
                  <a:lnTo>
                    <a:pt x="466" y="515"/>
                  </a:lnTo>
                  <a:lnTo>
                    <a:pt x="459" y="518"/>
                  </a:lnTo>
                  <a:lnTo>
                    <a:pt x="452" y="521"/>
                  </a:lnTo>
                  <a:lnTo>
                    <a:pt x="444" y="523"/>
                  </a:lnTo>
                  <a:lnTo>
                    <a:pt x="428" y="526"/>
                  </a:lnTo>
                  <a:lnTo>
                    <a:pt x="412" y="530"/>
                  </a:lnTo>
                  <a:lnTo>
                    <a:pt x="403" y="532"/>
                  </a:lnTo>
                  <a:lnTo>
                    <a:pt x="395" y="535"/>
                  </a:lnTo>
                  <a:lnTo>
                    <a:pt x="386" y="538"/>
                  </a:lnTo>
                  <a:lnTo>
                    <a:pt x="378" y="543"/>
                  </a:lnTo>
                  <a:lnTo>
                    <a:pt x="375" y="546"/>
                  </a:lnTo>
                  <a:lnTo>
                    <a:pt x="372" y="548"/>
                  </a:lnTo>
                  <a:lnTo>
                    <a:pt x="368" y="551"/>
                  </a:lnTo>
                  <a:lnTo>
                    <a:pt x="366" y="554"/>
                  </a:lnTo>
                  <a:lnTo>
                    <a:pt x="362" y="562"/>
                  </a:lnTo>
                  <a:lnTo>
                    <a:pt x="359" y="570"/>
                  </a:lnTo>
                  <a:lnTo>
                    <a:pt x="357" y="588"/>
                  </a:lnTo>
                  <a:lnTo>
                    <a:pt x="355" y="608"/>
                  </a:lnTo>
                  <a:lnTo>
                    <a:pt x="355" y="616"/>
                  </a:lnTo>
                  <a:lnTo>
                    <a:pt x="354" y="625"/>
                  </a:lnTo>
                  <a:lnTo>
                    <a:pt x="353" y="632"/>
                  </a:lnTo>
                  <a:lnTo>
                    <a:pt x="350" y="640"/>
                  </a:lnTo>
                  <a:lnTo>
                    <a:pt x="347" y="646"/>
                  </a:lnTo>
                  <a:lnTo>
                    <a:pt x="343" y="650"/>
                  </a:lnTo>
                  <a:lnTo>
                    <a:pt x="340" y="652"/>
                  </a:lnTo>
                  <a:lnTo>
                    <a:pt x="336" y="653"/>
                  </a:lnTo>
                  <a:lnTo>
                    <a:pt x="332" y="654"/>
                  </a:lnTo>
                  <a:lnTo>
                    <a:pt x="328" y="654"/>
                  </a:lnTo>
                  <a:lnTo>
                    <a:pt x="322" y="654"/>
                  </a:lnTo>
                  <a:lnTo>
                    <a:pt x="316" y="653"/>
                  </a:lnTo>
                  <a:lnTo>
                    <a:pt x="310" y="651"/>
                  </a:lnTo>
                  <a:lnTo>
                    <a:pt x="304" y="649"/>
                  </a:lnTo>
                  <a:lnTo>
                    <a:pt x="294" y="644"/>
                  </a:lnTo>
                  <a:lnTo>
                    <a:pt x="285" y="639"/>
                  </a:lnTo>
                  <a:lnTo>
                    <a:pt x="276" y="633"/>
                  </a:lnTo>
                  <a:lnTo>
                    <a:pt x="265" y="628"/>
                  </a:lnTo>
                  <a:lnTo>
                    <a:pt x="259" y="626"/>
                  </a:lnTo>
                  <a:lnTo>
                    <a:pt x="254" y="624"/>
                  </a:lnTo>
                  <a:lnTo>
                    <a:pt x="248" y="623"/>
                  </a:lnTo>
                  <a:lnTo>
                    <a:pt x="242" y="623"/>
                  </a:lnTo>
                  <a:lnTo>
                    <a:pt x="232" y="624"/>
                  </a:lnTo>
                  <a:lnTo>
                    <a:pt x="224" y="625"/>
                  </a:lnTo>
                  <a:lnTo>
                    <a:pt x="217" y="626"/>
                  </a:lnTo>
                  <a:lnTo>
                    <a:pt x="210" y="628"/>
                  </a:lnTo>
                  <a:lnTo>
                    <a:pt x="195" y="633"/>
                  </a:lnTo>
                  <a:lnTo>
                    <a:pt x="182" y="640"/>
                  </a:lnTo>
                  <a:lnTo>
                    <a:pt x="169" y="646"/>
                  </a:lnTo>
                  <a:lnTo>
                    <a:pt x="155" y="651"/>
                  </a:lnTo>
                  <a:lnTo>
                    <a:pt x="148" y="653"/>
                  </a:lnTo>
                  <a:lnTo>
                    <a:pt x="141" y="655"/>
                  </a:lnTo>
                  <a:lnTo>
                    <a:pt x="132" y="656"/>
                  </a:lnTo>
                  <a:lnTo>
                    <a:pt x="123" y="656"/>
                  </a:lnTo>
                  <a:lnTo>
                    <a:pt x="117" y="656"/>
                  </a:lnTo>
                  <a:lnTo>
                    <a:pt x="112" y="654"/>
                  </a:lnTo>
                  <a:lnTo>
                    <a:pt x="106" y="653"/>
                  </a:lnTo>
                  <a:lnTo>
                    <a:pt x="101" y="650"/>
                  </a:lnTo>
                  <a:lnTo>
                    <a:pt x="97" y="648"/>
                  </a:lnTo>
                  <a:lnTo>
                    <a:pt x="92" y="647"/>
                  </a:lnTo>
                  <a:lnTo>
                    <a:pt x="86" y="645"/>
                  </a:lnTo>
                  <a:lnTo>
                    <a:pt x="81" y="645"/>
                  </a:lnTo>
                  <a:lnTo>
                    <a:pt x="67" y="646"/>
                  </a:lnTo>
                  <a:lnTo>
                    <a:pt x="55" y="647"/>
                  </a:lnTo>
                  <a:lnTo>
                    <a:pt x="55" y="733"/>
                  </a:lnTo>
                  <a:lnTo>
                    <a:pt x="55" y="742"/>
                  </a:lnTo>
                  <a:lnTo>
                    <a:pt x="56" y="750"/>
                  </a:lnTo>
                  <a:lnTo>
                    <a:pt x="58" y="757"/>
                  </a:lnTo>
                  <a:lnTo>
                    <a:pt x="60" y="765"/>
                  </a:lnTo>
                  <a:lnTo>
                    <a:pt x="66" y="779"/>
                  </a:lnTo>
                  <a:lnTo>
                    <a:pt x="73" y="791"/>
                  </a:lnTo>
                  <a:lnTo>
                    <a:pt x="92" y="816"/>
                  </a:lnTo>
                  <a:lnTo>
                    <a:pt x="114" y="843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ru-RU" altLang="ru-RU" sz="675" dirty="0">
                <a:latin typeface="Calibri" panose="020F0502020204030204" pitchFamily="34" charset="0"/>
              </a:endParaRPr>
            </a:p>
          </p:txBody>
        </p:sp>
        <p:sp>
          <p:nvSpPr>
            <p:cNvPr id="23" name="Lugansk"/>
            <p:cNvSpPr>
              <a:spLocks/>
            </p:cNvSpPr>
            <p:nvPr/>
          </p:nvSpPr>
          <p:spPr bwMode="auto">
            <a:xfrm>
              <a:off x="4565" y="1864"/>
              <a:ext cx="596" cy="813"/>
            </a:xfrm>
            <a:custGeom>
              <a:avLst/>
              <a:gdLst>
                <a:gd name="T0" fmla="*/ 370 w 1975"/>
                <a:gd name="T1" fmla="*/ 213 h 2811"/>
                <a:gd name="T2" fmla="*/ 370 w 1975"/>
                <a:gd name="T3" fmla="*/ 213 h 2811"/>
                <a:gd name="T4" fmla="*/ 370 w 1975"/>
                <a:gd name="T5" fmla="*/ 213 h 2811"/>
                <a:gd name="T6" fmla="*/ 370 w 1975"/>
                <a:gd name="T7" fmla="*/ 213 h 2811"/>
                <a:gd name="T8" fmla="*/ 370 w 1975"/>
                <a:gd name="T9" fmla="*/ 213 h 2811"/>
                <a:gd name="T10" fmla="*/ 370 w 1975"/>
                <a:gd name="T11" fmla="*/ 213 h 2811"/>
                <a:gd name="T12" fmla="*/ 370 w 1975"/>
                <a:gd name="T13" fmla="*/ 213 h 2811"/>
                <a:gd name="T14" fmla="*/ 370 w 1975"/>
                <a:gd name="T15" fmla="*/ 213 h 2811"/>
                <a:gd name="T16" fmla="*/ 370 w 1975"/>
                <a:gd name="T17" fmla="*/ 213 h 2811"/>
                <a:gd name="T18" fmla="*/ 370 w 1975"/>
                <a:gd name="T19" fmla="*/ 213 h 2811"/>
                <a:gd name="T20" fmla="*/ 370 w 1975"/>
                <a:gd name="T21" fmla="*/ 213 h 2811"/>
                <a:gd name="T22" fmla="*/ 370 w 1975"/>
                <a:gd name="T23" fmla="*/ 213 h 2811"/>
                <a:gd name="T24" fmla="*/ 370 w 1975"/>
                <a:gd name="T25" fmla="*/ 213 h 2811"/>
                <a:gd name="T26" fmla="*/ 370 w 1975"/>
                <a:gd name="T27" fmla="*/ 213 h 2811"/>
                <a:gd name="T28" fmla="*/ 370 w 1975"/>
                <a:gd name="T29" fmla="*/ 213 h 2811"/>
                <a:gd name="T30" fmla="*/ 370 w 1975"/>
                <a:gd name="T31" fmla="*/ 213 h 2811"/>
                <a:gd name="T32" fmla="*/ 370 w 1975"/>
                <a:gd name="T33" fmla="*/ 213 h 2811"/>
                <a:gd name="T34" fmla="*/ 370 w 1975"/>
                <a:gd name="T35" fmla="*/ 213 h 2811"/>
                <a:gd name="T36" fmla="*/ 370 w 1975"/>
                <a:gd name="T37" fmla="*/ 213 h 2811"/>
                <a:gd name="T38" fmla="*/ 370 w 1975"/>
                <a:gd name="T39" fmla="*/ 213 h 2811"/>
                <a:gd name="T40" fmla="*/ 370 w 1975"/>
                <a:gd name="T41" fmla="*/ 213 h 2811"/>
                <a:gd name="T42" fmla="*/ 370 w 1975"/>
                <a:gd name="T43" fmla="*/ 213 h 2811"/>
                <a:gd name="T44" fmla="*/ 370 w 1975"/>
                <a:gd name="T45" fmla="*/ 213 h 2811"/>
                <a:gd name="T46" fmla="*/ 370 w 1975"/>
                <a:gd name="T47" fmla="*/ 213 h 2811"/>
                <a:gd name="T48" fmla="*/ 370 w 1975"/>
                <a:gd name="T49" fmla="*/ 213 h 2811"/>
                <a:gd name="T50" fmla="*/ 370 w 1975"/>
                <a:gd name="T51" fmla="*/ 213 h 2811"/>
                <a:gd name="T52" fmla="*/ 370 w 1975"/>
                <a:gd name="T53" fmla="*/ 213 h 2811"/>
                <a:gd name="T54" fmla="*/ 370 w 1975"/>
                <a:gd name="T55" fmla="*/ 213 h 2811"/>
                <a:gd name="T56" fmla="*/ 370 w 1975"/>
                <a:gd name="T57" fmla="*/ 213 h 2811"/>
                <a:gd name="T58" fmla="*/ 370 w 1975"/>
                <a:gd name="T59" fmla="*/ 213 h 2811"/>
                <a:gd name="T60" fmla="*/ 370 w 1975"/>
                <a:gd name="T61" fmla="*/ 213 h 2811"/>
                <a:gd name="T62" fmla="*/ 370 w 1975"/>
                <a:gd name="T63" fmla="*/ 213 h 2811"/>
                <a:gd name="T64" fmla="*/ 370 w 1975"/>
                <a:gd name="T65" fmla="*/ 213 h 2811"/>
                <a:gd name="T66" fmla="*/ 370 w 1975"/>
                <a:gd name="T67" fmla="*/ 213 h 2811"/>
                <a:gd name="T68" fmla="*/ 370 w 1975"/>
                <a:gd name="T69" fmla="*/ 213 h 2811"/>
                <a:gd name="T70" fmla="*/ 370 w 1975"/>
                <a:gd name="T71" fmla="*/ 213 h 2811"/>
                <a:gd name="T72" fmla="*/ 370 w 1975"/>
                <a:gd name="T73" fmla="*/ 213 h 2811"/>
                <a:gd name="T74" fmla="*/ 370 w 1975"/>
                <a:gd name="T75" fmla="*/ 213 h 2811"/>
                <a:gd name="T76" fmla="*/ 370 w 1975"/>
                <a:gd name="T77" fmla="*/ 213 h 2811"/>
                <a:gd name="T78" fmla="*/ 370 w 1975"/>
                <a:gd name="T79" fmla="*/ 213 h 2811"/>
                <a:gd name="T80" fmla="*/ 370 w 1975"/>
                <a:gd name="T81" fmla="*/ 213 h 2811"/>
                <a:gd name="T82" fmla="*/ 370 w 1975"/>
                <a:gd name="T83" fmla="*/ 213 h 2811"/>
                <a:gd name="T84" fmla="*/ 370 w 1975"/>
                <a:gd name="T85" fmla="*/ 213 h 2811"/>
                <a:gd name="T86" fmla="*/ 370 w 1975"/>
                <a:gd name="T87" fmla="*/ 213 h 2811"/>
                <a:gd name="T88" fmla="*/ 370 w 1975"/>
                <a:gd name="T89" fmla="*/ 213 h 2811"/>
                <a:gd name="T90" fmla="*/ 370 w 1975"/>
                <a:gd name="T91" fmla="*/ 213 h 2811"/>
                <a:gd name="T92" fmla="*/ 370 w 1975"/>
                <a:gd name="T93" fmla="*/ 213 h 2811"/>
                <a:gd name="T94" fmla="*/ 370 w 1975"/>
                <a:gd name="T95" fmla="*/ 213 h 2811"/>
                <a:gd name="T96" fmla="*/ 370 w 1975"/>
                <a:gd name="T97" fmla="*/ 213 h 2811"/>
                <a:gd name="T98" fmla="*/ 370 w 1975"/>
                <a:gd name="T99" fmla="*/ 213 h 2811"/>
                <a:gd name="T100" fmla="*/ 370 w 1975"/>
                <a:gd name="T101" fmla="*/ 213 h 2811"/>
                <a:gd name="T102" fmla="*/ 370 w 1975"/>
                <a:gd name="T103" fmla="*/ 213 h 2811"/>
                <a:gd name="T104" fmla="*/ 370 w 1975"/>
                <a:gd name="T105" fmla="*/ 0 h 2811"/>
                <a:gd name="T106" fmla="*/ 370 w 1975"/>
                <a:gd name="T107" fmla="*/ 213 h 2811"/>
                <a:gd name="T108" fmla="*/ 370 w 1975"/>
                <a:gd name="T109" fmla="*/ 213 h 2811"/>
                <a:gd name="T110" fmla="*/ 370 w 1975"/>
                <a:gd name="T111" fmla="*/ 213 h 2811"/>
                <a:gd name="T112" fmla="*/ 370 w 1975"/>
                <a:gd name="T113" fmla="*/ 213 h 2811"/>
                <a:gd name="T114" fmla="*/ 370 w 1975"/>
                <a:gd name="T115" fmla="*/ 213 h 2811"/>
                <a:gd name="T116" fmla="*/ 370 w 1975"/>
                <a:gd name="T117" fmla="*/ 213 h 2811"/>
                <a:gd name="T118" fmla="*/ 370 w 1975"/>
                <a:gd name="T119" fmla="*/ 213 h 2811"/>
                <a:gd name="T120" fmla="*/ 370 w 1975"/>
                <a:gd name="T121" fmla="*/ 213 h 2811"/>
                <a:gd name="T122" fmla="*/ 370 w 1975"/>
                <a:gd name="T123" fmla="*/ 213 h 2811"/>
                <a:gd name="T124" fmla="*/ 370 w 1975"/>
                <a:gd name="T125" fmla="*/ 213 h 281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975"/>
                <a:gd name="T190" fmla="*/ 0 h 2811"/>
                <a:gd name="T191" fmla="*/ 1975 w 1975"/>
                <a:gd name="T192" fmla="*/ 2811 h 281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975" h="2811">
                  <a:moveTo>
                    <a:pt x="45" y="1126"/>
                  </a:moveTo>
                  <a:lnTo>
                    <a:pt x="62" y="1141"/>
                  </a:lnTo>
                  <a:lnTo>
                    <a:pt x="77" y="1157"/>
                  </a:lnTo>
                  <a:lnTo>
                    <a:pt x="90" y="1172"/>
                  </a:lnTo>
                  <a:lnTo>
                    <a:pt x="103" y="1187"/>
                  </a:lnTo>
                  <a:lnTo>
                    <a:pt x="117" y="1201"/>
                  </a:lnTo>
                  <a:lnTo>
                    <a:pt x="131" y="1215"/>
                  </a:lnTo>
                  <a:lnTo>
                    <a:pt x="140" y="1221"/>
                  </a:lnTo>
                  <a:lnTo>
                    <a:pt x="148" y="1227"/>
                  </a:lnTo>
                  <a:lnTo>
                    <a:pt x="157" y="1233"/>
                  </a:lnTo>
                  <a:lnTo>
                    <a:pt x="167" y="1239"/>
                  </a:lnTo>
                  <a:lnTo>
                    <a:pt x="194" y="1251"/>
                  </a:lnTo>
                  <a:lnTo>
                    <a:pt x="220" y="1260"/>
                  </a:lnTo>
                  <a:lnTo>
                    <a:pt x="226" y="1263"/>
                  </a:lnTo>
                  <a:lnTo>
                    <a:pt x="231" y="1266"/>
                  </a:lnTo>
                  <a:lnTo>
                    <a:pt x="235" y="1269"/>
                  </a:lnTo>
                  <a:lnTo>
                    <a:pt x="240" y="1273"/>
                  </a:lnTo>
                  <a:lnTo>
                    <a:pt x="243" y="1278"/>
                  </a:lnTo>
                  <a:lnTo>
                    <a:pt x="246" y="1283"/>
                  </a:lnTo>
                  <a:lnTo>
                    <a:pt x="247" y="1289"/>
                  </a:lnTo>
                  <a:lnTo>
                    <a:pt x="248" y="1296"/>
                  </a:lnTo>
                  <a:lnTo>
                    <a:pt x="247" y="1302"/>
                  </a:lnTo>
                  <a:lnTo>
                    <a:pt x="245" y="1308"/>
                  </a:lnTo>
                  <a:lnTo>
                    <a:pt x="242" y="1312"/>
                  </a:lnTo>
                  <a:lnTo>
                    <a:pt x="237" y="1317"/>
                  </a:lnTo>
                  <a:lnTo>
                    <a:pt x="234" y="1321"/>
                  </a:lnTo>
                  <a:lnTo>
                    <a:pt x="230" y="1325"/>
                  </a:lnTo>
                  <a:lnTo>
                    <a:pt x="226" y="1330"/>
                  </a:lnTo>
                  <a:lnTo>
                    <a:pt x="224" y="1336"/>
                  </a:lnTo>
                  <a:lnTo>
                    <a:pt x="210" y="1372"/>
                  </a:lnTo>
                  <a:lnTo>
                    <a:pt x="198" y="1404"/>
                  </a:lnTo>
                  <a:lnTo>
                    <a:pt x="194" y="1420"/>
                  </a:lnTo>
                  <a:lnTo>
                    <a:pt x="191" y="1437"/>
                  </a:lnTo>
                  <a:lnTo>
                    <a:pt x="188" y="1455"/>
                  </a:lnTo>
                  <a:lnTo>
                    <a:pt x="186" y="1475"/>
                  </a:lnTo>
                  <a:lnTo>
                    <a:pt x="195" y="1480"/>
                  </a:lnTo>
                  <a:lnTo>
                    <a:pt x="215" y="1475"/>
                  </a:lnTo>
                  <a:lnTo>
                    <a:pt x="232" y="1479"/>
                  </a:lnTo>
                  <a:lnTo>
                    <a:pt x="248" y="1482"/>
                  </a:lnTo>
                  <a:lnTo>
                    <a:pt x="263" y="1484"/>
                  </a:lnTo>
                  <a:lnTo>
                    <a:pt x="281" y="1485"/>
                  </a:lnTo>
                  <a:lnTo>
                    <a:pt x="327" y="1485"/>
                  </a:lnTo>
                  <a:lnTo>
                    <a:pt x="333" y="1485"/>
                  </a:lnTo>
                  <a:lnTo>
                    <a:pt x="340" y="1486"/>
                  </a:lnTo>
                  <a:lnTo>
                    <a:pt x="345" y="1488"/>
                  </a:lnTo>
                  <a:lnTo>
                    <a:pt x="349" y="1491"/>
                  </a:lnTo>
                  <a:lnTo>
                    <a:pt x="353" y="1494"/>
                  </a:lnTo>
                  <a:lnTo>
                    <a:pt x="357" y="1499"/>
                  </a:lnTo>
                  <a:lnTo>
                    <a:pt x="360" y="1504"/>
                  </a:lnTo>
                  <a:lnTo>
                    <a:pt x="363" y="1508"/>
                  </a:lnTo>
                  <a:lnTo>
                    <a:pt x="376" y="1531"/>
                  </a:lnTo>
                  <a:lnTo>
                    <a:pt x="389" y="1553"/>
                  </a:lnTo>
                  <a:lnTo>
                    <a:pt x="402" y="1572"/>
                  </a:lnTo>
                  <a:lnTo>
                    <a:pt x="415" y="1589"/>
                  </a:lnTo>
                  <a:lnTo>
                    <a:pt x="426" y="1606"/>
                  </a:lnTo>
                  <a:lnTo>
                    <a:pt x="437" y="1622"/>
                  </a:lnTo>
                  <a:lnTo>
                    <a:pt x="447" y="1640"/>
                  </a:lnTo>
                  <a:lnTo>
                    <a:pt x="455" y="1658"/>
                  </a:lnTo>
                  <a:lnTo>
                    <a:pt x="463" y="1677"/>
                  </a:lnTo>
                  <a:lnTo>
                    <a:pt x="472" y="1700"/>
                  </a:lnTo>
                  <a:lnTo>
                    <a:pt x="472" y="1714"/>
                  </a:lnTo>
                  <a:lnTo>
                    <a:pt x="472" y="1729"/>
                  </a:lnTo>
                  <a:lnTo>
                    <a:pt x="471" y="1736"/>
                  </a:lnTo>
                  <a:lnTo>
                    <a:pt x="470" y="1743"/>
                  </a:lnTo>
                  <a:lnTo>
                    <a:pt x="467" y="1751"/>
                  </a:lnTo>
                  <a:lnTo>
                    <a:pt x="464" y="1757"/>
                  </a:lnTo>
                  <a:lnTo>
                    <a:pt x="458" y="1769"/>
                  </a:lnTo>
                  <a:lnTo>
                    <a:pt x="450" y="1780"/>
                  </a:lnTo>
                  <a:lnTo>
                    <a:pt x="443" y="1792"/>
                  </a:lnTo>
                  <a:lnTo>
                    <a:pt x="435" y="1803"/>
                  </a:lnTo>
                  <a:lnTo>
                    <a:pt x="432" y="1809"/>
                  </a:lnTo>
                  <a:lnTo>
                    <a:pt x="430" y="1817"/>
                  </a:lnTo>
                  <a:lnTo>
                    <a:pt x="429" y="1824"/>
                  </a:lnTo>
                  <a:lnTo>
                    <a:pt x="429" y="1832"/>
                  </a:lnTo>
                  <a:lnTo>
                    <a:pt x="430" y="1840"/>
                  </a:lnTo>
                  <a:lnTo>
                    <a:pt x="432" y="1849"/>
                  </a:lnTo>
                  <a:lnTo>
                    <a:pt x="437" y="1856"/>
                  </a:lnTo>
                  <a:lnTo>
                    <a:pt x="442" y="1862"/>
                  </a:lnTo>
                  <a:lnTo>
                    <a:pt x="448" y="1868"/>
                  </a:lnTo>
                  <a:lnTo>
                    <a:pt x="453" y="1875"/>
                  </a:lnTo>
                  <a:lnTo>
                    <a:pt x="458" y="1883"/>
                  </a:lnTo>
                  <a:lnTo>
                    <a:pt x="462" y="1891"/>
                  </a:lnTo>
                  <a:lnTo>
                    <a:pt x="474" y="1919"/>
                  </a:lnTo>
                  <a:lnTo>
                    <a:pt x="484" y="1945"/>
                  </a:lnTo>
                  <a:lnTo>
                    <a:pt x="494" y="1968"/>
                  </a:lnTo>
                  <a:lnTo>
                    <a:pt x="503" y="1992"/>
                  </a:lnTo>
                  <a:lnTo>
                    <a:pt x="510" y="2016"/>
                  </a:lnTo>
                  <a:lnTo>
                    <a:pt x="516" y="2042"/>
                  </a:lnTo>
                  <a:lnTo>
                    <a:pt x="521" y="2069"/>
                  </a:lnTo>
                  <a:lnTo>
                    <a:pt x="525" y="2099"/>
                  </a:lnTo>
                  <a:lnTo>
                    <a:pt x="554" y="2099"/>
                  </a:lnTo>
                  <a:lnTo>
                    <a:pt x="579" y="2097"/>
                  </a:lnTo>
                  <a:lnTo>
                    <a:pt x="590" y="2096"/>
                  </a:lnTo>
                  <a:lnTo>
                    <a:pt x="603" y="2094"/>
                  </a:lnTo>
                  <a:lnTo>
                    <a:pt x="616" y="2091"/>
                  </a:lnTo>
                  <a:lnTo>
                    <a:pt x="629" y="2086"/>
                  </a:lnTo>
                  <a:lnTo>
                    <a:pt x="631" y="2096"/>
                  </a:lnTo>
                  <a:lnTo>
                    <a:pt x="626" y="2107"/>
                  </a:lnTo>
                  <a:lnTo>
                    <a:pt x="621" y="2117"/>
                  </a:lnTo>
                  <a:lnTo>
                    <a:pt x="618" y="2127"/>
                  </a:lnTo>
                  <a:lnTo>
                    <a:pt x="616" y="2138"/>
                  </a:lnTo>
                  <a:lnTo>
                    <a:pt x="614" y="2148"/>
                  </a:lnTo>
                  <a:lnTo>
                    <a:pt x="613" y="2159"/>
                  </a:lnTo>
                  <a:lnTo>
                    <a:pt x="613" y="2171"/>
                  </a:lnTo>
                  <a:lnTo>
                    <a:pt x="613" y="2183"/>
                  </a:lnTo>
                  <a:lnTo>
                    <a:pt x="613" y="2192"/>
                  </a:lnTo>
                  <a:lnTo>
                    <a:pt x="615" y="2200"/>
                  </a:lnTo>
                  <a:lnTo>
                    <a:pt x="617" y="2208"/>
                  </a:lnTo>
                  <a:lnTo>
                    <a:pt x="620" y="2214"/>
                  </a:lnTo>
                  <a:lnTo>
                    <a:pt x="624" y="2220"/>
                  </a:lnTo>
                  <a:lnTo>
                    <a:pt x="628" y="2227"/>
                  </a:lnTo>
                  <a:lnTo>
                    <a:pt x="633" y="2233"/>
                  </a:lnTo>
                  <a:lnTo>
                    <a:pt x="639" y="2238"/>
                  </a:lnTo>
                  <a:lnTo>
                    <a:pt x="664" y="2258"/>
                  </a:lnTo>
                  <a:lnTo>
                    <a:pt x="693" y="2278"/>
                  </a:lnTo>
                  <a:lnTo>
                    <a:pt x="723" y="2303"/>
                  </a:lnTo>
                  <a:lnTo>
                    <a:pt x="751" y="2325"/>
                  </a:lnTo>
                  <a:lnTo>
                    <a:pt x="764" y="2334"/>
                  </a:lnTo>
                  <a:lnTo>
                    <a:pt x="780" y="2343"/>
                  </a:lnTo>
                  <a:lnTo>
                    <a:pt x="796" y="2350"/>
                  </a:lnTo>
                  <a:lnTo>
                    <a:pt x="816" y="2358"/>
                  </a:lnTo>
                  <a:lnTo>
                    <a:pt x="834" y="2364"/>
                  </a:lnTo>
                  <a:lnTo>
                    <a:pt x="850" y="2367"/>
                  </a:lnTo>
                  <a:lnTo>
                    <a:pt x="867" y="2370"/>
                  </a:lnTo>
                  <a:lnTo>
                    <a:pt x="882" y="2372"/>
                  </a:lnTo>
                  <a:lnTo>
                    <a:pt x="914" y="2375"/>
                  </a:lnTo>
                  <a:lnTo>
                    <a:pt x="950" y="2381"/>
                  </a:lnTo>
                  <a:lnTo>
                    <a:pt x="976" y="2386"/>
                  </a:lnTo>
                  <a:lnTo>
                    <a:pt x="1002" y="2389"/>
                  </a:lnTo>
                  <a:lnTo>
                    <a:pt x="1007" y="2391"/>
                  </a:lnTo>
                  <a:lnTo>
                    <a:pt x="1012" y="2393"/>
                  </a:lnTo>
                  <a:lnTo>
                    <a:pt x="1017" y="2395"/>
                  </a:lnTo>
                  <a:lnTo>
                    <a:pt x="1020" y="2398"/>
                  </a:lnTo>
                  <a:lnTo>
                    <a:pt x="1024" y="2401"/>
                  </a:lnTo>
                  <a:lnTo>
                    <a:pt x="1026" y="2405"/>
                  </a:lnTo>
                  <a:lnTo>
                    <a:pt x="1027" y="2410"/>
                  </a:lnTo>
                  <a:lnTo>
                    <a:pt x="1028" y="2417"/>
                  </a:lnTo>
                  <a:lnTo>
                    <a:pt x="1028" y="2538"/>
                  </a:lnTo>
                  <a:lnTo>
                    <a:pt x="1028" y="2543"/>
                  </a:lnTo>
                  <a:lnTo>
                    <a:pt x="1029" y="2547"/>
                  </a:lnTo>
                  <a:lnTo>
                    <a:pt x="1031" y="2550"/>
                  </a:lnTo>
                  <a:lnTo>
                    <a:pt x="1033" y="2553"/>
                  </a:lnTo>
                  <a:lnTo>
                    <a:pt x="1038" y="2559"/>
                  </a:lnTo>
                  <a:lnTo>
                    <a:pt x="1045" y="2563"/>
                  </a:lnTo>
                  <a:lnTo>
                    <a:pt x="1060" y="2570"/>
                  </a:lnTo>
                  <a:lnTo>
                    <a:pt x="1077" y="2578"/>
                  </a:lnTo>
                  <a:lnTo>
                    <a:pt x="1100" y="2589"/>
                  </a:lnTo>
                  <a:lnTo>
                    <a:pt x="1118" y="2599"/>
                  </a:lnTo>
                  <a:lnTo>
                    <a:pt x="1138" y="2610"/>
                  </a:lnTo>
                  <a:lnTo>
                    <a:pt x="1159" y="2620"/>
                  </a:lnTo>
                  <a:lnTo>
                    <a:pt x="1171" y="2623"/>
                  </a:lnTo>
                  <a:lnTo>
                    <a:pt x="1182" y="2625"/>
                  </a:lnTo>
                  <a:lnTo>
                    <a:pt x="1187" y="2627"/>
                  </a:lnTo>
                  <a:lnTo>
                    <a:pt x="1192" y="2629"/>
                  </a:lnTo>
                  <a:lnTo>
                    <a:pt x="1197" y="2632"/>
                  </a:lnTo>
                  <a:lnTo>
                    <a:pt x="1200" y="2637"/>
                  </a:lnTo>
                  <a:lnTo>
                    <a:pt x="1206" y="2647"/>
                  </a:lnTo>
                  <a:lnTo>
                    <a:pt x="1210" y="2656"/>
                  </a:lnTo>
                  <a:lnTo>
                    <a:pt x="1214" y="2666"/>
                  </a:lnTo>
                  <a:lnTo>
                    <a:pt x="1216" y="2676"/>
                  </a:lnTo>
                  <a:lnTo>
                    <a:pt x="1219" y="2695"/>
                  </a:lnTo>
                  <a:lnTo>
                    <a:pt x="1221" y="2715"/>
                  </a:lnTo>
                  <a:lnTo>
                    <a:pt x="1222" y="2735"/>
                  </a:lnTo>
                  <a:lnTo>
                    <a:pt x="1224" y="2755"/>
                  </a:lnTo>
                  <a:lnTo>
                    <a:pt x="1226" y="2766"/>
                  </a:lnTo>
                  <a:lnTo>
                    <a:pt x="1229" y="2776"/>
                  </a:lnTo>
                  <a:lnTo>
                    <a:pt x="1232" y="2786"/>
                  </a:lnTo>
                  <a:lnTo>
                    <a:pt x="1236" y="2798"/>
                  </a:lnTo>
                  <a:lnTo>
                    <a:pt x="1248" y="2800"/>
                  </a:lnTo>
                  <a:lnTo>
                    <a:pt x="1260" y="2802"/>
                  </a:lnTo>
                  <a:lnTo>
                    <a:pt x="1274" y="2804"/>
                  </a:lnTo>
                  <a:lnTo>
                    <a:pt x="1289" y="2804"/>
                  </a:lnTo>
                  <a:lnTo>
                    <a:pt x="1299" y="2804"/>
                  </a:lnTo>
                  <a:lnTo>
                    <a:pt x="1308" y="2803"/>
                  </a:lnTo>
                  <a:lnTo>
                    <a:pt x="1316" y="2802"/>
                  </a:lnTo>
                  <a:lnTo>
                    <a:pt x="1324" y="2800"/>
                  </a:lnTo>
                  <a:lnTo>
                    <a:pt x="1341" y="2796"/>
                  </a:lnTo>
                  <a:lnTo>
                    <a:pt x="1355" y="2790"/>
                  </a:lnTo>
                  <a:lnTo>
                    <a:pt x="1371" y="2785"/>
                  </a:lnTo>
                  <a:lnTo>
                    <a:pt x="1386" y="2780"/>
                  </a:lnTo>
                  <a:lnTo>
                    <a:pt x="1395" y="2779"/>
                  </a:lnTo>
                  <a:lnTo>
                    <a:pt x="1403" y="2777"/>
                  </a:lnTo>
                  <a:lnTo>
                    <a:pt x="1412" y="2776"/>
                  </a:lnTo>
                  <a:lnTo>
                    <a:pt x="1421" y="2776"/>
                  </a:lnTo>
                  <a:lnTo>
                    <a:pt x="1425" y="2776"/>
                  </a:lnTo>
                  <a:lnTo>
                    <a:pt x="1430" y="2777"/>
                  </a:lnTo>
                  <a:lnTo>
                    <a:pt x="1433" y="2779"/>
                  </a:lnTo>
                  <a:lnTo>
                    <a:pt x="1435" y="2781"/>
                  </a:lnTo>
                  <a:lnTo>
                    <a:pt x="1440" y="2787"/>
                  </a:lnTo>
                  <a:lnTo>
                    <a:pt x="1445" y="2793"/>
                  </a:lnTo>
                  <a:lnTo>
                    <a:pt x="1449" y="2800"/>
                  </a:lnTo>
                  <a:lnTo>
                    <a:pt x="1454" y="2806"/>
                  </a:lnTo>
                  <a:lnTo>
                    <a:pt x="1457" y="2808"/>
                  </a:lnTo>
                  <a:lnTo>
                    <a:pt x="1461" y="2810"/>
                  </a:lnTo>
                  <a:lnTo>
                    <a:pt x="1465" y="2811"/>
                  </a:lnTo>
                  <a:lnTo>
                    <a:pt x="1469" y="2811"/>
                  </a:lnTo>
                  <a:lnTo>
                    <a:pt x="1479" y="2811"/>
                  </a:lnTo>
                  <a:lnTo>
                    <a:pt x="1488" y="2810"/>
                  </a:lnTo>
                  <a:lnTo>
                    <a:pt x="1498" y="2809"/>
                  </a:lnTo>
                  <a:lnTo>
                    <a:pt x="1507" y="2807"/>
                  </a:lnTo>
                  <a:lnTo>
                    <a:pt x="1522" y="2802"/>
                  </a:lnTo>
                  <a:lnTo>
                    <a:pt x="1539" y="2796"/>
                  </a:lnTo>
                  <a:lnTo>
                    <a:pt x="1570" y="2780"/>
                  </a:lnTo>
                  <a:lnTo>
                    <a:pt x="1605" y="2765"/>
                  </a:lnTo>
                  <a:lnTo>
                    <a:pt x="1616" y="2760"/>
                  </a:lnTo>
                  <a:lnTo>
                    <a:pt x="1627" y="2758"/>
                  </a:lnTo>
                  <a:lnTo>
                    <a:pt x="1636" y="2756"/>
                  </a:lnTo>
                  <a:lnTo>
                    <a:pt x="1646" y="2756"/>
                  </a:lnTo>
                  <a:lnTo>
                    <a:pt x="1666" y="2756"/>
                  </a:lnTo>
                  <a:lnTo>
                    <a:pt x="1687" y="2754"/>
                  </a:lnTo>
                  <a:lnTo>
                    <a:pt x="1718" y="2750"/>
                  </a:lnTo>
                  <a:lnTo>
                    <a:pt x="1746" y="2746"/>
                  </a:lnTo>
                  <a:lnTo>
                    <a:pt x="1760" y="2744"/>
                  </a:lnTo>
                  <a:lnTo>
                    <a:pt x="1773" y="2742"/>
                  </a:lnTo>
                  <a:lnTo>
                    <a:pt x="1787" y="2741"/>
                  </a:lnTo>
                  <a:lnTo>
                    <a:pt x="1804" y="2741"/>
                  </a:lnTo>
                  <a:lnTo>
                    <a:pt x="1813" y="2742"/>
                  </a:lnTo>
                  <a:lnTo>
                    <a:pt x="1824" y="2743"/>
                  </a:lnTo>
                  <a:lnTo>
                    <a:pt x="1824" y="2678"/>
                  </a:lnTo>
                  <a:lnTo>
                    <a:pt x="1824" y="2654"/>
                  </a:lnTo>
                  <a:lnTo>
                    <a:pt x="1824" y="2632"/>
                  </a:lnTo>
                  <a:lnTo>
                    <a:pt x="1824" y="2612"/>
                  </a:lnTo>
                  <a:lnTo>
                    <a:pt x="1821" y="2591"/>
                  </a:lnTo>
                  <a:lnTo>
                    <a:pt x="1819" y="2582"/>
                  </a:lnTo>
                  <a:lnTo>
                    <a:pt x="1817" y="2572"/>
                  </a:lnTo>
                  <a:lnTo>
                    <a:pt x="1814" y="2563"/>
                  </a:lnTo>
                  <a:lnTo>
                    <a:pt x="1810" y="2554"/>
                  </a:lnTo>
                  <a:lnTo>
                    <a:pt x="1805" y="2545"/>
                  </a:lnTo>
                  <a:lnTo>
                    <a:pt x="1800" y="2536"/>
                  </a:lnTo>
                  <a:lnTo>
                    <a:pt x="1793" y="2527"/>
                  </a:lnTo>
                  <a:lnTo>
                    <a:pt x="1784" y="2519"/>
                  </a:lnTo>
                  <a:lnTo>
                    <a:pt x="1797" y="2515"/>
                  </a:lnTo>
                  <a:lnTo>
                    <a:pt x="1808" y="2511"/>
                  </a:lnTo>
                  <a:lnTo>
                    <a:pt x="1819" y="2505"/>
                  </a:lnTo>
                  <a:lnTo>
                    <a:pt x="1830" y="2499"/>
                  </a:lnTo>
                  <a:lnTo>
                    <a:pt x="1834" y="2496"/>
                  </a:lnTo>
                  <a:lnTo>
                    <a:pt x="1838" y="2492"/>
                  </a:lnTo>
                  <a:lnTo>
                    <a:pt x="1841" y="2488"/>
                  </a:lnTo>
                  <a:lnTo>
                    <a:pt x="1844" y="2484"/>
                  </a:lnTo>
                  <a:lnTo>
                    <a:pt x="1847" y="2479"/>
                  </a:lnTo>
                  <a:lnTo>
                    <a:pt x="1849" y="2473"/>
                  </a:lnTo>
                  <a:lnTo>
                    <a:pt x="1850" y="2468"/>
                  </a:lnTo>
                  <a:lnTo>
                    <a:pt x="1850" y="2462"/>
                  </a:lnTo>
                  <a:lnTo>
                    <a:pt x="1849" y="2453"/>
                  </a:lnTo>
                  <a:lnTo>
                    <a:pt x="1847" y="2444"/>
                  </a:lnTo>
                  <a:lnTo>
                    <a:pt x="1844" y="2436"/>
                  </a:lnTo>
                  <a:lnTo>
                    <a:pt x="1843" y="2427"/>
                  </a:lnTo>
                  <a:lnTo>
                    <a:pt x="1844" y="2404"/>
                  </a:lnTo>
                  <a:lnTo>
                    <a:pt x="1845" y="2382"/>
                  </a:lnTo>
                  <a:lnTo>
                    <a:pt x="1848" y="2363"/>
                  </a:lnTo>
                  <a:lnTo>
                    <a:pt x="1852" y="2344"/>
                  </a:lnTo>
                  <a:lnTo>
                    <a:pt x="1858" y="2326"/>
                  </a:lnTo>
                  <a:lnTo>
                    <a:pt x="1865" y="2307"/>
                  </a:lnTo>
                  <a:lnTo>
                    <a:pt x="1873" y="2289"/>
                  </a:lnTo>
                  <a:lnTo>
                    <a:pt x="1883" y="2269"/>
                  </a:lnTo>
                  <a:lnTo>
                    <a:pt x="1887" y="2263"/>
                  </a:lnTo>
                  <a:lnTo>
                    <a:pt x="1893" y="2258"/>
                  </a:lnTo>
                  <a:lnTo>
                    <a:pt x="1898" y="2254"/>
                  </a:lnTo>
                  <a:lnTo>
                    <a:pt x="1903" y="2251"/>
                  </a:lnTo>
                  <a:lnTo>
                    <a:pt x="1915" y="2245"/>
                  </a:lnTo>
                  <a:lnTo>
                    <a:pt x="1929" y="2238"/>
                  </a:lnTo>
                  <a:lnTo>
                    <a:pt x="1936" y="2231"/>
                  </a:lnTo>
                  <a:lnTo>
                    <a:pt x="1942" y="2222"/>
                  </a:lnTo>
                  <a:lnTo>
                    <a:pt x="1946" y="2213"/>
                  </a:lnTo>
                  <a:lnTo>
                    <a:pt x="1949" y="2204"/>
                  </a:lnTo>
                  <a:lnTo>
                    <a:pt x="1950" y="2194"/>
                  </a:lnTo>
                  <a:lnTo>
                    <a:pt x="1951" y="2183"/>
                  </a:lnTo>
                  <a:lnTo>
                    <a:pt x="1951" y="2172"/>
                  </a:lnTo>
                  <a:lnTo>
                    <a:pt x="1951" y="2160"/>
                  </a:lnTo>
                  <a:lnTo>
                    <a:pt x="1951" y="2150"/>
                  </a:lnTo>
                  <a:lnTo>
                    <a:pt x="1949" y="2141"/>
                  </a:lnTo>
                  <a:lnTo>
                    <a:pt x="1936" y="2144"/>
                  </a:lnTo>
                  <a:lnTo>
                    <a:pt x="1925" y="2147"/>
                  </a:lnTo>
                  <a:lnTo>
                    <a:pt x="1914" y="2152"/>
                  </a:lnTo>
                  <a:lnTo>
                    <a:pt x="1904" y="2156"/>
                  </a:lnTo>
                  <a:lnTo>
                    <a:pt x="1894" y="2160"/>
                  </a:lnTo>
                  <a:lnTo>
                    <a:pt x="1882" y="2164"/>
                  </a:lnTo>
                  <a:lnTo>
                    <a:pt x="1871" y="2166"/>
                  </a:lnTo>
                  <a:lnTo>
                    <a:pt x="1858" y="2167"/>
                  </a:lnTo>
                  <a:lnTo>
                    <a:pt x="1850" y="2167"/>
                  </a:lnTo>
                  <a:lnTo>
                    <a:pt x="1843" y="2165"/>
                  </a:lnTo>
                  <a:lnTo>
                    <a:pt x="1836" y="2163"/>
                  </a:lnTo>
                  <a:lnTo>
                    <a:pt x="1830" y="2158"/>
                  </a:lnTo>
                  <a:lnTo>
                    <a:pt x="1825" y="2154"/>
                  </a:lnTo>
                  <a:lnTo>
                    <a:pt x="1821" y="2149"/>
                  </a:lnTo>
                  <a:lnTo>
                    <a:pt x="1818" y="2143"/>
                  </a:lnTo>
                  <a:lnTo>
                    <a:pt x="1817" y="2136"/>
                  </a:lnTo>
                  <a:lnTo>
                    <a:pt x="1817" y="2126"/>
                  </a:lnTo>
                  <a:lnTo>
                    <a:pt x="1819" y="2118"/>
                  </a:lnTo>
                  <a:lnTo>
                    <a:pt x="1821" y="2110"/>
                  </a:lnTo>
                  <a:lnTo>
                    <a:pt x="1824" y="2102"/>
                  </a:lnTo>
                  <a:lnTo>
                    <a:pt x="1828" y="2094"/>
                  </a:lnTo>
                  <a:lnTo>
                    <a:pt x="1833" y="2087"/>
                  </a:lnTo>
                  <a:lnTo>
                    <a:pt x="1839" y="2081"/>
                  </a:lnTo>
                  <a:lnTo>
                    <a:pt x="1846" y="2075"/>
                  </a:lnTo>
                  <a:lnTo>
                    <a:pt x="1853" y="2071"/>
                  </a:lnTo>
                  <a:lnTo>
                    <a:pt x="1861" y="2066"/>
                  </a:lnTo>
                  <a:lnTo>
                    <a:pt x="1865" y="2063"/>
                  </a:lnTo>
                  <a:lnTo>
                    <a:pt x="1867" y="2061"/>
                  </a:lnTo>
                  <a:lnTo>
                    <a:pt x="1869" y="2058"/>
                  </a:lnTo>
                  <a:lnTo>
                    <a:pt x="1869" y="2053"/>
                  </a:lnTo>
                  <a:lnTo>
                    <a:pt x="1869" y="2042"/>
                  </a:lnTo>
                  <a:lnTo>
                    <a:pt x="1866" y="2032"/>
                  </a:lnTo>
                  <a:lnTo>
                    <a:pt x="1862" y="2023"/>
                  </a:lnTo>
                  <a:lnTo>
                    <a:pt x="1858" y="2014"/>
                  </a:lnTo>
                  <a:lnTo>
                    <a:pt x="1852" y="2006"/>
                  </a:lnTo>
                  <a:lnTo>
                    <a:pt x="1847" y="1996"/>
                  </a:lnTo>
                  <a:lnTo>
                    <a:pt x="1843" y="1987"/>
                  </a:lnTo>
                  <a:lnTo>
                    <a:pt x="1839" y="1976"/>
                  </a:lnTo>
                  <a:lnTo>
                    <a:pt x="1833" y="1955"/>
                  </a:lnTo>
                  <a:lnTo>
                    <a:pt x="1829" y="1935"/>
                  </a:lnTo>
                  <a:lnTo>
                    <a:pt x="1825" y="1917"/>
                  </a:lnTo>
                  <a:lnTo>
                    <a:pt x="1821" y="1899"/>
                  </a:lnTo>
                  <a:lnTo>
                    <a:pt x="1817" y="1881"/>
                  </a:lnTo>
                  <a:lnTo>
                    <a:pt x="1813" y="1863"/>
                  </a:lnTo>
                  <a:lnTo>
                    <a:pt x="1807" y="1844"/>
                  </a:lnTo>
                  <a:lnTo>
                    <a:pt x="1799" y="1825"/>
                  </a:lnTo>
                  <a:lnTo>
                    <a:pt x="1796" y="1820"/>
                  </a:lnTo>
                  <a:lnTo>
                    <a:pt x="1793" y="1815"/>
                  </a:lnTo>
                  <a:lnTo>
                    <a:pt x="1788" y="1811"/>
                  </a:lnTo>
                  <a:lnTo>
                    <a:pt x="1784" y="1808"/>
                  </a:lnTo>
                  <a:lnTo>
                    <a:pt x="1774" y="1803"/>
                  </a:lnTo>
                  <a:lnTo>
                    <a:pt x="1764" y="1800"/>
                  </a:lnTo>
                  <a:lnTo>
                    <a:pt x="1752" y="1798"/>
                  </a:lnTo>
                  <a:lnTo>
                    <a:pt x="1741" y="1795"/>
                  </a:lnTo>
                  <a:lnTo>
                    <a:pt x="1735" y="1793"/>
                  </a:lnTo>
                  <a:lnTo>
                    <a:pt x="1730" y="1791"/>
                  </a:lnTo>
                  <a:lnTo>
                    <a:pt x="1724" y="1788"/>
                  </a:lnTo>
                  <a:lnTo>
                    <a:pt x="1718" y="1785"/>
                  </a:lnTo>
                  <a:lnTo>
                    <a:pt x="1722" y="1775"/>
                  </a:lnTo>
                  <a:lnTo>
                    <a:pt x="1729" y="1768"/>
                  </a:lnTo>
                  <a:lnTo>
                    <a:pt x="1735" y="1761"/>
                  </a:lnTo>
                  <a:lnTo>
                    <a:pt x="1741" y="1755"/>
                  </a:lnTo>
                  <a:lnTo>
                    <a:pt x="1755" y="1743"/>
                  </a:lnTo>
                  <a:lnTo>
                    <a:pt x="1771" y="1734"/>
                  </a:lnTo>
                  <a:lnTo>
                    <a:pt x="1778" y="1729"/>
                  </a:lnTo>
                  <a:lnTo>
                    <a:pt x="1785" y="1724"/>
                  </a:lnTo>
                  <a:lnTo>
                    <a:pt x="1792" y="1717"/>
                  </a:lnTo>
                  <a:lnTo>
                    <a:pt x="1797" y="1711"/>
                  </a:lnTo>
                  <a:lnTo>
                    <a:pt x="1802" y="1705"/>
                  </a:lnTo>
                  <a:lnTo>
                    <a:pt x="1805" y="1697"/>
                  </a:lnTo>
                  <a:lnTo>
                    <a:pt x="1807" y="1689"/>
                  </a:lnTo>
                  <a:lnTo>
                    <a:pt x="1808" y="1679"/>
                  </a:lnTo>
                  <a:lnTo>
                    <a:pt x="1807" y="1671"/>
                  </a:lnTo>
                  <a:lnTo>
                    <a:pt x="1806" y="1663"/>
                  </a:lnTo>
                  <a:lnTo>
                    <a:pt x="1804" y="1656"/>
                  </a:lnTo>
                  <a:lnTo>
                    <a:pt x="1801" y="1647"/>
                  </a:lnTo>
                  <a:lnTo>
                    <a:pt x="1791" y="1647"/>
                  </a:lnTo>
                  <a:lnTo>
                    <a:pt x="1780" y="1648"/>
                  </a:lnTo>
                  <a:lnTo>
                    <a:pt x="1771" y="1649"/>
                  </a:lnTo>
                  <a:lnTo>
                    <a:pt x="1761" y="1650"/>
                  </a:lnTo>
                  <a:lnTo>
                    <a:pt x="1749" y="1648"/>
                  </a:lnTo>
                  <a:lnTo>
                    <a:pt x="1739" y="1646"/>
                  </a:lnTo>
                  <a:lnTo>
                    <a:pt x="1730" y="1644"/>
                  </a:lnTo>
                  <a:lnTo>
                    <a:pt x="1718" y="1643"/>
                  </a:lnTo>
                  <a:lnTo>
                    <a:pt x="1713" y="1643"/>
                  </a:lnTo>
                  <a:lnTo>
                    <a:pt x="1709" y="1644"/>
                  </a:lnTo>
                  <a:lnTo>
                    <a:pt x="1706" y="1646"/>
                  </a:lnTo>
                  <a:lnTo>
                    <a:pt x="1703" y="1649"/>
                  </a:lnTo>
                  <a:lnTo>
                    <a:pt x="1698" y="1656"/>
                  </a:lnTo>
                  <a:lnTo>
                    <a:pt x="1695" y="1664"/>
                  </a:lnTo>
                  <a:lnTo>
                    <a:pt x="1689" y="1683"/>
                  </a:lnTo>
                  <a:lnTo>
                    <a:pt x="1683" y="1704"/>
                  </a:lnTo>
                  <a:lnTo>
                    <a:pt x="1672" y="1732"/>
                  </a:lnTo>
                  <a:lnTo>
                    <a:pt x="1662" y="1757"/>
                  </a:lnTo>
                  <a:lnTo>
                    <a:pt x="1655" y="1768"/>
                  </a:lnTo>
                  <a:lnTo>
                    <a:pt x="1648" y="1779"/>
                  </a:lnTo>
                  <a:lnTo>
                    <a:pt x="1639" y="1789"/>
                  </a:lnTo>
                  <a:lnTo>
                    <a:pt x="1627" y="1799"/>
                  </a:lnTo>
                  <a:lnTo>
                    <a:pt x="1621" y="1794"/>
                  </a:lnTo>
                  <a:lnTo>
                    <a:pt x="1618" y="1790"/>
                  </a:lnTo>
                  <a:lnTo>
                    <a:pt x="1615" y="1784"/>
                  </a:lnTo>
                  <a:lnTo>
                    <a:pt x="1615" y="1777"/>
                  </a:lnTo>
                  <a:lnTo>
                    <a:pt x="1615" y="1769"/>
                  </a:lnTo>
                  <a:lnTo>
                    <a:pt x="1616" y="1762"/>
                  </a:lnTo>
                  <a:lnTo>
                    <a:pt x="1616" y="1755"/>
                  </a:lnTo>
                  <a:lnTo>
                    <a:pt x="1617" y="1746"/>
                  </a:lnTo>
                  <a:lnTo>
                    <a:pt x="1613" y="1732"/>
                  </a:lnTo>
                  <a:lnTo>
                    <a:pt x="1610" y="1718"/>
                  </a:lnTo>
                  <a:lnTo>
                    <a:pt x="1611" y="1698"/>
                  </a:lnTo>
                  <a:lnTo>
                    <a:pt x="1613" y="1676"/>
                  </a:lnTo>
                  <a:lnTo>
                    <a:pt x="1617" y="1656"/>
                  </a:lnTo>
                  <a:lnTo>
                    <a:pt x="1622" y="1636"/>
                  </a:lnTo>
                  <a:lnTo>
                    <a:pt x="1629" y="1616"/>
                  </a:lnTo>
                  <a:lnTo>
                    <a:pt x="1637" y="1598"/>
                  </a:lnTo>
                  <a:lnTo>
                    <a:pt x="1647" y="1580"/>
                  </a:lnTo>
                  <a:lnTo>
                    <a:pt x="1658" y="1565"/>
                  </a:lnTo>
                  <a:lnTo>
                    <a:pt x="1670" y="1549"/>
                  </a:lnTo>
                  <a:lnTo>
                    <a:pt x="1683" y="1536"/>
                  </a:lnTo>
                  <a:lnTo>
                    <a:pt x="1691" y="1530"/>
                  </a:lnTo>
                  <a:lnTo>
                    <a:pt x="1698" y="1523"/>
                  </a:lnTo>
                  <a:lnTo>
                    <a:pt x="1706" y="1518"/>
                  </a:lnTo>
                  <a:lnTo>
                    <a:pt x="1714" y="1513"/>
                  </a:lnTo>
                  <a:lnTo>
                    <a:pt x="1722" y="1509"/>
                  </a:lnTo>
                  <a:lnTo>
                    <a:pt x="1731" y="1505"/>
                  </a:lnTo>
                  <a:lnTo>
                    <a:pt x="1740" y="1502"/>
                  </a:lnTo>
                  <a:lnTo>
                    <a:pt x="1749" y="1500"/>
                  </a:lnTo>
                  <a:lnTo>
                    <a:pt x="1759" y="1496"/>
                  </a:lnTo>
                  <a:lnTo>
                    <a:pt x="1769" y="1495"/>
                  </a:lnTo>
                  <a:lnTo>
                    <a:pt x="1779" y="1494"/>
                  </a:lnTo>
                  <a:lnTo>
                    <a:pt x="1790" y="1494"/>
                  </a:lnTo>
                  <a:lnTo>
                    <a:pt x="1804" y="1494"/>
                  </a:lnTo>
                  <a:lnTo>
                    <a:pt x="1816" y="1496"/>
                  </a:lnTo>
                  <a:lnTo>
                    <a:pt x="1829" y="1499"/>
                  </a:lnTo>
                  <a:lnTo>
                    <a:pt x="1843" y="1499"/>
                  </a:lnTo>
                  <a:lnTo>
                    <a:pt x="1850" y="1499"/>
                  </a:lnTo>
                  <a:lnTo>
                    <a:pt x="1857" y="1498"/>
                  </a:lnTo>
                  <a:lnTo>
                    <a:pt x="1863" y="1495"/>
                  </a:lnTo>
                  <a:lnTo>
                    <a:pt x="1868" y="1493"/>
                  </a:lnTo>
                  <a:lnTo>
                    <a:pt x="1874" y="1490"/>
                  </a:lnTo>
                  <a:lnTo>
                    <a:pt x="1879" y="1487"/>
                  </a:lnTo>
                  <a:lnTo>
                    <a:pt x="1884" y="1484"/>
                  </a:lnTo>
                  <a:lnTo>
                    <a:pt x="1889" y="1479"/>
                  </a:lnTo>
                  <a:lnTo>
                    <a:pt x="1893" y="1475"/>
                  </a:lnTo>
                  <a:lnTo>
                    <a:pt x="1897" y="1470"/>
                  </a:lnTo>
                  <a:lnTo>
                    <a:pt x="1900" y="1464"/>
                  </a:lnTo>
                  <a:lnTo>
                    <a:pt x="1902" y="1458"/>
                  </a:lnTo>
                  <a:lnTo>
                    <a:pt x="1904" y="1452"/>
                  </a:lnTo>
                  <a:lnTo>
                    <a:pt x="1906" y="1446"/>
                  </a:lnTo>
                  <a:lnTo>
                    <a:pt x="1907" y="1440"/>
                  </a:lnTo>
                  <a:lnTo>
                    <a:pt x="1907" y="1433"/>
                  </a:lnTo>
                  <a:lnTo>
                    <a:pt x="1906" y="1420"/>
                  </a:lnTo>
                  <a:lnTo>
                    <a:pt x="1905" y="1407"/>
                  </a:lnTo>
                  <a:lnTo>
                    <a:pt x="1900" y="1364"/>
                  </a:lnTo>
                  <a:lnTo>
                    <a:pt x="1878" y="1368"/>
                  </a:lnTo>
                  <a:lnTo>
                    <a:pt x="1858" y="1374"/>
                  </a:lnTo>
                  <a:lnTo>
                    <a:pt x="1839" y="1379"/>
                  </a:lnTo>
                  <a:lnTo>
                    <a:pt x="1821" y="1383"/>
                  </a:lnTo>
                  <a:lnTo>
                    <a:pt x="1803" y="1388"/>
                  </a:lnTo>
                  <a:lnTo>
                    <a:pt x="1784" y="1391"/>
                  </a:lnTo>
                  <a:lnTo>
                    <a:pt x="1764" y="1394"/>
                  </a:lnTo>
                  <a:lnTo>
                    <a:pt x="1742" y="1395"/>
                  </a:lnTo>
                  <a:lnTo>
                    <a:pt x="1727" y="1394"/>
                  </a:lnTo>
                  <a:lnTo>
                    <a:pt x="1712" y="1393"/>
                  </a:lnTo>
                  <a:lnTo>
                    <a:pt x="1706" y="1391"/>
                  </a:lnTo>
                  <a:lnTo>
                    <a:pt x="1700" y="1389"/>
                  </a:lnTo>
                  <a:lnTo>
                    <a:pt x="1694" y="1385"/>
                  </a:lnTo>
                  <a:lnTo>
                    <a:pt x="1687" y="1381"/>
                  </a:lnTo>
                  <a:lnTo>
                    <a:pt x="1682" y="1374"/>
                  </a:lnTo>
                  <a:lnTo>
                    <a:pt x="1678" y="1366"/>
                  </a:lnTo>
                  <a:lnTo>
                    <a:pt x="1675" y="1359"/>
                  </a:lnTo>
                  <a:lnTo>
                    <a:pt x="1672" y="1351"/>
                  </a:lnTo>
                  <a:lnTo>
                    <a:pt x="1670" y="1344"/>
                  </a:lnTo>
                  <a:lnTo>
                    <a:pt x="1667" y="1336"/>
                  </a:lnTo>
                  <a:lnTo>
                    <a:pt x="1664" y="1332"/>
                  </a:lnTo>
                  <a:lnTo>
                    <a:pt x="1662" y="1329"/>
                  </a:lnTo>
                  <a:lnTo>
                    <a:pt x="1659" y="1327"/>
                  </a:lnTo>
                  <a:lnTo>
                    <a:pt x="1654" y="1324"/>
                  </a:lnTo>
                  <a:lnTo>
                    <a:pt x="1626" y="1308"/>
                  </a:lnTo>
                  <a:lnTo>
                    <a:pt x="1598" y="1292"/>
                  </a:lnTo>
                  <a:lnTo>
                    <a:pt x="1593" y="1288"/>
                  </a:lnTo>
                  <a:lnTo>
                    <a:pt x="1586" y="1283"/>
                  </a:lnTo>
                  <a:lnTo>
                    <a:pt x="1582" y="1278"/>
                  </a:lnTo>
                  <a:lnTo>
                    <a:pt x="1578" y="1272"/>
                  </a:lnTo>
                  <a:lnTo>
                    <a:pt x="1575" y="1266"/>
                  </a:lnTo>
                  <a:lnTo>
                    <a:pt x="1572" y="1259"/>
                  </a:lnTo>
                  <a:lnTo>
                    <a:pt x="1571" y="1252"/>
                  </a:lnTo>
                  <a:lnTo>
                    <a:pt x="1570" y="1243"/>
                  </a:lnTo>
                  <a:lnTo>
                    <a:pt x="1570" y="1239"/>
                  </a:lnTo>
                  <a:lnTo>
                    <a:pt x="1572" y="1235"/>
                  </a:lnTo>
                  <a:lnTo>
                    <a:pt x="1574" y="1232"/>
                  </a:lnTo>
                  <a:lnTo>
                    <a:pt x="1576" y="1230"/>
                  </a:lnTo>
                  <a:lnTo>
                    <a:pt x="1582" y="1226"/>
                  </a:lnTo>
                  <a:lnTo>
                    <a:pt x="1592" y="1224"/>
                  </a:lnTo>
                  <a:lnTo>
                    <a:pt x="1601" y="1222"/>
                  </a:lnTo>
                  <a:lnTo>
                    <a:pt x="1610" y="1220"/>
                  </a:lnTo>
                  <a:lnTo>
                    <a:pt x="1620" y="1218"/>
                  </a:lnTo>
                  <a:lnTo>
                    <a:pt x="1629" y="1214"/>
                  </a:lnTo>
                  <a:lnTo>
                    <a:pt x="1655" y="1196"/>
                  </a:lnTo>
                  <a:lnTo>
                    <a:pt x="1680" y="1179"/>
                  </a:lnTo>
                  <a:lnTo>
                    <a:pt x="1692" y="1173"/>
                  </a:lnTo>
                  <a:lnTo>
                    <a:pt x="1705" y="1168"/>
                  </a:lnTo>
                  <a:lnTo>
                    <a:pt x="1712" y="1166"/>
                  </a:lnTo>
                  <a:lnTo>
                    <a:pt x="1719" y="1165"/>
                  </a:lnTo>
                  <a:lnTo>
                    <a:pt x="1727" y="1164"/>
                  </a:lnTo>
                  <a:lnTo>
                    <a:pt x="1735" y="1164"/>
                  </a:lnTo>
                  <a:lnTo>
                    <a:pt x="1750" y="1168"/>
                  </a:lnTo>
                  <a:lnTo>
                    <a:pt x="1766" y="1173"/>
                  </a:lnTo>
                  <a:lnTo>
                    <a:pt x="1771" y="1172"/>
                  </a:lnTo>
                  <a:lnTo>
                    <a:pt x="1775" y="1169"/>
                  </a:lnTo>
                  <a:lnTo>
                    <a:pt x="1778" y="1165"/>
                  </a:lnTo>
                  <a:lnTo>
                    <a:pt x="1781" y="1161"/>
                  </a:lnTo>
                  <a:lnTo>
                    <a:pt x="1782" y="1155"/>
                  </a:lnTo>
                  <a:lnTo>
                    <a:pt x="1783" y="1148"/>
                  </a:lnTo>
                  <a:lnTo>
                    <a:pt x="1784" y="1142"/>
                  </a:lnTo>
                  <a:lnTo>
                    <a:pt x="1784" y="1136"/>
                  </a:lnTo>
                  <a:lnTo>
                    <a:pt x="1784" y="1085"/>
                  </a:lnTo>
                  <a:lnTo>
                    <a:pt x="1784" y="1078"/>
                  </a:lnTo>
                  <a:lnTo>
                    <a:pt x="1786" y="1073"/>
                  </a:lnTo>
                  <a:lnTo>
                    <a:pt x="1787" y="1068"/>
                  </a:lnTo>
                  <a:lnTo>
                    <a:pt x="1790" y="1063"/>
                  </a:lnTo>
                  <a:lnTo>
                    <a:pt x="1796" y="1053"/>
                  </a:lnTo>
                  <a:lnTo>
                    <a:pt x="1804" y="1045"/>
                  </a:lnTo>
                  <a:lnTo>
                    <a:pt x="1812" y="1038"/>
                  </a:lnTo>
                  <a:lnTo>
                    <a:pt x="1820" y="1030"/>
                  </a:lnTo>
                  <a:lnTo>
                    <a:pt x="1829" y="1020"/>
                  </a:lnTo>
                  <a:lnTo>
                    <a:pt x="1836" y="1010"/>
                  </a:lnTo>
                  <a:lnTo>
                    <a:pt x="1859" y="973"/>
                  </a:lnTo>
                  <a:lnTo>
                    <a:pt x="1878" y="940"/>
                  </a:lnTo>
                  <a:lnTo>
                    <a:pt x="1898" y="907"/>
                  </a:lnTo>
                  <a:lnTo>
                    <a:pt x="1918" y="869"/>
                  </a:lnTo>
                  <a:lnTo>
                    <a:pt x="1923" y="863"/>
                  </a:lnTo>
                  <a:lnTo>
                    <a:pt x="1926" y="859"/>
                  </a:lnTo>
                  <a:lnTo>
                    <a:pt x="1930" y="855"/>
                  </a:lnTo>
                  <a:lnTo>
                    <a:pt x="1935" y="851"/>
                  </a:lnTo>
                  <a:lnTo>
                    <a:pt x="1944" y="844"/>
                  </a:lnTo>
                  <a:lnTo>
                    <a:pt x="1953" y="839"/>
                  </a:lnTo>
                  <a:lnTo>
                    <a:pt x="1962" y="831"/>
                  </a:lnTo>
                  <a:lnTo>
                    <a:pt x="1969" y="824"/>
                  </a:lnTo>
                  <a:lnTo>
                    <a:pt x="1972" y="820"/>
                  </a:lnTo>
                  <a:lnTo>
                    <a:pt x="1974" y="816"/>
                  </a:lnTo>
                  <a:lnTo>
                    <a:pt x="1975" y="811"/>
                  </a:lnTo>
                  <a:lnTo>
                    <a:pt x="1975" y="805"/>
                  </a:lnTo>
                  <a:lnTo>
                    <a:pt x="1975" y="799"/>
                  </a:lnTo>
                  <a:lnTo>
                    <a:pt x="1974" y="795"/>
                  </a:lnTo>
                  <a:lnTo>
                    <a:pt x="1973" y="790"/>
                  </a:lnTo>
                  <a:lnTo>
                    <a:pt x="1971" y="787"/>
                  </a:lnTo>
                  <a:lnTo>
                    <a:pt x="1966" y="779"/>
                  </a:lnTo>
                  <a:lnTo>
                    <a:pt x="1960" y="773"/>
                  </a:lnTo>
                  <a:lnTo>
                    <a:pt x="1944" y="760"/>
                  </a:lnTo>
                  <a:lnTo>
                    <a:pt x="1929" y="748"/>
                  </a:lnTo>
                  <a:lnTo>
                    <a:pt x="1910" y="730"/>
                  </a:lnTo>
                  <a:lnTo>
                    <a:pt x="1895" y="713"/>
                  </a:lnTo>
                  <a:lnTo>
                    <a:pt x="1887" y="704"/>
                  </a:lnTo>
                  <a:lnTo>
                    <a:pt x="1879" y="696"/>
                  </a:lnTo>
                  <a:lnTo>
                    <a:pt x="1870" y="688"/>
                  </a:lnTo>
                  <a:lnTo>
                    <a:pt x="1860" y="680"/>
                  </a:lnTo>
                  <a:lnTo>
                    <a:pt x="1847" y="670"/>
                  </a:lnTo>
                  <a:lnTo>
                    <a:pt x="1836" y="662"/>
                  </a:lnTo>
                  <a:lnTo>
                    <a:pt x="1826" y="653"/>
                  </a:lnTo>
                  <a:lnTo>
                    <a:pt x="1815" y="644"/>
                  </a:lnTo>
                  <a:lnTo>
                    <a:pt x="1811" y="638"/>
                  </a:lnTo>
                  <a:lnTo>
                    <a:pt x="1808" y="633"/>
                  </a:lnTo>
                  <a:lnTo>
                    <a:pt x="1804" y="628"/>
                  </a:lnTo>
                  <a:lnTo>
                    <a:pt x="1802" y="622"/>
                  </a:lnTo>
                  <a:lnTo>
                    <a:pt x="1800" y="616"/>
                  </a:lnTo>
                  <a:lnTo>
                    <a:pt x="1798" y="609"/>
                  </a:lnTo>
                  <a:lnTo>
                    <a:pt x="1797" y="602"/>
                  </a:lnTo>
                  <a:lnTo>
                    <a:pt x="1797" y="595"/>
                  </a:lnTo>
                  <a:lnTo>
                    <a:pt x="1797" y="584"/>
                  </a:lnTo>
                  <a:lnTo>
                    <a:pt x="1799" y="574"/>
                  </a:lnTo>
                  <a:lnTo>
                    <a:pt x="1802" y="565"/>
                  </a:lnTo>
                  <a:lnTo>
                    <a:pt x="1806" y="557"/>
                  </a:lnTo>
                  <a:lnTo>
                    <a:pt x="1810" y="549"/>
                  </a:lnTo>
                  <a:lnTo>
                    <a:pt x="1816" y="541"/>
                  </a:lnTo>
                  <a:lnTo>
                    <a:pt x="1823" y="534"/>
                  </a:lnTo>
                  <a:lnTo>
                    <a:pt x="1830" y="528"/>
                  </a:lnTo>
                  <a:lnTo>
                    <a:pt x="1862" y="503"/>
                  </a:lnTo>
                  <a:lnTo>
                    <a:pt x="1896" y="474"/>
                  </a:lnTo>
                  <a:lnTo>
                    <a:pt x="1898" y="463"/>
                  </a:lnTo>
                  <a:lnTo>
                    <a:pt x="1870" y="461"/>
                  </a:lnTo>
                  <a:lnTo>
                    <a:pt x="1844" y="458"/>
                  </a:lnTo>
                  <a:lnTo>
                    <a:pt x="1819" y="457"/>
                  </a:lnTo>
                  <a:lnTo>
                    <a:pt x="1792" y="456"/>
                  </a:lnTo>
                  <a:lnTo>
                    <a:pt x="1778" y="456"/>
                  </a:lnTo>
                  <a:lnTo>
                    <a:pt x="1767" y="457"/>
                  </a:lnTo>
                  <a:lnTo>
                    <a:pt x="1755" y="458"/>
                  </a:lnTo>
                  <a:lnTo>
                    <a:pt x="1745" y="460"/>
                  </a:lnTo>
                  <a:lnTo>
                    <a:pt x="1724" y="466"/>
                  </a:lnTo>
                  <a:lnTo>
                    <a:pt x="1700" y="474"/>
                  </a:lnTo>
                  <a:lnTo>
                    <a:pt x="1688" y="489"/>
                  </a:lnTo>
                  <a:lnTo>
                    <a:pt x="1678" y="501"/>
                  </a:lnTo>
                  <a:lnTo>
                    <a:pt x="1668" y="512"/>
                  </a:lnTo>
                  <a:lnTo>
                    <a:pt x="1655" y="522"/>
                  </a:lnTo>
                  <a:lnTo>
                    <a:pt x="1649" y="526"/>
                  </a:lnTo>
                  <a:lnTo>
                    <a:pt x="1643" y="530"/>
                  </a:lnTo>
                  <a:lnTo>
                    <a:pt x="1637" y="533"/>
                  </a:lnTo>
                  <a:lnTo>
                    <a:pt x="1630" y="535"/>
                  </a:lnTo>
                  <a:lnTo>
                    <a:pt x="1622" y="537"/>
                  </a:lnTo>
                  <a:lnTo>
                    <a:pt x="1614" y="539"/>
                  </a:lnTo>
                  <a:lnTo>
                    <a:pt x="1606" y="540"/>
                  </a:lnTo>
                  <a:lnTo>
                    <a:pt x="1597" y="540"/>
                  </a:lnTo>
                  <a:lnTo>
                    <a:pt x="1589" y="540"/>
                  </a:lnTo>
                  <a:lnTo>
                    <a:pt x="1583" y="539"/>
                  </a:lnTo>
                  <a:lnTo>
                    <a:pt x="1576" y="538"/>
                  </a:lnTo>
                  <a:lnTo>
                    <a:pt x="1570" y="536"/>
                  </a:lnTo>
                  <a:lnTo>
                    <a:pt x="1559" y="531"/>
                  </a:lnTo>
                  <a:lnTo>
                    <a:pt x="1548" y="525"/>
                  </a:lnTo>
                  <a:lnTo>
                    <a:pt x="1538" y="518"/>
                  </a:lnTo>
                  <a:lnTo>
                    <a:pt x="1527" y="510"/>
                  </a:lnTo>
                  <a:lnTo>
                    <a:pt x="1515" y="504"/>
                  </a:lnTo>
                  <a:lnTo>
                    <a:pt x="1502" y="498"/>
                  </a:lnTo>
                  <a:lnTo>
                    <a:pt x="1475" y="491"/>
                  </a:lnTo>
                  <a:lnTo>
                    <a:pt x="1450" y="483"/>
                  </a:lnTo>
                  <a:lnTo>
                    <a:pt x="1440" y="479"/>
                  </a:lnTo>
                  <a:lnTo>
                    <a:pt x="1430" y="473"/>
                  </a:lnTo>
                  <a:lnTo>
                    <a:pt x="1425" y="469"/>
                  </a:lnTo>
                  <a:lnTo>
                    <a:pt x="1421" y="464"/>
                  </a:lnTo>
                  <a:lnTo>
                    <a:pt x="1417" y="459"/>
                  </a:lnTo>
                  <a:lnTo>
                    <a:pt x="1414" y="454"/>
                  </a:lnTo>
                  <a:lnTo>
                    <a:pt x="1411" y="446"/>
                  </a:lnTo>
                  <a:lnTo>
                    <a:pt x="1409" y="439"/>
                  </a:lnTo>
                  <a:lnTo>
                    <a:pt x="1408" y="433"/>
                  </a:lnTo>
                  <a:lnTo>
                    <a:pt x="1407" y="426"/>
                  </a:lnTo>
                  <a:lnTo>
                    <a:pt x="1406" y="413"/>
                  </a:lnTo>
                  <a:lnTo>
                    <a:pt x="1406" y="400"/>
                  </a:lnTo>
                  <a:lnTo>
                    <a:pt x="1405" y="387"/>
                  </a:lnTo>
                  <a:lnTo>
                    <a:pt x="1403" y="375"/>
                  </a:lnTo>
                  <a:lnTo>
                    <a:pt x="1401" y="369"/>
                  </a:lnTo>
                  <a:lnTo>
                    <a:pt x="1399" y="364"/>
                  </a:lnTo>
                  <a:lnTo>
                    <a:pt x="1395" y="357"/>
                  </a:lnTo>
                  <a:lnTo>
                    <a:pt x="1390" y="351"/>
                  </a:lnTo>
                  <a:lnTo>
                    <a:pt x="1385" y="346"/>
                  </a:lnTo>
                  <a:lnTo>
                    <a:pt x="1378" y="342"/>
                  </a:lnTo>
                  <a:lnTo>
                    <a:pt x="1372" y="339"/>
                  </a:lnTo>
                  <a:lnTo>
                    <a:pt x="1364" y="338"/>
                  </a:lnTo>
                  <a:lnTo>
                    <a:pt x="1348" y="337"/>
                  </a:lnTo>
                  <a:lnTo>
                    <a:pt x="1331" y="338"/>
                  </a:lnTo>
                  <a:lnTo>
                    <a:pt x="1315" y="338"/>
                  </a:lnTo>
                  <a:lnTo>
                    <a:pt x="1301" y="340"/>
                  </a:lnTo>
                  <a:lnTo>
                    <a:pt x="1287" y="343"/>
                  </a:lnTo>
                  <a:lnTo>
                    <a:pt x="1275" y="347"/>
                  </a:lnTo>
                  <a:lnTo>
                    <a:pt x="1262" y="350"/>
                  </a:lnTo>
                  <a:lnTo>
                    <a:pt x="1248" y="353"/>
                  </a:lnTo>
                  <a:lnTo>
                    <a:pt x="1235" y="355"/>
                  </a:lnTo>
                  <a:lnTo>
                    <a:pt x="1218" y="356"/>
                  </a:lnTo>
                  <a:lnTo>
                    <a:pt x="1210" y="355"/>
                  </a:lnTo>
                  <a:lnTo>
                    <a:pt x="1203" y="353"/>
                  </a:lnTo>
                  <a:lnTo>
                    <a:pt x="1197" y="351"/>
                  </a:lnTo>
                  <a:lnTo>
                    <a:pt x="1189" y="347"/>
                  </a:lnTo>
                  <a:lnTo>
                    <a:pt x="1177" y="340"/>
                  </a:lnTo>
                  <a:lnTo>
                    <a:pt x="1163" y="333"/>
                  </a:lnTo>
                  <a:lnTo>
                    <a:pt x="1154" y="331"/>
                  </a:lnTo>
                  <a:lnTo>
                    <a:pt x="1146" y="329"/>
                  </a:lnTo>
                  <a:lnTo>
                    <a:pt x="1139" y="329"/>
                  </a:lnTo>
                  <a:lnTo>
                    <a:pt x="1131" y="328"/>
                  </a:lnTo>
                  <a:lnTo>
                    <a:pt x="1123" y="328"/>
                  </a:lnTo>
                  <a:lnTo>
                    <a:pt x="1116" y="326"/>
                  </a:lnTo>
                  <a:lnTo>
                    <a:pt x="1109" y="324"/>
                  </a:lnTo>
                  <a:lnTo>
                    <a:pt x="1101" y="321"/>
                  </a:lnTo>
                  <a:lnTo>
                    <a:pt x="1093" y="316"/>
                  </a:lnTo>
                  <a:lnTo>
                    <a:pt x="1088" y="310"/>
                  </a:lnTo>
                  <a:lnTo>
                    <a:pt x="1083" y="304"/>
                  </a:lnTo>
                  <a:lnTo>
                    <a:pt x="1080" y="297"/>
                  </a:lnTo>
                  <a:lnTo>
                    <a:pt x="1074" y="281"/>
                  </a:lnTo>
                  <a:lnTo>
                    <a:pt x="1068" y="265"/>
                  </a:lnTo>
                  <a:lnTo>
                    <a:pt x="1058" y="244"/>
                  </a:lnTo>
                  <a:lnTo>
                    <a:pt x="1050" y="226"/>
                  </a:lnTo>
                  <a:lnTo>
                    <a:pt x="1047" y="217"/>
                  </a:lnTo>
                  <a:lnTo>
                    <a:pt x="1044" y="208"/>
                  </a:lnTo>
                  <a:lnTo>
                    <a:pt x="1043" y="197"/>
                  </a:lnTo>
                  <a:lnTo>
                    <a:pt x="1042" y="186"/>
                  </a:lnTo>
                  <a:lnTo>
                    <a:pt x="1023" y="185"/>
                  </a:lnTo>
                  <a:lnTo>
                    <a:pt x="1008" y="184"/>
                  </a:lnTo>
                  <a:lnTo>
                    <a:pt x="991" y="183"/>
                  </a:lnTo>
                  <a:lnTo>
                    <a:pt x="974" y="179"/>
                  </a:lnTo>
                  <a:lnTo>
                    <a:pt x="970" y="195"/>
                  </a:lnTo>
                  <a:lnTo>
                    <a:pt x="966" y="209"/>
                  </a:lnTo>
                  <a:lnTo>
                    <a:pt x="962" y="215"/>
                  </a:lnTo>
                  <a:lnTo>
                    <a:pt x="961" y="222"/>
                  </a:lnTo>
                  <a:lnTo>
                    <a:pt x="959" y="229"/>
                  </a:lnTo>
                  <a:lnTo>
                    <a:pt x="959" y="239"/>
                  </a:lnTo>
                  <a:lnTo>
                    <a:pt x="959" y="243"/>
                  </a:lnTo>
                  <a:lnTo>
                    <a:pt x="958" y="246"/>
                  </a:lnTo>
                  <a:lnTo>
                    <a:pt x="956" y="249"/>
                  </a:lnTo>
                  <a:lnTo>
                    <a:pt x="954" y="252"/>
                  </a:lnTo>
                  <a:lnTo>
                    <a:pt x="948" y="256"/>
                  </a:lnTo>
                  <a:lnTo>
                    <a:pt x="940" y="259"/>
                  </a:lnTo>
                  <a:lnTo>
                    <a:pt x="922" y="262"/>
                  </a:lnTo>
                  <a:lnTo>
                    <a:pt x="903" y="265"/>
                  </a:lnTo>
                  <a:lnTo>
                    <a:pt x="893" y="267"/>
                  </a:lnTo>
                  <a:lnTo>
                    <a:pt x="886" y="270"/>
                  </a:lnTo>
                  <a:lnTo>
                    <a:pt x="879" y="274"/>
                  </a:lnTo>
                  <a:lnTo>
                    <a:pt x="872" y="278"/>
                  </a:lnTo>
                  <a:lnTo>
                    <a:pt x="866" y="283"/>
                  </a:lnTo>
                  <a:lnTo>
                    <a:pt x="858" y="286"/>
                  </a:lnTo>
                  <a:lnTo>
                    <a:pt x="850" y="289"/>
                  </a:lnTo>
                  <a:lnTo>
                    <a:pt x="842" y="290"/>
                  </a:lnTo>
                  <a:lnTo>
                    <a:pt x="835" y="289"/>
                  </a:lnTo>
                  <a:lnTo>
                    <a:pt x="829" y="287"/>
                  </a:lnTo>
                  <a:lnTo>
                    <a:pt x="825" y="283"/>
                  </a:lnTo>
                  <a:lnTo>
                    <a:pt x="821" y="278"/>
                  </a:lnTo>
                  <a:lnTo>
                    <a:pt x="815" y="267"/>
                  </a:lnTo>
                  <a:lnTo>
                    <a:pt x="809" y="255"/>
                  </a:lnTo>
                  <a:lnTo>
                    <a:pt x="800" y="239"/>
                  </a:lnTo>
                  <a:lnTo>
                    <a:pt x="792" y="224"/>
                  </a:lnTo>
                  <a:lnTo>
                    <a:pt x="786" y="209"/>
                  </a:lnTo>
                  <a:lnTo>
                    <a:pt x="780" y="191"/>
                  </a:lnTo>
                  <a:lnTo>
                    <a:pt x="778" y="180"/>
                  </a:lnTo>
                  <a:lnTo>
                    <a:pt x="775" y="170"/>
                  </a:lnTo>
                  <a:lnTo>
                    <a:pt x="773" y="164"/>
                  </a:lnTo>
                  <a:lnTo>
                    <a:pt x="770" y="161"/>
                  </a:lnTo>
                  <a:lnTo>
                    <a:pt x="767" y="159"/>
                  </a:lnTo>
                  <a:lnTo>
                    <a:pt x="761" y="158"/>
                  </a:lnTo>
                  <a:lnTo>
                    <a:pt x="741" y="158"/>
                  </a:lnTo>
                  <a:lnTo>
                    <a:pt x="722" y="159"/>
                  </a:lnTo>
                  <a:lnTo>
                    <a:pt x="704" y="160"/>
                  </a:lnTo>
                  <a:lnTo>
                    <a:pt x="683" y="160"/>
                  </a:lnTo>
                  <a:lnTo>
                    <a:pt x="659" y="160"/>
                  </a:lnTo>
                  <a:lnTo>
                    <a:pt x="637" y="158"/>
                  </a:lnTo>
                  <a:lnTo>
                    <a:pt x="627" y="156"/>
                  </a:lnTo>
                  <a:lnTo>
                    <a:pt x="617" y="152"/>
                  </a:lnTo>
                  <a:lnTo>
                    <a:pt x="608" y="147"/>
                  </a:lnTo>
                  <a:lnTo>
                    <a:pt x="598" y="140"/>
                  </a:lnTo>
                  <a:lnTo>
                    <a:pt x="590" y="129"/>
                  </a:lnTo>
                  <a:lnTo>
                    <a:pt x="585" y="120"/>
                  </a:lnTo>
                  <a:lnTo>
                    <a:pt x="580" y="111"/>
                  </a:lnTo>
                  <a:lnTo>
                    <a:pt x="576" y="100"/>
                  </a:lnTo>
                  <a:lnTo>
                    <a:pt x="573" y="90"/>
                  </a:lnTo>
                  <a:lnTo>
                    <a:pt x="569" y="80"/>
                  </a:lnTo>
                  <a:lnTo>
                    <a:pt x="563" y="69"/>
                  </a:lnTo>
                  <a:lnTo>
                    <a:pt x="556" y="59"/>
                  </a:lnTo>
                  <a:lnTo>
                    <a:pt x="550" y="64"/>
                  </a:lnTo>
                  <a:lnTo>
                    <a:pt x="544" y="70"/>
                  </a:lnTo>
                  <a:lnTo>
                    <a:pt x="539" y="77"/>
                  </a:lnTo>
                  <a:lnTo>
                    <a:pt x="534" y="83"/>
                  </a:lnTo>
                  <a:lnTo>
                    <a:pt x="525" y="96"/>
                  </a:lnTo>
                  <a:lnTo>
                    <a:pt x="516" y="109"/>
                  </a:lnTo>
                  <a:lnTo>
                    <a:pt x="512" y="114"/>
                  </a:lnTo>
                  <a:lnTo>
                    <a:pt x="508" y="120"/>
                  </a:lnTo>
                  <a:lnTo>
                    <a:pt x="503" y="124"/>
                  </a:lnTo>
                  <a:lnTo>
                    <a:pt x="496" y="128"/>
                  </a:lnTo>
                  <a:lnTo>
                    <a:pt x="491" y="132"/>
                  </a:lnTo>
                  <a:lnTo>
                    <a:pt x="484" y="134"/>
                  </a:lnTo>
                  <a:lnTo>
                    <a:pt x="477" y="136"/>
                  </a:lnTo>
                  <a:lnTo>
                    <a:pt x="470" y="136"/>
                  </a:lnTo>
                  <a:lnTo>
                    <a:pt x="463" y="135"/>
                  </a:lnTo>
                  <a:lnTo>
                    <a:pt x="458" y="133"/>
                  </a:lnTo>
                  <a:lnTo>
                    <a:pt x="454" y="130"/>
                  </a:lnTo>
                  <a:lnTo>
                    <a:pt x="450" y="126"/>
                  </a:lnTo>
                  <a:lnTo>
                    <a:pt x="447" y="121"/>
                  </a:lnTo>
                  <a:lnTo>
                    <a:pt x="443" y="117"/>
                  </a:lnTo>
                  <a:lnTo>
                    <a:pt x="439" y="112"/>
                  </a:lnTo>
                  <a:lnTo>
                    <a:pt x="433" y="109"/>
                  </a:lnTo>
                  <a:lnTo>
                    <a:pt x="419" y="100"/>
                  </a:lnTo>
                  <a:lnTo>
                    <a:pt x="406" y="95"/>
                  </a:lnTo>
                  <a:lnTo>
                    <a:pt x="392" y="90"/>
                  </a:lnTo>
                  <a:lnTo>
                    <a:pt x="379" y="85"/>
                  </a:lnTo>
                  <a:lnTo>
                    <a:pt x="366" y="79"/>
                  </a:lnTo>
                  <a:lnTo>
                    <a:pt x="354" y="72"/>
                  </a:lnTo>
                  <a:lnTo>
                    <a:pt x="348" y="68"/>
                  </a:lnTo>
                  <a:lnTo>
                    <a:pt x="343" y="63"/>
                  </a:lnTo>
                  <a:lnTo>
                    <a:pt x="338" y="58"/>
                  </a:lnTo>
                  <a:lnTo>
                    <a:pt x="332" y="52"/>
                  </a:lnTo>
                  <a:lnTo>
                    <a:pt x="320" y="33"/>
                  </a:lnTo>
                  <a:lnTo>
                    <a:pt x="308" y="17"/>
                  </a:lnTo>
                  <a:lnTo>
                    <a:pt x="300" y="9"/>
                  </a:lnTo>
                  <a:lnTo>
                    <a:pt x="293" y="4"/>
                  </a:lnTo>
                  <a:lnTo>
                    <a:pt x="289" y="2"/>
                  </a:lnTo>
                  <a:lnTo>
                    <a:pt x="284" y="1"/>
                  </a:lnTo>
                  <a:lnTo>
                    <a:pt x="279" y="0"/>
                  </a:lnTo>
                  <a:lnTo>
                    <a:pt x="274" y="0"/>
                  </a:lnTo>
                  <a:lnTo>
                    <a:pt x="259" y="1"/>
                  </a:lnTo>
                  <a:lnTo>
                    <a:pt x="246" y="3"/>
                  </a:lnTo>
                  <a:lnTo>
                    <a:pt x="233" y="6"/>
                  </a:lnTo>
                  <a:lnTo>
                    <a:pt x="222" y="11"/>
                  </a:lnTo>
                  <a:lnTo>
                    <a:pt x="210" y="15"/>
                  </a:lnTo>
                  <a:lnTo>
                    <a:pt x="197" y="18"/>
                  </a:lnTo>
                  <a:lnTo>
                    <a:pt x="185" y="20"/>
                  </a:lnTo>
                  <a:lnTo>
                    <a:pt x="170" y="21"/>
                  </a:lnTo>
                  <a:lnTo>
                    <a:pt x="158" y="20"/>
                  </a:lnTo>
                  <a:lnTo>
                    <a:pt x="146" y="19"/>
                  </a:lnTo>
                  <a:lnTo>
                    <a:pt x="146" y="47"/>
                  </a:lnTo>
                  <a:lnTo>
                    <a:pt x="147" y="57"/>
                  </a:lnTo>
                  <a:lnTo>
                    <a:pt x="148" y="65"/>
                  </a:lnTo>
                  <a:lnTo>
                    <a:pt x="150" y="75"/>
                  </a:lnTo>
                  <a:lnTo>
                    <a:pt x="152" y="82"/>
                  </a:lnTo>
                  <a:lnTo>
                    <a:pt x="159" y="98"/>
                  </a:lnTo>
                  <a:lnTo>
                    <a:pt x="167" y="116"/>
                  </a:lnTo>
                  <a:lnTo>
                    <a:pt x="170" y="121"/>
                  </a:lnTo>
                  <a:lnTo>
                    <a:pt x="175" y="125"/>
                  </a:lnTo>
                  <a:lnTo>
                    <a:pt x="180" y="129"/>
                  </a:lnTo>
                  <a:lnTo>
                    <a:pt x="184" y="133"/>
                  </a:lnTo>
                  <a:lnTo>
                    <a:pt x="189" y="138"/>
                  </a:lnTo>
                  <a:lnTo>
                    <a:pt x="192" y="142"/>
                  </a:lnTo>
                  <a:lnTo>
                    <a:pt x="194" y="147"/>
                  </a:lnTo>
                  <a:lnTo>
                    <a:pt x="195" y="153"/>
                  </a:lnTo>
                  <a:lnTo>
                    <a:pt x="195" y="157"/>
                  </a:lnTo>
                  <a:lnTo>
                    <a:pt x="194" y="160"/>
                  </a:lnTo>
                  <a:lnTo>
                    <a:pt x="193" y="163"/>
                  </a:lnTo>
                  <a:lnTo>
                    <a:pt x="191" y="166"/>
                  </a:lnTo>
                  <a:lnTo>
                    <a:pt x="186" y="171"/>
                  </a:lnTo>
                  <a:lnTo>
                    <a:pt x="180" y="174"/>
                  </a:lnTo>
                  <a:lnTo>
                    <a:pt x="165" y="179"/>
                  </a:lnTo>
                  <a:lnTo>
                    <a:pt x="151" y="186"/>
                  </a:lnTo>
                  <a:lnTo>
                    <a:pt x="127" y="202"/>
                  </a:lnTo>
                  <a:lnTo>
                    <a:pt x="107" y="214"/>
                  </a:lnTo>
                  <a:lnTo>
                    <a:pt x="85" y="226"/>
                  </a:lnTo>
                  <a:lnTo>
                    <a:pt x="61" y="241"/>
                  </a:lnTo>
                  <a:lnTo>
                    <a:pt x="67" y="259"/>
                  </a:lnTo>
                  <a:lnTo>
                    <a:pt x="72" y="277"/>
                  </a:lnTo>
                  <a:lnTo>
                    <a:pt x="75" y="285"/>
                  </a:lnTo>
                  <a:lnTo>
                    <a:pt x="77" y="294"/>
                  </a:lnTo>
                  <a:lnTo>
                    <a:pt x="78" y="304"/>
                  </a:lnTo>
                  <a:lnTo>
                    <a:pt x="78" y="314"/>
                  </a:lnTo>
                  <a:lnTo>
                    <a:pt x="78" y="317"/>
                  </a:lnTo>
                  <a:lnTo>
                    <a:pt x="77" y="320"/>
                  </a:lnTo>
                  <a:lnTo>
                    <a:pt x="76" y="323"/>
                  </a:lnTo>
                  <a:lnTo>
                    <a:pt x="74" y="325"/>
                  </a:lnTo>
                  <a:lnTo>
                    <a:pt x="69" y="331"/>
                  </a:lnTo>
                  <a:lnTo>
                    <a:pt x="63" y="334"/>
                  </a:lnTo>
                  <a:lnTo>
                    <a:pt x="57" y="337"/>
                  </a:lnTo>
                  <a:lnTo>
                    <a:pt x="50" y="340"/>
                  </a:lnTo>
                  <a:lnTo>
                    <a:pt x="44" y="344"/>
                  </a:lnTo>
                  <a:lnTo>
                    <a:pt x="37" y="349"/>
                  </a:lnTo>
                  <a:lnTo>
                    <a:pt x="55" y="374"/>
                  </a:lnTo>
                  <a:lnTo>
                    <a:pt x="70" y="398"/>
                  </a:lnTo>
                  <a:lnTo>
                    <a:pt x="78" y="409"/>
                  </a:lnTo>
                  <a:lnTo>
                    <a:pt x="84" y="420"/>
                  </a:lnTo>
                  <a:lnTo>
                    <a:pt x="89" y="433"/>
                  </a:lnTo>
                  <a:lnTo>
                    <a:pt x="94" y="444"/>
                  </a:lnTo>
                  <a:lnTo>
                    <a:pt x="98" y="457"/>
                  </a:lnTo>
                  <a:lnTo>
                    <a:pt x="102" y="469"/>
                  </a:lnTo>
                  <a:lnTo>
                    <a:pt x="105" y="481"/>
                  </a:lnTo>
                  <a:lnTo>
                    <a:pt x="109" y="495"/>
                  </a:lnTo>
                  <a:lnTo>
                    <a:pt x="111" y="508"/>
                  </a:lnTo>
                  <a:lnTo>
                    <a:pt x="112" y="522"/>
                  </a:lnTo>
                  <a:lnTo>
                    <a:pt x="113" y="537"/>
                  </a:lnTo>
                  <a:lnTo>
                    <a:pt x="113" y="553"/>
                  </a:lnTo>
                  <a:lnTo>
                    <a:pt x="113" y="564"/>
                  </a:lnTo>
                  <a:lnTo>
                    <a:pt x="112" y="576"/>
                  </a:lnTo>
                  <a:lnTo>
                    <a:pt x="109" y="587"/>
                  </a:lnTo>
                  <a:lnTo>
                    <a:pt x="105" y="597"/>
                  </a:lnTo>
                  <a:lnTo>
                    <a:pt x="100" y="606"/>
                  </a:lnTo>
                  <a:lnTo>
                    <a:pt x="94" y="615"/>
                  </a:lnTo>
                  <a:lnTo>
                    <a:pt x="90" y="619"/>
                  </a:lnTo>
                  <a:lnTo>
                    <a:pt x="86" y="622"/>
                  </a:lnTo>
                  <a:lnTo>
                    <a:pt x="81" y="625"/>
                  </a:lnTo>
                  <a:lnTo>
                    <a:pt x="76" y="628"/>
                  </a:lnTo>
                  <a:lnTo>
                    <a:pt x="63" y="632"/>
                  </a:lnTo>
                  <a:lnTo>
                    <a:pt x="51" y="635"/>
                  </a:lnTo>
                  <a:lnTo>
                    <a:pt x="38" y="637"/>
                  </a:lnTo>
                  <a:lnTo>
                    <a:pt x="26" y="639"/>
                  </a:lnTo>
                  <a:lnTo>
                    <a:pt x="21" y="641"/>
                  </a:lnTo>
                  <a:lnTo>
                    <a:pt x="16" y="642"/>
                  </a:lnTo>
                  <a:lnTo>
                    <a:pt x="12" y="645"/>
                  </a:lnTo>
                  <a:lnTo>
                    <a:pt x="8" y="648"/>
                  </a:lnTo>
                  <a:lnTo>
                    <a:pt x="4" y="651"/>
                  </a:lnTo>
                  <a:lnTo>
                    <a:pt x="2" y="655"/>
                  </a:lnTo>
                  <a:lnTo>
                    <a:pt x="0" y="660"/>
                  </a:lnTo>
                  <a:lnTo>
                    <a:pt x="0" y="665"/>
                  </a:lnTo>
                  <a:lnTo>
                    <a:pt x="0" y="668"/>
                  </a:lnTo>
                  <a:lnTo>
                    <a:pt x="1" y="671"/>
                  </a:lnTo>
                  <a:lnTo>
                    <a:pt x="3" y="673"/>
                  </a:lnTo>
                  <a:lnTo>
                    <a:pt x="5" y="676"/>
                  </a:lnTo>
                  <a:lnTo>
                    <a:pt x="11" y="680"/>
                  </a:lnTo>
                  <a:lnTo>
                    <a:pt x="14" y="685"/>
                  </a:lnTo>
                  <a:lnTo>
                    <a:pt x="19" y="699"/>
                  </a:lnTo>
                  <a:lnTo>
                    <a:pt x="23" y="713"/>
                  </a:lnTo>
                  <a:lnTo>
                    <a:pt x="24" y="726"/>
                  </a:lnTo>
                  <a:lnTo>
                    <a:pt x="25" y="739"/>
                  </a:lnTo>
                  <a:lnTo>
                    <a:pt x="25" y="752"/>
                  </a:lnTo>
                  <a:lnTo>
                    <a:pt x="26" y="765"/>
                  </a:lnTo>
                  <a:lnTo>
                    <a:pt x="27" y="780"/>
                  </a:lnTo>
                  <a:lnTo>
                    <a:pt x="30" y="795"/>
                  </a:lnTo>
                  <a:lnTo>
                    <a:pt x="33" y="806"/>
                  </a:lnTo>
                  <a:lnTo>
                    <a:pt x="37" y="814"/>
                  </a:lnTo>
                  <a:lnTo>
                    <a:pt x="43" y="822"/>
                  </a:lnTo>
                  <a:lnTo>
                    <a:pt x="48" y="830"/>
                  </a:lnTo>
                  <a:lnTo>
                    <a:pt x="52" y="839"/>
                  </a:lnTo>
                  <a:lnTo>
                    <a:pt x="55" y="847"/>
                  </a:lnTo>
                  <a:lnTo>
                    <a:pt x="58" y="856"/>
                  </a:lnTo>
                  <a:lnTo>
                    <a:pt x="59" y="867"/>
                  </a:lnTo>
                  <a:lnTo>
                    <a:pt x="58" y="879"/>
                  </a:lnTo>
                  <a:lnTo>
                    <a:pt x="55" y="890"/>
                  </a:lnTo>
                  <a:lnTo>
                    <a:pt x="51" y="901"/>
                  </a:lnTo>
                  <a:lnTo>
                    <a:pt x="46" y="911"/>
                  </a:lnTo>
                  <a:lnTo>
                    <a:pt x="42" y="921"/>
                  </a:lnTo>
                  <a:lnTo>
                    <a:pt x="37" y="932"/>
                  </a:lnTo>
                  <a:lnTo>
                    <a:pt x="34" y="943"/>
                  </a:lnTo>
                  <a:lnTo>
                    <a:pt x="33" y="955"/>
                  </a:lnTo>
                  <a:lnTo>
                    <a:pt x="33" y="962"/>
                  </a:lnTo>
                  <a:lnTo>
                    <a:pt x="35" y="967"/>
                  </a:lnTo>
                  <a:lnTo>
                    <a:pt x="37" y="971"/>
                  </a:lnTo>
                  <a:lnTo>
                    <a:pt x="41" y="975"/>
                  </a:lnTo>
                  <a:lnTo>
                    <a:pt x="49" y="981"/>
                  </a:lnTo>
                  <a:lnTo>
                    <a:pt x="58" y="987"/>
                  </a:lnTo>
                  <a:lnTo>
                    <a:pt x="66" y="994"/>
                  </a:lnTo>
                  <a:lnTo>
                    <a:pt x="75" y="1001"/>
                  </a:lnTo>
                  <a:lnTo>
                    <a:pt x="78" y="1005"/>
                  </a:lnTo>
                  <a:lnTo>
                    <a:pt x="81" y="1009"/>
                  </a:lnTo>
                  <a:lnTo>
                    <a:pt x="82" y="1014"/>
                  </a:lnTo>
                  <a:lnTo>
                    <a:pt x="83" y="1019"/>
                  </a:lnTo>
                  <a:lnTo>
                    <a:pt x="82" y="1028"/>
                  </a:lnTo>
                  <a:lnTo>
                    <a:pt x="81" y="1035"/>
                  </a:lnTo>
                  <a:lnTo>
                    <a:pt x="80" y="1042"/>
                  </a:lnTo>
                  <a:lnTo>
                    <a:pt x="77" y="1048"/>
                  </a:lnTo>
                  <a:lnTo>
                    <a:pt x="71" y="1061"/>
                  </a:lnTo>
                  <a:lnTo>
                    <a:pt x="65" y="1073"/>
                  </a:lnTo>
                  <a:lnTo>
                    <a:pt x="58" y="1084"/>
                  </a:lnTo>
                  <a:lnTo>
                    <a:pt x="52" y="1097"/>
                  </a:lnTo>
                  <a:lnTo>
                    <a:pt x="50" y="1103"/>
                  </a:lnTo>
                  <a:lnTo>
                    <a:pt x="48" y="1110"/>
                  </a:lnTo>
                  <a:lnTo>
                    <a:pt x="46" y="1117"/>
                  </a:lnTo>
                  <a:lnTo>
                    <a:pt x="45" y="1126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ru-RU" altLang="ru-RU" sz="675" dirty="0">
                <a:latin typeface="Calibri" panose="020F0502020204030204" pitchFamily="34" charset="0"/>
              </a:endParaRPr>
            </a:p>
          </p:txBody>
        </p:sp>
        <p:sp>
          <p:nvSpPr>
            <p:cNvPr id="24" name="Kharkiv"/>
            <p:cNvSpPr>
              <a:spLocks/>
            </p:cNvSpPr>
            <p:nvPr/>
          </p:nvSpPr>
          <p:spPr bwMode="auto">
            <a:xfrm>
              <a:off x="3801" y="1736"/>
              <a:ext cx="801" cy="726"/>
            </a:xfrm>
            <a:custGeom>
              <a:avLst/>
              <a:gdLst>
                <a:gd name="T0" fmla="*/ 349 w 2666"/>
                <a:gd name="T1" fmla="*/ 229 h 2496"/>
                <a:gd name="T2" fmla="*/ 349 w 2666"/>
                <a:gd name="T3" fmla="*/ 229 h 2496"/>
                <a:gd name="T4" fmla="*/ 349 w 2666"/>
                <a:gd name="T5" fmla="*/ 229 h 2496"/>
                <a:gd name="T6" fmla="*/ 349 w 2666"/>
                <a:gd name="T7" fmla="*/ 229 h 2496"/>
                <a:gd name="T8" fmla="*/ 349 w 2666"/>
                <a:gd name="T9" fmla="*/ 229 h 2496"/>
                <a:gd name="T10" fmla="*/ 349 w 2666"/>
                <a:gd name="T11" fmla="*/ 229 h 2496"/>
                <a:gd name="T12" fmla="*/ 349 w 2666"/>
                <a:gd name="T13" fmla="*/ 229 h 2496"/>
                <a:gd name="T14" fmla="*/ 349 w 2666"/>
                <a:gd name="T15" fmla="*/ 229 h 2496"/>
                <a:gd name="T16" fmla="*/ 349 w 2666"/>
                <a:gd name="T17" fmla="*/ 229 h 2496"/>
                <a:gd name="T18" fmla="*/ 349 w 2666"/>
                <a:gd name="T19" fmla="*/ 229 h 2496"/>
                <a:gd name="T20" fmla="*/ 349 w 2666"/>
                <a:gd name="T21" fmla="*/ 229 h 2496"/>
                <a:gd name="T22" fmla="*/ 349 w 2666"/>
                <a:gd name="T23" fmla="*/ 229 h 2496"/>
                <a:gd name="T24" fmla="*/ 349 w 2666"/>
                <a:gd name="T25" fmla="*/ 229 h 2496"/>
                <a:gd name="T26" fmla="*/ 349 w 2666"/>
                <a:gd name="T27" fmla="*/ 229 h 2496"/>
                <a:gd name="T28" fmla="*/ 349 w 2666"/>
                <a:gd name="T29" fmla="*/ 229 h 2496"/>
                <a:gd name="T30" fmla="*/ 349 w 2666"/>
                <a:gd name="T31" fmla="*/ 229 h 2496"/>
                <a:gd name="T32" fmla="*/ 349 w 2666"/>
                <a:gd name="T33" fmla="*/ 229 h 2496"/>
                <a:gd name="T34" fmla="*/ 349 w 2666"/>
                <a:gd name="T35" fmla="*/ 229 h 2496"/>
                <a:gd name="T36" fmla="*/ 349 w 2666"/>
                <a:gd name="T37" fmla="*/ 229 h 2496"/>
                <a:gd name="T38" fmla="*/ 349 w 2666"/>
                <a:gd name="T39" fmla="*/ 229 h 2496"/>
                <a:gd name="T40" fmla="*/ 349 w 2666"/>
                <a:gd name="T41" fmla="*/ 229 h 2496"/>
                <a:gd name="T42" fmla="*/ 349 w 2666"/>
                <a:gd name="T43" fmla="*/ 229 h 2496"/>
                <a:gd name="T44" fmla="*/ 349 w 2666"/>
                <a:gd name="T45" fmla="*/ 229 h 2496"/>
                <a:gd name="T46" fmla="*/ 349 w 2666"/>
                <a:gd name="T47" fmla="*/ 229 h 2496"/>
                <a:gd name="T48" fmla="*/ 349 w 2666"/>
                <a:gd name="T49" fmla="*/ 229 h 2496"/>
                <a:gd name="T50" fmla="*/ 349 w 2666"/>
                <a:gd name="T51" fmla="*/ 229 h 2496"/>
                <a:gd name="T52" fmla="*/ 349 w 2666"/>
                <a:gd name="T53" fmla="*/ 229 h 2496"/>
                <a:gd name="T54" fmla="*/ 349 w 2666"/>
                <a:gd name="T55" fmla="*/ 229 h 2496"/>
                <a:gd name="T56" fmla="*/ 349 w 2666"/>
                <a:gd name="T57" fmla="*/ 229 h 2496"/>
                <a:gd name="T58" fmla="*/ 349 w 2666"/>
                <a:gd name="T59" fmla="*/ 229 h 2496"/>
                <a:gd name="T60" fmla="*/ 349 w 2666"/>
                <a:gd name="T61" fmla="*/ 229 h 2496"/>
                <a:gd name="T62" fmla="*/ 349 w 2666"/>
                <a:gd name="T63" fmla="*/ 229 h 2496"/>
                <a:gd name="T64" fmla="*/ 349 w 2666"/>
                <a:gd name="T65" fmla="*/ 229 h 2496"/>
                <a:gd name="T66" fmla="*/ 349 w 2666"/>
                <a:gd name="T67" fmla="*/ 229 h 2496"/>
                <a:gd name="T68" fmla="*/ 349 w 2666"/>
                <a:gd name="T69" fmla="*/ 229 h 2496"/>
                <a:gd name="T70" fmla="*/ 349 w 2666"/>
                <a:gd name="T71" fmla="*/ 229 h 2496"/>
                <a:gd name="T72" fmla="*/ 349 w 2666"/>
                <a:gd name="T73" fmla="*/ 229 h 2496"/>
                <a:gd name="T74" fmla="*/ 349 w 2666"/>
                <a:gd name="T75" fmla="*/ 229 h 2496"/>
                <a:gd name="T76" fmla="*/ 349 w 2666"/>
                <a:gd name="T77" fmla="*/ 229 h 2496"/>
                <a:gd name="T78" fmla="*/ 349 w 2666"/>
                <a:gd name="T79" fmla="*/ 229 h 2496"/>
                <a:gd name="T80" fmla="*/ 349 w 2666"/>
                <a:gd name="T81" fmla="*/ 229 h 2496"/>
                <a:gd name="T82" fmla="*/ 349 w 2666"/>
                <a:gd name="T83" fmla="*/ 229 h 2496"/>
                <a:gd name="T84" fmla="*/ 349 w 2666"/>
                <a:gd name="T85" fmla="*/ 229 h 2496"/>
                <a:gd name="T86" fmla="*/ 349 w 2666"/>
                <a:gd name="T87" fmla="*/ 229 h 2496"/>
                <a:gd name="T88" fmla="*/ 349 w 2666"/>
                <a:gd name="T89" fmla="*/ 229 h 2496"/>
                <a:gd name="T90" fmla="*/ 349 w 2666"/>
                <a:gd name="T91" fmla="*/ 229 h 2496"/>
                <a:gd name="T92" fmla="*/ 349 w 2666"/>
                <a:gd name="T93" fmla="*/ 229 h 2496"/>
                <a:gd name="T94" fmla="*/ 349 w 2666"/>
                <a:gd name="T95" fmla="*/ 229 h 2496"/>
                <a:gd name="T96" fmla="*/ 349 w 2666"/>
                <a:gd name="T97" fmla="*/ 229 h 2496"/>
                <a:gd name="T98" fmla="*/ 349 w 2666"/>
                <a:gd name="T99" fmla="*/ 229 h 2496"/>
                <a:gd name="T100" fmla="*/ 349 w 2666"/>
                <a:gd name="T101" fmla="*/ 229 h 2496"/>
                <a:gd name="T102" fmla="*/ 349 w 2666"/>
                <a:gd name="T103" fmla="*/ 229 h 2496"/>
                <a:gd name="T104" fmla="*/ 349 w 2666"/>
                <a:gd name="T105" fmla="*/ 229 h 2496"/>
                <a:gd name="T106" fmla="*/ 349 w 2666"/>
                <a:gd name="T107" fmla="*/ 229 h 2496"/>
                <a:gd name="T108" fmla="*/ 349 w 2666"/>
                <a:gd name="T109" fmla="*/ 229 h 2496"/>
                <a:gd name="T110" fmla="*/ 349 w 2666"/>
                <a:gd name="T111" fmla="*/ 229 h 2496"/>
                <a:gd name="T112" fmla="*/ 349 w 2666"/>
                <a:gd name="T113" fmla="*/ 229 h 2496"/>
                <a:gd name="T114" fmla="*/ 349 w 2666"/>
                <a:gd name="T115" fmla="*/ 229 h 2496"/>
                <a:gd name="T116" fmla="*/ 349 w 2666"/>
                <a:gd name="T117" fmla="*/ 229 h 2496"/>
                <a:gd name="T118" fmla="*/ 349 w 2666"/>
                <a:gd name="T119" fmla="*/ 229 h 249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666"/>
                <a:gd name="T181" fmla="*/ 0 h 2496"/>
                <a:gd name="T182" fmla="*/ 2666 w 2666"/>
                <a:gd name="T183" fmla="*/ 2496 h 249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666" h="2496">
                  <a:moveTo>
                    <a:pt x="18" y="483"/>
                  </a:moveTo>
                  <a:lnTo>
                    <a:pt x="29" y="484"/>
                  </a:lnTo>
                  <a:lnTo>
                    <a:pt x="38" y="486"/>
                  </a:lnTo>
                  <a:lnTo>
                    <a:pt x="47" y="490"/>
                  </a:lnTo>
                  <a:lnTo>
                    <a:pt x="56" y="494"/>
                  </a:lnTo>
                  <a:lnTo>
                    <a:pt x="63" y="500"/>
                  </a:lnTo>
                  <a:lnTo>
                    <a:pt x="68" y="507"/>
                  </a:lnTo>
                  <a:lnTo>
                    <a:pt x="70" y="511"/>
                  </a:lnTo>
                  <a:lnTo>
                    <a:pt x="72" y="516"/>
                  </a:lnTo>
                  <a:lnTo>
                    <a:pt x="72" y="520"/>
                  </a:lnTo>
                  <a:lnTo>
                    <a:pt x="73" y="525"/>
                  </a:lnTo>
                  <a:lnTo>
                    <a:pt x="72" y="538"/>
                  </a:lnTo>
                  <a:lnTo>
                    <a:pt x="70" y="551"/>
                  </a:lnTo>
                  <a:lnTo>
                    <a:pt x="66" y="563"/>
                  </a:lnTo>
                  <a:lnTo>
                    <a:pt x="62" y="574"/>
                  </a:lnTo>
                  <a:lnTo>
                    <a:pt x="49" y="595"/>
                  </a:lnTo>
                  <a:lnTo>
                    <a:pt x="36" y="615"/>
                  </a:lnTo>
                  <a:lnTo>
                    <a:pt x="23" y="634"/>
                  </a:lnTo>
                  <a:lnTo>
                    <a:pt x="11" y="655"/>
                  </a:lnTo>
                  <a:lnTo>
                    <a:pt x="6" y="666"/>
                  </a:lnTo>
                  <a:lnTo>
                    <a:pt x="3" y="678"/>
                  </a:lnTo>
                  <a:lnTo>
                    <a:pt x="1" y="690"/>
                  </a:lnTo>
                  <a:lnTo>
                    <a:pt x="0" y="705"/>
                  </a:lnTo>
                  <a:lnTo>
                    <a:pt x="0" y="718"/>
                  </a:lnTo>
                  <a:lnTo>
                    <a:pt x="2" y="731"/>
                  </a:lnTo>
                  <a:lnTo>
                    <a:pt x="5" y="744"/>
                  </a:lnTo>
                  <a:lnTo>
                    <a:pt x="9" y="756"/>
                  </a:lnTo>
                  <a:lnTo>
                    <a:pt x="14" y="768"/>
                  </a:lnTo>
                  <a:lnTo>
                    <a:pt x="21" y="779"/>
                  </a:lnTo>
                  <a:lnTo>
                    <a:pt x="28" y="789"/>
                  </a:lnTo>
                  <a:lnTo>
                    <a:pt x="36" y="799"/>
                  </a:lnTo>
                  <a:lnTo>
                    <a:pt x="44" y="807"/>
                  </a:lnTo>
                  <a:lnTo>
                    <a:pt x="55" y="815"/>
                  </a:lnTo>
                  <a:lnTo>
                    <a:pt x="65" y="823"/>
                  </a:lnTo>
                  <a:lnTo>
                    <a:pt x="76" y="830"/>
                  </a:lnTo>
                  <a:lnTo>
                    <a:pt x="88" y="836"/>
                  </a:lnTo>
                  <a:lnTo>
                    <a:pt x="100" y="841"/>
                  </a:lnTo>
                  <a:lnTo>
                    <a:pt x="113" y="845"/>
                  </a:lnTo>
                  <a:lnTo>
                    <a:pt x="127" y="848"/>
                  </a:lnTo>
                  <a:lnTo>
                    <a:pt x="141" y="851"/>
                  </a:lnTo>
                  <a:lnTo>
                    <a:pt x="156" y="852"/>
                  </a:lnTo>
                  <a:lnTo>
                    <a:pt x="170" y="854"/>
                  </a:lnTo>
                  <a:lnTo>
                    <a:pt x="185" y="854"/>
                  </a:lnTo>
                  <a:lnTo>
                    <a:pt x="211" y="856"/>
                  </a:lnTo>
                  <a:lnTo>
                    <a:pt x="238" y="858"/>
                  </a:lnTo>
                  <a:lnTo>
                    <a:pt x="251" y="859"/>
                  </a:lnTo>
                  <a:lnTo>
                    <a:pt x="262" y="863"/>
                  </a:lnTo>
                  <a:lnTo>
                    <a:pt x="273" y="867"/>
                  </a:lnTo>
                  <a:lnTo>
                    <a:pt x="284" y="871"/>
                  </a:lnTo>
                  <a:lnTo>
                    <a:pt x="294" y="878"/>
                  </a:lnTo>
                  <a:lnTo>
                    <a:pt x="303" y="885"/>
                  </a:lnTo>
                  <a:lnTo>
                    <a:pt x="310" y="896"/>
                  </a:lnTo>
                  <a:lnTo>
                    <a:pt x="318" y="907"/>
                  </a:lnTo>
                  <a:lnTo>
                    <a:pt x="324" y="920"/>
                  </a:lnTo>
                  <a:lnTo>
                    <a:pt x="328" y="934"/>
                  </a:lnTo>
                  <a:lnTo>
                    <a:pt x="331" y="947"/>
                  </a:lnTo>
                  <a:lnTo>
                    <a:pt x="334" y="961"/>
                  </a:lnTo>
                  <a:lnTo>
                    <a:pt x="337" y="988"/>
                  </a:lnTo>
                  <a:lnTo>
                    <a:pt x="340" y="1013"/>
                  </a:lnTo>
                  <a:lnTo>
                    <a:pt x="342" y="1026"/>
                  </a:lnTo>
                  <a:lnTo>
                    <a:pt x="345" y="1037"/>
                  </a:lnTo>
                  <a:lnTo>
                    <a:pt x="350" y="1048"/>
                  </a:lnTo>
                  <a:lnTo>
                    <a:pt x="354" y="1059"/>
                  </a:lnTo>
                  <a:lnTo>
                    <a:pt x="357" y="1063"/>
                  </a:lnTo>
                  <a:lnTo>
                    <a:pt x="361" y="1067"/>
                  </a:lnTo>
                  <a:lnTo>
                    <a:pt x="364" y="1071"/>
                  </a:lnTo>
                  <a:lnTo>
                    <a:pt x="368" y="1075"/>
                  </a:lnTo>
                  <a:lnTo>
                    <a:pt x="373" y="1078"/>
                  </a:lnTo>
                  <a:lnTo>
                    <a:pt x="378" y="1081"/>
                  </a:lnTo>
                  <a:lnTo>
                    <a:pt x="385" y="1085"/>
                  </a:lnTo>
                  <a:lnTo>
                    <a:pt x="391" y="1087"/>
                  </a:lnTo>
                  <a:lnTo>
                    <a:pt x="417" y="1095"/>
                  </a:lnTo>
                  <a:lnTo>
                    <a:pt x="441" y="1103"/>
                  </a:lnTo>
                  <a:lnTo>
                    <a:pt x="454" y="1108"/>
                  </a:lnTo>
                  <a:lnTo>
                    <a:pt x="465" y="1112"/>
                  </a:lnTo>
                  <a:lnTo>
                    <a:pt x="476" y="1119"/>
                  </a:lnTo>
                  <a:lnTo>
                    <a:pt x="487" y="1125"/>
                  </a:lnTo>
                  <a:lnTo>
                    <a:pt x="497" y="1131"/>
                  </a:lnTo>
                  <a:lnTo>
                    <a:pt x="505" y="1138"/>
                  </a:lnTo>
                  <a:lnTo>
                    <a:pt x="513" y="1146"/>
                  </a:lnTo>
                  <a:lnTo>
                    <a:pt x="520" y="1155"/>
                  </a:lnTo>
                  <a:lnTo>
                    <a:pt x="525" y="1164"/>
                  </a:lnTo>
                  <a:lnTo>
                    <a:pt x="529" y="1174"/>
                  </a:lnTo>
                  <a:lnTo>
                    <a:pt x="532" y="1186"/>
                  </a:lnTo>
                  <a:lnTo>
                    <a:pt x="532" y="1199"/>
                  </a:lnTo>
                  <a:lnTo>
                    <a:pt x="532" y="1212"/>
                  </a:lnTo>
                  <a:lnTo>
                    <a:pt x="532" y="1223"/>
                  </a:lnTo>
                  <a:lnTo>
                    <a:pt x="530" y="1234"/>
                  </a:lnTo>
                  <a:lnTo>
                    <a:pt x="528" y="1245"/>
                  </a:lnTo>
                  <a:lnTo>
                    <a:pt x="525" y="1255"/>
                  </a:lnTo>
                  <a:lnTo>
                    <a:pt x="520" y="1265"/>
                  </a:lnTo>
                  <a:lnTo>
                    <a:pt x="515" y="1275"/>
                  </a:lnTo>
                  <a:lnTo>
                    <a:pt x="506" y="1285"/>
                  </a:lnTo>
                  <a:lnTo>
                    <a:pt x="502" y="1290"/>
                  </a:lnTo>
                  <a:lnTo>
                    <a:pt x="497" y="1294"/>
                  </a:lnTo>
                  <a:lnTo>
                    <a:pt x="492" y="1298"/>
                  </a:lnTo>
                  <a:lnTo>
                    <a:pt x="486" y="1301"/>
                  </a:lnTo>
                  <a:lnTo>
                    <a:pt x="474" y="1307"/>
                  </a:lnTo>
                  <a:lnTo>
                    <a:pt x="463" y="1312"/>
                  </a:lnTo>
                  <a:lnTo>
                    <a:pt x="452" y="1317"/>
                  </a:lnTo>
                  <a:lnTo>
                    <a:pt x="441" y="1322"/>
                  </a:lnTo>
                  <a:lnTo>
                    <a:pt x="436" y="1326"/>
                  </a:lnTo>
                  <a:lnTo>
                    <a:pt x="432" y="1330"/>
                  </a:lnTo>
                  <a:lnTo>
                    <a:pt x="428" y="1336"/>
                  </a:lnTo>
                  <a:lnTo>
                    <a:pt x="424" y="1342"/>
                  </a:lnTo>
                  <a:lnTo>
                    <a:pt x="431" y="1347"/>
                  </a:lnTo>
                  <a:lnTo>
                    <a:pt x="437" y="1352"/>
                  </a:lnTo>
                  <a:lnTo>
                    <a:pt x="442" y="1357"/>
                  </a:lnTo>
                  <a:lnTo>
                    <a:pt x="447" y="1363"/>
                  </a:lnTo>
                  <a:lnTo>
                    <a:pt x="453" y="1370"/>
                  </a:lnTo>
                  <a:lnTo>
                    <a:pt x="457" y="1376"/>
                  </a:lnTo>
                  <a:lnTo>
                    <a:pt x="460" y="1382"/>
                  </a:lnTo>
                  <a:lnTo>
                    <a:pt x="463" y="1388"/>
                  </a:lnTo>
                  <a:lnTo>
                    <a:pt x="468" y="1403"/>
                  </a:lnTo>
                  <a:lnTo>
                    <a:pt x="471" y="1417"/>
                  </a:lnTo>
                  <a:lnTo>
                    <a:pt x="473" y="1434"/>
                  </a:lnTo>
                  <a:lnTo>
                    <a:pt x="473" y="1450"/>
                  </a:lnTo>
                  <a:lnTo>
                    <a:pt x="472" y="1459"/>
                  </a:lnTo>
                  <a:lnTo>
                    <a:pt x="470" y="1467"/>
                  </a:lnTo>
                  <a:lnTo>
                    <a:pt x="467" y="1474"/>
                  </a:lnTo>
                  <a:lnTo>
                    <a:pt x="462" y="1480"/>
                  </a:lnTo>
                  <a:lnTo>
                    <a:pt x="452" y="1492"/>
                  </a:lnTo>
                  <a:lnTo>
                    <a:pt x="440" y="1507"/>
                  </a:lnTo>
                  <a:lnTo>
                    <a:pt x="433" y="1520"/>
                  </a:lnTo>
                  <a:lnTo>
                    <a:pt x="427" y="1533"/>
                  </a:lnTo>
                  <a:lnTo>
                    <a:pt x="423" y="1538"/>
                  </a:lnTo>
                  <a:lnTo>
                    <a:pt x="418" y="1543"/>
                  </a:lnTo>
                  <a:lnTo>
                    <a:pt x="412" y="1547"/>
                  </a:lnTo>
                  <a:lnTo>
                    <a:pt x="405" y="1549"/>
                  </a:lnTo>
                  <a:lnTo>
                    <a:pt x="384" y="1554"/>
                  </a:lnTo>
                  <a:lnTo>
                    <a:pt x="364" y="1559"/>
                  </a:lnTo>
                  <a:lnTo>
                    <a:pt x="345" y="1561"/>
                  </a:lnTo>
                  <a:lnTo>
                    <a:pt x="327" y="1564"/>
                  </a:lnTo>
                  <a:lnTo>
                    <a:pt x="308" y="1566"/>
                  </a:lnTo>
                  <a:lnTo>
                    <a:pt x="290" y="1569"/>
                  </a:lnTo>
                  <a:lnTo>
                    <a:pt x="270" y="1574"/>
                  </a:lnTo>
                  <a:lnTo>
                    <a:pt x="249" y="1580"/>
                  </a:lnTo>
                  <a:lnTo>
                    <a:pt x="234" y="1585"/>
                  </a:lnTo>
                  <a:lnTo>
                    <a:pt x="220" y="1592"/>
                  </a:lnTo>
                  <a:lnTo>
                    <a:pt x="205" y="1598"/>
                  </a:lnTo>
                  <a:lnTo>
                    <a:pt x="192" y="1606"/>
                  </a:lnTo>
                  <a:lnTo>
                    <a:pt x="187" y="1610"/>
                  </a:lnTo>
                  <a:lnTo>
                    <a:pt x="180" y="1614"/>
                  </a:lnTo>
                  <a:lnTo>
                    <a:pt x="176" y="1620"/>
                  </a:lnTo>
                  <a:lnTo>
                    <a:pt x="172" y="1626"/>
                  </a:lnTo>
                  <a:lnTo>
                    <a:pt x="169" y="1632"/>
                  </a:lnTo>
                  <a:lnTo>
                    <a:pt x="167" y="1638"/>
                  </a:lnTo>
                  <a:lnTo>
                    <a:pt x="165" y="1645"/>
                  </a:lnTo>
                  <a:lnTo>
                    <a:pt x="165" y="1654"/>
                  </a:lnTo>
                  <a:lnTo>
                    <a:pt x="165" y="1670"/>
                  </a:lnTo>
                  <a:lnTo>
                    <a:pt x="165" y="1688"/>
                  </a:lnTo>
                  <a:lnTo>
                    <a:pt x="167" y="1703"/>
                  </a:lnTo>
                  <a:lnTo>
                    <a:pt x="169" y="1719"/>
                  </a:lnTo>
                  <a:lnTo>
                    <a:pt x="171" y="1726"/>
                  </a:lnTo>
                  <a:lnTo>
                    <a:pt x="174" y="1732"/>
                  </a:lnTo>
                  <a:lnTo>
                    <a:pt x="176" y="1739"/>
                  </a:lnTo>
                  <a:lnTo>
                    <a:pt x="180" y="1745"/>
                  </a:lnTo>
                  <a:lnTo>
                    <a:pt x="185" y="1752"/>
                  </a:lnTo>
                  <a:lnTo>
                    <a:pt x="190" y="1758"/>
                  </a:lnTo>
                  <a:lnTo>
                    <a:pt x="196" y="1763"/>
                  </a:lnTo>
                  <a:lnTo>
                    <a:pt x="202" y="1769"/>
                  </a:lnTo>
                  <a:lnTo>
                    <a:pt x="221" y="1771"/>
                  </a:lnTo>
                  <a:lnTo>
                    <a:pt x="234" y="1771"/>
                  </a:lnTo>
                  <a:lnTo>
                    <a:pt x="247" y="1769"/>
                  </a:lnTo>
                  <a:lnTo>
                    <a:pt x="259" y="1767"/>
                  </a:lnTo>
                  <a:lnTo>
                    <a:pt x="270" y="1765"/>
                  </a:lnTo>
                  <a:lnTo>
                    <a:pt x="280" y="1761"/>
                  </a:lnTo>
                  <a:lnTo>
                    <a:pt x="292" y="1757"/>
                  </a:lnTo>
                  <a:lnTo>
                    <a:pt x="303" y="1752"/>
                  </a:lnTo>
                  <a:lnTo>
                    <a:pt x="315" y="1745"/>
                  </a:lnTo>
                  <a:lnTo>
                    <a:pt x="318" y="1753"/>
                  </a:lnTo>
                  <a:lnTo>
                    <a:pt x="320" y="1759"/>
                  </a:lnTo>
                  <a:lnTo>
                    <a:pt x="322" y="1765"/>
                  </a:lnTo>
                  <a:lnTo>
                    <a:pt x="325" y="1771"/>
                  </a:lnTo>
                  <a:lnTo>
                    <a:pt x="332" y="1782"/>
                  </a:lnTo>
                  <a:lnTo>
                    <a:pt x="341" y="1791"/>
                  </a:lnTo>
                  <a:lnTo>
                    <a:pt x="362" y="1807"/>
                  </a:lnTo>
                  <a:lnTo>
                    <a:pt x="384" y="1826"/>
                  </a:lnTo>
                  <a:lnTo>
                    <a:pt x="409" y="1849"/>
                  </a:lnTo>
                  <a:lnTo>
                    <a:pt x="434" y="1869"/>
                  </a:lnTo>
                  <a:lnTo>
                    <a:pt x="446" y="1879"/>
                  </a:lnTo>
                  <a:lnTo>
                    <a:pt x="459" y="1887"/>
                  </a:lnTo>
                  <a:lnTo>
                    <a:pt x="470" y="1895"/>
                  </a:lnTo>
                  <a:lnTo>
                    <a:pt x="484" y="1902"/>
                  </a:lnTo>
                  <a:lnTo>
                    <a:pt x="496" y="1910"/>
                  </a:lnTo>
                  <a:lnTo>
                    <a:pt x="509" y="1916"/>
                  </a:lnTo>
                  <a:lnTo>
                    <a:pt x="523" y="1921"/>
                  </a:lnTo>
                  <a:lnTo>
                    <a:pt x="537" y="1926"/>
                  </a:lnTo>
                  <a:lnTo>
                    <a:pt x="552" y="1931"/>
                  </a:lnTo>
                  <a:lnTo>
                    <a:pt x="567" y="1935"/>
                  </a:lnTo>
                  <a:lnTo>
                    <a:pt x="584" y="1939"/>
                  </a:lnTo>
                  <a:lnTo>
                    <a:pt x="601" y="1942"/>
                  </a:lnTo>
                  <a:lnTo>
                    <a:pt x="624" y="1945"/>
                  </a:lnTo>
                  <a:lnTo>
                    <a:pt x="644" y="1947"/>
                  </a:lnTo>
                  <a:lnTo>
                    <a:pt x="663" y="1950"/>
                  </a:lnTo>
                  <a:lnTo>
                    <a:pt x="682" y="1952"/>
                  </a:lnTo>
                  <a:lnTo>
                    <a:pt x="701" y="1955"/>
                  </a:lnTo>
                  <a:lnTo>
                    <a:pt x="720" y="1957"/>
                  </a:lnTo>
                  <a:lnTo>
                    <a:pt x="741" y="1960"/>
                  </a:lnTo>
                  <a:lnTo>
                    <a:pt x="763" y="1962"/>
                  </a:lnTo>
                  <a:lnTo>
                    <a:pt x="788" y="1964"/>
                  </a:lnTo>
                  <a:lnTo>
                    <a:pt x="809" y="1968"/>
                  </a:lnTo>
                  <a:lnTo>
                    <a:pt x="819" y="1970"/>
                  </a:lnTo>
                  <a:lnTo>
                    <a:pt x="829" y="1974"/>
                  </a:lnTo>
                  <a:lnTo>
                    <a:pt x="837" y="1980"/>
                  </a:lnTo>
                  <a:lnTo>
                    <a:pt x="847" y="1988"/>
                  </a:lnTo>
                  <a:lnTo>
                    <a:pt x="859" y="2007"/>
                  </a:lnTo>
                  <a:lnTo>
                    <a:pt x="870" y="2024"/>
                  </a:lnTo>
                  <a:lnTo>
                    <a:pt x="876" y="2032"/>
                  </a:lnTo>
                  <a:lnTo>
                    <a:pt x="884" y="2038"/>
                  </a:lnTo>
                  <a:lnTo>
                    <a:pt x="888" y="2040"/>
                  </a:lnTo>
                  <a:lnTo>
                    <a:pt x="892" y="2041"/>
                  </a:lnTo>
                  <a:lnTo>
                    <a:pt x="897" y="2042"/>
                  </a:lnTo>
                  <a:lnTo>
                    <a:pt x="902" y="2043"/>
                  </a:lnTo>
                  <a:lnTo>
                    <a:pt x="906" y="2043"/>
                  </a:lnTo>
                  <a:lnTo>
                    <a:pt x="909" y="2042"/>
                  </a:lnTo>
                  <a:lnTo>
                    <a:pt x="913" y="2041"/>
                  </a:lnTo>
                  <a:lnTo>
                    <a:pt x="916" y="2039"/>
                  </a:lnTo>
                  <a:lnTo>
                    <a:pt x="920" y="2035"/>
                  </a:lnTo>
                  <a:lnTo>
                    <a:pt x="923" y="2028"/>
                  </a:lnTo>
                  <a:lnTo>
                    <a:pt x="928" y="2014"/>
                  </a:lnTo>
                  <a:lnTo>
                    <a:pt x="931" y="1997"/>
                  </a:lnTo>
                  <a:lnTo>
                    <a:pt x="934" y="1981"/>
                  </a:lnTo>
                  <a:lnTo>
                    <a:pt x="938" y="1968"/>
                  </a:lnTo>
                  <a:lnTo>
                    <a:pt x="942" y="1961"/>
                  </a:lnTo>
                  <a:lnTo>
                    <a:pt x="947" y="1957"/>
                  </a:lnTo>
                  <a:lnTo>
                    <a:pt x="950" y="1955"/>
                  </a:lnTo>
                  <a:lnTo>
                    <a:pt x="952" y="1954"/>
                  </a:lnTo>
                  <a:lnTo>
                    <a:pt x="956" y="1953"/>
                  </a:lnTo>
                  <a:lnTo>
                    <a:pt x="959" y="1953"/>
                  </a:lnTo>
                  <a:lnTo>
                    <a:pt x="990" y="1953"/>
                  </a:lnTo>
                  <a:lnTo>
                    <a:pt x="1017" y="1956"/>
                  </a:lnTo>
                  <a:lnTo>
                    <a:pt x="1030" y="1958"/>
                  </a:lnTo>
                  <a:lnTo>
                    <a:pt x="1044" y="1961"/>
                  </a:lnTo>
                  <a:lnTo>
                    <a:pt x="1058" y="1966"/>
                  </a:lnTo>
                  <a:lnTo>
                    <a:pt x="1072" y="1972"/>
                  </a:lnTo>
                  <a:lnTo>
                    <a:pt x="1078" y="1975"/>
                  </a:lnTo>
                  <a:lnTo>
                    <a:pt x="1082" y="1978"/>
                  </a:lnTo>
                  <a:lnTo>
                    <a:pt x="1086" y="1981"/>
                  </a:lnTo>
                  <a:lnTo>
                    <a:pt x="1089" y="1985"/>
                  </a:lnTo>
                  <a:lnTo>
                    <a:pt x="1093" y="1994"/>
                  </a:lnTo>
                  <a:lnTo>
                    <a:pt x="1095" y="2005"/>
                  </a:lnTo>
                  <a:lnTo>
                    <a:pt x="1097" y="2015"/>
                  </a:lnTo>
                  <a:lnTo>
                    <a:pt x="1099" y="2026"/>
                  </a:lnTo>
                  <a:lnTo>
                    <a:pt x="1101" y="2039"/>
                  </a:lnTo>
                  <a:lnTo>
                    <a:pt x="1105" y="2050"/>
                  </a:lnTo>
                  <a:lnTo>
                    <a:pt x="1113" y="2066"/>
                  </a:lnTo>
                  <a:lnTo>
                    <a:pt x="1121" y="2080"/>
                  </a:lnTo>
                  <a:lnTo>
                    <a:pt x="1129" y="2092"/>
                  </a:lnTo>
                  <a:lnTo>
                    <a:pt x="1139" y="2103"/>
                  </a:lnTo>
                  <a:lnTo>
                    <a:pt x="1150" y="2113"/>
                  </a:lnTo>
                  <a:lnTo>
                    <a:pt x="1162" y="2123"/>
                  </a:lnTo>
                  <a:lnTo>
                    <a:pt x="1176" y="2133"/>
                  </a:lnTo>
                  <a:lnTo>
                    <a:pt x="1190" y="2142"/>
                  </a:lnTo>
                  <a:lnTo>
                    <a:pt x="1213" y="2154"/>
                  </a:lnTo>
                  <a:lnTo>
                    <a:pt x="1233" y="2168"/>
                  </a:lnTo>
                  <a:lnTo>
                    <a:pt x="1237" y="2171"/>
                  </a:lnTo>
                  <a:lnTo>
                    <a:pt x="1242" y="2175"/>
                  </a:lnTo>
                  <a:lnTo>
                    <a:pt x="1245" y="2179"/>
                  </a:lnTo>
                  <a:lnTo>
                    <a:pt x="1248" y="2183"/>
                  </a:lnTo>
                  <a:lnTo>
                    <a:pt x="1251" y="2188"/>
                  </a:lnTo>
                  <a:lnTo>
                    <a:pt x="1253" y="2194"/>
                  </a:lnTo>
                  <a:lnTo>
                    <a:pt x="1254" y="2200"/>
                  </a:lnTo>
                  <a:lnTo>
                    <a:pt x="1254" y="2206"/>
                  </a:lnTo>
                  <a:lnTo>
                    <a:pt x="1253" y="2217"/>
                  </a:lnTo>
                  <a:lnTo>
                    <a:pt x="1249" y="2227"/>
                  </a:lnTo>
                  <a:lnTo>
                    <a:pt x="1246" y="2237"/>
                  </a:lnTo>
                  <a:lnTo>
                    <a:pt x="1245" y="2248"/>
                  </a:lnTo>
                  <a:lnTo>
                    <a:pt x="1245" y="2257"/>
                  </a:lnTo>
                  <a:lnTo>
                    <a:pt x="1247" y="2264"/>
                  </a:lnTo>
                  <a:lnTo>
                    <a:pt x="1250" y="2270"/>
                  </a:lnTo>
                  <a:lnTo>
                    <a:pt x="1253" y="2276"/>
                  </a:lnTo>
                  <a:lnTo>
                    <a:pt x="1257" y="2281"/>
                  </a:lnTo>
                  <a:lnTo>
                    <a:pt x="1262" y="2287"/>
                  </a:lnTo>
                  <a:lnTo>
                    <a:pt x="1267" y="2291"/>
                  </a:lnTo>
                  <a:lnTo>
                    <a:pt x="1274" y="2295"/>
                  </a:lnTo>
                  <a:lnTo>
                    <a:pt x="1286" y="2304"/>
                  </a:lnTo>
                  <a:lnTo>
                    <a:pt x="1299" y="2313"/>
                  </a:lnTo>
                  <a:lnTo>
                    <a:pt x="1305" y="2318"/>
                  </a:lnTo>
                  <a:lnTo>
                    <a:pt x="1312" y="2323"/>
                  </a:lnTo>
                  <a:lnTo>
                    <a:pt x="1317" y="2329"/>
                  </a:lnTo>
                  <a:lnTo>
                    <a:pt x="1322" y="2335"/>
                  </a:lnTo>
                  <a:lnTo>
                    <a:pt x="1337" y="2357"/>
                  </a:lnTo>
                  <a:lnTo>
                    <a:pt x="1350" y="2377"/>
                  </a:lnTo>
                  <a:lnTo>
                    <a:pt x="1360" y="2398"/>
                  </a:lnTo>
                  <a:lnTo>
                    <a:pt x="1370" y="2418"/>
                  </a:lnTo>
                  <a:lnTo>
                    <a:pt x="1382" y="2437"/>
                  </a:lnTo>
                  <a:lnTo>
                    <a:pt x="1393" y="2457"/>
                  </a:lnTo>
                  <a:lnTo>
                    <a:pt x="1400" y="2466"/>
                  </a:lnTo>
                  <a:lnTo>
                    <a:pt x="1408" y="2476"/>
                  </a:lnTo>
                  <a:lnTo>
                    <a:pt x="1417" y="2486"/>
                  </a:lnTo>
                  <a:lnTo>
                    <a:pt x="1426" y="2496"/>
                  </a:lnTo>
                  <a:lnTo>
                    <a:pt x="1434" y="2477"/>
                  </a:lnTo>
                  <a:lnTo>
                    <a:pt x="1444" y="2461"/>
                  </a:lnTo>
                  <a:lnTo>
                    <a:pt x="1455" y="2446"/>
                  </a:lnTo>
                  <a:lnTo>
                    <a:pt x="1468" y="2430"/>
                  </a:lnTo>
                  <a:lnTo>
                    <a:pt x="1482" y="2413"/>
                  </a:lnTo>
                  <a:lnTo>
                    <a:pt x="1493" y="2397"/>
                  </a:lnTo>
                  <a:lnTo>
                    <a:pt x="1499" y="2390"/>
                  </a:lnTo>
                  <a:lnTo>
                    <a:pt x="1507" y="2385"/>
                  </a:lnTo>
                  <a:lnTo>
                    <a:pt x="1511" y="2383"/>
                  </a:lnTo>
                  <a:lnTo>
                    <a:pt x="1515" y="2382"/>
                  </a:lnTo>
                  <a:lnTo>
                    <a:pt x="1520" y="2381"/>
                  </a:lnTo>
                  <a:lnTo>
                    <a:pt x="1525" y="2381"/>
                  </a:lnTo>
                  <a:lnTo>
                    <a:pt x="1532" y="2382"/>
                  </a:lnTo>
                  <a:lnTo>
                    <a:pt x="1540" y="2385"/>
                  </a:lnTo>
                  <a:lnTo>
                    <a:pt x="1546" y="2389"/>
                  </a:lnTo>
                  <a:lnTo>
                    <a:pt x="1551" y="2393"/>
                  </a:lnTo>
                  <a:lnTo>
                    <a:pt x="1556" y="2398"/>
                  </a:lnTo>
                  <a:lnTo>
                    <a:pt x="1562" y="2402"/>
                  </a:lnTo>
                  <a:lnTo>
                    <a:pt x="1569" y="2405"/>
                  </a:lnTo>
                  <a:lnTo>
                    <a:pt x="1577" y="2406"/>
                  </a:lnTo>
                  <a:lnTo>
                    <a:pt x="1586" y="2405"/>
                  </a:lnTo>
                  <a:lnTo>
                    <a:pt x="1594" y="2403"/>
                  </a:lnTo>
                  <a:lnTo>
                    <a:pt x="1602" y="2400"/>
                  </a:lnTo>
                  <a:lnTo>
                    <a:pt x="1609" y="2396"/>
                  </a:lnTo>
                  <a:lnTo>
                    <a:pt x="1616" y="2392"/>
                  </a:lnTo>
                  <a:lnTo>
                    <a:pt x="1624" y="2388"/>
                  </a:lnTo>
                  <a:lnTo>
                    <a:pt x="1631" y="2384"/>
                  </a:lnTo>
                  <a:lnTo>
                    <a:pt x="1641" y="2381"/>
                  </a:lnTo>
                  <a:lnTo>
                    <a:pt x="1654" y="2376"/>
                  </a:lnTo>
                  <a:lnTo>
                    <a:pt x="1667" y="2374"/>
                  </a:lnTo>
                  <a:lnTo>
                    <a:pt x="1680" y="2372"/>
                  </a:lnTo>
                  <a:lnTo>
                    <a:pt x="1691" y="2371"/>
                  </a:lnTo>
                  <a:lnTo>
                    <a:pt x="1715" y="2369"/>
                  </a:lnTo>
                  <a:lnTo>
                    <a:pt x="1742" y="2364"/>
                  </a:lnTo>
                  <a:lnTo>
                    <a:pt x="1720" y="2337"/>
                  </a:lnTo>
                  <a:lnTo>
                    <a:pt x="1701" y="2312"/>
                  </a:lnTo>
                  <a:lnTo>
                    <a:pt x="1694" y="2300"/>
                  </a:lnTo>
                  <a:lnTo>
                    <a:pt x="1688" y="2286"/>
                  </a:lnTo>
                  <a:lnTo>
                    <a:pt x="1686" y="2278"/>
                  </a:lnTo>
                  <a:lnTo>
                    <a:pt x="1684" y="2271"/>
                  </a:lnTo>
                  <a:lnTo>
                    <a:pt x="1683" y="2263"/>
                  </a:lnTo>
                  <a:lnTo>
                    <a:pt x="1683" y="2254"/>
                  </a:lnTo>
                  <a:lnTo>
                    <a:pt x="1683" y="2168"/>
                  </a:lnTo>
                  <a:lnTo>
                    <a:pt x="1695" y="2167"/>
                  </a:lnTo>
                  <a:lnTo>
                    <a:pt x="1709" y="2166"/>
                  </a:lnTo>
                  <a:lnTo>
                    <a:pt x="1714" y="2166"/>
                  </a:lnTo>
                  <a:lnTo>
                    <a:pt x="1720" y="2168"/>
                  </a:lnTo>
                  <a:lnTo>
                    <a:pt x="1725" y="2169"/>
                  </a:lnTo>
                  <a:lnTo>
                    <a:pt x="1729" y="2171"/>
                  </a:lnTo>
                  <a:lnTo>
                    <a:pt x="1734" y="2174"/>
                  </a:lnTo>
                  <a:lnTo>
                    <a:pt x="1740" y="2175"/>
                  </a:lnTo>
                  <a:lnTo>
                    <a:pt x="1745" y="2177"/>
                  </a:lnTo>
                  <a:lnTo>
                    <a:pt x="1751" y="2177"/>
                  </a:lnTo>
                  <a:lnTo>
                    <a:pt x="1760" y="2177"/>
                  </a:lnTo>
                  <a:lnTo>
                    <a:pt x="1769" y="2176"/>
                  </a:lnTo>
                  <a:lnTo>
                    <a:pt x="1776" y="2174"/>
                  </a:lnTo>
                  <a:lnTo>
                    <a:pt x="1783" y="2172"/>
                  </a:lnTo>
                  <a:lnTo>
                    <a:pt x="1797" y="2167"/>
                  </a:lnTo>
                  <a:lnTo>
                    <a:pt x="1810" y="2161"/>
                  </a:lnTo>
                  <a:lnTo>
                    <a:pt x="1823" y="2154"/>
                  </a:lnTo>
                  <a:lnTo>
                    <a:pt x="1838" y="2149"/>
                  </a:lnTo>
                  <a:lnTo>
                    <a:pt x="1845" y="2147"/>
                  </a:lnTo>
                  <a:lnTo>
                    <a:pt x="1852" y="2146"/>
                  </a:lnTo>
                  <a:lnTo>
                    <a:pt x="1860" y="2145"/>
                  </a:lnTo>
                  <a:lnTo>
                    <a:pt x="1870" y="2144"/>
                  </a:lnTo>
                  <a:lnTo>
                    <a:pt x="1876" y="2144"/>
                  </a:lnTo>
                  <a:lnTo>
                    <a:pt x="1882" y="2145"/>
                  </a:lnTo>
                  <a:lnTo>
                    <a:pt x="1887" y="2147"/>
                  </a:lnTo>
                  <a:lnTo>
                    <a:pt x="1893" y="2149"/>
                  </a:lnTo>
                  <a:lnTo>
                    <a:pt x="1904" y="2154"/>
                  </a:lnTo>
                  <a:lnTo>
                    <a:pt x="1913" y="2160"/>
                  </a:lnTo>
                  <a:lnTo>
                    <a:pt x="1922" y="2165"/>
                  </a:lnTo>
                  <a:lnTo>
                    <a:pt x="1932" y="2170"/>
                  </a:lnTo>
                  <a:lnTo>
                    <a:pt x="1938" y="2172"/>
                  </a:lnTo>
                  <a:lnTo>
                    <a:pt x="1944" y="2174"/>
                  </a:lnTo>
                  <a:lnTo>
                    <a:pt x="1950" y="2175"/>
                  </a:lnTo>
                  <a:lnTo>
                    <a:pt x="1956" y="2175"/>
                  </a:lnTo>
                  <a:lnTo>
                    <a:pt x="1960" y="2175"/>
                  </a:lnTo>
                  <a:lnTo>
                    <a:pt x="1964" y="2174"/>
                  </a:lnTo>
                  <a:lnTo>
                    <a:pt x="1968" y="2173"/>
                  </a:lnTo>
                  <a:lnTo>
                    <a:pt x="1971" y="2171"/>
                  </a:lnTo>
                  <a:lnTo>
                    <a:pt x="1975" y="2167"/>
                  </a:lnTo>
                  <a:lnTo>
                    <a:pt x="1978" y="2161"/>
                  </a:lnTo>
                  <a:lnTo>
                    <a:pt x="1981" y="2153"/>
                  </a:lnTo>
                  <a:lnTo>
                    <a:pt x="1982" y="2146"/>
                  </a:lnTo>
                  <a:lnTo>
                    <a:pt x="1983" y="2137"/>
                  </a:lnTo>
                  <a:lnTo>
                    <a:pt x="1983" y="2129"/>
                  </a:lnTo>
                  <a:lnTo>
                    <a:pt x="1985" y="2109"/>
                  </a:lnTo>
                  <a:lnTo>
                    <a:pt x="1987" y="2091"/>
                  </a:lnTo>
                  <a:lnTo>
                    <a:pt x="1990" y="2083"/>
                  </a:lnTo>
                  <a:lnTo>
                    <a:pt x="1994" y="2075"/>
                  </a:lnTo>
                  <a:lnTo>
                    <a:pt x="1996" y="2072"/>
                  </a:lnTo>
                  <a:lnTo>
                    <a:pt x="2000" y="2069"/>
                  </a:lnTo>
                  <a:lnTo>
                    <a:pt x="2003" y="2067"/>
                  </a:lnTo>
                  <a:lnTo>
                    <a:pt x="2006" y="2064"/>
                  </a:lnTo>
                  <a:lnTo>
                    <a:pt x="2014" y="2059"/>
                  </a:lnTo>
                  <a:lnTo>
                    <a:pt x="2023" y="2056"/>
                  </a:lnTo>
                  <a:lnTo>
                    <a:pt x="2031" y="2053"/>
                  </a:lnTo>
                  <a:lnTo>
                    <a:pt x="2040" y="2051"/>
                  </a:lnTo>
                  <a:lnTo>
                    <a:pt x="2056" y="2047"/>
                  </a:lnTo>
                  <a:lnTo>
                    <a:pt x="2072" y="2044"/>
                  </a:lnTo>
                  <a:lnTo>
                    <a:pt x="2080" y="2042"/>
                  </a:lnTo>
                  <a:lnTo>
                    <a:pt x="2087" y="2039"/>
                  </a:lnTo>
                  <a:lnTo>
                    <a:pt x="2094" y="2036"/>
                  </a:lnTo>
                  <a:lnTo>
                    <a:pt x="2102" y="2033"/>
                  </a:lnTo>
                  <a:lnTo>
                    <a:pt x="2108" y="2028"/>
                  </a:lnTo>
                  <a:lnTo>
                    <a:pt x="2115" y="2023"/>
                  </a:lnTo>
                  <a:lnTo>
                    <a:pt x="2120" y="2017"/>
                  </a:lnTo>
                  <a:lnTo>
                    <a:pt x="2126" y="2010"/>
                  </a:lnTo>
                  <a:lnTo>
                    <a:pt x="2132" y="2001"/>
                  </a:lnTo>
                  <a:lnTo>
                    <a:pt x="2137" y="1992"/>
                  </a:lnTo>
                  <a:lnTo>
                    <a:pt x="2141" y="1983"/>
                  </a:lnTo>
                  <a:lnTo>
                    <a:pt x="2144" y="1975"/>
                  </a:lnTo>
                  <a:lnTo>
                    <a:pt x="2150" y="1958"/>
                  </a:lnTo>
                  <a:lnTo>
                    <a:pt x="2154" y="1942"/>
                  </a:lnTo>
                  <a:lnTo>
                    <a:pt x="2159" y="1925"/>
                  </a:lnTo>
                  <a:lnTo>
                    <a:pt x="2167" y="1909"/>
                  </a:lnTo>
                  <a:lnTo>
                    <a:pt x="2171" y="1900"/>
                  </a:lnTo>
                  <a:lnTo>
                    <a:pt x="2175" y="1892"/>
                  </a:lnTo>
                  <a:lnTo>
                    <a:pt x="2181" y="1884"/>
                  </a:lnTo>
                  <a:lnTo>
                    <a:pt x="2187" y="1876"/>
                  </a:lnTo>
                  <a:lnTo>
                    <a:pt x="2194" y="1868"/>
                  </a:lnTo>
                  <a:lnTo>
                    <a:pt x="2203" y="1862"/>
                  </a:lnTo>
                  <a:lnTo>
                    <a:pt x="2211" y="1857"/>
                  </a:lnTo>
                  <a:lnTo>
                    <a:pt x="2220" y="1853"/>
                  </a:lnTo>
                  <a:lnTo>
                    <a:pt x="2239" y="1847"/>
                  </a:lnTo>
                  <a:lnTo>
                    <a:pt x="2257" y="1840"/>
                  </a:lnTo>
                  <a:lnTo>
                    <a:pt x="2266" y="1837"/>
                  </a:lnTo>
                  <a:lnTo>
                    <a:pt x="2274" y="1834"/>
                  </a:lnTo>
                  <a:lnTo>
                    <a:pt x="2281" y="1830"/>
                  </a:lnTo>
                  <a:lnTo>
                    <a:pt x="2288" y="1826"/>
                  </a:lnTo>
                  <a:lnTo>
                    <a:pt x="2293" y="1821"/>
                  </a:lnTo>
                  <a:lnTo>
                    <a:pt x="2298" y="1814"/>
                  </a:lnTo>
                  <a:lnTo>
                    <a:pt x="2300" y="1806"/>
                  </a:lnTo>
                  <a:lnTo>
                    <a:pt x="2301" y="1797"/>
                  </a:lnTo>
                  <a:lnTo>
                    <a:pt x="2300" y="1789"/>
                  </a:lnTo>
                  <a:lnTo>
                    <a:pt x="2298" y="1781"/>
                  </a:lnTo>
                  <a:lnTo>
                    <a:pt x="2294" y="1773"/>
                  </a:lnTo>
                  <a:lnTo>
                    <a:pt x="2291" y="1766"/>
                  </a:lnTo>
                  <a:lnTo>
                    <a:pt x="2287" y="1760"/>
                  </a:lnTo>
                  <a:lnTo>
                    <a:pt x="2285" y="1753"/>
                  </a:lnTo>
                  <a:lnTo>
                    <a:pt x="2282" y="1744"/>
                  </a:lnTo>
                  <a:lnTo>
                    <a:pt x="2282" y="1736"/>
                  </a:lnTo>
                  <a:lnTo>
                    <a:pt x="2282" y="1730"/>
                  </a:lnTo>
                  <a:lnTo>
                    <a:pt x="2283" y="1726"/>
                  </a:lnTo>
                  <a:lnTo>
                    <a:pt x="2286" y="1721"/>
                  </a:lnTo>
                  <a:lnTo>
                    <a:pt x="2288" y="1717"/>
                  </a:lnTo>
                  <a:lnTo>
                    <a:pt x="2295" y="1709"/>
                  </a:lnTo>
                  <a:lnTo>
                    <a:pt x="2303" y="1703"/>
                  </a:lnTo>
                  <a:lnTo>
                    <a:pt x="2311" y="1696"/>
                  </a:lnTo>
                  <a:lnTo>
                    <a:pt x="2317" y="1689"/>
                  </a:lnTo>
                  <a:lnTo>
                    <a:pt x="2320" y="1685"/>
                  </a:lnTo>
                  <a:lnTo>
                    <a:pt x="2322" y="1680"/>
                  </a:lnTo>
                  <a:lnTo>
                    <a:pt x="2323" y="1675"/>
                  </a:lnTo>
                  <a:lnTo>
                    <a:pt x="2324" y="1670"/>
                  </a:lnTo>
                  <a:lnTo>
                    <a:pt x="2323" y="1662"/>
                  </a:lnTo>
                  <a:lnTo>
                    <a:pt x="2322" y="1656"/>
                  </a:lnTo>
                  <a:lnTo>
                    <a:pt x="2320" y="1649"/>
                  </a:lnTo>
                  <a:lnTo>
                    <a:pt x="2317" y="1643"/>
                  </a:lnTo>
                  <a:lnTo>
                    <a:pt x="2310" y="1633"/>
                  </a:lnTo>
                  <a:lnTo>
                    <a:pt x="2302" y="1624"/>
                  </a:lnTo>
                  <a:lnTo>
                    <a:pt x="2292" y="1614"/>
                  </a:lnTo>
                  <a:lnTo>
                    <a:pt x="2283" y="1604"/>
                  </a:lnTo>
                  <a:lnTo>
                    <a:pt x="2279" y="1599"/>
                  </a:lnTo>
                  <a:lnTo>
                    <a:pt x="2275" y="1594"/>
                  </a:lnTo>
                  <a:lnTo>
                    <a:pt x="2271" y="1586"/>
                  </a:lnTo>
                  <a:lnTo>
                    <a:pt x="2268" y="1580"/>
                  </a:lnTo>
                  <a:lnTo>
                    <a:pt x="2276" y="1576"/>
                  </a:lnTo>
                  <a:lnTo>
                    <a:pt x="2284" y="1572"/>
                  </a:lnTo>
                  <a:lnTo>
                    <a:pt x="2291" y="1568"/>
                  </a:lnTo>
                  <a:lnTo>
                    <a:pt x="2299" y="1564"/>
                  </a:lnTo>
                  <a:lnTo>
                    <a:pt x="2311" y="1553"/>
                  </a:lnTo>
                  <a:lnTo>
                    <a:pt x="2323" y="1544"/>
                  </a:lnTo>
                  <a:lnTo>
                    <a:pt x="2336" y="1535"/>
                  </a:lnTo>
                  <a:lnTo>
                    <a:pt x="2349" y="1528"/>
                  </a:lnTo>
                  <a:lnTo>
                    <a:pt x="2356" y="1524"/>
                  </a:lnTo>
                  <a:lnTo>
                    <a:pt x="2364" y="1522"/>
                  </a:lnTo>
                  <a:lnTo>
                    <a:pt x="2373" y="1521"/>
                  </a:lnTo>
                  <a:lnTo>
                    <a:pt x="2381" y="1521"/>
                  </a:lnTo>
                  <a:lnTo>
                    <a:pt x="2398" y="1521"/>
                  </a:lnTo>
                  <a:lnTo>
                    <a:pt x="2413" y="1522"/>
                  </a:lnTo>
                  <a:lnTo>
                    <a:pt x="2427" y="1523"/>
                  </a:lnTo>
                  <a:lnTo>
                    <a:pt x="2444" y="1523"/>
                  </a:lnTo>
                  <a:lnTo>
                    <a:pt x="2457" y="1524"/>
                  </a:lnTo>
                  <a:lnTo>
                    <a:pt x="2469" y="1528"/>
                  </a:lnTo>
                  <a:lnTo>
                    <a:pt x="2481" y="1532"/>
                  </a:lnTo>
                  <a:lnTo>
                    <a:pt x="2495" y="1533"/>
                  </a:lnTo>
                  <a:lnTo>
                    <a:pt x="2522" y="1533"/>
                  </a:lnTo>
                  <a:lnTo>
                    <a:pt x="2546" y="1533"/>
                  </a:lnTo>
                  <a:lnTo>
                    <a:pt x="2570" y="1533"/>
                  </a:lnTo>
                  <a:lnTo>
                    <a:pt x="2598" y="1533"/>
                  </a:lnTo>
                  <a:lnTo>
                    <a:pt x="2599" y="1524"/>
                  </a:lnTo>
                  <a:lnTo>
                    <a:pt x="2601" y="1517"/>
                  </a:lnTo>
                  <a:lnTo>
                    <a:pt x="2603" y="1510"/>
                  </a:lnTo>
                  <a:lnTo>
                    <a:pt x="2605" y="1504"/>
                  </a:lnTo>
                  <a:lnTo>
                    <a:pt x="2611" y="1491"/>
                  </a:lnTo>
                  <a:lnTo>
                    <a:pt x="2618" y="1480"/>
                  </a:lnTo>
                  <a:lnTo>
                    <a:pt x="2624" y="1468"/>
                  </a:lnTo>
                  <a:lnTo>
                    <a:pt x="2630" y="1455"/>
                  </a:lnTo>
                  <a:lnTo>
                    <a:pt x="2633" y="1449"/>
                  </a:lnTo>
                  <a:lnTo>
                    <a:pt x="2634" y="1442"/>
                  </a:lnTo>
                  <a:lnTo>
                    <a:pt x="2635" y="1435"/>
                  </a:lnTo>
                  <a:lnTo>
                    <a:pt x="2636" y="1426"/>
                  </a:lnTo>
                  <a:lnTo>
                    <a:pt x="2635" y="1421"/>
                  </a:lnTo>
                  <a:lnTo>
                    <a:pt x="2634" y="1416"/>
                  </a:lnTo>
                  <a:lnTo>
                    <a:pt x="2631" y="1412"/>
                  </a:lnTo>
                  <a:lnTo>
                    <a:pt x="2628" y="1408"/>
                  </a:lnTo>
                  <a:lnTo>
                    <a:pt x="2619" y="1401"/>
                  </a:lnTo>
                  <a:lnTo>
                    <a:pt x="2611" y="1394"/>
                  </a:lnTo>
                  <a:lnTo>
                    <a:pt x="2602" y="1388"/>
                  </a:lnTo>
                  <a:lnTo>
                    <a:pt x="2594" y="1382"/>
                  </a:lnTo>
                  <a:lnTo>
                    <a:pt x="2590" y="1378"/>
                  </a:lnTo>
                  <a:lnTo>
                    <a:pt x="2588" y="1374"/>
                  </a:lnTo>
                  <a:lnTo>
                    <a:pt x="2586" y="1369"/>
                  </a:lnTo>
                  <a:lnTo>
                    <a:pt x="2586" y="1362"/>
                  </a:lnTo>
                  <a:lnTo>
                    <a:pt x="2587" y="1350"/>
                  </a:lnTo>
                  <a:lnTo>
                    <a:pt x="2590" y="1339"/>
                  </a:lnTo>
                  <a:lnTo>
                    <a:pt x="2595" y="1328"/>
                  </a:lnTo>
                  <a:lnTo>
                    <a:pt x="2599" y="1318"/>
                  </a:lnTo>
                  <a:lnTo>
                    <a:pt x="2604" y="1308"/>
                  </a:lnTo>
                  <a:lnTo>
                    <a:pt x="2608" y="1297"/>
                  </a:lnTo>
                  <a:lnTo>
                    <a:pt x="2611" y="1286"/>
                  </a:lnTo>
                  <a:lnTo>
                    <a:pt x="2612" y="1274"/>
                  </a:lnTo>
                  <a:lnTo>
                    <a:pt x="2611" y="1263"/>
                  </a:lnTo>
                  <a:lnTo>
                    <a:pt x="2608" y="1254"/>
                  </a:lnTo>
                  <a:lnTo>
                    <a:pt x="2605" y="1246"/>
                  </a:lnTo>
                  <a:lnTo>
                    <a:pt x="2601" y="1237"/>
                  </a:lnTo>
                  <a:lnTo>
                    <a:pt x="2596" y="1229"/>
                  </a:lnTo>
                  <a:lnTo>
                    <a:pt x="2590" y="1221"/>
                  </a:lnTo>
                  <a:lnTo>
                    <a:pt x="2586" y="1213"/>
                  </a:lnTo>
                  <a:lnTo>
                    <a:pt x="2583" y="1202"/>
                  </a:lnTo>
                  <a:lnTo>
                    <a:pt x="2580" y="1187"/>
                  </a:lnTo>
                  <a:lnTo>
                    <a:pt x="2579" y="1172"/>
                  </a:lnTo>
                  <a:lnTo>
                    <a:pt x="2578" y="1159"/>
                  </a:lnTo>
                  <a:lnTo>
                    <a:pt x="2578" y="1146"/>
                  </a:lnTo>
                  <a:lnTo>
                    <a:pt x="2577" y="1133"/>
                  </a:lnTo>
                  <a:lnTo>
                    <a:pt x="2576" y="1120"/>
                  </a:lnTo>
                  <a:lnTo>
                    <a:pt x="2572" y="1106"/>
                  </a:lnTo>
                  <a:lnTo>
                    <a:pt x="2567" y="1092"/>
                  </a:lnTo>
                  <a:lnTo>
                    <a:pt x="2564" y="1087"/>
                  </a:lnTo>
                  <a:lnTo>
                    <a:pt x="2558" y="1083"/>
                  </a:lnTo>
                  <a:lnTo>
                    <a:pt x="2556" y="1080"/>
                  </a:lnTo>
                  <a:lnTo>
                    <a:pt x="2554" y="1078"/>
                  </a:lnTo>
                  <a:lnTo>
                    <a:pt x="2553" y="1075"/>
                  </a:lnTo>
                  <a:lnTo>
                    <a:pt x="2553" y="1072"/>
                  </a:lnTo>
                  <a:lnTo>
                    <a:pt x="2553" y="1067"/>
                  </a:lnTo>
                  <a:lnTo>
                    <a:pt x="2555" y="1062"/>
                  </a:lnTo>
                  <a:lnTo>
                    <a:pt x="2557" y="1058"/>
                  </a:lnTo>
                  <a:lnTo>
                    <a:pt x="2561" y="1055"/>
                  </a:lnTo>
                  <a:lnTo>
                    <a:pt x="2565" y="1052"/>
                  </a:lnTo>
                  <a:lnTo>
                    <a:pt x="2569" y="1049"/>
                  </a:lnTo>
                  <a:lnTo>
                    <a:pt x="2574" y="1048"/>
                  </a:lnTo>
                  <a:lnTo>
                    <a:pt x="2579" y="1046"/>
                  </a:lnTo>
                  <a:lnTo>
                    <a:pt x="2591" y="1044"/>
                  </a:lnTo>
                  <a:lnTo>
                    <a:pt x="2604" y="1042"/>
                  </a:lnTo>
                  <a:lnTo>
                    <a:pt x="2616" y="1039"/>
                  </a:lnTo>
                  <a:lnTo>
                    <a:pt x="2629" y="1035"/>
                  </a:lnTo>
                  <a:lnTo>
                    <a:pt x="2634" y="1032"/>
                  </a:lnTo>
                  <a:lnTo>
                    <a:pt x="2639" y="1029"/>
                  </a:lnTo>
                  <a:lnTo>
                    <a:pt x="2643" y="1026"/>
                  </a:lnTo>
                  <a:lnTo>
                    <a:pt x="2647" y="1022"/>
                  </a:lnTo>
                  <a:lnTo>
                    <a:pt x="2653" y="1013"/>
                  </a:lnTo>
                  <a:lnTo>
                    <a:pt x="2658" y="1004"/>
                  </a:lnTo>
                  <a:lnTo>
                    <a:pt x="2662" y="994"/>
                  </a:lnTo>
                  <a:lnTo>
                    <a:pt x="2665" y="983"/>
                  </a:lnTo>
                  <a:lnTo>
                    <a:pt x="2666" y="971"/>
                  </a:lnTo>
                  <a:lnTo>
                    <a:pt x="2666" y="960"/>
                  </a:lnTo>
                  <a:lnTo>
                    <a:pt x="2666" y="944"/>
                  </a:lnTo>
                  <a:lnTo>
                    <a:pt x="2665" y="929"/>
                  </a:lnTo>
                  <a:lnTo>
                    <a:pt x="2664" y="915"/>
                  </a:lnTo>
                  <a:lnTo>
                    <a:pt x="2662" y="902"/>
                  </a:lnTo>
                  <a:lnTo>
                    <a:pt x="2658" y="888"/>
                  </a:lnTo>
                  <a:lnTo>
                    <a:pt x="2655" y="876"/>
                  </a:lnTo>
                  <a:lnTo>
                    <a:pt x="2651" y="864"/>
                  </a:lnTo>
                  <a:lnTo>
                    <a:pt x="2647" y="851"/>
                  </a:lnTo>
                  <a:lnTo>
                    <a:pt x="2642" y="840"/>
                  </a:lnTo>
                  <a:lnTo>
                    <a:pt x="2637" y="827"/>
                  </a:lnTo>
                  <a:lnTo>
                    <a:pt x="2631" y="816"/>
                  </a:lnTo>
                  <a:lnTo>
                    <a:pt x="2623" y="805"/>
                  </a:lnTo>
                  <a:lnTo>
                    <a:pt x="2608" y="781"/>
                  </a:lnTo>
                  <a:lnTo>
                    <a:pt x="2590" y="756"/>
                  </a:lnTo>
                  <a:lnTo>
                    <a:pt x="2597" y="751"/>
                  </a:lnTo>
                  <a:lnTo>
                    <a:pt x="2603" y="747"/>
                  </a:lnTo>
                  <a:lnTo>
                    <a:pt x="2610" y="744"/>
                  </a:lnTo>
                  <a:lnTo>
                    <a:pt x="2616" y="741"/>
                  </a:lnTo>
                  <a:lnTo>
                    <a:pt x="2622" y="738"/>
                  </a:lnTo>
                  <a:lnTo>
                    <a:pt x="2627" y="732"/>
                  </a:lnTo>
                  <a:lnTo>
                    <a:pt x="2629" y="730"/>
                  </a:lnTo>
                  <a:lnTo>
                    <a:pt x="2630" y="727"/>
                  </a:lnTo>
                  <a:lnTo>
                    <a:pt x="2631" y="724"/>
                  </a:lnTo>
                  <a:lnTo>
                    <a:pt x="2631" y="721"/>
                  </a:lnTo>
                  <a:lnTo>
                    <a:pt x="2631" y="711"/>
                  </a:lnTo>
                  <a:lnTo>
                    <a:pt x="2630" y="701"/>
                  </a:lnTo>
                  <a:lnTo>
                    <a:pt x="2628" y="692"/>
                  </a:lnTo>
                  <a:lnTo>
                    <a:pt x="2625" y="684"/>
                  </a:lnTo>
                  <a:lnTo>
                    <a:pt x="2620" y="666"/>
                  </a:lnTo>
                  <a:lnTo>
                    <a:pt x="2614" y="648"/>
                  </a:lnTo>
                  <a:lnTo>
                    <a:pt x="2606" y="635"/>
                  </a:lnTo>
                  <a:lnTo>
                    <a:pt x="2599" y="624"/>
                  </a:lnTo>
                  <a:lnTo>
                    <a:pt x="2592" y="613"/>
                  </a:lnTo>
                  <a:lnTo>
                    <a:pt x="2588" y="601"/>
                  </a:lnTo>
                  <a:lnTo>
                    <a:pt x="2579" y="579"/>
                  </a:lnTo>
                  <a:lnTo>
                    <a:pt x="2567" y="553"/>
                  </a:lnTo>
                  <a:lnTo>
                    <a:pt x="2563" y="547"/>
                  </a:lnTo>
                  <a:lnTo>
                    <a:pt x="2557" y="542"/>
                  </a:lnTo>
                  <a:lnTo>
                    <a:pt x="2552" y="538"/>
                  </a:lnTo>
                  <a:lnTo>
                    <a:pt x="2546" y="535"/>
                  </a:lnTo>
                  <a:lnTo>
                    <a:pt x="2534" y="530"/>
                  </a:lnTo>
                  <a:lnTo>
                    <a:pt x="2520" y="523"/>
                  </a:lnTo>
                  <a:lnTo>
                    <a:pt x="2499" y="506"/>
                  </a:lnTo>
                  <a:lnTo>
                    <a:pt x="2479" y="492"/>
                  </a:lnTo>
                  <a:lnTo>
                    <a:pt x="2469" y="486"/>
                  </a:lnTo>
                  <a:lnTo>
                    <a:pt x="2458" y="480"/>
                  </a:lnTo>
                  <a:lnTo>
                    <a:pt x="2446" y="476"/>
                  </a:lnTo>
                  <a:lnTo>
                    <a:pt x="2433" y="473"/>
                  </a:lnTo>
                  <a:lnTo>
                    <a:pt x="2407" y="461"/>
                  </a:lnTo>
                  <a:lnTo>
                    <a:pt x="2384" y="452"/>
                  </a:lnTo>
                  <a:lnTo>
                    <a:pt x="2373" y="447"/>
                  </a:lnTo>
                  <a:lnTo>
                    <a:pt x="2361" y="441"/>
                  </a:lnTo>
                  <a:lnTo>
                    <a:pt x="2350" y="434"/>
                  </a:lnTo>
                  <a:lnTo>
                    <a:pt x="2339" y="426"/>
                  </a:lnTo>
                  <a:lnTo>
                    <a:pt x="2333" y="421"/>
                  </a:lnTo>
                  <a:lnTo>
                    <a:pt x="2328" y="416"/>
                  </a:lnTo>
                  <a:lnTo>
                    <a:pt x="2324" y="411"/>
                  </a:lnTo>
                  <a:lnTo>
                    <a:pt x="2321" y="406"/>
                  </a:lnTo>
                  <a:lnTo>
                    <a:pt x="2317" y="395"/>
                  </a:lnTo>
                  <a:lnTo>
                    <a:pt x="2313" y="383"/>
                  </a:lnTo>
                  <a:lnTo>
                    <a:pt x="2310" y="371"/>
                  </a:lnTo>
                  <a:lnTo>
                    <a:pt x="2306" y="360"/>
                  </a:lnTo>
                  <a:lnTo>
                    <a:pt x="2301" y="347"/>
                  </a:lnTo>
                  <a:lnTo>
                    <a:pt x="2293" y="336"/>
                  </a:lnTo>
                  <a:lnTo>
                    <a:pt x="2287" y="328"/>
                  </a:lnTo>
                  <a:lnTo>
                    <a:pt x="2280" y="320"/>
                  </a:lnTo>
                  <a:lnTo>
                    <a:pt x="2273" y="313"/>
                  </a:lnTo>
                  <a:lnTo>
                    <a:pt x="2266" y="307"/>
                  </a:lnTo>
                  <a:lnTo>
                    <a:pt x="2251" y="295"/>
                  </a:lnTo>
                  <a:lnTo>
                    <a:pt x="2238" y="282"/>
                  </a:lnTo>
                  <a:lnTo>
                    <a:pt x="2231" y="276"/>
                  </a:lnTo>
                  <a:lnTo>
                    <a:pt x="2225" y="270"/>
                  </a:lnTo>
                  <a:lnTo>
                    <a:pt x="2220" y="264"/>
                  </a:lnTo>
                  <a:lnTo>
                    <a:pt x="2215" y="256"/>
                  </a:lnTo>
                  <a:lnTo>
                    <a:pt x="2212" y="248"/>
                  </a:lnTo>
                  <a:lnTo>
                    <a:pt x="2209" y="240"/>
                  </a:lnTo>
                  <a:lnTo>
                    <a:pt x="2207" y="231"/>
                  </a:lnTo>
                  <a:lnTo>
                    <a:pt x="2207" y="220"/>
                  </a:lnTo>
                  <a:lnTo>
                    <a:pt x="2207" y="212"/>
                  </a:lnTo>
                  <a:lnTo>
                    <a:pt x="2209" y="204"/>
                  </a:lnTo>
                  <a:lnTo>
                    <a:pt x="2212" y="197"/>
                  </a:lnTo>
                  <a:lnTo>
                    <a:pt x="2215" y="189"/>
                  </a:lnTo>
                  <a:lnTo>
                    <a:pt x="2217" y="183"/>
                  </a:lnTo>
                  <a:lnTo>
                    <a:pt x="2220" y="176"/>
                  </a:lnTo>
                  <a:lnTo>
                    <a:pt x="2222" y="168"/>
                  </a:lnTo>
                  <a:lnTo>
                    <a:pt x="2223" y="159"/>
                  </a:lnTo>
                  <a:lnTo>
                    <a:pt x="2222" y="151"/>
                  </a:lnTo>
                  <a:lnTo>
                    <a:pt x="2220" y="145"/>
                  </a:lnTo>
                  <a:lnTo>
                    <a:pt x="2217" y="139"/>
                  </a:lnTo>
                  <a:lnTo>
                    <a:pt x="2213" y="135"/>
                  </a:lnTo>
                  <a:lnTo>
                    <a:pt x="2208" y="130"/>
                  </a:lnTo>
                  <a:lnTo>
                    <a:pt x="2202" y="126"/>
                  </a:lnTo>
                  <a:lnTo>
                    <a:pt x="2194" y="124"/>
                  </a:lnTo>
                  <a:lnTo>
                    <a:pt x="2187" y="121"/>
                  </a:lnTo>
                  <a:lnTo>
                    <a:pt x="2172" y="117"/>
                  </a:lnTo>
                  <a:lnTo>
                    <a:pt x="2155" y="113"/>
                  </a:lnTo>
                  <a:lnTo>
                    <a:pt x="2147" y="110"/>
                  </a:lnTo>
                  <a:lnTo>
                    <a:pt x="2139" y="108"/>
                  </a:lnTo>
                  <a:lnTo>
                    <a:pt x="2132" y="104"/>
                  </a:lnTo>
                  <a:lnTo>
                    <a:pt x="2124" y="99"/>
                  </a:lnTo>
                  <a:lnTo>
                    <a:pt x="2117" y="95"/>
                  </a:lnTo>
                  <a:lnTo>
                    <a:pt x="2112" y="89"/>
                  </a:lnTo>
                  <a:lnTo>
                    <a:pt x="2107" y="83"/>
                  </a:lnTo>
                  <a:lnTo>
                    <a:pt x="2104" y="76"/>
                  </a:lnTo>
                  <a:lnTo>
                    <a:pt x="2097" y="61"/>
                  </a:lnTo>
                  <a:lnTo>
                    <a:pt x="2092" y="47"/>
                  </a:lnTo>
                  <a:lnTo>
                    <a:pt x="2087" y="32"/>
                  </a:lnTo>
                  <a:lnTo>
                    <a:pt x="2081" y="19"/>
                  </a:lnTo>
                  <a:lnTo>
                    <a:pt x="2077" y="13"/>
                  </a:lnTo>
                  <a:lnTo>
                    <a:pt x="2072" y="9"/>
                  </a:lnTo>
                  <a:lnTo>
                    <a:pt x="2066" y="4"/>
                  </a:lnTo>
                  <a:lnTo>
                    <a:pt x="2058" y="0"/>
                  </a:lnTo>
                  <a:lnTo>
                    <a:pt x="1956" y="24"/>
                  </a:lnTo>
                  <a:lnTo>
                    <a:pt x="1951" y="24"/>
                  </a:lnTo>
                  <a:lnTo>
                    <a:pt x="1945" y="24"/>
                  </a:lnTo>
                  <a:lnTo>
                    <a:pt x="1940" y="25"/>
                  </a:lnTo>
                  <a:lnTo>
                    <a:pt x="1936" y="26"/>
                  </a:lnTo>
                  <a:lnTo>
                    <a:pt x="1926" y="29"/>
                  </a:lnTo>
                  <a:lnTo>
                    <a:pt x="1917" y="34"/>
                  </a:lnTo>
                  <a:lnTo>
                    <a:pt x="1901" y="46"/>
                  </a:lnTo>
                  <a:lnTo>
                    <a:pt x="1881" y="57"/>
                  </a:lnTo>
                  <a:lnTo>
                    <a:pt x="1852" y="73"/>
                  </a:lnTo>
                  <a:lnTo>
                    <a:pt x="1825" y="88"/>
                  </a:lnTo>
                  <a:lnTo>
                    <a:pt x="1800" y="102"/>
                  </a:lnTo>
                  <a:lnTo>
                    <a:pt x="1776" y="115"/>
                  </a:lnTo>
                  <a:lnTo>
                    <a:pt x="1763" y="121"/>
                  </a:lnTo>
                  <a:lnTo>
                    <a:pt x="1751" y="127"/>
                  </a:lnTo>
                  <a:lnTo>
                    <a:pt x="1739" y="132"/>
                  </a:lnTo>
                  <a:lnTo>
                    <a:pt x="1725" y="138"/>
                  </a:lnTo>
                  <a:lnTo>
                    <a:pt x="1711" y="142"/>
                  </a:lnTo>
                  <a:lnTo>
                    <a:pt x="1696" y="146"/>
                  </a:lnTo>
                  <a:lnTo>
                    <a:pt x="1681" y="149"/>
                  </a:lnTo>
                  <a:lnTo>
                    <a:pt x="1664" y="152"/>
                  </a:lnTo>
                  <a:lnTo>
                    <a:pt x="1639" y="155"/>
                  </a:lnTo>
                  <a:lnTo>
                    <a:pt x="1615" y="158"/>
                  </a:lnTo>
                  <a:lnTo>
                    <a:pt x="1593" y="163"/>
                  </a:lnTo>
                  <a:lnTo>
                    <a:pt x="1572" y="169"/>
                  </a:lnTo>
                  <a:lnTo>
                    <a:pt x="1561" y="173"/>
                  </a:lnTo>
                  <a:lnTo>
                    <a:pt x="1551" y="177"/>
                  </a:lnTo>
                  <a:lnTo>
                    <a:pt x="1542" y="182"/>
                  </a:lnTo>
                  <a:lnTo>
                    <a:pt x="1532" y="187"/>
                  </a:lnTo>
                  <a:lnTo>
                    <a:pt x="1524" y="194"/>
                  </a:lnTo>
                  <a:lnTo>
                    <a:pt x="1515" y="202"/>
                  </a:lnTo>
                  <a:lnTo>
                    <a:pt x="1507" y="211"/>
                  </a:lnTo>
                  <a:lnTo>
                    <a:pt x="1499" y="220"/>
                  </a:lnTo>
                  <a:lnTo>
                    <a:pt x="1488" y="238"/>
                  </a:lnTo>
                  <a:lnTo>
                    <a:pt x="1479" y="256"/>
                  </a:lnTo>
                  <a:lnTo>
                    <a:pt x="1470" y="274"/>
                  </a:lnTo>
                  <a:lnTo>
                    <a:pt x="1461" y="292"/>
                  </a:lnTo>
                  <a:lnTo>
                    <a:pt x="1457" y="299"/>
                  </a:lnTo>
                  <a:lnTo>
                    <a:pt x="1452" y="306"/>
                  </a:lnTo>
                  <a:lnTo>
                    <a:pt x="1447" y="312"/>
                  </a:lnTo>
                  <a:lnTo>
                    <a:pt x="1441" y="318"/>
                  </a:lnTo>
                  <a:lnTo>
                    <a:pt x="1433" y="322"/>
                  </a:lnTo>
                  <a:lnTo>
                    <a:pt x="1426" y="326"/>
                  </a:lnTo>
                  <a:lnTo>
                    <a:pt x="1417" y="328"/>
                  </a:lnTo>
                  <a:lnTo>
                    <a:pt x="1408" y="329"/>
                  </a:lnTo>
                  <a:lnTo>
                    <a:pt x="1400" y="329"/>
                  </a:lnTo>
                  <a:lnTo>
                    <a:pt x="1393" y="327"/>
                  </a:lnTo>
                  <a:lnTo>
                    <a:pt x="1387" y="325"/>
                  </a:lnTo>
                  <a:lnTo>
                    <a:pt x="1382" y="321"/>
                  </a:lnTo>
                  <a:lnTo>
                    <a:pt x="1377" y="317"/>
                  </a:lnTo>
                  <a:lnTo>
                    <a:pt x="1373" y="313"/>
                  </a:lnTo>
                  <a:lnTo>
                    <a:pt x="1368" y="308"/>
                  </a:lnTo>
                  <a:lnTo>
                    <a:pt x="1364" y="303"/>
                  </a:lnTo>
                  <a:lnTo>
                    <a:pt x="1350" y="278"/>
                  </a:lnTo>
                  <a:lnTo>
                    <a:pt x="1336" y="251"/>
                  </a:lnTo>
                  <a:lnTo>
                    <a:pt x="1331" y="240"/>
                  </a:lnTo>
                  <a:lnTo>
                    <a:pt x="1326" y="230"/>
                  </a:lnTo>
                  <a:lnTo>
                    <a:pt x="1324" y="224"/>
                  </a:lnTo>
                  <a:lnTo>
                    <a:pt x="1320" y="221"/>
                  </a:lnTo>
                  <a:lnTo>
                    <a:pt x="1316" y="219"/>
                  </a:lnTo>
                  <a:lnTo>
                    <a:pt x="1311" y="218"/>
                  </a:lnTo>
                  <a:lnTo>
                    <a:pt x="1297" y="218"/>
                  </a:lnTo>
                  <a:lnTo>
                    <a:pt x="1285" y="220"/>
                  </a:lnTo>
                  <a:lnTo>
                    <a:pt x="1272" y="223"/>
                  </a:lnTo>
                  <a:lnTo>
                    <a:pt x="1261" y="226"/>
                  </a:lnTo>
                  <a:lnTo>
                    <a:pt x="1241" y="236"/>
                  </a:lnTo>
                  <a:lnTo>
                    <a:pt x="1220" y="246"/>
                  </a:lnTo>
                  <a:lnTo>
                    <a:pt x="1199" y="256"/>
                  </a:lnTo>
                  <a:lnTo>
                    <a:pt x="1179" y="266"/>
                  </a:lnTo>
                  <a:lnTo>
                    <a:pt x="1167" y="270"/>
                  </a:lnTo>
                  <a:lnTo>
                    <a:pt x="1155" y="272"/>
                  </a:lnTo>
                  <a:lnTo>
                    <a:pt x="1143" y="274"/>
                  </a:lnTo>
                  <a:lnTo>
                    <a:pt x="1129" y="275"/>
                  </a:lnTo>
                  <a:lnTo>
                    <a:pt x="1125" y="274"/>
                  </a:lnTo>
                  <a:lnTo>
                    <a:pt x="1122" y="273"/>
                  </a:lnTo>
                  <a:lnTo>
                    <a:pt x="1120" y="272"/>
                  </a:lnTo>
                  <a:lnTo>
                    <a:pt x="1118" y="270"/>
                  </a:lnTo>
                  <a:lnTo>
                    <a:pt x="1114" y="266"/>
                  </a:lnTo>
                  <a:lnTo>
                    <a:pt x="1112" y="260"/>
                  </a:lnTo>
                  <a:lnTo>
                    <a:pt x="1107" y="244"/>
                  </a:lnTo>
                  <a:lnTo>
                    <a:pt x="1103" y="230"/>
                  </a:lnTo>
                  <a:lnTo>
                    <a:pt x="1090" y="194"/>
                  </a:lnTo>
                  <a:lnTo>
                    <a:pt x="1078" y="161"/>
                  </a:lnTo>
                  <a:lnTo>
                    <a:pt x="1074" y="154"/>
                  </a:lnTo>
                  <a:lnTo>
                    <a:pt x="1070" y="147"/>
                  </a:lnTo>
                  <a:lnTo>
                    <a:pt x="1066" y="140"/>
                  </a:lnTo>
                  <a:lnTo>
                    <a:pt x="1061" y="134"/>
                  </a:lnTo>
                  <a:lnTo>
                    <a:pt x="1055" y="128"/>
                  </a:lnTo>
                  <a:lnTo>
                    <a:pt x="1049" y="122"/>
                  </a:lnTo>
                  <a:lnTo>
                    <a:pt x="1040" y="118"/>
                  </a:lnTo>
                  <a:lnTo>
                    <a:pt x="1032" y="114"/>
                  </a:lnTo>
                  <a:lnTo>
                    <a:pt x="1010" y="106"/>
                  </a:lnTo>
                  <a:lnTo>
                    <a:pt x="988" y="100"/>
                  </a:lnTo>
                  <a:lnTo>
                    <a:pt x="967" y="96"/>
                  </a:lnTo>
                  <a:lnTo>
                    <a:pt x="947" y="94"/>
                  </a:lnTo>
                  <a:lnTo>
                    <a:pt x="926" y="93"/>
                  </a:lnTo>
                  <a:lnTo>
                    <a:pt x="905" y="92"/>
                  </a:lnTo>
                  <a:lnTo>
                    <a:pt x="883" y="92"/>
                  </a:lnTo>
                  <a:lnTo>
                    <a:pt x="858" y="93"/>
                  </a:lnTo>
                  <a:lnTo>
                    <a:pt x="836" y="93"/>
                  </a:lnTo>
                  <a:lnTo>
                    <a:pt x="817" y="96"/>
                  </a:lnTo>
                  <a:lnTo>
                    <a:pt x="799" y="100"/>
                  </a:lnTo>
                  <a:lnTo>
                    <a:pt x="782" y="107"/>
                  </a:lnTo>
                  <a:lnTo>
                    <a:pt x="766" y="115"/>
                  </a:lnTo>
                  <a:lnTo>
                    <a:pt x="750" y="124"/>
                  </a:lnTo>
                  <a:lnTo>
                    <a:pt x="733" y="136"/>
                  </a:lnTo>
                  <a:lnTo>
                    <a:pt x="717" y="149"/>
                  </a:lnTo>
                  <a:lnTo>
                    <a:pt x="706" y="159"/>
                  </a:lnTo>
                  <a:lnTo>
                    <a:pt x="698" y="170"/>
                  </a:lnTo>
                  <a:lnTo>
                    <a:pt x="690" y="180"/>
                  </a:lnTo>
                  <a:lnTo>
                    <a:pt x="683" y="189"/>
                  </a:lnTo>
                  <a:lnTo>
                    <a:pt x="674" y="198"/>
                  </a:lnTo>
                  <a:lnTo>
                    <a:pt x="666" y="205"/>
                  </a:lnTo>
                  <a:lnTo>
                    <a:pt x="661" y="207"/>
                  </a:lnTo>
                  <a:lnTo>
                    <a:pt x="655" y="209"/>
                  </a:lnTo>
                  <a:lnTo>
                    <a:pt x="649" y="210"/>
                  </a:lnTo>
                  <a:lnTo>
                    <a:pt x="642" y="211"/>
                  </a:lnTo>
                  <a:lnTo>
                    <a:pt x="630" y="211"/>
                  </a:lnTo>
                  <a:lnTo>
                    <a:pt x="618" y="212"/>
                  </a:lnTo>
                  <a:lnTo>
                    <a:pt x="606" y="212"/>
                  </a:lnTo>
                  <a:lnTo>
                    <a:pt x="596" y="212"/>
                  </a:lnTo>
                  <a:lnTo>
                    <a:pt x="588" y="226"/>
                  </a:lnTo>
                  <a:lnTo>
                    <a:pt x="578" y="239"/>
                  </a:lnTo>
                  <a:lnTo>
                    <a:pt x="569" y="249"/>
                  </a:lnTo>
                  <a:lnTo>
                    <a:pt x="558" y="258"/>
                  </a:lnTo>
                  <a:lnTo>
                    <a:pt x="546" y="266"/>
                  </a:lnTo>
                  <a:lnTo>
                    <a:pt x="534" y="273"/>
                  </a:lnTo>
                  <a:lnTo>
                    <a:pt x="521" y="278"/>
                  </a:lnTo>
                  <a:lnTo>
                    <a:pt x="507" y="282"/>
                  </a:lnTo>
                  <a:lnTo>
                    <a:pt x="493" y="285"/>
                  </a:lnTo>
                  <a:lnTo>
                    <a:pt x="477" y="287"/>
                  </a:lnTo>
                  <a:lnTo>
                    <a:pt x="463" y="289"/>
                  </a:lnTo>
                  <a:lnTo>
                    <a:pt x="446" y="290"/>
                  </a:lnTo>
                  <a:lnTo>
                    <a:pt x="414" y="292"/>
                  </a:lnTo>
                  <a:lnTo>
                    <a:pt x="381" y="292"/>
                  </a:lnTo>
                  <a:lnTo>
                    <a:pt x="335" y="292"/>
                  </a:lnTo>
                  <a:lnTo>
                    <a:pt x="321" y="288"/>
                  </a:lnTo>
                  <a:lnTo>
                    <a:pt x="306" y="286"/>
                  </a:lnTo>
                  <a:lnTo>
                    <a:pt x="302" y="286"/>
                  </a:lnTo>
                  <a:lnTo>
                    <a:pt x="298" y="287"/>
                  </a:lnTo>
                  <a:lnTo>
                    <a:pt x="294" y="289"/>
                  </a:lnTo>
                  <a:lnTo>
                    <a:pt x="291" y="292"/>
                  </a:lnTo>
                  <a:lnTo>
                    <a:pt x="285" y="297"/>
                  </a:lnTo>
                  <a:lnTo>
                    <a:pt x="279" y="304"/>
                  </a:lnTo>
                  <a:lnTo>
                    <a:pt x="271" y="319"/>
                  </a:lnTo>
                  <a:lnTo>
                    <a:pt x="262" y="336"/>
                  </a:lnTo>
                  <a:lnTo>
                    <a:pt x="247" y="353"/>
                  </a:lnTo>
                  <a:lnTo>
                    <a:pt x="235" y="369"/>
                  </a:lnTo>
                  <a:lnTo>
                    <a:pt x="228" y="376"/>
                  </a:lnTo>
                  <a:lnTo>
                    <a:pt x="221" y="383"/>
                  </a:lnTo>
                  <a:lnTo>
                    <a:pt x="212" y="391"/>
                  </a:lnTo>
                  <a:lnTo>
                    <a:pt x="202" y="397"/>
                  </a:lnTo>
                  <a:lnTo>
                    <a:pt x="190" y="396"/>
                  </a:lnTo>
                  <a:lnTo>
                    <a:pt x="176" y="395"/>
                  </a:lnTo>
                  <a:lnTo>
                    <a:pt x="164" y="395"/>
                  </a:lnTo>
                  <a:lnTo>
                    <a:pt x="150" y="395"/>
                  </a:lnTo>
                  <a:lnTo>
                    <a:pt x="146" y="423"/>
                  </a:lnTo>
                  <a:lnTo>
                    <a:pt x="142" y="446"/>
                  </a:lnTo>
                  <a:lnTo>
                    <a:pt x="137" y="470"/>
                  </a:lnTo>
                  <a:lnTo>
                    <a:pt x="130" y="497"/>
                  </a:lnTo>
                  <a:lnTo>
                    <a:pt x="116" y="476"/>
                  </a:lnTo>
                  <a:lnTo>
                    <a:pt x="105" y="457"/>
                  </a:lnTo>
                  <a:lnTo>
                    <a:pt x="98" y="450"/>
                  </a:lnTo>
                  <a:lnTo>
                    <a:pt x="91" y="443"/>
                  </a:lnTo>
                  <a:lnTo>
                    <a:pt x="87" y="440"/>
                  </a:lnTo>
                  <a:lnTo>
                    <a:pt x="81" y="439"/>
                  </a:lnTo>
                  <a:lnTo>
                    <a:pt x="76" y="438"/>
                  </a:lnTo>
                  <a:lnTo>
                    <a:pt x="70" y="437"/>
                  </a:lnTo>
                  <a:lnTo>
                    <a:pt x="66" y="438"/>
                  </a:lnTo>
                  <a:lnTo>
                    <a:pt x="62" y="438"/>
                  </a:lnTo>
                  <a:lnTo>
                    <a:pt x="58" y="440"/>
                  </a:lnTo>
                  <a:lnTo>
                    <a:pt x="54" y="442"/>
                  </a:lnTo>
                  <a:lnTo>
                    <a:pt x="47" y="446"/>
                  </a:lnTo>
                  <a:lnTo>
                    <a:pt x="41" y="453"/>
                  </a:lnTo>
                  <a:lnTo>
                    <a:pt x="31" y="467"/>
                  </a:lnTo>
                  <a:lnTo>
                    <a:pt x="18" y="483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>
                  <a:latin typeface="Calibri" panose="020F0502020204030204" pitchFamily="34" charset="0"/>
                </a:rPr>
                <a:t>Kharkiv</a:t>
              </a:r>
              <a:endParaRPr lang="ru-RU" altLang="ru-RU" sz="675">
                <a:latin typeface="Calibri" panose="020F0502020204030204" pitchFamily="34" charset="0"/>
              </a:endParaRPr>
            </a:p>
          </p:txBody>
        </p:sp>
        <p:sp>
          <p:nvSpPr>
            <p:cNvPr id="25" name="Poltava"/>
            <p:cNvSpPr>
              <a:spLocks/>
            </p:cNvSpPr>
            <p:nvPr/>
          </p:nvSpPr>
          <p:spPr bwMode="auto">
            <a:xfrm>
              <a:off x="3104" y="1736"/>
              <a:ext cx="854" cy="686"/>
            </a:xfrm>
            <a:custGeom>
              <a:avLst/>
              <a:gdLst>
                <a:gd name="T0" fmla="*/ 342 w 2847"/>
                <a:gd name="T1" fmla="*/ 255 h 2339"/>
                <a:gd name="T2" fmla="*/ 342 w 2847"/>
                <a:gd name="T3" fmla="*/ 255 h 2339"/>
                <a:gd name="T4" fmla="*/ 342 w 2847"/>
                <a:gd name="T5" fmla="*/ 255 h 2339"/>
                <a:gd name="T6" fmla="*/ 342 w 2847"/>
                <a:gd name="T7" fmla="*/ 255 h 2339"/>
                <a:gd name="T8" fmla="*/ 342 w 2847"/>
                <a:gd name="T9" fmla="*/ 255 h 2339"/>
                <a:gd name="T10" fmla="*/ 342 w 2847"/>
                <a:gd name="T11" fmla="*/ 255 h 2339"/>
                <a:gd name="T12" fmla="*/ 342 w 2847"/>
                <a:gd name="T13" fmla="*/ 255 h 2339"/>
                <a:gd name="T14" fmla="*/ 342 w 2847"/>
                <a:gd name="T15" fmla="*/ 255 h 2339"/>
                <a:gd name="T16" fmla="*/ 342 w 2847"/>
                <a:gd name="T17" fmla="*/ 255 h 2339"/>
                <a:gd name="T18" fmla="*/ 342 w 2847"/>
                <a:gd name="T19" fmla="*/ 255 h 2339"/>
                <a:gd name="T20" fmla="*/ 342 w 2847"/>
                <a:gd name="T21" fmla="*/ 255 h 2339"/>
                <a:gd name="T22" fmla="*/ 342 w 2847"/>
                <a:gd name="T23" fmla="*/ 255 h 2339"/>
                <a:gd name="T24" fmla="*/ 342 w 2847"/>
                <a:gd name="T25" fmla="*/ 255 h 2339"/>
                <a:gd name="T26" fmla="*/ 342 w 2847"/>
                <a:gd name="T27" fmla="*/ 255 h 2339"/>
                <a:gd name="T28" fmla="*/ 342 w 2847"/>
                <a:gd name="T29" fmla="*/ 255 h 2339"/>
                <a:gd name="T30" fmla="*/ 342 w 2847"/>
                <a:gd name="T31" fmla="*/ 255 h 2339"/>
                <a:gd name="T32" fmla="*/ 342 w 2847"/>
                <a:gd name="T33" fmla="*/ 255 h 2339"/>
                <a:gd name="T34" fmla="*/ 342 w 2847"/>
                <a:gd name="T35" fmla="*/ 255 h 2339"/>
                <a:gd name="T36" fmla="*/ 342 w 2847"/>
                <a:gd name="T37" fmla="*/ 255 h 2339"/>
                <a:gd name="T38" fmla="*/ 342 w 2847"/>
                <a:gd name="T39" fmla="*/ 255 h 2339"/>
                <a:gd name="T40" fmla="*/ 342 w 2847"/>
                <a:gd name="T41" fmla="*/ 255 h 2339"/>
                <a:gd name="T42" fmla="*/ 342 w 2847"/>
                <a:gd name="T43" fmla="*/ 255 h 2339"/>
                <a:gd name="T44" fmla="*/ 342 w 2847"/>
                <a:gd name="T45" fmla="*/ 255 h 2339"/>
                <a:gd name="T46" fmla="*/ 342 w 2847"/>
                <a:gd name="T47" fmla="*/ 255 h 2339"/>
                <a:gd name="T48" fmla="*/ 342 w 2847"/>
                <a:gd name="T49" fmla="*/ 255 h 2339"/>
                <a:gd name="T50" fmla="*/ 342 w 2847"/>
                <a:gd name="T51" fmla="*/ 255 h 2339"/>
                <a:gd name="T52" fmla="*/ 342 w 2847"/>
                <a:gd name="T53" fmla="*/ 255 h 2339"/>
                <a:gd name="T54" fmla="*/ 342 w 2847"/>
                <a:gd name="T55" fmla="*/ 255 h 2339"/>
                <a:gd name="T56" fmla="*/ 342 w 2847"/>
                <a:gd name="T57" fmla="*/ 255 h 2339"/>
                <a:gd name="T58" fmla="*/ 342 w 2847"/>
                <a:gd name="T59" fmla="*/ 255 h 2339"/>
                <a:gd name="T60" fmla="*/ 342 w 2847"/>
                <a:gd name="T61" fmla="*/ 255 h 2339"/>
                <a:gd name="T62" fmla="*/ 342 w 2847"/>
                <a:gd name="T63" fmla="*/ 255 h 2339"/>
                <a:gd name="T64" fmla="*/ 342 w 2847"/>
                <a:gd name="T65" fmla="*/ 255 h 2339"/>
                <a:gd name="T66" fmla="*/ 342 w 2847"/>
                <a:gd name="T67" fmla="*/ 255 h 2339"/>
                <a:gd name="T68" fmla="*/ 342 w 2847"/>
                <a:gd name="T69" fmla="*/ 255 h 2339"/>
                <a:gd name="T70" fmla="*/ 342 w 2847"/>
                <a:gd name="T71" fmla="*/ 255 h 2339"/>
                <a:gd name="T72" fmla="*/ 342 w 2847"/>
                <a:gd name="T73" fmla="*/ 255 h 2339"/>
                <a:gd name="T74" fmla="*/ 342 w 2847"/>
                <a:gd name="T75" fmla="*/ 255 h 2339"/>
                <a:gd name="T76" fmla="*/ 342 w 2847"/>
                <a:gd name="T77" fmla="*/ 255 h 2339"/>
                <a:gd name="T78" fmla="*/ 342 w 2847"/>
                <a:gd name="T79" fmla="*/ 255 h 2339"/>
                <a:gd name="T80" fmla="*/ 342 w 2847"/>
                <a:gd name="T81" fmla="*/ 255 h 2339"/>
                <a:gd name="T82" fmla="*/ 342 w 2847"/>
                <a:gd name="T83" fmla="*/ 255 h 2339"/>
                <a:gd name="T84" fmla="*/ 342 w 2847"/>
                <a:gd name="T85" fmla="*/ 255 h 2339"/>
                <a:gd name="T86" fmla="*/ 342 w 2847"/>
                <a:gd name="T87" fmla="*/ 255 h 2339"/>
                <a:gd name="T88" fmla="*/ 342 w 2847"/>
                <a:gd name="T89" fmla="*/ 255 h 2339"/>
                <a:gd name="T90" fmla="*/ 342 w 2847"/>
                <a:gd name="T91" fmla="*/ 255 h 2339"/>
                <a:gd name="T92" fmla="*/ 342 w 2847"/>
                <a:gd name="T93" fmla="*/ 255 h 2339"/>
                <a:gd name="T94" fmla="*/ 342 w 2847"/>
                <a:gd name="T95" fmla="*/ 255 h 2339"/>
                <a:gd name="T96" fmla="*/ 342 w 2847"/>
                <a:gd name="T97" fmla="*/ 255 h 2339"/>
                <a:gd name="T98" fmla="*/ 342 w 2847"/>
                <a:gd name="T99" fmla="*/ 255 h 2339"/>
                <a:gd name="T100" fmla="*/ 342 w 2847"/>
                <a:gd name="T101" fmla="*/ 255 h 2339"/>
                <a:gd name="T102" fmla="*/ 342 w 2847"/>
                <a:gd name="T103" fmla="*/ 255 h 2339"/>
                <a:gd name="T104" fmla="*/ 342 w 2847"/>
                <a:gd name="T105" fmla="*/ 255 h 2339"/>
                <a:gd name="T106" fmla="*/ 342 w 2847"/>
                <a:gd name="T107" fmla="*/ 255 h 2339"/>
                <a:gd name="T108" fmla="*/ 342 w 2847"/>
                <a:gd name="T109" fmla="*/ 255 h 2339"/>
                <a:gd name="T110" fmla="*/ 342 w 2847"/>
                <a:gd name="T111" fmla="*/ 255 h 2339"/>
                <a:gd name="T112" fmla="*/ 342 w 2847"/>
                <a:gd name="T113" fmla="*/ 255 h 2339"/>
                <a:gd name="T114" fmla="*/ 342 w 2847"/>
                <a:gd name="T115" fmla="*/ 255 h 2339"/>
                <a:gd name="T116" fmla="*/ 342 w 2847"/>
                <a:gd name="T117" fmla="*/ 255 h 2339"/>
                <a:gd name="T118" fmla="*/ 342 w 2847"/>
                <a:gd name="T119" fmla="*/ 255 h 2339"/>
                <a:gd name="T120" fmla="*/ 342 w 2847"/>
                <a:gd name="T121" fmla="*/ 255 h 2339"/>
                <a:gd name="T122" fmla="*/ 342 w 2847"/>
                <a:gd name="T123" fmla="*/ 255 h 233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47"/>
                <a:gd name="T187" fmla="*/ 0 h 2339"/>
                <a:gd name="T188" fmla="*/ 2847 w 2847"/>
                <a:gd name="T189" fmla="*/ 2339 h 233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47" h="2339">
                  <a:moveTo>
                    <a:pt x="612" y="1742"/>
                  </a:moveTo>
                  <a:lnTo>
                    <a:pt x="619" y="1748"/>
                  </a:lnTo>
                  <a:lnTo>
                    <a:pt x="624" y="1754"/>
                  </a:lnTo>
                  <a:lnTo>
                    <a:pt x="630" y="1757"/>
                  </a:lnTo>
                  <a:lnTo>
                    <a:pt x="636" y="1761"/>
                  </a:lnTo>
                  <a:lnTo>
                    <a:pt x="648" y="1767"/>
                  </a:lnTo>
                  <a:lnTo>
                    <a:pt x="662" y="1775"/>
                  </a:lnTo>
                  <a:lnTo>
                    <a:pt x="669" y="1780"/>
                  </a:lnTo>
                  <a:lnTo>
                    <a:pt x="675" y="1786"/>
                  </a:lnTo>
                  <a:lnTo>
                    <a:pt x="680" y="1791"/>
                  </a:lnTo>
                  <a:lnTo>
                    <a:pt x="685" y="1797"/>
                  </a:lnTo>
                  <a:lnTo>
                    <a:pt x="693" y="1809"/>
                  </a:lnTo>
                  <a:lnTo>
                    <a:pt x="700" y="1822"/>
                  </a:lnTo>
                  <a:lnTo>
                    <a:pt x="707" y="1834"/>
                  </a:lnTo>
                  <a:lnTo>
                    <a:pt x="714" y="1847"/>
                  </a:lnTo>
                  <a:lnTo>
                    <a:pt x="720" y="1852"/>
                  </a:lnTo>
                  <a:lnTo>
                    <a:pt x="725" y="1857"/>
                  </a:lnTo>
                  <a:lnTo>
                    <a:pt x="731" y="1862"/>
                  </a:lnTo>
                  <a:lnTo>
                    <a:pt x="737" y="1867"/>
                  </a:lnTo>
                  <a:lnTo>
                    <a:pt x="748" y="1873"/>
                  </a:lnTo>
                  <a:lnTo>
                    <a:pt x="759" y="1880"/>
                  </a:lnTo>
                  <a:lnTo>
                    <a:pt x="769" y="1884"/>
                  </a:lnTo>
                  <a:lnTo>
                    <a:pt x="779" y="1888"/>
                  </a:lnTo>
                  <a:lnTo>
                    <a:pt x="800" y="1895"/>
                  </a:lnTo>
                  <a:lnTo>
                    <a:pt x="821" y="1899"/>
                  </a:lnTo>
                  <a:lnTo>
                    <a:pt x="841" y="1903"/>
                  </a:lnTo>
                  <a:lnTo>
                    <a:pt x="863" y="1906"/>
                  </a:lnTo>
                  <a:lnTo>
                    <a:pt x="886" y="1912"/>
                  </a:lnTo>
                  <a:lnTo>
                    <a:pt x="909" y="1917"/>
                  </a:lnTo>
                  <a:lnTo>
                    <a:pt x="921" y="1921"/>
                  </a:lnTo>
                  <a:lnTo>
                    <a:pt x="930" y="1925"/>
                  </a:lnTo>
                  <a:lnTo>
                    <a:pt x="937" y="1931"/>
                  </a:lnTo>
                  <a:lnTo>
                    <a:pt x="944" y="1938"/>
                  </a:lnTo>
                  <a:lnTo>
                    <a:pt x="950" y="1947"/>
                  </a:lnTo>
                  <a:lnTo>
                    <a:pt x="955" y="1955"/>
                  </a:lnTo>
                  <a:lnTo>
                    <a:pt x="958" y="1965"/>
                  </a:lnTo>
                  <a:lnTo>
                    <a:pt x="961" y="1975"/>
                  </a:lnTo>
                  <a:lnTo>
                    <a:pt x="964" y="1996"/>
                  </a:lnTo>
                  <a:lnTo>
                    <a:pt x="966" y="2020"/>
                  </a:lnTo>
                  <a:lnTo>
                    <a:pt x="967" y="2044"/>
                  </a:lnTo>
                  <a:lnTo>
                    <a:pt x="969" y="2068"/>
                  </a:lnTo>
                  <a:lnTo>
                    <a:pt x="970" y="2090"/>
                  </a:lnTo>
                  <a:lnTo>
                    <a:pt x="973" y="2111"/>
                  </a:lnTo>
                  <a:lnTo>
                    <a:pt x="976" y="2131"/>
                  </a:lnTo>
                  <a:lnTo>
                    <a:pt x="982" y="2150"/>
                  </a:lnTo>
                  <a:lnTo>
                    <a:pt x="988" y="2168"/>
                  </a:lnTo>
                  <a:lnTo>
                    <a:pt x="995" y="2186"/>
                  </a:lnTo>
                  <a:lnTo>
                    <a:pt x="1004" y="2205"/>
                  </a:lnTo>
                  <a:lnTo>
                    <a:pt x="1016" y="2223"/>
                  </a:lnTo>
                  <a:lnTo>
                    <a:pt x="1045" y="2246"/>
                  </a:lnTo>
                  <a:lnTo>
                    <a:pt x="1072" y="2267"/>
                  </a:lnTo>
                  <a:lnTo>
                    <a:pt x="1078" y="2272"/>
                  </a:lnTo>
                  <a:lnTo>
                    <a:pt x="1085" y="2276"/>
                  </a:lnTo>
                  <a:lnTo>
                    <a:pt x="1092" y="2280"/>
                  </a:lnTo>
                  <a:lnTo>
                    <a:pt x="1099" y="2283"/>
                  </a:lnTo>
                  <a:lnTo>
                    <a:pt x="1107" y="2286"/>
                  </a:lnTo>
                  <a:lnTo>
                    <a:pt x="1116" y="2289"/>
                  </a:lnTo>
                  <a:lnTo>
                    <a:pt x="1124" y="2290"/>
                  </a:lnTo>
                  <a:lnTo>
                    <a:pt x="1134" y="2290"/>
                  </a:lnTo>
                  <a:lnTo>
                    <a:pt x="1144" y="2290"/>
                  </a:lnTo>
                  <a:lnTo>
                    <a:pt x="1155" y="2289"/>
                  </a:lnTo>
                  <a:lnTo>
                    <a:pt x="1165" y="2286"/>
                  </a:lnTo>
                  <a:lnTo>
                    <a:pt x="1174" y="2283"/>
                  </a:lnTo>
                  <a:lnTo>
                    <a:pt x="1183" y="2280"/>
                  </a:lnTo>
                  <a:lnTo>
                    <a:pt x="1192" y="2276"/>
                  </a:lnTo>
                  <a:lnTo>
                    <a:pt x="1200" y="2272"/>
                  </a:lnTo>
                  <a:lnTo>
                    <a:pt x="1208" y="2267"/>
                  </a:lnTo>
                  <a:lnTo>
                    <a:pt x="1224" y="2255"/>
                  </a:lnTo>
                  <a:lnTo>
                    <a:pt x="1238" y="2243"/>
                  </a:lnTo>
                  <a:lnTo>
                    <a:pt x="1252" y="2230"/>
                  </a:lnTo>
                  <a:lnTo>
                    <a:pt x="1266" y="2215"/>
                  </a:lnTo>
                  <a:lnTo>
                    <a:pt x="1280" y="2202"/>
                  </a:lnTo>
                  <a:lnTo>
                    <a:pt x="1294" y="2188"/>
                  </a:lnTo>
                  <a:lnTo>
                    <a:pt x="1308" y="2176"/>
                  </a:lnTo>
                  <a:lnTo>
                    <a:pt x="1324" y="2165"/>
                  </a:lnTo>
                  <a:lnTo>
                    <a:pt x="1332" y="2159"/>
                  </a:lnTo>
                  <a:lnTo>
                    <a:pt x="1340" y="2155"/>
                  </a:lnTo>
                  <a:lnTo>
                    <a:pt x="1349" y="2151"/>
                  </a:lnTo>
                  <a:lnTo>
                    <a:pt x="1358" y="2147"/>
                  </a:lnTo>
                  <a:lnTo>
                    <a:pt x="1367" y="2145"/>
                  </a:lnTo>
                  <a:lnTo>
                    <a:pt x="1378" y="2143"/>
                  </a:lnTo>
                  <a:lnTo>
                    <a:pt x="1388" y="2142"/>
                  </a:lnTo>
                  <a:lnTo>
                    <a:pt x="1398" y="2141"/>
                  </a:lnTo>
                  <a:lnTo>
                    <a:pt x="1445" y="2141"/>
                  </a:lnTo>
                  <a:lnTo>
                    <a:pt x="1453" y="2142"/>
                  </a:lnTo>
                  <a:lnTo>
                    <a:pt x="1462" y="2143"/>
                  </a:lnTo>
                  <a:lnTo>
                    <a:pt x="1469" y="2144"/>
                  </a:lnTo>
                  <a:lnTo>
                    <a:pt x="1477" y="2147"/>
                  </a:lnTo>
                  <a:lnTo>
                    <a:pt x="1490" y="2153"/>
                  </a:lnTo>
                  <a:lnTo>
                    <a:pt x="1502" y="2162"/>
                  </a:lnTo>
                  <a:lnTo>
                    <a:pt x="1527" y="2180"/>
                  </a:lnTo>
                  <a:lnTo>
                    <a:pt x="1556" y="2200"/>
                  </a:lnTo>
                  <a:lnTo>
                    <a:pt x="1563" y="2205"/>
                  </a:lnTo>
                  <a:lnTo>
                    <a:pt x="1569" y="2210"/>
                  </a:lnTo>
                  <a:lnTo>
                    <a:pt x="1576" y="2215"/>
                  </a:lnTo>
                  <a:lnTo>
                    <a:pt x="1580" y="2220"/>
                  </a:lnTo>
                  <a:lnTo>
                    <a:pt x="1585" y="2227"/>
                  </a:lnTo>
                  <a:lnTo>
                    <a:pt x="1590" y="2232"/>
                  </a:lnTo>
                  <a:lnTo>
                    <a:pt x="1596" y="2237"/>
                  </a:lnTo>
                  <a:lnTo>
                    <a:pt x="1602" y="2243"/>
                  </a:lnTo>
                  <a:lnTo>
                    <a:pt x="1629" y="2262"/>
                  </a:lnTo>
                  <a:lnTo>
                    <a:pt x="1653" y="2279"/>
                  </a:lnTo>
                  <a:lnTo>
                    <a:pt x="1677" y="2296"/>
                  </a:lnTo>
                  <a:lnTo>
                    <a:pt x="1699" y="2310"/>
                  </a:lnTo>
                  <a:lnTo>
                    <a:pt x="1712" y="2316"/>
                  </a:lnTo>
                  <a:lnTo>
                    <a:pt x="1723" y="2322"/>
                  </a:lnTo>
                  <a:lnTo>
                    <a:pt x="1735" y="2327"/>
                  </a:lnTo>
                  <a:lnTo>
                    <a:pt x="1749" y="2331"/>
                  </a:lnTo>
                  <a:lnTo>
                    <a:pt x="1762" y="2335"/>
                  </a:lnTo>
                  <a:lnTo>
                    <a:pt x="1777" y="2337"/>
                  </a:lnTo>
                  <a:lnTo>
                    <a:pt x="1792" y="2339"/>
                  </a:lnTo>
                  <a:lnTo>
                    <a:pt x="1808" y="2339"/>
                  </a:lnTo>
                  <a:lnTo>
                    <a:pt x="1832" y="2339"/>
                  </a:lnTo>
                  <a:lnTo>
                    <a:pt x="1858" y="2337"/>
                  </a:lnTo>
                  <a:lnTo>
                    <a:pt x="1870" y="2335"/>
                  </a:lnTo>
                  <a:lnTo>
                    <a:pt x="1883" y="2333"/>
                  </a:lnTo>
                  <a:lnTo>
                    <a:pt x="1894" y="2330"/>
                  </a:lnTo>
                  <a:lnTo>
                    <a:pt x="1906" y="2326"/>
                  </a:lnTo>
                  <a:lnTo>
                    <a:pt x="1916" y="2322"/>
                  </a:lnTo>
                  <a:lnTo>
                    <a:pt x="1925" y="2316"/>
                  </a:lnTo>
                  <a:lnTo>
                    <a:pt x="1933" y="2310"/>
                  </a:lnTo>
                  <a:lnTo>
                    <a:pt x="1941" y="2303"/>
                  </a:lnTo>
                  <a:lnTo>
                    <a:pt x="1946" y="2295"/>
                  </a:lnTo>
                  <a:lnTo>
                    <a:pt x="1951" y="2285"/>
                  </a:lnTo>
                  <a:lnTo>
                    <a:pt x="1953" y="2275"/>
                  </a:lnTo>
                  <a:lnTo>
                    <a:pt x="1954" y="2264"/>
                  </a:lnTo>
                  <a:lnTo>
                    <a:pt x="1954" y="2254"/>
                  </a:lnTo>
                  <a:lnTo>
                    <a:pt x="1952" y="2245"/>
                  </a:lnTo>
                  <a:lnTo>
                    <a:pt x="1950" y="2236"/>
                  </a:lnTo>
                  <a:lnTo>
                    <a:pt x="1947" y="2228"/>
                  </a:lnTo>
                  <a:lnTo>
                    <a:pt x="1940" y="2212"/>
                  </a:lnTo>
                  <a:lnTo>
                    <a:pt x="1931" y="2198"/>
                  </a:lnTo>
                  <a:lnTo>
                    <a:pt x="1923" y="2182"/>
                  </a:lnTo>
                  <a:lnTo>
                    <a:pt x="1916" y="2167"/>
                  </a:lnTo>
                  <a:lnTo>
                    <a:pt x="1914" y="2158"/>
                  </a:lnTo>
                  <a:lnTo>
                    <a:pt x="1911" y="2150"/>
                  </a:lnTo>
                  <a:lnTo>
                    <a:pt x="1910" y="2141"/>
                  </a:lnTo>
                  <a:lnTo>
                    <a:pt x="1910" y="2132"/>
                  </a:lnTo>
                  <a:lnTo>
                    <a:pt x="1910" y="2078"/>
                  </a:lnTo>
                  <a:lnTo>
                    <a:pt x="1910" y="2071"/>
                  </a:lnTo>
                  <a:lnTo>
                    <a:pt x="1911" y="2063"/>
                  </a:lnTo>
                  <a:lnTo>
                    <a:pt x="1913" y="2056"/>
                  </a:lnTo>
                  <a:lnTo>
                    <a:pt x="1915" y="2050"/>
                  </a:lnTo>
                  <a:lnTo>
                    <a:pt x="1917" y="2044"/>
                  </a:lnTo>
                  <a:lnTo>
                    <a:pt x="1921" y="2038"/>
                  </a:lnTo>
                  <a:lnTo>
                    <a:pt x="1924" y="2032"/>
                  </a:lnTo>
                  <a:lnTo>
                    <a:pt x="1928" y="2027"/>
                  </a:lnTo>
                  <a:lnTo>
                    <a:pt x="1939" y="2018"/>
                  </a:lnTo>
                  <a:lnTo>
                    <a:pt x="1949" y="2009"/>
                  </a:lnTo>
                  <a:lnTo>
                    <a:pt x="1960" y="1999"/>
                  </a:lnTo>
                  <a:lnTo>
                    <a:pt x="1973" y="1990"/>
                  </a:lnTo>
                  <a:lnTo>
                    <a:pt x="1990" y="1978"/>
                  </a:lnTo>
                  <a:lnTo>
                    <a:pt x="2007" y="1967"/>
                  </a:lnTo>
                  <a:lnTo>
                    <a:pt x="2022" y="1958"/>
                  </a:lnTo>
                  <a:lnTo>
                    <a:pt x="2038" y="1949"/>
                  </a:lnTo>
                  <a:lnTo>
                    <a:pt x="2068" y="1931"/>
                  </a:lnTo>
                  <a:lnTo>
                    <a:pt x="2102" y="1910"/>
                  </a:lnTo>
                  <a:lnTo>
                    <a:pt x="2129" y="1891"/>
                  </a:lnTo>
                  <a:lnTo>
                    <a:pt x="2153" y="1873"/>
                  </a:lnTo>
                  <a:lnTo>
                    <a:pt x="2176" y="1856"/>
                  </a:lnTo>
                  <a:lnTo>
                    <a:pt x="2201" y="1836"/>
                  </a:lnTo>
                  <a:lnTo>
                    <a:pt x="2228" y="1812"/>
                  </a:lnTo>
                  <a:lnTo>
                    <a:pt x="2252" y="1790"/>
                  </a:lnTo>
                  <a:lnTo>
                    <a:pt x="2258" y="1785"/>
                  </a:lnTo>
                  <a:lnTo>
                    <a:pt x="2264" y="1780"/>
                  </a:lnTo>
                  <a:lnTo>
                    <a:pt x="2271" y="1776"/>
                  </a:lnTo>
                  <a:lnTo>
                    <a:pt x="2278" y="1772"/>
                  </a:lnTo>
                  <a:lnTo>
                    <a:pt x="2285" y="1770"/>
                  </a:lnTo>
                  <a:lnTo>
                    <a:pt x="2292" y="1768"/>
                  </a:lnTo>
                  <a:lnTo>
                    <a:pt x="2300" y="1766"/>
                  </a:lnTo>
                  <a:lnTo>
                    <a:pt x="2310" y="1766"/>
                  </a:lnTo>
                  <a:lnTo>
                    <a:pt x="2320" y="1767"/>
                  </a:lnTo>
                  <a:lnTo>
                    <a:pt x="2328" y="1769"/>
                  </a:lnTo>
                  <a:lnTo>
                    <a:pt x="2336" y="1772"/>
                  </a:lnTo>
                  <a:lnTo>
                    <a:pt x="2344" y="1776"/>
                  </a:lnTo>
                  <a:lnTo>
                    <a:pt x="2351" y="1780"/>
                  </a:lnTo>
                  <a:lnTo>
                    <a:pt x="2359" y="1784"/>
                  </a:lnTo>
                  <a:lnTo>
                    <a:pt x="2368" y="1787"/>
                  </a:lnTo>
                  <a:lnTo>
                    <a:pt x="2377" y="1787"/>
                  </a:lnTo>
                  <a:lnTo>
                    <a:pt x="2397" y="1787"/>
                  </a:lnTo>
                  <a:lnTo>
                    <a:pt x="2415" y="1786"/>
                  </a:lnTo>
                  <a:lnTo>
                    <a:pt x="2431" y="1784"/>
                  </a:lnTo>
                  <a:lnTo>
                    <a:pt x="2448" y="1781"/>
                  </a:lnTo>
                  <a:lnTo>
                    <a:pt x="2480" y="1777"/>
                  </a:lnTo>
                  <a:lnTo>
                    <a:pt x="2517" y="1773"/>
                  </a:lnTo>
                  <a:lnTo>
                    <a:pt x="2511" y="1767"/>
                  </a:lnTo>
                  <a:lnTo>
                    <a:pt x="2505" y="1762"/>
                  </a:lnTo>
                  <a:lnTo>
                    <a:pt x="2500" y="1756"/>
                  </a:lnTo>
                  <a:lnTo>
                    <a:pt x="2495" y="1749"/>
                  </a:lnTo>
                  <a:lnTo>
                    <a:pt x="2491" y="1743"/>
                  </a:lnTo>
                  <a:lnTo>
                    <a:pt x="2489" y="1736"/>
                  </a:lnTo>
                  <a:lnTo>
                    <a:pt x="2486" y="1730"/>
                  </a:lnTo>
                  <a:lnTo>
                    <a:pt x="2484" y="1723"/>
                  </a:lnTo>
                  <a:lnTo>
                    <a:pt x="2482" y="1707"/>
                  </a:lnTo>
                  <a:lnTo>
                    <a:pt x="2480" y="1692"/>
                  </a:lnTo>
                  <a:lnTo>
                    <a:pt x="2480" y="1674"/>
                  </a:lnTo>
                  <a:lnTo>
                    <a:pt x="2480" y="1658"/>
                  </a:lnTo>
                  <a:lnTo>
                    <a:pt x="2480" y="1649"/>
                  </a:lnTo>
                  <a:lnTo>
                    <a:pt x="2482" y="1642"/>
                  </a:lnTo>
                  <a:lnTo>
                    <a:pt x="2484" y="1636"/>
                  </a:lnTo>
                  <a:lnTo>
                    <a:pt x="2487" y="1630"/>
                  </a:lnTo>
                  <a:lnTo>
                    <a:pt x="2491" y="1624"/>
                  </a:lnTo>
                  <a:lnTo>
                    <a:pt x="2495" y="1618"/>
                  </a:lnTo>
                  <a:lnTo>
                    <a:pt x="2502" y="1614"/>
                  </a:lnTo>
                  <a:lnTo>
                    <a:pt x="2507" y="1610"/>
                  </a:lnTo>
                  <a:lnTo>
                    <a:pt x="2520" y="1602"/>
                  </a:lnTo>
                  <a:lnTo>
                    <a:pt x="2535" y="1596"/>
                  </a:lnTo>
                  <a:lnTo>
                    <a:pt x="2549" y="1589"/>
                  </a:lnTo>
                  <a:lnTo>
                    <a:pt x="2564" y="1584"/>
                  </a:lnTo>
                  <a:lnTo>
                    <a:pt x="2585" y="1578"/>
                  </a:lnTo>
                  <a:lnTo>
                    <a:pt x="2605" y="1573"/>
                  </a:lnTo>
                  <a:lnTo>
                    <a:pt x="2623" y="1570"/>
                  </a:lnTo>
                  <a:lnTo>
                    <a:pt x="2642" y="1568"/>
                  </a:lnTo>
                  <a:lnTo>
                    <a:pt x="2660" y="1565"/>
                  </a:lnTo>
                  <a:lnTo>
                    <a:pt x="2679" y="1563"/>
                  </a:lnTo>
                  <a:lnTo>
                    <a:pt x="2699" y="1558"/>
                  </a:lnTo>
                  <a:lnTo>
                    <a:pt x="2720" y="1553"/>
                  </a:lnTo>
                  <a:lnTo>
                    <a:pt x="2727" y="1551"/>
                  </a:lnTo>
                  <a:lnTo>
                    <a:pt x="2733" y="1547"/>
                  </a:lnTo>
                  <a:lnTo>
                    <a:pt x="2738" y="1542"/>
                  </a:lnTo>
                  <a:lnTo>
                    <a:pt x="2742" y="1537"/>
                  </a:lnTo>
                  <a:lnTo>
                    <a:pt x="2748" y="1524"/>
                  </a:lnTo>
                  <a:lnTo>
                    <a:pt x="2755" y="1511"/>
                  </a:lnTo>
                  <a:lnTo>
                    <a:pt x="2767" y="1496"/>
                  </a:lnTo>
                  <a:lnTo>
                    <a:pt x="2777" y="1484"/>
                  </a:lnTo>
                  <a:lnTo>
                    <a:pt x="2782" y="1478"/>
                  </a:lnTo>
                  <a:lnTo>
                    <a:pt x="2785" y="1471"/>
                  </a:lnTo>
                  <a:lnTo>
                    <a:pt x="2787" y="1463"/>
                  </a:lnTo>
                  <a:lnTo>
                    <a:pt x="2788" y="1454"/>
                  </a:lnTo>
                  <a:lnTo>
                    <a:pt x="2788" y="1438"/>
                  </a:lnTo>
                  <a:lnTo>
                    <a:pt x="2786" y="1421"/>
                  </a:lnTo>
                  <a:lnTo>
                    <a:pt x="2783" y="1407"/>
                  </a:lnTo>
                  <a:lnTo>
                    <a:pt x="2778" y="1392"/>
                  </a:lnTo>
                  <a:lnTo>
                    <a:pt x="2775" y="1386"/>
                  </a:lnTo>
                  <a:lnTo>
                    <a:pt x="2772" y="1380"/>
                  </a:lnTo>
                  <a:lnTo>
                    <a:pt x="2768" y="1374"/>
                  </a:lnTo>
                  <a:lnTo>
                    <a:pt x="2762" y="1367"/>
                  </a:lnTo>
                  <a:lnTo>
                    <a:pt x="2757" y="1361"/>
                  </a:lnTo>
                  <a:lnTo>
                    <a:pt x="2752" y="1356"/>
                  </a:lnTo>
                  <a:lnTo>
                    <a:pt x="2746" y="1351"/>
                  </a:lnTo>
                  <a:lnTo>
                    <a:pt x="2739" y="1346"/>
                  </a:lnTo>
                  <a:lnTo>
                    <a:pt x="2743" y="1340"/>
                  </a:lnTo>
                  <a:lnTo>
                    <a:pt x="2747" y="1334"/>
                  </a:lnTo>
                  <a:lnTo>
                    <a:pt x="2751" y="1330"/>
                  </a:lnTo>
                  <a:lnTo>
                    <a:pt x="2756" y="1326"/>
                  </a:lnTo>
                  <a:lnTo>
                    <a:pt x="2767" y="1321"/>
                  </a:lnTo>
                  <a:lnTo>
                    <a:pt x="2778" y="1316"/>
                  </a:lnTo>
                  <a:lnTo>
                    <a:pt x="2789" y="1311"/>
                  </a:lnTo>
                  <a:lnTo>
                    <a:pt x="2801" y="1305"/>
                  </a:lnTo>
                  <a:lnTo>
                    <a:pt x="2807" y="1302"/>
                  </a:lnTo>
                  <a:lnTo>
                    <a:pt x="2812" y="1298"/>
                  </a:lnTo>
                  <a:lnTo>
                    <a:pt x="2817" y="1294"/>
                  </a:lnTo>
                  <a:lnTo>
                    <a:pt x="2821" y="1289"/>
                  </a:lnTo>
                  <a:lnTo>
                    <a:pt x="2830" y="1279"/>
                  </a:lnTo>
                  <a:lnTo>
                    <a:pt x="2835" y="1269"/>
                  </a:lnTo>
                  <a:lnTo>
                    <a:pt x="2840" y="1259"/>
                  </a:lnTo>
                  <a:lnTo>
                    <a:pt x="2843" y="1249"/>
                  </a:lnTo>
                  <a:lnTo>
                    <a:pt x="2845" y="1238"/>
                  </a:lnTo>
                  <a:lnTo>
                    <a:pt x="2847" y="1227"/>
                  </a:lnTo>
                  <a:lnTo>
                    <a:pt x="2847" y="1216"/>
                  </a:lnTo>
                  <a:lnTo>
                    <a:pt x="2847" y="1203"/>
                  </a:lnTo>
                  <a:lnTo>
                    <a:pt x="2847" y="1190"/>
                  </a:lnTo>
                  <a:lnTo>
                    <a:pt x="2844" y="1178"/>
                  </a:lnTo>
                  <a:lnTo>
                    <a:pt x="2840" y="1168"/>
                  </a:lnTo>
                  <a:lnTo>
                    <a:pt x="2835" y="1159"/>
                  </a:lnTo>
                  <a:lnTo>
                    <a:pt x="2828" y="1150"/>
                  </a:lnTo>
                  <a:lnTo>
                    <a:pt x="2820" y="1142"/>
                  </a:lnTo>
                  <a:lnTo>
                    <a:pt x="2812" y="1135"/>
                  </a:lnTo>
                  <a:lnTo>
                    <a:pt x="2802" y="1129"/>
                  </a:lnTo>
                  <a:lnTo>
                    <a:pt x="2791" y="1123"/>
                  </a:lnTo>
                  <a:lnTo>
                    <a:pt x="2780" y="1116"/>
                  </a:lnTo>
                  <a:lnTo>
                    <a:pt x="2769" y="1112"/>
                  </a:lnTo>
                  <a:lnTo>
                    <a:pt x="2756" y="1107"/>
                  </a:lnTo>
                  <a:lnTo>
                    <a:pt x="2732" y="1099"/>
                  </a:lnTo>
                  <a:lnTo>
                    <a:pt x="2706" y="1091"/>
                  </a:lnTo>
                  <a:lnTo>
                    <a:pt x="2700" y="1089"/>
                  </a:lnTo>
                  <a:lnTo>
                    <a:pt x="2693" y="1085"/>
                  </a:lnTo>
                  <a:lnTo>
                    <a:pt x="2688" y="1082"/>
                  </a:lnTo>
                  <a:lnTo>
                    <a:pt x="2683" y="1079"/>
                  </a:lnTo>
                  <a:lnTo>
                    <a:pt x="2679" y="1075"/>
                  </a:lnTo>
                  <a:lnTo>
                    <a:pt x="2676" y="1071"/>
                  </a:lnTo>
                  <a:lnTo>
                    <a:pt x="2672" y="1067"/>
                  </a:lnTo>
                  <a:lnTo>
                    <a:pt x="2669" y="1063"/>
                  </a:lnTo>
                  <a:lnTo>
                    <a:pt x="2665" y="1052"/>
                  </a:lnTo>
                  <a:lnTo>
                    <a:pt x="2660" y="1041"/>
                  </a:lnTo>
                  <a:lnTo>
                    <a:pt x="2657" y="1030"/>
                  </a:lnTo>
                  <a:lnTo>
                    <a:pt x="2655" y="1017"/>
                  </a:lnTo>
                  <a:lnTo>
                    <a:pt x="2652" y="992"/>
                  </a:lnTo>
                  <a:lnTo>
                    <a:pt x="2649" y="965"/>
                  </a:lnTo>
                  <a:lnTo>
                    <a:pt x="2646" y="951"/>
                  </a:lnTo>
                  <a:lnTo>
                    <a:pt x="2643" y="938"/>
                  </a:lnTo>
                  <a:lnTo>
                    <a:pt x="2639" y="924"/>
                  </a:lnTo>
                  <a:lnTo>
                    <a:pt x="2633" y="911"/>
                  </a:lnTo>
                  <a:lnTo>
                    <a:pt x="2625" y="900"/>
                  </a:lnTo>
                  <a:lnTo>
                    <a:pt x="2618" y="889"/>
                  </a:lnTo>
                  <a:lnTo>
                    <a:pt x="2609" y="882"/>
                  </a:lnTo>
                  <a:lnTo>
                    <a:pt x="2599" y="875"/>
                  </a:lnTo>
                  <a:lnTo>
                    <a:pt x="2588" y="871"/>
                  </a:lnTo>
                  <a:lnTo>
                    <a:pt x="2577" y="867"/>
                  </a:lnTo>
                  <a:lnTo>
                    <a:pt x="2566" y="863"/>
                  </a:lnTo>
                  <a:lnTo>
                    <a:pt x="2553" y="862"/>
                  </a:lnTo>
                  <a:lnTo>
                    <a:pt x="2526" y="860"/>
                  </a:lnTo>
                  <a:lnTo>
                    <a:pt x="2500" y="858"/>
                  </a:lnTo>
                  <a:lnTo>
                    <a:pt x="2485" y="858"/>
                  </a:lnTo>
                  <a:lnTo>
                    <a:pt x="2471" y="856"/>
                  </a:lnTo>
                  <a:lnTo>
                    <a:pt x="2456" y="855"/>
                  </a:lnTo>
                  <a:lnTo>
                    <a:pt x="2442" y="852"/>
                  </a:lnTo>
                  <a:lnTo>
                    <a:pt x="2428" y="849"/>
                  </a:lnTo>
                  <a:lnTo>
                    <a:pt x="2415" y="845"/>
                  </a:lnTo>
                  <a:lnTo>
                    <a:pt x="2403" y="840"/>
                  </a:lnTo>
                  <a:lnTo>
                    <a:pt x="2391" y="834"/>
                  </a:lnTo>
                  <a:lnTo>
                    <a:pt x="2380" y="827"/>
                  </a:lnTo>
                  <a:lnTo>
                    <a:pt x="2370" y="819"/>
                  </a:lnTo>
                  <a:lnTo>
                    <a:pt x="2359" y="811"/>
                  </a:lnTo>
                  <a:lnTo>
                    <a:pt x="2351" y="803"/>
                  </a:lnTo>
                  <a:lnTo>
                    <a:pt x="2343" y="793"/>
                  </a:lnTo>
                  <a:lnTo>
                    <a:pt x="2336" y="783"/>
                  </a:lnTo>
                  <a:lnTo>
                    <a:pt x="2329" y="772"/>
                  </a:lnTo>
                  <a:lnTo>
                    <a:pt x="2324" y="760"/>
                  </a:lnTo>
                  <a:lnTo>
                    <a:pt x="2320" y="748"/>
                  </a:lnTo>
                  <a:lnTo>
                    <a:pt x="2317" y="735"/>
                  </a:lnTo>
                  <a:lnTo>
                    <a:pt x="2315" y="722"/>
                  </a:lnTo>
                  <a:lnTo>
                    <a:pt x="2315" y="709"/>
                  </a:lnTo>
                  <a:lnTo>
                    <a:pt x="2316" y="694"/>
                  </a:lnTo>
                  <a:lnTo>
                    <a:pt x="2318" y="682"/>
                  </a:lnTo>
                  <a:lnTo>
                    <a:pt x="2321" y="670"/>
                  </a:lnTo>
                  <a:lnTo>
                    <a:pt x="2326" y="659"/>
                  </a:lnTo>
                  <a:lnTo>
                    <a:pt x="2338" y="638"/>
                  </a:lnTo>
                  <a:lnTo>
                    <a:pt x="2351" y="619"/>
                  </a:lnTo>
                  <a:lnTo>
                    <a:pt x="2364" y="599"/>
                  </a:lnTo>
                  <a:lnTo>
                    <a:pt x="2377" y="578"/>
                  </a:lnTo>
                  <a:lnTo>
                    <a:pt x="2381" y="567"/>
                  </a:lnTo>
                  <a:lnTo>
                    <a:pt x="2385" y="555"/>
                  </a:lnTo>
                  <a:lnTo>
                    <a:pt x="2387" y="542"/>
                  </a:lnTo>
                  <a:lnTo>
                    <a:pt x="2388" y="529"/>
                  </a:lnTo>
                  <a:lnTo>
                    <a:pt x="2387" y="524"/>
                  </a:lnTo>
                  <a:lnTo>
                    <a:pt x="2387" y="520"/>
                  </a:lnTo>
                  <a:lnTo>
                    <a:pt x="2385" y="515"/>
                  </a:lnTo>
                  <a:lnTo>
                    <a:pt x="2383" y="511"/>
                  </a:lnTo>
                  <a:lnTo>
                    <a:pt x="2378" y="504"/>
                  </a:lnTo>
                  <a:lnTo>
                    <a:pt x="2371" y="498"/>
                  </a:lnTo>
                  <a:lnTo>
                    <a:pt x="2362" y="494"/>
                  </a:lnTo>
                  <a:lnTo>
                    <a:pt x="2353" y="490"/>
                  </a:lnTo>
                  <a:lnTo>
                    <a:pt x="2344" y="488"/>
                  </a:lnTo>
                  <a:lnTo>
                    <a:pt x="2333" y="487"/>
                  </a:lnTo>
                  <a:lnTo>
                    <a:pt x="2313" y="489"/>
                  </a:lnTo>
                  <a:lnTo>
                    <a:pt x="2294" y="492"/>
                  </a:lnTo>
                  <a:lnTo>
                    <a:pt x="2277" y="495"/>
                  </a:lnTo>
                  <a:lnTo>
                    <a:pt x="2256" y="496"/>
                  </a:lnTo>
                  <a:lnTo>
                    <a:pt x="2245" y="495"/>
                  </a:lnTo>
                  <a:lnTo>
                    <a:pt x="2234" y="494"/>
                  </a:lnTo>
                  <a:lnTo>
                    <a:pt x="2224" y="492"/>
                  </a:lnTo>
                  <a:lnTo>
                    <a:pt x="2214" y="491"/>
                  </a:lnTo>
                  <a:lnTo>
                    <a:pt x="2193" y="491"/>
                  </a:lnTo>
                  <a:lnTo>
                    <a:pt x="2176" y="492"/>
                  </a:lnTo>
                  <a:lnTo>
                    <a:pt x="2158" y="493"/>
                  </a:lnTo>
                  <a:lnTo>
                    <a:pt x="2142" y="495"/>
                  </a:lnTo>
                  <a:lnTo>
                    <a:pt x="2126" y="499"/>
                  </a:lnTo>
                  <a:lnTo>
                    <a:pt x="2110" y="503"/>
                  </a:lnTo>
                  <a:lnTo>
                    <a:pt x="2092" y="509"/>
                  </a:lnTo>
                  <a:lnTo>
                    <a:pt x="2075" y="518"/>
                  </a:lnTo>
                  <a:lnTo>
                    <a:pt x="2066" y="522"/>
                  </a:lnTo>
                  <a:lnTo>
                    <a:pt x="2058" y="528"/>
                  </a:lnTo>
                  <a:lnTo>
                    <a:pt x="2052" y="534"/>
                  </a:lnTo>
                  <a:lnTo>
                    <a:pt x="2046" y="540"/>
                  </a:lnTo>
                  <a:lnTo>
                    <a:pt x="2040" y="545"/>
                  </a:lnTo>
                  <a:lnTo>
                    <a:pt x="2032" y="551"/>
                  </a:lnTo>
                  <a:lnTo>
                    <a:pt x="2028" y="553"/>
                  </a:lnTo>
                  <a:lnTo>
                    <a:pt x="2024" y="554"/>
                  </a:lnTo>
                  <a:lnTo>
                    <a:pt x="2020" y="555"/>
                  </a:lnTo>
                  <a:lnTo>
                    <a:pt x="2015" y="555"/>
                  </a:lnTo>
                  <a:lnTo>
                    <a:pt x="1998" y="555"/>
                  </a:lnTo>
                  <a:lnTo>
                    <a:pt x="1998" y="551"/>
                  </a:lnTo>
                  <a:lnTo>
                    <a:pt x="1997" y="546"/>
                  </a:lnTo>
                  <a:lnTo>
                    <a:pt x="1996" y="542"/>
                  </a:lnTo>
                  <a:lnTo>
                    <a:pt x="1994" y="539"/>
                  </a:lnTo>
                  <a:lnTo>
                    <a:pt x="1989" y="532"/>
                  </a:lnTo>
                  <a:lnTo>
                    <a:pt x="1984" y="527"/>
                  </a:lnTo>
                  <a:lnTo>
                    <a:pt x="1978" y="521"/>
                  </a:lnTo>
                  <a:lnTo>
                    <a:pt x="1973" y="514"/>
                  </a:lnTo>
                  <a:lnTo>
                    <a:pt x="1972" y="510"/>
                  </a:lnTo>
                  <a:lnTo>
                    <a:pt x="1969" y="507"/>
                  </a:lnTo>
                  <a:lnTo>
                    <a:pt x="1968" y="503"/>
                  </a:lnTo>
                  <a:lnTo>
                    <a:pt x="1968" y="498"/>
                  </a:lnTo>
                  <a:lnTo>
                    <a:pt x="1968" y="491"/>
                  </a:lnTo>
                  <a:lnTo>
                    <a:pt x="1969" y="483"/>
                  </a:lnTo>
                  <a:lnTo>
                    <a:pt x="1970" y="476"/>
                  </a:lnTo>
                  <a:lnTo>
                    <a:pt x="1973" y="470"/>
                  </a:lnTo>
                  <a:lnTo>
                    <a:pt x="1977" y="458"/>
                  </a:lnTo>
                  <a:lnTo>
                    <a:pt x="1982" y="446"/>
                  </a:lnTo>
                  <a:lnTo>
                    <a:pt x="1988" y="435"/>
                  </a:lnTo>
                  <a:lnTo>
                    <a:pt x="1992" y="423"/>
                  </a:lnTo>
                  <a:lnTo>
                    <a:pt x="1994" y="416"/>
                  </a:lnTo>
                  <a:lnTo>
                    <a:pt x="1995" y="409"/>
                  </a:lnTo>
                  <a:lnTo>
                    <a:pt x="1996" y="402"/>
                  </a:lnTo>
                  <a:lnTo>
                    <a:pt x="1996" y="395"/>
                  </a:lnTo>
                  <a:lnTo>
                    <a:pt x="1996" y="388"/>
                  </a:lnTo>
                  <a:lnTo>
                    <a:pt x="1995" y="383"/>
                  </a:lnTo>
                  <a:lnTo>
                    <a:pt x="1993" y="379"/>
                  </a:lnTo>
                  <a:lnTo>
                    <a:pt x="1990" y="375"/>
                  </a:lnTo>
                  <a:lnTo>
                    <a:pt x="1984" y="368"/>
                  </a:lnTo>
                  <a:lnTo>
                    <a:pt x="1976" y="363"/>
                  </a:lnTo>
                  <a:lnTo>
                    <a:pt x="1955" y="352"/>
                  </a:lnTo>
                  <a:lnTo>
                    <a:pt x="1935" y="340"/>
                  </a:lnTo>
                  <a:lnTo>
                    <a:pt x="1895" y="311"/>
                  </a:lnTo>
                  <a:lnTo>
                    <a:pt x="1859" y="286"/>
                  </a:lnTo>
                  <a:lnTo>
                    <a:pt x="1843" y="273"/>
                  </a:lnTo>
                  <a:lnTo>
                    <a:pt x="1826" y="257"/>
                  </a:lnTo>
                  <a:lnTo>
                    <a:pt x="1819" y="249"/>
                  </a:lnTo>
                  <a:lnTo>
                    <a:pt x="1811" y="240"/>
                  </a:lnTo>
                  <a:lnTo>
                    <a:pt x="1803" y="230"/>
                  </a:lnTo>
                  <a:lnTo>
                    <a:pt x="1796" y="219"/>
                  </a:lnTo>
                  <a:lnTo>
                    <a:pt x="1786" y="203"/>
                  </a:lnTo>
                  <a:lnTo>
                    <a:pt x="1779" y="186"/>
                  </a:lnTo>
                  <a:lnTo>
                    <a:pt x="1772" y="171"/>
                  </a:lnTo>
                  <a:lnTo>
                    <a:pt x="1768" y="154"/>
                  </a:lnTo>
                  <a:lnTo>
                    <a:pt x="1765" y="138"/>
                  </a:lnTo>
                  <a:lnTo>
                    <a:pt x="1763" y="121"/>
                  </a:lnTo>
                  <a:lnTo>
                    <a:pt x="1762" y="102"/>
                  </a:lnTo>
                  <a:lnTo>
                    <a:pt x="1761" y="83"/>
                  </a:lnTo>
                  <a:lnTo>
                    <a:pt x="1760" y="56"/>
                  </a:lnTo>
                  <a:lnTo>
                    <a:pt x="1759" y="29"/>
                  </a:lnTo>
                  <a:lnTo>
                    <a:pt x="1758" y="23"/>
                  </a:lnTo>
                  <a:lnTo>
                    <a:pt x="1757" y="18"/>
                  </a:lnTo>
                  <a:lnTo>
                    <a:pt x="1755" y="13"/>
                  </a:lnTo>
                  <a:lnTo>
                    <a:pt x="1753" y="8"/>
                  </a:lnTo>
                  <a:lnTo>
                    <a:pt x="1750" y="4"/>
                  </a:lnTo>
                  <a:lnTo>
                    <a:pt x="1746" y="2"/>
                  </a:lnTo>
                  <a:lnTo>
                    <a:pt x="1741" y="0"/>
                  </a:lnTo>
                  <a:lnTo>
                    <a:pt x="1734" y="0"/>
                  </a:lnTo>
                  <a:lnTo>
                    <a:pt x="1727" y="0"/>
                  </a:lnTo>
                  <a:lnTo>
                    <a:pt x="1721" y="1"/>
                  </a:lnTo>
                  <a:lnTo>
                    <a:pt x="1714" y="3"/>
                  </a:lnTo>
                  <a:lnTo>
                    <a:pt x="1709" y="5"/>
                  </a:lnTo>
                  <a:lnTo>
                    <a:pt x="1702" y="8"/>
                  </a:lnTo>
                  <a:lnTo>
                    <a:pt x="1697" y="12"/>
                  </a:lnTo>
                  <a:lnTo>
                    <a:pt x="1692" y="16"/>
                  </a:lnTo>
                  <a:lnTo>
                    <a:pt x="1687" y="20"/>
                  </a:lnTo>
                  <a:lnTo>
                    <a:pt x="1679" y="29"/>
                  </a:lnTo>
                  <a:lnTo>
                    <a:pt x="1669" y="40"/>
                  </a:lnTo>
                  <a:lnTo>
                    <a:pt x="1661" y="52"/>
                  </a:lnTo>
                  <a:lnTo>
                    <a:pt x="1652" y="64"/>
                  </a:lnTo>
                  <a:lnTo>
                    <a:pt x="1646" y="77"/>
                  </a:lnTo>
                  <a:lnTo>
                    <a:pt x="1638" y="88"/>
                  </a:lnTo>
                  <a:lnTo>
                    <a:pt x="1635" y="94"/>
                  </a:lnTo>
                  <a:lnTo>
                    <a:pt x="1631" y="98"/>
                  </a:lnTo>
                  <a:lnTo>
                    <a:pt x="1628" y="99"/>
                  </a:lnTo>
                  <a:lnTo>
                    <a:pt x="1626" y="100"/>
                  </a:lnTo>
                  <a:lnTo>
                    <a:pt x="1623" y="101"/>
                  </a:lnTo>
                  <a:lnTo>
                    <a:pt x="1619" y="101"/>
                  </a:lnTo>
                  <a:lnTo>
                    <a:pt x="1607" y="100"/>
                  </a:lnTo>
                  <a:lnTo>
                    <a:pt x="1596" y="98"/>
                  </a:lnTo>
                  <a:lnTo>
                    <a:pt x="1586" y="95"/>
                  </a:lnTo>
                  <a:lnTo>
                    <a:pt x="1577" y="90"/>
                  </a:lnTo>
                  <a:lnTo>
                    <a:pt x="1559" y="79"/>
                  </a:lnTo>
                  <a:lnTo>
                    <a:pt x="1543" y="65"/>
                  </a:lnTo>
                  <a:lnTo>
                    <a:pt x="1526" y="52"/>
                  </a:lnTo>
                  <a:lnTo>
                    <a:pt x="1508" y="39"/>
                  </a:lnTo>
                  <a:lnTo>
                    <a:pt x="1499" y="35"/>
                  </a:lnTo>
                  <a:lnTo>
                    <a:pt x="1489" y="31"/>
                  </a:lnTo>
                  <a:lnTo>
                    <a:pt x="1478" y="29"/>
                  </a:lnTo>
                  <a:lnTo>
                    <a:pt x="1466" y="28"/>
                  </a:lnTo>
                  <a:lnTo>
                    <a:pt x="1460" y="29"/>
                  </a:lnTo>
                  <a:lnTo>
                    <a:pt x="1455" y="32"/>
                  </a:lnTo>
                  <a:lnTo>
                    <a:pt x="1451" y="36"/>
                  </a:lnTo>
                  <a:lnTo>
                    <a:pt x="1447" y="40"/>
                  </a:lnTo>
                  <a:lnTo>
                    <a:pt x="1440" y="52"/>
                  </a:lnTo>
                  <a:lnTo>
                    <a:pt x="1433" y="64"/>
                  </a:lnTo>
                  <a:lnTo>
                    <a:pt x="1412" y="91"/>
                  </a:lnTo>
                  <a:lnTo>
                    <a:pt x="1392" y="116"/>
                  </a:lnTo>
                  <a:lnTo>
                    <a:pt x="1387" y="122"/>
                  </a:lnTo>
                  <a:lnTo>
                    <a:pt x="1382" y="126"/>
                  </a:lnTo>
                  <a:lnTo>
                    <a:pt x="1375" y="131"/>
                  </a:lnTo>
                  <a:lnTo>
                    <a:pt x="1369" y="134"/>
                  </a:lnTo>
                  <a:lnTo>
                    <a:pt x="1362" y="138"/>
                  </a:lnTo>
                  <a:lnTo>
                    <a:pt x="1355" y="140"/>
                  </a:lnTo>
                  <a:lnTo>
                    <a:pt x="1348" y="142"/>
                  </a:lnTo>
                  <a:lnTo>
                    <a:pt x="1338" y="142"/>
                  </a:lnTo>
                  <a:lnTo>
                    <a:pt x="1307" y="141"/>
                  </a:lnTo>
                  <a:lnTo>
                    <a:pt x="1279" y="140"/>
                  </a:lnTo>
                  <a:lnTo>
                    <a:pt x="1252" y="136"/>
                  </a:lnTo>
                  <a:lnTo>
                    <a:pt x="1226" y="132"/>
                  </a:lnTo>
                  <a:lnTo>
                    <a:pt x="1200" y="127"/>
                  </a:lnTo>
                  <a:lnTo>
                    <a:pt x="1173" y="120"/>
                  </a:lnTo>
                  <a:lnTo>
                    <a:pt x="1145" y="113"/>
                  </a:lnTo>
                  <a:lnTo>
                    <a:pt x="1115" y="103"/>
                  </a:lnTo>
                  <a:lnTo>
                    <a:pt x="1090" y="94"/>
                  </a:lnTo>
                  <a:lnTo>
                    <a:pt x="1069" y="85"/>
                  </a:lnTo>
                  <a:lnTo>
                    <a:pt x="1059" y="80"/>
                  </a:lnTo>
                  <a:lnTo>
                    <a:pt x="1048" y="77"/>
                  </a:lnTo>
                  <a:lnTo>
                    <a:pt x="1035" y="75"/>
                  </a:lnTo>
                  <a:lnTo>
                    <a:pt x="1023" y="73"/>
                  </a:lnTo>
                  <a:lnTo>
                    <a:pt x="901" y="73"/>
                  </a:lnTo>
                  <a:lnTo>
                    <a:pt x="884" y="72"/>
                  </a:lnTo>
                  <a:lnTo>
                    <a:pt x="868" y="70"/>
                  </a:lnTo>
                  <a:lnTo>
                    <a:pt x="854" y="67"/>
                  </a:lnTo>
                  <a:lnTo>
                    <a:pt x="839" y="64"/>
                  </a:lnTo>
                  <a:lnTo>
                    <a:pt x="825" y="60"/>
                  </a:lnTo>
                  <a:lnTo>
                    <a:pt x="810" y="56"/>
                  </a:lnTo>
                  <a:lnTo>
                    <a:pt x="795" y="53"/>
                  </a:lnTo>
                  <a:lnTo>
                    <a:pt x="777" y="50"/>
                  </a:lnTo>
                  <a:lnTo>
                    <a:pt x="761" y="95"/>
                  </a:lnTo>
                  <a:lnTo>
                    <a:pt x="745" y="135"/>
                  </a:lnTo>
                  <a:lnTo>
                    <a:pt x="740" y="144"/>
                  </a:lnTo>
                  <a:lnTo>
                    <a:pt x="736" y="153"/>
                  </a:lnTo>
                  <a:lnTo>
                    <a:pt x="730" y="162"/>
                  </a:lnTo>
                  <a:lnTo>
                    <a:pt x="724" y="171"/>
                  </a:lnTo>
                  <a:lnTo>
                    <a:pt x="718" y="179"/>
                  </a:lnTo>
                  <a:lnTo>
                    <a:pt x="709" y="187"/>
                  </a:lnTo>
                  <a:lnTo>
                    <a:pt x="700" y="195"/>
                  </a:lnTo>
                  <a:lnTo>
                    <a:pt x="691" y="203"/>
                  </a:lnTo>
                  <a:lnTo>
                    <a:pt x="674" y="214"/>
                  </a:lnTo>
                  <a:lnTo>
                    <a:pt x="659" y="222"/>
                  </a:lnTo>
                  <a:lnTo>
                    <a:pt x="642" y="229"/>
                  </a:lnTo>
                  <a:lnTo>
                    <a:pt x="627" y="235"/>
                  </a:lnTo>
                  <a:lnTo>
                    <a:pt x="594" y="245"/>
                  </a:lnTo>
                  <a:lnTo>
                    <a:pt x="559" y="257"/>
                  </a:lnTo>
                  <a:lnTo>
                    <a:pt x="531" y="270"/>
                  </a:lnTo>
                  <a:lnTo>
                    <a:pt x="505" y="280"/>
                  </a:lnTo>
                  <a:lnTo>
                    <a:pt x="480" y="290"/>
                  </a:lnTo>
                  <a:lnTo>
                    <a:pt x="457" y="299"/>
                  </a:lnTo>
                  <a:lnTo>
                    <a:pt x="432" y="306"/>
                  </a:lnTo>
                  <a:lnTo>
                    <a:pt x="407" y="312"/>
                  </a:lnTo>
                  <a:lnTo>
                    <a:pt x="394" y="314"/>
                  </a:lnTo>
                  <a:lnTo>
                    <a:pt x="379" y="315"/>
                  </a:lnTo>
                  <a:lnTo>
                    <a:pt x="365" y="316"/>
                  </a:lnTo>
                  <a:lnTo>
                    <a:pt x="349" y="316"/>
                  </a:lnTo>
                  <a:lnTo>
                    <a:pt x="338" y="315"/>
                  </a:lnTo>
                  <a:lnTo>
                    <a:pt x="327" y="313"/>
                  </a:lnTo>
                  <a:lnTo>
                    <a:pt x="317" y="309"/>
                  </a:lnTo>
                  <a:lnTo>
                    <a:pt x="307" y="305"/>
                  </a:lnTo>
                  <a:lnTo>
                    <a:pt x="291" y="292"/>
                  </a:lnTo>
                  <a:lnTo>
                    <a:pt x="274" y="279"/>
                  </a:lnTo>
                  <a:lnTo>
                    <a:pt x="258" y="265"/>
                  </a:lnTo>
                  <a:lnTo>
                    <a:pt x="240" y="252"/>
                  </a:lnTo>
                  <a:lnTo>
                    <a:pt x="231" y="248"/>
                  </a:lnTo>
                  <a:lnTo>
                    <a:pt x="220" y="244"/>
                  </a:lnTo>
                  <a:lnTo>
                    <a:pt x="209" y="242"/>
                  </a:lnTo>
                  <a:lnTo>
                    <a:pt x="198" y="241"/>
                  </a:lnTo>
                  <a:lnTo>
                    <a:pt x="187" y="241"/>
                  </a:lnTo>
                  <a:lnTo>
                    <a:pt x="178" y="242"/>
                  </a:lnTo>
                  <a:lnTo>
                    <a:pt x="169" y="244"/>
                  </a:lnTo>
                  <a:lnTo>
                    <a:pt x="161" y="246"/>
                  </a:lnTo>
                  <a:lnTo>
                    <a:pt x="144" y="252"/>
                  </a:lnTo>
                  <a:lnTo>
                    <a:pt x="130" y="260"/>
                  </a:lnTo>
                  <a:lnTo>
                    <a:pt x="100" y="280"/>
                  </a:lnTo>
                  <a:lnTo>
                    <a:pt x="68" y="302"/>
                  </a:lnTo>
                  <a:lnTo>
                    <a:pt x="58" y="311"/>
                  </a:lnTo>
                  <a:lnTo>
                    <a:pt x="48" y="320"/>
                  </a:lnTo>
                  <a:lnTo>
                    <a:pt x="43" y="324"/>
                  </a:lnTo>
                  <a:lnTo>
                    <a:pt x="38" y="328"/>
                  </a:lnTo>
                  <a:lnTo>
                    <a:pt x="32" y="330"/>
                  </a:lnTo>
                  <a:lnTo>
                    <a:pt x="26" y="331"/>
                  </a:lnTo>
                  <a:lnTo>
                    <a:pt x="17" y="330"/>
                  </a:lnTo>
                  <a:lnTo>
                    <a:pt x="9" y="329"/>
                  </a:lnTo>
                  <a:lnTo>
                    <a:pt x="4" y="334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1"/>
                  </a:lnTo>
                  <a:lnTo>
                    <a:pt x="2" y="356"/>
                  </a:lnTo>
                  <a:lnTo>
                    <a:pt x="4" y="362"/>
                  </a:lnTo>
                  <a:lnTo>
                    <a:pt x="9" y="371"/>
                  </a:lnTo>
                  <a:lnTo>
                    <a:pt x="14" y="380"/>
                  </a:lnTo>
                  <a:lnTo>
                    <a:pt x="19" y="389"/>
                  </a:lnTo>
                  <a:lnTo>
                    <a:pt x="23" y="399"/>
                  </a:lnTo>
                  <a:lnTo>
                    <a:pt x="26" y="403"/>
                  </a:lnTo>
                  <a:lnTo>
                    <a:pt x="27" y="409"/>
                  </a:lnTo>
                  <a:lnTo>
                    <a:pt x="28" y="414"/>
                  </a:lnTo>
                  <a:lnTo>
                    <a:pt x="28" y="420"/>
                  </a:lnTo>
                  <a:lnTo>
                    <a:pt x="28" y="435"/>
                  </a:lnTo>
                  <a:lnTo>
                    <a:pt x="25" y="448"/>
                  </a:lnTo>
                  <a:lnTo>
                    <a:pt x="21" y="462"/>
                  </a:lnTo>
                  <a:lnTo>
                    <a:pt x="18" y="477"/>
                  </a:lnTo>
                  <a:lnTo>
                    <a:pt x="30" y="489"/>
                  </a:lnTo>
                  <a:lnTo>
                    <a:pt x="41" y="499"/>
                  </a:lnTo>
                  <a:lnTo>
                    <a:pt x="52" y="507"/>
                  </a:lnTo>
                  <a:lnTo>
                    <a:pt x="64" y="515"/>
                  </a:lnTo>
                  <a:lnTo>
                    <a:pt x="74" y="524"/>
                  </a:lnTo>
                  <a:lnTo>
                    <a:pt x="83" y="534"/>
                  </a:lnTo>
                  <a:lnTo>
                    <a:pt x="88" y="539"/>
                  </a:lnTo>
                  <a:lnTo>
                    <a:pt x="92" y="545"/>
                  </a:lnTo>
                  <a:lnTo>
                    <a:pt x="96" y="553"/>
                  </a:lnTo>
                  <a:lnTo>
                    <a:pt x="99" y="560"/>
                  </a:lnTo>
                  <a:lnTo>
                    <a:pt x="106" y="587"/>
                  </a:lnTo>
                  <a:lnTo>
                    <a:pt x="112" y="613"/>
                  </a:lnTo>
                  <a:lnTo>
                    <a:pt x="115" y="625"/>
                  </a:lnTo>
                  <a:lnTo>
                    <a:pt x="121" y="635"/>
                  </a:lnTo>
                  <a:lnTo>
                    <a:pt x="126" y="639"/>
                  </a:lnTo>
                  <a:lnTo>
                    <a:pt x="130" y="645"/>
                  </a:lnTo>
                  <a:lnTo>
                    <a:pt x="135" y="648"/>
                  </a:lnTo>
                  <a:lnTo>
                    <a:pt x="141" y="652"/>
                  </a:lnTo>
                  <a:lnTo>
                    <a:pt x="157" y="660"/>
                  </a:lnTo>
                  <a:lnTo>
                    <a:pt x="169" y="669"/>
                  </a:lnTo>
                  <a:lnTo>
                    <a:pt x="180" y="680"/>
                  </a:lnTo>
                  <a:lnTo>
                    <a:pt x="191" y="690"/>
                  </a:lnTo>
                  <a:lnTo>
                    <a:pt x="199" y="702"/>
                  </a:lnTo>
                  <a:lnTo>
                    <a:pt x="207" y="716"/>
                  </a:lnTo>
                  <a:lnTo>
                    <a:pt x="214" y="730"/>
                  </a:lnTo>
                  <a:lnTo>
                    <a:pt x="221" y="746"/>
                  </a:lnTo>
                  <a:lnTo>
                    <a:pt x="232" y="764"/>
                  </a:lnTo>
                  <a:lnTo>
                    <a:pt x="241" y="780"/>
                  </a:lnTo>
                  <a:lnTo>
                    <a:pt x="245" y="788"/>
                  </a:lnTo>
                  <a:lnTo>
                    <a:pt x="249" y="797"/>
                  </a:lnTo>
                  <a:lnTo>
                    <a:pt x="251" y="807"/>
                  </a:lnTo>
                  <a:lnTo>
                    <a:pt x="252" y="817"/>
                  </a:lnTo>
                  <a:lnTo>
                    <a:pt x="251" y="831"/>
                  </a:lnTo>
                  <a:lnTo>
                    <a:pt x="249" y="845"/>
                  </a:lnTo>
                  <a:lnTo>
                    <a:pt x="246" y="858"/>
                  </a:lnTo>
                  <a:lnTo>
                    <a:pt x="242" y="870"/>
                  </a:lnTo>
                  <a:lnTo>
                    <a:pt x="239" y="882"/>
                  </a:lnTo>
                  <a:lnTo>
                    <a:pt x="236" y="894"/>
                  </a:lnTo>
                  <a:lnTo>
                    <a:pt x="234" y="908"/>
                  </a:lnTo>
                  <a:lnTo>
                    <a:pt x="233" y="923"/>
                  </a:lnTo>
                  <a:lnTo>
                    <a:pt x="234" y="927"/>
                  </a:lnTo>
                  <a:lnTo>
                    <a:pt x="234" y="933"/>
                  </a:lnTo>
                  <a:lnTo>
                    <a:pt x="236" y="937"/>
                  </a:lnTo>
                  <a:lnTo>
                    <a:pt x="238" y="940"/>
                  </a:lnTo>
                  <a:lnTo>
                    <a:pt x="242" y="947"/>
                  </a:lnTo>
                  <a:lnTo>
                    <a:pt x="248" y="953"/>
                  </a:lnTo>
                  <a:lnTo>
                    <a:pt x="264" y="964"/>
                  </a:lnTo>
                  <a:lnTo>
                    <a:pt x="280" y="975"/>
                  </a:lnTo>
                  <a:lnTo>
                    <a:pt x="294" y="985"/>
                  </a:lnTo>
                  <a:lnTo>
                    <a:pt x="306" y="996"/>
                  </a:lnTo>
                  <a:lnTo>
                    <a:pt x="317" y="1005"/>
                  </a:lnTo>
                  <a:lnTo>
                    <a:pt x="327" y="1016"/>
                  </a:lnTo>
                  <a:lnTo>
                    <a:pt x="336" y="1027"/>
                  </a:lnTo>
                  <a:lnTo>
                    <a:pt x="343" y="1039"/>
                  </a:lnTo>
                  <a:lnTo>
                    <a:pt x="346" y="1046"/>
                  </a:lnTo>
                  <a:lnTo>
                    <a:pt x="349" y="1053"/>
                  </a:lnTo>
                  <a:lnTo>
                    <a:pt x="351" y="1061"/>
                  </a:lnTo>
                  <a:lnTo>
                    <a:pt x="353" y="1069"/>
                  </a:lnTo>
                  <a:lnTo>
                    <a:pt x="358" y="1088"/>
                  </a:lnTo>
                  <a:lnTo>
                    <a:pt x="362" y="1105"/>
                  </a:lnTo>
                  <a:lnTo>
                    <a:pt x="367" y="1122"/>
                  </a:lnTo>
                  <a:lnTo>
                    <a:pt x="373" y="1137"/>
                  </a:lnTo>
                  <a:lnTo>
                    <a:pt x="376" y="1144"/>
                  </a:lnTo>
                  <a:lnTo>
                    <a:pt x="381" y="1151"/>
                  </a:lnTo>
                  <a:lnTo>
                    <a:pt x="385" y="1157"/>
                  </a:lnTo>
                  <a:lnTo>
                    <a:pt x="391" y="1163"/>
                  </a:lnTo>
                  <a:lnTo>
                    <a:pt x="397" y="1169"/>
                  </a:lnTo>
                  <a:lnTo>
                    <a:pt x="404" y="1174"/>
                  </a:lnTo>
                  <a:lnTo>
                    <a:pt x="411" y="1178"/>
                  </a:lnTo>
                  <a:lnTo>
                    <a:pt x="419" y="1183"/>
                  </a:lnTo>
                  <a:lnTo>
                    <a:pt x="438" y="1190"/>
                  </a:lnTo>
                  <a:lnTo>
                    <a:pt x="455" y="1197"/>
                  </a:lnTo>
                  <a:lnTo>
                    <a:pt x="462" y="1200"/>
                  </a:lnTo>
                  <a:lnTo>
                    <a:pt x="470" y="1204"/>
                  </a:lnTo>
                  <a:lnTo>
                    <a:pt x="477" y="1209"/>
                  </a:lnTo>
                  <a:lnTo>
                    <a:pt x="485" y="1216"/>
                  </a:lnTo>
                  <a:lnTo>
                    <a:pt x="485" y="1263"/>
                  </a:lnTo>
                  <a:lnTo>
                    <a:pt x="497" y="1338"/>
                  </a:lnTo>
                  <a:lnTo>
                    <a:pt x="495" y="1355"/>
                  </a:lnTo>
                  <a:lnTo>
                    <a:pt x="491" y="1369"/>
                  </a:lnTo>
                  <a:lnTo>
                    <a:pt x="485" y="1382"/>
                  </a:lnTo>
                  <a:lnTo>
                    <a:pt x="480" y="1395"/>
                  </a:lnTo>
                  <a:lnTo>
                    <a:pt x="475" y="1408"/>
                  </a:lnTo>
                  <a:lnTo>
                    <a:pt x="471" y="1421"/>
                  </a:lnTo>
                  <a:lnTo>
                    <a:pt x="469" y="1428"/>
                  </a:lnTo>
                  <a:lnTo>
                    <a:pt x="468" y="1436"/>
                  </a:lnTo>
                  <a:lnTo>
                    <a:pt x="467" y="1444"/>
                  </a:lnTo>
                  <a:lnTo>
                    <a:pt x="467" y="1452"/>
                  </a:lnTo>
                  <a:lnTo>
                    <a:pt x="467" y="1458"/>
                  </a:lnTo>
                  <a:lnTo>
                    <a:pt x="468" y="1463"/>
                  </a:lnTo>
                  <a:lnTo>
                    <a:pt x="469" y="1469"/>
                  </a:lnTo>
                  <a:lnTo>
                    <a:pt x="471" y="1474"/>
                  </a:lnTo>
                  <a:lnTo>
                    <a:pt x="476" y="1482"/>
                  </a:lnTo>
                  <a:lnTo>
                    <a:pt x="483" y="1490"/>
                  </a:lnTo>
                  <a:lnTo>
                    <a:pt x="500" y="1505"/>
                  </a:lnTo>
                  <a:lnTo>
                    <a:pt x="518" y="1520"/>
                  </a:lnTo>
                  <a:lnTo>
                    <a:pt x="559" y="1552"/>
                  </a:lnTo>
                  <a:lnTo>
                    <a:pt x="596" y="1581"/>
                  </a:lnTo>
                  <a:lnTo>
                    <a:pt x="604" y="1589"/>
                  </a:lnTo>
                  <a:lnTo>
                    <a:pt x="611" y="1598"/>
                  </a:lnTo>
                  <a:lnTo>
                    <a:pt x="617" y="1607"/>
                  </a:lnTo>
                  <a:lnTo>
                    <a:pt x="624" y="1616"/>
                  </a:lnTo>
                  <a:lnTo>
                    <a:pt x="628" y="1627"/>
                  </a:lnTo>
                  <a:lnTo>
                    <a:pt x="631" y="1637"/>
                  </a:lnTo>
                  <a:lnTo>
                    <a:pt x="633" y="1649"/>
                  </a:lnTo>
                  <a:lnTo>
                    <a:pt x="634" y="1662"/>
                  </a:lnTo>
                  <a:lnTo>
                    <a:pt x="633" y="1674"/>
                  </a:lnTo>
                  <a:lnTo>
                    <a:pt x="632" y="1684"/>
                  </a:lnTo>
                  <a:lnTo>
                    <a:pt x="630" y="1694"/>
                  </a:lnTo>
                  <a:lnTo>
                    <a:pt x="627" y="1703"/>
                  </a:lnTo>
                  <a:lnTo>
                    <a:pt x="621" y="1722"/>
                  </a:lnTo>
                  <a:lnTo>
                    <a:pt x="612" y="1742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 dirty="0" err="1">
                  <a:latin typeface="Calibri" panose="020F0502020204030204" pitchFamily="34" charset="0"/>
                </a:rPr>
                <a:t>Poltava</a:t>
              </a:r>
              <a:endParaRPr lang="ru-RU" altLang="ru-RU" sz="675" dirty="0">
                <a:latin typeface="Calibri" panose="020F0502020204030204" pitchFamily="34" charset="0"/>
              </a:endParaRPr>
            </a:p>
          </p:txBody>
        </p:sp>
        <p:sp>
          <p:nvSpPr>
            <p:cNvPr id="26" name="Sumy"/>
            <p:cNvSpPr>
              <a:spLocks/>
            </p:cNvSpPr>
            <p:nvPr/>
          </p:nvSpPr>
          <p:spPr bwMode="auto">
            <a:xfrm>
              <a:off x="3308" y="1063"/>
              <a:ext cx="674" cy="842"/>
            </a:xfrm>
            <a:custGeom>
              <a:avLst/>
              <a:gdLst>
                <a:gd name="T0" fmla="*/ 371 w 2233"/>
                <a:gd name="T1" fmla="*/ 255 h 2871"/>
                <a:gd name="T2" fmla="*/ 371 w 2233"/>
                <a:gd name="T3" fmla="*/ 255 h 2871"/>
                <a:gd name="T4" fmla="*/ 371 w 2233"/>
                <a:gd name="T5" fmla="*/ 255 h 2871"/>
                <a:gd name="T6" fmla="*/ 371 w 2233"/>
                <a:gd name="T7" fmla="*/ 255 h 2871"/>
                <a:gd name="T8" fmla="*/ 371 w 2233"/>
                <a:gd name="T9" fmla="*/ 255 h 2871"/>
                <a:gd name="T10" fmla="*/ 371 w 2233"/>
                <a:gd name="T11" fmla="*/ 255 h 2871"/>
                <a:gd name="T12" fmla="*/ 371 w 2233"/>
                <a:gd name="T13" fmla="*/ 255 h 2871"/>
                <a:gd name="T14" fmla="*/ 371 w 2233"/>
                <a:gd name="T15" fmla="*/ 255 h 2871"/>
                <a:gd name="T16" fmla="*/ 371 w 2233"/>
                <a:gd name="T17" fmla="*/ 255 h 2871"/>
                <a:gd name="T18" fmla="*/ 371 w 2233"/>
                <a:gd name="T19" fmla="*/ 255 h 2871"/>
                <a:gd name="T20" fmla="*/ 371 w 2233"/>
                <a:gd name="T21" fmla="*/ 255 h 2871"/>
                <a:gd name="T22" fmla="*/ 371 w 2233"/>
                <a:gd name="T23" fmla="*/ 255 h 2871"/>
                <a:gd name="T24" fmla="*/ 371 w 2233"/>
                <a:gd name="T25" fmla="*/ 255 h 2871"/>
                <a:gd name="T26" fmla="*/ 371 w 2233"/>
                <a:gd name="T27" fmla="*/ 255 h 2871"/>
                <a:gd name="T28" fmla="*/ 371 w 2233"/>
                <a:gd name="T29" fmla="*/ 255 h 2871"/>
                <a:gd name="T30" fmla="*/ 371 w 2233"/>
                <a:gd name="T31" fmla="*/ 255 h 2871"/>
                <a:gd name="T32" fmla="*/ 371 w 2233"/>
                <a:gd name="T33" fmla="*/ 255 h 2871"/>
                <a:gd name="T34" fmla="*/ 371 w 2233"/>
                <a:gd name="T35" fmla="*/ 255 h 2871"/>
                <a:gd name="T36" fmla="*/ 371 w 2233"/>
                <a:gd name="T37" fmla="*/ 255 h 2871"/>
                <a:gd name="T38" fmla="*/ 371 w 2233"/>
                <a:gd name="T39" fmla="*/ 255 h 2871"/>
                <a:gd name="T40" fmla="*/ 371 w 2233"/>
                <a:gd name="T41" fmla="*/ 255 h 2871"/>
                <a:gd name="T42" fmla="*/ 371 w 2233"/>
                <a:gd name="T43" fmla="*/ 255 h 2871"/>
                <a:gd name="T44" fmla="*/ 371 w 2233"/>
                <a:gd name="T45" fmla="*/ 255 h 2871"/>
                <a:gd name="T46" fmla="*/ 371 w 2233"/>
                <a:gd name="T47" fmla="*/ 255 h 2871"/>
                <a:gd name="T48" fmla="*/ 371 w 2233"/>
                <a:gd name="T49" fmla="*/ 255 h 2871"/>
                <a:gd name="T50" fmla="*/ 371 w 2233"/>
                <a:gd name="T51" fmla="*/ 255 h 2871"/>
                <a:gd name="T52" fmla="*/ 371 w 2233"/>
                <a:gd name="T53" fmla="*/ 255 h 2871"/>
                <a:gd name="T54" fmla="*/ 371 w 2233"/>
                <a:gd name="T55" fmla="*/ 255 h 2871"/>
                <a:gd name="T56" fmla="*/ 371 w 2233"/>
                <a:gd name="T57" fmla="*/ 255 h 2871"/>
                <a:gd name="T58" fmla="*/ 371 w 2233"/>
                <a:gd name="T59" fmla="*/ 255 h 2871"/>
                <a:gd name="T60" fmla="*/ 371 w 2233"/>
                <a:gd name="T61" fmla="*/ 255 h 2871"/>
                <a:gd name="T62" fmla="*/ 371 w 2233"/>
                <a:gd name="T63" fmla="*/ 255 h 2871"/>
                <a:gd name="T64" fmla="*/ 371 w 2233"/>
                <a:gd name="T65" fmla="*/ 255 h 2871"/>
                <a:gd name="T66" fmla="*/ 371 w 2233"/>
                <a:gd name="T67" fmla="*/ 255 h 2871"/>
                <a:gd name="T68" fmla="*/ 371 w 2233"/>
                <a:gd name="T69" fmla="*/ 255 h 2871"/>
                <a:gd name="T70" fmla="*/ 371 w 2233"/>
                <a:gd name="T71" fmla="*/ 255 h 2871"/>
                <a:gd name="T72" fmla="*/ 371 w 2233"/>
                <a:gd name="T73" fmla="*/ 255 h 2871"/>
                <a:gd name="T74" fmla="*/ 371 w 2233"/>
                <a:gd name="T75" fmla="*/ 255 h 2871"/>
                <a:gd name="T76" fmla="*/ 371 w 2233"/>
                <a:gd name="T77" fmla="*/ 255 h 2871"/>
                <a:gd name="T78" fmla="*/ 371 w 2233"/>
                <a:gd name="T79" fmla="*/ 255 h 2871"/>
                <a:gd name="T80" fmla="*/ 371 w 2233"/>
                <a:gd name="T81" fmla="*/ 255 h 2871"/>
                <a:gd name="T82" fmla="*/ 371 w 2233"/>
                <a:gd name="T83" fmla="*/ 255 h 2871"/>
                <a:gd name="T84" fmla="*/ 371 w 2233"/>
                <a:gd name="T85" fmla="*/ 255 h 2871"/>
                <a:gd name="T86" fmla="*/ 371 w 2233"/>
                <a:gd name="T87" fmla="*/ 255 h 2871"/>
                <a:gd name="T88" fmla="*/ 371 w 2233"/>
                <a:gd name="T89" fmla="*/ 255 h 2871"/>
                <a:gd name="T90" fmla="*/ 371 w 2233"/>
                <a:gd name="T91" fmla="*/ 255 h 2871"/>
                <a:gd name="T92" fmla="*/ 371 w 2233"/>
                <a:gd name="T93" fmla="*/ 255 h 2871"/>
                <a:gd name="T94" fmla="*/ 371 w 2233"/>
                <a:gd name="T95" fmla="*/ 255 h 2871"/>
                <a:gd name="T96" fmla="*/ 371 w 2233"/>
                <a:gd name="T97" fmla="*/ 255 h 2871"/>
                <a:gd name="T98" fmla="*/ 371 w 2233"/>
                <a:gd name="T99" fmla="*/ 255 h 2871"/>
                <a:gd name="T100" fmla="*/ 371 w 2233"/>
                <a:gd name="T101" fmla="*/ 255 h 2871"/>
                <a:gd name="T102" fmla="*/ 371 w 2233"/>
                <a:gd name="T103" fmla="*/ 255 h 2871"/>
                <a:gd name="T104" fmla="*/ 371 w 2233"/>
                <a:gd name="T105" fmla="*/ 255 h 2871"/>
                <a:gd name="T106" fmla="*/ 371 w 2233"/>
                <a:gd name="T107" fmla="*/ 255 h 2871"/>
                <a:gd name="T108" fmla="*/ 371 w 2233"/>
                <a:gd name="T109" fmla="*/ 255 h 2871"/>
                <a:gd name="T110" fmla="*/ 371 w 2233"/>
                <a:gd name="T111" fmla="*/ 255 h 2871"/>
                <a:gd name="T112" fmla="*/ 371 w 2233"/>
                <a:gd name="T113" fmla="*/ 255 h 2871"/>
                <a:gd name="T114" fmla="*/ 371 w 2233"/>
                <a:gd name="T115" fmla="*/ 255 h 2871"/>
                <a:gd name="T116" fmla="*/ 371 w 2233"/>
                <a:gd name="T117" fmla="*/ 255 h 2871"/>
                <a:gd name="T118" fmla="*/ 371 w 2233"/>
                <a:gd name="T119" fmla="*/ 255 h 2871"/>
                <a:gd name="T120" fmla="*/ 371 w 2233"/>
                <a:gd name="T121" fmla="*/ 255 h 2871"/>
                <a:gd name="T122" fmla="*/ 371 w 2233"/>
                <a:gd name="T123" fmla="*/ 255 h 2871"/>
                <a:gd name="T124" fmla="*/ 371 w 2233"/>
                <a:gd name="T125" fmla="*/ 255 h 287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33"/>
                <a:gd name="T190" fmla="*/ 0 h 2871"/>
                <a:gd name="T191" fmla="*/ 2233 w 2233"/>
                <a:gd name="T192" fmla="*/ 2871 h 287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33" h="2871">
                  <a:moveTo>
                    <a:pt x="1655" y="2803"/>
                  </a:moveTo>
                  <a:lnTo>
                    <a:pt x="1668" y="2787"/>
                  </a:lnTo>
                  <a:lnTo>
                    <a:pt x="1678" y="2773"/>
                  </a:lnTo>
                  <a:lnTo>
                    <a:pt x="1684" y="2766"/>
                  </a:lnTo>
                  <a:lnTo>
                    <a:pt x="1691" y="2762"/>
                  </a:lnTo>
                  <a:lnTo>
                    <a:pt x="1695" y="2760"/>
                  </a:lnTo>
                  <a:lnTo>
                    <a:pt x="1699" y="2758"/>
                  </a:lnTo>
                  <a:lnTo>
                    <a:pt x="1703" y="2758"/>
                  </a:lnTo>
                  <a:lnTo>
                    <a:pt x="1707" y="2757"/>
                  </a:lnTo>
                  <a:lnTo>
                    <a:pt x="1713" y="2758"/>
                  </a:lnTo>
                  <a:lnTo>
                    <a:pt x="1718" y="2759"/>
                  </a:lnTo>
                  <a:lnTo>
                    <a:pt x="1724" y="2760"/>
                  </a:lnTo>
                  <a:lnTo>
                    <a:pt x="1728" y="2763"/>
                  </a:lnTo>
                  <a:lnTo>
                    <a:pt x="1735" y="2770"/>
                  </a:lnTo>
                  <a:lnTo>
                    <a:pt x="1742" y="2777"/>
                  </a:lnTo>
                  <a:lnTo>
                    <a:pt x="1753" y="2796"/>
                  </a:lnTo>
                  <a:lnTo>
                    <a:pt x="1767" y="2817"/>
                  </a:lnTo>
                  <a:lnTo>
                    <a:pt x="1774" y="2790"/>
                  </a:lnTo>
                  <a:lnTo>
                    <a:pt x="1779" y="2766"/>
                  </a:lnTo>
                  <a:lnTo>
                    <a:pt x="1783" y="2743"/>
                  </a:lnTo>
                  <a:lnTo>
                    <a:pt x="1787" y="2715"/>
                  </a:lnTo>
                  <a:lnTo>
                    <a:pt x="1801" y="2715"/>
                  </a:lnTo>
                  <a:lnTo>
                    <a:pt x="1813" y="2715"/>
                  </a:lnTo>
                  <a:lnTo>
                    <a:pt x="1827" y="2716"/>
                  </a:lnTo>
                  <a:lnTo>
                    <a:pt x="1839" y="2717"/>
                  </a:lnTo>
                  <a:lnTo>
                    <a:pt x="1849" y="2711"/>
                  </a:lnTo>
                  <a:lnTo>
                    <a:pt x="1858" y="2703"/>
                  </a:lnTo>
                  <a:lnTo>
                    <a:pt x="1865" y="2696"/>
                  </a:lnTo>
                  <a:lnTo>
                    <a:pt x="1872" y="2689"/>
                  </a:lnTo>
                  <a:lnTo>
                    <a:pt x="1884" y="2673"/>
                  </a:lnTo>
                  <a:lnTo>
                    <a:pt x="1899" y="2656"/>
                  </a:lnTo>
                  <a:lnTo>
                    <a:pt x="1908" y="2639"/>
                  </a:lnTo>
                  <a:lnTo>
                    <a:pt x="1916" y="2624"/>
                  </a:lnTo>
                  <a:lnTo>
                    <a:pt x="1922" y="2617"/>
                  </a:lnTo>
                  <a:lnTo>
                    <a:pt x="1928" y="2612"/>
                  </a:lnTo>
                  <a:lnTo>
                    <a:pt x="1931" y="2609"/>
                  </a:lnTo>
                  <a:lnTo>
                    <a:pt x="1935" y="2607"/>
                  </a:lnTo>
                  <a:lnTo>
                    <a:pt x="1939" y="2606"/>
                  </a:lnTo>
                  <a:lnTo>
                    <a:pt x="1943" y="2606"/>
                  </a:lnTo>
                  <a:lnTo>
                    <a:pt x="1958" y="2608"/>
                  </a:lnTo>
                  <a:lnTo>
                    <a:pt x="1972" y="2612"/>
                  </a:lnTo>
                  <a:lnTo>
                    <a:pt x="2018" y="2612"/>
                  </a:lnTo>
                  <a:lnTo>
                    <a:pt x="2051" y="2612"/>
                  </a:lnTo>
                  <a:lnTo>
                    <a:pt x="2083" y="2610"/>
                  </a:lnTo>
                  <a:lnTo>
                    <a:pt x="2100" y="2609"/>
                  </a:lnTo>
                  <a:lnTo>
                    <a:pt x="2114" y="2607"/>
                  </a:lnTo>
                  <a:lnTo>
                    <a:pt x="2130" y="2605"/>
                  </a:lnTo>
                  <a:lnTo>
                    <a:pt x="2144" y="2602"/>
                  </a:lnTo>
                  <a:lnTo>
                    <a:pt x="2158" y="2598"/>
                  </a:lnTo>
                  <a:lnTo>
                    <a:pt x="2171" y="2593"/>
                  </a:lnTo>
                  <a:lnTo>
                    <a:pt x="2183" y="2586"/>
                  </a:lnTo>
                  <a:lnTo>
                    <a:pt x="2195" y="2578"/>
                  </a:lnTo>
                  <a:lnTo>
                    <a:pt x="2206" y="2569"/>
                  </a:lnTo>
                  <a:lnTo>
                    <a:pt x="2215" y="2559"/>
                  </a:lnTo>
                  <a:lnTo>
                    <a:pt x="2225" y="2546"/>
                  </a:lnTo>
                  <a:lnTo>
                    <a:pt x="2233" y="2532"/>
                  </a:lnTo>
                  <a:lnTo>
                    <a:pt x="2226" y="2531"/>
                  </a:lnTo>
                  <a:lnTo>
                    <a:pt x="2219" y="2531"/>
                  </a:lnTo>
                  <a:lnTo>
                    <a:pt x="2211" y="2529"/>
                  </a:lnTo>
                  <a:lnTo>
                    <a:pt x="2204" y="2528"/>
                  </a:lnTo>
                  <a:lnTo>
                    <a:pt x="2198" y="2525"/>
                  </a:lnTo>
                  <a:lnTo>
                    <a:pt x="2192" y="2522"/>
                  </a:lnTo>
                  <a:lnTo>
                    <a:pt x="2186" y="2518"/>
                  </a:lnTo>
                  <a:lnTo>
                    <a:pt x="2179" y="2512"/>
                  </a:lnTo>
                  <a:lnTo>
                    <a:pt x="2173" y="2506"/>
                  </a:lnTo>
                  <a:lnTo>
                    <a:pt x="2168" y="2500"/>
                  </a:lnTo>
                  <a:lnTo>
                    <a:pt x="2164" y="2493"/>
                  </a:lnTo>
                  <a:lnTo>
                    <a:pt x="2161" y="2487"/>
                  </a:lnTo>
                  <a:lnTo>
                    <a:pt x="2157" y="2472"/>
                  </a:lnTo>
                  <a:lnTo>
                    <a:pt x="2154" y="2458"/>
                  </a:lnTo>
                  <a:lnTo>
                    <a:pt x="2150" y="2443"/>
                  </a:lnTo>
                  <a:lnTo>
                    <a:pt x="2147" y="2429"/>
                  </a:lnTo>
                  <a:lnTo>
                    <a:pt x="2145" y="2420"/>
                  </a:lnTo>
                  <a:lnTo>
                    <a:pt x="2142" y="2413"/>
                  </a:lnTo>
                  <a:lnTo>
                    <a:pt x="2139" y="2406"/>
                  </a:lnTo>
                  <a:lnTo>
                    <a:pt x="2134" y="2399"/>
                  </a:lnTo>
                  <a:lnTo>
                    <a:pt x="2131" y="2395"/>
                  </a:lnTo>
                  <a:lnTo>
                    <a:pt x="2128" y="2392"/>
                  </a:lnTo>
                  <a:lnTo>
                    <a:pt x="2124" y="2389"/>
                  </a:lnTo>
                  <a:lnTo>
                    <a:pt x="2120" y="2387"/>
                  </a:lnTo>
                  <a:lnTo>
                    <a:pt x="2111" y="2384"/>
                  </a:lnTo>
                  <a:lnTo>
                    <a:pt x="2102" y="2382"/>
                  </a:lnTo>
                  <a:lnTo>
                    <a:pt x="2094" y="2381"/>
                  </a:lnTo>
                  <a:lnTo>
                    <a:pt x="2084" y="2378"/>
                  </a:lnTo>
                  <a:lnTo>
                    <a:pt x="2080" y="2377"/>
                  </a:lnTo>
                  <a:lnTo>
                    <a:pt x="2076" y="2374"/>
                  </a:lnTo>
                  <a:lnTo>
                    <a:pt x="2072" y="2372"/>
                  </a:lnTo>
                  <a:lnTo>
                    <a:pt x="2068" y="2368"/>
                  </a:lnTo>
                  <a:lnTo>
                    <a:pt x="2061" y="2359"/>
                  </a:lnTo>
                  <a:lnTo>
                    <a:pt x="2054" y="2349"/>
                  </a:lnTo>
                  <a:lnTo>
                    <a:pt x="2048" y="2340"/>
                  </a:lnTo>
                  <a:lnTo>
                    <a:pt x="2044" y="2331"/>
                  </a:lnTo>
                  <a:lnTo>
                    <a:pt x="2037" y="2311"/>
                  </a:lnTo>
                  <a:lnTo>
                    <a:pt x="2032" y="2292"/>
                  </a:lnTo>
                  <a:lnTo>
                    <a:pt x="2028" y="2272"/>
                  </a:lnTo>
                  <a:lnTo>
                    <a:pt x="2023" y="2251"/>
                  </a:lnTo>
                  <a:lnTo>
                    <a:pt x="2021" y="2241"/>
                  </a:lnTo>
                  <a:lnTo>
                    <a:pt x="2016" y="2229"/>
                  </a:lnTo>
                  <a:lnTo>
                    <a:pt x="2012" y="2219"/>
                  </a:lnTo>
                  <a:lnTo>
                    <a:pt x="2007" y="2208"/>
                  </a:lnTo>
                  <a:lnTo>
                    <a:pt x="2008" y="2203"/>
                  </a:lnTo>
                  <a:lnTo>
                    <a:pt x="2010" y="2197"/>
                  </a:lnTo>
                  <a:lnTo>
                    <a:pt x="2013" y="2193"/>
                  </a:lnTo>
                  <a:lnTo>
                    <a:pt x="2016" y="2190"/>
                  </a:lnTo>
                  <a:lnTo>
                    <a:pt x="2024" y="2183"/>
                  </a:lnTo>
                  <a:lnTo>
                    <a:pt x="2031" y="2176"/>
                  </a:lnTo>
                  <a:lnTo>
                    <a:pt x="2038" y="2170"/>
                  </a:lnTo>
                  <a:lnTo>
                    <a:pt x="2043" y="2162"/>
                  </a:lnTo>
                  <a:lnTo>
                    <a:pt x="2046" y="2158"/>
                  </a:lnTo>
                  <a:lnTo>
                    <a:pt x="2047" y="2154"/>
                  </a:lnTo>
                  <a:lnTo>
                    <a:pt x="2048" y="2149"/>
                  </a:lnTo>
                  <a:lnTo>
                    <a:pt x="2049" y="2145"/>
                  </a:lnTo>
                  <a:lnTo>
                    <a:pt x="2048" y="2133"/>
                  </a:lnTo>
                  <a:lnTo>
                    <a:pt x="2047" y="2122"/>
                  </a:lnTo>
                  <a:lnTo>
                    <a:pt x="2046" y="2109"/>
                  </a:lnTo>
                  <a:lnTo>
                    <a:pt x="2047" y="2096"/>
                  </a:lnTo>
                  <a:lnTo>
                    <a:pt x="2048" y="2084"/>
                  </a:lnTo>
                  <a:lnTo>
                    <a:pt x="2049" y="2070"/>
                  </a:lnTo>
                  <a:lnTo>
                    <a:pt x="2049" y="2058"/>
                  </a:lnTo>
                  <a:lnTo>
                    <a:pt x="2048" y="2047"/>
                  </a:lnTo>
                  <a:lnTo>
                    <a:pt x="2046" y="2036"/>
                  </a:lnTo>
                  <a:lnTo>
                    <a:pt x="2044" y="2026"/>
                  </a:lnTo>
                  <a:lnTo>
                    <a:pt x="2040" y="2017"/>
                  </a:lnTo>
                  <a:lnTo>
                    <a:pt x="2035" y="2007"/>
                  </a:lnTo>
                  <a:lnTo>
                    <a:pt x="2028" y="2000"/>
                  </a:lnTo>
                  <a:lnTo>
                    <a:pt x="2018" y="1993"/>
                  </a:lnTo>
                  <a:lnTo>
                    <a:pt x="2008" y="1987"/>
                  </a:lnTo>
                  <a:lnTo>
                    <a:pt x="1998" y="1983"/>
                  </a:lnTo>
                  <a:lnTo>
                    <a:pt x="1994" y="1981"/>
                  </a:lnTo>
                  <a:lnTo>
                    <a:pt x="1989" y="1977"/>
                  </a:lnTo>
                  <a:lnTo>
                    <a:pt x="1984" y="1973"/>
                  </a:lnTo>
                  <a:lnTo>
                    <a:pt x="1981" y="1969"/>
                  </a:lnTo>
                  <a:lnTo>
                    <a:pt x="1972" y="1954"/>
                  </a:lnTo>
                  <a:lnTo>
                    <a:pt x="1966" y="1939"/>
                  </a:lnTo>
                  <a:lnTo>
                    <a:pt x="1961" y="1925"/>
                  </a:lnTo>
                  <a:lnTo>
                    <a:pt x="1958" y="1910"/>
                  </a:lnTo>
                  <a:lnTo>
                    <a:pt x="1951" y="1879"/>
                  </a:lnTo>
                  <a:lnTo>
                    <a:pt x="1943" y="1846"/>
                  </a:lnTo>
                  <a:lnTo>
                    <a:pt x="1938" y="1833"/>
                  </a:lnTo>
                  <a:lnTo>
                    <a:pt x="1932" y="1822"/>
                  </a:lnTo>
                  <a:lnTo>
                    <a:pt x="1926" y="1810"/>
                  </a:lnTo>
                  <a:lnTo>
                    <a:pt x="1919" y="1800"/>
                  </a:lnTo>
                  <a:lnTo>
                    <a:pt x="1914" y="1790"/>
                  </a:lnTo>
                  <a:lnTo>
                    <a:pt x="1909" y="1778"/>
                  </a:lnTo>
                  <a:lnTo>
                    <a:pt x="1908" y="1772"/>
                  </a:lnTo>
                  <a:lnTo>
                    <a:pt x="1907" y="1766"/>
                  </a:lnTo>
                  <a:lnTo>
                    <a:pt x="1906" y="1759"/>
                  </a:lnTo>
                  <a:lnTo>
                    <a:pt x="1905" y="1752"/>
                  </a:lnTo>
                  <a:lnTo>
                    <a:pt x="1906" y="1747"/>
                  </a:lnTo>
                  <a:lnTo>
                    <a:pt x="1907" y="1742"/>
                  </a:lnTo>
                  <a:lnTo>
                    <a:pt x="1908" y="1738"/>
                  </a:lnTo>
                  <a:lnTo>
                    <a:pt x="1910" y="1734"/>
                  </a:lnTo>
                  <a:lnTo>
                    <a:pt x="1916" y="1727"/>
                  </a:lnTo>
                  <a:lnTo>
                    <a:pt x="1922" y="1719"/>
                  </a:lnTo>
                  <a:lnTo>
                    <a:pt x="1928" y="1712"/>
                  </a:lnTo>
                  <a:lnTo>
                    <a:pt x="1933" y="1705"/>
                  </a:lnTo>
                  <a:lnTo>
                    <a:pt x="1935" y="1701"/>
                  </a:lnTo>
                  <a:lnTo>
                    <a:pt x="1937" y="1697"/>
                  </a:lnTo>
                  <a:lnTo>
                    <a:pt x="1938" y="1691"/>
                  </a:lnTo>
                  <a:lnTo>
                    <a:pt x="1938" y="1686"/>
                  </a:lnTo>
                  <a:lnTo>
                    <a:pt x="1938" y="1678"/>
                  </a:lnTo>
                  <a:lnTo>
                    <a:pt x="1936" y="1669"/>
                  </a:lnTo>
                  <a:lnTo>
                    <a:pt x="1911" y="1668"/>
                  </a:lnTo>
                  <a:lnTo>
                    <a:pt x="1888" y="1668"/>
                  </a:lnTo>
                  <a:lnTo>
                    <a:pt x="1865" y="1668"/>
                  </a:lnTo>
                  <a:lnTo>
                    <a:pt x="1843" y="1668"/>
                  </a:lnTo>
                  <a:lnTo>
                    <a:pt x="1833" y="1668"/>
                  </a:lnTo>
                  <a:lnTo>
                    <a:pt x="1823" y="1666"/>
                  </a:lnTo>
                  <a:lnTo>
                    <a:pt x="1812" y="1664"/>
                  </a:lnTo>
                  <a:lnTo>
                    <a:pt x="1803" y="1660"/>
                  </a:lnTo>
                  <a:lnTo>
                    <a:pt x="1794" y="1656"/>
                  </a:lnTo>
                  <a:lnTo>
                    <a:pt x="1784" y="1651"/>
                  </a:lnTo>
                  <a:lnTo>
                    <a:pt x="1775" y="1645"/>
                  </a:lnTo>
                  <a:lnTo>
                    <a:pt x="1767" y="1636"/>
                  </a:lnTo>
                  <a:lnTo>
                    <a:pt x="1759" y="1626"/>
                  </a:lnTo>
                  <a:lnTo>
                    <a:pt x="1753" y="1617"/>
                  </a:lnTo>
                  <a:lnTo>
                    <a:pt x="1749" y="1608"/>
                  </a:lnTo>
                  <a:lnTo>
                    <a:pt x="1746" y="1597"/>
                  </a:lnTo>
                  <a:lnTo>
                    <a:pt x="1741" y="1577"/>
                  </a:lnTo>
                  <a:lnTo>
                    <a:pt x="1736" y="1553"/>
                  </a:lnTo>
                  <a:lnTo>
                    <a:pt x="1731" y="1539"/>
                  </a:lnTo>
                  <a:lnTo>
                    <a:pt x="1725" y="1525"/>
                  </a:lnTo>
                  <a:lnTo>
                    <a:pt x="1719" y="1512"/>
                  </a:lnTo>
                  <a:lnTo>
                    <a:pt x="1713" y="1500"/>
                  </a:lnTo>
                  <a:lnTo>
                    <a:pt x="1708" y="1488"/>
                  </a:lnTo>
                  <a:lnTo>
                    <a:pt x="1704" y="1475"/>
                  </a:lnTo>
                  <a:lnTo>
                    <a:pt x="1702" y="1461"/>
                  </a:lnTo>
                  <a:lnTo>
                    <a:pt x="1701" y="1446"/>
                  </a:lnTo>
                  <a:lnTo>
                    <a:pt x="1691" y="1446"/>
                  </a:lnTo>
                  <a:lnTo>
                    <a:pt x="1682" y="1446"/>
                  </a:lnTo>
                  <a:lnTo>
                    <a:pt x="1673" y="1445"/>
                  </a:lnTo>
                  <a:lnTo>
                    <a:pt x="1664" y="1445"/>
                  </a:lnTo>
                  <a:lnTo>
                    <a:pt x="1642" y="1446"/>
                  </a:lnTo>
                  <a:lnTo>
                    <a:pt x="1622" y="1448"/>
                  </a:lnTo>
                  <a:lnTo>
                    <a:pt x="1604" y="1451"/>
                  </a:lnTo>
                  <a:lnTo>
                    <a:pt x="1585" y="1454"/>
                  </a:lnTo>
                  <a:lnTo>
                    <a:pt x="1551" y="1463"/>
                  </a:lnTo>
                  <a:lnTo>
                    <a:pt x="1518" y="1475"/>
                  </a:lnTo>
                  <a:lnTo>
                    <a:pt x="1485" y="1485"/>
                  </a:lnTo>
                  <a:lnTo>
                    <a:pt x="1450" y="1495"/>
                  </a:lnTo>
                  <a:lnTo>
                    <a:pt x="1433" y="1498"/>
                  </a:lnTo>
                  <a:lnTo>
                    <a:pt x="1413" y="1501"/>
                  </a:lnTo>
                  <a:lnTo>
                    <a:pt x="1394" y="1503"/>
                  </a:lnTo>
                  <a:lnTo>
                    <a:pt x="1373" y="1503"/>
                  </a:lnTo>
                  <a:lnTo>
                    <a:pt x="1367" y="1503"/>
                  </a:lnTo>
                  <a:lnTo>
                    <a:pt x="1361" y="1502"/>
                  </a:lnTo>
                  <a:lnTo>
                    <a:pt x="1356" y="1500"/>
                  </a:lnTo>
                  <a:lnTo>
                    <a:pt x="1351" y="1497"/>
                  </a:lnTo>
                  <a:lnTo>
                    <a:pt x="1344" y="1491"/>
                  </a:lnTo>
                  <a:lnTo>
                    <a:pt x="1337" y="1483"/>
                  </a:lnTo>
                  <a:lnTo>
                    <a:pt x="1331" y="1473"/>
                  </a:lnTo>
                  <a:lnTo>
                    <a:pt x="1323" y="1463"/>
                  </a:lnTo>
                  <a:lnTo>
                    <a:pt x="1316" y="1454"/>
                  </a:lnTo>
                  <a:lnTo>
                    <a:pt x="1307" y="1445"/>
                  </a:lnTo>
                  <a:lnTo>
                    <a:pt x="1300" y="1439"/>
                  </a:lnTo>
                  <a:lnTo>
                    <a:pt x="1292" y="1434"/>
                  </a:lnTo>
                  <a:lnTo>
                    <a:pt x="1284" y="1430"/>
                  </a:lnTo>
                  <a:lnTo>
                    <a:pt x="1277" y="1427"/>
                  </a:lnTo>
                  <a:lnTo>
                    <a:pt x="1263" y="1422"/>
                  </a:lnTo>
                  <a:lnTo>
                    <a:pt x="1248" y="1418"/>
                  </a:lnTo>
                  <a:lnTo>
                    <a:pt x="1233" y="1416"/>
                  </a:lnTo>
                  <a:lnTo>
                    <a:pt x="1216" y="1415"/>
                  </a:lnTo>
                  <a:lnTo>
                    <a:pt x="1199" y="1415"/>
                  </a:lnTo>
                  <a:lnTo>
                    <a:pt x="1180" y="1415"/>
                  </a:lnTo>
                  <a:lnTo>
                    <a:pt x="1167" y="1415"/>
                  </a:lnTo>
                  <a:lnTo>
                    <a:pt x="1154" y="1417"/>
                  </a:lnTo>
                  <a:lnTo>
                    <a:pt x="1142" y="1419"/>
                  </a:lnTo>
                  <a:lnTo>
                    <a:pt x="1131" y="1422"/>
                  </a:lnTo>
                  <a:lnTo>
                    <a:pt x="1108" y="1429"/>
                  </a:lnTo>
                  <a:lnTo>
                    <a:pt x="1083" y="1437"/>
                  </a:lnTo>
                  <a:lnTo>
                    <a:pt x="1078" y="1439"/>
                  </a:lnTo>
                  <a:lnTo>
                    <a:pt x="1075" y="1443"/>
                  </a:lnTo>
                  <a:lnTo>
                    <a:pt x="1071" y="1446"/>
                  </a:lnTo>
                  <a:lnTo>
                    <a:pt x="1068" y="1449"/>
                  </a:lnTo>
                  <a:lnTo>
                    <a:pt x="1065" y="1452"/>
                  </a:lnTo>
                  <a:lnTo>
                    <a:pt x="1061" y="1454"/>
                  </a:lnTo>
                  <a:lnTo>
                    <a:pt x="1057" y="1456"/>
                  </a:lnTo>
                  <a:lnTo>
                    <a:pt x="1052" y="1457"/>
                  </a:lnTo>
                  <a:lnTo>
                    <a:pt x="1045" y="1456"/>
                  </a:lnTo>
                  <a:lnTo>
                    <a:pt x="1040" y="1455"/>
                  </a:lnTo>
                  <a:lnTo>
                    <a:pt x="1035" y="1452"/>
                  </a:lnTo>
                  <a:lnTo>
                    <a:pt x="1030" y="1449"/>
                  </a:lnTo>
                  <a:lnTo>
                    <a:pt x="1021" y="1439"/>
                  </a:lnTo>
                  <a:lnTo>
                    <a:pt x="1014" y="1429"/>
                  </a:lnTo>
                  <a:lnTo>
                    <a:pt x="1007" y="1419"/>
                  </a:lnTo>
                  <a:lnTo>
                    <a:pt x="999" y="1408"/>
                  </a:lnTo>
                  <a:lnTo>
                    <a:pt x="994" y="1404"/>
                  </a:lnTo>
                  <a:lnTo>
                    <a:pt x="989" y="1400"/>
                  </a:lnTo>
                  <a:lnTo>
                    <a:pt x="983" y="1397"/>
                  </a:lnTo>
                  <a:lnTo>
                    <a:pt x="977" y="1395"/>
                  </a:lnTo>
                  <a:lnTo>
                    <a:pt x="981" y="1391"/>
                  </a:lnTo>
                  <a:lnTo>
                    <a:pt x="986" y="1387"/>
                  </a:lnTo>
                  <a:lnTo>
                    <a:pt x="991" y="1383"/>
                  </a:lnTo>
                  <a:lnTo>
                    <a:pt x="997" y="1380"/>
                  </a:lnTo>
                  <a:lnTo>
                    <a:pt x="1002" y="1378"/>
                  </a:lnTo>
                  <a:lnTo>
                    <a:pt x="1008" y="1375"/>
                  </a:lnTo>
                  <a:lnTo>
                    <a:pt x="1014" y="1374"/>
                  </a:lnTo>
                  <a:lnTo>
                    <a:pt x="1021" y="1374"/>
                  </a:lnTo>
                  <a:lnTo>
                    <a:pt x="1031" y="1374"/>
                  </a:lnTo>
                  <a:lnTo>
                    <a:pt x="1040" y="1374"/>
                  </a:lnTo>
                  <a:lnTo>
                    <a:pt x="1048" y="1374"/>
                  </a:lnTo>
                  <a:lnTo>
                    <a:pt x="1058" y="1374"/>
                  </a:lnTo>
                  <a:lnTo>
                    <a:pt x="1058" y="1312"/>
                  </a:lnTo>
                  <a:lnTo>
                    <a:pt x="1057" y="1303"/>
                  </a:lnTo>
                  <a:lnTo>
                    <a:pt x="1056" y="1295"/>
                  </a:lnTo>
                  <a:lnTo>
                    <a:pt x="1054" y="1287"/>
                  </a:lnTo>
                  <a:lnTo>
                    <a:pt x="1051" y="1278"/>
                  </a:lnTo>
                  <a:lnTo>
                    <a:pt x="1047" y="1270"/>
                  </a:lnTo>
                  <a:lnTo>
                    <a:pt x="1043" y="1264"/>
                  </a:lnTo>
                  <a:lnTo>
                    <a:pt x="1038" y="1257"/>
                  </a:lnTo>
                  <a:lnTo>
                    <a:pt x="1033" y="1250"/>
                  </a:lnTo>
                  <a:lnTo>
                    <a:pt x="1026" y="1245"/>
                  </a:lnTo>
                  <a:lnTo>
                    <a:pt x="1019" y="1240"/>
                  </a:lnTo>
                  <a:lnTo>
                    <a:pt x="1012" y="1236"/>
                  </a:lnTo>
                  <a:lnTo>
                    <a:pt x="1005" y="1232"/>
                  </a:lnTo>
                  <a:lnTo>
                    <a:pt x="997" y="1229"/>
                  </a:lnTo>
                  <a:lnTo>
                    <a:pt x="988" y="1227"/>
                  </a:lnTo>
                  <a:lnTo>
                    <a:pt x="979" y="1226"/>
                  </a:lnTo>
                  <a:lnTo>
                    <a:pt x="970" y="1226"/>
                  </a:lnTo>
                  <a:lnTo>
                    <a:pt x="962" y="1227"/>
                  </a:lnTo>
                  <a:lnTo>
                    <a:pt x="955" y="1228"/>
                  </a:lnTo>
                  <a:lnTo>
                    <a:pt x="964" y="1212"/>
                  </a:lnTo>
                  <a:lnTo>
                    <a:pt x="973" y="1200"/>
                  </a:lnTo>
                  <a:lnTo>
                    <a:pt x="981" y="1187"/>
                  </a:lnTo>
                  <a:lnTo>
                    <a:pt x="989" y="1176"/>
                  </a:lnTo>
                  <a:lnTo>
                    <a:pt x="997" y="1165"/>
                  </a:lnTo>
                  <a:lnTo>
                    <a:pt x="1002" y="1152"/>
                  </a:lnTo>
                  <a:lnTo>
                    <a:pt x="1005" y="1145"/>
                  </a:lnTo>
                  <a:lnTo>
                    <a:pt x="1006" y="1138"/>
                  </a:lnTo>
                  <a:lnTo>
                    <a:pt x="1007" y="1131"/>
                  </a:lnTo>
                  <a:lnTo>
                    <a:pt x="1007" y="1122"/>
                  </a:lnTo>
                  <a:lnTo>
                    <a:pt x="1007" y="1072"/>
                  </a:lnTo>
                  <a:lnTo>
                    <a:pt x="1006" y="1059"/>
                  </a:lnTo>
                  <a:lnTo>
                    <a:pt x="1004" y="1049"/>
                  </a:lnTo>
                  <a:lnTo>
                    <a:pt x="1000" y="1039"/>
                  </a:lnTo>
                  <a:lnTo>
                    <a:pt x="993" y="1031"/>
                  </a:lnTo>
                  <a:lnTo>
                    <a:pt x="980" y="1013"/>
                  </a:lnTo>
                  <a:lnTo>
                    <a:pt x="965" y="994"/>
                  </a:lnTo>
                  <a:lnTo>
                    <a:pt x="944" y="961"/>
                  </a:lnTo>
                  <a:lnTo>
                    <a:pt x="926" y="930"/>
                  </a:lnTo>
                  <a:lnTo>
                    <a:pt x="917" y="916"/>
                  </a:lnTo>
                  <a:lnTo>
                    <a:pt x="906" y="902"/>
                  </a:lnTo>
                  <a:lnTo>
                    <a:pt x="901" y="895"/>
                  </a:lnTo>
                  <a:lnTo>
                    <a:pt x="893" y="889"/>
                  </a:lnTo>
                  <a:lnTo>
                    <a:pt x="886" y="883"/>
                  </a:lnTo>
                  <a:lnTo>
                    <a:pt x="878" y="876"/>
                  </a:lnTo>
                  <a:lnTo>
                    <a:pt x="881" y="872"/>
                  </a:lnTo>
                  <a:lnTo>
                    <a:pt x="885" y="867"/>
                  </a:lnTo>
                  <a:lnTo>
                    <a:pt x="889" y="864"/>
                  </a:lnTo>
                  <a:lnTo>
                    <a:pt x="893" y="862"/>
                  </a:lnTo>
                  <a:lnTo>
                    <a:pt x="903" y="858"/>
                  </a:lnTo>
                  <a:lnTo>
                    <a:pt x="912" y="855"/>
                  </a:lnTo>
                  <a:lnTo>
                    <a:pt x="933" y="852"/>
                  </a:lnTo>
                  <a:lnTo>
                    <a:pt x="955" y="848"/>
                  </a:lnTo>
                  <a:lnTo>
                    <a:pt x="977" y="841"/>
                  </a:lnTo>
                  <a:lnTo>
                    <a:pt x="995" y="833"/>
                  </a:lnTo>
                  <a:lnTo>
                    <a:pt x="1005" y="830"/>
                  </a:lnTo>
                  <a:lnTo>
                    <a:pt x="1014" y="827"/>
                  </a:lnTo>
                  <a:lnTo>
                    <a:pt x="1024" y="824"/>
                  </a:lnTo>
                  <a:lnTo>
                    <a:pt x="1036" y="822"/>
                  </a:lnTo>
                  <a:lnTo>
                    <a:pt x="1052" y="819"/>
                  </a:lnTo>
                  <a:lnTo>
                    <a:pt x="1070" y="816"/>
                  </a:lnTo>
                  <a:lnTo>
                    <a:pt x="1085" y="812"/>
                  </a:lnTo>
                  <a:lnTo>
                    <a:pt x="1101" y="805"/>
                  </a:lnTo>
                  <a:lnTo>
                    <a:pt x="1107" y="802"/>
                  </a:lnTo>
                  <a:lnTo>
                    <a:pt x="1113" y="798"/>
                  </a:lnTo>
                  <a:lnTo>
                    <a:pt x="1119" y="793"/>
                  </a:lnTo>
                  <a:lnTo>
                    <a:pt x="1123" y="788"/>
                  </a:lnTo>
                  <a:lnTo>
                    <a:pt x="1127" y="782"/>
                  </a:lnTo>
                  <a:lnTo>
                    <a:pt x="1130" y="775"/>
                  </a:lnTo>
                  <a:lnTo>
                    <a:pt x="1132" y="768"/>
                  </a:lnTo>
                  <a:lnTo>
                    <a:pt x="1133" y="760"/>
                  </a:lnTo>
                  <a:lnTo>
                    <a:pt x="1132" y="747"/>
                  </a:lnTo>
                  <a:lnTo>
                    <a:pt x="1130" y="734"/>
                  </a:lnTo>
                  <a:lnTo>
                    <a:pt x="1126" y="722"/>
                  </a:lnTo>
                  <a:lnTo>
                    <a:pt x="1122" y="710"/>
                  </a:lnTo>
                  <a:lnTo>
                    <a:pt x="1117" y="700"/>
                  </a:lnTo>
                  <a:lnTo>
                    <a:pt x="1111" y="690"/>
                  </a:lnTo>
                  <a:lnTo>
                    <a:pt x="1104" y="680"/>
                  </a:lnTo>
                  <a:lnTo>
                    <a:pt x="1096" y="672"/>
                  </a:lnTo>
                  <a:lnTo>
                    <a:pt x="1087" y="663"/>
                  </a:lnTo>
                  <a:lnTo>
                    <a:pt x="1078" y="655"/>
                  </a:lnTo>
                  <a:lnTo>
                    <a:pt x="1068" y="646"/>
                  </a:lnTo>
                  <a:lnTo>
                    <a:pt x="1057" y="639"/>
                  </a:lnTo>
                  <a:lnTo>
                    <a:pt x="1035" y="623"/>
                  </a:lnTo>
                  <a:lnTo>
                    <a:pt x="1012" y="607"/>
                  </a:lnTo>
                  <a:lnTo>
                    <a:pt x="1006" y="600"/>
                  </a:lnTo>
                  <a:lnTo>
                    <a:pt x="1000" y="594"/>
                  </a:lnTo>
                  <a:lnTo>
                    <a:pt x="993" y="588"/>
                  </a:lnTo>
                  <a:lnTo>
                    <a:pt x="986" y="582"/>
                  </a:lnTo>
                  <a:lnTo>
                    <a:pt x="972" y="574"/>
                  </a:lnTo>
                  <a:lnTo>
                    <a:pt x="956" y="567"/>
                  </a:lnTo>
                  <a:lnTo>
                    <a:pt x="941" y="560"/>
                  </a:lnTo>
                  <a:lnTo>
                    <a:pt x="926" y="552"/>
                  </a:lnTo>
                  <a:lnTo>
                    <a:pt x="919" y="547"/>
                  </a:lnTo>
                  <a:lnTo>
                    <a:pt x="912" y="542"/>
                  </a:lnTo>
                  <a:lnTo>
                    <a:pt x="906" y="536"/>
                  </a:lnTo>
                  <a:lnTo>
                    <a:pt x="899" y="529"/>
                  </a:lnTo>
                  <a:lnTo>
                    <a:pt x="891" y="519"/>
                  </a:lnTo>
                  <a:lnTo>
                    <a:pt x="884" y="509"/>
                  </a:lnTo>
                  <a:lnTo>
                    <a:pt x="879" y="500"/>
                  </a:lnTo>
                  <a:lnTo>
                    <a:pt x="874" y="490"/>
                  </a:lnTo>
                  <a:lnTo>
                    <a:pt x="865" y="470"/>
                  </a:lnTo>
                  <a:lnTo>
                    <a:pt x="852" y="449"/>
                  </a:lnTo>
                  <a:lnTo>
                    <a:pt x="841" y="434"/>
                  </a:lnTo>
                  <a:lnTo>
                    <a:pt x="830" y="418"/>
                  </a:lnTo>
                  <a:lnTo>
                    <a:pt x="826" y="411"/>
                  </a:lnTo>
                  <a:lnTo>
                    <a:pt x="823" y="404"/>
                  </a:lnTo>
                  <a:lnTo>
                    <a:pt x="822" y="394"/>
                  </a:lnTo>
                  <a:lnTo>
                    <a:pt x="821" y="385"/>
                  </a:lnTo>
                  <a:lnTo>
                    <a:pt x="822" y="375"/>
                  </a:lnTo>
                  <a:lnTo>
                    <a:pt x="824" y="366"/>
                  </a:lnTo>
                  <a:lnTo>
                    <a:pt x="827" y="356"/>
                  </a:lnTo>
                  <a:lnTo>
                    <a:pt x="832" y="348"/>
                  </a:lnTo>
                  <a:lnTo>
                    <a:pt x="836" y="340"/>
                  </a:lnTo>
                  <a:lnTo>
                    <a:pt x="839" y="331"/>
                  </a:lnTo>
                  <a:lnTo>
                    <a:pt x="842" y="322"/>
                  </a:lnTo>
                  <a:lnTo>
                    <a:pt x="842" y="312"/>
                  </a:lnTo>
                  <a:lnTo>
                    <a:pt x="842" y="297"/>
                  </a:lnTo>
                  <a:lnTo>
                    <a:pt x="839" y="283"/>
                  </a:lnTo>
                  <a:lnTo>
                    <a:pt x="836" y="271"/>
                  </a:lnTo>
                  <a:lnTo>
                    <a:pt x="830" y="259"/>
                  </a:lnTo>
                  <a:lnTo>
                    <a:pt x="824" y="248"/>
                  </a:lnTo>
                  <a:lnTo>
                    <a:pt x="817" y="238"/>
                  </a:lnTo>
                  <a:lnTo>
                    <a:pt x="809" y="228"/>
                  </a:lnTo>
                  <a:lnTo>
                    <a:pt x="800" y="219"/>
                  </a:lnTo>
                  <a:lnTo>
                    <a:pt x="780" y="201"/>
                  </a:lnTo>
                  <a:lnTo>
                    <a:pt x="757" y="184"/>
                  </a:lnTo>
                  <a:lnTo>
                    <a:pt x="736" y="165"/>
                  </a:lnTo>
                  <a:lnTo>
                    <a:pt x="713" y="145"/>
                  </a:lnTo>
                  <a:lnTo>
                    <a:pt x="702" y="132"/>
                  </a:lnTo>
                  <a:lnTo>
                    <a:pt x="690" y="120"/>
                  </a:lnTo>
                  <a:lnTo>
                    <a:pt x="680" y="107"/>
                  </a:lnTo>
                  <a:lnTo>
                    <a:pt x="671" y="95"/>
                  </a:lnTo>
                  <a:lnTo>
                    <a:pt x="652" y="70"/>
                  </a:lnTo>
                  <a:lnTo>
                    <a:pt x="634" y="48"/>
                  </a:lnTo>
                  <a:lnTo>
                    <a:pt x="624" y="38"/>
                  </a:lnTo>
                  <a:lnTo>
                    <a:pt x="614" y="29"/>
                  </a:lnTo>
                  <a:lnTo>
                    <a:pt x="604" y="21"/>
                  </a:lnTo>
                  <a:lnTo>
                    <a:pt x="592" y="13"/>
                  </a:lnTo>
                  <a:lnTo>
                    <a:pt x="580" y="8"/>
                  </a:lnTo>
                  <a:lnTo>
                    <a:pt x="566" y="4"/>
                  </a:lnTo>
                  <a:lnTo>
                    <a:pt x="552" y="1"/>
                  </a:lnTo>
                  <a:lnTo>
                    <a:pt x="536" y="0"/>
                  </a:lnTo>
                  <a:lnTo>
                    <a:pt x="527" y="1"/>
                  </a:lnTo>
                  <a:lnTo>
                    <a:pt x="520" y="2"/>
                  </a:lnTo>
                  <a:lnTo>
                    <a:pt x="513" y="4"/>
                  </a:lnTo>
                  <a:lnTo>
                    <a:pt x="507" y="6"/>
                  </a:lnTo>
                  <a:lnTo>
                    <a:pt x="494" y="12"/>
                  </a:lnTo>
                  <a:lnTo>
                    <a:pt x="483" y="21"/>
                  </a:lnTo>
                  <a:lnTo>
                    <a:pt x="461" y="41"/>
                  </a:lnTo>
                  <a:lnTo>
                    <a:pt x="437" y="62"/>
                  </a:lnTo>
                  <a:lnTo>
                    <a:pt x="429" y="69"/>
                  </a:lnTo>
                  <a:lnTo>
                    <a:pt x="424" y="76"/>
                  </a:lnTo>
                  <a:lnTo>
                    <a:pt x="421" y="79"/>
                  </a:lnTo>
                  <a:lnTo>
                    <a:pt x="417" y="83"/>
                  </a:lnTo>
                  <a:lnTo>
                    <a:pt x="413" y="85"/>
                  </a:lnTo>
                  <a:lnTo>
                    <a:pt x="409" y="86"/>
                  </a:lnTo>
                  <a:lnTo>
                    <a:pt x="403" y="85"/>
                  </a:lnTo>
                  <a:lnTo>
                    <a:pt x="397" y="84"/>
                  </a:lnTo>
                  <a:lnTo>
                    <a:pt x="393" y="82"/>
                  </a:lnTo>
                  <a:lnTo>
                    <a:pt x="389" y="79"/>
                  </a:lnTo>
                  <a:lnTo>
                    <a:pt x="382" y="72"/>
                  </a:lnTo>
                  <a:lnTo>
                    <a:pt x="376" y="64"/>
                  </a:lnTo>
                  <a:lnTo>
                    <a:pt x="370" y="55"/>
                  </a:lnTo>
                  <a:lnTo>
                    <a:pt x="364" y="44"/>
                  </a:lnTo>
                  <a:lnTo>
                    <a:pt x="357" y="35"/>
                  </a:lnTo>
                  <a:lnTo>
                    <a:pt x="350" y="26"/>
                  </a:lnTo>
                  <a:lnTo>
                    <a:pt x="343" y="21"/>
                  </a:lnTo>
                  <a:lnTo>
                    <a:pt x="337" y="18"/>
                  </a:lnTo>
                  <a:lnTo>
                    <a:pt x="330" y="36"/>
                  </a:lnTo>
                  <a:lnTo>
                    <a:pt x="322" y="54"/>
                  </a:lnTo>
                  <a:lnTo>
                    <a:pt x="314" y="69"/>
                  </a:lnTo>
                  <a:lnTo>
                    <a:pt x="306" y="85"/>
                  </a:lnTo>
                  <a:lnTo>
                    <a:pt x="297" y="100"/>
                  </a:lnTo>
                  <a:lnTo>
                    <a:pt x="291" y="116"/>
                  </a:lnTo>
                  <a:lnTo>
                    <a:pt x="288" y="125"/>
                  </a:lnTo>
                  <a:lnTo>
                    <a:pt x="285" y="134"/>
                  </a:lnTo>
                  <a:lnTo>
                    <a:pt x="283" y="143"/>
                  </a:lnTo>
                  <a:lnTo>
                    <a:pt x="281" y="154"/>
                  </a:lnTo>
                  <a:lnTo>
                    <a:pt x="335" y="356"/>
                  </a:lnTo>
                  <a:lnTo>
                    <a:pt x="335" y="376"/>
                  </a:lnTo>
                  <a:lnTo>
                    <a:pt x="310" y="377"/>
                  </a:lnTo>
                  <a:lnTo>
                    <a:pt x="287" y="379"/>
                  </a:lnTo>
                  <a:lnTo>
                    <a:pt x="264" y="383"/>
                  </a:lnTo>
                  <a:lnTo>
                    <a:pt x="239" y="387"/>
                  </a:lnTo>
                  <a:lnTo>
                    <a:pt x="241" y="392"/>
                  </a:lnTo>
                  <a:lnTo>
                    <a:pt x="244" y="396"/>
                  </a:lnTo>
                  <a:lnTo>
                    <a:pt x="245" y="401"/>
                  </a:lnTo>
                  <a:lnTo>
                    <a:pt x="246" y="406"/>
                  </a:lnTo>
                  <a:lnTo>
                    <a:pt x="243" y="420"/>
                  </a:lnTo>
                  <a:lnTo>
                    <a:pt x="239" y="435"/>
                  </a:lnTo>
                  <a:lnTo>
                    <a:pt x="247" y="437"/>
                  </a:lnTo>
                  <a:lnTo>
                    <a:pt x="252" y="441"/>
                  </a:lnTo>
                  <a:lnTo>
                    <a:pt x="257" y="446"/>
                  </a:lnTo>
                  <a:lnTo>
                    <a:pt x="261" y="451"/>
                  </a:lnTo>
                  <a:lnTo>
                    <a:pt x="268" y="465"/>
                  </a:lnTo>
                  <a:lnTo>
                    <a:pt x="277" y="479"/>
                  </a:lnTo>
                  <a:lnTo>
                    <a:pt x="297" y="509"/>
                  </a:lnTo>
                  <a:lnTo>
                    <a:pt x="317" y="536"/>
                  </a:lnTo>
                  <a:lnTo>
                    <a:pt x="325" y="549"/>
                  </a:lnTo>
                  <a:lnTo>
                    <a:pt x="332" y="564"/>
                  </a:lnTo>
                  <a:lnTo>
                    <a:pt x="334" y="571"/>
                  </a:lnTo>
                  <a:lnTo>
                    <a:pt x="337" y="579"/>
                  </a:lnTo>
                  <a:lnTo>
                    <a:pt x="338" y="589"/>
                  </a:lnTo>
                  <a:lnTo>
                    <a:pt x="338" y="598"/>
                  </a:lnTo>
                  <a:lnTo>
                    <a:pt x="337" y="603"/>
                  </a:lnTo>
                  <a:lnTo>
                    <a:pt x="334" y="608"/>
                  </a:lnTo>
                  <a:lnTo>
                    <a:pt x="331" y="612"/>
                  </a:lnTo>
                  <a:lnTo>
                    <a:pt x="327" y="615"/>
                  </a:lnTo>
                  <a:lnTo>
                    <a:pt x="322" y="617"/>
                  </a:lnTo>
                  <a:lnTo>
                    <a:pt x="317" y="620"/>
                  </a:lnTo>
                  <a:lnTo>
                    <a:pt x="311" y="621"/>
                  </a:lnTo>
                  <a:lnTo>
                    <a:pt x="305" y="621"/>
                  </a:lnTo>
                  <a:lnTo>
                    <a:pt x="297" y="621"/>
                  </a:lnTo>
                  <a:lnTo>
                    <a:pt x="291" y="620"/>
                  </a:lnTo>
                  <a:lnTo>
                    <a:pt x="285" y="617"/>
                  </a:lnTo>
                  <a:lnTo>
                    <a:pt x="280" y="614"/>
                  </a:lnTo>
                  <a:lnTo>
                    <a:pt x="268" y="607"/>
                  </a:lnTo>
                  <a:lnTo>
                    <a:pt x="259" y="600"/>
                  </a:lnTo>
                  <a:lnTo>
                    <a:pt x="249" y="592"/>
                  </a:lnTo>
                  <a:lnTo>
                    <a:pt x="239" y="585"/>
                  </a:lnTo>
                  <a:lnTo>
                    <a:pt x="232" y="582"/>
                  </a:lnTo>
                  <a:lnTo>
                    <a:pt x="226" y="580"/>
                  </a:lnTo>
                  <a:lnTo>
                    <a:pt x="220" y="579"/>
                  </a:lnTo>
                  <a:lnTo>
                    <a:pt x="213" y="578"/>
                  </a:lnTo>
                  <a:lnTo>
                    <a:pt x="208" y="579"/>
                  </a:lnTo>
                  <a:lnTo>
                    <a:pt x="202" y="582"/>
                  </a:lnTo>
                  <a:lnTo>
                    <a:pt x="199" y="586"/>
                  </a:lnTo>
                  <a:lnTo>
                    <a:pt x="195" y="591"/>
                  </a:lnTo>
                  <a:lnTo>
                    <a:pt x="192" y="596"/>
                  </a:lnTo>
                  <a:lnTo>
                    <a:pt x="189" y="600"/>
                  </a:lnTo>
                  <a:lnTo>
                    <a:pt x="185" y="604"/>
                  </a:lnTo>
                  <a:lnTo>
                    <a:pt x="180" y="607"/>
                  </a:lnTo>
                  <a:lnTo>
                    <a:pt x="169" y="610"/>
                  </a:lnTo>
                  <a:lnTo>
                    <a:pt x="159" y="612"/>
                  </a:lnTo>
                  <a:lnTo>
                    <a:pt x="149" y="614"/>
                  </a:lnTo>
                  <a:lnTo>
                    <a:pt x="139" y="615"/>
                  </a:lnTo>
                  <a:lnTo>
                    <a:pt x="129" y="616"/>
                  </a:lnTo>
                  <a:lnTo>
                    <a:pt x="120" y="620"/>
                  </a:lnTo>
                  <a:lnTo>
                    <a:pt x="115" y="622"/>
                  </a:lnTo>
                  <a:lnTo>
                    <a:pt x="111" y="624"/>
                  </a:lnTo>
                  <a:lnTo>
                    <a:pt x="107" y="627"/>
                  </a:lnTo>
                  <a:lnTo>
                    <a:pt x="102" y="631"/>
                  </a:lnTo>
                  <a:lnTo>
                    <a:pt x="97" y="636"/>
                  </a:lnTo>
                  <a:lnTo>
                    <a:pt x="93" y="643"/>
                  </a:lnTo>
                  <a:lnTo>
                    <a:pt x="91" y="649"/>
                  </a:lnTo>
                  <a:lnTo>
                    <a:pt x="90" y="657"/>
                  </a:lnTo>
                  <a:lnTo>
                    <a:pt x="88" y="671"/>
                  </a:lnTo>
                  <a:lnTo>
                    <a:pt x="83" y="688"/>
                  </a:lnTo>
                  <a:lnTo>
                    <a:pt x="71" y="709"/>
                  </a:lnTo>
                  <a:lnTo>
                    <a:pt x="60" y="729"/>
                  </a:lnTo>
                  <a:lnTo>
                    <a:pt x="54" y="738"/>
                  </a:lnTo>
                  <a:lnTo>
                    <a:pt x="49" y="749"/>
                  </a:lnTo>
                  <a:lnTo>
                    <a:pt x="45" y="760"/>
                  </a:lnTo>
                  <a:lnTo>
                    <a:pt x="41" y="772"/>
                  </a:lnTo>
                  <a:lnTo>
                    <a:pt x="47" y="773"/>
                  </a:lnTo>
                  <a:lnTo>
                    <a:pt x="53" y="775"/>
                  </a:lnTo>
                  <a:lnTo>
                    <a:pt x="57" y="779"/>
                  </a:lnTo>
                  <a:lnTo>
                    <a:pt x="61" y="782"/>
                  </a:lnTo>
                  <a:lnTo>
                    <a:pt x="64" y="786"/>
                  </a:lnTo>
                  <a:lnTo>
                    <a:pt x="66" y="791"/>
                  </a:lnTo>
                  <a:lnTo>
                    <a:pt x="68" y="797"/>
                  </a:lnTo>
                  <a:lnTo>
                    <a:pt x="70" y="803"/>
                  </a:lnTo>
                  <a:lnTo>
                    <a:pt x="75" y="830"/>
                  </a:lnTo>
                  <a:lnTo>
                    <a:pt x="81" y="857"/>
                  </a:lnTo>
                  <a:lnTo>
                    <a:pt x="84" y="864"/>
                  </a:lnTo>
                  <a:lnTo>
                    <a:pt x="88" y="870"/>
                  </a:lnTo>
                  <a:lnTo>
                    <a:pt x="92" y="876"/>
                  </a:lnTo>
                  <a:lnTo>
                    <a:pt x="97" y="880"/>
                  </a:lnTo>
                  <a:lnTo>
                    <a:pt x="109" y="889"/>
                  </a:lnTo>
                  <a:lnTo>
                    <a:pt x="121" y="896"/>
                  </a:lnTo>
                  <a:lnTo>
                    <a:pt x="132" y="904"/>
                  </a:lnTo>
                  <a:lnTo>
                    <a:pt x="143" y="913"/>
                  </a:lnTo>
                  <a:lnTo>
                    <a:pt x="146" y="918"/>
                  </a:lnTo>
                  <a:lnTo>
                    <a:pt x="149" y="923"/>
                  </a:lnTo>
                  <a:lnTo>
                    <a:pt x="151" y="929"/>
                  </a:lnTo>
                  <a:lnTo>
                    <a:pt x="152" y="937"/>
                  </a:lnTo>
                  <a:lnTo>
                    <a:pt x="152" y="990"/>
                  </a:lnTo>
                  <a:lnTo>
                    <a:pt x="151" y="1019"/>
                  </a:lnTo>
                  <a:lnTo>
                    <a:pt x="148" y="1045"/>
                  </a:lnTo>
                  <a:lnTo>
                    <a:pt x="145" y="1071"/>
                  </a:lnTo>
                  <a:lnTo>
                    <a:pt x="142" y="1101"/>
                  </a:lnTo>
                  <a:lnTo>
                    <a:pt x="142" y="1127"/>
                  </a:lnTo>
                  <a:lnTo>
                    <a:pt x="140" y="1150"/>
                  </a:lnTo>
                  <a:lnTo>
                    <a:pt x="139" y="1155"/>
                  </a:lnTo>
                  <a:lnTo>
                    <a:pt x="137" y="1162"/>
                  </a:lnTo>
                  <a:lnTo>
                    <a:pt x="135" y="1167"/>
                  </a:lnTo>
                  <a:lnTo>
                    <a:pt x="132" y="1171"/>
                  </a:lnTo>
                  <a:lnTo>
                    <a:pt x="129" y="1176"/>
                  </a:lnTo>
                  <a:lnTo>
                    <a:pt x="126" y="1180"/>
                  </a:lnTo>
                  <a:lnTo>
                    <a:pt x="121" y="1184"/>
                  </a:lnTo>
                  <a:lnTo>
                    <a:pt x="116" y="1187"/>
                  </a:lnTo>
                  <a:lnTo>
                    <a:pt x="102" y="1195"/>
                  </a:lnTo>
                  <a:lnTo>
                    <a:pt x="89" y="1200"/>
                  </a:lnTo>
                  <a:lnTo>
                    <a:pt x="76" y="1204"/>
                  </a:lnTo>
                  <a:lnTo>
                    <a:pt x="63" y="1207"/>
                  </a:lnTo>
                  <a:lnTo>
                    <a:pt x="50" y="1210"/>
                  </a:lnTo>
                  <a:lnTo>
                    <a:pt x="37" y="1213"/>
                  </a:lnTo>
                  <a:lnTo>
                    <a:pt x="24" y="1218"/>
                  </a:lnTo>
                  <a:lnTo>
                    <a:pt x="10" y="1226"/>
                  </a:lnTo>
                  <a:lnTo>
                    <a:pt x="13" y="1231"/>
                  </a:lnTo>
                  <a:lnTo>
                    <a:pt x="15" y="1235"/>
                  </a:lnTo>
                  <a:lnTo>
                    <a:pt x="19" y="1239"/>
                  </a:lnTo>
                  <a:lnTo>
                    <a:pt x="22" y="1242"/>
                  </a:lnTo>
                  <a:lnTo>
                    <a:pt x="29" y="1249"/>
                  </a:lnTo>
                  <a:lnTo>
                    <a:pt x="36" y="1259"/>
                  </a:lnTo>
                  <a:lnTo>
                    <a:pt x="41" y="1266"/>
                  </a:lnTo>
                  <a:lnTo>
                    <a:pt x="44" y="1274"/>
                  </a:lnTo>
                  <a:lnTo>
                    <a:pt x="47" y="1281"/>
                  </a:lnTo>
                  <a:lnTo>
                    <a:pt x="49" y="1289"/>
                  </a:lnTo>
                  <a:lnTo>
                    <a:pt x="51" y="1303"/>
                  </a:lnTo>
                  <a:lnTo>
                    <a:pt x="52" y="1319"/>
                  </a:lnTo>
                  <a:lnTo>
                    <a:pt x="51" y="1350"/>
                  </a:lnTo>
                  <a:lnTo>
                    <a:pt x="50" y="1384"/>
                  </a:lnTo>
                  <a:lnTo>
                    <a:pt x="50" y="1416"/>
                  </a:lnTo>
                  <a:lnTo>
                    <a:pt x="47" y="1445"/>
                  </a:lnTo>
                  <a:lnTo>
                    <a:pt x="44" y="1473"/>
                  </a:lnTo>
                  <a:lnTo>
                    <a:pt x="38" y="1503"/>
                  </a:lnTo>
                  <a:lnTo>
                    <a:pt x="34" y="1519"/>
                  </a:lnTo>
                  <a:lnTo>
                    <a:pt x="29" y="1533"/>
                  </a:lnTo>
                  <a:lnTo>
                    <a:pt x="23" y="1546"/>
                  </a:lnTo>
                  <a:lnTo>
                    <a:pt x="17" y="1558"/>
                  </a:lnTo>
                  <a:lnTo>
                    <a:pt x="11" y="1570"/>
                  </a:lnTo>
                  <a:lnTo>
                    <a:pt x="5" y="1583"/>
                  </a:lnTo>
                  <a:lnTo>
                    <a:pt x="3" y="1589"/>
                  </a:lnTo>
                  <a:lnTo>
                    <a:pt x="2" y="1596"/>
                  </a:lnTo>
                  <a:lnTo>
                    <a:pt x="1" y="1605"/>
                  </a:lnTo>
                  <a:lnTo>
                    <a:pt x="0" y="1613"/>
                  </a:lnTo>
                  <a:lnTo>
                    <a:pt x="1" y="1621"/>
                  </a:lnTo>
                  <a:lnTo>
                    <a:pt x="2" y="1629"/>
                  </a:lnTo>
                  <a:lnTo>
                    <a:pt x="3" y="1637"/>
                  </a:lnTo>
                  <a:lnTo>
                    <a:pt x="5" y="1645"/>
                  </a:lnTo>
                  <a:lnTo>
                    <a:pt x="8" y="1651"/>
                  </a:lnTo>
                  <a:lnTo>
                    <a:pt x="11" y="1658"/>
                  </a:lnTo>
                  <a:lnTo>
                    <a:pt x="15" y="1665"/>
                  </a:lnTo>
                  <a:lnTo>
                    <a:pt x="19" y="1671"/>
                  </a:lnTo>
                  <a:lnTo>
                    <a:pt x="27" y="1682"/>
                  </a:lnTo>
                  <a:lnTo>
                    <a:pt x="37" y="1693"/>
                  </a:lnTo>
                  <a:lnTo>
                    <a:pt x="50" y="1703"/>
                  </a:lnTo>
                  <a:lnTo>
                    <a:pt x="62" y="1713"/>
                  </a:lnTo>
                  <a:lnTo>
                    <a:pt x="89" y="1732"/>
                  </a:lnTo>
                  <a:lnTo>
                    <a:pt x="116" y="1751"/>
                  </a:lnTo>
                  <a:lnTo>
                    <a:pt x="129" y="1762"/>
                  </a:lnTo>
                  <a:lnTo>
                    <a:pt x="143" y="1773"/>
                  </a:lnTo>
                  <a:lnTo>
                    <a:pt x="155" y="1785"/>
                  </a:lnTo>
                  <a:lnTo>
                    <a:pt x="165" y="1799"/>
                  </a:lnTo>
                  <a:lnTo>
                    <a:pt x="174" y="1813"/>
                  </a:lnTo>
                  <a:lnTo>
                    <a:pt x="181" y="1828"/>
                  </a:lnTo>
                  <a:lnTo>
                    <a:pt x="187" y="1841"/>
                  </a:lnTo>
                  <a:lnTo>
                    <a:pt x="192" y="1855"/>
                  </a:lnTo>
                  <a:lnTo>
                    <a:pt x="196" y="1868"/>
                  </a:lnTo>
                  <a:lnTo>
                    <a:pt x="198" y="1881"/>
                  </a:lnTo>
                  <a:lnTo>
                    <a:pt x="200" y="1897"/>
                  </a:lnTo>
                  <a:lnTo>
                    <a:pt x="201" y="1913"/>
                  </a:lnTo>
                  <a:lnTo>
                    <a:pt x="200" y="1921"/>
                  </a:lnTo>
                  <a:lnTo>
                    <a:pt x="197" y="1927"/>
                  </a:lnTo>
                  <a:lnTo>
                    <a:pt x="193" y="1932"/>
                  </a:lnTo>
                  <a:lnTo>
                    <a:pt x="188" y="1936"/>
                  </a:lnTo>
                  <a:lnTo>
                    <a:pt x="182" y="1940"/>
                  </a:lnTo>
                  <a:lnTo>
                    <a:pt x="176" y="1943"/>
                  </a:lnTo>
                  <a:lnTo>
                    <a:pt x="168" y="1945"/>
                  </a:lnTo>
                  <a:lnTo>
                    <a:pt x="161" y="1948"/>
                  </a:lnTo>
                  <a:lnTo>
                    <a:pt x="142" y="1954"/>
                  </a:lnTo>
                  <a:lnTo>
                    <a:pt x="122" y="1960"/>
                  </a:lnTo>
                  <a:lnTo>
                    <a:pt x="104" y="1967"/>
                  </a:lnTo>
                  <a:lnTo>
                    <a:pt x="88" y="1975"/>
                  </a:lnTo>
                  <a:lnTo>
                    <a:pt x="80" y="1981"/>
                  </a:lnTo>
                  <a:lnTo>
                    <a:pt x="74" y="1986"/>
                  </a:lnTo>
                  <a:lnTo>
                    <a:pt x="67" y="1992"/>
                  </a:lnTo>
                  <a:lnTo>
                    <a:pt x="62" y="1999"/>
                  </a:lnTo>
                  <a:lnTo>
                    <a:pt x="58" y="2006"/>
                  </a:lnTo>
                  <a:lnTo>
                    <a:pt x="55" y="2015"/>
                  </a:lnTo>
                  <a:lnTo>
                    <a:pt x="53" y="2023"/>
                  </a:lnTo>
                  <a:lnTo>
                    <a:pt x="53" y="2033"/>
                  </a:lnTo>
                  <a:lnTo>
                    <a:pt x="53" y="2036"/>
                  </a:lnTo>
                  <a:lnTo>
                    <a:pt x="54" y="2039"/>
                  </a:lnTo>
                  <a:lnTo>
                    <a:pt x="55" y="2041"/>
                  </a:lnTo>
                  <a:lnTo>
                    <a:pt x="56" y="2045"/>
                  </a:lnTo>
                  <a:lnTo>
                    <a:pt x="61" y="2049"/>
                  </a:lnTo>
                  <a:lnTo>
                    <a:pt x="66" y="2052"/>
                  </a:lnTo>
                  <a:lnTo>
                    <a:pt x="71" y="2055"/>
                  </a:lnTo>
                  <a:lnTo>
                    <a:pt x="78" y="2059"/>
                  </a:lnTo>
                  <a:lnTo>
                    <a:pt x="83" y="2063"/>
                  </a:lnTo>
                  <a:lnTo>
                    <a:pt x="88" y="2068"/>
                  </a:lnTo>
                  <a:lnTo>
                    <a:pt x="104" y="2089"/>
                  </a:lnTo>
                  <a:lnTo>
                    <a:pt x="120" y="2108"/>
                  </a:lnTo>
                  <a:lnTo>
                    <a:pt x="126" y="2118"/>
                  </a:lnTo>
                  <a:lnTo>
                    <a:pt x="131" y="2128"/>
                  </a:lnTo>
                  <a:lnTo>
                    <a:pt x="132" y="2133"/>
                  </a:lnTo>
                  <a:lnTo>
                    <a:pt x="134" y="2140"/>
                  </a:lnTo>
                  <a:lnTo>
                    <a:pt x="134" y="2146"/>
                  </a:lnTo>
                  <a:lnTo>
                    <a:pt x="135" y="2153"/>
                  </a:lnTo>
                  <a:lnTo>
                    <a:pt x="134" y="2166"/>
                  </a:lnTo>
                  <a:lnTo>
                    <a:pt x="133" y="2179"/>
                  </a:lnTo>
                  <a:lnTo>
                    <a:pt x="131" y="2190"/>
                  </a:lnTo>
                  <a:lnTo>
                    <a:pt x="129" y="2202"/>
                  </a:lnTo>
                  <a:lnTo>
                    <a:pt x="123" y="2223"/>
                  </a:lnTo>
                  <a:lnTo>
                    <a:pt x="116" y="2244"/>
                  </a:lnTo>
                  <a:lnTo>
                    <a:pt x="109" y="2265"/>
                  </a:lnTo>
                  <a:lnTo>
                    <a:pt x="102" y="2286"/>
                  </a:lnTo>
                  <a:lnTo>
                    <a:pt x="99" y="2297"/>
                  </a:lnTo>
                  <a:lnTo>
                    <a:pt x="98" y="2309"/>
                  </a:lnTo>
                  <a:lnTo>
                    <a:pt x="96" y="2321"/>
                  </a:lnTo>
                  <a:lnTo>
                    <a:pt x="96" y="2335"/>
                  </a:lnTo>
                  <a:lnTo>
                    <a:pt x="96" y="2342"/>
                  </a:lnTo>
                  <a:lnTo>
                    <a:pt x="97" y="2350"/>
                  </a:lnTo>
                  <a:lnTo>
                    <a:pt x="98" y="2357"/>
                  </a:lnTo>
                  <a:lnTo>
                    <a:pt x="99" y="2366"/>
                  </a:lnTo>
                  <a:lnTo>
                    <a:pt x="117" y="2369"/>
                  </a:lnTo>
                  <a:lnTo>
                    <a:pt x="132" y="2372"/>
                  </a:lnTo>
                  <a:lnTo>
                    <a:pt x="147" y="2376"/>
                  </a:lnTo>
                  <a:lnTo>
                    <a:pt x="161" y="2380"/>
                  </a:lnTo>
                  <a:lnTo>
                    <a:pt x="176" y="2383"/>
                  </a:lnTo>
                  <a:lnTo>
                    <a:pt x="190" y="2386"/>
                  </a:lnTo>
                  <a:lnTo>
                    <a:pt x="206" y="2388"/>
                  </a:lnTo>
                  <a:lnTo>
                    <a:pt x="223" y="2389"/>
                  </a:lnTo>
                  <a:lnTo>
                    <a:pt x="345" y="2389"/>
                  </a:lnTo>
                  <a:lnTo>
                    <a:pt x="357" y="2391"/>
                  </a:lnTo>
                  <a:lnTo>
                    <a:pt x="370" y="2393"/>
                  </a:lnTo>
                  <a:lnTo>
                    <a:pt x="381" y="2396"/>
                  </a:lnTo>
                  <a:lnTo>
                    <a:pt x="391" y="2401"/>
                  </a:lnTo>
                  <a:lnTo>
                    <a:pt x="412" y="2410"/>
                  </a:lnTo>
                  <a:lnTo>
                    <a:pt x="437" y="2419"/>
                  </a:lnTo>
                  <a:lnTo>
                    <a:pt x="467" y="2429"/>
                  </a:lnTo>
                  <a:lnTo>
                    <a:pt x="495" y="2436"/>
                  </a:lnTo>
                  <a:lnTo>
                    <a:pt x="522" y="2443"/>
                  </a:lnTo>
                  <a:lnTo>
                    <a:pt x="548" y="2448"/>
                  </a:lnTo>
                  <a:lnTo>
                    <a:pt x="574" y="2452"/>
                  </a:lnTo>
                  <a:lnTo>
                    <a:pt x="601" y="2456"/>
                  </a:lnTo>
                  <a:lnTo>
                    <a:pt x="629" y="2457"/>
                  </a:lnTo>
                  <a:lnTo>
                    <a:pt x="660" y="2458"/>
                  </a:lnTo>
                  <a:lnTo>
                    <a:pt x="670" y="2458"/>
                  </a:lnTo>
                  <a:lnTo>
                    <a:pt x="677" y="2456"/>
                  </a:lnTo>
                  <a:lnTo>
                    <a:pt x="684" y="2454"/>
                  </a:lnTo>
                  <a:lnTo>
                    <a:pt x="691" y="2450"/>
                  </a:lnTo>
                  <a:lnTo>
                    <a:pt x="697" y="2447"/>
                  </a:lnTo>
                  <a:lnTo>
                    <a:pt x="704" y="2442"/>
                  </a:lnTo>
                  <a:lnTo>
                    <a:pt x="709" y="2438"/>
                  </a:lnTo>
                  <a:lnTo>
                    <a:pt x="714" y="2432"/>
                  </a:lnTo>
                  <a:lnTo>
                    <a:pt x="734" y="2407"/>
                  </a:lnTo>
                  <a:lnTo>
                    <a:pt x="755" y="2380"/>
                  </a:lnTo>
                  <a:lnTo>
                    <a:pt x="762" y="2368"/>
                  </a:lnTo>
                  <a:lnTo>
                    <a:pt x="769" y="2356"/>
                  </a:lnTo>
                  <a:lnTo>
                    <a:pt x="773" y="2352"/>
                  </a:lnTo>
                  <a:lnTo>
                    <a:pt x="777" y="2348"/>
                  </a:lnTo>
                  <a:lnTo>
                    <a:pt x="782" y="2345"/>
                  </a:lnTo>
                  <a:lnTo>
                    <a:pt x="788" y="2344"/>
                  </a:lnTo>
                  <a:lnTo>
                    <a:pt x="800" y="2345"/>
                  </a:lnTo>
                  <a:lnTo>
                    <a:pt x="811" y="2347"/>
                  </a:lnTo>
                  <a:lnTo>
                    <a:pt x="821" y="2351"/>
                  </a:lnTo>
                  <a:lnTo>
                    <a:pt x="830" y="2355"/>
                  </a:lnTo>
                  <a:lnTo>
                    <a:pt x="848" y="2368"/>
                  </a:lnTo>
                  <a:lnTo>
                    <a:pt x="865" y="2381"/>
                  </a:lnTo>
                  <a:lnTo>
                    <a:pt x="881" y="2395"/>
                  </a:lnTo>
                  <a:lnTo>
                    <a:pt x="899" y="2406"/>
                  </a:lnTo>
                  <a:lnTo>
                    <a:pt x="908" y="2411"/>
                  </a:lnTo>
                  <a:lnTo>
                    <a:pt x="918" y="2414"/>
                  </a:lnTo>
                  <a:lnTo>
                    <a:pt x="929" y="2416"/>
                  </a:lnTo>
                  <a:lnTo>
                    <a:pt x="941" y="2417"/>
                  </a:lnTo>
                  <a:lnTo>
                    <a:pt x="945" y="2417"/>
                  </a:lnTo>
                  <a:lnTo>
                    <a:pt x="948" y="2416"/>
                  </a:lnTo>
                  <a:lnTo>
                    <a:pt x="950" y="2415"/>
                  </a:lnTo>
                  <a:lnTo>
                    <a:pt x="953" y="2414"/>
                  </a:lnTo>
                  <a:lnTo>
                    <a:pt x="957" y="2410"/>
                  </a:lnTo>
                  <a:lnTo>
                    <a:pt x="960" y="2404"/>
                  </a:lnTo>
                  <a:lnTo>
                    <a:pt x="968" y="2393"/>
                  </a:lnTo>
                  <a:lnTo>
                    <a:pt x="974" y="2380"/>
                  </a:lnTo>
                  <a:lnTo>
                    <a:pt x="983" y="2368"/>
                  </a:lnTo>
                  <a:lnTo>
                    <a:pt x="991" y="2356"/>
                  </a:lnTo>
                  <a:lnTo>
                    <a:pt x="1001" y="2345"/>
                  </a:lnTo>
                  <a:lnTo>
                    <a:pt x="1009" y="2336"/>
                  </a:lnTo>
                  <a:lnTo>
                    <a:pt x="1014" y="2332"/>
                  </a:lnTo>
                  <a:lnTo>
                    <a:pt x="1019" y="2328"/>
                  </a:lnTo>
                  <a:lnTo>
                    <a:pt x="1024" y="2324"/>
                  </a:lnTo>
                  <a:lnTo>
                    <a:pt x="1031" y="2321"/>
                  </a:lnTo>
                  <a:lnTo>
                    <a:pt x="1036" y="2319"/>
                  </a:lnTo>
                  <a:lnTo>
                    <a:pt x="1043" y="2317"/>
                  </a:lnTo>
                  <a:lnTo>
                    <a:pt x="1049" y="2316"/>
                  </a:lnTo>
                  <a:lnTo>
                    <a:pt x="1056" y="2316"/>
                  </a:lnTo>
                  <a:lnTo>
                    <a:pt x="1063" y="2316"/>
                  </a:lnTo>
                  <a:lnTo>
                    <a:pt x="1068" y="2318"/>
                  </a:lnTo>
                  <a:lnTo>
                    <a:pt x="1072" y="2320"/>
                  </a:lnTo>
                  <a:lnTo>
                    <a:pt x="1075" y="2324"/>
                  </a:lnTo>
                  <a:lnTo>
                    <a:pt x="1077" y="2329"/>
                  </a:lnTo>
                  <a:lnTo>
                    <a:pt x="1079" y="2334"/>
                  </a:lnTo>
                  <a:lnTo>
                    <a:pt x="1080" y="2339"/>
                  </a:lnTo>
                  <a:lnTo>
                    <a:pt x="1081" y="2345"/>
                  </a:lnTo>
                  <a:lnTo>
                    <a:pt x="1082" y="2372"/>
                  </a:lnTo>
                  <a:lnTo>
                    <a:pt x="1083" y="2399"/>
                  </a:lnTo>
                  <a:lnTo>
                    <a:pt x="1084" y="2418"/>
                  </a:lnTo>
                  <a:lnTo>
                    <a:pt x="1085" y="2437"/>
                  </a:lnTo>
                  <a:lnTo>
                    <a:pt x="1087" y="2454"/>
                  </a:lnTo>
                  <a:lnTo>
                    <a:pt x="1090" y="2470"/>
                  </a:lnTo>
                  <a:lnTo>
                    <a:pt x="1094" y="2487"/>
                  </a:lnTo>
                  <a:lnTo>
                    <a:pt x="1101" y="2502"/>
                  </a:lnTo>
                  <a:lnTo>
                    <a:pt x="1108" y="2519"/>
                  </a:lnTo>
                  <a:lnTo>
                    <a:pt x="1118" y="2535"/>
                  </a:lnTo>
                  <a:lnTo>
                    <a:pt x="1125" y="2546"/>
                  </a:lnTo>
                  <a:lnTo>
                    <a:pt x="1133" y="2556"/>
                  </a:lnTo>
                  <a:lnTo>
                    <a:pt x="1141" y="2565"/>
                  </a:lnTo>
                  <a:lnTo>
                    <a:pt x="1148" y="2573"/>
                  </a:lnTo>
                  <a:lnTo>
                    <a:pt x="1165" y="2589"/>
                  </a:lnTo>
                  <a:lnTo>
                    <a:pt x="1181" y="2602"/>
                  </a:lnTo>
                  <a:lnTo>
                    <a:pt x="1217" y="2627"/>
                  </a:lnTo>
                  <a:lnTo>
                    <a:pt x="1257" y="2656"/>
                  </a:lnTo>
                  <a:lnTo>
                    <a:pt x="1277" y="2668"/>
                  </a:lnTo>
                  <a:lnTo>
                    <a:pt x="1298" y="2679"/>
                  </a:lnTo>
                  <a:lnTo>
                    <a:pt x="1306" y="2684"/>
                  </a:lnTo>
                  <a:lnTo>
                    <a:pt x="1312" y="2691"/>
                  </a:lnTo>
                  <a:lnTo>
                    <a:pt x="1315" y="2695"/>
                  </a:lnTo>
                  <a:lnTo>
                    <a:pt x="1317" y="2699"/>
                  </a:lnTo>
                  <a:lnTo>
                    <a:pt x="1318" y="2704"/>
                  </a:lnTo>
                  <a:lnTo>
                    <a:pt x="1318" y="2711"/>
                  </a:lnTo>
                  <a:lnTo>
                    <a:pt x="1318" y="2718"/>
                  </a:lnTo>
                  <a:lnTo>
                    <a:pt x="1317" y="2725"/>
                  </a:lnTo>
                  <a:lnTo>
                    <a:pt x="1316" y="2732"/>
                  </a:lnTo>
                  <a:lnTo>
                    <a:pt x="1314" y="2739"/>
                  </a:lnTo>
                  <a:lnTo>
                    <a:pt x="1310" y="2751"/>
                  </a:lnTo>
                  <a:lnTo>
                    <a:pt x="1304" y="2762"/>
                  </a:lnTo>
                  <a:lnTo>
                    <a:pt x="1299" y="2774"/>
                  </a:lnTo>
                  <a:lnTo>
                    <a:pt x="1295" y="2786"/>
                  </a:lnTo>
                  <a:lnTo>
                    <a:pt x="1292" y="2792"/>
                  </a:lnTo>
                  <a:lnTo>
                    <a:pt x="1291" y="2799"/>
                  </a:lnTo>
                  <a:lnTo>
                    <a:pt x="1290" y="2807"/>
                  </a:lnTo>
                  <a:lnTo>
                    <a:pt x="1290" y="2814"/>
                  </a:lnTo>
                  <a:lnTo>
                    <a:pt x="1290" y="2819"/>
                  </a:lnTo>
                  <a:lnTo>
                    <a:pt x="1291" y="2823"/>
                  </a:lnTo>
                  <a:lnTo>
                    <a:pt x="1294" y="2826"/>
                  </a:lnTo>
                  <a:lnTo>
                    <a:pt x="1295" y="2830"/>
                  </a:lnTo>
                  <a:lnTo>
                    <a:pt x="1300" y="2837"/>
                  </a:lnTo>
                  <a:lnTo>
                    <a:pt x="1306" y="2843"/>
                  </a:lnTo>
                  <a:lnTo>
                    <a:pt x="1311" y="2848"/>
                  </a:lnTo>
                  <a:lnTo>
                    <a:pt x="1316" y="2855"/>
                  </a:lnTo>
                  <a:lnTo>
                    <a:pt x="1318" y="2858"/>
                  </a:lnTo>
                  <a:lnTo>
                    <a:pt x="1319" y="2862"/>
                  </a:lnTo>
                  <a:lnTo>
                    <a:pt x="1320" y="2867"/>
                  </a:lnTo>
                  <a:lnTo>
                    <a:pt x="1320" y="2871"/>
                  </a:lnTo>
                  <a:lnTo>
                    <a:pt x="1337" y="2871"/>
                  </a:lnTo>
                  <a:lnTo>
                    <a:pt x="1342" y="2871"/>
                  </a:lnTo>
                  <a:lnTo>
                    <a:pt x="1346" y="2870"/>
                  </a:lnTo>
                  <a:lnTo>
                    <a:pt x="1350" y="2869"/>
                  </a:lnTo>
                  <a:lnTo>
                    <a:pt x="1354" y="2867"/>
                  </a:lnTo>
                  <a:lnTo>
                    <a:pt x="1362" y="2861"/>
                  </a:lnTo>
                  <a:lnTo>
                    <a:pt x="1368" y="2856"/>
                  </a:lnTo>
                  <a:lnTo>
                    <a:pt x="1374" y="2850"/>
                  </a:lnTo>
                  <a:lnTo>
                    <a:pt x="1380" y="2844"/>
                  </a:lnTo>
                  <a:lnTo>
                    <a:pt x="1388" y="2838"/>
                  </a:lnTo>
                  <a:lnTo>
                    <a:pt x="1397" y="2834"/>
                  </a:lnTo>
                  <a:lnTo>
                    <a:pt x="1414" y="2825"/>
                  </a:lnTo>
                  <a:lnTo>
                    <a:pt x="1432" y="2819"/>
                  </a:lnTo>
                  <a:lnTo>
                    <a:pt x="1448" y="2815"/>
                  </a:lnTo>
                  <a:lnTo>
                    <a:pt x="1464" y="2811"/>
                  </a:lnTo>
                  <a:lnTo>
                    <a:pt x="1480" y="2809"/>
                  </a:lnTo>
                  <a:lnTo>
                    <a:pt x="1498" y="2808"/>
                  </a:lnTo>
                  <a:lnTo>
                    <a:pt x="1515" y="2807"/>
                  </a:lnTo>
                  <a:lnTo>
                    <a:pt x="1536" y="2807"/>
                  </a:lnTo>
                  <a:lnTo>
                    <a:pt x="1546" y="2808"/>
                  </a:lnTo>
                  <a:lnTo>
                    <a:pt x="1556" y="2810"/>
                  </a:lnTo>
                  <a:lnTo>
                    <a:pt x="1567" y="2811"/>
                  </a:lnTo>
                  <a:lnTo>
                    <a:pt x="1578" y="2812"/>
                  </a:lnTo>
                  <a:lnTo>
                    <a:pt x="1599" y="2811"/>
                  </a:lnTo>
                  <a:lnTo>
                    <a:pt x="1616" y="2808"/>
                  </a:lnTo>
                  <a:lnTo>
                    <a:pt x="1635" y="2805"/>
                  </a:lnTo>
                  <a:lnTo>
                    <a:pt x="1655" y="2803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de-DE" altLang="ru-RU" sz="675">
                <a:latin typeface="Calibri" panose="020F050202020403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de-DE" altLang="ru-RU" sz="675">
                <a:latin typeface="Calibri" panose="020F050202020403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>
                  <a:latin typeface="Calibri" panose="020F0502020204030204" pitchFamily="34" charset="0"/>
                </a:rPr>
                <a:t>Sumy</a:t>
              </a:r>
              <a:endParaRPr lang="ru-RU" altLang="ru-RU" sz="675">
                <a:latin typeface="Calibri" panose="020F0502020204030204" pitchFamily="34" charset="0"/>
              </a:endParaRPr>
            </a:p>
          </p:txBody>
        </p:sp>
        <p:sp>
          <p:nvSpPr>
            <p:cNvPr id="27" name="Chernigiv"/>
            <p:cNvSpPr>
              <a:spLocks/>
            </p:cNvSpPr>
            <p:nvPr/>
          </p:nvSpPr>
          <p:spPr bwMode="auto">
            <a:xfrm>
              <a:off x="2701" y="1069"/>
              <a:ext cx="709" cy="772"/>
            </a:xfrm>
            <a:custGeom>
              <a:avLst/>
              <a:gdLst>
                <a:gd name="T0" fmla="*/ 371 w 2349"/>
                <a:gd name="T1" fmla="*/ 243 h 2642"/>
                <a:gd name="T2" fmla="*/ 371 w 2349"/>
                <a:gd name="T3" fmla="*/ 243 h 2642"/>
                <a:gd name="T4" fmla="*/ 371 w 2349"/>
                <a:gd name="T5" fmla="*/ 243 h 2642"/>
                <a:gd name="T6" fmla="*/ 371 w 2349"/>
                <a:gd name="T7" fmla="*/ 243 h 2642"/>
                <a:gd name="T8" fmla="*/ 371 w 2349"/>
                <a:gd name="T9" fmla="*/ 243 h 2642"/>
                <a:gd name="T10" fmla="*/ 371 w 2349"/>
                <a:gd name="T11" fmla="*/ 243 h 2642"/>
                <a:gd name="T12" fmla="*/ 371 w 2349"/>
                <a:gd name="T13" fmla="*/ 243 h 2642"/>
                <a:gd name="T14" fmla="*/ 371 w 2349"/>
                <a:gd name="T15" fmla="*/ 243 h 2642"/>
                <a:gd name="T16" fmla="*/ 371 w 2349"/>
                <a:gd name="T17" fmla="*/ 243 h 2642"/>
                <a:gd name="T18" fmla="*/ 371 w 2349"/>
                <a:gd name="T19" fmla="*/ 243 h 2642"/>
                <a:gd name="T20" fmla="*/ 371 w 2349"/>
                <a:gd name="T21" fmla="*/ 243 h 2642"/>
                <a:gd name="T22" fmla="*/ 371 w 2349"/>
                <a:gd name="T23" fmla="*/ 243 h 2642"/>
                <a:gd name="T24" fmla="*/ 371 w 2349"/>
                <a:gd name="T25" fmla="*/ 243 h 2642"/>
                <a:gd name="T26" fmla="*/ 371 w 2349"/>
                <a:gd name="T27" fmla="*/ 243 h 2642"/>
                <a:gd name="T28" fmla="*/ 371 w 2349"/>
                <a:gd name="T29" fmla="*/ 243 h 2642"/>
                <a:gd name="T30" fmla="*/ 371 w 2349"/>
                <a:gd name="T31" fmla="*/ 243 h 2642"/>
                <a:gd name="T32" fmla="*/ 371 w 2349"/>
                <a:gd name="T33" fmla="*/ 243 h 2642"/>
                <a:gd name="T34" fmla="*/ 371 w 2349"/>
                <a:gd name="T35" fmla="*/ 243 h 2642"/>
                <a:gd name="T36" fmla="*/ 371 w 2349"/>
                <a:gd name="T37" fmla="*/ 243 h 2642"/>
                <a:gd name="T38" fmla="*/ 371 w 2349"/>
                <a:gd name="T39" fmla="*/ 243 h 2642"/>
                <a:gd name="T40" fmla="*/ 371 w 2349"/>
                <a:gd name="T41" fmla="*/ 243 h 2642"/>
                <a:gd name="T42" fmla="*/ 371 w 2349"/>
                <a:gd name="T43" fmla="*/ 243 h 2642"/>
                <a:gd name="T44" fmla="*/ 371 w 2349"/>
                <a:gd name="T45" fmla="*/ 243 h 2642"/>
                <a:gd name="T46" fmla="*/ 371 w 2349"/>
                <a:gd name="T47" fmla="*/ 243 h 2642"/>
                <a:gd name="T48" fmla="*/ 371 w 2349"/>
                <a:gd name="T49" fmla="*/ 243 h 2642"/>
                <a:gd name="T50" fmla="*/ 371 w 2349"/>
                <a:gd name="T51" fmla="*/ 243 h 2642"/>
                <a:gd name="T52" fmla="*/ 371 w 2349"/>
                <a:gd name="T53" fmla="*/ 243 h 2642"/>
                <a:gd name="T54" fmla="*/ 371 w 2349"/>
                <a:gd name="T55" fmla="*/ 243 h 2642"/>
                <a:gd name="T56" fmla="*/ 371 w 2349"/>
                <a:gd name="T57" fmla="*/ 243 h 2642"/>
                <a:gd name="T58" fmla="*/ 371 w 2349"/>
                <a:gd name="T59" fmla="*/ 243 h 2642"/>
                <a:gd name="T60" fmla="*/ 371 w 2349"/>
                <a:gd name="T61" fmla="*/ 243 h 2642"/>
                <a:gd name="T62" fmla="*/ 371 w 2349"/>
                <a:gd name="T63" fmla="*/ 243 h 2642"/>
                <a:gd name="T64" fmla="*/ 371 w 2349"/>
                <a:gd name="T65" fmla="*/ 243 h 2642"/>
                <a:gd name="T66" fmla="*/ 371 w 2349"/>
                <a:gd name="T67" fmla="*/ 243 h 2642"/>
                <a:gd name="T68" fmla="*/ 371 w 2349"/>
                <a:gd name="T69" fmla="*/ 243 h 2642"/>
                <a:gd name="T70" fmla="*/ 371 w 2349"/>
                <a:gd name="T71" fmla="*/ 243 h 2642"/>
                <a:gd name="T72" fmla="*/ 371 w 2349"/>
                <a:gd name="T73" fmla="*/ 243 h 2642"/>
                <a:gd name="T74" fmla="*/ 371 w 2349"/>
                <a:gd name="T75" fmla="*/ 243 h 2642"/>
                <a:gd name="T76" fmla="*/ 371 w 2349"/>
                <a:gd name="T77" fmla="*/ 243 h 2642"/>
                <a:gd name="T78" fmla="*/ 371 w 2349"/>
                <a:gd name="T79" fmla="*/ 243 h 2642"/>
                <a:gd name="T80" fmla="*/ 371 w 2349"/>
                <a:gd name="T81" fmla="*/ 243 h 2642"/>
                <a:gd name="T82" fmla="*/ 371 w 2349"/>
                <a:gd name="T83" fmla="*/ 243 h 2642"/>
                <a:gd name="T84" fmla="*/ 371 w 2349"/>
                <a:gd name="T85" fmla="*/ 243 h 2642"/>
                <a:gd name="T86" fmla="*/ 371 w 2349"/>
                <a:gd name="T87" fmla="*/ 243 h 2642"/>
                <a:gd name="T88" fmla="*/ 371 w 2349"/>
                <a:gd name="T89" fmla="*/ 243 h 2642"/>
                <a:gd name="T90" fmla="*/ 371 w 2349"/>
                <a:gd name="T91" fmla="*/ 243 h 2642"/>
                <a:gd name="T92" fmla="*/ 371 w 2349"/>
                <a:gd name="T93" fmla="*/ 243 h 2642"/>
                <a:gd name="T94" fmla="*/ 371 w 2349"/>
                <a:gd name="T95" fmla="*/ 243 h 2642"/>
                <a:gd name="T96" fmla="*/ 371 w 2349"/>
                <a:gd name="T97" fmla="*/ 243 h 2642"/>
                <a:gd name="T98" fmla="*/ 371 w 2349"/>
                <a:gd name="T99" fmla="*/ 243 h 2642"/>
                <a:gd name="T100" fmla="*/ 371 w 2349"/>
                <a:gd name="T101" fmla="*/ 243 h 2642"/>
                <a:gd name="T102" fmla="*/ 371 w 2349"/>
                <a:gd name="T103" fmla="*/ 243 h 2642"/>
                <a:gd name="T104" fmla="*/ 371 w 2349"/>
                <a:gd name="T105" fmla="*/ 243 h 2642"/>
                <a:gd name="T106" fmla="*/ 371 w 2349"/>
                <a:gd name="T107" fmla="*/ 243 h 2642"/>
                <a:gd name="T108" fmla="*/ 371 w 2349"/>
                <a:gd name="T109" fmla="*/ 243 h 2642"/>
                <a:gd name="T110" fmla="*/ 371 w 2349"/>
                <a:gd name="T111" fmla="*/ 243 h 2642"/>
                <a:gd name="T112" fmla="*/ 371 w 2349"/>
                <a:gd name="T113" fmla="*/ 243 h 2642"/>
                <a:gd name="T114" fmla="*/ 371 w 2349"/>
                <a:gd name="T115" fmla="*/ 243 h 2642"/>
                <a:gd name="T116" fmla="*/ 371 w 2349"/>
                <a:gd name="T117" fmla="*/ 243 h 2642"/>
                <a:gd name="T118" fmla="*/ 371 w 2349"/>
                <a:gd name="T119" fmla="*/ 243 h 2642"/>
                <a:gd name="T120" fmla="*/ 371 w 2349"/>
                <a:gd name="T121" fmla="*/ 243 h 2642"/>
                <a:gd name="T122" fmla="*/ 371 w 2349"/>
                <a:gd name="T123" fmla="*/ 243 h 26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349"/>
                <a:gd name="T187" fmla="*/ 0 h 2642"/>
                <a:gd name="T188" fmla="*/ 2349 w 2349"/>
                <a:gd name="T189" fmla="*/ 2642 h 26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349" h="2642">
                  <a:moveTo>
                    <a:pt x="39" y="1465"/>
                  </a:moveTo>
                  <a:lnTo>
                    <a:pt x="34" y="1494"/>
                  </a:lnTo>
                  <a:lnTo>
                    <a:pt x="30" y="1520"/>
                  </a:lnTo>
                  <a:lnTo>
                    <a:pt x="26" y="1545"/>
                  </a:lnTo>
                  <a:lnTo>
                    <a:pt x="22" y="1569"/>
                  </a:lnTo>
                  <a:lnTo>
                    <a:pt x="18" y="1592"/>
                  </a:lnTo>
                  <a:lnTo>
                    <a:pt x="15" y="1616"/>
                  </a:lnTo>
                  <a:lnTo>
                    <a:pt x="13" y="1643"/>
                  </a:lnTo>
                  <a:lnTo>
                    <a:pt x="13" y="1671"/>
                  </a:lnTo>
                  <a:lnTo>
                    <a:pt x="13" y="1681"/>
                  </a:lnTo>
                  <a:lnTo>
                    <a:pt x="14" y="1690"/>
                  </a:lnTo>
                  <a:lnTo>
                    <a:pt x="15" y="1699"/>
                  </a:lnTo>
                  <a:lnTo>
                    <a:pt x="17" y="1707"/>
                  </a:lnTo>
                  <a:lnTo>
                    <a:pt x="20" y="1714"/>
                  </a:lnTo>
                  <a:lnTo>
                    <a:pt x="23" y="1722"/>
                  </a:lnTo>
                  <a:lnTo>
                    <a:pt x="26" y="1729"/>
                  </a:lnTo>
                  <a:lnTo>
                    <a:pt x="30" y="1736"/>
                  </a:lnTo>
                  <a:lnTo>
                    <a:pt x="40" y="1749"/>
                  </a:lnTo>
                  <a:lnTo>
                    <a:pt x="51" y="1763"/>
                  </a:lnTo>
                  <a:lnTo>
                    <a:pt x="63" y="1775"/>
                  </a:lnTo>
                  <a:lnTo>
                    <a:pt x="76" y="1790"/>
                  </a:lnTo>
                  <a:lnTo>
                    <a:pt x="93" y="1803"/>
                  </a:lnTo>
                  <a:lnTo>
                    <a:pt x="111" y="1814"/>
                  </a:lnTo>
                  <a:lnTo>
                    <a:pt x="119" y="1820"/>
                  </a:lnTo>
                  <a:lnTo>
                    <a:pt x="125" y="1827"/>
                  </a:lnTo>
                  <a:lnTo>
                    <a:pt x="127" y="1831"/>
                  </a:lnTo>
                  <a:lnTo>
                    <a:pt x="129" y="1835"/>
                  </a:lnTo>
                  <a:lnTo>
                    <a:pt x="130" y="1840"/>
                  </a:lnTo>
                  <a:lnTo>
                    <a:pt x="130" y="1845"/>
                  </a:lnTo>
                  <a:lnTo>
                    <a:pt x="130" y="1896"/>
                  </a:lnTo>
                  <a:lnTo>
                    <a:pt x="130" y="1900"/>
                  </a:lnTo>
                  <a:lnTo>
                    <a:pt x="131" y="1904"/>
                  </a:lnTo>
                  <a:lnTo>
                    <a:pt x="132" y="1907"/>
                  </a:lnTo>
                  <a:lnTo>
                    <a:pt x="134" y="1912"/>
                  </a:lnTo>
                  <a:lnTo>
                    <a:pt x="140" y="1918"/>
                  </a:lnTo>
                  <a:lnTo>
                    <a:pt x="146" y="1922"/>
                  </a:lnTo>
                  <a:lnTo>
                    <a:pt x="153" y="1926"/>
                  </a:lnTo>
                  <a:lnTo>
                    <a:pt x="160" y="1929"/>
                  </a:lnTo>
                  <a:lnTo>
                    <a:pt x="168" y="1930"/>
                  </a:lnTo>
                  <a:lnTo>
                    <a:pt x="178" y="1931"/>
                  </a:lnTo>
                  <a:lnTo>
                    <a:pt x="179" y="1960"/>
                  </a:lnTo>
                  <a:lnTo>
                    <a:pt x="180" y="1987"/>
                  </a:lnTo>
                  <a:lnTo>
                    <a:pt x="181" y="1999"/>
                  </a:lnTo>
                  <a:lnTo>
                    <a:pt x="183" y="2012"/>
                  </a:lnTo>
                  <a:lnTo>
                    <a:pt x="186" y="2025"/>
                  </a:lnTo>
                  <a:lnTo>
                    <a:pt x="192" y="2040"/>
                  </a:lnTo>
                  <a:lnTo>
                    <a:pt x="195" y="2047"/>
                  </a:lnTo>
                  <a:lnTo>
                    <a:pt x="200" y="2053"/>
                  </a:lnTo>
                  <a:lnTo>
                    <a:pt x="207" y="2057"/>
                  </a:lnTo>
                  <a:lnTo>
                    <a:pt x="213" y="2060"/>
                  </a:lnTo>
                  <a:lnTo>
                    <a:pt x="227" y="2066"/>
                  </a:lnTo>
                  <a:lnTo>
                    <a:pt x="244" y="2073"/>
                  </a:lnTo>
                  <a:lnTo>
                    <a:pt x="256" y="2080"/>
                  </a:lnTo>
                  <a:lnTo>
                    <a:pt x="266" y="2087"/>
                  </a:lnTo>
                  <a:lnTo>
                    <a:pt x="272" y="2091"/>
                  </a:lnTo>
                  <a:lnTo>
                    <a:pt x="278" y="2093"/>
                  </a:lnTo>
                  <a:lnTo>
                    <a:pt x="284" y="2095"/>
                  </a:lnTo>
                  <a:lnTo>
                    <a:pt x="291" y="2096"/>
                  </a:lnTo>
                  <a:lnTo>
                    <a:pt x="303" y="2095"/>
                  </a:lnTo>
                  <a:lnTo>
                    <a:pt x="314" y="2094"/>
                  </a:lnTo>
                  <a:lnTo>
                    <a:pt x="324" y="2091"/>
                  </a:lnTo>
                  <a:lnTo>
                    <a:pt x="335" y="2088"/>
                  </a:lnTo>
                  <a:lnTo>
                    <a:pt x="353" y="2079"/>
                  </a:lnTo>
                  <a:lnTo>
                    <a:pt x="371" y="2070"/>
                  </a:lnTo>
                  <a:lnTo>
                    <a:pt x="389" y="2059"/>
                  </a:lnTo>
                  <a:lnTo>
                    <a:pt x="408" y="2050"/>
                  </a:lnTo>
                  <a:lnTo>
                    <a:pt x="417" y="2047"/>
                  </a:lnTo>
                  <a:lnTo>
                    <a:pt x="428" y="2045"/>
                  </a:lnTo>
                  <a:lnTo>
                    <a:pt x="439" y="2043"/>
                  </a:lnTo>
                  <a:lnTo>
                    <a:pt x="451" y="2042"/>
                  </a:lnTo>
                  <a:lnTo>
                    <a:pt x="460" y="2043"/>
                  </a:lnTo>
                  <a:lnTo>
                    <a:pt x="469" y="2045"/>
                  </a:lnTo>
                  <a:lnTo>
                    <a:pt x="476" y="2049"/>
                  </a:lnTo>
                  <a:lnTo>
                    <a:pt x="483" y="2053"/>
                  </a:lnTo>
                  <a:lnTo>
                    <a:pt x="496" y="2063"/>
                  </a:lnTo>
                  <a:lnTo>
                    <a:pt x="512" y="2075"/>
                  </a:lnTo>
                  <a:lnTo>
                    <a:pt x="523" y="2083"/>
                  </a:lnTo>
                  <a:lnTo>
                    <a:pt x="533" y="2090"/>
                  </a:lnTo>
                  <a:lnTo>
                    <a:pt x="542" y="2098"/>
                  </a:lnTo>
                  <a:lnTo>
                    <a:pt x="550" y="2107"/>
                  </a:lnTo>
                  <a:lnTo>
                    <a:pt x="557" y="2116"/>
                  </a:lnTo>
                  <a:lnTo>
                    <a:pt x="563" y="2125"/>
                  </a:lnTo>
                  <a:lnTo>
                    <a:pt x="569" y="2136"/>
                  </a:lnTo>
                  <a:lnTo>
                    <a:pt x="574" y="2145"/>
                  </a:lnTo>
                  <a:lnTo>
                    <a:pt x="578" y="2156"/>
                  </a:lnTo>
                  <a:lnTo>
                    <a:pt x="581" y="2167"/>
                  </a:lnTo>
                  <a:lnTo>
                    <a:pt x="584" y="2178"/>
                  </a:lnTo>
                  <a:lnTo>
                    <a:pt x="586" y="2189"/>
                  </a:lnTo>
                  <a:lnTo>
                    <a:pt x="589" y="2214"/>
                  </a:lnTo>
                  <a:lnTo>
                    <a:pt x="590" y="2240"/>
                  </a:lnTo>
                  <a:lnTo>
                    <a:pt x="590" y="2295"/>
                  </a:lnTo>
                  <a:lnTo>
                    <a:pt x="589" y="2306"/>
                  </a:lnTo>
                  <a:lnTo>
                    <a:pt x="586" y="2315"/>
                  </a:lnTo>
                  <a:lnTo>
                    <a:pt x="584" y="2324"/>
                  </a:lnTo>
                  <a:lnTo>
                    <a:pt x="583" y="2335"/>
                  </a:lnTo>
                  <a:lnTo>
                    <a:pt x="583" y="2340"/>
                  </a:lnTo>
                  <a:lnTo>
                    <a:pt x="584" y="2344"/>
                  </a:lnTo>
                  <a:lnTo>
                    <a:pt x="586" y="2348"/>
                  </a:lnTo>
                  <a:lnTo>
                    <a:pt x="588" y="2352"/>
                  </a:lnTo>
                  <a:lnTo>
                    <a:pt x="594" y="2359"/>
                  </a:lnTo>
                  <a:lnTo>
                    <a:pt x="603" y="2364"/>
                  </a:lnTo>
                  <a:lnTo>
                    <a:pt x="621" y="2372"/>
                  </a:lnTo>
                  <a:lnTo>
                    <a:pt x="642" y="2379"/>
                  </a:lnTo>
                  <a:lnTo>
                    <a:pt x="674" y="2392"/>
                  </a:lnTo>
                  <a:lnTo>
                    <a:pt x="703" y="2401"/>
                  </a:lnTo>
                  <a:lnTo>
                    <a:pt x="716" y="2405"/>
                  </a:lnTo>
                  <a:lnTo>
                    <a:pt x="732" y="2408"/>
                  </a:lnTo>
                  <a:lnTo>
                    <a:pt x="747" y="2409"/>
                  </a:lnTo>
                  <a:lnTo>
                    <a:pt x="765" y="2410"/>
                  </a:lnTo>
                  <a:lnTo>
                    <a:pt x="784" y="2410"/>
                  </a:lnTo>
                  <a:lnTo>
                    <a:pt x="803" y="2409"/>
                  </a:lnTo>
                  <a:lnTo>
                    <a:pt x="821" y="2407"/>
                  </a:lnTo>
                  <a:lnTo>
                    <a:pt x="839" y="2405"/>
                  </a:lnTo>
                  <a:lnTo>
                    <a:pt x="855" y="2403"/>
                  </a:lnTo>
                  <a:lnTo>
                    <a:pt x="871" y="2399"/>
                  </a:lnTo>
                  <a:lnTo>
                    <a:pt x="886" y="2396"/>
                  </a:lnTo>
                  <a:lnTo>
                    <a:pt x="903" y="2392"/>
                  </a:lnTo>
                  <a:lnTo>
                    <a:pt x="933" y="2381"/>
                  </a:lnTo>
                  <a:lnTo>
                    <a:pt x="965" y="2369"/>
                  </a:lnTo>
                  <a:lnTo>
                    <a:pt x="998" y="2356"/>
                  </a:lnTo>
                  <a:lnTo>
                    <a:pt x="1034" y="2339"/>
                  </a:lnTo>
                  <a:lnTo>
                    <a:pt x="1039" y="2336"/>
                  </a:lnTo>
                  <a:lnTo>
                    <a:pt x="1045" y="2333"/>
                  </a:lnTo>
                  <a:lnTo>
                    <a:pt x="1049" y="2329"/>
                  </a:lnTo>
                  <a:lnTo>
                    <a:pt x="1053" y="2324"/>
                  </a:lnTo>
                  <a:lnTo>
                    <a:pt x="1062" y="2314"/>
                  </a:lnTo>
                  <a:lnTo>
                    <a:pt x="1069" y="2304"/>
                  </a:lnTo>
                  <a:lnTo>
                    <a:pt x="1076" y="2295"/>
                  </a:lnTo>
                  <a:lnTo>
                    <a:pt x="1084" y="2287"/>
                  </a:lnTo>
                  <a:lnTo>
                    <a:pt x="1089" y="2284"/>
                  </a:lnTo>
                  <a:lnTo>
                    <a:pt x="1095" y="2282"/>
                  </a:lnTo>
                  <a:lnTo>
                    <a:pt x="1100" y="2281"/>
                  </a:lnTo>
                  <a:lnTo>
                    <a:pt x="1106" y="2280"/>
                  </a:lnTo>
                  <a:lnTo>
                    <a:pt x="1120" y="2280"/>
                  </a:lnTo>
                  <a:lnTo>
                    <a:pt x="1133" y="2282"/>
                  </a:lnTo>
                  <a:lnTo>
                    <a:pt x="1139" y="2283"/>
                  </a:lnTo>
                  <a:lnTo>
                    <a:pt x="1144" y="2286"/>
                  </a:lnTo>
                  <a:lnTo>
                    <a:pt x="1149" y="2289"/>
                  </a:lnTo>
                  <a:lnTo>
                    <a:pt x="1153" y="2295"/>
                  </a:lnTo>
                  <a:lnTo>
                    <a:pt x="1160" y="2304"/>
                  </a:lnTo>
                  <a:lnTo>
                    <a:pt x="1164" y="2314"/>
                  </a:lnTo>
                  <a:lnTo>
                    <a:pt x="1167" y="2325"/>
                  </a:lnTo>
                  <a:lnTo>
                    <a:pt x="1170" y="2335"/>
                  </a:lnTo>
                  <a:lnTo>
                    <a:pt x="1173" y="2345"/>
                  </a:lnTo>
                  <a:lnTo>
                    <a:pt x="1178" y="2354"/>
                  </a:lnTo>
                  <a:lnTo>
                    <a:pt x="1180" y="2357"/>
                  </a:lnTo>
                  <a:lnTo>
                    <a:pt x="1184" y="2360"/>
                  </a:lnTo>
                  <a:lnTo>
                    <a:pt x="1188" y="2362"/>
                  </a:lnTo>
                  <a:lnTo>
                    <a:pt x="1194" y="2363"/>
                  </a:lnTo>
                  <a:lnTo>
                    <a:pt x="1235" y="2368"/>
                  </a:lnTo>
                  <a:lnTo>
                    <a:pt x="1275" y="2373"/>
                  </a:lnTo>
                  <a:lnTo>
                    <a:pt x="1284" y="2375"/>
                  </a:lnTo>
                  <a:lnTo>
                    <a:pt x="1293" y="2378"/>
                  </a:lnTo>
                  <a:lnTo>
                    <a:pt x="1300" y="2381"/>
                  </a:lnTo>
                  <a:lnTo>
                    <a:pt x="1306" y="2387"/>
                  </a:lnTo>
                  <a:lnTo>
                    <a:pt x="1311" y="2392"/>
                  </a:lnTo>
                  <a:lnTo>
                    <a:pt x="1315" y="2398"/>
                  </a:lnTo>
                  <a:lnTo>
                    <a:pt x="1317" y="2406"/>
                  </a:lnTo>
                  <a:lnTo>
                    <a:pt x="1318" y="2414"/>
                  </a:lnTo>
                  <a:lnTo>
                    <a:pt x="1318" y="2420"/>
                  </a:lnTo>
                  <a:lnTo>
                    <a:pt x="1317" y="2424"/>
                  </a:lnTo>
                  <a:lnTo>
                    <a:pt x="1316" y="2428"/>
                  </a:lnTo>
                  <a:lnTo>
                    <a:pt x="1314" y="2432"/>
                  </a:lnTo>
                  <a:lnTo>
                    <a:pt x="1309" y="2437"/>
                  </a:lnTo>
                  <a:lnTo>
                    <a:pt x="1303" y="2442"/>
                  </a:lnTo>
                  <a:lnTo>
                    <a:pt x="1296" y="2446"/>
                  </a:lnTo>
                  <a:lnTo>
                    <a:pt x="1286" y="2449"/>
                  </a:lnTo>
                  <a:lnTo>
                    <a:pt x="1277" y="2452"/>
                  </a:lnTo>
                  <a:lnTo>
                    <a:pt x="1268" y="2454"/>
                  </a:lnTo>
                  <a:lnTo>
                    <a:pt x="1247" y="2458"/>
                  </a:lnTo>
                  <a:lnTo>
                    <a:pt x="1228" y="2463"/>
                  </a:lnTo>
                  <a:lnTo>
                    <a:pt x="1219" y="2467"/>
                  </a:lnTo>
                  <a:lnTo>
                    <a:pt x="1212" y="2473"/>
                  </a:lnTo>
                  <a:lnTo>
                    <a:pt x="1208" y="2476"/>
                  </a:lnTo>
                  <a:lnTo>
                    <a:pt x="1206" y="2480"/>
                  </a:lnTo>
                  <a:lnTo>
                    <a:pt x="1203" y="2484"/>
                  </a:lnTo>
                  <a:lnTo>
                    <a:pt x="1201" y="2488"/>
                  </a:lnTo>
                  <a:lnTo>
                    <a:pt x="1209" y="2493"/>
                  </a:lnTo>
                  <a:lnTo>
                    <a:pt x="1217" y="2499"/>
                  </a:lnTo>
                  <a:lnTo>
                    <a:pt x="1224" y="2504"/>
                  </a:lnTo>
                  <a:lnTo>
                    <a:pt x="1231" y="2510"/>
                  </a:lnTo>
                  <a:lnTo>
                    <a:pt x="1243" y="2522"/>
                  </a:lnTo>
                  <a:lnTo>
                    <a:pt x="1253" y="2535"/>
                  </a:lnTo>
                  <a:lnTo>
                    <a:pt x="1273" y="2563"/>
                  </a:lnTo>
                  <a:lnTo>
                    <a:pt x="1295" y="2594"/>
                  </a:lnTo>
                  <a:lnTo>
                    <a:pt x="1301" y="2601"/>
                  </a:lnTo>
                  <a:lnTo>
                    <a:pt x="1307" y="2607"/>
                  </a:lnTo>
                  <a:lnTo>
                    <a:pt x="1313" y="2612"/>
                  </a:lnTo>
                  <a:lnTo>
                    <a:pt x="1320" y="2616"/>
                  </a:lnTo>
                  <a:lnTo>
                    <a:pt x="1327" y="2621"/>
                  </a:lnTo>
                  <a:lnTo>
                    <a:pt x="1332" y="2625"/>
                  </a:lnTo>
                  <a:lnTo>
                    <a:pt x="1337" y="2631"/>
                  </a:lnTo>
                  <a:lnTo>
                    <a:pt x="1342" y="2640"/>
                  </a:lnTo>
                  <a:lnTo>
                    <a:pt x="1350" y="2641"/>
                  </a:lnTo>
                  <a:lnTo>
                    <a:pt x="1359" y="2642"/>
                  </a:lnTo>
                  <a:lnTo>
                    <a:pt x="1365" y="2641"/>
                  </a:lnTo>
                  <a:lnTo>
                    <a:pt x="1371" y="2639"/>
                  </a:lnTo>
                  <a:lnTo>
                    <a:pt x="1376" y="2635"/>
                  </a:lnTo>
                  <a:lnTo>
                    <a:pt x="1381" y="2631"/>
                  </a:lnTo>
                  <a:lnTo>
                    <a:pt x="1391" y="2622"/>
                  </a:lnTo>
                  <a:lnTo>
                    <a:pt x="1401" y="2613"/>
                  </a:lnTo>
                  <a:lnTo>
                    <a:pt x="1433" y="2591"/>
                  </a:lnTo>
                  <a:lnTo>
                    <a:pt x="1463" y="2571"/>
                  </a:lnTo>
                  <a:lnTo>
                    <a:pt x="1477" y="2563"/>
                  </a:lnTo>
                  <a:lnTo>
                    <a:pt x="1494" y="2557"/>
                  </a:lnTo>
                  <a:lnTo>
                    <a:pt x="1502" y="2555"/>
                  </a:lnTo>
                  <a:lnTo>
                    <a:pt x="1511" y="2553"/>
                  </a:lnTo>
                  <a:lnTo>
                    <a:pt x="1520" y="2552"/>
                  </a:lnTo>
                  <a:lnTo>
                    <a:pt x="1531" y="2552"/>
                  </a:lnTo>
                  <a:lnTo>
                    <a:pt x="1542" y="2553"/>
                  </a:lnTo>
                  <a:lnTo>
                    <a:pt x="1553" y="2555"/>
                  </a:lnTo>
                  <a:lnTo>
                    <a:pt x="1564" y="2559"/>
                  </a:lnTo>
                  <a:lnTo>
                    <a:pt x="1573" y="2563"/>
                  </a:lnTo>
                  <a:lnTo>
                    <a:pt x="1591" y="2576"/>
                  </a:lnTo>
                  <a:lnTo>
                    <a:pt x="1607" y="2590"/>
                  </a:lnTo>
                  <a:lnTo>
                    <a:pt x="1624" y="2603"/>
                  </a:lnTo>
                  <a:lnTo>
                    <a:pt x="1640" y="2616"/>
                  </a:lnTo>
                  <a:lnTo>
                    <a:pt x="1650" y="2620"/>
                  </a:lnTo>
                  <a:lnTo>
                    <a:pt x="1660" y="2624"/>
                  </a:lnTo>
                  <a:lnTo>
                    <a:pt x="1671" y="2626"/>
                  </a:lnTo>
                  <a:lnTo>
                    <a:pt x="1682" y="2627"/>
                  </a:lnTo>
                  <a:lnTo>
                    <a:pt x="1698" y="2627"/>
                  </a:lnTo>
                  <a:lnTo>
                    <a:pt x="1712" y="2626"/>
                  </a:lnTo>
                  <a:lnTo>
                    <a:pt x="1727" y="2625"/>
                  </a:lnTo>
                  <a:lnTo>
                    <a:pt x="1740" y="2623"/>
                  </a:lnTo>
                  <a:lnTo>
                    <a:pt x="1765" y="2617"/>
                  </a:lnTo>
                  <a:lnTo>
                    <a:pt x="1790" y="2610"/>
                  </a:lnTo>
                  <a:lnTo>
                    <a:pt x="1813" y="2601"/>
                  </a:lnTo>
                  <a:lnTo>
                    <a:pt x="1838" y="2591"/>
                  </a:lnTo>
                  <a:lnTo>
                    <a:pt x="1864" y="2581"/>
                  </a:lnTo>
                  <a:lnTo>
                    <a:pt x="1892" y="2568"/>
                  </a:lnTo>
                  <a:lnTo>
                    <a:pt x="1927" y="2556"/>
                  </a:lnTo>
                  <a:lnTo>
                    <a:pt x="1960" y="2546"/>
                  </a:lnTo>
                  <a:lnTo>
                    <a:pt x="1975" y="2540"/>
                  </a:lnTo>
                  <a:lnTo>
                    <a:pt x="1992" y="2533"/>
                  </a:lnTo>
                  <a:lnTo>
                    <a:pt x="2007" y="2525"/>
                  </a:lnTo>
                  <a:lnTo>
                    <a:pt x="2024" y="2514"/>
                  </a:lnTo>
                  <a:lnTo>
                    <a:pt x="2033" y="2506"/>
                  </a:lnTo>
                  <a:lnTo>
                    <a:pt x="2042" y="2498"/>
                  </a:lnTo>
                  <a:lnTo>
                    <a:pt x="2051" y="2490"/>
                  </a:lnTo>
                  <a:lnTo>
                    <a:pt x="2057" y="2482"/>
                  </a:lnTo>
                  <a:lnTo>
                    <a:pt x="2063" y="2473"/>
                  </a:lnTo>
                  <a:lnTo>
                    <a:pt x="2069" y="2464"/>
                  </a:lnTo>
                  <a:lnTo>
                    <a:pt x="2073" y="2455"/>
                  </a:lnTo>
                  <a:lnTo>
                    <a:pt x="2078" y="2446"/>
                  </a:lnTo>
                  <a:lnTo>
                    <a:pt x="2094" y="2406"/>
                  </a:lnTo>
                  <a:lnTo>
                    <a:pt x="2110" y="2361"/>
                  </a:lnTo>
                  <a:lnTo>
                    <a:pt x="2109" y="2352"/>
                  </a:lnTo>
                  <a:lnTo>
                    <a:pt x="2108" y="2345"/>
                  </a:lnTo>
                  <a:lnTo>
                    <a:pt x="2107" y="2337"/>
                  </a:lnTo>
                  <a:lnTo>
                    <a:pt x="2107" y="2330"/>
                  </a:lnTo>
                  <a:lnTo>
                    <a:pt x="2107" y="2316"/>
                  </a:lnTo>
                  <a:lnTo>
                    <a:pt x="2109" y="2304"/>
                  </a:lnTo>
                  <a:lnTo>
                    <a:pt x="2110" y="2292"/>
                  </a:lnTo>
                  <a:lnTo>
                    <a:pt x="2113" y="2281"/>
                  </a:lnTo>
                  <a:lnTo>
                    <a:pt x="2120" y="2260"/>
                  </a:lnTo>
                  <a:lnTo>
                    <a:pt x="2127" y="2239"/>
                  </a:lnTo>
                  <a:lnTo>
                    <a:pt x="2134" y="2218"/>
                  </a:lnTo>
                  <a:lnTo>
                    <a:pt x="2140" y="2197"/>
                  </a:lnTo>
                  <a:lnTo>
                    <a:pt x="2142" y="2185"/>
                  </a:lnTo>
                  <a:lnTo>
                    <a:pt x="2144" y="2174"/>
                  </a:lnTo>
                  <a:lnTo>
                    <a:pt x="2145" y="2161"/>
                  </a:lnTo>
                  <a:lnTo>
                    <a:pt x="2146" y="2148"/>
                  </a:lnTo>
                  <a:lnTo>
                    <a:pt x="2145" y="2141"/>
                  </a:lnTo>
                  <a:lnTo>
                    <a:pt x="2145" y="2135"/>
                  </a:lnTo>
                  <a:lnTo>
                    <a:pt x="2143" y="2128"/>
                  </a:lnTo>
                  <a:lnTo>
                    <a:pt x="2142" y="2123"/>
                  </a:lnTo>
                  <a:lnTo>
                    <a:pt x="2137" y="2113"/>
                  </a:lnTo>
                  <a:lnTo>
                    <a:pt x="2131" y="2103"/>
                  </a:lnTo>
                  <a:lnTo>
                    <a:pt x="2115" y="2084"/>
                  </a:lnTo>
                  <a:lnTo>
                    <a:pt x="2099" y="2063"/>
                  </a:lnTo>
                  <a:lnTo>
                    <a:pt x="2094" y="2058"/>
                  </a:lnTo>
                  <a:lnTo>
                    <a:pt x="2089" y="2054"/>
                  </a:lnTo>
                  <a:lnTo>
                    <a:pt x="2082" y="2050"/>
                  </a:lnTo>
                  <a:lnTo>
                    <a:pt x="2077" y="2047"/>
                  </a:lnTo>
                  <a:lnTo>
                    <a:pt x="2072" y="2044"/>
                  </a:lnTo>
                  <a:lnTo>
                    <a:pt x="2067" y="2040"/>
                  </a:lnTo>
                  <a:lnTo>
                    <a:pt x="2066" y="2036"/>
                  </a:lnTo>
                  <a:lnTo>
                    <a:pt x="2065" y="2034"/>
                  </a:lnTo>
                  <a:lnTo>
                    <a:pt x="2064" y="2031"/>
                  </a:lnTo>
                  <a:lnTo>
                    <a:pt x="2064" y="2028"/>
                  </a:lnTo>
                  <a:lnTo>
                    <a:pt x="2064" y="2018"/>
                  </a:lnTo>
                  <a:lnTo>
                    <a:pt x="2066" y="2010"/>
                  </a:lnTo>
                  <a:lnTo>
                    <a:pt x="2069" y="2001"/>
                  </a:lnTo>
                  <a:lnTo>
                    <a:pt x="2073" y="1994"/>
                  </a:lnTo>
                  <a:lnTo>
                    <a:pt x="2078" y="1987"/>
                  </a:lnTo>
                  <a:lnTo>
                    <a:pt x="2085" y="1981"/>
                  </a:lnTo>
                  <a:lnTo>
                    <a:pt x="2091" y="1976"/>
                  </a:lnTo>
                  <a:lnTo>
                    <a:pt x="2099" y="1970"/>
                  </a:lnTo>
                  <a:lnTo>
                    <a:pt x="2115" y="1962"/>
                  </a:lnTo>
                  <a:lnTo>
                    <a:pt x="2133" y="1955"/>
                  </a:lnTo>
                  <a:lnTo>
                    <a:pt x="2153" y="1949"/>
                  </a:lnTo>
                  <a:lnTo>
                    <a:pt x="2172" y="1943"/>
                  </a:lnTo>
                  <a:lnTo>
                    <a:pt x="2179" y="1940"/>
                  </a:lnTo>
                  <a:lnTo>
                    <a:pt x="2187" y="1938"/>
                  </a:lnTo>
                  <a:lnTo>
                    <a:pt x="2193" y="1935"/>
                  </a:lnTo>
                  <a:lnTo>
                    <a:pt x="2199" y="1931"/>
                  </a:lnTo>
                  <a:lnTo>
                    <a:pt x="2204" y="1927"/>
                  </a:lnTo>
                  <a:lnTo>
                    <a:pt x="2208" y="1922"/>
                  </a:lnTo>
                  <a:lnTo>
                    <a:pt x="2211" y="1916"/>
                  </a:lnTo>
                  <a:lnTo>
                    <a:pt x="2212" y="1908"/>
                  </a:lnTo>
                  <a:lnTo>
                    <a:pt x="2211" y="1892"/>
                  </a:lnTo>
                  <a:lnTo>
                    <a:pt x="2209" y="1876"/>
                  </a:lnTo>
                  <a:lnTo>
                    <a:pt x="2207" y="1863"/>
                  </a:lnTo>
                  <a:lnTo>
                    <a:pt x="2203" y="1850"/>
                  </a:lnTo>
                  <a:lnTo>
                    <a:pt x="2198" y="1836"/>
                  </a:lnTo>
                  <a:lnTo>
                    <a:pt x="2192" y="1823"/>
                  </a:lnTo>
                  <a:lnTo>
                    <a:pt x="2185" y="1808"/>
                  </a:lnTo>
                  <a:lnTo>
                    <a:pt x="2176" y="1794"/>
                  </a:lnTo>
                  <a:lnTo>
                    <a:pt x="2166" y="1780"/>
                  </a:lnTo>
                  <a:lnTo>
                    <a:pt x="2154" y="1768"/>
                  </a:lnTo>
                  <a:lnTo>
                    <a:pt x="2140" y="1757"/>
                  </a:lnTo>
                  <a:lnTo>
                    <a:pt x="2127" y="1746"/>
                  </a:lnTo>
                  <a:lnTo>
                    <a:pt x="2100" y="1727"/>
                  </a:lnTo>
                  <a:lnTo>
                    <a:pt x="2073" y="1708"/>
                  </a:lnTo>
                  <a:lnTo>
                    <a:pt x="2061" y="1698"/>
                  </a:lnTo>
                  <a:lnTo>
                    <a:pt x="2048" y="1688"/>
                  </a:lnTo>
                  <a:lnTo>
                    <a:pt x="2038" y="1677"/>
                  </a:lnTo>
                  <a:lnTo>
                    <a:pt x="2030" y="1666"/>
                  </a:lnTo>
                  <a:lnTo>
                    <a:pt x="2026" y="1660"/>
                  </a:lnTo>
                  <a:lnTo>
                    <a:pt x="2022" y="1653"/>
                  </a:lnTo>
                  <a:lnTo>
                    <a:pt x="2019" y="1646"/>
                  </a:lnTo>
                  <a:lnTo>
                    <a:pt x="2016" y="1640"/>
                  </a:lnTo>
                  <a:lnTo>
                    <a:pt x="2014" y="1632"/>
                  </a:lnTo>
                  <a:lnTo>
                    <a:pt x="2013" y="1624"/>
                  </a:lnTo>
                  <a:lnTo>
                    <a:pt x="2012" y="1616"/>
                  </a:lnTo>
                  <a:lnTo>
                    <a:pt x="2011" y="1608"/>
                  </a:lnTo>
                  <a:lnTo>
                    <a:pt x="2012" y="1600"/>
                  </a:lnTo>
                  <a:lnTo>
                    <a:pt x="2013" y="1591"/>
                  </a:lnTo>
                  <a:lnTo>
                    <a:pt x="2014" y="1584"/>
                  </a:lnTo>
                  <a:lnTo>
                    <a:pt x="2016" y="1578"/>
                  </a:lnTo>
                  <a:lnTo>
                    <a:pt x="2022" y="1565"/>
                  </a:lnTo>
                  <a:lnTo>
                    <a:pt x="2028" y="1553"/>
                  </a:lnTo>
                  <a:lnTo>
                    <a:pt x="2034" y="1541"/>
                  </a:lnTo>
                  <a:lnTo>
                    <a:pt x="2040" y="1528"/>
                  </a:lnTo>
                  <a:lnTo>
                    <a:pt x="2045" y="1514"/>
                  </a:lnTo>
                  <a:lnTo>
                    <a:pt x="2049" y="1498"/>
                  </a:lnTo>
                  <a:lnTo>
                    <a:pt x="2055" y="1468"/>
                  </a:lnTo>
                  <a:lnTo>
                    <a:pt x="2058" y="1440"/>
                  </a:lnTo>
                  <a:lnTo>
                    <a:pt x="2061" y="1411"/>
                  </a:lnTo>
                  <a:lnTo>
                    <a:pt x="2061" y="1379"/>
                  </a:lnTo>
                  <a:lnTo>
                    <a:pt x="2062" y="1345"/>
                  </a:lnTo>
                  <a:lnTo>
                    <a:pt x="2063" y="1314"/>
                  </a:lnTo>
                  <a:lnTo>
                    <a:pt x="2062" y="1298"/>
                  </a:lnTo>
                  <a:lnTo>
                    <a:pt x="2060" y="1284"/>
                  </a:lnTo>
                  <a:lnTo>
                    <a:pt x="2058" y="1276"/>
                  </a:lnTo>
                  <a:lnTo>
                    <a:pt x="2055" y="1269"/>
                  </a:lnTo>
                  <a:lnTo>
                    <a:pt x="2052" y="1261"/>
                  </a:lnTo>
                  <a:lnTo>
                    <a:pt x="2047" y="1254"/>
                  </a:lnTo>
                  <a:lnTo>
                    <a:pt x="2040" y="1244"/>
                  </a:lnTo>
                  <a:lnTo>
                    <a:pt x="2033" y="1237"/>
                  </a:lnTo>
                  <a:lnTo>
                    <a:pt x="2030" y="1234"/>
                  </a:lnTo>
                  <a:lnTo>
                    <a:pt x="2026" y="1230"/>
                  </a:lnTo>
                  <a:lnTo>
                    <a:pt x="2024" y="1226"/>
                  </a:lnTo>
                  <a:lnTo>
                    <a:pt x="2021" y="1221"/>
                  </a:lnTo>
                  <a:lnTo>
                    <a:pt x="2035" y="1213"/>
                  </a:lnTo>
                  <a:lnTo>
                    <a:pt x="2048" y="1208"/>
                  </a:lnTo>
                  <a:lnTo>
                    <a:pt x="2061" y="1205"/>
                  </a:lnTo>
                  <a:lnTo>
                    <a:pt x="2074" y="1202"/>
                  </a:lnTo>
                  <a:lnTo>
                    <a:pt x="2087" y="1199"/>
                  </a:lnTo>
                  <a:lnTo>
                    <a:pt x="2100" y="1195"/>
                  </a:lnTo>
                  <a:lnTo>
                    <a:pt x="2113" y="1190"/>
                  </a:lnTo>
                  <a:lnTo>
                    <a:pt x="2127" y="1182"/>
                  </a:lnTo>
                  <a:lnTo>
                    <a:pt x="2132" y="1179"/>
                  </a:lnTo>
                  <a:lnTo>
                    <a:pt x="2137" y="1175"/>
                  </a:lnTo>
                  <a:lnTo>
                    <a:pt x="2140" y="1171"/>
                  </a:lnTo>
                  <a:lnTo>
                    <a:pt x="2143" y="1166"/>
                  </a:lnTo>
                  <a:lnTo>
                    <a:pt x="2146" y="1162"/>
                  </a:lnTo>
                  <a:lnTo>
                    <a:pt x="2148" y="1157"/>
                  </a:lnTo>
                  <a:lnTo>
                    <a:pt x="2150" y="1150"/>
                  </a:lnTo>
                  <a:lnTo>
                    <a:pt x="2151" y="1145"/>
                  </a:lnTo>
                  <a:lnTo>
                    <a:pt x="2153" y="1122"/>
                  </a:lnTo>
                  <a:lnTo>
                    <a:pt x="2153" y="1096"/>
                  </a:lnTo>
                  <a:lnTo>
                    <a:pt x="2156" y="1066"/>
                  </a:lnTo>
                  <a:lnTo>
                    <a:pt x="2159" y="1040"/>
                  </a:lnTo>
                  <a:lnTo>
                    <a:pt x="2162" y="1014"/>
                  </a:lnTo>
                  <a:lnTo>
                    <a:pt x="2163" y="985"/>
                  </a:lnTo>
                  <a:lnTo>
                    <a:pt x="2163" y="932"/>
                  </a:lnTo>
                  <a:lnTo>
                    <a:pt x="2162" y="924"/>
                  </a:lnTo>
                  <a:lnTo>
                    <a:pt x="2160" y="918"/>
                  </a:lnTo>
                  <a:lnTo>
                    <a:pt x="2157" y="913"/>
                  </a:lnTo>
                  <a:lnTo>
                    <a:pt x="2154" y="908"/>
                  </a:lnTo>
                  <a:lnTo>
                    <a:pt x="2143" y="899"/>
                  </a:lnTo>
                  <a:lnTo>
                    <a:pt x="2132" y="891"/>
                  </a:lnTo>
                  <a:lnTo>
                    <a:pt x="2120" y="884"/>
                  </a:lnTo>
                  <a:lnTo>
                    <a:pt x="2108" y="875"/>
                  </a:lnTo>
                  <a:lnTo>
                    <a:pt x="2103" y="871"/>
                  </a:lnTo>
                  <a:lnTo>
                    <a:pt x="2099" y="865"/>
                  </a:lnTo>
                  <a:lnTo>
                    <a:pt x="2095" y="859"/>
                  </a:lnTo>
                  <a:lnTo>
                    <a:pt x="2092" y="852"/>
                  </a:lnTo>
                  <a:lnTo>
                    <a:pt x="2086" y="825"/>
                  </a:lnTo>
                  <a:lnTo>
                    <a:pt x="2081" y="798"/>
                  </a:lnTo>
                  <a:lnTo>
                    <a:pt x="2079" y="792"/>
                  </a:lnTo>
                  <a:lnTo>
                    <a:pt x="2077" y="786"/>
                  </a:lnTo>
                  <a:lnTo>
                    <a:pt x="2075" y="781"/>
                  </a:lnTo>
                  <a:lnTo>
                    <a:pt x="2072" y="777"/>
                  </a:lnTo>
                  <a:lnTo>
                    <a:pt x="2068" y="774"/>
                  </a:lnTo>
                  <a:lnTo>
                    <a:pt x="2064" y="770"/>
                  </a:lnTo>
                  <a:lnTo>
                    <a:pt x="2058" y="768"/>
                  </a:lnTo>
                  <a:lnTo>
                    <a:pt x="2052" y="767"/>
                  </a:lnTo>
                  <a:lnTo>
                    <a:pt x="2056" y="755"/>
                  </a:lnTo>
                  <a:lnTo>
                    <a:pt x="2060" y="744"/>
                  </a:lnTo>
                  <a:lnTo>
                    <a:pt x="2065" y="733"/>
                  </a:lnTo>
                  <a:lnTo>
                    <a:pt x="2071" y="724"/>
                  </a:lnTo>
                  <a:lnTo>
                    <a:pt x="2082" y="704"/>
                  </a:lnTo>
                  <a:lnTo>
                    <a:pt x="2094" y="683"/>
                  </a:lnTo>
                  <a:lnTo>
                    <a:pt x="2099" y="666"/>
                  </a:lnTo>
                  <a:lnTo>
                    <a:pt x="2101" y="652"/>
                  </a:lnTo>
                  <a:lnTo>
                    <a:pt x="2102" y="644"/>
                  </a:lnTo>
                  <a:lnTo>
                    <a:pt x="2104" y="638"/>
                  </a:lnTo>
                  <a:lnTo>
                    <a:pt x="2108" y="631"/>
                  </a:lnTo>
                  <a:lnTo>
                    <a:pt x="2113" y="626"/>
                  </a:lnTo>
                  <a:lnTo>
                    <a:pt x="2118" y="622"/>
                  </a:lnTo>
                  <a:lnTo>
                    <a:pt x="2122" y="619"/>
                  </a:lnTo>
                  <a:lnTo>
                    <a:pt x="2126" y="617"/>
                  </a:lnTo>
                  <a:lnTo>
                    <a:pt x="2131" y="615"/>
                  </a:lnTo>
                  <a:lnTo>
                    <a:pt x="2140" y="611"/>
                  </a:lnTo>
                  <a:lnTo>
                    <a:pt x="2150" y="610"/>
                  </a:lnTo>
                  <a:lnTo>
                    <a:pt x="2160" y="609"/>
                  </a:lnTo>
                  <a:lnTo>
                    <a:pt x="2170" y="607"/>
                  </a:lnTo>
                  <a:lnTo>
                    <a:pt x="2180" y="605"/>
                  </a:lnTo>
                  <a:lnTo>
                    <a:pt x="2191" y="602"/>
                  </a:lnTo>
                  <a:lnTo>
                    <a:pt x="2196" y="599"/>
                  </a:lnTo>
                  <a:lnTo>
                    <a:pt x="2200" y="595"/>
                  </a:lnTo>
                  <a:lnTo>
                    <a:pt x="2203" y="591"/>
                  </a:lnTo>
                  <a:lnTo>
                    <a:pt x="2206" y="586"/>
                  </a:lnTo>
                  <a:lnTo>
                    <a:pt x="2210" y="581"/>
                  </a:lnTo>
                  <a:lnTo>
                    <a:pt x="2213" y="577"/>
                  </a:lnTo>
                  <a:lnTo>
                    <a:pt x="2219" y="574"/>
                  </a:lnTo>
                  <a:lnTo>
                    <a:pt x="2224" y="573"/>
                  </a:lnTo>
                  <a:lnTo>
                    <a:pt x="2231" y="574"/>
                  </a:lnTo>
                  <a:lnTo>
                    <a:pt x="2237" y="575"/>
                  </a:lnTo>
                  <a:lnTo>
                    <a:pt x="2243" y="577"/>
                  </a:lnTo>
                  <a:lnTo>
                    <a:pt x="2250" y="580"/>
                  </a:lnTo>
                  <a:lnTo>
                    <a:pt x="2260" y="587"/>
                  </a:lnTo>
                  <a:lnTo>
                    <a:pt x="2270" y="595"/>
                  </a:lnTo>
                  <a:lnTo>
                    <a:pt x="2279" y="602"/>
                  </a:lnTo>
                  <a:lnTo>
                    <a:pt x="2291" y="609"/>
                  </a:lnTo>
                  <a:lnTo>
                    <a:pt x="2296" y="612"/>
                  </a:lnTo>
                  <a:lnTo>
                    <a:pt x="2302" y="615"/>
                  </a:lnTo>
                  <a:lnTo>
                    <a:pt x="2308" y="616"/>
                  </a:lnTo>
                  <a:lnTo>
                    <a:pt x="2316" y="616"/>
                  </a:lnTo>
                  <a:lnTo>
                    <a:pt x="2322" y="616"/>
                  </a:lnTo>
                  <a:lnTo>
                    <a:pt x="2328" y="615"/>
                  </a:lnTo>
                  <a:lnTo>
                    <a:pt x="2333" y="612"/>
                  </a:lnTo>
                  <a:lnTo>
                    <a:pt x="2338" y="610"/>
                  </a:lnTo>
                  <a:lnTo>
                    <a:pt x="2342" y="607"/>
                  </a:lnTo>
                  <a:lnTo>
                    <a:pt x="2345" y="603"/>
                  </a:lnTo>
                  <a:lnTo>
                    <a:pt x="2348" y="598"/>
                  </a:lnTo>
                  <a:lnTo>
                    <a:pt x="2349" y="593"/>
                  </a:lnTo>
                  <a:lnTo>
                    <a:pt x="2349" y="584"/>
                  </a:lnTo>
                  <a:lnTo>
                    <a:pt x="2348" y="574"/>
                  </a:lnTo>
                  <a:lnTo>
                    <a:pt x="2345" y="566"/>
                  </a:lnTo>
                  <a:lnTo>
                    <a:pt x="2343" y="559"/>
                  </a:lnTo>
                  <a:lnTo>
                    <a:pt x="2336" y="544"/>
                  </a:lnTo>
                  <a:lnTo>
                    <a:pt x="2328" y="531"/>
                  </a:lnTo>
                  <a:lnTo>
                    <a:pt x="2308" y="504"/>
                  </a:lnTo>
                  <a:lnTo>
                    <a:pt x="2288" y="474"/>
                  </a:lnTo>
                  <a:lnTo>
                    <a:pt x="2279" y="460"/>
                  </a:lnTo>
                  <a:lnTo>
                    <a:pt x="2272" y="446"/>
                  </a:lnTo>
                  <a:lnTo>
                    <a:pt x="2268" y="441"/>
                  </a:lnTo>
                  <a:lnTo>
                    <a:pt x="2263" y="436"/>
                  </a:lnTo>
                  <a:lnTo>
                    <a:pt x="2258" y="432"/>
                  </a:lnTo>
                  <a:lnTo>
                    <a:pt x="2250" y="430"/>
                  </a:lnTo>
                  <a:lnTo>
                    <a:pt x="2254" y="415"/>
                  </a:lnTo>
                  <a:lnTo>
                    <a:pt x="2257" y="401"/>
                  </a:lnTo>
                  <a:lnTo>
                    <a:pt x="2256" y="396"/>
                  </a:lnTo>
                  <a:lnTo>
                    <a:pt x="2255" y="391"/>
                  </a:lnTo>
                  <a:lnTo>
                    <a:pt x="2252" y="387"/>
                  </a:lnTo>
                  <a:lnTo>
                    <a:pt x="2250" y="382"/>
                  </a:lnTo>
                  <a:lnTo>
                    <a:pt x="2275" y="378"/>
                  </a:lnTo>
                  <a:lnTo>
                    <a:pt x="2298" y="374"/>
                  </a:lnTo>
                  <a:lnTo>
                    <a:pt x="2321" y="372"/>
                  </a:lnTo>
                  <a:lnTo>
                    <a:pt x="2346" y="371"/>
                  </a:lnTo>
                  <a:lnTo>
                    <a:pt x="2346" y="351"/>
                  </a:lnTo>
                  <a:lnTo>
                    <a:pt x="2292" y="149"/>
                  </a:lnTo>
                  <a:lnTo>
                    <a:pt x="2294" y="138"/>
                  </a:lnTo>
                  <a:lnTo>
                    <a:pt x="2296" y="129"/>
                  </a:lnTo>
                  <a:lnTo>
                    <a:pt x="2299" y="120"/>
                  </a:lnTo>
                  <a:lnTo>
                    <a:pt x="2302" y="111"/>
                  </a:lnTo>
                  <a:lnTo>
                    <a:pt x="2308" y="95"/>
                  </a:lnTo>
                  <a:lnTo>
                    <a:pt x="2317" y="80"/>
                  </a:lnTo>
                  <a:lnTo>
                    <a:pt x="2325" y="64"/>
                  </a:lnTo>
                  <a:lnTo>
                    <a:pt x="2333" y="49"/>
                  </a:lnTo>
                  <a:lnTo>
                    <a:pt x="2341" y="31"/>
                  </a:lnTo>
                  <a:lnTo>
                    <a:pt x="2348" y="13"/>
                  </a:lnTo>
                  <a:lnTo>
                    <a:pt x="2337" y="9"/>
                  </a:lnTo>
                  <a:lnTo>
                    <a:pt x="2327" y="7"/>
                  </a:lnTo>
                  <a:lnTo>
                    <a:pt x="2316" y="7"/>
                  </a:lnTo>
                  <a:lnTo>
                    <a:pt x="2303" y="7"/>
                  </a:lnTo>
                  <a:lnTo>
                    <a:pt x="2245" y="7"/>
                  </a:lnTo>
                  <a:lnTo>
                    <a:pt x="2225" y="5"/>
                  </a:lnTo>
                  <a:lnTo>
                    <a:pt x="2207" y="2"/>
                  </a:lnTo>
                  <a:lnTo>
                    <a:pt x="2190" y="1"/>
                  </a:lnTo>
                  <a:lnTo>
                    <a:pt x="2169" y="0"/>
                  </a:lnTo>
                  <a:lnTo>
                    <a:pt x="2158" y="0"/>
                  </a:lnTo>
                  <a:lnTo>
                    <a:pt x="2146" y="0"/>
                  </a:lnTo>
                  <a:lnTo>
                    <a:pt x="2135" y="2"/>
                  </a:lnTo>
                  <a:lnTo>
                    <a:pt x="2125" y="3"/>
                  </a:lnTo>
                  <a:lnTo>
                    <a:pt x="2115" y="6"/>
                  </a:lnTo>
                  <a:lnTo>
                    <a:pt x="2105" y="9"/>
                  </a:lnTo>
                  <a:lnTo>
                    <a:pt x="2095" y="15"/>
                  </a:lnTo>
                  <a:lnTo>
                    <a:pt x="2085" y="21"/>
                  </a:lnTo>
                  <a:lnTo>
                    <a:pt x="2081" y="24"/>
                  </a:lnTo>
                  <a:lnTo>
                    <a:pt x="2078" y="27"/>
                  </a:lnTo>
                  <a:lnTo>
                    <a:pt x="2076" y="30"/>
                  </a:lnTo>
                  <a:lnTo>
                    <a:pt x="2074" y="34"/>
                  </a:lnTo>
                  <a:lnTo>
                    <a:pt x="2072" y="41"/>
                  </a:lnTo>
                  <a:lnTo>
                    <a:pt x="2070" y="50"/>
                  </a:lnTo>
                  <a:lnTo>
                    <a:pt x="2068" y="57"/>
                  </a:lnTo>
                  <a:lnTo>
                    <a:pt x="2066" y="65"/>
                  </a:lnTo>
                  <a:lnTo>
                    <a:pt x="2065" y="68"/>
                  </a:lnTo>
                  <a:lnTo>
                    <a:pt x="2063" y="72"/>
                  </a:lnTo>
                  <a:lnTo>
                    <a:pt x="2060" y="76"/>
                  </a:lnTo>
                  <a:lnTo>
                    <a:pt x="2057" y="78"/>
                  </a:lnTo>
                  <a:lnTo>
                    <a:pt x="2048" y="83"/>
                  </a:lnTo>
                  <a:lnTo>
                    <a:pt x="2040" y="87"/>
                  </a:lnTo>
                  <a:lnTo>
                    <a:pt x="2031" y="89"/>
                  </a:lnTo>
                  <a:lnTo>
                    <a:pt x="2023" y="90"/>
                  </a:lnTo>
                  <a:lnTo>
                    <a:pt x="2005" y="91"/>
                  </a:lnTo>
                  <a:lnTo>
                    <a:pt x="1986" y="94"/>
                  </a:lnTo>
                  <a:lnTo>
                    <a:pt x="1977" y="97"/>
                  </a:lnTo>
                  <a:lnTo>
                    <a:pt x="1970" y="100"/>
                  </a:lnTo>
                  <a:lnTo>
                    <a:pt x="1963" y="104"/>
                  </a:lnTo>
                  <a:lnTo>
                    <a:pt x="1957" y="109"/>
                  </a:lnTo>
                  <a:lnTo>
                    <a:pt x="1944" y="118"/>
                  </a:lnTo>
                  <a:lnTo>
                    <a:pt x="1933" y="127"/>
                  </a:lnTo>
                  <a:lnTo>
                    <a:pt x="1922" y="136"/>
                  </a:lnTo>
                  <a:lnTo>
                    <a:pt x="1909" y="144"/>
                  </a:lnTo>
                  <a:lnTo>
                    <a:pt x="1903" y="147"/>
                  </a:lnTo>
                  <a:lnTo>
                    <a:pt x="1896" y="149"/>
                  </a:lnTo>
                  <a:lnTo>
                    <a:pt x="1889" y="151"/>
                  </a:lnTo>
                  <a:lnTo>
                    <a:pt x="1879" y="151"/>
                  </a:lnTo>
                  <a:lnTo>
                    <a:pt x="1854" y="151"/>
                  </a:lnTo>
                  <a:lnTo>
                    <a:pt x="1829" y="149"/>
                  </a:lnTo>
                  <a:lnTo>
                    <a:pt x="1806" y="146"/>
                  </a:lnTo>
                  <a:lnTo>
                    <a:pt x="1784" y="142"/>
                  </a:lnTo>
                  <a:lnTo>
                    <a:pt x="1763" y="136"/>
                  </a:lnTo>
                  <a:lnTo>
                    <a:pt x="1741" y="129"/>
                  </a:lnTo>
                  <a:lnTo>
                    <a:pt x="1718" y="121"/>
                  </a:lnTo>
                  <a:lnTo>
                    <a:pt x="1694" y="111"/>
                  </a:lnTo>
                  <a:lnTo>
                    <a:pt x="1674" y="102"/>
                  </a:lnTo>
                  <a:lnTo>
                    <a:pt x="1658" y="93"/>
                  </a:lnTo>
                  <a:lnTo>
                    <a:pt x="1648" y="90"/>
                  </a:lnTo>
                  <a:lnTo>
                    <a:pt x="1640" y="87"/>
                  </a:lnTo>
                  <a:lnTo>
                    <a:pt x="1630" y="86"/>
                  </a:lnTo>
                  <a:lnTo>
                    <a:pt x="1619" y="85"/>
                  </a:lnTo>
                  <a:lnTo>
                    <a:pt x="1604" y="86"/>
                  </a:lnTo>
                  <a:lnTo>
                    <a:pt x="1591" y="88"/>
                  </a:lnTo>
                  <a:lnTo>
                    <a:pt x="1578" y="90"/>
                  </a:lnTo>
                  <a:lnTo>
                    <a:pt x="1566" y="93"/>
                  </a:lnTo>
                  <a:lnTo>
                    <a:pt x="1553" y="96"/>
                  </a:lnTo>
                  <a:lnTo>
                    <a:pt x="1541" y="99"/>
                  </a:lnTo>
                  <a:lnTo>
                    <a:pt x="1527" y="100"/>
                  </a:lnTo>
                  <a:lnTo>
                    <a:pt x="1512" y="101"/>
                  </a:lnTo>
                  <a:lnTo>
                    <a:pt x="1503" y="98"/>
                  </a:lnTo>
                  <a:lnTo>
                    <a:pt x="1493" y="94"/>
                  </a:lnTo>
                  <a:lnTo>
                    <a:pt x="1487" y="95"/>
                  </a:lnTo>
                  <a:lnTo>
                    <a:pt x="1483" y="97"/>
                  </a:lnTo>
                  <a:lnTo>
                    <a:pt x="1480" y="101"/>
                  </a:lnTo>
                  <a:lnTo>
                    <a:pt x="1477" y="105"/>
                  </a:lnTo>
                  <a:lnTo>
                    <a:pt x="1472" y="116"/>
                  </a:lnTo>
                  <a:lnTo>
                    <a:pt x="1465" y="125"/>
                  </a:lnTo>
                  <a:lnTo>
                    <a:pt x="1457" y="133"/>
                  </a:lnTo>
                  <a:lnTo>
                    <a:pt x="1450" y="143"/>
                  </a:lnTo>
                  <a:lnTo>
                    <a:pt x="1445" y="152"/>
                  </a:lnTo>
                  <a:lnTo>
                    <a:pt x="1442" y="161"/>
                  </a:lnTo>
                  <a:lnTo>
                    <a:pt x="1439" y="172"/>
                  </a:lnTo>
                  <a:lnTo>
                    <a:pt x="1438" y="182"/>
                  </a:lnTo>
                  <a:lnTo>
                    <a:pt x="1437" y="193"/>
                  </a:lnTo>
                  <a:lnTo>
                    <a:pt x="1437" y="206"/>
                  </a:lnTo>
                  <a:lnTo>
                    <a:pt x="1438" y="219"/>
                  </a:lnTo>
                  <a:lnTo>
                    <a:pt x="1439" y="233"/>
                  </a:lnTo>
                  <a:lnTo>
                    <a:pt x="1438" y="240"/>
                  </a:lnTo>
                  <a:lnTo>
                    <a:pt x="1437" y="246"/>
                  </a:lnTo>
                  <a:lnTo>
                    <a:pt x="1435" y="251"/>
                  </a:lnTo>
                  <a:lnTo>
                    <a:pt x="1432" y="255"/>
                  </a:lnTo>
                  <a:lnTo>
                    <a:pt x="1425" y="264"/>
                  </a:lnTo>
                  <a:lnTo>
                    <a:pt x="1416" y="272"/>
                  </a:lnTo>
                  <a:lnTo>
                    <a:pt x="1407" y="280"/>
                  </a:lnTo>
                  <a:lnTo>
                    <a:pt x="1399" y="288"/>
                  </a:lnTo>
                  <a:lnTo>
                    <a:pt x="1396" y="292"/>
                  </a:lnTo>
                  <a:lnTo>
                    <a:pt x="1392" y="298"/>
                  </a:lnTo>
                  <a:lnTo>
                    <a:pt x="1389" y="303"/>
                  </a:lnTo>
                  <a:lnTo>
                    <a:pt x="1387" y="309"/>
                  </a:lnTo>
                  <a:lnTo>
                    <a:pt x="1381" y="340"/>
                  </a:lnTo>
                  <a:lnTo>
                    <a:pt x="1378" y="370"/>
                  </a:lnTo>
                  <a:lnTo>
                    <a:pt x="1377" y="376"/>
                  </a:lnTo>
                  <a:lnTo>
                    <a:pt x="1375" y="383"/>
                  </a:lnTo>
                  <a:lnTo>
                    <a:pt x="1373" y="389"/>
                  </a:lnTo>
                  <a:lnTo>
                    <a:pt x="1370" y="395"/>
                  </a:lnTo>
                  <a:lnTo>
                    <a:pt x="1366" y="400"/>
                  </a:lnTo>
                  <a:lnTo>
                    <a:pt x="1362" y="405"/>
                  </a:lnTo>
                  <a:lnTo>
                    <a:pt x="1355" y="409"/>
                  </a:lnTo>
                  <a:lnTo>
                    <a:pt x="1349" y="413"/>
                  </a:lnTo>
                  <a:lnTo>
                    <a:pt x="1341" y="416"/>
                  </a:lnTo>
                  <a:lnTo>
                    <a:pt x="1334" y="418"/>
                  </a:lnTo>
                  <a:lnTo>
                    <a:pt x="1327" y="420"/>
                  </a:lnTo>
                  <a:lnTo>
                    <a:pt x="1320" y="420"/>
                  </a:lnTo>
                  <a:lnTo>
                    <a:pt x="1306" y="420"/>
                  </a:lnTo>
                  <a:lnTo>
                    <a:pt x="1289" y="420"/>
                  </a:lnTo>
                  <a:lnTo>
                    <a:pt x="1274" y="419"/>
                  </a:lnTo>
                  <a:lnTo>
                    <a:pt x="1262" y="416"/>
                  </a:lnTo>
                  <a:lnTo>
                    <a:pt x="1248" y="414"/>
                  </a:lnTo>
                  <a:lnTo>
                    <a:pt x="1234" y="413"/>
                  </a:lnTo>
                  <a:lnTo>
                    <a:pt x="1228" y="413"/>
                  </a:lnTo>
                  <a:lnTo>
                    <a:pt x="1222" y="415"/>
                  </a:lnTo>
                  <a:lnTo>
                    <a:pt x="1218" y="417"/>
                  </a:lnTo>
                  <a:lnTo>
                    <a:pt x="1214" y="420"/>
                  </a:lnTo>
                  <a:lnTo>
                    <a:pt x="1207" y="428"/>
                  </a:lnTo>
                  <a:lnTo>
                    <a:pt x="1200" y="436"/>
                  </a:lnTo>
                  <a:lnTo>
                    <a:pt x="1193" y="444"/>
                  </a:lnTo>
                  <a:lnTo>
                    <a:pt x="1185" y="451"/>
                  </a:lnTo>
                  <a:lnTo>
                    <a:pt x="1181" y="453"/>
                  </a:lnTo>
                  <a:lnTo>
                    <a:pt x="1176" y="456"/>
                  </a:lnTo>
                  <a:lnTo>
                    <a:pt x="1171" y="458"/>
                  </a:lnTo>
                  <a:lnTo>
                    <a:pt x="1166" y="458"/>
                  </a:lnTo>
                  <a:lnTo>
                    <a:pt x="1158" y="458"/>
                  </a:lnTo>
                  <a:lnTo>
                    <a:pt x="1152" y="456"/>
                  </a:lnTo>
                  <a:lnTo>
                    <a:pt x="1147" y="453"/>
                  </a:lnTo>
                  <a:lnTo>
                    <a:pt x="1142" y="450"/>
                  </a:lnTo>
                  <a:lnTo>
                    <a:pt x="1137" y="446"/>
                  </a:lnTo>
                  <a:lnTo>
                    <a:pt x="1134" y="441"/>
                  </a:lnTo>
                  <a:lnTo>
                    <a:pt x="1130" y="436"/>
                  </a:lnTo>
                  <a:lnTo>
                    <a:pt x="1127" y="431"/>
                  </a:lnTo>
                  <a:lnTo>
                    <a:pt x="1120" y="418"/>
                  </a:lnTo>
                  <a:lnTo>
                    <a:pt x="1113" y="406"/>
                  </a:lnTo>
                  <a:lnTo>
                    <a:pt x="1106" y="394"/>
                  </a:lnTo>
                  <a:lnTo>
                    <a:pt x="1097" y="382"/>
                  </a:lnTo>
                  <a:lnTo>
                    <a:pt x="1091" y="378"/>
                  </a:lnTo>
                  <a:lnTo>
                    <a:pt x="1086" y="374"/>
                  </a:lnTo>
                  <a:lnTo>
                    <a:pt x="1081" y="371"/>
                  </a:lnTo>
                  <a:lnTo>
                    <a:pt x="1075" y="369"/>
                  </a:lnTo>
                  <a:lnTo>
                    <a:pt x="1064" y="367"/>
                  </a:lnTo>
                  <a:lnTo>
                    <a:pt x="1051" y="366"/>
                  </a:lnTo>
                  <a:lnTo>
                    <a:pt x="1038" y="367"/>
                  </a:lnTo>
                  <a:lnTo>
                    <a:pt x="1024" y="367"/>
                  </a:lnTo>
                  <a:lnTo>
                    <a:pt x="1010" y="368"/>
                  </a:lnTo>
                  <a:lnTo>
                    <a:pt x="996" y="366"/>
                  </a:lnTo>
                  <a:lnTo>
                    <a:pt x="980" y="371"/>
                  </a:lnTo>
                  <a:lnTo>
                    <a:pt x="967" y="374"/>
                  </a:lnTo>
                  <a:lnTo>
                    <a:pt x="953" y="377"/>
                  </a:lnTo>
                  <a:lnTo>
                    <a:pt x="941" y="378"/>
                  </a:lnTo>
                  <a:lnTo>
                    <a:pt x="915" y="380"/>
                  </a:lnTo>
                  <a:lnTo>
                    <a:pt x="885" y="380"/>
                  </a:lnTo>
                  <a:lnTo>
                    <a:pt x="863" y="379"/>
                  </a:lnTo>
                  <a:lnTo>
                    <a:pt x="841" y="378"/>
                  </a:lnTo>
                  <a:lnTo>
                    <a:pt x="821" y="376"/>
                  </a:lnTo>
                  <a:lnTo>
                    <a:pt x="803" y="374"/>
                  </a:lnTo>
                  <a:lnTo>
                    <a:pt x="784" y="372"/>
                  </a:lnTo>
                  <a:lnTo>
                    <a:pt x="765" y="370"/>
                  </a:lnTo>
                  <a:lnTo>
                    <a:pt x="744" y="369"/>
                  </a:lnTo>
                  <a:lnTo>
                    <a:pt x="721" y="368"/>
                  </a:lnTo>
                  <a:lnTo>
                    <a:pt x="709" y="369"/>
                  </a:lnTo>
                  <a:lnTo>
                    <a:pt x="698" y="372"/>
                  </a:lnTo>
                  <a:lnTo>
                    <a:pt x="687" y="375"/>
                  </a:lnTo>
                  <a:lnTo>
                    <a:pt x="677" y="380"/>
                  </a:lnTo>
                  <a:lnTo>
                    <a:pt x="658" y="393"/>
                  </a:lnTo>
                  <a:lnTo>
                    <a:pt x="638" y="406"/>
                  </a:lnTo>
                  <a:lnTo>
                    <a:pt x="622" y="414"/>
                  </a:lnTo>
                  <a:lnTo>
                    <a:pt x="609" y="424"/>
                  </a:lnTo>
                  <a:lnTo>
                    <a:pt x="603" y="428"/>
                  </a:lnTo>
                  <a:lnTo>
                    <a:pt x="597" y="434"/>
                  </a:lnTo>
                  <a:lnTo>
                    <a:pt x="593" y="440"/>
                  </a:lnTo>
                  <a:lnTo>
                    <a:pt x="590" y="448"/>
                  </a:lnTo>
                  <a:lnTo>
                    <a:pt x="570" y="441"/>
                  </a:lnTo>
                  <a:lnTo>
                    <a:pt x="552" y="433"/>
                  </a:lnTo>
                  <a:lnTo>
                    <a:pt x="535" y="425"/>
                  </a:lnTo>
                  <a:lnTo>
                    <a:pt x="518" y="416"/>
                  </a:lnTo>
                  <a:lnTo>
                    <a:pt x="502" y="410"/>
                  </a:lnTo>
                  <a:lnTo>
                    <a:pt x="484" y="404"/>
                  </a:lnTo>
                  <a:lnTo>
                    <a:pt x="475" y="402"/>
                  </a:lnTo>
                  <a:lnTo>
                    <a:pt x="465" y="400"/>
                  </a:lnTo>
                  <a:lnTo>
                    <a:pt x="455" y="400"/>
                  </a:lnTo>
                  <a:lnTo>
                    <a:pt x="444" y="399"/>
                  </a:lnTo>
                  <a:lnTo>
                    <a:pt x="434" y="400"/>
                  </a:lnTo>
                  <a:lnTo>
                    <a:pt x="423" y="401"/>
                  </a:lnTo>
                  <a:lnTo>
                    <a:pt x="414" y="404"/>
                  </a:lnTo>
                  <a:lnTo>
                    <a:pt x="406" y="407"/>
                  </a:lnTo>
                  <a:lnTo>
                    <a:pt x="397" y="412"/>
                  </a:lnTo>
                  <a:lnTo>
                    <a:pt x="389" y="418"/>
                  </a:lnTo>
                  <a:lnTo>
                    <a:pt x="381" y="425"/>
                  </a:lnTo>
                  <a:lnTo>
                    <a:pt x="374" y="432"/>
                  </a:lnTo>
                  <a:lnTo>
                    <a:pt x="365" y="443"/>
                  </a:lnTo>
                  <a:lnTo>
                    <a:pt x="358" y="454"/>
                  </a:lnTo>
                  <a:lnTo>
                    <a:pt x="355" y="460"/>
                  </a:lnTo>
                  <a:lnTo>
                    <a:pt x="351" y="464"/>
                  </a:lnTo>
                  <a:lnTo>
                    <a:pt x="346" y="467"/>
                  </a:lnTo>
                  <a:lnTo>
                    <a:pt x="340" y="467"/>
                  </a:lnTo>
                  <a:lnTo>
                    <a:pt x="326" y="466"/>
                  </a:lnTo>
                  <a:lnTo>
                    <a:pt x="312" y="465"/>
                  </a:lnTo>
                  <a:lnTo>
                    <a:pt x="307" y="466"/>
                  </a:lnTo>
                  <a:lnTo>
                    <a:pt x="303" y="467"/>
                  </a:lnTo>
                  <a:lnTo>
                    <a:pt x="299" y="469"/>
                  </a:lnTo>
                  <a:lnTo>
                    <a:pt x="297" y="473"/>
                  </a:lnTo>
                  <a:lnTo>
                    <a:pt x="296" y="476"/>
                  </a:lnTo>
                  <a:lnTo>
                    <a:pt x="295" y="481"/>
                  </a:lnTo>
                  <a:lnTo>
                    <a:pt x="295" y="486"/>
                  </a:lnTo>
                  <a:lnTo>
                    <a:pt x="295" y="492"/>
                  </a:lnTo>
                  <a:lnTo>
                    <a:pt x="297" y="516"/>
                  </a:lnTo>
                  <a:lnTo>
                    <a:pt x="300" y="540"/>
                  </a:lnTo>
                  <a:lnTo>
                    <a:pt x="279" y="552"/>
                  </a:lnTo>
                  <a:lnTo>
                    <a:pt x="260" y="562"/>
                  </a:lnTo>
                  <a:lnTo>
                    <a:pt x="251" y="568"/>
                  </a:lnTo>
                  <a:lnTo>
                    <a:pt x="242" y="574"/>
                  </a:lnTo>
                  <a:lnTo>
                    <a:pt x="233" y="581"/>
                  </a:lnTo>
                  <a:lnTo>
                    <a:pt x="225" y="590"/>
                  </a:lnTo>
                  <a:lnTo>
                    <a:pt x="222" y="594"/>
                  </a:lnTo>
                  <a:lnTo>
                    <a:pt x="219" y="598"/>
                  </a:lnTo>
                  <a:lnTo>
                    <a:pt x="218" y="602"/>
                  </a:lnTo>
                  <a:lnTo>
                    <a:pt x="217" y="606"/>
                  </a:lnTo>
                  <a:lnTo>
                    <a:pt x="215" y="616"/>
                  </a:lnTo>
                  <a:lnTo>
                    <a:pt x="214" y="624"/>
                  </a:lnTo>
                  <a:lnTo>
                    <a:pt x="213" y="633"/>
                  </a:lnTo>
                  <a:lnTo>
                    <a:pt x="211" y="641"/>
                  </a:lnTo>
                  <a:lnTo>
                    <a:pt x="210" y="646"/>
                  </a:lnTo>
                  <a:lnTo>
                    <a:pt x="208" y="650"/>
                  </a:lnTo>
                  <a:lnTo>
                    <a:pt x="205" y="653"/>
                  </a:lnTo>
                  <a:lnTo>
                    <a:pt x="201" y="656"/>
                  </a:lnTo>
                  <a:lnTo>
                    <a:pt x="196" y="659"/>
                  </a:lnTo>
                  <a:lnTo>
                    <a:pt x="192" y="661"/>
                  </a:lnTo>
                  <a:lnTo>
                    <a:pt x="187" y="662"/>
                  </a:lnTo>
                  <a:lnTo>
                    <a:pt x="183" y="663"/>
                  </a:lnTo>
                  <a:lnTo>
                    <a:pt x="173" y="663"/>
                  </a:lnTo>
                  <a:lnTo>
                    <a:pt x="161" y="663"/>
                  </a:lnTo>
                  <a:lnTo>
                    <a:pt x="161" y="668"/>
                  </a:lnTo>
                  <a:lnTo>
                    <a:pt x="160" y="673"/>
                  </a:lnTo>
                  <a:lnTo>
                    <a:pt x="158" y="678"/>
                  </a:lnTo>
                  <a:lnTo>
                    <a:pt x="157" y="682"/>
                  </a:lnTo>
                  <a:lnTo>
                    <a:pt x="152" y="689"/>
                  </a:lnTo>
                  <a:lnTo>
                    <a:pt x="147" y="696"/>
                  </a:lnTo>
                  <a:lnTo>
                    <a:pt x="141" y="702"/>
                  </a:lnTo>
                  <a:lnTo>
                    <a:pt x="135" y="710"/>
                  </a:lnTo>
                  <a:lnTo>
                    <a:pt x="130" y="718"/>
                  </a:lnTo>
                  <a:lnTo>
                    <a:pt x="125" y="727"/>
                  </a:lnTo>
                  <a:lnTo>
                    <a:pt x="118" y="756"/>
                  </a:lnTo>
                  <a:lnTo>
                    <a:pt x="111" y="784"/>
                  </a:lnTo>
                  <a:lnTo>
                    <a:pt x="109" y="789"/>
                  </a:lnTo>
                  <a:lnTo>
                    <a:pt x="106" y="795"/>
                  </a:lnTo>
                  <a:lnTo>
                    <a:pt x="102" y="800"/>
                  </a:lnTo>
                  <a:lnTo>
                    <a:pt x="98" y="806"/>
                  </a:lnTo>
                  <a:lnTo>
                    <a:pt x="94" y="810"/>
                  </a:lnTo>
                  <a:lnTo>
                    <a:pt x="89" y="813"/>
                  </a:lnTo>
                  <a:lnTo>
                    <a:pt x="83" y="815"/>
                  </a:lnTo>
                  <a:lnTo>
                    <a:pt x="76" y="817"/>
                  </a:lnTo>
                  <a:lnTo>
                    <a:pt x="83" y="837"/>
                  </a:lnTo>
                  <a:lnTo>
                    <a:pt x="90" y="854"/>
                  </a:lnTo>
                  <a:lnTo>
                    <a:pt x="94" y="862"/>
                  </a:lnTo>
                  <a:lnTo>
                    <a:pt x="97" y="872"/>
                  </a:lnTo>
                  <a:lnTo>
                    <a:pt x="99" y="881"/>
                  </a:lnTo>
                  <a:lnTo>
                    <a:pt x="99" y="892"/>
                  </a:lnTo>
                  <a:lnTo>
                    <a:pt x="99" y="896"/>
                  </a:lnTo>
                  <a:lnTo>
                    <a:pt x="97" y="901"/>
                  </a:lnTo>
                  <a:lnTo>
                    <a:pt x="95" y="904"/>
                  </a:lnTo>
                  <a:lnTo>
                    <a:pt x="92" y="907"/>
                  </a:lnTo>
                  <a:lnTo>
                    <a:pt x="89" y="909"/>
                  </a:lnTo>
                  <a:lnTo>
                    <a:pt x="85" y="911"/>
                  </a:lnTo>
                  <a:lnTo>
                    <a:pt x="80" y="912"/>
                  </a:lnTo>
                  <a:lnTo>
                    <a:pt x="76" y="912"/>
                  </a:lnTo>
                  <a:lnTo>
                    <a:pt x="67" y="912"/>
                  </a:lnTo>
                  <a:lnTo>
                    <a:pt x="59" y="912"/>
                  </a:lnTo>
                  <a:lnTo>
                    <a:pt x="52" y="912"/>
                  </a:lnTo>
                  <a:lnTo>
                    <a:pt x="43" y="912"/>
                  </a:lnTo>
                  <a:lnTo>
                    <a:pt x="43" y="968"/>
                  </a:lnTo>
                  <a:lnTo>
                    <a:pt x="43" y="978"/>
                  </a:lnTo>
                  <a:lnTo>
                    <a:pt x="40" y="987"/>
                  </a:lnTo>
                  <a:lnTo>
                    <a:pt x="36" y="996"/>
                  </a:lnTo>
                  <a:lnTo>
                    <a:pt x="31" y="1004"/>
                  </a:lnTo>
                  <a:lnTo>
                    <a:pt x="21" y="1020"/>
                  </a:lnTo>
                  <a:lnTo>
                    <a:pt x="10" y="1039"/>
                  </a:lnTo>
                  <a:lnTo>
                    <a:pt x="15" y="1058"/>
                  </a:lnTo>
                  <a:lnTo>
                    <a:pt x="9" y="1066"/>
                  </a:lnTo>
                  <a:lnTo>
                    <a:pt x="0" y="1074"/>
                  </a:lnTo>
                  <a:lnTo>
                    <a:pt x="26" y="1101"/>
                  </a:lnTo>
                  <a:lnTo>
                    <a:pt x="48" y="1126"/>
                  </a:lnTo>
                  <a:lnTo>
                    <a:pt x="52" y="1132"/>
                  </a:lnTo>
                  <a:lnTo>
                    <a:pt x="56" y="1139"/>
                  </a:lnTo>
                  <a:lnTo>
                    <a:pt x="60" y="1146"/>
                  </a:lnTo>
                  <a:lnTo>
                    <a:pt x="63" y="1154"/>
                  </a:lnTo>
                  <a:lnTo>
                    <a:pt x="65" y="1161"/>
                  </a:lnTo>
                  <a:lnTo>
                    <a:pt x="67" y="1169"/>
                  </a:lnTo>
                  <a:lnTo>
                    <a:pt x="68" y="1178"/>
                  </a:lnTo>
                  <a:lnTo>
                    <a:pt x="69" y="1188"/>
                  </a:lnTo>
                  <a:lnTo>
                    <a:pt x="67" y="1199"/>
                  </a:lnTo>
                  <a:lnTo>
                    <a:pt x="64" y="1209"/>
                  </a:lnTo>
                  <a:lnTo>
                    <a:pt x="61" y="1221"/>
                  </a:lnTo>
                  <a:lnTo>
                    <a:pt x="59" y="1232"/>
                  </a:lnTo>
                  <a:lnTo>
                    <a:pt x="60" y="1241"/>
                  </a:lnTo>
                  <a:lnTo>
                    <a:pt x="63" y="1249"/>
                  </a:lnTo>
                  <a:lnTo>
                    <a:pt x="67" y="1256"/>
                  </a:lnTo>
                  <a:lnTo>
                    <a:pt x="72" y="1263"/>
                  </a:lnTo>
                  <a:lnTo>
                    <a:pt x="76" y="1269"/>
                  </a:lnTo>
                  <a:lnTo>
                    <a:pt x="80" y="1276"/>
                  </a:lnTo>
                  <a:lnTo>
                    <a:pt x="82" y="1285"/>
                  </a:lnTo>
                  <a:lnTo>
                    <a:pt x="83" y="1294"/>
                  </a:lnTo>
                  <a:lnTo>
                    <a:pt x="82" y="1318"/>
                  </a:lnTo>
                  <a:lnTo>
                    <a:pt x="80" y="1340"/>
                  </a:lnTo>
                  <a:lnTo>
                    <a:pt x="75" y="1361"/>
                  </a:lnTo>
                  <a:lnTo>
                    <a:pt x="69" y="1381"/>
                  </a:lnTo>
                  <a:lnTo>
                    <a:pt x="62" y="1400"/>
                  </a:lnTo>
                  <a:lnTo>
                    <a:pt x="55" y="1421"/>
                  </a:lnTo>
                  <a:lnTo>
                    <a:pt x="47" y="1443"/>
                  </a:lnTo>
                  <a:lnTo>
                    <a:pt x="39" y="1465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>
                  <a:latin typeface="Calibri" panose="020F0502020204030204" pitchFamily="34" charset="0"/>
                </a:rPr>
                <a:t>Chernigiv</a:t>
              </a:r>
              <a:endParaRPr lang="ru-RU" altLang="ru-RU" sz="675">
                <a:latin typeface="Calibri" panose="020F0502020204030204" pitchFamily="34" charset="0"/>
              </a:endParaRPr>
            </a:p>
          </p:txBody>
        </p:sp>
        <p:sp>
          <p:nvSpPr>
            <p:cNvPr id="28" name="Kyiv"/>
            <p:cNvSpPr>
              <a:spLocks/>
            </p:cNvSpPr>
            <p:nvPr/>
          </p:nvSpPr>
          <p:spPr bwMode="auto">
            <a:xfrm>
              <a:off x="2400" y="1406"/>
              <a:ext cx="710" cy="882"/>
            </a:xfrm>
            <a:custGeom>
              <a:avLst/>
              <a:gdLst>
                <a:gd name="T0" fmla="*/ 351 w 2362"/>
                <a:gd name="T1" fmla="*/ 223 h 3039"/>
                <a:gd name="T2" fmla="*/ 351 w 2362"/>
                <a:gd name="T3" fmla="*/ 223 h 3039"/>
                <a:gd name="T4" fmla="*/ 351 w 2362"/>
                <a:gd name="T5" fmla="*/ 223 h 3039"/>
                <a:gd name="T6" fmla="*/ 351 w 2362"/>
                <a:gd name="T7" fmla="*/ 223 h 3039"/>
                <a:gd name="T8" fmla="*/ 351 w 2362"/>
                <a:gd name="T9" fmla="*/ 223 h 3039"/>
                <a:gd name="T10" fmla="*/ 351 w 2362"/>
                <a:gd name="T11" fmla="*/ 223 h 3039"/>
                <a:gd name="T12" fmla="*/ 351 w 2362"/>
                <a:gd name="T13" fmla="*/ 223 h 3039"/>
                <a:gd name="T14" fmla="*/ 351 w 2362"/>
                <a:gd name="T15" fmla="*/ 223 h 3039"/>
                <a:gd name="T16" fmla="*/ 351 w 2362"/>
                <a:gd name="T17" fmla="*/ 223 h 3039"/>
                <a:gd name="T18" fmla="*/ 351 w 2362"/>
                <a:gd name="T19" fmla="*/ 223 h 3039"/>
                <a:gd name="T20" fmla="*/ 351 w 2362"/>
                <a:gd name="T21" fmla="*/ 223 h 3039"/>
                <a:gd name="T22" fmla="*/ 351 w 2362"/>
                <a:gd name="T23" fmla="*/ 223 h 3039"/>
                <a:gd name="T24" fmla="*/ 351 w 2362"/>
                <a:gd name="T25" fmla="*/ 223 h 3039"/>
                <a:gd name="T26" fmla="*/ 351 w 2362"/>
                <a:gd name="T27" fmla="*/ 223 h 3039"/>
                <a:gd name="T28" fmla="*/ 351 w 2362"/>
                <a:gd name="T29" fmla="*/ 223 h 3039"/>
                <a:gd name="T30" fmla="*/ 351 w 2362"/>
                <a:gd name="T31" fmla="*/ 223 h 3039"/>
                <a:gd name="T32" fmla="*/ 351 w 2362"/>
                <a:gd name="T33" fmla="*/ 223 h 3039"/>
                <a:gd name="T34" fmla="*/ 351 w 2362"/>
                <a:gd name="T35" fmla="*/ 223 h 3039"/>
                <a:gd name="T36" fmla="*/ 351 w 2362"/>
                <a:gd name="T37" fmla="*/ 223 h 3039"/>
                <a:gd name="T38" fmla="*/ 351 w 2362"/>
                <a:gd name="T39" fmla="*/ 223 h 3039"/>
                <a:gd name="T40" fmla="*/ 351 w 2362"/>
                <a:gd name="T41" fmla="*/ 223 h 3039"/>
                <a:gd name="T42" fmla="*/ 351 w 2362"/>
                <a:gd name="T43" fmla="*/ 223 h 3039"/>
                <a:gd name="T44" fmla="*/ 351 w 2362"/>
                <a:gd name="T45" fmla="*/ 223 h 3039"/>
                <a:gd name="T46" fmla="*/ 351 w 2362"/>
                <a:gd name="T47" fmla="*/ 223 h 3039"/>
                <a:gd name="T48" fmla="*/ 351 w 2362"/>
                <a:gd name="T49" fmla="*/ 223 h 3039"/>
                <a:gd name="T50" fmla="*/ 351 w 2362"/>
                <a:gd name="T51" fmla="*/ 223 h 3039"/>
                <a:gd name="T52" fmla="*/ 351 w 2362"/>
                <a:gd name="T53" fmla="*/ 223 h 3039"/>
                <a:gd name="T54" fmla="*/ 351 w 2362"/>
                <a:gd name="T55" fmla="*/ 223 h 3039"/>
                <a:gd name="T56" fmla="*/ 351 w 2362"/>
                <a:gd name="T57" fmla="*/ 223 h 3039"/>
                <a:gd name="T58" fmla="*/ 351 w 2362"/>
                <a:gd name="T59" fmla="*/ 223 h 3039"/>
                <a:gd name="T60" fmla="*/ 351 w 2362"/>
                <a:gd name="T61" fmla="*/ 223 h 3039"/>
                <a:gd name="T62" fmla="*/ 351 w 2362"/>
                <a:gd name="T63" fmla="*/ 223 h 3039"/>
                <a:gd name="T64" fmla="*/ 351 w 2362"/>
                <a:gd name="T65" fmla="*/ 223 h 3039"/>
                <a:gd name="T66" fmla="*/ 351 w 2362"/>
                <a:gd name="T67" fmla="*/ 223 h 3039"/>
                <a:gd name="T68" fmla="*/ 351 w 2362"/>
                <a:gd name="T69" fmla="*/ 223 h 3039"/>
                <a:gd name="T70" fmla="*/ 351 w 2362"/>
                <a:gd name="T71" fmla="*/ 223 h 3039"/>
                <a:gd name="T72" fmla="*/ 351 w 2362"/>
                <a:gd name="T73" fmla="*/ 223 h 3039"/>
                <a:gd name="T74" fmla="*/ 351 w 2362"/>
                <a:gd name="T75" fmla="*/ 223 h 3039"/>
                <a:gd name="T76" fmla="*/ 351 w 2362"/>
                <a:gd name="T77" fmla="*/ 223 h 3039"/>
                <a:gd name="T78" fmla="*/ 351 w 2362"/>
                <a:gd name="T79" fmla="*/ 223 h 3039"/>
                <a:gd name="T80" fmla="*/ 351 w 2362"/>
                <a:gd name="T81" fmla="*/ 223 h 3039"/>
                <a:gd name="T82" fmla="*/ 351 w 2362"/>
                <a:gd name="T83" fmla="*/ 223 h 3039"/>
                <a:gd name="T84" fmla="*/ 351 w 2362"/>
                <a:gd name="T85" fmla="*/ 223 h 3039"/>
                <a:gd name="T86" fmla="*/ 351 w 2362"/>
                <a:gd name="T87" fmla="*/ 223 h 3039"/>
                <a:gd name="T88" fmla="*/ 351 w 2362"/>
                <a:gd name="T89" fmla="*/ 223 h 3039"/>
                <a:gd name="T90" fmla="*/ 351 w 2362"/>
                <a:gd name="T91" fmla="*/ 223 h 3039"/>
                <a:gd name="T92" fmla="*/ 351 w 2362"/>
                <a:gd name="T93" fmla="*/ 223 h 3039"/>
                <a:gd name="T94" fmla="*/ 351 w 2362"/>
                <a:gd name="T95" fmla="*/ 223 h 3039"/>
                <a:gd name="T96" fmla="*/ 351 w 2362"/>
                <a:gd name="T97" fmla="*/ 223 h 3039"/>
                <a:gd name="T98" fmla="*/ 351 w 2362"/>
                <a:gd name="T99" fmla="*/ 223 h 3039"/>
                <a:gd name="T100" fmla="*/ 351 w 2362"/>
                <a:gd name="T101" fmla="*/ 223 h 3039"/>
                <a:gd name="T102" fmla="*/ 351 w 2362"/>
                <a:gd name="T103" fmla="*/ 223 h 3039"/>
                <a:gd name="T104" fmla="*/ 351 w 2362"/>
                <a:gd name="T105" fmla="*/ 223 h 3039"/>
                <a:gd name="T106" fmla="*/ 351 w 2362"/>
                <a:gd name="T107" fmla="*/ 223 h 3039"/>
                <a:gd name="T108" fmla="*/ 351 w 2362"/>
                <a:gd name="T109" fmla="*/ 223 h 3039"/>
                <a:gd name="T110" fmla="*/ 351 w 2362"/>
                <a:gd name="T111" fmla="*/ 223 h 3039"/>
                <a:gd name="T112" fmla="*/ 351 w 2362"/>
                <a:gd name="T113" fmla="*/ 223 h 3039"/>
                <a:gd name="T114" fmla="*/ 351 w 2362"/>
                <a:gd name="T115" fmla="*/ 223 h 3039"/>
                <a:gd name="T116" fmla="*/ 351 w 2362"/>
                <a:gd name="T117" fmla="*/ 223 h 3039"/>
                <a:gd name="T118" fmla="*/ 351 w 2362"/>
                <a:gd name="T119" fmla="*/ 223 h 3039"/>
                <a:gd name="T120" fmla="*/ 351 w 2362"/>
                <a:gd name="T121" fmla="*/ 223 h 303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62"/>
                <a:gd name="T184" fmla="*/ 0 h 3039"/>
                <a:gd name="T185" fmla="*/ 2362 w 2362"/>
                <a:gd name="T186" fmla="*/ 3039 h 303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62" h="3039">
                  <a:moveTo>
                    <a:pt x="347" y="3024"/>
                  </a:moveTo>
                  <a:lnTo>
                    <a:pt x="357" y="3024"/>
                  </a:lnTo>
                  <a:lnTo>
                    <a:pt x="367" y="3026"/>
                  </a:lnTo>
                  <a:lnTo>
                    <a:pt x="376" y="3028"/>
                  </a:lnTo>
                  <a:lnTo>
                    <a:pt x="386" y="3031"/>
                  </a:lnTo>
                  <a:lnTo>
                    <a:pt x="394" y="3033"/>
                  </a:lnTo>
                  <a:lnTo>
                    <a:pt x="403" y="3035"/>
                  </a:lnTo>
                  <a:lnTo>
                    <a:pt x="414" y="3038"/>
                  </a:lnTo>
                  <a:lnTo>
                    <a:pt x="424" y="3039"/>
                  </a:lnTo>
                  <a:lnTo>
                    <a:pt x="431" y="3038"/>
                  </a:lnTo>
                  <a:lnTo>
                    <a:pt x="436" y="3037"/>
                  </a:lnTo>
                  <a:lnTo>
                    <a:pt x="442" y="3034"/>
                  </a:lnTo>
                  <a:lnTo>
                    <a:pt x="448" y="3032"/>
                  </a:lnTo>
                  <a:lnTo>
                    <a:pt x="452" y="3028"/>
                  </a:lnTo>
                  <a:lnTo>
                    <a:pt x="456" y="3025"/>
                  </a:lnTo>
                  <a:lnTo>
                    <a:pt x="460" y="3021"/>
                  </a:lnTo>
                  <a:lnTo>
                    <a:pt x="463" y="3016"/>
                  </a:lnTo>
                  <a:lnTo>
                    <a:pt x="475" y="2994"/>
                  </a:lnTo>
                  <a:lnTo>
                    <a:pt x="488" y="2969"/>
                  </a:lnTo>
                  <a:lnTo>
                    <a:pt x="505" y="2938"/>
                  </a:lnTo>
                  <a:lnTo>
                    <a:pt x="519" y="2910"/>
                  </a:lnTo>
                  <a:lnTo>
                    <a:pt x="525" y="2895"/>
                  </a:lnTo>
                  <a:lnTo>
                    <a:pt x="529" y="2880"/>
                  </a:lnTo>
                  <a:lnTo>
                    <a:pt x="532" y="2863"/>
                  </a:lnTo>
                  <a:lnTo>
                    <a:pt x="532" y="2844"/>
                  </a:lnTo>
                  <a:lnTo>
                    <a:pt x="545" y="2849"/>
                  </a:lnTo>
                  <a:lnTo>
                    <a:pt x="554" y="2854"/>
                  </a:lnTo>
                  <a:lnTo>
                    <a:pt x="563" y="2859"/>
                  </a:lnTo>
                  <a:lnTo>
                    <a:pt x="572" y="2865"/>
                  </a:lnTo>
                  <a:lnTo>
                    <a:pt x="581" y="2871"/>
                  </a:lnTo>
                  <a:lnTo>
                    <a:pt x="591" y="2875"/>
                  </a:lnTo>
                  <a:lnTo>
                    <a:pt x="595" y="2878"/>
                  </a:lnTo>
                  <a:lnTo>
                    <a:pt x="601" y="2879"/>
                  </a:lnTo>
                  <a:lnTo>
                    <a:pt x="606" y="2880"/>
                  </a:lnTo>
                  <a:lnTo>
                    <a:pt x="613" y="2880"/>
                  </a:lnTo>
                  <a:lnTo>
                    <a:pt x="617" y="2880"/>
                  </a:lnTo>
                  <a:lnTo>
                    <a:pt x="621" y="2879"/>
                  </a:lnTo>
                  <a:lnTo>
                    <a:pt x="625" y="2878"/>
                  </a:lnTo>
                  <a:lnTo>
                    <a:pt x="628" y="2876"/>
                  </a:lnTo>
                  <a:lnTo>
                    <a:pt x="634" y="2871"/>
                  </a:lnTo>
                  <a:lnTo>
                    <a:pt x="640" y="2866"/>
                  </a:lnTo>
                  <a:lnTo>
                    <a:pt x="650" y="2852"/>
                  </a:lnTo>
                  <a:lnTo>
                    <a:pt x="660" y="2837"/>
                  </a:lnTo>
                  <a:lnTo>
                    <a:pt x="672" y="2822"/>
                  </a:lnTo>
                  <a:lnTo>
                    <a:pt x="684" y="2808"/>
                  </a:lnTo>
                  <a:lnTo>
                    <a:pt x="689" y="2802"/>
                  </a:lnTo>
                  <a:lnTo>
                    <a:pt x="694" y="2794"/>
                  </a:lnTo>
                  <a:lnTo>
                    <a:pt x="699" y="2786"/>
                  </a:lnTo>
                  <a:lnTo>
                    <a:pt x="704" y="2776"/>
                  </a:lnTo>
                  <a:lnTo>
                    <a:pt x="714" y="2784"/>
                  </a:lnTo>
                  <a:lnTo>
                    <a:pt x="722" y="2792"/>
                  </a:lnTo>
                  <a:lnTo>
                    <a:pt x="728" y="2801"/>
                  </a:lnTo>
                  <a:lnTo>
                    <a:pt x="733" y="2810"/>
                  </a:lnTo>
                  <a:lnTo>
                    <a:pt x="742" y="2830"/>
                  </a:lnTo>
                  <a:lnTo>
                    <a:pt x="752" y="2852"/>
                  </a:lnTo>
                  <a:lnTo>
                    <a:pt x="757" y="2865"/>
                  </a:lnTo>
                  <a:lnTo>
                    <a:pt x="761" y="2878"/>
                  </a:lnTo>
                  <a:lnTo>
                    <a:pt x="763" y="2884"/>
                  </a:lnTo>
                  <a:lnTo>
                    <a:pt x="767" y="2888"/>
                  </a:lnTo>
                  <a:lnTo>
                    <a:pt x="769" y="2890"/>
                  </a:lnTo>
                  <a:lnTo>
                    <a:pt x="771" y="2891"/>
                  </a:lnTo>
                  <a:lnTo>
                    <a:pt x="775" y="2892"/>
                  </a:lnTo>
                  <a:lnTo>
                    <a:pt x="778" y="2892"/>
                  </a:lnTo>
                  <a:lnTo>
                    <a:pt x="783" y="2891"/>
                  </a:lnTo>
                  <a:lnTo>
                    <a:pt x="788" y="2890"/>
                  </a:lnTo>
                  <a:lnTo>
                    <a:pt x="792" y="2888"/>
                  </a:lnTo>
                  <a:lnTo>
                    <a:pt x="795" y="2886"/>
                  </a:lnTo>
                  <a:lnTo>
                    <a:pt x="799" y="2884"/>
                  </a:lnTo>
                  <a:lnTo>
                    <a:pt x="803" y="2882"/>
                  </a:lnTo>
                  <a:lnTo>
                    <a:pt x="808" y="2881"/>
                  </a:lnTo>
                  <a:lnTo>
                    <a:pt x="813" y="2880"/>
                  </a:lnTo>
                  <a:lnTo>
                    <a:pt x="820" y="2881"/>
                  </a:lnTo>
                  <a:lnTo>
                    <a:pt x="826" y="2882"/>
                  </a:lnTo>
                  <a:lnTo>
                    <a:pt x="832" y="2883"/>
                  </a:lnTo>
                  <a:lnTo>
                    <a:pt x="838" y="2885"/>
                  </a:lnTo>
                  <a:lnTo>
                    <a:pt x="849" y="2891"/>
                  </a:lnTo>
                  <a:lnTo>
                    <a:pt x="859" y="2896"/>
                  </a:lnTo>
                  <a:lnTo>
                    <a:pt x="869" y="2902"/>
                  </a:lnTo>
                  <a:lnTo>
                    <a:pt x="880" y="2907"/>
                  </a:lnTo>
                  <a:lnTo>
                    <a:pt x="886" y="2910"/>
                  </a:lnTo>
                  <a:lnTo>
                    <a:pt x="892" y="2912"/>
                  </a:lnTo>
                  <a:lnTo>
                    <a:pt x="898" y="2913"/>
                  </a:lnTo>
                  <a:lnTo>
                    <a:pt x="905" y="2913"/>
                  </a:lnTo>
                  <a:lnTo>
                    <a:pt x="915" y="2913"/>
                  </a:lnTo>
                  <a:lnTo>
                    <a:pt x="923" y="2910"/>
                  </a:lnTo>
                  <a:lnTo>
                    <a:pt x="930" y="2906"/>
                  </a:lnTo>
                  <a:lnTo>
                    <a:pt x="936" y="2901"/>
                  </a:lnTo>
                  <a:lnTo>
                    <a:pt x="943" y="2895"/>
                  </a:lnTo>
                  <a:lnTo>
                    <a:pt x="947" y="2888"/>
                  </a:lnTo>
                  <a:lnTo>
                    <a:pt x="951" y="2880"/>
                  </a:lnTo>
                  <a:lnTo>
                    <a:pt x="955" y="2871"/>
                  </a:lnTo>
                  <a:lnTo>
                    <a:pt x="961" y="2853"/>
                  </a:lnTo>
                  <a:lnTo>
                    <a:pt x="967" y="2833"/>
                  </a:lnTo>
                  <a:lnTo>
                    <a:pt x="971" y="2823"/>
                  </a:lnTo>
                  <a:lnTo>
                    <a:pt x="976" y="2813"/>
                  </a:lnTo>
                  <a:lnTo>
                    <a:pt x="980" y="2804"/>
                  </a:lnTo>
                  <a:lnTo>
                    <a:pt x="985" y="2795"/>
                  </a:lnTo>
                  <a:lnTo>
                    <a:pt x="992" y="2784"/>
                  </a:lnTo>
                  <a:lnTo>
                    <a:pt x="997" y="2773"/>
                  </a:lnTo>
                  <a:lnTo>
                    <a:pt x="1001" y="2768"/>
                  </a:lnTo>
                  <a:lnTo>
                    <a:pt x="1006" y="2765"/>
                  </a:lnTo>
                  <a:lnTo>
                    <a:pt x="1011" y="2763"/>
                  </a:lnTo>
                  <a:lnTo>
                    <a:pt x="1017" y="2762"/>
                  </a:lnTo>
                  <a:lnTo>
                    <a:pt x="1042" y="2762"/>
                  </a:lnTo>
                  <a:lnTo>
                    <a:pt x="1064" y="2763"/>
                  </a:lnTo>
                  <a:lnTo>
                    <a:pt x="1087" y="2764"/>
                  </a:lnTo>
                  <a:lnTo>
                    <a:pt x="1112" y="2764"/>
                  </a:lnTo>
                  <a:lnTo>
                    <a:pt x="1119" y="2765"/>
                  </a:lnTo>
                  <a:lnTo>
                    <a:pt x="1126" y="2767"/>
                  </a:lnTo>
                  <a:lnTo>
                    <a:pt x="1132" y="2769"/>
                  </a:lnTo>
                  <a:lnTo>
                    <a:pt x="1138" y="2773"/>
                  </a:lnTo>
                  <a:lnTo>
                    <a:pt x="1148" y="2783"/>
                  </a:lnTo>
                  <a:lnTo>
                    <a:pt x="1157" y="2793"/>
                  </a:lnTo>
                  <a:lnTo>
                    <a:pt x="1166" y="2803"/>
                  </a:lnTo>
                  <a:lnTo>
                    <a:pt x="1177" y="2812"/>
                  </a:lnTo>
                  <a:lnTo>
                    <a:pt x="1182" y="2816"/>
                  </a:lnTo>
                  <a:lnTo>
                    <a:pt x="1188" y="2819"/>
                  </a:lnTo>
                  <a:lnTo>
                    <a:pt x="1195" y="2821"/>
                  </a:lnTo>
                  <a:lnTo>
                    <a:pt x="1202" y="2821"/>
                  </a:lnTo>
                  <a:lnTo>
                    <a:pt x="1216" y="2820"/>
                  </a:lnTo>
                  <a:lnTo>
                    <a:pt x="1227" y="2818"/>
                  </a:lnTo>
                  <a:lnTo>
                    <a:pt x="1238" y="2813"/>
                  </a:lnTo>
                  <a:lnTo>
                    <a:pt x="1248" y="2808"/>
                  </a:lnTo>
                  <a:lnTo>
                    <a:pt x="1268" y="2796"/>
                  </a:lnTo>
                  <a:lnTo>
                    <a:pt x="1292" y="2784"/>
                  </a:lnTo>
                  <a:lnTo>
                    <a:pt x="1308" y="2775"/>
                  </a:lnTo>
                  <a:lnTo>
                    <a:pt x="1323" y="2766"/>
                  </a:lnTo>
                  <a:lnTo>
                    <a:pt x="1338" y="2757"/>
                  </a:lnTo>
                  <a:lnTo>
                    <a:pt x="1350" y="2747"/>
                  </a:lnTo>
                  <a:lnTo>
                    <a:pt x="1362" y="2737"/>
                  </a:lnTo>
                  <a:lnTo>
                    <a:pt x="1373" y="2726"/>
                  </a:lnTo>
                  <a:lnTo>
                    <a:pt x="1383" y="2714"/>
                  </a:lnTo>
                  <a:lnTo>
                    <a:pt x="1392" y="2702"/>
                  </a:lnTo>
                  <a:lnTo>
                    <a:pt x="1402" y="2690"/>
                  </a:lnTo>
                  <a:lnTo>
                    <a:pt x="1410" y="2676"/>
                  </a:lnTo>
                  <a:lnTo>
                    <a:pt x="1419" y="2663"/>
                  </a:lnTo>
                  <a:lnTo>
                    <a:pt x="1426" y="2648"/>
                  </a:lnTo>
                  <a:lnTo>
                    <a:pt x="1443" y="2617"/>
                  </a:lnTo>
                  <a:lnTo>
                    <a:pt x="1459" y="2585"/>
                  </a:lnTo>
                  <a:lnTo>
                    <a:pt x="1472" y="2559"/>
                  </a:lnTo>
                  <a:lnTo>
                    <a:pt x="1484" y="2536"/>
                  </a:lnTo>
                  <a:lnTo>
                    <a:pt x="1495" y="2514"/>
                  </a:lnTo>
                  <a:lnTo>
                    <a:pt x="1506" y="2493"/>
                  </a:lnTo>
                  <a:lnTo>
                    <a:pt x="1517" y="2472"/>
                  </a:lnTo>
                  <a:lnTo>
                    <a:pt x="1528" y="2450"/>
                  </a:lnTo>
                  <a:lnTo>
                    <a:pt x="1541" y="2426"/>
                  </a:lnTo>
                  <a:lnTo>
                    <a:pt x="1553" y="2400"/>
                  </a:lnTo>
                  <a:lnTo>
                    <a:pt x="1571" y="2370"/>
                  </a:lnTo>
                  <a:lnTo>
                    <a:pt x="1588" y="2344"/>
                  </a:lnTo>
                  <a:lnTo>
                    <a:pt x="1594" y="2330"/>
                  </a:lnTo>
                  <a:lnTo>
                    <a:pt x="1601" y="2316"/>
                  </a:lnTo>
                  <a:lnTo>
                    <a:pt x="1603" y="2309"/>
                  </a:lnTo>
                  <a:lnTo>
                    <a:pt x="1604" y="2300"/>
                  </a:lnTo>
                  <a:lnTo>
                    <a:pt x="1605" y="2292"/>
                  </a:lnTo>
                  <a:lnTo>
                    <a:pt x="1606" y="2283"/>
                  </a:lnTo>
                  <a:lnTo>
                    <a:pt x="1605" y="2279"/>
                  </a:lnTo>
                  <a:lnTo>
                    <a:pt x="1603" y="2275"/>
                  </a:lnTo>
                  <a:lnTo>
                    <a:pt x="1600" y="2273"/>
                  </a:lnTo>
                  <a:lnTo>
                    <a:pt x="1596" y="2271"/>
                  </a:lnTo>
                  <a:lnTo>
                    <a:pt x="1593" y="2269"/>
                  </a:lnTo>
                  <a:lnTo>
                    <a:pt x="1589" y="2267"/>
                  </a:lnTo>
                  <a:lnTo>
                    <a:pt x="1586" y="2265"/>
                  </a:lnTo>
                  <a:lnTo>
                    <a:pt x="1584" y="2261"/>
                  </a:lnTo>
                  <a:lnTo>
                    <a:pt x="1580" y="2253"/>
                  </a:lnTo>
                  <a:lnTo>
                    <a:pt x="1577" y="2244"/>
                  </a:lnTo>
                  <a:lnTo>
                    <a:pt x="1574" y="2236"/>
                  </a:lnTo>
                  <a:lnTo>
                    <a:pt x="1572" y="2229"/>
                  </a:lnTo>
                  <a:lnTo>
                    <a:pt x="1571" y="2211"/>
                  </a:lnTo>
                  <a:lnTo>
                    <a:pt x="1570" y="2193"/>
                  </a:lnTo>
                  <a:lnTo>
                    <a:pt x="1571" y="2183"/>
                  </a:lnTo>
                  <a:lnTo>
                    <a:pt x="1572" y="2173"/>
                  </a:lnTo>
                  <a:lnTo>
                    <a:pt x="1574" y="2165"/>
                  </a:lnTo>
                  <a:lnTo>
                    <a:pt x="1576" y="2157"/>
                  </a:lnTo>
                  <a:lnTo>
                    <a:pt x="1580" y="2148"/>
                  </a:lnTo>
                  <a:lnTo>
                    <a:pt x="1584" y="2141"/>
                  </a:lnTo>
                  <a:lnTo>
                    <a:pt x="1588" y="2134"/>
                  </a:lnTo>
                  <a:lnTo>
                    <a:pt x="1593" y="2128"/>
                  </a:lnTo>
                  <a:lnTo>
                    <a:pt x="1600" y="2122"/>
                  </a:lnTo>
                  <a:lnTo>
                    <a:pt x="1606" y="2115"/>
                  </a:lnTo>
                  <a:lnTo>
                    <a:pt x="1613" y="2110"/>
                  </a:lnTo>
                  <a:lnTo>
                    <a:pt x="1620" y="2105"/>
                  </a:lnTo>
                  <a:lnTo>
                    <a:pt x="1637" y="2097"/>
                  </a:lnTo>
                  <a:lnTo>
                    <a:pt x="1654" y="2090"/>
                  </a:lnTo>
                  <a:lnTo>
                    <a:pt x="1673" y="2083"/>
                  </a:lnTo>
                  <a:lnTo>
                    <a:pt x="1692" y="2078"/>
                  </a:lnTo>
                  <a:lnTo>
                    <a:pt x="1714" y="2075"/>
                  </a:lnTo>
                  <a:lnTo>
                    <a:pt x="1735" y="2072"/>
                  </a:lnTo>
                  <a:lnTo>
                    <a:pt x="1756" y="2070"/>
                  </a:lnTo>
                  <a:lnTo>
                    <a:pt x="1778" y="2069"/>
                  </a:lnTo>
                  <a:lnTo>
                    <a:pt x="1799" y="2068"/>
                  </a:lnTo>
                  <a:lnTo>
                    <a:pt x="1820" y="2068"/>
                  </a:lnTo>
                  <a:lnTo>
                    <a:pt x="1841" y="2067"/>
                  </a:lnTo>
                  <a:lnTo>
                    <a:pt x="1859" y="2067"/>
                  </a:lnTo>
                  <a:lnTo>
                    <a:pt x="1869" y="2067"/>
                  </a:lnTo>
                  <a:lnTo>
                    <a:pt x="1878" y="2069"/>
                  </a:lnTo>
                  <a:lnTo>
                    <a:pt x="1887" y="2071"/>
                  </a:lnTo>
                  <a:lnTo>
                    <a:pt x="1898" y="2075"/>
                  </a:lnTo>
                  <a:lnTo>
                    <a:pt x="1907" y="2080"/>
                  </a:lnTo>
                  <a:lnTo>
                    <a:pt x="1916" y="2085"/>
                  </a:lnTo>
                  <a:lnTo>
                    <a:pt x="1924" y="2092"/>
                  </a:lnTo>
                  <a:lnTo>
                    <a:pt x="1932" y="2097"/>
                  </a:lnTo>
                  <a:lnTo>
                    <a:pt x="1940" y="2102"/>
                  </a:lnTo>
                  <a:lnTo>
                    <a:pt x="1948" y="2106"/>
                  </a:lnTo>
                  <a:lnTo>
                    <a:pt x="1957" y="2109"/>
                  </a:lnTo>
                  <a:lnTo>
                    <a:pt x="1969" y="2110"/>
                  </a:lnTo>
                  <a:lnTo>
                    <a:pt x="1976" y="2110"/>
                  </a:lnTo>
                  <a:lnTo>
                    <a:pt x="1983" y="2108"/>
                  </a:lnTo>
                  <a:lnTo>
                    <a:pt x="1990" y="2106"/>
                  </a:lnTo>
                  <a:lnTo>
                    <a:pt x="1997" y="2102"/>
                  </a:lnTo>
                  <a:lnTo>
                    <a:pt x="2002" y="2098"/>
                  </a:lnTo>
                  <a:lnTo>
                    <a:pt x="2007" y="2094"/>
                  </a:lnTo>
                  <a:lnTo>
                    <a:pt x="2011" y="2088"/>
                  </a:lnTo>
                  <a:lnTo>
                    <a:pt x="2016" y="2082"/>
                  </a:lnTo>
                  <a:lnTo>
                    <a:pt x="2025" y="2070"/>
                  </a:lnTo>
                  <a:lnTo>
                    <a:pt x="2035" y="2058"/>
                  </a:lnTo>
                  <a:lnTo>
                    <a:pt x="2040" y="2051"/>
                  </a:lnTo>
                  <a:lnTo>
                    <a:pt x="2045" y="2045"/>
                  </a:lnTo>
                  <a:lnTo>
                    <a:pt x="2051" y="2040"/>
                  </a:lnTo>
                  <a:lnTo>
                    <a:pt x="2057" y="2035"/>
                  </a:lnTo>
                  <a:lnTo>
                    <a:pt x="2083" y="2017"/>
                  </a:lnTo>
                  <a:lnTo>
                    <a:pt x="2107" y="1999"/>
                  </a:lnTo>
                  <a:lnTo>
                    <a:pt x="2117" y="1990"/>
                  </a:lnTo>
                  <a:lnTo>
                    <a:pt x="2128" y="1981"/>
                  </a:lnTo>
                  <a:lnTo>
                    <a:pt x="2138" y="1971"/>
                  </a:lnTo>
                  <a:lnTo>
                    <a:pt x="2146" y="1961"/>
                  </a:lnTo>
                  <a:lnTo>
                    <a:pt x="2154" y="1950"/>
                  </a:lnTo>
                  <a:lnTo>
                    <a:pt x="2162" y="1940"/>
                  </a:lnTo>
                  <a:lnTo>
                    <a:pt x="2168" y="1929"/>
                  </a:lnTo>
                  <a:lnTo>
                    <a:pt x="2173" y="1916"/>
                  </a:lnTo>
                  <a:lnTo>
                    <a:pt x="2177" y="1904"/>
                  </a:lnTo>
                  <a:lnTo>
                    <a:pt x="2180" y="1889"/>
                  </a:lnTo>
                  <a:lnTo>
                    <a:pt x="2182" y="1876"/>
                  </a:lnTo>
                  <a:lnTo>
                    <a:pt x="2183" y="1860"/>
                  </a:lnTo>
                  <a:lnTo>
                    <a:pt x="2183" y="1850"/>
                  </a:lnTo>
                  <a:lnTo>
                    <a:pt x="2185" y="1841"/>
                  </a:lnTo>
                  <a:lnTo>
                    <a:pt x="2187" y="1832"/>
                  </a:lnTo>
                  <a:lnTo>
                    <a:pt x="2189" y="1824"/>
                  </a:lnTo>
                  <a:lnTo>
                    <a:pt x="2192" y="1816"/>
                  </a:lnTo>
                  <a:lnTo>
                    <a:pt x="2195" y="1808"/>
                  </a:lnTo>
                  <a:lnTo>
                    <a:pt x="2197" y="1798"/>
                  </a:lnTo>
                  <a:lnTo>
                    <a:pt x="2197" y="1788"/>
                  </a:lnTo>
                  <a:lnTo>
                    <a:pt x="2197" y="1781"/>
                  </a:lnTo>
                  <a:lnTo>
                    <a:pt x="2196" y="1775"/>
                  </a:lnTo>
                  <a:lnTo>
                    <a:pt x="2192" y="1767"/>
                  </a:lnTo>
                  <a:lnTo>
                    <a:pt x="2189" y="1761"/>
                  </a:lnTo>
                  <a:lnTo>
                    <a:pt x="2194" y="1743"/>
                  </a:lnTo>
                  <a:lnTo>
                    <a:pt x="2196" y="1726"/>
                  </a:lnTo>
                  <a:lnTo>
                    <a:pt x="2198" y="1718"/>
                  </a:lnTo>
                  <a:lnTo>
                    <a:pt x="2200" y="1711"/>
                  </a:lnTo>
                  <a:lnTo>
                    <a:pt x="2204" y="1702"/>
                  </a:lnTo>
                  <a:lnTo>
                    <a:pt x="2209" y="1695"/>
                  </a:lnTo>
                  <a:lnTo>
                    <a:pt x="2216" y="1687"/>
                  </a:lnTo>
                  <a:lnTo>
                    <a:pt x="2223" y="1680"/>
                  </a:lnTo>
                  <a:lnTo>
                    <a:pt x="2231" y="1673"/>
                  </a:lnTo>
                  <a:lnTo>
                    <a:pt x="2239" y="1668"/>
                  </a:lnTo>
                  <a:lnTo>
                    <a:pt x="2247" y="1663"/>
                  </a:lnTo>
                  <a:lnTo>
                    <a:pt x="2255" y="1659"/>
                  </a:lnTo>
                  <a:lnTo>
                    <a:pt x="2264" y="1656"/>
                  </a:lnTo>
                  <a:lnTo>
                    <a:pt x="2273" y="1653"/>
                  </a:lnTo>
                  <a:lnTo>
                    <a:pt x="2311" y="1645"/>
                  </a:lnTo>
                  <a:lnTo>
                    <a:pt x="2352" y="1636"/>
                  </a:lnTo>
                  <a:lnTo>
                    <a:pt x="2355" y="1621"/>
                  </a:lnTo>
                  <a:lnTo>
                    <a:pt x="2359" y="1607"/>
                  </a:lnTo>
                  <a:lnTo>
                    <a:pt x="2362" y="1594"/>
                  </a:lnTo>
                  <a:lnTo>
                    <a:pt x="2362" y="1579"/>
                  </a:lnTo>
                  <a:lnTo>
                    <a:pt x="2362" y="1573"/>
                  </a:lnTo>
                  <a:lnTo>
                    <a:pt x="2361" y="1568"/>
                  </a:lnTo>
                  <a:lnTo>
                    <a:pt x="2360" y="1562"/>
                  </a:lnTo>
                  <a:lnTo>
                    <a:pt x="2357" y="1558"/>
                  </a:lnTo>
                  <a:lnTo>
                    <a:pt x="2353" y="1548"/>
                  </a:lnTo>
                  <a:lnTo>
                    <a:pt x="2348" y="1539"/>
                  </a:lnTo>
                  <a:lnTo>
                    <a:pt x="2343" y="1530"/>
                  </a:lnTo>
                  <a:lnTo>
                    <a:pt x="2338" y="1521"/>
                  </a:lnTo>
                  <a:lnTo>
                    <a:pt x="2336" y="1515"/>
                  </a:lnTo>
                  <a:lnTo>
                    <a:pt x="2335" y="1510"/>
                  </a:lnTo>
                  <a:lnTo>
                    <a:pt x="2334" y="1505"/>
                  </a:lnTo>
                  <a:lnTo>
                    <a:pt x="2334" y="1499"/>
                  </a:lnTo>
                  <a:lnTo>
                    <a:pt x="2338" y="1493"/>
                  </a:lnTo>
                  <a:lnTo>
                    <a:pt x="2343" y="1488"/>
                  </a:lnTo>
                  <a:lnTo>
                    <a:pt x="2338" y="1479"/>
                  </a:lnTo>
                  <a:lnTo>
                    <a:pt x="2333" y="1473"/>
                  </a:lnTo>
                  <a:lnTo>
                    <a:pt x="2328" y="1469"/>
                  </a:lnTo>
                  <a:lnTo>
                    <a:pt x="2321" y="1464"/>
                  </a:lnTo>
                  <a:lnTo>
                    <a:pt x="2314" y="1460"/>
                  </a:lnTo>
                  <a:lnTo>
                    <a:pt x="2308" y="1455"/>
                  </a:lnTo>
                  <a:lnTo>
                    <a:pt x="2302" y="1449"/>
                  </a:lnTo>
                  <a:lnTo>
                    <a:pt x="2296" y="1442"/>
                  </a:lnTo>
                  <a:lnTo>
                    <a:pt x="2274" y="1411"/>
                  </a:lnTo>
                  <a:lnTo>
                    <a:pt x="2254" y="1383"/>
                  </a:lnTo>
                  <a:lnTo>
                    <a:pt x="2244" y="1370"/>
                  </a:lnTo>
                  <a:lnTo>
                    <a:pt x="2232" y="1358"/>
                  </a:lnTo>
                  <a:lnTo>
                    <a:pt x="2225" y="1352"/>
                  </a:lnTo>
                  <a:lnTo>
                    <a:pt x="2218" y="1347"/>
                  </a:lnTo>
                  <a:lnTo>
                    <a:pt x="2210" y="1341"/>
                  </a:lnTo>
                  <a:lnTo>
                    <a:pt x="2202" y="1336"/>
                  </a:lnTo>
                  <a:lnTo>
                    <a:pt x="2204" y="1332"/>
                  </a:lnTo>
                  <a:lnTo>
                    <a:pt x="2207" y="1328"/>
                  </a:lnTo>
                  <a:lnTo>
                    <a:pt x="2209" y="1324"/>
                  </a:lnTo>
                  <a:lnTo>
                    <a:pt x="2213" y="1321"/>
                  </a:lnTo>
                  <a:lnTo>
                    <a:pt x="2220" y="1315"/>
                  </a:lnTo>
                  <a:lnTo>
                    <a:pt x="2229" y="1311"/>
                  </a:lnTo>
                  <a:lnTo>
                    <a:pt x="2248" y="1306"/>
                  </a:lnTo>
                  <a:lnTo>
                    <a:pt x="2269" y="1302"/>
                  </a:lnTo>
                  <a:lnTo>
                    <a:pt x="2278" y="1300"/>
                  </a:lnTo>
                  <a:lnTo>
                    <a:pt x="2287" y="1297"/>
                  </a:lnTo>
                  <a:lnTo>
                    <a:pt x="2297" y="1294"/>
                  </a:lnTo>
                  <a:lnTo>
                    <a:pt x="2304" y="1290"/>
                  </a:lnTo>
                  <a:lnTo>
                    <a:pt x="2310" y="1285"/>
                  </a:lnTo>
                  <a:lnTo>
                    <a:pt x="2315" y="1280"/>
                  </a:lnTo>
                  <a:lnTo>
                    <a:pt x="2317" y="1276"/>
                  </a:lnTo>
                  <a:lnTo>
                    <a:pt x="2318" y="1272"/>
                  </a:lnTo>
                  <a:lnTo>
                    <a:pt x="2319" y="1268"/>
                  </a:lnTo>
                  <a:lnTo>
                    <a:pt x="2319" y="1262"/>
                  </a:lnTo>
                  <a:lnTo>
                    <a:pt x="2318" y="1254"/>
                  </a:lnTo>
                  <a:lnTo>
                    <a:pt x="2316" y="1246"/>
                  </a:lnTo>
                  <a:lnTo>
                    <a:pt x="2312" y="1240"/>
                  </a:lnTo>
                  <a:lnTo>
                    <a:pt x="2307" y="1235"/>
                  </a:lnTo>
                  <a:lnTo>
                    <a:pt x="2301" y="1229"/>
                  </a:lnTo>
                  <a:lnTo>
                    <a:pt x="2294" y="1226"/>
                  </a:lnTo>
                  <a:lnTo>
                    <a:pt x="2285" y="1223"/>
                  </a:lnTo>
                  <a:lnTo>
                    <a:pt x="2276" y="1221"/>
                  </a:lnTo>
                  <a:lnTo>
                    <a:pt x="2236" y="1216"/>
                  </a:lnTo>
                  <a:lnTo>
                    <a:pt x="2195" y="1211"/>
                  </a:lnTo>
                  <a:lnTo>
                    <a:pt x="2189" y="1210"/>
                  </a:lnTo>
                  <a:lnTo>
                    <a:pt x="2185" y="1208"/>
                  </a:lnTo>
                  <a:lnTo>
                    <a:pt x="2181" y="1205"/>
                  </a:lnTo>
                  <a:lnTo>
                    <a:pt x="2179" y="1202"/>
                  </a:lnTo>
                  <a:lnTo>
                    <a:pt x="2174" y="1193"/>
                  </a:lnTo>
                  <a:lnTo>
                    <a:pt x="2171" y="1183"/>
                  </a:lnTo>
                  <a:lnTo>
                    <a:pt x="2168" y="1173"/>
                  </a:lnTo>
                  <a:lnTo>
                    <a:pt x="2165" y="1162"/>
                  </a:lnTo>
                  <a:lnTo>
                    <a:pt x="2161" y="1152"/>
                  </a:lnTo>
                  <a:lnTo>
                    <a:pt x="2154" y="1143"/>
                  </a:lnTo>
                  <a:lnTo>
                    <a:pt x="2150" y="1137"/>
                  </a:lnTo>
                  <a:lnTo>
                    <a:pt x="2145" y="1134"/>
                  </a:lnTo>
                  <a:lnTo>
                    <a:pt x="2140" y="1131"/>
                  </a:lnTo>
                  <a:lnTo>
                    <a:pt x="2134" y="1130"/>
                  </a:lnTo>
                  <a:lnTo>
                    <a:pt x="2121" y="1128"/>
                  </a:lnTo>
                  <a:lnTo>
                    <a:pt x="2107" y="1128"/>
                  </a:lnTo>
                  <a:lnTo>
                    <a:pt x="2101" y="1129"/>
                  </a:lnTo>
                  <a:lnTo>
                    <a:pt x="2096" y="1130"/>
                  </a:lnTo>
                  <a:lnTo>
                    <a:pt x="2090" y="1132"/>
                  </a:lnTo>
                  <a:lnTo>
                    <a:pt x="2085" y="1135"/>
                  </a:lnTo>
                  <a:lnTo>
                    <a:pt x="2077" y="1143"/>
                  </a:lnTo>
                  <a:lnTo>
                    <a:pt x="2070" y="1152"/>
                  </a:lnTo>
                  <a:lnTo>
                    <a:pt x="2063" y="1162"/>
                  </a:lnTo>
                  <a:lnTo>
                    <a:pt x="2054" y="1172"/>
                  </a:lnTo>
                  <a:lnTo>
                    <a:pt x="2050" y="1177"/>
                  </a:lnTo>
                  <a:lnTo>
                    <a:pt x="2046" y="1181"/>
                  </a:lnTo>
                  <a:lnTo>
                    <a:pt x="2040" y="1184"/>
                  </a:lnTo>
                  <a:lnTo>
                    <a:pt x="2035" y="1187"/>
                  </a:lnTo>
                  <a:lnTo>
                    <a:pt x="1999" y="1204"/>
                  </a:lnTo>
                  <a:lnTo>
                    <a:pt x="1966" y="1217"/>
                  </a:lnTo>
                  <a:lnTo>
                    <a:pt x="1934" y="1229"/>
                  </a:lnTo>
                  <a:lnTo>
                    <a:pt x="1904" y="1240"/>
                  </a:lnTo>
                  <a:lnTo>
                    <a:pt x="1887" y="1244"/>
                  </a:lnTo>
                  <a:lnTo>
                    <a:pt x="1872" y="1247"/>
                  </a:lnTo>
                  <a:lnTo>
                    <a:pt x="1856" y="1251"/>
                  </a:lnTo>
                  <a:lnTo>
                    <a:pt x="1840" y="1253"/>
                  </a:lnTo>
                  <a:lnTo>
                    <a:pt x="1822" y="1255"/>
                  </a:lnTo>
                  <a:lnTo>
                    <a:pt x="1804" y="1257"/>
                  </a:lnTo>
                  <a:lnTo>
                    <a:pt x="1785" y="1258"/>
                  </a:lnTo>
                  <a:lnTo>
                    <a:pt x="1766" y="1258"/>
                  </a:lnTo>
                  <a:lnTo>
                    <a:pt x="1748" y="1257"/>
                  </a:lnTo>
                  <a:lnTo>
                    <a:pt x="1733" y="1256"/>
                  </a:lnTo>
                  <a:lnTo>
                    <a:pt x="1717" y="1253"/>
                  </a:lnTo>
                  <a:lnTo>
                    <a:pt x="1704" y="1249"/>
                  </a:lnTo>
                  <a:lnTo>
                    <a:pt x="1675" y="1240"/>
                  </a:lnTo>
                  <a:lnTo>
                    <a:pt x="1643" y="1227"/>
                  </a:lnTo>
                  <a:lnTo>
                    <a:pt x="1622" y="1220"/>
                  </a:lnTo>
                  <a:lnTo>
                    <a:pt x="1604" y="1212"/>
                  </a:lnTo>
                  <a:lnTo>
                    <a:pt x="1595" y="1207"/>
                  </a:lnTo>
                  <a:lnTo>
                    <a:pt x="1589" y="1200"/>
                  </a:lnTo>
                  <a:lnTo>
                    <a:pt x="1587" y="1196"/>
                  </a:lnTo>
                  <a:lnTo>
                    <a:pt x="1585" y="1192"/>
                  </a:lnTo>
                  <a:lnTo>
                    <a:pt x="1584" y="1188"/>
                  </a:lnTo>
                  <a:lnTo>
                    <a:pt x="1584" y="1183"/>
                  </a:lnTo>
                  <a:lnTo>
                    <a:pt x="1585" y="1172"/>
                  </a:lnTo>
                  <a:lnTo>
                    <a:pt x="1587" y="1163"/>
                  </a:lnTo>
                  <a:lnTo>
                    <a:pt x="1590" y="1154"/>
                  </a:lnTo>
                  <a:lnTo>
                    <a:pt x="1591" y="1143"/>
                  </a:lnTo>
                  <a:lnTo>
                    <a:pt x="1591" y="1088"/>
                  </a:lnTo>
                  <a:lnTo>
                    <a:pt x="1590" y="1062"/>
                  </a:lnTo>
                  <a:lnTo>
                    <a:pt x="1587" y="1037"/>
                  </a:lnTo>
                  <a:lnTo>
                    <a:pt x="1585" y="1026"/>
                  </a:lnTo>
                  <a:lnTo>
                    <a:pt x="1582" y="1015"/>
                  </a:lnTo>
                  <a:lnTo>
                    <a:pt x="1579" y="1004"/>
                  </a:lnTo>
                  <a:lnTo>
                    <a:pt x="1575" y="993"/>
                  </a:lnTo>
                  <a:lnTo>
                    <a:pt x="1570" y="984"/>
                  </a:lnTo>
                  <a:lnTo>
                    <a:pt x="1564" y="973"/>
                  </a:lnTo>
                  <a:lnTo>
                    <a:pt x="1558" y="964"/>
                  </a:lnTo>
                  <a:lnTo>
                    <a:pt x="1551" y="955"/>
                  </a:lnTo>
                  <a:lnTo>
                    <a:pt x="1543" y="946"/>
                  </a:lnTo>
                  <a:lnTo>
                    <a:pt x="1534" y="938"/>
                  </a:lnTo>
                  <a:lnTo>
                    <a:pt x="1524" y="931"/>
                  </a:lnTo>
                  <a:lnTo>
                    <a:pt x="1513" y="923"/>
                  </a:lnTo>
                  <a:lnTo>
                    <a:pt x="1497" y="911"/>
                  </a:lnTo>
                  <a:lnTo>
                    <a:pt x="1484" y="901"/>
                  </a:lnTo>
                  <a:lnTo>
                    <a:pt x="1477" y="897"/>
                  </a:lnTo>
                  <a:lnTo>
                    <a:pt x="1470" y="893"/>
                  </a:lnTo>
                  <a:lnTo>
                    <a:pt x="1461" y="891"/>
                  </a:lnTo>
                  <a:lnTo>
                    <a:pt x="1452" y="890"/>
                  </a:lnTo>
                  <a:lnTo>
                    <a:pt x="1440" y="891"/>
                  </a:lnTo>
                  <a:lnTo>
                    <a:pt x="1429" y="893"/>
                  </a:lnTo>
                  <a:lnTo>
                    <a:pt x="1418" y="895"/>
                  </a:lnTo>
                  <a:lnTo>
                    <a:pt x="1409" y="898"/>
                  </a:lnTo>
                  <a:lnTo>
                    <a:pt x="1390" y="907"/>
                  </a:lnTo>
                  <a:lnTo>
                    <a:pt x="1372" y="918"/>
                  </a:lnTo>
                  <a:lnTo>
                    <a:pt x="1354" y="927"/>
                  </a:lnTo>
                  <a:lnTo>
                    <a:pt x="1336" y="936"/>
                  </a:lnTo>
                  <a:lnTo>
                    <a:pt x="1325" y="939"/>
                  </a:lnTo>
                  <a:lnTo>
                    <a:pt x="1315" y="942"/>
                  </a:lnTo>
                  <a:lnTo>
                    <a:pt x="1304" y="943"/>
                  </a:lnTo>
                  <a:lnTo>
                    <a:pt x="1292" y="944"/>
                  </a:lnTo>
                  <a:lnTo>
                    <a:pt x="1285" y="943"/>
                  </a:lnTo>
                  <a:lnTo>
                    <a:pt x="1279" y="941"/>
                  </a:lnTo>
                  <a:lnTo>
                    <a:pt x="1273" y="939"/>
                  </a:lnTo>
                  <a:lnTo>
                    <a:pt x="1267" y="935"/>
                  </a:lnTo>
                  <a:lnTo>
                    <a:pt x="1257" y="928"/>
                  </a:lnTo>
                  <a:lnTo>
                    <a:pt x="1245" y="921"/>
                  </a:lnTo>
                  <a:lnTo>
                    <a:pt x="1228" y="914"/>
                  </a:lnTo>
                  <a:lnTo>
                    <a:pt x="1214" y="908"/>
                  </a:lnTo>
                  <a:lnTo>
                    <a:pt x="1208" y="905"/>
                  </a:lnTo>
                  <a:lnTo>
                    <a:pt x="1201" y="901"/>
                  </a:lnTo>
                  <a:lnTo>
                    <a:pt x="1196" y="895"/>
                  </a:lnTo>
                  <a:lnTo>
                    <a:pt x="1193" y="888"/>
                  </a:lnTo>
                  <a:lnTo>
                    <a:pt x="1187" y="873"/>
                  </a:lnTo>
                  <a:lnTo>
                    <a:pt x="1184" y="860"/>
                  </a:lnTo>
                  <a:lnTo>
                    <a:pt x="1182" y="847"/>
                  </a:lnTo>
                  <a:lnTo>
                    <a:pt x="1181" y="835"/>
                  </a:lnTo>
                  <a:lnTo>
                    <a:pt x="1180" y="808"/>
                  </a:lnTo>
                  <a:lnTo>
                    <a:pt x="1179" y="779"/>
                  </a:lnTo>
                  <a:lnTo>
                    <a:pt x="1169" y="778"/>
                  </a:lnTo>
                  <a:lnTo>
                    <a:pt x="1161" y="777"/>
                  </a:lnTo>
                  <a:lnTo>
                    <a:pt x="1154" y="774"/>
                  </a:lnTo>
                  <a:lnTo>
                    <a:pt x="1147" y="770"/>
                  </a:lnTo>
                  <a:lnTo>
                    <a:pt x="1141" y="766"/>
                  </a:lnTo>
                  <a:lnTo>
                    <a:pt x="1135" y="760"/>
                  </a:lnTo>
                  <a:lnTo>
                    <a:pt x="1133" y="755"/>
                  </a:lnTo>
                  <a:lnTo>
                    <a:pt x="1132" y="752"/>
                  </a:lnTo>
                  <a:lnTo>
                    <a:pt x="1131" y="748"/>
                  </a:lnTo>
                  <a:lnTo>
                    <a:pt x="1131" y="744"/>
                  </a:lnTo>
                  <a:lnTo>
                    <a:pt x="1131" y="693"/>
                  </a:lnTo>
                  <a:lnTo>
                    <a:pt x="1131" y="688"/>
                  </a:lnTo>
                  <a:lnTo>
                    <a:pt x="1130" y="683"/>
                  </a:lnTo>
                  <a:lnTo>
                    <a:pt x="1128" y="679"/>
                  </a:lnTo>
                  <a:lnTo>
                    <a:pt x="1126" y="675"/>
                  </a:lnTo>
                  <a:lnTo>
                    <a:pt x="1120" y="668"/>
                  </a:lnTo>
                  <a:lnTo>
                    <a:pt x="1112" y="662"/>
                  </a:lnTo>
                  <a:lnTo>
                    <a:pt x="1094" y="651"/>
                  </a:lnTo>
                  <a:lnTo>
                    <a:pt x="1077" y="638"/>
                  </a:lnTo>
                  <a:lnTo>
                    <a:pt x="1064" y="623"/>
                  </a:lnTo>
                  <a:lnTo>
                    <a:pt x="1052" y="611"/>
                  </a:lnTo>
                  <a:lnTo>
                    <a:pt x="1041" y="597"/>
                  </a:lnTo>
                  <a:lnTo>
                    <a:pt x="1031" y="584"/>
                  </a:lnTo>
                  <a:lnTo>
                    <a:pt x="1027" y="577"/>
                  </a:lnTo>
                  <a:lnTo>
                    <a:pt x="1024" y="570"/>
                  </a:lnTo>
                  <a:lnTo>
                    <a:pt x="1021" y="562"/>
                  </a:lnTo>
                  <a:lnTo>
                    <a:pt x="1018" y="555"/>
                  </a:lnTo>
                  <a:lnTo>
                    <a:pt x="1016" y="547"/>
                  </a:lnTo>
                  <a:lnTo>
                    <a:pt x="1015" y="538"/>
                  </a:lnTo>
                  <a:lnTo>
                    <a:pt x="1014" y="529"/>
                  </a:lnTo>
                  <a:lnTo>
                    <a:pt x="1014" y="519"/>
                  </a:lnTo>
                  <a:lnTo>
                    <a:pt x="1014" y="491"/>
                  </a:lnTo>
                  <a:lnTo>
                    <a:pt x="1016" y="464"/>
                  </a:lnTo>
                  <a:lnTo>
                    <a:pt x="1019" y="440"/>
                  </a:lnTo>
                  <a:lnTo>
                    <a:pt x="1023" y="417"/>
                  </a:lnTo>
                  <a:lnTo>
                    <a:pt x="1027" y="393"/>
                  </a:lnTo>
                  <a:lnTo>
                    <a:pt x="1031" y="368"/>
                  </a:lnTo>
                  <a:lnTo>
                    <a:pt x="1035" y="342"/>
                  </a:lnTo>
                  <a:lnTo>
                    <a:pt x="1040" y="313"/>
                  </a:lnTo>
                  <a:lnTo>
                    <a:pt x="1024" y="301"/>
                  </a:lnTo>
                  <a:lnTo>
                    <a:pt x="1011" y="290"/>
                  </a:lnTo>
                  <a:lnTo>
                    <a:pt x="996" y="279"/>
                  </a:lnTo>
                  <a:lnTo>
                    <a:pt x="982" y="271"/>
                  </a:lnTo>
                  <a:lnTo>
                    <a:pt x="967" y="263"/>
                  </a:lnTo>
                  <a:lnTo>
                    <a:pt x="952" y="255"/>
                  </a:lnTo>
                  <a:lnTo>
                    <a:pt x="935" y="246"/>
                  </a:lnTo>
                  <a:lnTo>
                    <a:pt x="917" y="238"/>
                  </a:lnTo>
                  <a:lnTo>
                    <a:pt x="891" y="228"/>
                  </a:lnTo>
                  <a:lnTo>
                    <a:pt x="868" y="216"/>
                  </a:lnTo>
                  <a:lnTo>
                    <a:pt x="863" y="212"/>
                  </a:lnTo>
                  <a:lnTo>
                    <a:pt x="858" y="209"/>
                  </a:lnTo>
                  <a:lnTo>
                    <a:pt x="854" y="205"/>
                  </a:lnTo>
                  <a:lnTo>
                    <a:pt x="851" y="200"/>
                  </a:lnTo>
                  <a:lnTo>
                    <a:pt x="848" y="196"/>
                  </a:lnTo>
                  <a:lnTo>
                    <a:pt x="846" y="190"/>
                  </a:lnTo>
                  <a:lnTo>
                    <a:pt x="845" y="183"/>
                  </a:lnTo>
                  <a:lnTo>
                    <a:pt x="844" y="177"/>
                  </a:lnTo>
                  <a:lnTo>
                    <a:pt x="845" y="152"/>
                  </a:lnTo>
                  <a:lnTo>
                    <a:pt x="846" y="130"/>
                  </a:lnTo>
                  <a:lnTo>
                    <a:pt x="845" y="119"/>
                  </a:lnTo>
                  <a:lnTo>
                    <a:pt x="844" y="109"/>
                  </a:lnTo>
                  <a:lnTo>
                    <a:pt x="839" y="98"/>
                  </a:lnTo>
                  <a:lnTo>
                    <a:pt x="834" y="87"/>
                  </a:lnTo>
                  <a:lnTo>
                    <a:pt x="831" y="82"/>
                  </a:lnTo>
                  <a:lnTo>
                    <a:pt x="827" y="78"/>
                  </a:lnTo>
                  <a:lnTo>
                    <a:pt x="823" y="74"/>
                  </a:lnTo>
                  <a:lnTo>
                    <a:pt x="819" y="70"/>
                  </a:lnTo>
                  <a:lnTo>
                    <a:pt x="810" y="65"/>
                  </a:lnTo>
                  <a:lnTo>
                    <a:pt x="800" y="59"/>
                  </a:lnTo>
                  <a:lnTo>
                    <a:pt x="780" y="52"/>
                  </a:lnTo>
                  <a:lnTo>
                    <a:pt x="757" y="43"/>
                  </a:lnTo>
                  <a:lnTo>
                    <a:pt x="747" y="37"/>
                  </a:lnTo>
                  <a:lnTo>
                    <a:pt x="738" y="30"/>
                  </a:lnTo>
                  <a:lnTo>
                    <a:pt x="731" y="23"/>
                  </a:lnTo>
                  <a:lnTo>
                    <a:pt x="724" y="16"/>
                  </a:lnTo>
                  <a:lnTo>
                    <a:pt x="717" y="10"/>
                  </a:lnTo>
                  <a:lnTo>
                    <a:pt x="709" y="5"/>
                  </a:lnTo>
                  <a:lnTo>
                    <a:pt x="703" y="3"/>
                  </a:lnTo>
                  <a:lnTo>
                    <a:pt x="699" y="2"/>
                  </a:lnTo>
                  <a:lnTo>
                    <a:pt x="694" y="1"/>
                  </a:lnTo>
                  <a:lnTo>
                    <a:pt x="688" y="0"/>
                  </a:lnTo>
                  <a:lnTo>
                    <a:pt x="670" y="1"/>
                  </a:lnTo>
                  <a:lnTo>
                    <a:pt x="655" y="4"/>
                  </a:lnTo>
                  <a:lnTo>
                    <a:pt x="639" y="7"/>
                  </a:lnTo>
                  <a:lnTo>
                    <a:pt x="626" y="12"/>
                  </a:lnTo>
                  <a:lnTo>
                    <a:pt x="612" y="16"/>
                  </a:lnTo>
                  <a:lnTo>
                    <a:pt x="597" y="21"/>
                  </a:lnTo>
                  <a:lnTo>
                    <a:pt x="581" y="25"/>
                  </a:lnTo>
                  <a:lnTo>
                    <a:pt x="563" y="28"/>
                  </a:lnTo>
                  <a:lnTo>
                    <a:pt x="546" y="36"/>
                  </a:lnTo>
                  <a:lnTo>
                    <a:pt x="529" y="43"/>
                  </a:lnTo>
                  <a:lnTo>
                    <a:pt x="515" y="52"/>
                  </a:lnTo>
                  <a:lnTo>
                    <a:pt x="500" y="60"/>
                  </a:lnTo>
                  <a:lnTo>
                    <a:pt x="486" y="68"/>
                  </a:lnTo>
                  <a:lnTo>
                    <a:pt x="471" y="75"/>
                  </a:lnTo>
                  <a:lnTo>
                    <a:pt x="463" y="77"/>
                  </a:lnTo>
                  <a:lnTo>
                    <a:pt x="455" y="79"/>
                  </a:lnTo>
                  <a:lnTo>
                    <a:pt x="446" y="80"/>
                  </a:lnTo>
                  <a:lnTo>
                    <a:pt x="436" y="80"/>
                  </a:lnTo>
                  <a:lnTo>
                    <a:pt x="427" y="79"/>
                  </a:lnTo>
                  <a:lnTo>
                    <a:pt x="419" y="77"/>
                  </a:lnTo>
                  <a:lnTo>
                    <a:pt x="410" y="74"/>
                  </a:lnTo>
                  <a:lnTo>
                    <a:pt x="403" y="69"/>
                  </a:lnTo>
                  <a:lnTo>
                    <a:pt x="391" y="57"/>
                  </a:lnTo>
                  <a:lnTo>
                    <a:pt x="380" y="45"/>
                  </a:lnTo>
                  <a:lnTo>
                    <a:pt x="368" y="32"/>
                  </a:lnTo>
                  <a:lnTo>
                    <a:pt x="355" y="20"/>
                  </a:lnTo>
                  <a:lnTo>
                    <a:pt x="348" y="16"/>
                  </a:lnTo>
                  <a:lnTo>
                    <a:pt x="340" y="13"/>
                  </a:lnTo>
                  <a:lnTo>
                    <a:pt x="332" y="10"/>
                  </a:lnTo>
                  <a:lnTo>
                    <a:pt x="323" y="10"/>
                  </a:lnTo>
                  <a:lnTo>
                    <a:pt x="317" y="10"/>
                  </a:lnTo>
                  <a:lnTo>
                    <a:pt x="311" y="11"/>
                  </a:lnTo>
                  <a:lnTo>
                    <a:pt x="306" y="12"/>
                  </a:lnTo>
                  <a:lnTo>
                    <a:pt x="301" y="13"/>
                  </a:lnTo>
                  <a:lnTo>
                    <a:pt x="292" y="18"/>
                  </a:lnTo>
                  <a:lnTo>
                    <a:pt x="284" y="23"/>
                  </a:lnTo>
                  <a:lnTo>
                    <a:pt x="267" y="37"/>
                  </a:lnTo>
                  <a:lnTo>
                    <a:pt x="248" y="49"/>
                  </a:lnTo>
                  <a:lnTo>
                    <a:pt x="216" y="67"/>
                  </a:lnTo>
                  <a:lnTo>
                    <a:pt x="187" y="84"/>
                  </a:lnTo>
                  <a:lnTo>
                    <a:pt x="174" y="93"/>
                  </a:lnTo>
                  <a:lnTo>
                    <a:pt x="163" y="105"/>
                  </a:lnTo>
                  <a:lnTo>
                    <a:pt x="158" y="111"/>
                  </a:lnTo>
                  <a:lnTo>
                    <a:pt x="153" y="118"/>
                  </a:lnTo>
                  <a:lnTo>
                    <a:pt x="149" y="127"/>
                  </a:lnTo>
                  <a:lnTo>
                    <a:pt x="143" y="135"/>
                  </a:lnTo>
                  <a:lnTo>
                    <a:pt x="134" y="130"/>
                  </a:lnTo>
                  <a:lnTo>
                    <a:pt x="125" y="128"/>
                  </a:lnTo>
                  <a:lnTo>
                    <a:pt x="117" y="129"/>
                  </a:lnTo>
                  <a:lnTo>
                    <a:pt x="109" y="131"/>
                  </a:lnTo>
                  <a:lnTo>
                    <a:pt x="101" y="134"/>
                  </a:lnTo>
                  <a:lnTo>
                    <a:pt x="93" y="135"/>
                  </a:lnTo>
                  <a:lnTo>
                    <a:pt x="87" y="134"/>
                  </a:lnTo>
                  <a:lnTo>
                    <a:pt x="80" y="134"/>
                  </a:lnTo>
                  <a:lnTo>
                    <a:pt x="76" y="159"/>
                  </a:lnTo>
                  <a:lnTo>
                    <a:pt x="71" y="181"/>
                  </a:lnTo>
                  <a:lnTo>
                    <a:pt x="65" y="202"/>
                  </a:lnTo>
                  <a:lnTo>
                    <a:pt x="57" y="223"/>
                  </a:lnTo>
                  <a:lnTo>
                    <a:pt x="50" y="242"/>
                  </a:lnTo>
                  <a:lnTo>
                    <a:pt x="40" y="263"/>
                  </a:lnTo>
                  <a:lnTo>
                    <a:pt x="31" y="283"/>
                  </a:lnTo>
                  <a:lnTo>
                    <a:pt x="21" y="307"/>
                  </a:lnTo>
                  <a:lnTo>
                    <a:pt x="16" y="317"/>
                  </a:lnTo>
                  <a:lnTo>
                    <a:pt x="8" y="325"/>
                  </a:lnTo>
                  <a:lnTo>
                    <a:pt x="5" y="329"/>
                  </a:lnTo>
                  <a:lnTo>
                    <a:pt x="2" y="334"/>
                  </a:lnTo>
                  <a:lnTo>
                    <a:pt x="0" y="339"/>
                  </a:lnTo>
                  <a:lnTo>
                    <a:pt x="0" y="344"/>
                  </a:lnTo>
                  <a:lnTo>
                    <a:pt x="0" y="350"/>
                  </a:lnTo>
                  <a:lnTo>
                    <a:pt x="1" y="354"/>
                  </a:lnTo>
                  <a:lnTo>
                    <a:pt x="3" y="358"/>
                  </a:lnTo>
                  <a:lnTo>
                    <a:pt x="5" y="362"/>
                  </a:lnTo>
                  <a:lnTo>
                    <a:pt x="10" y="368"/>
                  </a:lnTo>
                  <a:lnTo>
                    <a:pt x="18" y="373"/>
                  </a:lnTo>
                  <a:lnTo>
                    <a:pt x="35" y="383"/>
                  </a:lnTo>
                  <a:lnTo>
                    <a:pt x="52" y="394"/>
                  </a:lnTo>
                  <a:lnTo>
                    <a:pt x="59" y="401"/>
                  </a:lnTo>
                  <a:lnTo>
                    <a:pt x="65" y="408"/>
                  </a:lnTo>
                  <a:lnTo>
                    <a:pt x="69" y="416"/>
                  </a:lnTo>
                  <a:lnTo>
                    <a:pt x="74" y="423"/>
                  </a:lnTo>
                  <a:lnTo>
                    <a:pt x="78" y="430"/>
                  </a:lnTo>
                  <a:lnTo>
                    <a:pt x="84" y="437"/>
                  </a:lnTo>
                  <a:lnTo>
                    <a:pt x="90" y="444"/>
                  </a:lnTo>
                  <a:lnTo>
                    <a:pt x="97" y="451"/>
                  </a:lnTo>
                  <a:lnTo>
                    <a:pt x="126" y="474"/>
                  </a:lnTo>
                  <a:lnTo>
                    <a:pt x="153" y="496"/>
                  </a:lnTo>
                  <a:lnTo>
                    <a:pt x="158" y="501"/>
                  </a:lnTo>
                  <a:lnTo>
                    <a:pt x="163" y="508"/>
                  </a:lnTo>
                  <a:lnTo>
                    <a:pt x="168" y="514"/>
                  </a:lnTo>
                  <a:lnTo>
                    <a:pt x="171" y="521"/>
                  </a:lnTo>
                  <a:lnTo>
                    <a:pt x="174" y="528"/>
                  </a:lnTo>
                  <a:lnTo>
                    <a:pt x="177" y="536"/>
                  </a:lnTo>
                  <a:lnTo>
                    <a:pt x="178" y="545"/>
                  </a:lnTo>
                  <a:lnTo>
                    <a:pt x="179" y="554"/>
                  </a:lnTo>
                  <a:lnTo>
                    <a:pt x="178" y="575"/>
                  </a:lnTo>
                  <a:lnTo>
                    <a:pt x="178" y="593"/>
                  </a:lnTo>
                  <a:lnTo>
                    <a:pt x="178" y="612"/>
                  </a:lnTo>
                  <a:lnTo>
                    <a:pt x="177" y="633"/>
                  </a:lnTo>
                  <a:lnTo>
                    <a:pt x="177" y="737"/>
                  </a:lnTo>
                  <a:lnTo>
                    <a:pt x="177" y="746"/>
                  </a:lnTo>
                  <a:lnTo>
                    <a:pt x="176" y="755"/>
                  </a:lnTo>
                  <a:lnTo>
                    <a:pt x="174" y="764"/>
                  </a:lnTo>
                  <a:lnTo>
                    <a:pt x="172" y="771"/>
                  </a:lnTo>
                  <a:lnTo>
                    <a:pt x="166" y="786"/>
                  </a:lnTo>
                  <a:lnTo>
                    <a:pt x="160" y="801"/>
                  </a:lnTo>
                  <a:lnTo>
                    <a:pt x="153" y="814"/>
                  </a:lnTo>
                  <a:lnTo>
                    <a:pt x="146" y="830"/>
                  </a:lnTo>
                  <a:lnTo>
                    <a:pt x="144" y="838"/>
                  </a:lnTo>
                  <a:lnTo>
                    <a:pt x="142" y="846"/>
                  </a:lnTo>
                  <a:lnTo>
                    <a:pt x="141" y="855"/>
                  </a:lnTo>
                  <a:lnTo>
                    <a:pt x="141" y="864"/>
                  </a:lnTo>
                  <a:lnTo>
                    <a:pt x="141" y="868"/>
                  </a:lnTo>
                  <a:lnTo>
                    <a:pt x="143" y="870"/>
                  </a:lnTo>
                  <a:lnTo>
                    <a:pt x="145" y="873"/>
                  </a:lnTo>
                  <a:lnTo>
                    <a:pt x="149" y="875"/>
                  </a:lnTo>
                  <a:lnTo>
                    <a:pt x="154" y="878"/>
                  </a:lnTo>
                  <a:lnTo>
                    <a:pt x="160" y="882"/>
                  </a:lnTo>
                  <a:lnTo>
                    <a:pt x="188" y="907"/>
                  </a:lnTo>
                  <a:lnTo>
                    <a:pt x="215" y="929"/>
                  </a:lnTo>
                  <a:lnTo>
                    <a:pt x="221" y="935"/>
                  </a:lnTo>
                  <a:lnTo>
                    <a:pt x="226" y="941"/>
                  </a:lnTo>
                  <a:lnTo>
                    <a:pt x="231" y="947"/>
                  </a:lnTo>
                  <a:lnTo>
                    <a:pt x="235" y="954"/>
                  </a:lnTo>
                  <a:lnTo>
                    <a:pt x="238" y="961"/>
                  </a:lnTo>
                  <a:lnTo>
                    <a:pt x="240" y="969"/>
                  </a:lnTo>
                  <a:lnTo>
                    <a:pt x="242" y="977"/>
                  </a:lnTo>
                  <a:lnTo>
                    <a:pt x="242" y="987"/>
                  </a:lnTo>
                  <a:lnTo>
                    <a:pt x="242" y="1000"/>
                  </a:lnTo>
                  <a:lnTo>
                    <a:pt x="240" y="1012"/>
                  </a:lnTo>
                  <a:lnTo>
                    <a:pt x="237" y="1023"/>
                  </a:lnTo>
                  <a:lnTo>
                    <a:pt x="232" y="1033"/>
                  </a:lnTo>
                  <a:lnTo>
                    <a:pt x="228" y="1042"/>
                  </a:lnTo>
                  <a:lnTo>
                    <a:pt x="222" y="1052"/>
                  </a:lnTo>
                  <a:lnTo>
                    <a:pt x="215" y="1061"/>
                  </a:lnTo>
                  <a:lnTo>
                    <a:pt x="207" y="1069"/>
                  </a:lnTo>
                  <a:lnTo>
                    <a:pt x="192" y="1086"/>
                  </a:lnTo>
                  <a:lnTo>
                    <a:pt x="176" y="1103"/>
                  </a:lnTo>
                  <a:lnTo>
                    <a:pt x="168" y="1113"/>
                  </a:lnTo>
                  <a:lnTo>
                    <a:pt x="161" y="1123"/>
                  </a:lnTo>
                  <a:lnTo>
                    <a:pt x="153" y="1133"/>
                  </a:lnTo>
                  <a:lnTo>
                    <a:pt x="146" y="1145"/>
                  </a:lnTo>
                  <a:lnTo>
                    <a:pt x="151" y="1149"/>
                  </a:lnTo>
                  <a:lnTo>
                    <a:pt x="156" y="1154"/>
                  </a:lnTo>
                  <a:lnTo>
                    <a:pt x="159" y="1158"/>
                  </a:lnTo>
                  <a:lnTo>
                    <a:pt x="162" y="1163"/>
                  </a:lnTo>
                  <a:lnTo>
                    <a:pt x="166" y="1174"/>
                  </a:lnTo>
                  <a:lnTo>
                    <a:pt x="169" y="1185"/>
                  </a:lnTo>
                  <a:lnTo>
                    <a:pt x="170" y="1210"/>
                  </a:lnTo>
                  <a:lnTo>
                    <a:pt x="169" y="1237"/>
                  </a:lnTo>
                  <a:lnTo>
                    <a:pt x="168" y="1257"/>
                  </a:lnTo>
                  <a:lnTo>
                    <a:pt x="166" y="1275"/>
                  </a:lnTo>
                  <a:lnTo>
                    <a:pt x="162" y="1292"/>
                  </a:lnTo>
                  <a:lnTo>
                    <a:pt x="157" y="1308"/>
                  </a:lnTo>
                  <a:lnTo>
                    <a:pt x="145" y="1341"/>
                  </a:lnTo>
                  <a:lnTo>
                    <a:pt x="134" y="1378"/>
                  </a:lnTo>
                  <a:lnTo>
                    <a:pt x="148" y="1382"/>
                  </a:lnTo>
                  <a:lnTo>
                    <a:pt x="160" y="1384"/>
                  </a:lnTo>
                  <a:lnTo>
                    <a:pt x="172" y="1385"/>
                  </a:lnTo>
                  <a:lnTo>
                    <a:pt x="185" y="1386"/>
                  </a:lnTo>
                  <a:lnTo>
                    <a:pt x="196" y="1388"/>
                  </a:lnTo>
                  <a:lnTo>
                    <a:pt x="207" y="1392"/>
                  </a:lnTo>
                  <a:lnTo>
                    <a:pt x="212" y="1394"/>
                  </a:lnTo>
                  <a:lnTo>
                    <a:pt x="218" y="1397"/>
                  </a:lnTo>
                  <a:lnTo>
                    <a:pt x="224" y="1400"/>
                  </a:lnTo>
                  <a:lnTo>
                    <a:pt x="229" y="1405"/>
                  </a:lnTo>
                  <a:lnTo>
                    <a:pt x="233" y="1410"/>
                  </a:lnTo>
                  <a:lnTo>
                    <a:pt x="235" y="1415"/>
                  </a:lnTo>
                  <a:lnTo>
                    <a:pt x="236" y="1421"/>
                  </a:lnTo>
                  <a:lnTo>
                    <a:pt x="236" y="1429"/>
                  </a:lnTo>
                  <a:lnTo>
                    <a:pt x="236" y="1435"/>
                  </a:lnTo>
                  <a:lnTo>
                    <a:pt x="236" y="1442"/>
                  </a:lnTo>
                  <a:lnTo>
                    <a:pt x="236" y="1449"/>
                  </a:lnTo>
                  <a:lnTo>
                    <a:pt x="238" y="1457"/>
                  </a:lnTo>
                  <a:lnTo>
                    <a:pt x="240" y="1462"/>
                  </a:lnTo>
                  <a:lnTo>
                    <a:pt x="242" y="1467"/>
                  </a:lnTo>
                  <a:lnTo>
                    <a:pt x="245" y="1471"/>
                  </a:lnTo>
                  <a:lnTo>
                    <a:pt x="250" y="1475"/>
                  </a:lnTo>
                  <a:lnTo>
                    <a:pt x="257" y="1482"/>
                  </a:lnTo>
                  <a:lnTo>
                    <a:pt x="264" y="1489"/>
                  </a:lnTo>
                  <a:lnTo>
                    <a:pt x="271" y="1496"/>
                  </a:lnTo>
                  <a:lnTo>
                    <a:pt x="277" y="1503"/>
                  </a:lnTo>
                  <a:lnTo>
                    <a:pt x="280" y="1507"/>
                  </a:lnTo>
                  <a:lnTo>
                    <a:pt x="282" y="1512"/>
                  </a:lnTo>
                  <a:lnTo>
                    <a:pt x="283" y="1518"/>
                  </a:lnTo>
                  <a:lnTo>
                    <a:pt x="283" y="1523"/>
                  </a:lnTo>
                  <a:lnTo>
                    <a:pt x="283" y="1532"/>
                  </a:lnTo>
                  <a:lnTo>
                    <a:pt x="281" y="1541"/>
                  </a:lnTo>
                  <a:lnTo>
                    <a:pt x="278" y="1550"/>
                  </a:lnTo>
                  <a:lnTo>
                    <a:pt x="275" y="1557"/>
                  </a:lnTo>
                  <a:lnTo>
                    <a:pt x="273" y="1565"/>
                  </a:lnTo>
                  <a:lnTo>
                    <a:pt x="271" y="1572"/>
                  </a:lnTo>
                  <a:lnTo>
                    <a:pt x="269" y="1582"/>
                  </a:lnTo>
                  <a:lnTo>
                    <a:pt x="268" y="1591"/>
                  </a:lnTo>
                  <a:lnTo>
                    <a:pt x="269" y="1604"/>
                  </a:lnTo>
                  <a:lnTo>
                    <a:pt x="271" y="1616"/>
                  </a:lnTo>
                  <a:lnTo>
                    <a:pt x="273" y="1627"/>
                  </a:lnTo>
                  <a:lnTo>
                    <a:pt x="276" y="1638"/>
                  </a:lnTo>
                  <a:lnTo>
                    <a:pt x="285" y="1659"/>
                  </a:lnTo>
                  <a:lnTo>
                    <a:pt x="295" y="1679"/>
                  </a:lnTo>
                  <a:lnTo>
                    <a:pt x="304" y="1698"/>
                  </a:lnTo>
                  <a:lnTo>
                    <a:pt x="313" y="1719"/>
                  </a:lnTo>
                  <a:lnTo>
                    <a:pt x="316" y="1729"/>
                  </a:lnTo>
                  <a:lnTo>
                    <a:pt x="319" y="1741"/>
                  </a:lnTo>
                  <a:lnTo>
                    <a:pt x="320" y="1753"/>
                  </a:lnTo>
                  <a:lnTo>
                    <a:pt x="321" y="1765"/>
                  </a:lnTo>
                  <a:lnTo>
                    <a:pt x="320" y="1782"/>
                  </a:lnTo>
                  <a:lnTo>
                    <a:pt x="317" y="1796"/>
                  </a:lnTo>
                  <a:lnTo>
                    <a:pt x="313" y="1811"/>
                  </a:lnTo>
                  <a:lnTo>
                    <a:pt x="307" y="1823"/>
                  </a:lnTo>
                  <a:lnTo>
                    <a:pt x="302" y="1837"/>
                  </a:lnTo>
                  <a:lnTo>
                    <a:pt x="298" y="1850"/>
                  </a:lnTo>
                  <a:lnTo>
                    <a:pt x="294" y="1866"/>
                  </a:lnTo>
                  <a:lnTo>
                    <a:pt x="292" y="1881"/>
                  </a:lnTo>
                  <a:lnTo>
                    <a:pt x="281" y="1872"/>
                  </a:lnTo>
                  <a:lnTo>
                    <a:pt x="277" y="1884"/>
                  </a:lnTo>
                  <a:lnTo>
                    <a:pt x="275" y="1895"/>
                  </a:lnTo>
                  <a:lnTo>
                    <a:pt x="276" y="1904"/>
                  </a:lnTo>
                  <a:lnTo>
                    <a:pt x="277" y="1910"/>
                  </a:lnTo>
                  <a:lnTo>
                    <a:pt x="280" y="1917"/>
                  </a:lnTo>
                  <a:lnTo>
                    <a:pt x="283" y="1923"/>
                  </a:lnTo>
                  <a:lnTo>
                    <a:pt x="291" y="1935"/>
                  </a:lnTo>
                  <a:lnTo>
                    <a:pt x="299" y="1945"/>
                  </a:lnTo>
                  <a:lnTo>
                    <a:pt x="307" y="1955"/>
                  </a:lnTo>
                  <a:lnTo>
                    <a:pt x="316" y="1967"/>
                  </a:lnTo>
                  <a:lnTo>
                    <a:pt x="319" y="1973"/>
                  </a:lnTo>
                  <a:lnTo>
                    <a:pt x="321" y="1980"/>
                  </a:lnTo>
                  <a:lnTo>
                    <a:pt x="322" y="1987"/>
                  </a:lnTo>
                  <a:lnTo>
                    <a:pt x="323" y="1995"/>
                  </a:lnTo>
                  <a:lnTo>
                    <a:pt x="323" y="2005"/>
                  </a:lnTo>
                  <a:lnTo>
                    <a:pt x="322" y="2014"/>
                  </a:lnTo>
                  <a:lnTo>
                    <a:pt x="320" y="2024"/>
                  </a:lnTo>
                  <a:lnTo>
                    <a:pt x="318" y="2032"/>
                  </a:lnTo>
                  <a:lnTo>
                    <a:pt x="315" y="2040"/>
                  </a:lnTo>
                  <a:lnTo>
                    <a:pt x="311" y="2048"/>
                  </a:lnTo>
                  <a:lnTo>
                    <a:pt x="307" y="2057"/>
                  </a:lnTo>
                  <a:lnTo>
                    <a:pt x="303" y="2064"/>
                  </a:lnTo>
                  <a:lnTo>
                    <a:pt x="299" y="2071"/>
                  </a:lnTo>
                  <a:lnTo>
                    <a:pt x="293" y="2078"/>
                  </a:lnTo>
                  <a:lnTo>
                    <a:pt x="288" y="2084"/>
                  </a:lnTo>
                  <a:lnTo>
                    <a:pt x="282" y="2091"/>
                  </a:lnTo>
                  <a:lnTo>
                    <a:pt x="268" y="2102"/>
                  </a:lnTo>
                  <a:lnTo>
                    <a:pt x="253" y="2112"/>
                  </a:lnTo>
                  <a:lnTo>
                    <a:pt x="237" y="2122"/>
                  </a:lnTo>
                  <a:lnTo>
                    <a:pt x="220" y="2130"/>
                  </a:lnTo>
                  <a:lnTo>
                    <a:pt x="202" y="2137"/>
                  </a:lnTo>
                  <a:lnTo>
                    <a:pt x="183" y="2143"/>
                  </a:lnTo>
                  <a:lnTo>
                    <a:pt x="163" y="2149"/>
                  </a:lnTo>
                  <a:lnTo>
                    <a:pt x="143" y="2154"/>
                  </a:lnTo>
                  <a:lnTo>
                    <a:pt x="124" y="2157"/>
                  </a:lnTo>
                  <a:lnTo>
                    <a:pt x="103" y="2160"/>
                  </a:lnTo>
                  <a:lnTo>
                    <a:pt x="103" y="2177"/>
                  </a:lnTo>
                  <a:lnTo>
                    <a:pt x="104" y="2184"/>
                  </a:lnTo>
                  <a:lnTo>
                    <a:pt x="105" y="2189"/>
                  </a:lnTo>
                  <a:lnTo>
                    <a:pt x="106" y="2194"/>
                  </a:lnTo>
                  <a:lnTo>
                    <a:pt x="108" y="2199"/>
                  </a:lnTo>
                  <a:lnTo>
                    <a:pt x="110" y="2204"/>
                  </a:lnTo>
                  <a:lnTo>
                    <a:pt x="111" y="2209"/>
                  </a:lnTo>
                  <a:lnTo>
                    <a:pt x="112" y="2216"/>
                  </a:lnTo>
                  <a:lnTo>
                    <a:pt x="113" y="2222"/>
                  </a:lnTo>
                  <a:lnTo>
                    <a:pt x="112" y="2230"/>
                  </a:lnTo>
                  <a:lnTo>
                    <a:pt x="111" y="2238"/>
                  </a:lnTo>
                  <a:lnTo>
                    <a:pt x="110" y="2246"/>
                  </a:lnTo>
                  <a:lnTo>
                    <a:pt x="108" y="2253"/>
                  </a:lnTo>
                  <a:lnTo>
                    <a:pt x="104" y="2267"/>
                  </a:lnTo>
                  <a:lnTo>
                    <a:pt x="99" y="2281"/>
                  </a:lnTo>
                  <a:lnTo>
                    <a:pt x="94" y="2294"/>
                  </a:lnTo>
                  <a:lnTo>
                    <a:pt x="89" y="2307"/>
                  </a:lnTo>
                  <a:lnTo>
                    <a:pt x="88" y="2315"/>
                  </a:lnTo>
                  <a:lnTo>
                    <a:pt x="86" y="2323"/>
                  </a:lnTo>
                  <a:lnTo>
                    <a:pt x="85" y="2331"/>
                  </a:lnTo>
                  <a:lnTo>
                    <a:pt x="85" y="2339"/>
                  </a:lnTo>
                  <a:lnTo>
                    <a:pt x="85" y="2345"/>
                  </a:lnTo>
                  <a:lnTo>
                    <a:pt x="86" y="2350"/>
                  </a:lnTo>
                  <a:lnTo>
                    <a:pt x="87" y="2354"/>
                  </a:lnTo>
                  <a:lnTo>
                    <a:pt x="89" y="2357"/>
                  </a:lnTo>
                  <a:lnTo>
                    <a:pt x="93" y="2365"/>
                  </a:lnTo>
                  <a:lnTo>
                    <a:pt x="97" y="2375"/>
                  </a:lnTo>
                  <a:lnTo>
                    <a:pt x="115" y="2390"/>
                  </a:lnTo>
                  <a:lnTo>
                    <a:pt x="133" y="2402"/>
                  </a:lnTo>
                  <a:lnTo>
                    <a:pt x="141" y="2410"/>
                  </a:lnTo>
                  <a:lnTo>
                    <a:pt x="150" y="2417"/>
                  </a:lnTo>
                  <a:lnTo>
                    <a:pt x="153" y="2421"/>
                  </a:lnTo>
                  <a:lnTo>
                    <a:pt x="156" y="2425"/>
                  </a:lnTo>
                  <a:lnTo>
                    <a:pt x="158" y="2430"/>
                  </a:lnTo>
                  <a:lnTo>
                    <a:pt x="160" y="2437"/>
                  </a:lnTo>
                  <a:lnTo>
                    <a:pt x="146" y="2497"/>
                  </a:lnTo>
                  <a:lnTo>
                    <a:pt x="150" y="2503"/>
                  </a:lnTo>
                  <a:lnTo>
                    <a:pt x="154" y="2507"/>
                  </a:lnTo>
                  <a:lnTo>
                    <a:pt x="159" y="2510"/>
                  </a:lnTo>
                  <a:lnTo>
                    <a:pt x="164" y="2513"/>
                  </a:lnTo>
                  <a:lnTo>
                    <a:pt x="174" y="2518"/>
                  </a:lnTo>
                  <a:lnTo>
                    <a:pt x="185" y="2523"/>
                  </a:lnTo>
                  <a:lnTo>
                    <a:pt x="194" y="2527"/>
                  </a:lnTo>
                  <a:lnTo>
                    <a:pt x="202" y="2534"/>
                  </a:lnTo>
                  <a:lnTo>
                    <a:pt x="205" y="2537"/>
                  </a:lnTo>
                  <a:lnTo>
                    <a:pt x="207" y="2541"/>
                  </a:lnTo>
                  <a:lnTo>
                    <a:pt x="209" y="2546"/>
                  </a:lnTo>
                  <a:lnTo>
                    <a:pt x="209" y="2552"/>
                  </a:lnTo>
                  <a:lnTo>
                    <a:pt x="208" y="2560"/>
                  </a:lnTo>
                  <a:lnTo>
                    <a:pt x="206" y="2569"/>
                  </a:lnTo>
                  <a:lnTo>
                    <a:pt x="202" y="2576"/>
                  </a:lnTo>
                  <a:lnTo>
                    <a:pt x="198" y="2582"/>
                  </a:lnTo>
                  <a:lnTo>
                    <a:pt x="188" y="2596"/>
                  </a:lnTo>
                  <a:lnTo>
                    <a:pt x="176" y="2611"/>
                  </a:lnTo>
                  <a:lnTo>
                    <a:pt x="168" y="2628"/>
                  </a:lnTo>
                  <a:lnTo>
                    <a:pt x="160" y="2643"/>
                  </a:lnTo>
                  <a:lnTo>
                    <a:pt x="154" y="2659"/>
                  </a:lnTo>
                  <a:lnTo>
                    <a:pt x="150" y="2674"/>
                  </a:lnTo>
                  <a:lnTo>
                    <a:pt x="145" y="2690"/>
                  </a:lnTo>
                  <a:lnTo>
                    <a:pt x="143" y="2706"/>
                  </a:lnTo>
                  <a:lnTo>
                    <a:pt x="141" y="2724"/>
                  </a:lnTo>
                  <a:lnTo>
                    <a:pt x="141" y="2743"/>
                  </a:lnTo>
                  <a:lnTo>
                    <a:pt x="141" y="2757"/>
                  </a:lnTo>
                  <a:lnTo>
                    <a:pt x="142" y="2770"/>
                  </a:lnTo>
                  <a:lnTo>
                    <a:pt x="144" y="2783"/>
                  </a:lnTo>
                  <a:lnTo>
                    <a:pt x="148" y="2795"/>
                  </a:lnTo>
                  <a:lnTo>
                    <a:pt x="151" y="2806"/>
                  </a:lnTo>
                  <a:lnTo>
                    <a:pt x="155" y="2817"/>
                  </a:lnTo>
                  <a:lnTo>
                    <a:pt x="160" y="2828"/>
                  </a:lnTo>
                  <a:lnTo>
                    <a:pt x="165" y="2838"/>
                  </a:lnTo>
                  <a:lnTo>
                    <a:pt x="171" y="2848"/>
                  </a:lnTo>
                  <a:lnTo>
                    <a:pt x="178" y="2857"/>
                  </a:lnTo>
                  <a:lnTo>
                    <a:pt x="186" y="2867"/>
                  </a:lnTo>
                  <a:lnTo>
                    <a:pt x="194" y="2876"/>
                  </a:lnTo>
                  <a:lnTo>
                    <a:pt x="212" y="2895"/>
                  </a:lnTo>
                  <a:lnTo>
                    <a:pt x="233" y="2913"/>
                  </a:lnTo>
                  <a:lnTo>
                    <a:pt x="251" y="2926"/>
                  </a:lnTo>
                  <a:lnTo>
                    <a:pt x="269" y="2938"/>
                  </a:lnTo>
                  <a:lnTo>
                    <a:pt x="288" y="2950"/>
                  </a:lnTo>
                  <a:lnTo>
                    <a:pt x="305" y="2961"/>
                  </a:lnTo>
                  <a:lnTo>
                    <a:pt x="314" y="2966"/>
                  </a:lnTo>
                  <a:lnTo>
                    <a:pt x="321" y="2973"/>
                  </a:lnTo>
                  <a:lnTo>
                    <a:pt x="327" y="2980"/>
                  </a:lnTo>
                  <a:lnTo>
                    <a:pt x="333" y="2987"/>
                  </a:lnTo>
                  <a:lnTo>
                    <a:pt x="338" y="2995"/>
                  </a:lnTo>
                  <a:lnTo>
                    <a:pt x="342" y="3003"/>
                  </a:lnTo>
                  <a:lnTo>
                    <a:pt x="344" y="3014"/>
                  </a:lnTo>
                  <a:lnTo>
                    <a:pt x="347" y="3024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 dirty="0" err="1">
                  <a:latin typeface="Calibri" panose="020F0502020204030204" pitchFamily="34" charset="0"/>
                </a:rPr>
                <a:t>Kyiv</a:t>
              </a:r>
              <a:endParaRPr lang="ru-RU" altLang="ru-RU" sz="675" dirty="0">
                <a:latin typeface="Calibri" panose="020F0502020204030204" pitchFamily="34" charset="0"/>
              </a:endParaRPr>
            </a:p>
          </p:txBody>
        </p:sp>
        <p:sp>
          <p:nvSpPr>
            <p:cNvPr id="29" name="Vinnytsya"/>
            <p:cNvSpPr>
              <a:spLocks/>
            </p:cNvSpPr>
            <p:nvPr/>
          </p:nvSpPr>
          <p:spPr bwMode="auto">
            <a:xfrm>
              <a:off x="1895" y="2009"/>
              <a:ext cx="673" cy="685"/>
            </a:xfrm>
            <a:custGeom>
              <a:avLst/>
              <a:gdLst>
                <a:gd name="T0" fmla="*/ 335 w 2247"/>
                <a:gd name="T1" fmla="*/ 213 h 2368"/>
                <a:gd name="T2" fmla="*/ 335 w 2247"/>
                <a:gd name="T3" fmla="*/ 213 h 2368"/>
                <a:gd name="T4" fmla="*/ 335 w 2247"/>
                <a:gd name="T5" fmla="*/ 213 h 2368"/>
                <a:gd name="T6" fmla="*/ 335 w 2247"/>
                <a:gd name="T7" fmla="*/ 213 h 2368"/>
                <a:gd name="T8" fmla="*/ 335 w 2247"/>
                <a:gd name="T9" fmla="*/ 213 h 2368"/>
                <a:gd name="T10" fmla="*/ 335 w 2247"/>
                <a:gd name="T11" fmla="*/ 213 h 2368"/>
                <a:gd name="T12" fmla="*/ 335 w 2247"/>
                <a:gd name="T13" fmla="*/ 213 h 2368"/>
                <a:gd name="T14" fmla="*/ 335 w 2247"/>
                <a:gd name="T15" fmla="*/ 213 h 2368"/>
                <a:gd name="T16" fmla="*/ 335 w 2247"/>
                <a:gd name="T17" fmla="*/ 213 h 2368"/>
                <a:gd name="T18" fmla="*/ 335 w 2247"/>
                <a:gd name="T19" fmla="*/ 213 h 2368"/>
                <a:gd name="T20" fmla="*/ 335 w 2247"/>
                <a:gd name="T21" fmla="*/ 213 h 2368"/>
                <a:gd name="T22" fmla="*/ 335 w 2247"/>
                <a:gd name="T23" fmla="*/ 213 h 2368"/>
                <a:gd name="T24" fmla="*/ 335 w 2247"/>
                <a:gd name="T25" fmla="*/ 213 h 2368"/>
                <a:gd name="T26" fmla="*/ 335 w 2247"/>
                <a:gd name="T27" fmla="*/ 213 h 2368"/>
                <a:gd name="T28" fmla="*/ 335 w 2247"/>
                <a:gd name="T29" fmla="*/ 213 h 2368"/>
                <a:gd name="T30" fmla="*/ 335 w 2247"/>
                <a:gd name="T31" fmla="*/ 213 h 2368"/>
                <a:gd name="T32" fmla="*/ 335 w 2247"/>
                <a:gd name="T33" fmla="*/ 213 h 2368"/>
                <a:gd name="T34" fmla="*/ 335 w 2247"/>
                <a:gd name="T35" fmla="*/ 213 h 2368"/>
                <a:gd name="T36" fmla="*/ 335 w 2247"/>
                <a:gd name="T37" fmla="*/ 213 h 2368"/>
                <a:gd name="T38" fmla="*/ 335 w 2247"/>
                <a:gd name="T39" fmla="*/ 213 h 2368"/>
                <a:gd name="T40" fmla="*/ 335 w 2247"/>
                <a:gd name="T41" fmla="*/ 213 h 2368"/>
                <a:gd name="T42" fmla="*/ 335 w 2247"/>
                <a:gd name="T43" fmla="*/ 213 h 2368"/>
                <a:gd name="T44" fmla="*/ 335 w 2247"/>
                <a:gd name="T45" fmla="*/ 213 h 2368"/>
                <a:gd name="T46" fmla="*/ 335 w 2247"/>
                <a:gd name="T47" fmla="*/ 213 h 2368"/>
                <a:gd name="T48" fmla="*/ 335 w 2247"/>
                <a:gd name="T49" fmla="*/ 213 h 2368"/>
                <a:gd name="T50" fmla="*/ 335 w 2247"/>
                <a:gd name="T51" fmla="*/ 213 h 2368"/>
                <a:gd name="T52" fmla="*/ 335 w 2247"/>
                <a:gd name="T53" fmla="*/ 213 h 2368"/>
                <a:gd name="T54" fmla="*/ 335 w 2247"/>
                <a:gd name="T55" fmla="*/ 213 h 2368"/>
                <a:gd name="T56" fmla="*/ 335 w 2247"/>
                <a:gd name="T57" fmla="*/ 213 h 2368"/>
                <a:gd name="T58" fmla="*/ 335 w 2247"/>
                <a:gd name="T59" fmla="*/ 213 h 2368"/>
                <a:gd name="T60" fmla="*/ 335 w 2247"/>
                <a:gd name="T61" fmla="*/ 213 h 2368"/>
                <a:gd name="T62" fmla="*/ 335 w 2247"/>
                <a:gd name="T63" fmla="*/ 213 h 2368"/>
                <a:gd name="T64" fmla="*/ 335 w 2247"/>
                <a:gd name="T65" fmla="*/ 213 h 2368"/>
                <a:gd name="T66" fmla="*/ 335 w 2247"/>
                <a:gd name="T67" fmla="*/ 213 h 2368"/>
                <a:gd name="T68" fmla="*/ 335 w 2247"/>
                <a:gd name="T69" fmla="*/ 213 h 2368"/>
                <a:gd name="T70" fmla="*/ 335 w 2247"/>
                <a:gd name="T71" fmla="*/ 213 h 2368"/>
                <a:gd name="T72" fmla="*/ 335 w 2247"/>
                <a:gd name="T73" fmla="*/ 213 h 2368"/>
                <a:gd name="T74" fmla="*/ 335 w 2247"/>
                <a:gd name="T75" fmla="*/ 213 h 2368"/>
                <a:gd name="T76" fmla="*/ 335 w 2247"/>
                <a:gd name="T77" fmla="*/ 213 h 2368"/>
                <a:gd name="T78" fmla="*/ 335 w 2247"/>
                <a:gd name="T79" fmla="*/ 213 h 2368"/>
                <a:gd name="T80" fmla="*/ 335 w 2247"/>
                <a:gd name="T81" fmla="*/ 213 h 2368"/>
                <a:gd name="T82" fmla="*/ 335 w 2247"/>
                <a:gd name="T83" fmla="*/ 213 h 2368"/>
                <a:gd name="T84" fmla="*/ 335 w 2247"/>
                <a:gd name="T85" fmla="*/ 213 h 2368"/>
                <a:gd name="T86" fmla="*/ 335 w 2247"/>
                <a:gd name="T87" fmla="*/ 213 h 2368"/>
                <a:gd name="T88" fmla="*/ 335 w 2247"/>
                <a:gd name="T89" fmla="*/ 213 h 2368"/>
                <a:gd name="T90" fmla="*/ 335 w 2247"/>
                <a:gd name="T91" fmla="*/ 213 h 2368"/>
                <a:gd name="T92" fmla="*/ 335 w 2247"/>
                <a:gd name="T93" fmla="*/ 213 h 2368"/>
                <a:gd name="T94" fmla="*/ 335 w 2247"/>
                <a:gd name="T95" fmla="*/ 213 h 2368"/>
                <a:gd name="T96" fmla="*/ 335 w 2247"/>
                <a:gd name="T97" fmla="*/ 213 h 2368"/>
                <a:gd name="T98" fmla="*/ 335 w 2247"/>
                <a:gd name="T99" fmla="*/ 213 h 2368"/>
                <a:gd name="T100" fmla="*/ 335 w 2247"/>
                <a:gd name="T101" fmla="*/ 213 h 2368"/>
                <a:gd name="T102" fmla="*/ 335 w 2247"/>
                <a:gd name="T103" fmla="*/ 213 h 2368"/>
                <a:gd name="T104" fmla="*/ 335 w 2247"/>
                <a:gd name="T105" fmla="*/ 213 h 2368"/>
                <a:gd name="T106" fmla="*/ 335 w 2247"/>
                <a:gd name="T107" fmla="*/ 213 h 2368"/>
                <a:gd name="T108" fmla="*/ 335 w 2247"/>
                <a:gd name="T109" fmla="*/ 213 h 2368"/>
                <a:gd name="T110" fmla="*/ 335 w 2247"/>
                <a:gd name="T111" fmla="*/ 213 h 2368"/>
                <a:gd name="T112" fmla="*/ 335 w 2247"/>
                <a:gd name="T113" fmla="*/ 213 h 2368"/>
                <a:gd name="T114" fmla="*/ 335 w 2247"/>
                <a:gd name="T115" fmla="*/ 213 h 2368"/>
                <a:gd name="T116" fmla="*/ 335 w 2247"/>
                <a:gd name="T117" fmla="*/ 213 h 236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247"/>
                <a:gd name="T178" fmla="*/ 0 h 2368"/>
                <a:gd name="T179" fmla="*/ 2247 w 2247"/>
                <a:gd name="T180" fmla="*/ 2368 h 236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247" h="2368">
                  <a:moveTo>
                    <a:pt x="1783" y="289"/>
                  </a:moveTo>
                  <a:lnTo>
                    <a:pt x="1801" y="304"/>
                  </a:lnTo>
                  <a:lnTo>
                    <a:pt x="1819" y="316"/>
                  </a:lnTo>
                  <a:lnTo>
                    <a:pt x="1827" y="324"/>
                  </a:lnTo>
                  <a:lnTo>
                    <a:pt x="1836" y="331"/>
                  </a:lnTo>
                  <a:lnTo>
                    <a:pt x="1839" y="335"/>
                  </a:lnTo>
                  <a:lnTo>
                    <a:pt x="1842" y="339"/>
                  </a:lnTo>
                  <a:lnTo>
                    <a:pt x="1844" y="344"/>
                  </a:lnTo>
                  <a:lnTo>
                    <a:pt x="1846" y="351"/>
                  </a:lnTo>
                  <a:lnTo>
                    <a:pt x="1832" y="411"/>
                  </a:lnTo>
                  <a:lnTo>
                    <a:pt x="1836" y="417"/>
                  </a:lnTo>
                  <a:lnTo>
                    <a:pt x="1840" y="421"/>
                  </a:lnTo>
                  <a:lnTo>
                    <a:pt x="1845" y="424"/>
                  </a:lnTo>
                  <a:lnTo>
                    <a:pt x="1850" y="427"/>
                  </a:lnTo>
                  <a:lnTo>
                    <a:pt x="1860" y="432"/>
                  </a:lnTo>
                  <a:lnTo>
                    <a:pt x="1871" y="437"/>
                  </a:lnTo>
                  <a:lnTo>
                    <a:pt x="1880" y="441"/>
                  </a:lnTo>
                  <a:lnTo>
                    <a:pt x="1888" y="448"/>
                  </a:lnTo>
                  <a:lnTo>
                    <a:pt x="1891" y="451"/>
                  </a:lnTo>
                  <a:lnTo>
                    <a:pt x="1893" y="455"/>
                  </a:lnTo>
                  <a:lnTo>
                    <a:pt x="1895" y="460"/>
                  </a:lnTo>
                  <a:lnTo>
                    <a:pt x="1895" y="466"/>
                  </a:lnTo>
                  <a:lnTo>
                    <a:pt x="1894" y="474"/>
                  </a:lnTo>
                  <a:lnTo>
                    <a:pt x="1892" y="483"/>
                  </a:lnTo>
                  <a:lnTo>
                    <a:pt x="1888" y="490"/>
                  </a:lnTo>
                  <a:lnTo>
                    <a:pt x="1884" y="496"/>
                  </a:lnTo>
                  <a:lnTo>
                    <a:pt x="1874" y="510"/>
                  </a:lnTo>
                  <a:lnTo>
                    <a:pt x="1862" y="525"/>
                  </a:lnTo>
                  <a:lnTo>
                    <a:pt x="1854" y="542"/>
                  </a:lnTo>
                  <a:lnTo>
                    <a:pt x="1846" y="557"/>
                  </a:lnTo>
                  <a:lnTo>
                    <a:pt x="1840" y="573"/>
                  </a:lnTo>
                  <a:lnTo>
                    <a:pt x="1836" y="588"/>
                  </a:lnTo>
                  <a:lnTo>
                    <a:pt x="1831" y="604"/>
                  </a:lnTo>
                  <a:lnTo>
                    <a:pt x="1829" y="620"/>
                  </a:lnTo>
                  <a:lnTo>
                    <a:pt x="1827" y="638"/>
                  </a:lnTo>
                  <a:lnTo>
                    <a:pt x="1827" y="657"/>
                  </a:lnTo>
                  <a:lnTo>
                    <a:pt x="1827" y="671"/>
                  </a:lnTo>
                  <a:lnTo>
                    <a:pt x="1828" y="684"/>
                  </a:lnTo>
                  <a:lnTo>
                    <a:pt x="1830" y="697"/>
                  </a:lnTo>
                  <a:lnTo>
                    <a:pt x="1834" y="709"/>
                  </a:lnTo>
                  <a:lnTo>
                    <a:pt x="1837" y="720"/>
                  </a:lnTo>
                  <a:lnTo>
                    <a:pt x="1841" y="731"/>
                  </a:lnTo>
                  <a:lnTo>
                    <a:pt x="1846" y="742"/>
                  </a:lnTo>
                  <a:lnTo>
                    <a:pt x="1851" y="752"/>
                  </a:lnTo>
                  <a:lnTo>
                    <a:pt x="1857" y="762"/>
                  </a:lnTo>
                  <a:lnTo>
                    <a:pt x="1864" y="771"/>
                  </a:lnTo>
                  <a:lnTo>
                    <a:pt x="1872" y="781"/>
                  </a:lnTo>
                  <a:lnTo>
                    <a:pt x="1880" y="790"/>
                  </a:lnTo>
                  <a:lnTo>
                    <a:pt x="1898" y="809"/>
                  </a:lnTo>
                  <a:lnTo>
                    <a:pt x="1919" y="827"/>
                  </a:lnTo>
                  <a:lnTo>
                    <a:pt x="1937" y="840"/>
                  </a:lnTo>
                  <a:lnTo>
                    <a:pt x="1955" y="852"/>
                  </a:lnTo>
                  <a:lnTo>
                    <a:pt x="1974" y="864"/>
                  </a:lnTo>
                  <a:lnTo>
                    <a:pt x="1991" y="875"/>
                  </a:lnTo>
                  <a:lnTo>
                    <a:pt x="2000" y="880"/>
                  </a:lnTo>
                  <a:lnTo>
                    <a:pt x="2007" y="887"/>
                  </a:lnTo>
                  <a:lnTo>
                    <a:pt x="2013" y="894"/>
                  </a:lnTo>
                  <a:lnTo>
                    <a:pt x="2019" y="901"/>
                  </a:lnTo>
                  <a:lnTo>
                    <a:pt x="2024" y="909"/>
                  </a:lnTo>
                  <a:lnTo>
                    <a:pt x="2028" y="917"/>
                  </a:lnTo>
                  <a:lnTo>
                    <a:pt x="2030" y="928"/>
                  </a:lnTo>
                  <a:lnTo>
                    <a:pt x="2033" y="938"/>
                  </a:lnTo>
                  <a:lnTo>
                    <a:pt x="2029" y="953"/>
                  </a:lnTo>
                  <a:lnTo>
                    <a:pt x="2027" y="968"/>
                  </a:lnTo>
                  <a:lnTo>
                    <a:pt x="2026" y="984"/>
                  </a:lnTo>
                  <a:lnTo>
                    <a:pt x="2025" y="998"/>
                  </a:lnTo>
                  <a:lnTo>
                    <a:pt x="2023" y="1012"/>
                  </a:lnTo>
                  <a:lnTo>
                    <a:pt x="2019" y="1026"/>
                  </a:lnTo>
                  <a:lnTo>
                    <a:pt x="2017" y="1032"/>
                  </a:lnTo>
                  <a:lnTo>
                    <a:pt x="2013" y="1038"/>
                  </a:lnTo>
                  <a:lnTo>
                    <a:pt x="2009" y="1043"/>
                  </a:lnTo>
                  <a:lnTo>
                    <a:pt x="2004" y="1049"/>
                  </a:lnTo>
                  <a:lnTo>
                    <a:pt x="1999" y="1053"/>
                  </a:lnTo>
                  <a:lnTo>
                    <a:pt x="1993" y="1057"/>
                  </a:lnTo>
                  <a:lnTo>
                    <a:pt x="1988" y="1060"/>
                  </a:lnTo>
                  <a:lnTo>
                    <a:pt x="1983" y="1062"/>
                  </a:lnTo>
                  <a:lnTo>
                    <a:pt x="1972" y="1066"/>
                  </a:lnTo>
                  <a:lnTo>
                    <a:pt x="1961" y="1069"/>
                  </a:lnTo>
                  <a:lnTo>
                    <a:pt x="1950" y="1072"/>
                  </a:lnTo>
                  <a:lnTo>
                    <a:pt x="1939" y="1075"/>
                  </a:lnTo>
                  <a:lnTo>
                    <a:pt x="1933" y="1079"/>
                  </a:lnTo>
                  <a:lnTo>
                    <a:pt x="1927" y="1082"/>
                  </a:lnTo>
                  <a:lnTo>
                    <a:pt x="1922" y="1085"/>
                  </a:lnTo>
                  <a:lnTo>
                    <a:pt x="1917" y="1089"/>
                  </a:lnTo>
                  <a:lnTo>
                    <a:pt x="1935" y="1114"/>
                  </a:lnTo>
                  <a:lnTo>
                    <a:pt x="1950" y="1137"/>
                  </a:lnTo>
                  <a:lnTo>
                    <a:pt x="1962" y="1160"/>
                  </a:lnTo>
                  <a:lnTo>
                    <a:pt x="1975" y="1183"/>
                  </a:lnTo>
                  <a:lnTo>
                    <a:pt x="1985" y="1206"/>
                  </a:lnTo>
                  <a:lnTo>
                    <a:pt x="1995" y="1230"/>
                  </a:lnTo>
                  <a:lnTo>
                    <a:pt x="2005" y="1256"/>
                  </a:lnTo>
                  <a:lnTo>
                    <a:pt x="2016" y="1285"/>
                  </a:lnTo>
                  <a:lnTo>
                    <a:pt x="2019" y="1295"/>
                  </a:lnTo>
                  <a:lnTo>
                    <a:pt x="2021" y="1306"/>
                  </a:lnTo>
                  <a:lnTo>
                    <a:pt x="2021" y="1316"/>
                  </a:lnTo>
                  <a:lnTo>
                    <a:pt x="2022" y="1325"/>
                  </a:lnTo>
                  <a:lnTo>
                    <a:pt x="2023" y="1336"/>
                  </a:lnTo>
                  <a:lnTo>
                    <a:pt x="2025" y="1345"/>
                  </a:lnTo>
                  <a:lnTo>
                    <a:pt x="2027" y="1355"/>
                  </a:lnTo>
                  <a:lnTo>
                    <a:pt x="2033" y="1366"/>
                  </a:lnTo>
                  <a:lnTo>
                    <a:pt x="2045" y="1385"/>
                  </a:lnTo>
                  <a:lnTo>
                    <a:pt x="2057" y="1402"/>
                  </a:lnTo>
                  <a:lnTo>
                    <a:pt x="2071" y="1417"/>
                  </a:lnTo>
                  <a:lnTo>
                    <a:pt x="2084" y="1431"/>
                  </a:lnTo>
                  <a:lnTo>
                    <a:pt x="2098" y="1445"/>
                  </a:lnTo>
                  <a:lnTo>
                    <a:pt x="2112" y="1459"/>
                  </a:lnTo>
                  <a:lnTo>
                    <a:pt x="2126" y="1475"/>
                  </a:lnTo>
                  <a:lnTo>
                    <a:pt x="2141" y="1493"/>
                  </a:lnTo>
                  <a:lnTo>
                    <a:pt x="2145" y="1499"/>
                  </a:lnTo>
                  <a:lnTo>
                    <a:pt x="2148" y="1505"/>
                  </a:lnTo>
                  <a:lnTo>
                    <a:pt x="2151" y="1510"/>
                  </a:lnTo>
                  <a:lnTo>
                    <a:pt x="2153" y="1516"/>
                  </a:lnTo>
                  <a:lnTo>
                    <a:pt x="2156" y="1529"/>
                  </a:lnTo>
                  <a:lnTo>
                    <a:pt x="2157" y="1541"/>
                  </a:lnTo>
                  <a:lnTo>
                    <a:pt x="2158" y="1554"/>
                  </a:lnTo>
                  <a:lnTo>
                    <a:pt x="2160" y="1567"/>
                  </a:lnTo>
                  <a:lnTo>
                    <a:pt x="2162" y="1580"/>
                  </a:lnTo>
                  <a:lnTo>
                    <a:pt x="2167" y="1594"/>
                  </a:lnTo>
                  <a:lnTo>
                    <a:pt x="2172" y="1605"/>
                  </a:lnTo>
                  <a:lnTo>
                    <a:pt x="2178" y="1616"/>
                  </a:lnTo>
                  <a:lnTo>
                    <a:pt x="2184" y="1624"/>
                  </a:lnTo>
                  <a:lnTo>
                    <a:pt x="2190" y="1632"/>
                  </a:lnTo>
                  <a:lnTo>
                    <a:pt x="2198" y="1640"/>
                  </a:lnTo>
                  <a:lnTo>
                    <a:pt x="2205" y="1650"/>
                  </a:lnTo>
                  <a:lnTo>
                    <a:pt x="2211" y="1659"/>
                  </a:lnTo>
                  <a:lnTo>
                    <a:pt x="2216" y="1669"/>
                  </a:lnTo>
                  <a:lnTo>
                    <a:pt x="2220" y="1681"/>
                  </a:lnTo>
                  <a:lnTo>
                    <a:pt x="2223" y="1691"/>
                  </a:lnTo>
                  <a:lnTo>
                    <a:pt x="2226" y="1701"/>
                  </a:lnTo>
                  <a:lnTo>
                    <a:pt x="2228" y="1712"/>
                  </a:lnTo>
                  <a:lnTo>
                    <a:pt x="2230" y="1731"/>
                  </a:lnTo>
                  <a:lnTo>
                    <a:pt x="2231" y="1750"/>
                  </a:lnTo>
                  <a:lnTo>
                    <a:pt x="2232" y="1769"/>
                  </a:lnTo>
                  <a:lnTo>
                    <a:pt x="2234" y="1789"/>
                  </a:lnTo>
                  <a:lnTo>
                    <a:pt x="2236" y="1799"/>
                  </a:lnTo>
                  <a:lnTo>
                    <a:pt x="2239" y="1810"/>
                  </a:lnTo>
                  <a:lnTo>
                    <a:pt x="2242" y="1820"/>
                  </a:lnTo>
                  <a:lnTo>
                    <a:pt x="2247" y="1830"/>
                  </a:lnTo>
                  <a:lnTo>
                    <a:pt x="2223" y="1848"/>
                  </a:lnTo>
                  <a:lnTo>
                    <a:pt x="2203" y="1863"/>
                  </a:lnTo>
                  <a:lnTo>
                    <a:pt x="2182" y="1880"/>
                  </a:lnTo>
                  <a:lnTo>
                    <a:pt x="2164" y="1895"/>
                  </a:lnTo>
                  <a:lnTo>
                    <a:pt x="2144" y="1911"/>
                  </a:lnTo>
                  <a:lnTo>
                    <a:pt x="2125" y="1928"/>
                  </a:lnTo>
                  <a:lnTo>
                    <a:pt x="2106" y="1947"/>
                  </a:lnTo>
                  <a:lnTo>
                    <a:pt x="2084" y="1968"/>
                  </a:lnTo>
                  <a:lnTo>
                    <a:pt x="2072" y="1978"/>
                  </a:lnTo>
                  <a:lnTo>
                    <a:pt x="2059" y="1987"/>
                  </a:lnTo>
                  <a:lnTo>
                    <a:pt x="2046" y="1996"/>
                  </a:lnTo>
                  <a:lnTo>
                    <a:pt x="2034" y="2003"/>
                  </a:lnTo>
                  <a:lnTo>
                    <a:pt x="2028" y="2008"/>
                  </a:lnTo>
                  <a:lnTo>
                    <a:pt x="2023" y="2012"/>
                  </a:lnTo>
                  <a:lnTo>
                    <a:pt x="2018" y="2016"/>
                  </a:lnTo>
                  <a:lnTo>
                    <a:pt x="2014" y="2021"/>
                  </a:lnTo>
                  <a:lnTo>
                    <a:pt x="2011" y="2028"/>
                  </a:lnTo>
                  <a:lnTo>
                    <a:pt x="2009" y="2034"/>
                  </a:lnTo>
                  <a:lnTo>
                    <a:pt x="2007" y="2041"/>
                  </a:lnTo>
                  <a:lnTo>
                    <a:pt x="2007" y="2048"/>
                  </a:lnTo>
                  <a:lnTo>
                    <a:pt x="2007" y="2071"/>
                  </a:lnTo>
                  <a:lnTo>
                    <a:pt x="2006" y="2092"/>
                  </a:lnTo>
                  <a:lnTo>
                    <a:pt x="2007" y="2111"/>
                  </a:lnTo>
                  <a:lnTo>
                    <a:pt x="2007" y="2131"/>
                  </a:lnTo>
                  <a:lnTo>
                    <a:pt x="2009" y="2149"/>
                  </a:lnTo>
                  <a:lnTo>
                    <a:pt x="2012" y="2169"/>
                  </a:lnTo>
                  <a:lnTo>
                    <a:pt x="2016" y="2189"/>
                  </a:lnTo>
                  <a:lnTo>
                    <a:pt x="2023" y="2210"/>
                  </a:lnTo>
                  <a:lnTo>
                    <a:pt x="2010" y="2214"/>
                  </a:lnTo>
                  <a:lnTo>
                    <a:pt x="1999" y="2219"/>
                  </a:lnTo>
                  <a:lnTo>
                    <a:pt x="1987" y="2225"/>
                  </a:lnTo>
                  <a:lnTo>
                    <a:pt x="1978" y="2231"/>
                  </a:lnTo>
                  <a:lnTo>
                    <a:pt x="1969" y="2237"/>
                  </a:lnTo>
                  <a:lnTo>
                    <a:pt x="1960" y="2244"/>
                  </a:lnTo>
                  <a:lnTo>
                    <a:pt x="1952" y="2252"/>
                  </a:lnTo>
                  <a:lnTo>
                    <a:pt x="1944" y="2260"/>
                  </a:lnTo>
                  <a:lnTo>
                    <a:pt x="1928" y="2276"/>
                  </a:lnTo>
                  <a:lnTo>
                    <a:pt x="1912" y="2293"/>
                  </a:lnTo>
                  <a:lnTo>
                    <a:pt x="1903" y="2300"/>
                  </a:lnTo>
                  <a:lnTo>
                    <a:pt x="1892" y="2307"/>
                  </a:lnTo>
                  <a:lnTo>
                    <a:pt x="1882" y="2315"/>
                  </a:lnTo>
                  <a:lnTo>
                    <a:pt x="1870" y="2321"/>
                  </a:lnTo>
                  <a:lnTo>
                    <a:pt x="1856" y="2327"/>
                  </a:lnTo>
                  <a:lnTo>
                    <a:pt x="1844" y="2331"/>
                  </a:lnTo>
                  <a:lnTo>
                    <a:pt x="1831" y="2334"/>
                  </a:lnTo>
                  <a:lnTo>
                    <a:pt x="1819" y="2336"/>
                  </a:lnTo>
                  <a:lnTo>
                    <a:pt x="1794" y="2337"/>
                  </a:lnTo>
                  <a:lnTo>
                    <a:pt x="1766" y="2337"/>
                  </a:lnTo>
                  <a:lnTo>
                    <a:pt x="1738" y="2337"/>
                  </a:lnTo>
                  <a:lnTo>
                    <a:pt x="1711" y="2335"/>
                  </a:lnTo>
                  <a:lnTo>
                    <a:pt x="1685" y="2332"/>
                  </a:lnTo>
                  <a:lnTo>
                    <a:pt x="1660" y="2328"/>
                  </a:lnTo>
                  <a:lnTo>
                    <a:pt x="1637" y="2322"/>
                  </a:lnTo>
                  <a:lnTo>
                    <a:pt x="1613" y="2315"/>
                  </a:lnTo>
                  <a:lnTo>
                    <a:pt x="1591" y="2306"/>
                  </a:lnTo>
                  <a:lnTo>
                    <a:pt x="1570" y="2297"/>
                  </a:lnTo>
                  <a:lnTo>
                    <a:pt x="1548" y="2286"/>
                  </a:lnTo>
                  <a:lnTo>
                    <a:pt x="1527" y="2273"/>
                  </a:lnTo>
                  <a:lnTo>
                    <a:pt x="1508" y="2260"/>
                  </a:lnTo>
                  <a:lnTo>
                    <a:pt x="1488" y="2244"/>
                  </a:lnTo>
                  <a:lnTo>
                    <a:pt x="1468" y="2228"/>
                  </a:lnTo>
                  <a:lnTo>
                    <a:pt x="1449" y="2210"/>
                  </a:lnTo>
                  <a:lnTo>
                    <a:pt x="1429" y="2191"/>
                  </a:lnTo>
                  <a:lnTo>
                    <a:pt x="1410" y="2170"/>
                  </a:lnTo>
                  <a:lnTo>
                    <a:pt x="1402" y="2187"/>
                  </a:lnTo>
                  <a:lnTo>
                    <a:pt x="1394" y="2201"/>
                  </a:lnTo>
                  <a:lnTo>
                    <a:pt x="1385" y="2214"/>
                  </a:lnTo>
                  <a:lnTo>
                    <a:pt x="1375" y="2226"/>
                  </a:lnTo>
                  <a:lnTo>
                    <a:pt x="1352" y="2249"/>
                  </a:lnTo>
                  <a:lnTo>
                    <a:pt x="1325" y="2271"/>
                  </a:lnTo>
                  <a:lnTo>
                    <a:pt x="1321" y="2276"/>
                  </a:lnTo>
                  <a:lnTo>
                    <a:pt x="1318" y="2281"/>
                  </a:lnTo>
                  <a:lnTo>
                    <a:pt x="1316" y="2286"/>
                  </a:lnTo>
                  <a:lnTo>
                    <a:pt x="1314" y="2291"/>
                  </a:lnTo>
                  <a:lnTo>
                    <a:pt x="1312" y="2302"/>
                  </a:lnTo>
                  <a:lnTo>
                    <a:pt x="1311" y="2314"/>
                  </a:lnTo>
                  <a:lnTo>
                    <a:pt x="1309" y="2324"/>
                  </a:lnTo>
                  <a:lnTo>
                    <a:pt x="1307" y="2334"/>
                  </a:lnTo>
                  <a:lnTo>
                    <a:pt x="1304" y="2338"/>
                  </a:lnTo>
                  <a:lnTo>
                    <a:pt x="1301" y="2343"/>
                  </a:lnTo>
                  <a:lnTo>
                    <a:pt x="1297" y="2347"/>
                  </a:lnTo>
                  <a:lnTo>
                    <a:pt x="1292" y="2350"/>
                  </a:lnTo>
                  <a:lnTo>
                    <a:pt x="1280" y="2355"/>
                  </a:lnTo>
                  <a:lnTo>
                    <a:pt x="1268" y="2359"/>
                  </a:lnTo>
                  <a:lnTo>
                    <a:pt x="1257" y="2361"/>
                  </a:lnTo>
                  <a:lnTo>
                    <a:pt x="1246" y="2363"/>
                  </a:lnTo>
                  <a:lnTo>
                    <a:pt x="1223" y="2366"/>
                  </a:lnTo>
                  <a:lnTo>
                    <a:pt x="1196" y="2368"/>
                  </a:lnTo>
                  <a:lnTo>
                    <a:pt x="1192" y="2358"/>
                  </a:lnTo>
                  <a:lnTo>
                    <a:pt x="1187" y="2348"/>
                  </a:lnTo>
                  <a:lnTo>
                    <a:pt x="1182" y="2336"/>
                  </a:lnTo>
                  <a:lnTo>
                    <a:pt x="1177" y="2324"/>
                  </a:lnTo>
                  <a:lnTo>
                    <a:pt x="1172" y="2315"/>
                  </a:lnTo>
                  <a:lnTo>
                    <a:pt x="1167" y="2307"/>
                  </a:lnTo>
                  <a:lnTo>
                    <a:pt x="1162" y="2300"/>
                  </a:lnTo>
                  <a:lnTo>
                    <a:pt x="1157" y="2294"/>
                  </a:lnTo>
                  <a:lnTo>
                    <a:pt x="1151" y="2289"/>
                  </a:lnTo>
                  <a:lnTo>
                    <a:pt x="1144" y="2285"/>
                  </a:lnTo>
                  <a:lnTo>
                    <a:pt x="1136" y="2281"/>
                  </a:lnTo>
                  <a:lnTo>
                    <a:pt x="1129" y="2276"/>
                  </a:lnTo>
                  <a:lnTo>
                    <a:pt x="1095" y="2265"/>
                  </a:lnTo>
                  <a:lnTo>
                    <a:pt x="1059" y="2253"/>
                  </a:lnTo>
                  <a:lnTo>
                    <a:pt x="1050" y="2249"/>
                  </a:lnTo>
                  <a:lnTo>
                    <a:pt x="1042" y="2243"/>
                  </a:lnTo>
                  <a:lnTo>
                    <a:pt x="1033" y="2238"/>
                  </a:lnTo>
                  <a:lnTo>
                    <a:pt x="1026" y="2232"/>
                  </a:lnTo>
                  <a:lnTo>
                    <a:pt x="1019" y="2228"/>
                  </a:lnTo>
                  <a:lnTo>
                    <a:pt x="1012" y="2224"/>
                  </a:lnTo>
                  <a:lnTo>
                    <a:pt x="1002" y="2221"/>
                  </a:lnTo>
                  <a:lnTo>
                    <a:pt x="993" y="2220"/>
                  </a:lnTo>
                  <a:lnTo>
                    <a:pt x="985" y="2221"/>
                  </a:lnTo>
                  <a:lnTo>
                    <a:pt x="978" y="2222"/>
                  </a:lnTo>
                  <a:lnTo>
                    <a:pt x="971" y="2225"/>
                  </a:lnTo>
                  <a:lnTo>
                    <a:pt x="965" y="2229"/>
                  </a:lnTo>
                  <a:lnTo>
                    <a:pt x="960" y="2234"/>
                  </a:lnTo>
                  <a:lnTo>
                    <a:pt x="956" y="2239"/>
                  </a:lnTo>
                  <a:lnTo>
                    <a:pt x="952" y="2245"/>
                  </a:lnTo>
                  <a:lnTo>
                    <a:pt x="948" y="2252"/>
                  </a:lnTo>
                  <a:lnTo>
                    <a:pt x="935" y="2283"/>
                  </a:lnTo>
                  <a:lnTo>
                    <a:pt x="922" y="2315"/>
                  </a:lnTo>
                  <a:lnTo>
                    <a:pt x="918" y="2324"/>
                  </a:lnTo>
                  <a:lnTo>
                    <a:pt x="913" y="2333"/>
                  </a:lnTo>
                  <a:lnTo>
                    <a:pt x="911" y="2336"/>
                  </a:lnTo>
                  <a:lnTo>
                    <a:pt x="907" y="2339"/>
                  </a:lnTo>
                  <a:lnTo>
                    <a:pt x="903" y="2342"/>
                  </a:lnTo>
                  <a:lnTo>
                    <a:pt x="898" y="2343"/>
                  </a:lnTo>
                  <a:lnTo>
                    <a:pt x="893" y="2343"/>
                  </a:lnTo>
                  <a:lnTo>
                    <a:pt x="889" y="2342"/>
                  </a:lnTo>
                  <a:lnTo>
                    <a:pt x="884" y="2340"/>
                  </a:lnTo>
                  <a:lnTo>
                    <a:pt x="881" y="2338"/>
                  </a:lnTo>
                  <a:lnTo>
                    <a:pt x="873" y="2334"/>
                  </a:lnTo>
                  <a:lnTo>
                    <a:pt x="867" y="2329"/>
                  </a:lnTo>
                  <a:lnTo>
                    <a:pt x="863" y="2322"/>
                  </a:lnTo>
                  <a:lnTo>
                    <a:pt x="859" y="2314"/>
                  </a:lnTo>
                  <a:lnTo>
                    <a:pt x="856" y="2304"/>
                  </a:lnTo>
                  <a:lnTo>
                    <a:pt x="854" y="2295"/>
                  </a:lnTo>
                  <a:lnTo>
                    <a:pt x="849" y="2274"/>
                  </a:lnTo>
                  <a:lnTo>
                    <a:pt x="842" y="2253"/>
                  </a:lnTo>
                  <a:lnTo>
                    <a:pt x="839" y="2242"/>
                  </a:lnTo>
                  <a:lnTo>
                    <a:pt x="835" y="2233"/>
                  </a:lnTo>
                  <a:lnTo>
                    <a:pt x="829" y="2224"/>
                  </a:lnTo>
                  <a:lnTo>
                    <a:pt x="823" y="2216"/>
                  </a:lnTo>
                  <a:lnTo>
                    <a:pt x="816" y="2236"/>
                  </a:lnTo>
                  <a:lnTo>
                    <a:pt x="808" y="2257"/>
                  </a:lnTo>
                  <a:lnTo>
                    <a:pt x="806" y="2262"/>
                  </a:lnTo>
                  <a:lnTo>
                    <a:pt x="804" y="2266"/>
                  </a:lnTo>
                  <a:lnTo>
                    <a:pt x="801" y="2269"/>
                  </a:lnTo>
                  <a:lnTo>
                    <a:pt x="798" y="2272"/>
                  </a:lnTo>
                  <a:lnTo>
                    <a:pt x="794" y="2275"/>
                  </a:lnTo>
                  <a:lnTo>
                    <a:pt x="790" y="2277"/>
                  </a:lnTo>
                  <a:lnTo>
                    <a:pt x="786" y="2279"/>
                  </a:lnTo>
                  <a:lnTo>
                    <a:pt x="781" y="2279"/>
                  </a:lnTo>
                  <a:lnTo>
                    <a:pt x="771" y="2276"/>
                  </a:lnTo>
                  <a:lnTo>
                    <a:pt x="762" y="2274"/>
                  </a:lnTo>
                  <a:lnTo>
                    <a:pt x="762" y="2248"/>
                  </a:lnTo>
                  <a:lnTo>
                    <a:pt x="763" y="2237"/>
                  </a:lnTo>
                  <a:lnTo>
                    <a:pt x="766" y="2227"/>
                  </a:lnTo>
                  <a:lnTo>
                    <a:pt x="770" y="2219"/>
                  </a:lnTo>
                  <a:lnTo>
                    <a:pt x="774" y="2210"/>
                  </a:lnTo>
                  <a:lnTo>
                    <a:pt x="780" y="2202"/>
                  </a:lnTo>
                  <a:lnTo>
                    <a:pt x="784" y="2194"/>
                  </a:lnTo>
                  <a:lnTo>
                    <a:pt x="787" y="2184"/>
                  </a:lnTo>
                  <a:lnTo>
                    <a:pt x="788" y="2173"/>
                  </a:lnTo>
                  <a:lnTo>
                    <a:pt x="788" y="2161"/>
                  </a:lnTo>
                  <a:lnTo>
                    <a:pt x="787" y="2149"/>
                  </a:lnTo>
                  <a:lnTo>
                    <a:pt x="787" y="2138"/>
                  </a:lnTo>
                  <a:lnTo>
                    <a:pt x="788" y="2126"/>
                  </a:lnTo>
                  <a:lnTo>
                    <a:pt x="779" y="2124"/>
                  </a:lnTo>
                  <a:lnTo>
                    <a:pt x="769" y="2123"/>
                  </a:lnTo>
                  <a:lnTo>
                    <a:pt x="755" y="2124"/>
                  </a:lnTo>
                  <a:lnTo>
                    <a:pt x="742" y="2127"/>
                  </a:lnTo>
                  <a:lnTo>
                    <a:pt x="731" y="2131"/>
                  </a:lnTo>
                  <a:lnTo>
                    <a:pt x="720" y="2136"/>
                  </a:lnTo>
                  <a:lnTo>
                    <a:pt x="708" y="2141"/>
                  </a:lnTo>
                  <a:lnTo>
                    <a:pt x="697" y="2145"/>
                  </a:lnTo>
                  <a:lnTo>
                    <a:pt x="684" y="2147"/>
                  </a:lnTo>
                  <a:lnTo>
                    <a:pt x="669" y="2149"/>
                  </a:lnTo>
                  <a:lnTo>
                    <a:pt x="664" y="2148"/>
                  </a:lnTo>
                  <a:lnTo>
                    <a:pt x="659" y="2147"/>
                  </a:lnTo>
                  <a:lnTo>
                    <a:pt x="655" y="2145"/>
                  </a:lnTo>
                  <a:lnTo>
                    <a:pt x="651" y="2142"/>
                  </a:lnTo>
                  <a:lnTo>
                    <a:pt x="644" y="2136"/>
                  </a:lnTo>
                  <a:lnTo>
                    <a:pt x="639" y="2127"/>
                  </a:lnTo>
                  <a:lnTo>
                    <a:pt x="629" y="2106"/>
                  </a:lnTo>
                  <a:lnTo>
                    <a:pt x="618" y="2085"/>
                  </a:lnTo>
                  <a:lnTo>
                    <a:pt x="611" y="2090"/>
                  </a:lnTo>
                  <a:lnTo>
                    <a:pt x="607" y="2096"/>
                  </a:lnTo>
                  <a:lnTo>
                    <a:pt x="603" y="2102"/>
                  </a:lnTo>
                  <a:lnTo>
                    <a:pt x="599" y="2108"/>
                  </a:lnTo>
                  <a:lnTo>
                    <a:pt x="595" y="2114"/>
                  </a:lnTo>
                  <a:lnTo>
                    <a:pt x="591" y="2118"/>
                  </a:lnTo>
                  <a:lnTo>
                    <a:pt x="588" y="2121"/>
                  </a:lnTo>
                  <a:lnTo>
                    <a:pt x="585" y="2122"/>
                  </a:lnTo>
                  <a:lnTo>
                    <a:pt x="582" y="2123"/>
                  </a:lnTo>
                  <a:lnTo>
                    <a:pt x="577" y="2123"/>
                  </a:lnTo>
                  <a:lnTo>
                    <a:pt x="569" y="2122"/>
                  </a:lnTo>
                  <a:lnTo>
                    <a:pt x="561" y="2119"/>
                  </a:lnTo>
                  <a:lnTo>
                    <a:pt x="555" y="2114"/>
                  </a:lnTo>
                  <a:lnTo>
                    <a:pt x="549" y="2108"/>
                  </a:lnTo>
                  <a:lnTo>
                    <a:pt x="544" y="2101"/>
                  </a:lnTo>
                  <a:lnTo>
                    <a:pt x="540" y="2094"/>
                  </a:lnTo>
                  <a:lnTo>
                    <a:pt x="538" y="2084"/>
                  </a:lnTo>
                  <a:lnTo>
                    <a:pt x="537" y="2076"/>
                  </a:lnTo>
                  <a:lnTo>
                    <a:pt x="538" y="2068"/>
                  </a:lnTo>
                  <a:lnTo>
                    <a:pt x="540" y="2062"/>
                  </a:lnTo>
                  <a:lnTo>
                    <a:pt x="543" y="2055"/>
                  </a:lnTo>
                  <a:lnTo>
                    <a:pt x="548" y="2050"/>
                  </a:lnTo>
                  <a:lnTo>
                    <a:pt x="551" y="2044"/>
                  </a:lnTo>
                  <a:lnTo>
                    <a:pt x="554" y="2038"/>
                  </a:lnTo>
                  <a:lnTo>
                    <a:pt x="556" y="2032"/>
                  </a:lnTo>
                  <a:lnTo>
                    <a:pt x="557" y="2023"/>
                  </a:lnTo>
                  <a:lnTo>
                    <a:pt x="556" y="2019"/>
                  </a:lnTo>
                  <a:lnTo>
                    <a:pt x="555" y="2015"/>
                  </a:lnTo>
                  <a:lnTo>
                    <a:pt x="553" y="2012"/>
                  </a:lnTo>
                  <a:lnTo>
                    <a:pt x="551" y="2010"/>
                  </a:lnTo>
                  <a:lnTo>
                    <a:pt x="543" y="2006"/>
                  </a:lnTo>
                  <a:lnTo>
                    <a:pt x="534" y="2004"/>
                  </a:lnTo>
                  <a:lnTo>
                    <a:pt x="514" y="2001"/>
                  </a:lnTo>
                  <a:lnTo>
                    <a:pt x="493" y="1998"/>
                  </a:lnTo>
                  <a:lnTo>
                    <a:pt x="478" y="1995"/>
                  </a:lnTo>
                  <a:lnTo>
                    <a:pt x="465" y="1990"/>
                  </a:lnTo>
                  <a:lnTo>
                    <a:pt x="452" y="1985"/>
                  </a:lnTo>
                  <a:lnTo>
                    <a:pt x="440" y="1979"/>
                  </a:lnTo>
                  <a:lnTo>
                    <a:pt x="434" y="1976"/>
                  </a:lnTo>
                  <a:lnTo>
                    <a:pt x="429" y="1972"/>
                  </a:lnTo>
                  <a:lnTo>
                    <a:pt x="424" y="1968"/>
                  </a:lnTo>
                  <a:lnTo>
                    <a:pt x="420" y="1963"/>
                  </a:lnTo>
                  <a:lnTo>
                    <a:pt x="416" y="1957"/>
                  </a:lnTo>
                  <a:lnTo>
                    <a:pt x="411" y="1952"/>
                  </a:lnTo>
                  <a:lnTo>
                    <a:pt x="408" y="1946"/>
                  </a:lnTo>
                  <a:lnTo>
                    <a:pt x="405" y="1939"/>
                  </a:lnTo>
                  <a:lnTo>
                    <a:pt x="401" y="1926"/>
                  </a:lnTo>
                  <a:lnTo>
                    <a:pt x="396" y="1914"/>
                  </a:lnTo>
                  <a:lnTo>
                    <a:pt x="390" y="1903"/>
                  </a:lnTo>
                  <a:lnTo>
                    <a:pt x="384" y="1891"/>
                  </a:lnTo>
                  <a:lnTo>
                    <a:pt x="376" y="1881"/>
                  </a:lnTo>
                  <a:lnTo>
                    <a:pt x="369" y="1872"/>
                  </a:lnTo>
                  <a:lnTo>
                    <a:pt x="362" y="1862"/>
                  </a:lnTo>
                  <a:lnTo>
                    <a:pt x="354" y="1853"/>
                  </a:lnTo>
                  <a:lnTo>
                    <a:pt x="344" y="1846"/>
                  </a:lnTo>
                  <a:lnTo>
                    <a:pt x="335" y="1839"/>
                  </a:lnTo>
                  <a:lnTo>
                    <a:pt x="325" y="1832"/>
                  </a:lnTo>
                  <a:lnTo>
                    <a:pt x="314" y="1828"/>
                  </a:lnTo>
                  <a:lnTo>
                    <a:pt x="303" y="1824"/>
                  </a:lnTo>
                  <a:lnTo>
                    <a:pt x="292" y="1821"/>
                  </a:lnTo>
                  <a:lnTo>
                    <a:pt x="279" y="1819"/>
                  </a:lnTo>
                  <a:lnTo>
                    <a:pt x="266" y="1819"/>
                  </a:lnTo>
                  <a:lnTo>
                    <a:pt x="199" y="1819"/>
                  </a:lnTo>
                  <a:lnTo>
                    <a:pt x="193" y="1818"/>
                  </a:lnTo>
                  <a:lnTo>
                    <a:pt x="188" y="1817"/>
                  </a:lnTo>
                  <a:lnTo>
                    <a:pt x="182" y="1815"/>
                  </a:lnTo>
                  <a:lnTo>
                    <a:pt x="177" y="1812"/>
                  </a:lnTo>
                  <a:lnTo>
                    <a:pt x="169" y="1805"/>
                  </a:lnTo>
                  <a:lnTo>
                    <a:pt x="161" y="1797"/>
                  </a:lnTo>
                  <a:lnTo>
                    <a:pt x="153" y="1789"/>
                  </a:lnTo>
                  <a:lnTo>
                    <a:pt x="144" y="1783"/>
                  </a:lnTo>
                  <a:lnTo>
                    <a:pt x="139" y="1780"/>
                  </a:lnTo>
                  <a:lnTo>
                    <a:pt x="134" y="1778"/>
                  </a:lnTo>
                  <a:lnTo>
                    <a:pt x="129" y="1777"/>
                  </a:lnTo>
                  <a:lnTo>
                    <a:pt x="123" y="1776"/>
                  </a:lnTo>
                  <a:lnTo>
                    <a:pt x="119" y="1777"/>
                  </a:lnTo>
                  <a:lnTo>
                    <a:pt x="114" y="1777"/>
                  </a:lnTo>
                  <a:lnTo>
                    <a:pt x="110" y="1779"/>
                  </a:lnTo>
                  <a:lnTo>
                    <a:pt x="107" y="1780"/>
                  </a:lnTo>
                  <a:lnTo>
                    <a:pt x="100" y="1785"/>
                  </a:lnTo>
                  <a:lnTo>
                    <a:pt x="95" y="1790"/>
                  </a:lnTo>
                  <a:lnTo>
                    <a:pt x="93" y="1766"/>
                  </a:lnTo>
                  <a:lnTo>
                    <a:pt x="90" y="1745"/>
                  </a:lnTo>
                  <a:lnTo>
                    <a:pt x="87" y="1734"/>
                  </a:lnTo>
                  <a:lnTo>
                    <a:pt x="81" y="1725"/>
                  </a:lnTo>
                  <a:lnTo>
                    <a:pt x="76" y="1715"/>
                  </a:lnTo>
                  <a:lnTo>
                    <a:pt x="69" y="1705"/>
                  </a:lnTo>
                  <a:lnTo>
                    <a:pt x="61" y="1697"/>
                  </a:lnTo>
                  <a:lnTo>
                    <a:pt x="52" y="1690"/>
                  </a:lnTo>
                  <a:lnTo>
                    <a:pt x="42" y="1685"/>
                  </a:lnTo>
                  <a:lnTo>
                    <a:pt x="34" y="1679"/>
                  </a:lnTo>
                  <a:lnTo>
                    <a:pt x="26" y="1672"/>
                  </a:lnTo>
                  <a:lnTo>
                    <a:pt x="20" y="1665"/>
                  </a:lnTo>
                  <a:lnTo>
                    <a:pt x="17" y="1661"/>
                  </a:lnTo>
                  <a:lnTo>
                    <a:pt x="15" y="1657"/>
                  </a:lnTo>
                  <a:lnTo>
                    <a:pt x="14" y="1652"/>
                  </a:lnTo>
                  <a:lnTo>
                    <a:pt x="14" y="1647"/>
                  </a:lnTo>
                  <a:lnTo>
                    <a:pt x="14" y="1637"/>
                  </a:lnTo>
                  <a:lnTo>
                    <a:pt x="15" y="1629"/>
                  </a:lnTo>
                  <a:lnTo>
                    <a:pt x="17" y="1622"/>
                  </a:lnTo>
                  <a:lnTo>
                    <a:pt x="22" y="1613"/>
                  </a:lnTo>
                  <a:lnTo>
                    <a:pt x="23" y="1578"/>
                  </a:lnTo>
                  <a:lnTo>
                    <a:pt x="24" y="1549"/>
                  </a:lnTo>
                  <a:lnTo>
                    <a:pt x="26" y="1520"/>
                  </a:lnTo>
                  <a:lnTo>
                    <a:pt x="27" y="1485"/>
                  </a:lnTo>
                  <a:lnTo>
                    <a:pt x="28" y="1460"/>
                  </a:lnTo>
                  <a:lnTo>
                    <a:pt x="29" y="1437"/>
                  </a:lnTo>
                  <a:lnTo>
                    <a:pt x="32" y="1416"/>
                  </a:lnTo>
                  <a:lnTo>
                    <a:pt x="35" y="1395"/>
                  </a:lnTo>
                  <a:lnTo>
                    <a:pt x="38" y="1374"/>
                  </a:lnTo>
                  <a:lnTo>
                    <a:pt x="40" y="1353"/>
                  </a:lnTo>
                  <a:lnTo>
                    <a:pt x="42" y="1331"/>
                  </a:lnTo>
                  <a:lnTo>
                    <a:pt x="42" y="1305"/>
                  </a:lnTo>
                  <a:lnTo>
                    <a:pt x="42" y="1293"/>
                  </a:lnTo>
                  <a:lnTo>
                    <a:pt x="41" y="1283"/>
                  </a:lnTo>
                  <a:lnTo>
                    <a:pt x="39" y="1273"/>
                  </a:lnTo>
                  <a:lnTo>
                    <a:pt x="36" y="1262"/>
                  </a:lnTo>
                  <a:lnTo>
                    <a:pt x="29" y="1244"/>
                  </a:lnTo>
                  <a:lnTo>
                    <a:pt x="22" y="1226"/>
                  </a:lnTo>
                  <a:lnTo>
                    <a:pt x="13" y="1209"/>
                  </a:lnTo>
                  <a:lnTo>
                    <a:pt x="7" y="1190"/>
                  </a:lnTo>
                  <a:lnTo>
                    <a:pt x="4" y="1181"/>
                  </a:lnTo>
                  <a:lnTo>
                    <a:pt x="2" y="1170"/>
                  </a:lnTo>
                  <a:lnTo>
                    <a:pt x="1" y="1159"/>
                  </a:lnTo>
                  <a:lnTo>
                    <a:pt x="0" y="1148"/>
                  </a:lnTo>
                  <a:lnTo>
                    <a:pt x="1" y="1134"/>
                  </a:lnTo>
                  <a:lnTo>
                    <a:pt x="4" y="1122"/>
                  </a:lnTo>
                  <a:lnTo>
                    <a:pt x="8" y="1112"/>
                  </a:lnTo>
                  <a:lnTo>
                    <a:pt x="13" y="1101"/>
                  </a:lnTo>
                  <a:lnTo>
                    <a:pt x="21" y="1092"/>
                  </a:lnTo>
                  <a:lnTo>
                    <a:pt x="28" y="1084"/>
                  </a:lnTo>
                  <a:lnTo>
                    <a:pt x="37" y="1075"/>
                  </a:lnTo>
                  <a:lnTo>
                    <a:pt x="46" y="1067"/>
                  </a:lnTo>
                  <a:lnTo>
                    <a:pt x="66" y="1052"/>
                  </a:lnTo>
                  <a:lnTo>
                    <a:pt x="86" y="1036"/>
                  </a:lnTo>
                  <a:lnTo>
                    <a:pt x="95" y="1027"/>
                  </a:lnTo>
                  <a:lnTo>
                    <a:pt x="104" y="1017"/>
                  </a:lnTo>
                  <a:lnTo>
                    <a:pt x="112" y="1006"/>
                  </a:lnTo>
                  <a:lnTo>
                    <a:pt x="121" y="995"/>
                  </a:lnTo>
                  <a:lnTo>
                    <a:pt x="128" y="984"/>
                  </a:lnTo>
                  <a:lnTo>
                    <a:pt x="134" y="972"/>
                  </a:lnTo>
                  <a:lnTo>
                    <a:pt x="142" y="962"/>
                  </a:lnTo>
                  <a:lnTo>
                    <a:pt x="149" y="953"/>
                  </a:lnTo>
                  <a:lnTo>
                    <a:pt x="158" y="943"/>
                  </a:lnTo>
                  <a:lnTo>
                    <a:pt x="166" y="935"/>
                  </a:lnTo>
                  <a:lnTo>
                    <a:pt x="174" y="928"/>
                  </a:lnTo>
                  <a:lnTo>
                    <a:pt x="184" y="921"/>
                  </a:lnTo>
                  <a:lnTo>
                    <a:pt x="194" y="914"/>
                  </a:lnTo>
                  <a:lnTo>
                    <a:pt x="203" y="909"/>
                  </a:lnTo>
                  <a:lnTo>
                    <a:pt x="213" y="904"/>
                  </a:lnTo>
                  <a:lnTo>
                    <a:pt x="225" y="900"/>
                  </a:lnTo>
                  <a:lnTo>
                    <a:pt x="236" y="897"/>
                  </a:lnTo>
                  <a:lnTo>
                    <a:pt x="248" y="895"/>
                  </a:lnTo>
                  <a:lnTo>
                    <a:pt x="261" y="894"/>
                  </a:lnTo>
                  <a:lnTo>
                    <a:pt x="273" y="893"/>
                  </a:lnTo>
                  <a:lnTo>
                    <a:pt x="278" y="894"/>
                  </a:lnTo>
                  <a:lnTo>
                    <a:pt x="283" y="895"/>
                  </a:lnTo>
                  <a:lnTo>
                    <a:pt x="287" y="896"/>
                  </a:lnTo>
                  <a:lnTo>
                    <a:pt x="291" y="898"/>
                  </a:lnTo>
                  <a:lnTo>
                    <a:pt x="298" y="902"/>
                  </a:lnTo>
                  <a:lnTo>
                    <a:pt x="303" y="909"/>
                  </a:lnTo>
                  <a:lnTo>
                    <a:pt x="314" y="924"/>
                  </a:lnTo>
                  <a:lnTo>
                    <a:pt x="326" y="940"/>
                  </a:lnTo>
                  <a:lnTo>
                    <a:pt x="347" y="927"/>
                  </a:lnTo>
                  <a:lnTo>
                    <a:pt x="368" y="913"/>
                  </a:lnTo>
                  <a:lnTo>
                    <a:pt x="378" y="906"/>
                  </a:lnTo>
                  <a:lnTo>
                    <a:pt x="388" y="899"/>
                  </a:lnTo>
                  <a:lnTo>
                    <a:pt x="396" y="891"/>
                  </a:lnTo>
                  <a:lnTo>
                    <a:pt x="404" y="882"/>
                  </a:lnTo>
                  <a:lnTo>
                    <a:pt x="410" y="874"/>
                  </a:lnTo>
                  <a:lnTo>
                    <a:pt x="418" y="865"/>
                  </a:lnTo>
                  <a:lnTo>
                    <a:pt x="423" y="856"/>
                  </a:lnTo>
                  <a:lnTo>
                    <a:pt x="428" y="845"/>
                  </a:lnTo>
                  <a:lnTo>
                    <a:pt x="431" y="835"/>
                  </a:lnTo>
                  <a:lnTo>
                    <a:pt x="434" y="824"/>
                  </a:lnTo>
                  <a:lnTo>
                    <a:pt x="436" y="811"/>
                  </a:lnTo>
                  <a:lnTo>
                    <a:pt x="436" y="799"/>
                  </a:lnTo>
                  <a:lnTo>
                    <a:pt x="437" y="756"/>
                  </a:lnTo>
                  <a:lnTo>
                    <a:pt x="437" y="717"/>
                  </a:lnTo>
                  <a:lnTo>
                    <a:pt x="435" y="708"/>
                  </a:lnTo>
                  <a:lnTo>
                    <a:pt x="434" y="699"/>
                  </a:lnTo>
                  <a:lnTo>
                    <a:pt x="431" y="690"/>
                  </a:lnTo>
                  <a:lnTo>
                    <a:pt x="428" y="682"/>
                  </a:lnTo>
                  <a:lnTo>
                    <a:pt x="423" y="674"/>
                  </a:lnTo>
                  <a:lnTo>
                    <a:pt x="418" y="667"/>
                  </a:lnTo>
                  <a:lnTo>
                    <a:pt x="411" y="659"/>
                  </a:lnTo>
                  <a:lnTo>
                    <a:pt x="403" y="652"/>
                  </a:lnTo>
                  <a:lnTo>
                    <a:pt x="407" y="647"/>
                  </a:lnTo>
                  <a:lnTo>
                    <a:pt x="410" y="642"/>
                  </a:lnTo>
                  <a:lnTo>
                    <a:pt x="415" y="637"/>
                  </a:lnTo>
                  <a:lnTo>
                    <a:pt x="419" y="634"/>
                  </a:lnTo>
                  <a:lnTo>
                    <a:pt x="428" y="626"/>
                  </a:lnTo>
                  <a:lnTo>
                    <a:pt x="438" y="620"/>
                  </a:lnTo>
                  <a:lnTo>
                    <a:pt x="448" y="615"/>
                  </a:lnTo>
                  <a:lnTo>
                    <a:pt x="458" y="609"/>
                  </a:lnTo>
                  <a:lnTo>
                    <a:pt x="469" y="603"/>
                  </a:lnTo>
                  <a:lnTo>
                    <a:pt x="478" y="593"/>
                  </a:lnTo>
                  <a:lnTo>
                    <a:pt x="460" y="584"/>
                  </a:lnTo>
                  <a:lnTo>
                    <a:pt x="441" y="577"/>
                  </a:lnTo>
                  <a:lnTo>
                    <a:pt x="425" y="569"/>
                  </a:lnTo>
                  <a:lnTo>
                    <a:pt x="408" y="563"/>
                  </a:lnTo>
                  <a:lnTo>
                    <a:pt x="374" y="552"/>
                  </a:lnTo>
                  <a:lnTo>
                    <a:pt x="335" y="539"/>
                  </a:lnTo>
                  <a:lnTo>
                    <a:pt x="338" y="532"/>
                  </a:lnTo>
                  <a:lnTo>
                    <a:pt x="342" y="527"/>
                  </a:lnTo>
                  <a:lnTo>
                    <a:pt x="346" y="522"/>
                  </a:lnTo>
                  <a:lnTo>
                    <a:pt x="351" y="518"/>
                  </a:lnTo>
                  <a:lnTo>
                    <a:pt x="360" y="509"/>
                  </a:lnTo>
                  <a:lnTo>
                    <a:pt x="368" y="496"/>
                  </a:lnTo>
                  <a:lnTo>
                    <a:pt x="373" y="486"/>
                  </a:lnTo>
                  <a:lnTo>
                    <a:pt x="378" y="477"/>
                  </a:lnTo>
                  <a:lnTo>
                    <a:pt x="382" y="466"/>
                  </a:lnTo>
                  <a:lnTo>
                    <a:pt x="385" y="457"/>
                  </a:lnTo>
                  <a:lnTo>
                    <a:pt x="389" y="437"/>
                  </a:lnTo>
                  <a:lnTo>
                    <a:pt x="391" y="418"/>
                  </a:lnTo>
                  <a:lnTo>
                    <a:pt x="393" y="399"/>
                  </a:lnTo>
                  <a:lnTo>
                    <a:pt x="395" y="378"/>
                  </a:lnTo>
                  <a:lnTo>
                    <a:pt x="397" y="368"/>
                  </a:lnTo>
                  <a:lnTo>
                    <a:pt x="399" y="358"/>
                  </a:lnTo>
                  <a:lnTo>
                    <a:pt x="402" y="347"/>
                  </a:lnTo>
                  <a:lnTo>
                    <a:pt x="405" y="336"/>
                  </a:lnTo>
                  <a:lnTo>
                    <a:pt x="410" y="326"/>
                  </a:lnTo>
                  <a:lnTo>
                    <a:pt x="417" y="316"/>
                  </a:lnTo>
                  <a:lnTo>
                    <a:pt x="424" y="307"/>
                  </a:lnTo>
                  <a:lnTo>
                    <a:pt x="430" y="300"/>
                  </a:lnTo>
                  <a:lnTo>
                    <a:pt x="436" y="292"/>
                  </a:lnTo>
                  <a:lnTo>
                    <a:pt x="441" y="282"/>
                  </a:lnTo>
                  <a:lnTo>
                    <a:pt x="443" y="278"/>
                  </a:lnTo>
                  <a:lnTo>
                    <a:pt x="444" y="273"/>
                  </a:lnTo>
                  <a:lnTo>
                    <a:pt x="445" y="268"/>
                  </a:lnTo>
                  <a:lnTo>
                    <a:pt x="445" y="262"/>
                  </a:lnTo>
                  <a:lnTo>
                    <a:pt x="445" y="247"/>
                  </a:lnTo>
                  <a:lnTo>
                    <a:pt x="444" y="235"/>
                  </a:lnTo>
                  <a:lnTo>
                    <a:pt x="442" y="224"/>
                  </a:lnTo>
                  <a:lnTo>
                    <a:pt x="439" y="212"/>
                  </a:lnTo>
                  <a:lnTo>
                    <a:pt x="436" y="202"/>
                  </a:lnTo>
                  <a:lnTo>
                    <a:pt x="432" y="191"/>
                  </a:lnTo>
                  <a:lnTo>
                    <a:pt x="426" y="179"/>
                  </a:lnTo>
                  <a:lnTo>
                    <a:pt x="420" y="166"/>
                  </a:lnTo>
                  <a:lnTo>
                    <a:pt x="454" y="146"/>
                  </a:lnTo>
                  <a:lnTo>
                    <a:pt x="484" y="129"/>
                  </a:lnTo>
                  <a:lnTo>
                    <a:pt x="499" y="120"/>
                  </a:lnTo>
                  <a:lnTo>
                    <a:pt x="515" y="115"/>
                  </a:lnTo>
                  <a:lnTo>
                    <a:pt x="523" y="112"/>
                  </a:lnTo>
                  <a:lnTo>
                    <a:pt x="532" y="111"/>
                  </a:lnTo>
                  <a:lnTo>
                    <a:pt x="541" y="110"/>
                  </a:lnTo>
                  <a:lnTo>
                    <a:pt x="552" y="109"/>
                  </a:lnTo>
                  <a:lnTo>
                    <a:pt x="559" y="110"/>
                  </a:lnTo>
                  <a:lnTo>
                    <a:pt x="565" y="111"/>
                  </a:lnTo>
                  <a:lnTo>
                    <a:pt x="571" y="114"/>
                  </a:lnTo>
                  <a:lnTo>
                    <a:pt x="575" y="117"/>
                  </a:lnTo>
                  <a:lnTo>
                    <a:pt x="581" y="120"/>
                  </a:lnTo>
                  <a:lnTo>
                    <a:pt x="585" y="125"/>
                  </a:lnTo>
                  <a:lnTo>
                    <a:pt x="589" y="130"/>
                  </a:lnTo>
                  <a:lnTo>
                    <a:pt x="593" y="135"/>
                  </a:lnTo>
                  <a:lnTo>
                    <a:pt x="600" y="146"/>
                  </a:lnTo>
                  <a:lnTo>
                    <a:pt x="607" y="157"/>
                  </a:lnTo>
                  <a:lnTo>
                    <a:pt x="611" y="163"/>
                  </a:lnTo>
                  <a:lnTo>
                    <a:pt x="617" y="168"/>
                  </a:lnTo>
                  <a:lnTo>
                    <a:pt x="622" y="173"/>
                  </a:lnTo>
                  <a:lnTo>
                    <a:pt x="627" y="178"/>
                  </a:lnTo>
                  <a:lnTo>
                    <a:pt x="636" y="170"/>
                  </a:lnTo>
                  <a:lnTo>
                    <a:pt x="646" y="163"/>
                  </a:lnTo>
                  <a:lnTo>
                    <a:pt x="654" y="157"/>
                  </a:lnTo>
                  <a:lnTo>
                    <a:pt x="662" y="152"/>
                  </a:lnTo>
                  <a:lnTo>
                    <a:pt x="681" y="142"/>
                  </a:lnTo>
                  <a:lnTo>
                    <a:pt x="700" y="131"/>
                  </a:lnTo>
                  <a:lnTo>
                    <a:pt x="725" y="113"/>
                  </a:lnTo>
                  <a:lnTo>
                    <a:pt x="748" y="97"/>
                  </a:lnTo>
                  <a:lnTo>
                    <a:pt x="759" y="90"/>
                  </a:lnTo>
                  <a:lnTo>
                    <a:pt x="771" y="85"/>
                  </a:lnTo>
                  <a:lnTo>
                    <a:pt x="778" y="83"/>
                  </a:lnTo>
                  <a:lnTo>
                    <a:pt x="785" y="82"/>
                  </a:lnTo>
                  <a:lnTo>
                    <a:pt x="792" y="81"/>
                  </a:lnTo>
                  <a:lnTo>
                    <a:pt x="799" y="81"/>
                  </a:lnTo>
                  <a:lnTo>
                    <a:pt x="1109" y="125"/>
                  </a:lnTo>
                  <a:lnTo>
                    <a:pt x="1174" y="125"/>
                  </a:lnTo>
                  <a:lnTo>
                    <a:pt x="1186" y="125"/>
                  </a:lnTo>
                  <a:lnTo>
                    <a:pt x="1197" y="123"/>
                  </a:lnTo>
                  <a:lnTo>
                    <a:pt x="1208" y="119"/>
                  </a:lnTo>
                  <a:lnTo>
                    <a:pt x="1218" y="114"/>
                  </a:lnTo>
                  <a:lnTo>
                    <a:pt x="1226" y="109"/>
                  </a:lnTo>
                  <a:lnTo>
                    <a:pt x="1234" y="102"/>
                  </a:lnTo>
                  <a:lnTo>
                    <a:pt x="1242" y="93"/>
                  </a:lnTo>
                  <a:lnTo>
                    <a:pt x="1249" y="85"/>
                  </a:lnTo>
                  <a:lnTo>
                    <a:pt x="1275" y="45"/>
                  </a:lnTo>
                  <a:lnTo>
                    <a:pt x="1301" y="0"/>
                  </a:lnTo>
                  <a:lnTo>
                    <a:pt x="1311" y="7"/>
                  </a:lnTo>
                  <a:lnTo>
                    <a:pt x="1317" y="14"/>
                  </a:lnTo>
                  <a:lnTo>
                    <a:pt x="1323" y="20"/>
                  </a:lnTo>
                  <a:lnTo>
                    <a:pt x="1328" y="28"/>
                  </a:lnTo>
                  <a:lnTo>
                    <a:pt x="1333" y="36"/>
                  </a:lnTo>
                  <a:lnTo>
                    <a:pt x="1339" y="44"/>
                  </a:lnTo>
                  <a:lnTo>
                    <a:pt x="1344" y="52"/>
                  </a:lnTo>
                  <a:lnTo>
                    <a:pt x="1351" y="59"/>
                  </a:lnTo>
                  <a:lnTo>
                    <a:pt x="1378" y="85"/>
                  </a:lnTo>
                  <a:lnTo>
                    <a:pt x="1401" y="109"/>
                  </a:lnTo>
                  <a:lnTo>
                    <a:pt x="1406" y="115"/>
                  </a:lnTo>
                  <a:lnTo>
                    <a:pt x="1411" y="122"/>
                  </a:lnTo>
                  <a:lnTo>
                    <a:pt x="1415" y="129"/>
                  </a:lnTo>
                  <a:lnTo>
                    <a:pt x="1418" y="137"/>
                  </a:lnTo>
                  <a:lnTo>
                    <a:pt x="1420" y="144"/>
                  </a:lnTo>
                  <a:lnTo>
                    <a:pt x="1422" y="152"/>
                  </a:lnTo>
                  <a:lnTo>
                    <a:pt x="1424" y="161"/>
                  </a:lnTo>
                  <a:lnTo>
                    <a:pt x="1424" y="170"/>
                  </a:lnTo>
                  <a:lnTo>
                    <a:pt x="1424" y="228"/>
                  </a:lnTo>
                  <a:lnTo>
                    <a:pt x="1414" y="294"/>
                  </a:lnTo>
                  <a:lnTo>
                    <a:pt x="1414" y="400"/>
                  </a:lnTo>
                  <a:lnTo>
                    <a:pt x="1425" y="399"/>
                  </a:lnTo>
                  <a:lnTo>
                    <a:pt x="1435" y="397"/>
                  </a:lnTo>
                  <a:lnTo>
                    <a:pt x="1591" y="435"/>
                  </a:lnTo>
                  <a:lnTo>
                    <a:pt x="1597" y="434"/>
                  </a:lnTo>
                  <a:lnTo>
                    <a:pt x="1603" y="433"/>
                  </a:lnTo>
                  <a:lnTo>
                    <a:pt x="1608" y="432"/>
                  </a:lnTo>
                  <a:lnTo>
                    <a:pt x="1612" y="430"/>
                  </a:lnTo>
                  <a:lnTo>
                    <a:pt x="1621" y="425"/>
                  </a:lnTo>
                  <a:lnTo>
                    <a:pt x="1628" y="418"/>
                  </a:lnTo>
                  <a:lnTo>
                    <a:pt x="1642" y="402"/>
                  </a:lnTo>
                  <a:lnTo>
                    <a:pt x="1657" y="386"/>
                  </a:lnTo>
                  <a:lnTo>
                    <a:pt x="1674" y="370"/>
                  </a:lnTo>
                  <a:lnTo>
                    <a:pt x="1689" y="358"/>
                  </a:lnTo>
                  <a:lnTo>
                    <a:pt x="1705" y="347"/>
                  </a:lnTo>
                  <a:lnTo>
                    <a:pt x="1720" y="337"/>
                  </a:lnTo>
                  <a:lnTo>
                    <a:pt x="1735" y="328"/>
                  </a:lnTo>
                  <a:lnTo>
                    <a:pt x="1750" y="316"/>
                  </a:lnTo>
                  <a:lnTo>
                    <a:pt x="1766" y="304"/>
                  </a:lnTo>
                  <a:lnTo>
                    <a:pt x="1783" y="289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>
                  <a:latin typeface="Calibri" panose="020F0502020204030204" pitchFamily="34" charset="0"/>
                </a:rPr>
                <a:t>Vinnytsya</a:t>
              </a:r>
              <a:endParaRPr lang="ru-RU" altLang="ru-RU" sz="675">
                <a:latin typeface="Calibri" panose="020F0502020204030204" pitchFamily="34" charset="0"/>
              </a:endParaRPr>
            </a:p>
          </p:txBody>
        </p:sp>
        <p:sp>
          <p:nvSpPr>
            <p:cNvPr id="30" name="Khmelnytsky"/>
            <p:cNvSpPr>
              <a:spLocks/>
            </p:cNvSpPr>
            <p:nvPr/>
          </p:nvSpPr>
          <p:spPr bwMode="auto">
            <a:xfrm>
              <a:off x="1582" y="1725"/>
              <a:ext cx="457" cy="807"/>
            </a:xfrm>
            <a:custGeom>
              <a:avLst/>
              <a:gdLst>
                <a:gd name="T0" fmla="*/ 346 w 1522"/>
                <a:gd name="T1" fmla="*/ 232 h 2772"/>
                <a:gd name="T2" fmla="*/ 346 w 1522"/>
                <a:gd name="T3" fmla="*/ 232 h 2772"/>
                <a:gd name="T4" fmla="*/ 346 w 1522"/>
                <a:gd name="T5" fmla="*/ 232 h 2772"/>
                <a:gd name="T6" fmla="*/ 346 w 1522"/>
                <a:gd name="T7" fmla="*/ 232 h 2772"/>
                <a:gd name="T8" fmla="*/ 346 w 1522"/>
                <a:gd name="T9" fmla="*/ 232 h 2772"/>
                <a:gd name="T10" fmla="*/ 346 w 1522"/>
                <a:gd name="T11" fmla="*/ 232 h 2772"/>
                <a:gd name="T12" fmla="*/ 346 w 1522"/>
                <a:gd name="T13" fmla="*/ 232 h 2772"/>
                <a:gd name="T14" fmla="*/ 346 w 1522"/>
                <a:gd name="T15" fmla="*/ 232 h 2772"/>
                <a:gd name="T16" fmla="*/ 346 w 1522"/>
                <a:gd name="T17" fmla="*/ 232 h 2772"/>
                <a:gd name="T18" fmla="*/ 346 w 1522"/>
                <a:gd name="T19" fmla="*/ 232 h 2772"/>
                <a:gd name="T20" fmla="*/ 346 w 1522"/>
                <a:gd name="T21" fmla="*/ 232 h 2772"/>
                <a:gd name="T22" fmla="*/ 346 w 1522"/>
                <a:gd name="T23" fmla="*/ 232 h 2772"/>
                <a:gd name="T24" fmla="*/ 346 w 1522"/>
                <a:gd name="T25" fmla="*/ 232 h 2772"/>
                <a:gd name="T26" fmla="*/ 346 w 1522"/>
                <a:gd name="T27" fmla="*/ 232 h 2772"/>
                <a:gd name="T28" fmla="*/ 346 w 1522"/>
                <a:gd name="T29" fmla="*/ 232 h 2772"/>
                <a:gd name="T30" fmla="*/ 346 w 1522"/>
                <a:gd name="T31" fmla="*/ 232 h 2772"/>
                <a:gd name="T32" fmla="*/ 346 w 1522"/>
                <a:gd name="T33" fmla="*/ 232 h 2772"/>
                <a:gd name="T34" fmla="*/ 346 w 1522"/>
                <a:gd name="T35" fmla="*/ 232 h 2772"/>
                <a:gd name="T36" fmla="*/ 346 w 1522"/>
                <a:gd name="T37" fmla="*/ 232 h 2772"/>
                <a:gd name="T38" fmla="*/ 346 w 1522"/>
                <a:gd name="T39" fmla="*/ 232 h 2772"/>
                <a:gd name="T40" fmla="*/ 346 w 1522"/>
                <a:gd name="T41" fmla="*/ 232 h 2772"/>
                <a:gd name="T42" fmla="*/ 346 w 1522"/>
                <a:gd name="T43" fmla="*/ 232 h 2772"/>
                <a:gd name="T44" fmla="*/ 346 w 1522"/>
                <a:gd name="T45" fmla="*/ 232 h 2772"/>
                <a:gd name="T46" fmla="*/ 346 w 1522"/>
                <a:gd name="T47" fmla="*/ 232 h 2772"/>
                <a:gd name="T48" fmla="*/ 346 w 1522"/>
                <a:gd name="T49" fmla="*/ 232 h 2772"/>
                <a:gd name="T50" fmla="*/ 346 w 1522"/>
                <a:gd name="T51" fmla="*/ 232 h 2772"/>
                <a:gd name="T52" fmla="*/ 346 w 1522"/>
                <a:gd name="T53" fmla="*/ 232 h 2772"/>
                <a:gd name="T54" fmla="*/ 346 w 1522"/>
                <a:gd name="T55" fmla="*/ 232 h 2772"/>
                <a:gd name="T56" fmla="*/ 346 w 1522"/>
                <a:gd name="T57" fmla="*/ 232 h 2772"/>
                <a:gd name="T58" fmla="*/ 346 w 1522"/>
                <a:gd name="T59" fmla="*/ 232 h 2772"/>
                <a:gd name="T60" fmla="*/ 346 w 1522"/>
                <a:gd name="T61" fmla="*/ 232 h 2772"/>
                <a:gd name="T62" fmla="*/ 346 w 1522"/>
                <a:gd name="T63" fmla="*/ 232 h 2772"/>
                <a:gd name="T64" fmla="*/ 346 w 1522"/>
                <a:gd name="T65" fmla="*/ 232 h 2772"/>
                <a:gd name="T66" fmla="*/ 346 w 1522"/>
                <a:gd name="T67" fmla="*/ 232 h 2772"/>
                <a:gd name="T68" fmla="*/ 346 w 1522"/>
                <a:gd name="T69" fmla="*/ 232 h 2772"/>
                <a:gd name="T70" fmla="*/ 346 w 1522"/>
                <a:gd name="T71" fmla="*/ 232 h 2772"/>
                <a:gd name="T72" fmla="*/ 346 w 1522"/>
                <a:gd name="T73" fmla="*/ 232 h 2772"/>
                <a:gd name="T74" fmla="*/ 346 w 1522"/>
                <a:gd name="T75" fmla="*/ 232 h 2772"/>
                <a:gd name="T76" fmla="*/ 346 w 1522"/>
                <a:gd name="T77" fmla="*/ 232 h 2772"/>
                <a:gd name="T78" fmla="*/ 346 w 1522"/>
                <a:gd name="T79" fmla="*/ 232 h 2772"/>
                <a:gd name="T80" fmla="*/ 346 w 1522"/>
                <a:gd name="T81" fmla="*/ 232 h 2772"/>
                <a:gd name="T82" fmla="*/ 346 w 1522"/>
                <a:gd name="T83" fmla="*/ 232 h 2772"/>
                <a:gd name="T84" fmla="*/ 346 w 1522"/>
                <a:gd name="T85" fmla="*/ 232 h 2772"/>
                <a:gd name="T86" fmla="*/ 346 w 1522"/>
                <a:gd name="T87" fmla="*/ 232 h 2772"/>
                <a:gd name="T88" fmla="*/ 346 w 1522"/>
                <a:gd name="T89" fmla="*/ 232 h 2772"/>
                <a:gd name="T90" fmla="*/ 346 w 1522"/>
                <a:gd name="T91" fmla="*/ 232 h 2772"/>
                <a:gd name="T92" fmla="*/ 346 w 1522"/>
                <a:gd name="T93" fmla="*/ 232 h 2772"/>
                <a:gd name="T94" fmla="*/ 346 w 1522"/>
                <a:gd name="T95" fmla="*/ 232 h 2772"/>
                <a:gd name="T96" fmla="*/ 346 w 1522"/>
                <a:gd name="T97" fmla="*/ 232 h 2772"/>
                <a:gd name="T98" fmla="*/ 346 w 1522"/>
                <a:gd name="T99" fmla="*/ 232 h 2772"/>
                <a:gd name="T100" fmla="*/ 346 w 1522"/>
                <a:gd name="T101" fmla="*/ 232 h 2772"/>
                <a:gd name="T102" fmla="*/ 346 w 1522"/>
                <a:gd name="T103" fmla="*/ 232 h 2772"/>
                <a:gd name="T104" fmla="*/ 346 w 1522"/>
                <a:gd name="T105" fmla="*/ 232 h 2772"/>
                <a:gd name="T106" fmla="*/ 346 w 1522"/>
                <a:gd name="T107" fmla="*/ 232 h 2772"/>
                <a:gd name="T108" fmla="*/ 346 w 1522"/>
                <a:gd name="T109" fmla="*/ 232 h 2772"/>
                <a:gd name="T110" fmla="*/ 346 w 1522"/>
                <a:gd name="T111" fmla="*/ 232 h 2772"/>
                <a:gd name="T112" fmla="*/ 346 w 1522"/>
                <a:gd name="T113" fmla="*/ 232 h 2772"/>
                <a:gd name="T114" fmla="*/ 346 w 1522"/>
                <a:gd name="T115" fmla="*/ 232 h 2772"/>
                <a:gd name="T116" fmla="*/ 346 w 1522"/>
                <a:gd name="T117" fmla="*/ 232 h 2772"/>
                <a:gd name="T118" fmla="*/ 346 w 1522"/>
                <a:gd name="T119" fmla="*/ 232 h 27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522"/>
                <a:gd name="T181" fmla="*/ 0 h 2772"/>
                <a:gd name="T182" fmla="*/ 1522 w 1522"/>
                <a:gd name="T183" fmla="*/ 2772 h 27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522" h="2772">
                  <a:moveTo>
                    <a:pt x="981" y="35"/>
                  </a:moveTo>
                  <a:lnTo>
                    <a:pt x="988" y="47"/>
                  </a:lnTo>
                  <a:lnTo>
                    <a:pt x="998" y="56"/>
                  </a:lnTo>
                  <a:lnTo>
                    <a:pt x="1006" y="65"/>
                  </a:lnTo>
                  <a:lnTo>
                    <a:pt x="1014" y="74"/>
                  </a:lnTo>
                  <a:lnTo>
                    <a:pt x="1032" y="89"/>
                  </a:lnTo>
                  <a:lnTo>
                    <a:pt x="1049" y="104"/>
                  </a:lnTo>
                  <a:lnTo>
                    <a:pt x="1056" y="112"/>
                  </a:lnTo>
                  <a:lnTo>
                    <a:pt x="1064" y="119"/>
                  </a:lnTo>
                  <a:lnTo>
                    <a:pt x="1071" y="127"/>
                  </a:lnTo>
                  <a:lnTo>
                    <a:pt x="1077" y="137"/>
                  </a:lnTo>
                  <a:lnTo>
                    <a:pt x="1082" y="146"/>
                  </a:lnTo>
                  <a:lnTo>
                    <a:pt x="1087" y="157"/>
                  </a:lnTo>
                  <a:lnTo>
                    <a:pt x="1091" y="169"/>
                  </a:lnTo>
                  <a:lnTo>
                    <a:pt x="1093" y="182"/>
                  </a:lnTo>
                  <a:lnTo>
                    <a:pt x="1073" y="188"/>
                  </a:lnTo>
                  <a:lnTo>
                    <a:pt x="1055" y="196"/>
                  </a:lnTo>
                  <a:lnTo>
                    <a:pt x="1047" y="201"/>
                  </a:lnTo>
                  <a:lnTo>
                    <a:pt x="1039" y="206"/>
                  </a:lnTo>
                  <a:lnTo>
                    <a:pt x="1032" y="212"/>
                  </a:lnTo>
                  <a:lnTo>
                    <a:pt x="1023" y="220"/>
                  </a:lnTo>
                  <a:lnTo>
                    <a:pt x="1035" y="230"/>
                  </a:lnTo>
                  <a:lnTo>
                    <a:pt x="1044" y="239"/>
                  </a:lnTo>
                  <a:lnTo>
                    <a:pt x="1052" y="248"/>
                  </a:lnTo>
                  <a:lnTo>
                    <a:pt x="1059" y="259"/>
                  </a:lnTo>
                  <a:lnTo>
                    <a:pt x="1074" y="279"/>
                  </a:lnTo>
                  <a:lnTo>
                    <a:pt x="1091" y="303"/>
                  </a:lnTo>
                  <a:lnTo>
                    <a:pt x="1111" y="324"/>
                  </a:lnTo>
                  <a:lnTo>
                    <a:pt x="1130" y="342"/>
                  </a:lnTo>
                  <a:lnTo>
                    <a:pt x="1147" y="360"/>
                  </a:lnTo>
                  <a:lnTo>
                    <a:pt x="1165" y="376"/>
                  </a:lnTo>
                  <a:lnTo>
                    <a:pt x="1181" y="393"/>
                  </a:lnTo>
                  <a:lnTo>
                    <a:pt x="1197" y="411"/>
                  </a:lnTo>
                  <a:lnTo>
                    <a:pt x="1204" y="422"/>
                  </a:lnTo>
                  <a:lnTo>
                    <a:pt x="1211" y="433"/>
                  </a:lnTo>
                  <a:lnTo>
                    <a:pt x="1217" y="445"/>
                  </a:lnTo>
                  <a:lnTo>
                    <a:pt x="1223" y="458"/>
                  </a:lnTo>
                  <a:lnTo>
                    <a:pt x="1229" y="470"/>
                  </a:lnTo>
                  <a:lnTo>
                    <a:pt x="1232" y="482"/>
                  </a:lnTo>
                  <a:lnTo>
                    <a:pt x="1235" y="493"/>
                  </a:lnTo>
                  <a:lnTo>
                    <a:pt x="1237" y="503"/>
                  </a:lnTo>
                  <a:lnTo>
                    <a:pt x="1239" y="514"/>
                  </a:lnTo>
                  <a:lnTo>
                    <a:pt x="1242" y="525"/>
                  </a:lnTo>
                  <a:lnTo>
                    <a:pt x="1245" y="536"/>
                  </a:lnTo>
                  <a:lnTo>
                    <a:pt x="1249" y="548"/>
                  </a:lnTo>
                  <a:lnTo>
                    <a:pt x="1262" y="538"/>
                  </a:lnTo>
                  <a:lnTo>
                    <a:pt x="1273" y="529"/>
                  </a:lnTo>
                  <a:lnTo>
                    <a:pt x="1283" y="520"/>
                  </a:lnTo>
                  <a:lnTo>
                    <a:pt x="1291" y="511"/>
                  </a:lnTo>
                  <a:lnTo>
                    <a:pt x="1309" y="490"/>
                  </a:lnTo>
                  <a:lnTo>
                    <a:pt x="1328" y="465"/>
                  </a:lnTo>
                  <a:lnTo>
                    <a:pt x="1325" y="472"/>
                  </a:lnTo>
                  <a:lnTo>
                    <a:pt x="1324" y="481"/>
                  </a:lnTo>
                  <a:lnTo>
                    <a:pt x="1325" y="493"/>
                  </a:lnTo>
                  <a:lnTo>
                    <a:pt x="1327" y="505"/>
                  </a:lnTo>
                  <a:lnTo>
                    <a:pt x="1330" y="517"/>
                  </a:lnTo>
                  <a:lnTo>
                    <a:pt x="1332" y="527"/>
                  </a:lnTo>
                  <a:lnTo>
                    <a:pt x="1340" y="548"/>
                  </a:lnTo>
                  <a:lnTo>
                    <a:pt x="1348" y="568"/>
                  </a:lnTo>
                  <a:lnTo>
                    <a:pt x="1357" y="588"/>
                  </a:lnTo>
                  <a:lnTo>
                    <a:pt x="1365" y="609"/>
                  </a:lnTo>
                  <a:lnTo>
                    <a:pt x="1368" y="619"/>
                  </a:lnTo>
                  <a:lnTo>
                    <a:pt x="1370" y="630"/>
                  </a:lnTo>
                  <a:lnTo>
                    <a:pt x="1372" y="643"/>
                  </a:lnTo>
                  <a:lnTo>
                    <a:pt x="1372" y="655"/>
                  </a:lnTo>
                  <a:lnTo>
                    <a:pt x="1373" y="681"/>
                  </a:lnTo>
                  <a:lnTo>
                    <a:pt x="1374" y="705"/>
                  </a:lnTo>
                  <a:lnTo>
                    <a:pt x="1373" y="716"/>
                  </a:lnTo>
                  <a:lnTo>
                    <a:pt x="1371" y="726"/>
                  </a:lnTo>
                  <a:lnTo>
                    <a:pt x="1367" y="738"/>
                  </a:lnTo>
                  <a:lnTo>
                    <a:pt x="1361" y="749"/>
                  </a:lnTo>
                  <a:lnTo>
                    <a:pt x="1354" y="756"/>
                  </a:lnTo>
                  <a:lnTo>
                    <a:pt x="1348" y="761"/>
                  </a:lnTo>
                  <a:lnTo>
                    <a:pt x="1341" y="767"/>
                  </a:lnTo>
                  <a:lnTo>
                    <a:pt x="1334" y="771"/>
                  </a:lnTo>
                  <a:lnTo>
                    <a:pt x="1317" y="777"/>
                  </a:lnTo>
                  <a:lnTo>
                    <a:pt x="1300" y="782"/>
                  </a:lnTo>
                  <a:lnTo>
                    <a:pt x="1292" y="785"/>
                  </a:lnTo>
                  <a:lnTo>
                    <a:pt x="1284" y="788"/>
                  </a:lnTo>
                  <a:lnTo>
                    <a:pt x="1277" y="791"/>
                  </a:lnTo>
                  <a:lnTo>
                    <a:pt x="1270" y="796"/>
                  </a:lnTo>
                  <a:lnTo>
                    <a:pt x="1264" y="801"/>
                  </a:lnTo>
                  <a:lnTo>
                    <a:pt x="1258" y="806"/>
                  </a:lnTo>
                  <a:lnTo>
                    <a:pt x="1254" y="813"/>
                  </a:lnTo>
                  <a:lnTo>
                    <a:pt x="1251" y="822"/>
                  </a:lnTo>
                  <a:lnTo>
                    <a:pt x="1257" y="825"/>
                  </a:lnTo>
                  <a:lnTo>
                    <a:pt x="1263" y="830"/>
                  </a:lnTo>
                  <a:lnTo>
                    <a:pt x="1267" y="835"/>
                  </a:lnTo>
                  <a:lnTo>
                    <a:pt x="1271" y="840"/>
                  </a:lnTo>
                  <a:lnTo>
                    <a:pt x="1273" y="845"/>
                  </a:lnTo>
                  <a:lnTo>
                    <a:pt x="1274" y="851"/>
                  </a:lnTo>
                  <a:lnTo>
                    <a:pt x="1275" y="859"/>
                  </a:lnTo>
                  <a:lnTo>
                    <a:pt x="1275" y="866"/>
                  </a:lnTo>
                  <a:lnTo>
                    <a:pt x="1274" y="880"/>
                  </a:lnTo>
                  <a:lnTo>
                    <a:pt x="1272" y="894"/>
                  </a:lnTo>
                  <a:lnTo>
                    <a:pt x="1270" y="906"/>
                  </a:lnTo>
                  <a:lnTo>
                    <a:pt x="1268" y="922"/>
                  </a:lnTo>
                  <a:lnTo>
                    <a:pt x="1269" y="931"/>
                  </a:lnTo>
                  <a:lnTo>
                    <a:pt x="1270" y="941"/>
                  </a:lnTo>
                  <a:lnTo>
                    <a:pt x="1273" y="949"/>
                  </a:lnTo>
                  <a:lnTo>
                    <a:pt x="1276" y="958"/>
                  </a:lnTo>
                  <a:lnTo>
                    <a:pt x="1280" y="966"/>
                  </a:lnTo>
                  <a:lnTo>
                    <a:pt x="1284" y="973"/>
                  </a:lnTo>
                  <a:lnTo>
                    <a:pt x="1289" y="979"/>
                  </a:lnTo>
                  <a:lnTo>
                    <a:pt x="1296" y="987"/>
                  </a:lnTo>
                  <a:lnTo>
                    <a:pt x="1322" y="1011"/>
                  </a:lnTo>
                  <a:lnTo>
                    <a:pt x="1353" y="1039"/>
                  </a:lnTo>
                  <a:lnTo>
                    <a:pt x="1383" y="1067"/>
                  </a:lnTo>
                  <a:lnTo>
                    <a:pt x="1411" y="1092"/>
                  </a:lnTo>
                  <a:lnTo>
                    <a:pt x="1424" y="1104"/>
                  </a:lnTo>
                  <a:lnTo>
                    <a:pt x="1438" y="1118"/>
                  </a:lnTo>
                  <a:lnTo>
                    <a:pt x="1451" y="1133"/>
                  </a:lnTo>
                  <a:lnTo>
                    <a:pt x="1464" y="1150"/>
                  </a:lnTo>
                  <a:lnTo>
                    <a:pt x="1470" y="1163"/>
                  </a:lnTo>
                  <a:lnTo>
                    <a:pt x="1476" y="1175"/>
                  </a:lnTo>
                  <a:lnTo>
                    <a:pt x="1480" y="1186"/>
                  </a:lnTo>
                  <a:lnTo>
                    <a:pt x="1483" y="1196"/>
                  </a:lnTo>
                  <a:lnTo>
                    <a:pt x="1486" y="1208"/>
                  </a:lnTo>
                  <a:lnTo>
                    <a:pt x="1488" y="1219"/>
                  </a:lnTo>
                  <a:lnTo>
                    <a:pt x="1489" y="1231"/>
                  </a:lnTo>
                  <a:lnTo>
                    <a:pt x="1489" y="1246"/>
                  </a:lnTo>
                  <a:lnTo>
                    <a:pt x="1489" y="1252"/>
                  </a:lnTo>
                  <a:lnTo>
                    <a:pt x="1488" y="1257"/>
                  </a:lnTo>
                  <a:lnTo>
                    <a:pt x="1487" y="1262"/>
                  </a:lnTo>
                  <a:lnTo>
                    <a:pt x="1485" y="1266"/>
                  </a:lnTo>
                  <a:lnTo>
                    <a:pt x="1480" y="1276"/>
                  </a:lnTo>
                  <a:lnTo>
                    <a:pt x="1474" y="1284"/>
                  </a:lnTo>
                  <a:lnTo>
                    <a:pt x="1468" y="1291"/>
                  </a:lnTo>
                  <a:lnTo>
                    <a:pt x="1461" y="1300"/>
                  </a:lnTo>
                  <a:lnTo>
                    <a:pt x="1454" y="1310"/>
                  </a:lnTo>
                  <a:lnTo>
                    <a:pt x="1449" y="1320"/>
                  </a:lnTo>
                  <a:lnTo>
                    <a:pt x="1446" y="1331"/>
                  </a:lnTo>
                  <a:lnTo>
                    <a:pt x="1443" y="1342"/>
                  </a:lnTo>
                  <a:lnTo>
                    <a:pt x="1441" y="1352"/>
                  </a:lnTo>
                  <a:lnTo>
                    <a:pt x="1439" y="1362"/>
                  </a:lnTo>
                  <a:lnTo>
                    <a:pt x="1437" y="1383"/>
                  </a:lnTo>
                  <a:lnTo>
                    <a:pt x="1435" y="1402"/>
                  </a:lnTo>
                  <a:lnTo>
                    <a:pt x="1433" y="1421"/>
                  </a:lnTo>
                  <a:lnTo>
                    <a:pt x="1429" y="1441"/>
                  </a:lnTo>
                  <a:lnTo>
                    <a:pt x="1426" y="1450"/>
                  </a:lnTo>
                  <a:lnTo>
                    <a:pt x="1422" y="1461"/>
                  </a:lnTo>
                  <a:lnTo>
                    <a:pt x="1417" y="1470"/>
                  </a:lnTo>
                  <a:lnTo>
                    <a:pt x="1412" y="1480"/>
                  </a:lnTo>
                  <a:lnTo>
                    <a:pt x="1404" y="1493"/>
                  </a:lnTo>
                  <a:lnTo>
                    <a:pt x="1395" y="1502"/>
                  </a:lnTo>
                  <a:lnTo>
                    <a:pt x="1390" y="1506"/>
                  </a:lnTo>
                  <a:lnTo>
                    <a:pt x="1386" y="1511"/>
                  </a:lnTo>
                  <a:lnTo>
                    <a:pt x="1382" y="1516"/>
                  </a:lnTo>
                  <a:lnTo>
                    <a:pt x="1379" y="1523"/>
                  </a:lnTo>
                  <a:lnTo>
                    <a:pt x="1418" y="1536"/>
                  </a:lnTo>
                  <a:lnTo>
                    <a:pt x="1452" y="1547"/>
                  </a:lnTo>
                  <a:lnTo>
                    <a:pt x="1469" y="1553"/>
                  </a:lnTo>
                  <a:lnTo>
                    <a:pt x="1485" y="1561"/>
                  </a:lnTo>
                  <a:lnTo>
                    <a:pt x="1504" y="1568"/>
                  </a:lnTo>
                  <a:lnTo>
                    <a:pt x="1522" y="1577"/>
                  </a:lnTo>
                  <a:lnTo>
                    <a:pt x="1513" y="1587"/>
                  </a:lnTo>
                  <a:lnTo>
                    <a:pt x="1502" y="1593"/>
                  </a:lnTo>
                  <a:lnTo>
                    <a:pt x="1492" y="1599"/>
                  </a:lnTo>
                  <a:lnTo>
                    <a:pt x="1482" y="1604"/>
                  </a:lnTo>
                  <a:lnTo>
                    <a:pt x="1472" y="1610"/>
                  </a:lnTo>
                  <a:lnTo>
                    <a:pt x="1463" y="1618"/>
                  </a:lnTo>
                  <a:lnTo>
                    <a:pt x="1459" y="1621"/>
                  </a:lnTo>
                  <a:lnTo>
                    <a:pt x="1454" y="1626"/>
                  </a:lnTo>
                  <a:lnTo>
                    <a:pt x="1451" y="1631"/>
                  </a:lnTo>
                  <a:lnTo>
                    <a:pt x="1447" y="1636"/>
                  </a:lnTo>
                  <a:lnTo>
                    <a:pt x="1455" y="1643"/>
                  </a:lnTo>
                  <a:lnTo>
                    <a:pt x="1462" y="1651"/>
                  </a:lnTo>
                  <a:lnTo>
                    <a:pt x="1467" y="1658"/>
                  </a:lnTo>
                  <a:lnTo>
                    <a:pt x="1472" y="1666"/>
                  </a:lnTo>
                  <a:lnTo>
                    <a:pt x="1475" y="1674"/>
                  </a:lnTo>
                  <a:lnTo>
                    <a:pt x="1478" y="1683"/>
                  </a:lnTo>
                  <a:lnTo>
                    <a:pt x="1479" y="1692"/>
                  </a:lnTo>
                  <a:lnTo>
                    <a:pt x="1481" y="1701"/>
                  </a:lnTo>
                  <a:lnTo>
                    <a:pt x="1481" y="1740"/>
                  </a:lnTo>
                  <a:lnTo>
                    <a:pt x="1480" y="1783"/>
                  </a:lnTo>
                  <a:lnTo>
                    <a:pt x="1480" y="1795"/>
                  </a:lnTo>
                  <a:lnTo>
                    <a:pt x="1478" y="1808"/>
                  </a:lnTo>
                  <a:lnTo>
                    <a:pt x="1475" y="1819"/>
                  </a:lnTo>
                  <a:lnTo>
                    <a:pt x="1472" y="1829"/>
                  </a:lnTo>
                  <a:lnTo>
                    <a:pt x="1467" y="1840"/>
                  </a:lnTo>
                  <a:lnTo>
                    <a:pt x="1462" y="1849"/>
                  </a:lnTo>
                  <a:lnTo>
                    <a:pt x="1454" y="1858"/>
                  </a:lnTo>
                  <a:lnTo>
                    <a:pt x="1448" y="1866"/>
                  </a:lnTo>
                  <a:lnTo>
                    <a:pt x="1440" y="1875"/>
                  </a:lnTo>
                  <a:lnTo>
                    <a:pt x="1432" y="1883"/>
                  </a:lnTo>
                  <a:lnTo>
                    <a:pt x="1422" y="1890"/>
                  </a:lnTo>
                  <a:lnTo>
                    <a:pt x="1412" y="1897"/>
                  </a:lnTo>
                  <a:lnTo>
                    <a:pt x="1391" y="1911"/>
                  </a:lnTo>
                  <a:lnTo>
                    <a:pt x="1370" y="1924"/>
                  </a:lnTo>
                  <a:lnTo>
                    <a:pt x="1358" y="1908"/>
                  </a:lnTo>
                  <a:lnTo>
                    <a:pt x="1347" y="1893"/>
                  </a:lnTo>
                  <a:lnTo>
                    <a:pt x="1342" y="1886"/>
                  </a:lnTo>
                  <a:lnTo>
                    <a:pt x="1335" y="1882"/>
                  </a:lnTo>
                  <a:lnTo>
                    <a:pt x="1331" y="1880"/>
                  </a:lnTo>
                  <a:lnTo>
                    <a:pt x="1327" y="1879"/>
                  </a:lnTo>
                  <a:lnTo>
                    <a:pt x="1322" y="1878"/>
                  </a:lnTo>
                  <a:lnTo>
                    <a:pt x="1317" y="1877"/>
                  </a:lnTo>
                  <a:lnTo>
                    <a:pt x="1305" y="1878"/>
                  </a:lnTo>
                  <a:lnTo>
                    <a:pt x="1292" y="1879"/>
                  </a:lnTo>
                  <a:lnTo>
                    <a:pt x="1280" y="1881"/>
                  </a:lnTo>
                  <a:lnTo>
                    <a:pt x="1269" y="1884"/>
                  </a:lnTo>
                  <a:lnTo>
                    <a:pt x="1257" y="1888"/>
                  </a:lnTo>
                  <a:lnTo>
                    <a:pt x="1247" y="1893"/>
                  </a:lnTo>
                  <a:lnTo>
                    <a:pt x="1238" y="1898"/>
                  </a:lnTo>
                  <a:lnTo>
                    <a:pt x="1228" y="1905"/>
                  </a:lnTo>
                  <a:lnTo>
                    <a:pt x="1218" y="1912"/>
                  </a:lnTo>
                  <a:lnTo>
                    <a:pt x="1210" y="1919"/>
                  </a:lnTo>
                  <a:lnTo>
                    <a:pt x="1202" y="1927"/>
                  </a:lnTo>
                  <a:lnTo>
                    <a:pt x="1193" y="1937"/>
                  </a:lnTo>
                  <a:lnTo>
                    <a:pt x="1186" y="1946"/>
                  </a:lnTo>
                  <a:lnTo>
                    <a:pt x="1178" y="1956"/>
                  </a:lnTo>
                  <a:lnTo>
                    <a:pt x="1172" y="1968"/>
                  </a:lnTo>
                  <a:lnTo>
                    <a:pt x="1165" y="1979"/>
                  </a:lnTo>
                  <a:lnTo>
                    <a:pt x="1156" y="1990"/>
                  </a:lnTo>
                  <a:lnTo>
                    <a:pt x="1148" y="2001"/>
                  </a:lnTo>
                  <a:lnTo>
                    <a:pt x="1139" y="2011"/>
                  </a:lnTo>
                  <a:lnTo>
                    <a:pt x="1130" y="2020"/>
                  </a:lnTo>
                  <a:lnTo>
                    <a:pt x="1110" y="2036"/>
                  </a:lnTo>
                  <a:lnTo>
                    <a:pt x="1090" y="2051"/>
                  </a:lnTo>
                  <a:lnTo>
                    <a:pt x="1081" y="2059"/>
                  </a:lnTo>
                  <a:lnTo>
                    <a:pt x="1072" y="2068"/>
                  </a:lnTo>
                  <a:lnTo>
                    <a:pt x="1065" y="2076"/>
                  </a:lnTo>
                  <a:lnTo>
                    <a:pt x="1057" y="2085"/>
                  </a:lnTo>
                  <a:lnTo>
                    <a:pt x="1052" y="2096"/>
                  </a:lnTo>
                  <a:lnTo>
                    <a:pt x="1048" y="2106"/>
                  </a:lnTo>
                  <a:lnTo>
                    <a:pt x="1045" y="2118"/>
                  </a:lnTo>
                  <a:lnTo>
                    <a:pt x="1044" y="2132"/>
                  </a:lnTo>
                  <a:lnTo>
                    <a:pt x="1045" y="2143"/>
                  </a:lnTo>
                  <a:lnTo>
                    <a:pt x="1046" y="2154"/>
                  </a:lnTo>
                  <a:lnTo>
                    <a:pt x="1048" y="2165"/>
                  </a:lnTo>
                  <a:lnTo>
                    <a:pt x="1051" y="2174"/>
                  </a:lnTo>
                  <a:lnTo>
                    <a:pt x="1057" y="2193"/>
                  </a:lnTo>
                  <a:lnTo>
                    <a:pt x="1066" y="2210"/>
                  </a:lnTo>
                  <a:lnTo>
                    <a:pt x="1073" y="2228"/>
                  </a:lnTo>
                  <a:lnTo>
                    <a:pt x="1080" y="2246"/>
                  </a:lnTo>
                  <a:lnTo>
                    <a:pt x="1083" y="2257"/>
                  </a:lnTo>
                  <a:lnTo>
                    <a:pt x="1085" y="2267"/>
                  </a:lnTo>
                  <a:lnTo>
                    <a:pt x="1086" y="2277"/>
                  </a:lnTo>
                  <a:lnTo>
                    <a:pt x="1086" y="2289"/>
                  </a:lnTo>
                  <a:lnTo>
                    <a:pt x="1086" y="2315"/>
                  </a:lnTo>
                  <a:lnTo>
                    <a:pt x="1084" y="2337"/>
                  </a:lnTo>
                  <a:lnTo>
                    <a:pt x="1082" y="2358"/>
                  </a:lnTo>
                  <a:lnTo>
                    <a:pt x="1079" y="2379"/>
                  </a:lnTo>
                  <a:lnTo>
                    <a:pt x="1076" y="2400"/>
                  </a:lnTo>
                  <a:lnTo>
                    <a:pt x="1073" y="2421"/>
                  </a:lnTo>
                  <a:lnTo>
                    <a:pt x="1072" y="2444"/>
                  </a:lnTo>
                  <a:lnTo>
                    <a:pt x="1071" y="2469"/>
                  </a:lnTo>
                  <a:lnTo>
                    <a:pt x="1070" y="2504"/>
                  </a:lnTo>
                  <a:lnTo>
                    <a:pt x="1068" y="2533"/>
                  </a:lnTo>
                  <a:lnTo>
                    <a:pt x="1067" y="2562"/>
                  </a:lnTo>
                  <a:lnTo>
                    <a:pt x="1066" y="2597"/>
                  </a:lnTo>
                  <a:lnTo>
                    <a:pt x="1043" y="2590"/>
                  </a:lnTo>
                  <a:lnTo>
                    <a:pt x="1023" y="2582"/>
                  </a:lnTo>
                  <a:lnTo>
                    <a:pt x="1014" y="2579"/>
                  </a:lnTo>
                  <a:lnTo>
                    <a:pt x="1004" y="2576"/>
                  </a:lnTo>
                  <a:lnTo>
                    <a:pt x="992" y="2574"/>
                  </a:lnTo>
                  <a:lnTo>
                    <a:pt x="981" y="2574"/>
                  </a:lnTo>
                  <a:lnTo>
                    <a:pt x="972" y="2575"/>
                  </a:lnTo>
                  <a:lnTo>
                    <a:pt x="965" y="2577"/>
                  </a:lnTo>
                  <a:lnTo>
                    <a:pt x="958" y="2581"/>
                  </a:lnTo>
                  <a:lnTo>
                    <a:pt x="952" y="2585"/>
                  </a:lnTo>
                  <a:lnTo>
                    <a:pt x="946" y="2589"/>
                  </a:lnTo>
                  <a:lnTo>
                    <a:pt x="940" y="2593"/>
                  </a:lnTo>
                  <a:lnTo>
                    <a:pt x="933" y="2596"/>
                  </a:lnTo>
                  <a:lnTo>
                    <a:pt x="924" y="2597"/>
                  </a:lnTo>
                  <a:lnTo>
                    <a:pt x="917" y="2596"/>
                  </a:lnTo>
                  <a:lnTo>
                    <a:pt x="912" y="2593"/>
                  </a:lnTo>
                  <a:lnTo>
                    <a:pt x="907" y="2589"/>
                  </a:lnTo>
                  <a:lnTo>
                    <a:pt x="903" y="2585"/>
                  </a:lnTo>
                  <a:lnTo>
                    <a:pt x="899" y="2581"/>
                  </a:lnTo>
                  <a:lnTo>
                    <a:pt x="893" y="2577"/>
                  </a:lnTo>
                  <a:lnTo>
                    <a:pt x="888" y="2575"/>
                  </a:lnTo>
                  <a:lnTo>
                    <a:pt x="882" y="2574"/>
                  </a:lnTo>
                  <a:lnTo>
                    <a:pt x="877" y="2577"/>
                  </a:lnTo>
                  <a:lnTo>
                    <a:pt x="872" y="2581"/>
                  </a:lnTo>
                  <a:lnTo>
                    <a:pt x="886" y="2609"/>
                  </a:lnTo>
                  <a:lnTo>
                    <a:pt x="886" y="2627"/>
                  </a:lnTo>
                  <a:lnTo>
                    <a:pt x="875" y="2630"/>
                  </a:lnTo>
                  <a:lnTo>
                    <a:pt x="863" y="2631"/>
                  </a:lnTo>
                  <a:lnTo>
                    <a:pt x="848" y="2628"/>
                  </a:lnTo>
                  <a:lnTo>
                    <a:pt x="835" y="2625"/>
                  </a:lnTo>
                  <a:lnTo>
                    <a:pt x="821" y="2622"/>
                  </a:lnTo>
                  <a:lnTo>
                    <a:pt x="806" y="2620"/>
                  </a:lnTo>
                  <a:lnTo>
                    <a:pt x="792" y="2627"/>
                  </a:lnTo>
                  <a:lnTo>
                    <a:pt x="778" y="2635"/>
                  </a:lnTo>
                  <a:lnTo>
                    <a:pt x="763" y="2634"/>
                  </a:lnTo>
                  <a:lnTo>
                    <a:pt x="751" y="2632"/>
                  </a:lnTo>
                  <a:lnTo>
                    <a:pt x="740" y="2627"/>
                  </a:lnTo>
                  <a:lnTo>
                    <a:pt x="728" y="2623"/>
                  </a:lnTo>
                  <a:lnTo>
                    <a:pt x="717" y="2619"/>
                  </a:lnTo>
                  <a:lnTo>
                    <a:pt x="706" y="2615"/>
                  </a:lnTo>
                  <a:lnTo>
                    <a:pt x="692" y="2612"/>
                  </a:lnTo>
                  <a:lnTo>
                    <a:pt x="679" y="2611"/>
                  </a:lnTo>
                  <a:lnTo>
                    <a:pt x="669" y="2612"/>
                  </a:lnTo>
                  <a:lnTo>
                    <a:pt x="658" y="2614"/>
                  </a:lnTo>
                  <a:lnTo>
                    <a:pt x="650" y="2618"/>
                  </a:lnTo>
                  <a:lnTo>
                    <a:pt x="642" y="2623"/>
                  </a:lnTo>
                  <a:lnTo>
                    <a:pt x="635" y="2630"/>
                  </a:lnTo>
                  <a:lnTo>
                    <a:pt x="628" y="2637"/>
                  </a:lnTo>
                  <a:lnTo>
                    <a:pt x="621" y="2645"/>
                  </a:lnTo>
                  <a:lnTo>
                    <a:pt x="615" y="2653"/>
                  </a:lnTo>
                  <a:lnTo>
                    <a:pt x="607" y="2649"/>
                  </a:lnTo>
                  <a:lnTo>
                    <a:pt x="598" y="2645"/>
                  </a:lnTo>
                  <a:lnTo>
                    <a:pt x="589" y="2642"/>
                  </a:lnTo>
                  <a:lnTo>
                    <a:pt x="581" y="2640"/>
                  </a:lnTo>
                  <a:lnTo>
                    <a:pt x="573" y="2637"/>
                  </a:lnTo>
                  <a:lnTo>
                    <a:pt x="565" y="2633"/>
                  </a:lnTo>
                  <a:lnTo>
                    <a:pt x="558" y="2627"/>
                  </a:lnTo>
                  <a:lnTo>
                    <a:pt x="551" y="2620"/>
                  </a:lnTo>
                  <a:lnTo>
                    <a:pt x="547" y="2614"/>
                  </a:lnTo>
                  <a:lnTo>
                    <a:pt x="544" y="2607"/>
                  </a:lnTo>
                  <a:lnTo>
                    <a:pt x="542" y="2600"/>
                  </a:lnTo>
                  <a:lnTo>
                    <a:pt x="540" y="2592"/>
                  </a:lnTo>
                  <a:lnTo>
                    <a:pt x="538" y="2585"/>
                  </a:lnTo>
                  <a:lnTo>
                    <a:pt x="533" y="2579"/>
                  </a:lnTo>
                  <a:lnTo>
                    <a:pt x="529" y="2574"/>
                  </a:lnTo>
                  <a:lnTo>
                    <a:pt x="523" y="2569"/>
                  </a:lnTo>
                  <a:lnTo>
                    <a:pt x="509" y="2586"/>
                  </a:lnTo>
                  <a:lnTo>
                    <a:pt x="497" y="2602"/>
                  </a:lnTo>
                  <a:lnTo>
                    <a:pt x="487" y="2618"/>
                  </a:lnTo>
                  <a:lnTo>
                    <a:pt x="476" y="2637"/>
                  </a:lnTo>
                  <a:lnTo>
                    <a:pt x="471" y="2631"/>
                  </a:lnTo>
                  <a:lnTo>
                    <a:pt x="466" y="2623"/>
                  </a:lnTo>
                  <a:lnTo>
                    <a:pt x="462" y="2617"/>
                  </a:lnTo>
                  <a:lnTo>
                    <a:pt x="459" y="2610"/>
                  </a:lnTo>
                  <a:lnTo>
                    <a:pt x="456" y="2604"/>
                  </a:lnTo>
                  <a:lnTo>
                    <a:pt x="451" y="2599"/>
                  </a:lnTo>
                  <a:lnTo>
                    <a:pt x="446" y="2593"/>
                  </a:lnTo>
                  <a:lnTo>
                    <a:pt x="439" y="2590"/>
                  </a:lnTo>
                  <a:lnTo>
                    <a:pt x="434" y="2608"/>
                  </a:lnTo>
                  <a:lnTo>
                    <a:pt x="432" y="2624"/>
                  </a:lnTo>
                  <a:lnTo>
                    <a:pt x="430" y="2632"/>
                  </a:lnTo>
                  <a:lnTo>
                    <a:pt x="428" y="2640"/>
                  </a:lnTo>
                  <a:lnTo>
                    <a:pt x="425" y="2647"/>
                  </a:lnTo>
                  <a:lnTo>
                    <a:pt x="422" y="2656"/>
                  </a:lnTo>
                  <a:lnTo>
                    <a:pt x="412" y="2648"/>
                  </a:lnTo>
                  <a:lnTo>
                    <a:pt x="403" y="2640"/>
                  </a:lnTo>
                  <a:lnTo>
                    <a:pt x="398" y="2636"/>
                  </a:lnTo>
                  <a:lnTo>
                    <a:pt x="393" y="2633"/>
                  </a:lnTo>
                  <a:lnTo>
                    <a:pt x="388" y="2631"/>
                  </a:lnTo>
                  <a:lnTo>
                    <a:pt x="382" y="2631"/>
                  </a:lnTo>
                  <a:lnTo>
                    <a:pt x="377" y="2631"/>
                  </a:lnTo>
                  <a:lnTo>
                    <a:pt x="373" y="2633"/>
                  </a:lnTo>
                  <a:lnTo>
                    <a:pt x="371" y="2634"/>
                  </a:lnTo>
                  <a:lnTo>
                    <a:pt x="368" y="2636"/>
                  </a:lnTo>
                  <a:lnTo>
                    <a:pt x="368" y="2638"/>
                  </a:lnTo>
                  <a:lnTo>
                    <a:pt x="367" y="2640"/>
                  </a:lnTo>
                  <a:lnTo>
                    <a:pt x="368" y="2645"/>
                  </a:lnTo>
                  <a:lnTo>
                    <a:pt x="370" y="2650"/>
                  </a:lnTo>
                  <a:lnTo>
                    <a:pt x="373" y="2654"/>
                  </a:lnTo>
                  <a:lnTo>
                    <a:pt x="376" y="2658"/>
                  </a:lnTo>
                  <a:lnTo>
                    <a:pt x="385" y="2665"/>
                  </a:lnTo>
                  <a:lnTo>
                    <a:pt x="394" y="2670"/>
                  </a:lnTo>
                  <a:lnTo>
                    <a:pt x="405" y="2676"/>
                  </a:lnTo>
                  <a:lnTo>
                    <a:pt x="414" y="2682"/>
                  </a:lnTo>
                  <a:lnTo>
                    <a:pt x="417" y="2686"/>
                  </a:lnTo>
                  <a:lnTo>
                    <a:pt x="419" y="2690"/>
                  </a:lnTo>
                  <a:lnTo>
                    <a:pt x="421" y="2696"/>
                  </a:lnTo>
                  <a:lnTo>
                    <a:pt x="422" y="2701"/>
                  </a:lnTo>
                  <a:lnTo>
                    <a:pt x="421" y="2708"/>
                  </a:lnTo>
                  <a:lnTo>
                    <a:pt x="418" y="2714"/>
                  </a:lnTo>
                  <a:lnTo>
                    <a:pt x="416" y="2716"/>
                  </a:lnTo>
                  <a:lnTo>
                    <a:pt x="414" y="2718"/>
                  </a:lnTo>
                  <a:lnTo>
                    <a:pt x="411" y="2719"/>
                  </a:lnTo>
                  <a:lnTo>
                    <a:pt x="408" y="2719"/>
                  </a:lnTo>
                  <a:lnTo>
                    <a:pt x="398" y="2719"/>
                  </a:lnTo>
                  <a:lnTo>
                    <a:pt x="390" y="2716"/>
                  </a:lnTo>
                  <a:lnTo>
                    <a:pt x="383" y="2712"/>
                  </a:lnTo>
                  <a:lnTo>
                    <a:pt x="376" y="2708"/>
                  </a:lnTo>
                  <a:lnTo>
                    <a:pt x="368" y="2703"/>
                  </a:lnTo>
                  <a:lnTo>
                    <a:pt x="361" y="2699"/>
                  </a:lnTo>
                  <a:lnTo>
                    <a:pt x="353" y="2696"/>
                  </a:lnTo>
                  <a:lnTo>
                    <a:pt x="344" y="2694"/>
                  </a:lnTo>
                  <a:lnTo>
                    <a:pt x="343" y="2714"/>
                  </a:lnTo>
                  <a:lnTo>
                    <a:pt x="344" y="2732"/>
                  </a:lnTo>
                  <a:lnTo>
                    <a:pt x="345" y="2749"/>
                  </a:lnTo>
                  <a:lnTo>
                    <a:pt x="344" y="2770"/>
                  </a:lnTo>
                  <a:lnTo>
                    <a:pt x="325" y="2772"/>
                  </a:lnTo>
                  <a:lnTo>
                    <a:pt x="318" y="2768"/>
                  </a:lnTo>
                  <a:lnTo>
                    <a:pt x="311" y="2765"/>
                  </a:lnTo>
                  <a:lnTo>
                    <a:pt x="305" y="2761"/>
                  </a:lnTo>
                  <a:lnTo>
                    <a:pt x="299" y="2755"/>
                  </a:lnTo>
                  <a:lnTo>
                    <a:pt x="289" y="2745"/>
                  </a:lnTo>
                  <a:lnTo>
                    <a:pt x="281" y="2734"/>
                  </a:lnTo>
                  <a:lnTo>
                    <a:pt x="267" y="2709"/>
                  </a:lnTo>
                  <a:lnTo>
                    <a:pt x="252" y="2680"/>
                  </a:lnTo>
                  <a:lnTo>
                    <a:pt x="246" y="2668"/>
                  </a:lnTo>
                  <a:lnTo>
                    <a:pt x="239" y="2655"/>
                  </a:lnTo>
                  <a:lnTo>
                    <a:pt x="234" y="2651"/>
                  </a:lnTo>
                  <a:lnTo>
                    <a:pt x="229" y="2647"/>
                  </a:lnTo>
                  <a:lnTo>
                    <a:pt x="223" y="2645"/>
                  </a:lnTo>
                  <a:lnTo>
                    <a:pt x="217" y="2644"/>
                  </a:lnTo>
                  <a:lnTo>
                    <a:pt x="201" y="2645"/>
                  </a:lnTo>
                  <a:lnTo>
                    <a:pt x="187" y="2646"/>
                  </a:lnTo>
                  <a:lnTo>
                    <a:pt x="173" y="2649"/>
                  </a:lnTo>
                  <a:lnTo>
                    <a:pt x="158" y="2653"/>
                  </a:lnTo>
                  <a:lnTo>
                    <a:pt x="158" y="2549"/>
                  </a:lnTo>
                  <a:lnTo>
                    <a:pt x="157" y="2540"/>
                  </a:lnTo>
                  <a:lnTo>
                    <a:pt x="155" y="2531"/>
                  </a:lnTo>
                  <a:lnTo>
                    <a:pt x="152" y="2524"/>
                  </a:lnTo>
                  <a:lnTo>
                    <a:pt x="149" y="2517"/>
                  </a:lnTo>
                  <a:lnTo>
                    <a:pt x="144" y="2511"/>
                  </a:lnTo>
                  <a:lnTo>
                    <a:pt x="139" y="2506"/>
                  </a:lnTo>
                  <a:lnTo>
                    <a:pt x="132" y="2500"/>
                  </a:lnTo>
                  <a:lnTo>
                    <a:pt x="125" y="2495"/>
                  </a:lnTo>
                  <a:lnTo>
                    <a:pt x="94" y="2477"/>
                  </a:lnTo>
                  <a:lnTo>
                    <a:pt x="61" y="2455"/>
                  </a:lnTo>
                  <a:lnTo>
                    <a:pt x="54" y="2450"/>
                  </a:lnTo>
                  <a:lnTo>
                    <a:pt x="49" y="2443"/>
                  </a:lnTo>
                  <a:lnTo>
                    <a:pt x="45" y="2436"/>
                  </a:lnTo>
                  <a:lnTo>
                    <a:pt x="41" y="2429"/>
                  </a:lnTo>
                  <a:lnTo>
                    <a:pt x="34" y="2415"/>
                  </a:lnTo>
                  <a:lnTo>
                    <a:pt x="26" y="2399"/>
                  </a:lnTo>
                  <a:lnTo>
                    <a:pt x="22" y="2394"/>
                  </a:lnTo>
                  <a:lnTo>
                    <a:pt x="18" y="2390"/>
                  </a:lnTo>
                  <a:lnTo>
                    <a:pt x="14" y="2387"/>
                  </a:lnTo>
                  <a:lnTo>
                    <a:pt x="10" y="2383"/>
                  </a:lnTo>
                  <a:lnTo>
                    <a:pt x="5" y="2380"/>
                  </a:lnTo>
                  <a:lnTo>
                    <a:pt x="2" y="2375"/>
                  </a:lnTo>
                  <a:lnTo>
                    <a:pt x="0" y="2371"/>
                  </a:lnTo>
                  <a:lnTo>
                    <a:pt x="0" y="2366"/>
                  </a:lnTo>
                  <a:lnTo>
                    <a:pt x="0" y="2361"/>
                  </a:lnTo>
                  <a:lnTo>
                    <a:pt x="1" y="2356"/>
                  </a:lnTo>
                  <a:lnTo>
                    <a:pt x="2" y="2352"/>
                  </a:lnTo>
                  <a:lnTo>
                    <a:pt x="4" y="2348"/>
                  </a:lnTo>
                  <a:lnTo>
                    <a:pt x="10" y="2340"/>
                  </a:lnTo>
                  <a:lnTo>
                    <a:pt x="15" y="2334"/>
                  </a:lnTo>
                  <a:lnTo>
                    <a:pt x="22" y="2328"/>
                  </a:lnTo>
                  <a:lnTo>
                    <a:pt x="28" y="2321"/>
                  </a:lnTo>
                  <a:lnTo>
                    <a:pt x="34" y="2314"/>
                  </a:lnTo>
                  <a:lnTo>
                    <a:pt x="40" y="2304"/>
                  </a:lnTo>
                  <a:lnTo>
                    <a:pt x="51" y="2269"/>
                  </a:lnTo>
                  <a:lnTo>
                    <a:pt x="59" y="2238"/>
                  </a:lnTo>
                  <a:lnTo>
                    <a:pt x="62" y="2223"/>
                  </a:lnTo>
                  <a:lnTo>
                    <a:pt x="64" y="2206"/>
                  </a:lnTo>
                  <a:lnTo>
                    <a:pt x="65" y="2189"/>
                  </a:lnTo>
                  <a:lnTo>
                    <a:pt x="66" y="2170"/>
                  </a:lnTo>
                  <a:lnTo>
                    <a:pt x="65" y="2158"/>
                  </a:lnTo>
                  <a:lnTo>
                    <a:pt x="64" y="2146"/>
                  </a:lnTo>
                  <a:lnTo>
                    <a:pt x="62" y="2136"/>
                  </a:lnTo>
                  <a:lnTo>
                    <a:pt x="60" y="2126"/>
                  </a:lnTo>
                  <a:lnTo>
                    <a:pt x="58" y="2115"/>
                  </a:lnTo>
                  <a:lnTo>
                    <a:pt x="56" y="2105"/>
                  </a:lnTo>
                  <a:lnTo>
                    <a:pt x="55" y="2094"/>
                  </a:lnTo>
                  <a:lnTo>
                    <a:pt x="54" y="2081"/>
                  </a:lnTo>
                  <a:lnTo>
                    <a:pt x="55" y="2064"/>
                  </a:lnTo>
                  <a:lnTo>
                    <a:pt x="58" y="2047"/>
                  </a:lnTo>
                  <a:lnTo>
                    <a:pt x="62" y="2032"/>
                  </a:lnTo>
                  <a:lnTo>
                    <a:pt x="67" y="2017"/>
                  </a:lnTo>
                  <a:lnTo>
                    <a:pt x="71" y="2003"/>
                  </a:lnTo>
                  <a:lnTo>
                    <a:pt x="76" y="1987"/>
                  </a:lnTo>
                  <a:lnTo>
                    <a:pt x="79" y="1972"/>
                  </a:lnTo>
                  <a:lnTo>
                    <a:pt x="80" y="1953"/>
                  </a:lnTo>
                  <a:lnTo>
                    <a:pt x="80" y="1671"/>
                  </a:lnTo>
                  <a:lnTo>
                    <a:pt x="81" y="1662"/>
                  </a:lnTo>
                  <a:lnTo>
                    <a:pt x="82" y="1653"/>
                  </a:lnTo>
                  <a:lnTo>
                    <a:pt x="83" y="1644"/>
                  </a:lnTo>
                  <a:lnTo>
                    <a:pt x="85" y="1636"/>
                  </a:lnTo>
                  <a:lnTo>
                    <a:pt x="90" y="1621"/>
                  </a:lnTo>
                  <a:lnTo>
                    <a:pt x="95" y="1605"/>
                  </a:lnTo>
                  <a:lnTo>
                    <a:pt x="101" y="1591"/>
                  </a:lnTo>
                  <a:lnTo>
                    <a:pt x="106" y="1575"/>
                  </a:lnTo>
                  <a:lnTo>
                    <a:pt x="108" y="1567"/>
                  </a:lnTo>
                  <a:lnTo>
                    <a:pt x="110" y="1559"/>
                  </a:lnTo>
                  <a:lnTo>
                    <a:pt x="111" y="1549"/>
                  </a:lnTo>
                  <a:lnTo>
                    <a:pt x="111" y="1540"/>
                  </a:lnTo>
                  <a:lnTo>
                    <a:pt x="111" y="1492"/>
                  </a:lnTo>
                  <a:lnTo>
                    <a:pt x="111" y="1478"/>
                  </a:lnTo>
                  <a:lnTo>
                    <a:pt x="110" y="1465"/>
                  </a:lnTo>
                  <a:lnTo>
                    <a:pt x="108" y="1452"/>
                  </a:lnTo>
                  <a:lnTo>
                    <a:pt x="106" y="1441"/>
                  </a:lnTo>
                  <a:lnTo>
                    <a:pt x="101" y="1417"/>
                  </a:lnTo>
                  <a:lnTo>
                    <a:pt x="96" y="1390"/>
                  </a:lnTo>
                  <a:lnTo>
                    <a:pt x="94" y="1382"/>
                  </a:lnTo>
                  <a:lnTo>
                    <a:pt x="91" y="1374"/>
                  </a:lnTo>
                  <a:lnTo>
                    <a:pt x="87" y="1367"/>
                  </a:lnTo>
                  <a:lnTo>
                    <a:pt x="82" y="1360"/>
                  </a:lnTo>
                  <a:lnTo>
                    <a:pt x="78" y="1353"/>
                  </a:lnTo>
                  <a:lnTo>
                    <a:pt x="74" y="1346"/>
                  </a:lnTo>
                  <a:lnTo>
                    <a:pt x="71" y="1339"/>
                  </a:lnTo>
                  <a:lnTo>
                    <a:pt x="70" y="1329"/>
                  </a:lnTo>
                  <a:lnTo>
                    <a:pt x="70" y="1324"/>
                  </a:lnTo>
                  <a:lnTo>
                    <a:pt x="71" y="1319"/>
                  </a:lnTo>
                  <a:lnTo>
                    <a:pt x="74" y="1314"/>
                  </a:lnTo>
                  <a:lnTo>
                    <a:pt x="76" y="1310"/>
                  </a:lnTo>
                  <a:lnTo>
                    <a:pt x="81" y="1303"/>
                  </a:lnTo>
                  <a:lnTo>
                    <a:pt x="88" y="1296"/>
                  </a:lnTo>
                  <a:lnTo>
                    <a:pt x="103" y="1283"/>
                  </a:lnTo>
                  <a:lnTo>
                    <a:pt x="120" y="1268"/>
                  </a:lnTo>
                  <a:lnTo>
                    <a:pt x="129" y="1257"/>
                  </a:lnTo>
                  <a:lnTo>
                    <a:pt x="137" y="1246"/>
                  </a:lnTo>
                  <a:lnTo>
                    <a:pt x="144" y="1234"/>
                  </a:lnTo>
                  <a:lnTo>
                    <a:pt x="149" y="1223"/>
                  </a:lnTo>
                  <a:lnTo>
                    <a:pt x="153" y="1211"/>
                  </a:lnTo>
                  <a:lnTo>
                    <a:pt x="156" y="1198"/>
                  </a:lnTo>
                  <a:lnTo>
                    <a:pt x="157" y="1184"/>
                  </a:lnTo>
                  <a:lnTo>
                    <a:pt x="158" y="1169"/>
                  </a:lnTo>
                  <a:lnTo>
                    <a:pt x="158" y="1109"/>
                  </a:lnTo>
                  <a:lnTo>
                    <a:pt x="157" y="1078"/>
                  </a:lnTo>
                  <a:lnTo>
                    <a:pt x="155" y="1051"/>
                  </a:lnTo>
                  <a:lnTo>
                    <a:pt x="152" y="1025"/>
                  </a:lnTo>
                  <a:lnTo>
                    <a:pt x="148" y="1000"/>
                  </a:lnTo>
                  <a:lnTo>
                    <a:pt x="142" y="974"/>
                  </a:lnTo>
                  <a:lnTo>
                    <a:pt x="133" y="949"/>
                  </a:lnTo>
                  <a:lnTo>
                    <a:pt x="124" y="924"/>
                  </a:lnTo>
                  <a:lnTo>
                    <a:pt x="113" y="895"/>
                  </a:lnTo>
                  <a:lnTo>
                    <a:pt x="108" y="883"/>
                  </a:lnTo>
                  <a:lnTo>
                    <a:pt x="101" y="874"/>
                  </a:lnTo>
                  <a:lnTo>
                    <a:pt x="94" y="865"/>
                  </a:lnTo>
                  <a:lnTo>
                    <a:pt x="87" y="856"/>
                  </a:lnTo>
                  <a:lnTo>
                    <a:pt x="81" y="847"/>
                  </a:lnTo>
                  <a:lnTo>
                    <a:pt x="76" y="838"/>
                  </a:lnTo>
                  <a:lnTo>
                    <a:pt x="74" y="833"/>
                  </a:lnTo>
                  <a:lnTo>
                    <a:pt x="71" y="828"/>
                  </a:lnTo>
                  <a:lnTo>
                    <a:pt x="70" y="821"/>
                  </a:lnTo>
                  <a:lnTo>
                    <a:pt x="70" y="815"/>
                  </a:lnTo>
                  <a:lnTo>
                    <a:pt x="70" y="803"/>
                  </a:lnTo>
                  <a:lnTo>
                    <a:pt x="71" y="790"/>
                  </a:lnTo>
                  <a:lnTo>
                    <a:pt x="74" y="779"/>
                  </a:lnTo>
                  <a:lnTo>
                    <a:pt x="75" y="768"/>
                  </a:lnTo>
                  <a:lnTo>
                    <a:pt x="80" y="746"/>
                  </a:lnTo>
                  <a:lnTo>
                    <a:pt x="87" y="726"/>
                  </a:lnTo>
                  <a:lnTo>
                    <a:pt x="94" y="707"/>
                  </a:lnTo>
                  <a:lnTo>
                    <a:pt x="103" y="688"/>
                  </a:lnTo>
                  <a:lnTo>
                    <a:pt x="114" y="670"/>
                  </a:lnTo>
                  <a:lnTo>
                    <a:pt x="124" y="652"/>
                  </a:lnTo>
                  <a:lnTo>
                    <a:pt x="145" y="616"/>
                  </a:lnTo>
                  <a:lnTo>
                    <a:pt x="164" y="578"/>
                  </a:lnTo>
                  <a:lnTo>
                    <a:pt x="173" y="558"/>
                  </a:lnTo>
                  <a:lnTo>
                    <a:pt x="180" y="536"/>
                  </a:lnTo>
                  <a:lnTo>
                    <a:pt x="186" y="514"/>
                  </a:lnTo>
                  <a:lnTo>
                    <a:pt x="191" y="489"/>
                  </a:lnTo>
                  <a:lnTo>
                    <a:pt x="207" y="482"/>
                  </a:lnTo>
                  <a:lnTo>
                    <a:pt x="221" y="473"/>
                  </a:lnTo>
                  <a:lnTo>
                    <a:pt x="234" y="465"/>
                  </a:lnTo>
                  <a:lnTo>
                    <a:pt x="247" y="456"/>
                  </a:lnTo>
                  <a:lnTo>
                    <a:pt x="271" y="437"/>
                  </a:lnTo>
                  <a:lnTo>
                    <a:pt x="292" y="418"/>
                  </a:lnTo>
                  <a:lnTo>
                    <a:pt x="304" y="408"/>
                  </a:lnTo>
                  <a:lnTo>
                    <a:pt x="315" y="400"/>
                  </a:lnTo>
                  <a:lnTo>
                    <a:pt x="326" y="392"/>
                  </a:lnTo>
                  <a:lnTo>
                    <a:pt x="339" y="385"/>
                  </a:lnTo>
                  <a:lnTo>
                    <a:pt x="352" y="377"/>
                  </a:lnTo>
                  <a:lnTo>
                    <a:pt x="366" y="372"/>
                  </a:lnTo>
                  <a:lnTo>
                    <a:pt x="382" y="367"/>
                  </a:lnTo>
                  <a:lnTo>
                    <a:pt x="398" y="364"/>
                  </a:lnTo>
                  <a:lnTo>
                    <a:pt x="413" y="362"/>
                  </a:lnTo>
                  <a:lnTo>
                    <a:pt x="428" y="359"/>
                  </a:lnTo>
                  <a:lnTo>
                    <a:pt x="442" y="355"/>
                  </a:lnTo>
                  <a:lnTo>
                    <a:pt x="455" y="350"/>
                  </a:lnTo>
                  <a:lnTo>
                    <a:pt x="467" y="346"/>
                  </a:lnTo>
                  <a:lnTo>
                    <a:pt x="480" y="341"/>
                  </a:lnTo>
                  <a:lnTo>
                    <a:pt x="492" y="335"/>
                  </a:lnTo>
                  <a:lnTo>
                    <a:pt x="504" y="329"/>
                  </a:lnTo>
                  <a:lnTo>
                    <a:pt x="514" y="322"/>
                  </a:lnTo>
                  <a:lnTo>
                    <a:pt x="525" y="314"/>
                  </a:lnTo>
                  <a:lnTo>
                    <a:pt x="535" y="305"/>
                  </a:lnTo>
                  <a:lnTo>
                    <a:pt x="545" y="296"/>
                  </a:lnTo>
                  <a:lnTo>
                    <a:pt x="554" y="286"/>
                  </a:lnTo>
                  <a:lnTo>
                    <a:pt x="562" y="275"/>
                  </a:lnTo>
                  <a:lnTo>
                    <a:pt x="572" y="264"/>
                  </a:lnTo>
                  <a:lnTo>
                    <a:pt x="580" y="250"/>
                  </a:lnTo>
                  <a:lnTo>
                    <a:pt x="586" y="239"/>
                  </a:lnTo>
                  <a:lnTo>
                    <a:pt x="592" y="229"/>
                  </a:lnTo>
                  <a:lnTo>
                    <a:pt x="596" y="217"/>
                  </a:lnTo>
                  <a:lnTo>
                    <a:pt x="602" y="207"/>
                  </a:lnTo>
                  <a:lnTo>
                    <a:pt x="609" y="185"/>
                  </a:lnTo>
                  <a:lnTo>
                    <a:pt x="616" y="165"/>
                  </a:lnTo>
                  <a:lnTo>
                    <a:pt x="623" y="145"/>
                  </a:lnTo>
                  <a:lnTo>
                    <a:pt x="632" y="125"/>
                  </a:lnTo>
                  <a:lnTo>
                    <a:pt x="639" y="116"/>
                  </a:lnTo>
                  <a:lnTo>
                    <a:pt x="646" y="107"/>
                  </a:lnTo>
                  <a:lnTo>
                    <a:pt x="653" y="97"/>
                  </a:lnTo>
                  <a:lnTo>
                    <a:pt x="662" y="88"/>
                  </a:lnTo>
                  <a:lnTo>
                    <a:pt x="669" y="83"/>
                  </a:lnTo>
                  <a:lnTo>
                    <a:pt x="675" y="79"/>
                  </a:lnTo>
                  <a:lnTo>
                    <a:pt x="682" y="76"/>
                  </a:lnTo>
                  <a:lnTo>
                    <a:pt x="688" y="74"/>
                  </a:lnTo>
                  <a:lnTo>
                    <a:pt x="703" y="73"/>
                  </a:lnTo>
                  <a:lnTo>
                    <a:pt x="717" y="74"/>
                  </a:lnTo>
                  <a:lnTo>
                    <a:pt x="731" y="75"/>
                  </a:lnTo>
                  <a:lnTo>
                    <a:pt x="747" y="75"/>
                  </a:lnTo>
                  <a:lnTo>
                    <a:pt x="754" y="75"/>
                  </a:lnTo>
                  <a:lnTo>
                    <a:pt x="762" y="74"/>
                  </a:lnTo>
                  <a:lnTo>
                    <a:pt x="770" y="72"/>
                  </a:lnTo>
                  <a:lnTo>
                    <a:pt x="778" y="69"/>
                  </a:lnTo>
                  <a:lnTo>
                    <a:pt x="786" y="65"/>
                  </a:lnTo>
                  <a:lnTo>
                    <a:pt x="792" y="60"/>
                  </a:lnTo>
                  <a:lnTo>
                    <a:pt x="800" y="55"/>
                  </a:lnTo>
                  <a:lnTo>
                    <a:pt x="806" y="50"/>
                  </a:lnTo>
                  <a:lnTo>
                    <a:pt x="816" y="39"/>
                  </a:lnTo>
                  <a:lnTo>
                    <a:pt x="827" y="27"/>
                  </a:lnTo>
                  <a:lnTo>
                    <a:pt x="838" y="17"/>
                  </a:lnTo>
                  <a:lnTo>
                    <a:pt x="849" y="9"/>
                  </a:lnTo>
                  <a:lnTo>
                    <a:pt x="856" y="6"/>
                  </a:lnTo>
                  <a:lnTo>
                    <a:pt x="862" y="2"/>
                  </a:lnTo>
                  <a:lnTo>
                    <a:pt x="871" y="1"/>
                  </a:lnTo>
                  <a:lnTo>
                    <a:pt x="879" y="0"/>
                  </a:lnTo>
                  <a:lnTo>
                    <a:pt x="893" y="1"/>
                  </a:lnTo>
                  <a:lnTo>
                    <a:pt x="907" y="5"/>
                  </a:lnTo>
                  <a:lnTo>
                    <a:pt x="919" y="9"/>
                  </a:lnTo>
                  <a:lnTo>
                    <a:pt x="931" y="14"/>
                  </a:lnTo>
                  <a:lnTo>
                    <a:pt x="954" y="25"/>
                  </a:lnTo>
                  <a:lnTo>
                    <a:pt x="981" y="35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>
                  <a:latin typeface="Calibri" panose="020F0502020204030204" pitchFamily="34" charset="0"/>
                </a:rPr>
                <a:t>Khmelnytsky</a:t>
              </a:r>
              <a:endParaRPr lang="ru-RU" altLang="ru-RU" sz="675">
                <a:latin typeface="Calibri" panose="020F0502020204030204" pitchFamily="34" charset="0"/>
              </a:endParaRPr>
            </a:p>
          </p:txBody>
        </p:sp>
        <p:sp>
          <p:nvSpPr>
            <p:cNvPr id="31" name="Zhytomyr"/>
            <p:cNvSpPr>
              <a:spLocks/>
            </p:cNvSpPr>
            <p:nvPr/>
          </p:nvSpPr>
          <p:spPr bwMode="auto">
            <a:xfrm>
              <a:off x="1876" y="1336"/>
              <a:ext cx="620" cy="801"/>
            </a:xfrm>
            <a:custGeom>
              <a:avLst/>
              <a:gdLst>
                <a:gd name="T0" fmla="*/ 331 w 2072"/>
                <a:gd name="T1" fmla="*/ 245 h 2740"/>
                <a:gd name="T2" fmla="*/ 331 w 2072"/>
                <a:gd name="T3" fmla="*/ 245 h 2740"/>
                <a:gd name="T4" fmla="*/ 331 w 2072"/>
                <a:gd name="T5" fmla="*/ 245 h 2740"/>
                <a:gd name="T6" fmla="*/ 331 w 2072"/>
                <a:gd name="T7" fmla="*/ 245 h 2740"/>
                <a:gd name="T8" fmla="*/ 331 w 2072"/>
                <a:gd name="T9" fmla="*/ 245 h 2740"/>
                <a:gd name="T10" fmla="*/ 331 w 2072"/>
                <a:gd name="T11" fmla="*/ 245 h 2740"/>
                <a:gd name="T12" fmla="*/ 331 w 2072"/>
                <a:gd name="T13" fmla="*/ 245 h 2740"/>
                <a:gd name="T14" fmla="*/ 331 w 2072"/>
                <a:gd name="T15" fmla="*/ 245 h 2740"/>
                <a:gd name="T16" fmla="*/ 331 w 2072"/>
                <a:gd name="T17" fmla="*/ 245 h 2740"/>
                <a:gd name="T18" fmla="*/ 331 w 2072"/>
                <a:gd name="T19" fmla="*/ 245 h 2740"/>
                <a:gd name="T20" fmla="*/ 331 w 2072"/>
                <a:gd name="T21" fmla="*/ 245 h 2740"/>
                <a:gd name="T22" fmla="*/ 331 w 2072"/>
                <a:gd name="T23" fmla="*/ 245 h 2740"/>
                <a:gd name="T24" fmla="*/ 331 w 2072"/>
                <a:gd name="T25" fmla="*/ 245 h 2740"/>
                <a:gd name="T26" fmla="*/ 331 w 2072"/>
                <a:gd name="T27" fmla="*/ 245 h 2740"/>
                <a:gd name="T28" fmla="*/ 331 w 2072"/>
                <a:gd name="T29" fmla="*/ 245 h 2740"/>
                <a:gd name="T30" fmla="*/ 331 w 2072"/>
                <a:gd name="T31" fmla="*/ 245 h 2740"/>
                <a:gd name="T32" fmla="*/ 331 w 2072"/>
                <a:gd name="T33" fmla="*/ 245 h 2740"/>
                <a:gd name="T34" fmla="*/ 331 w 2072"/>
                <a:gd name="T35" fmla="*/ 245 h 2740"/>
                <a:gd name="T36" fmla="*/ 331 w 2072"/>
                <a:gd name="T37" fmla="*/ 245 h 2740"/>
                <a:gd name="T38" fmla="*/ 331 w 2072"/>
                <a:gd name="T39" fmla="*/ 245 h 2740"/>
                <a:gd name="T40" fmla="*/ 331 w 2072"/>
                <a:gd name="T41" fmla="*/ 245 h 2740"/>
                <a:gd name="T42" fmla="*/ 331 w 2072"/>
                <a:gd name="T43" fmla="*/ 245 h 2740"/>
                <a:gd name="T44" fmla="*/ 331 w 2072"/>
                <a:gd name="T45" fmla="*/ 245 h 2740"/>
                <a:gd name="T46" fmla="*/ 331 w 2072"/>
                <a:gd name="T47" fmla="*/ 245 h 2740"/>
                <a:gd name="T48" fmla="*/ 331 w 2072"/>
                <a:gd name="T49" fmla="*/ 245 h 2740"/>
                <a:gd name="T50" fmla="*/ 331 w 2072"/>
                <a:gd name="T51" fmla="*/ 245 h 2740"/>
                <a:gd name="T52" fmla="*/ 331 w 2072"/>
                <a:gd name="T53" fmla="*/ 245 h 2740"/>
                <a:gd name="T54" fmla="*/ 331 w 2072"/>
                <a:gd name="T55" fmla="*/ 245 h 2740"/>
                <a:gd name="T56" fmla="*/ 331 w 2072"/>
                <a:gd name="T57" fmla="*/ 245 h 2740"/>
                <a:gd name="T58" fmla="*/ 331 w 2072"/>
                <a:gd name="T59" fmla="*/ 245 h 2740"/>
                <a:gd name="T60" fmla="*/ 331 w 2072"/>
                <a:gd name="T61" fmla="*/ 245 h 2740"/>
                <a:gd name="T62" fmla="*/ 331 w 2072"/>
                <a:gd name="T63" fmla="*/ 245 h 2740"/>
                <a:gd name="T64" fmla="*/ 331 w 2072"/>
                <a:gd name="T65" fmla="*/ 245 h 2740"/>
                <a:gd name="T66" fmla="*/ 331 w 2072"/>
                <a:gd name="T67" fmla="*/ 245 h 2740"/>
                <a:gd name="T68" fmla="*/ 331 w 2072"/>
                <a:gd name="T69" fmla="*/ 245 h 2740"/>
                <a:gd name="T70" fmla="*/ 331 w 2072"/>
                <a:gd name="T71" fmla="*/ 245 h 2740"/>
                <a:gd name="T72" fmla="*/ 331 w 2072"/>
                <a:gd name="T73" fmla="*/ 245 h 2740"/>
                <a:gd name="T74" fmla="*/ 331 w 2072"/>
                <a:gd name="T75" fmla="*/ 245 h 2740"/>
                <a:gd name="T76" fmla="*/ 331 w 2072"/>
                <a:gd name="T77" fmla="*/ 245 h 2740"/>
                <a:gd name="T78" fmla="*/ 331 w 2072"/>
                <a:gd name="T79" fmla="*/ 245 h 2740"/>
                <a:gd name="T80" fmla="*/ 331 w 2072"/>
                <a:gd name="T81" fmla="*/ 245 h 2740"/>
                <a:gd name="T82" fmla="*/ 331 w 2072"/>
                <a:gd name="T83" fmla="*/ 245 h 2740"/>
                <a:gd name="T84" fmla="*/ 331 w 2072"/>
                <a:gd name="T85" fmla="*/ 245 h 2740"/>
                <a:gd name="T86" fmla="*/ 331 w 2072"/>
                <a:gd name="T87" fmla="*/ 245 h 2740"/>
                <a:gd name="T88" fmla="*/ 331 w 2072"/>
                <a:gd name="T89" fmla="*/ 245 h 2740"/>
                <a:gd name="T90" fmla="*/ 331 w 2072"/>
                <a:gd name="T91" fmla="*/ 245 h 2740"/>
                <a:gd name="T92" fmla="*/ 331 w 2072"/>
                <a:gd name="T93" fmla="*/ 245 h 2740"/>
                <a:gd name="T94" fmla="*/ 331 w 2072"/>
                <a:gd name="T95" fmla="*/ 245 h 2740"/>
                <a:gd name="T96" fmla="*/ 331 w 2072"/>
                <a:gd name="T97" fmla="*/ 245 h 2740"/>
                <a:gd name="T98" fmla="*/ 331 w 2072"/>
                <a:gd name="T99" fmla="*/ 245 h 2740"/>
                <a:gd name="T100" fmla="*/ 331 w 2072"/>
                <a:gd name="T101" fmla="*/ 245 h 2740"/>
                <a:gd name="T102" fmla="*/ 331 w 2072"/>
                <a:gd name="T103" fmla="*/ 245 h 2740"/>
                <a:gd name="T104" fmla="*/ 331 w 2072"/>
                <a:gd name="T105" fmla="*/ 245 h 2740"/>
                <a:gd name="T106" fmla="*/ 331 w 2072"/>
                <a:gd name="T107" fmla="*/ 245 h 2740"/>
                <a:gd name="T108" fmla="*/ 331 w 2072"/>
                <a:gd name="T109" fmla="*/ 245 h 2740"/>
                <a:gd name="T110" fmla="*/ 331 w 2072"/>
                <a:gd name="T111" fmla="*/ 245 h 2740"/>
                <a:gd name="T112" fmla="*/ 331 w 2072"/>
                <a:gd name="T113" fmla="*/ 245 h 2740"/>
                <a:gd name="T114" fmla="*/ 331 w 2072"/>
                <a:gd name="T115" fmla="*/ 245 h 2740"/>
                <a:gd name="T116" fmla="*/ 331 w 2072"/>
                <a:gd name="T117" fmla="*/ 245 h 2740"/>
                <a:gd name="T118" fmla="*/ 331 w 2072"/>
                <a:gd name="T119" fmla="*/ 245 h 2740"/>
                <a:gd name="T120" fmla="*/ 331 w 2072"/>
                <a:gd name="T121" fmla="*/ 245 h 274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072"/>
                <a:gd name="T184" fmla="*/ 0 h 2740"/>
                <a:gd name="T185" fmla="*/ 2072 w 2072"/>
                <a:gd name="T186" fmla="*/ 2740 h 274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072" h="2740">
                  <a:moveTo>
                    <a:pt x="441" y="169"/>
                  </a:moveTo>
                  <a:lnTo>
                    <a:pt x="452" y="171"/>
                  </a:lnTo>
                  <a:lnTo>
                    <a:pt x="462" y="175"/>
                  </a:lnTo>
                  <a:lnTo>
                    <a:pt x="470" y="179"/>
                  </a:lnTo>
                  <a:lnTo>
                    <a:pt x="479" y="184"/>
                  </a:lnTo>
                  <a:lnTo>
                    <a:pt x="487" y="190"/>
                  </a:lnTo>
                  <a:lnTo>
                    <a:pt x="496" y="194"/>
                  </a:lnTo>
                  <a:lnTo>
                    <a:pt x="500" y="196"/>
                  </a:lnTo>
                  <a:lnTo>
                    <a:pt x="505" y="197"/>
                  </a:lnTo>
                  <a:lnTo>
                    <a:pt x="511" y="198"/>
                  </a:lnTo>
                  <a:lnTo>
                    <a:pt x="517" y="198"/>
                  </a:lnTo>
                  <a:lnTo>
                    <a:pt x="529" y="198"/>
                  </a:lnTo>
                  <a:lnTo>
                    <a:pt x="539" y="198"/>
                  </a:lnTo>
                  <a:lnTo>
                    <a:pt x="551" y="197"/>
                  </a:lnTo>
                  <a:lnTo>
                    <a:pt x="563" y="197"/>
                  </a:lnTo>
                  <a:lnTo>
                    <a:pt x="565" y="180"/>
                  </a:lnTo>
                  <a:lnTo>
                    <a:pt x="567" y="166"/>
                  </a:lnTo>
                  <a:lnTo>
                    <a:pt x="571" y="151"/>
                  </a:lnTo>
                  <a:lnTo>
                    <a:pt x="574" y="138"/>
                  </a:lnTo>
                  <a:lnTo>
                    <a:pt x="579" y="125"/>
                  </a:lnTo>
                  <a:lnTo>
                    <a:pt x="582" y="111"/>
                  </a:lnTo>
                  <a:lnTo>
                    <a:pt x="584" y="96"/>
                  </a:lnTo>
                  <a:lnTo>
                    <a:pt x="584" y="79"/>
                  </a:lnTo>
                  <a:lnTo>
                    <a:pt x="584" y="27"/>
                  </a:lnTo>
                  <a:lnTo>
                    <a:pt x="604" y="33"/>
                  </a:lnTo>
                  <a:lnTo>
                    <a:pt x="623" y="37"/>
                  </a:lnTo>
                  <a:lnTo>
                    <a:pt x="640" y="42"/>
                  </a:lnTo>
                  <a:lnTo>
                    <a:pt x="657" y="47"/>
                  </a:lnTo>
                  <a:lnTo>
                    <a:pt x="665" y="50"/>
                  </a:lnTo>
                  <a:lnTo>
                    <a:pt x="672" y="54"/>
                  </a:lnTo>
                  <a:lnTo>
                    <a:pt x="680" y="58"/>
                  </a:lnTo>
                  <a:lnTo>
                    <a:pt x="687" y="64"/>
                  </a:lnTo>
                  <a:lnTo>
                    <a:pt x="693" y="69"/>
                  </a:lnTo>
                  <a:lnTo>
                    <a:pt x="700" y="76"/>
                  </a:lnTo>
                  <a:lnTo>
                    <a:pt x="705" y="83"/>
                  </a:lnTo>
                  <a:lnTo>
                    <a:pt x="712" y="92"/>
                  </a:lnTo>
                  <a:lnTo>
                    <a:pt x="720" y="109"/>
                  </a:lnTo>
                  <a:lnTo>
                    <a:pt x="726" y="127"/>
                  </a:lnTo>
                  <a:lnTo>
                    <a:pt x="729" y="135"/>
                  </a:lnTo>
                  <a:lnTo>
                    <a:pt x="734" y="140"/>
                  </a:lnTo>
                  <a:lnTo>
                    <a:pt x="737" y="143"/>
                  </a:lnTo>
                  <a:lnTo>
                    <a:pt x="740" y="144"/>
                  </a:lnTo>
                  <a:lnTo>
                    <a:pt x="745" y="145"/>
                  </a:lnTo>
                  <a:lnTo>
                    <a:pt x="749" y="146"/>
                  </a:lnTo>
                  <a:lnTo>
                    <a:pt x="754" y="145"/>
                  </a:lnTo>
                  <a:lnTo>
                    <a:pt x="757" y="144"/>
                  </a:lnTo>
                  <a:lnTo>
                    <a:pt x="760" y="143"/>
                  </a:lnTo>
                  <a:lnTo>
                    <a:pt x="763" y="141"/>
                  </a:lnTo>
                  <a:lnTo>
                    <a:pt x="768" y="135"/>
                  </a:lnTo>
                  <a:lnTo>
                    <a:pt x="772" y="129"/>
                  </a:lnTo>
                  <a:lnTo>
                    <a:pt x="776" y="121"/>
                  </a:lnTo>
                  <a:lnTo>
                    <a:pt x="780" y="113"/>
                  </a:lnTo>
                  <a:lnTo>
                    <a:pt x="784" y="106"/>
                  </a:lnTo>
                  <a:lnTo>
                    <a:pt x="789" y="99"/>
                  </a:lnTo>
                  <a:lnTo>
                    <a:pt x="823" y="63"/>
                  </a:lnTo>
                  <a:lnTo>
                    <a:pt x="854" y="31"/>
                  </a:lnTo>
                  <a:lnTo>
                    <a:pt x="862" y="24"/>
                  </a:lnTo>
                  <a:lnTo>
                    <a:pt x="870" y="18"/>
                  </a:lnTo>
                  <a:lnTo>
                    <a:pt x="880" y="13"/>
                  </a:lnTo>
                  <a:lnTo>
                    <a:pt x="889" y="8"/>
                  </a:lnTo>
                  <a:lnTo>
                    <a:pt x="899" y="5"/>
                  </a:lnTo>
                  <a:lnTo>
                    <a:pt x="910" y="2"/>
                  </a:lnTo>
                  <a:lnTo>
                    <a:pt x="921" y="0"/>
                  </a:lnTo>
                  <a:lnTo>
                    <a:pt x="933" y="0"/>
                  </a:lnTo>
                  <a:lnTo>
                    <a:pt x="947" y="1"/>
                  </a:lnTo>
                  <a:lnTo>
                    <a:pt x="959" y="2"/>
                  </a:lnTo>
                  <a:lnTo>
                    <a:pt x="960" y="12"/>
                  </a:lnTo>
                  <a:lnTo>
                    <a:pt x="961" y="21"/>
                  </a:lnTo>
                  <a:lnTo>
                    <a:pt x="960" y="33"/>
                  </a:lnTo>
                  <a:lnTo>
                    <a:pt x="958" y="43"/>
                  </a:lnTo>
                  <a:lnTo>
                    <a:pt x="955" y="53"/>
                  </a:lnTo>
                  <a:lnTo>
                    <a:pt x="954" y="65"/>
                  </a:lnTo>
                  <a:lnTo>
                    <a:pt x="955" y="73"/>
                  </a:lnTo>
                  <a:lnTo>
                    <a:pt x="957" y="81"/>
                  </a:lnTo>
                  <a:lnTo>
                    <a:pt x="960" y="88"/>
                  </a:lnTo>
                  <a:lnTo>
                    <a:pt x="964" y="95"/>
                  </a:lnTo>
                  <a:lnTo>
                    <a:pt x="969" y="101"/>
                  </a:lnTo>
                  <a:lnTo>
                    <a:pt x="976" y="107"/>
                  </a:lnTo>
                  <a:lnTo>
                    <a:pt x="982" y="112"/>
                  </a:lnTo>
                  <a:lnTo>
                    <a:pt x="990" y="117"/>
                  </a:lnTo>
                  <a:lnTo>
                    <a:pt x="993" y="120"/>
                  </a:lnTo>
                  <a:lnTo>
                    <a:pt x="996" y="125"/>
                  </a:lnTo>
                  <a:lnTo>
                    <a:pt x="998" y="129"/>
                  </a:lnTo>
                  <a:lnTo>
                    <a:pt x="1000" y="133"/>
                  </a:lnTo>
                  <a:lnTo>
                    <a:pt x="1002" y="137"/>
                  </a:lnTo>
                  <a:lnTo>
                    <a:pt x="1006" y="140"/>
                  </a:lnTo>
                  <a:lnTo>
                    <a:pt x="1009" y="142"/>
                  </a:lnTo>
                  <a:lnTo>
                    <a:pt x="1014" y="143"/>
                  </a:lnTo>
                  <a:lnTo>
                    <a:pt x="1023" y="143"/>
                  </a:lnTo>
                  <a:lnTo>
                    <a:pt x="1032" y="141"/>
                  </a:lnTo>
                  <a:lnTo>
                    <a:pt x="1041" y="138"/>
                  </a:lnTo>
                  <a:lnTo>
                    <a:pt x="1049" y="134"/>
                  </a:lnTo>
                  <a:lnTo>
                    <a:pt x="1064" y="125"/>
                  </a:lnTo>
                  <a:lnTo>
                    <a:pt x="1078" y="114"/>
                  </a:lnTo>
                  <a:lnTo>
                    <a:pt x="1092" y="103"/>
                  </a:lnTo>
                  <a:lnTo>
                    <a:pt x="1108" y="94"/>
                  </a:lnTo>
                  <a:lnTo>
                    <a:pt x="1115" y="89"/>
                  </a:lnTo>
                  <a:lnTo>
                    <a:pt x="1124" y="87"/>
                  </a:lnTo>
                  <a:lnTo>
                    <a:pt x="1133" y="85"/>
                  </a:lnTo>
                  <a:lnTo>
                    <a:pt x="1143" y="84"/>
                  </a:lnTo>
                  <a:lnTo>
                    <a:pt x="1150" y="84"/>
                  </a:lnTo>
                  <a:lnTo>
                    <a:pt x="1156" y="86"/>
                  </a:lnTo>
                  <a:lnTo>
                    <a:pt x="1161" y="87"/>
                  </a:lnTo>
                  <a:lnTo>
                    <a:pt x="1167" y="89"/>
                  </a:lnTo>
                  <a:lnTo>
                    <a:pt x="1172" y="93"/>
                  </a:lnTo>
                  <a:lnTo>
                    <a:pt x="1177" y="97"/>
                  </a:lnTo>
                  <a:lnTo>
                    <a:pt x="1181" y="100"/>
                  </a:lnTo>
                  <a:lnTo>
                    <a:pt x="1185" y="105"/>
                  </a:lnTo>
                  <a:lnTo>
                    <a:pt x="1192" y="114"/>
                  </a:lnTo>
                  <a:lnTo>
                    <a:pt x="1198" y="126"/>
                  </a:lnTo>
                  <a:lnTo>
                    <a:pt x="1205" y="138"/>
                  </a:lnTo>
                  <a:lnTo>
                    <a:pt x="1209" y="150"/>
                  </a:lnTo>
                  <a:lnTo>
                    <a:pt x="1225" y="198"/>
                  </a:lnTo>
                  <a:lnTo>
                    <a:pt x="1242" y="240"/>
                  </a:lnTo>
                  <a:lnTo>
                    <a:pt x="1247" y="249"/>
                  </a:lnTo>
                  <a:lnTo>
                    <a:pt x="1252" y="259"/>
                  </a:lnTo>
                  <a:lnTo>
                    <a:pt x="1258" y="268"/>
                  </a:lnTo>
                  <a:lnTo>
                    <a:pt x="1265" y="276"/>
                  </a:lnTo>
                  <a:lnTo>
                    <a:pt x="1274" y="284"/>
                  </a:lnTo>
                  <a:lnTo>
                    <a:pt x="1282" y="291"/>
                  </a:lnTo>
                  <a:lnTo>
                    <a:pt x="1292" y="298"/>
                  </a:lnTo>
                  <a:lnTo>
                    <a:pt x="1304" y="304"/>
                  </a:lnTo>
                  <a:lnTo>
                    <a:pt x="1313" y="301"/>
                  </a:lnTo>
                  <a:lnTo>
                    <a:pt x="1320" y="275"/>
                  </a:lnTo>
                  <a:lnTo>
                    <a:pt x="1327" y="251"/>
                  </a:lnTo>
                  <a:lnTo>
                    <a:pt x="1332" y="239"/>
                  </a:lnTo>
                  <a:lnTo>
                    <a:pt x="1338" y="228"/>
                  </a:lnTo>
                  <a:lnTo>
                    <a:pt x="1343" y="216"/>
                  </a:lnTo>
                  <a:lnTo>
                    <a:pt x="1349" y="206"/>
                  </a:lnTo>
                  <a:lnTo>
                    <a:pt x="1355" y="197"/>
                  </a:lnTo>
                  <a:lnTo>
                    <a:pt x="1362" y="188"/>
                  </a:lnTo>
                  <a:lnTo>
                    <a:pt x="1371" y="179"/>
                  </a:lnTo>
                  <a:lnTo>
                    <a:pt x="1380" y="171"/>
                  </a:lnTo>
                  <a:lnTo>
                    <a:pt x="1389" y="164"/>
                  </a:lnTo>
                  <a:lnTo>
                    <a:pt x="1399" y="158"/>
                  </a:lnTo>
                  <a:lnTo>
                    <a:pt x="1411" y="151"/>
                  </a:lnTo>
                  <a:lnTo>
                    <a:pt x="1423" y="146"/>
                  </a:lnTo>
                  <a:lnTo>
                    <a:pt x="1452" y="137"/>
                  </a:lnTo>
                  <a:lnTo>
                    <a:pt x="1478" y="130"/>
                  </a:lnTo>
                  <a:lnTo>
                    <a:pt x="1484" y="128"/>
                  </a:lnTo>
                  <a:lnTo>
                    <a:pt x="1490" y="125"/>
                  </a:lnTo>
                  <a:lnTo>
                    <a:pt x="1495" y="121"/>
                  </a:lnTo>
                  <a:lnTo>
                    <a:pt x="1501" y="117"/>
                  </a:lnTo>
                  <a:lnTo>
                    <a:pt x="1505" y="113"/>
                  </a:lnTo>
                  <a:lnTo>
                    <a:pt x="1509" y="109"/>
                  </a:lnTo>
                  <a:lnTo>
                    <a:pt x="1513" y="103"/>
                  </a:lnTo>
                  <a:lnTo>
                    <a:pt x="1515" y="97"/>
                  </a:lnTo>
                  <a:lnTo>
                    <a:pt x="1522" y="75"/>
                  </a:lnTo>
                  <a:lnTo>
                    <a:pt x="1530" y="55"/>
                  </a:lnTo>
                  <a:lnTo>
                    <a:pt x="1532" y="51"/>
                  </a:lnTo>
                  <a:lnTo>
                    <a:pt x="1535" y="47"/>
                  </a:lnTo>
                  <a:lnTo>
                    <a:pt x="1538" y="43"/>
                  </a:lnTo>
                  <a:lnTo>
                    <a:pt x="1541" y="41"/>
                  </a:lnTo>
                  <a:lnTo>
                    <a:pt x="1545" y="38"/>
                  </a:lnTo>
                  <a:lnTo>
                    <a:pt x="1549" y="37"/>
                  </a:lnTo>
                  <a:lnTo>
                    <a:pt x="1554" y="35"/>
                  </a:lnTo>
                  <a:lnTo>
                    <a:pt x="1559" y="35"/>
                  </a:lnTo>
                  <a:lnTo>
                    <a:pt x="1570" y="36"/>
                  </a:lnTo>
                  <a:lnTo>
                    <a:pt x="1579" y="37"/>
                  </a:lnTo>
                  <a:lnTo>
                    <a:pt x="1587" y="39"/>
                  </a:lnTo>
                  <a:lnTo>
                    <a:pt x="1597" y="40"/>
                  </a:lnTo>
                  <a:lnTo>
                    <a:pt x="1611" y="39"/>
                  </a:lnTo>
                  <a:lnTo>
                    <a:pt x="1623" y="37"/>
                  </a:lnTo>
                  <a:lnTo>
                    <a:pt x="1635" y="34"/>
                  </a:lnTo>
                  <a:lnTo>
                    <a:pt x="1647" y="31"/>
                  </a:lnTo>
                  <a:lnTo>
                    <a:pt x="1651" y="43"/>
                  </a:lnTo>
                  <a:lnTo>
                    <a:pt x="1653" y="55"/>
                  </a:lnTo>
                  <a:lnTo>
                    <a:pt x="1655" y="67"/>
                  </a:lnTo>
                  <a:lnTo>
                    <a:pt x="1656" y="78"/>
                  </a:lnTo>
                  <a:lnTo>
                    <a:pt x="1657" y="88"/>
                  </a:lnTo>
                  <a:lnTo>
                    <a:pt x="1659" y="100"/>
                  </a:lnTo>
                  <a:lnTo>
                    <a:pt x="1662" y="112"/>
                  </a:lnTo>
                  <a:lnTo>
                    <a:pt x="1667" y="125"/>
                  </a:lnTo>
                  <a:lnTo>
                    <a:pt x="1672" y="135"/>
                  </a:lnTo>
                  <a:lnTo>
                    <a:pt x="1677" y="145"/>
                  </a:lnTo>
                  <a:lnTo>
                    <a:pt x="1683" y="153"/>
                  </a:lnTo>
                  <a:lnTo>
                    <a:pt x="1689" y="162"/>
                  </a:lnTo>
                  <a:lnTo>
                    <a:pt x="1695" y="170"/>
                  </a:lnTo>
                  <a:lnTo>
                    <a:pt x="1701" y="179"/>
                  </a:lnTo>
                  <a:lnTo>
                    <a:pt x="1705" y="189"/>
                  </a:lnTo>
                  <a:lnTo>
                    <a:pt x="1709" y="200"/>
                  </a:lnTo>
                  <a:lnTo>
                    <a:pt x="1711" y="210"/>
                  </a:lnTo>
                  <a:lnTo>
                    <a:pt x="1712" y="221"/>
                  </a:lnTo>
                  <a:lnTo>
                    <a:pt x="1712" y="230"/>
                  </a:lnTo>
                  <a:lnTo>
                    <a:pt x="1712" y="240"/>
                  </a:lnTo>
                  <a:lnTo>
                    <a:pt x="1712" y="249"/>
                  </a:lnTo>
                  <a:lnTo>
                    <a:pt x="1713" y="259"/>
                  </a:lnTo>
                  <a:lnTo>
                    <a:pt x="1715" y="268"/>
                  </a:lnTo>
                  <a:lnTo>
                    <a:pt x="1718" y="278"/>
                  </a:lnTo>
                  <a:lnTo>
                    <a:pt x="1722" y="285"/>
                  </a:lnTo>
                  <a:lnTo>
                    <a:pt x="1726" y="290"/>
                  </a:lnTo>
                  <a:lnTo>
                    <a:pt x="1732" y="294"/>
                  </a:lnTo>
                  <a:lnTo>
                    <a:pt x="1738" y="297"/>
                  </a:lnTo>
                  <a:lnTo>
                    <a:pt x="1750" y="303"/>
                  </a:lnTo>
                  <a:lnTo>
                    <a:pt x="1762" y="311"/>
                  </a:lnTo>
                  <a:lnTo>
                    <a:pt x="1779" y="325"/>
                  </a:lnTo>
                  <a:lnTo>
                    <a:pt x="1794" y="337"/>
                  </a:lnTo>
                  <a:lnTo>
                    <a:pt x="1803" y="342"/>
                  </a:lnTo>
                  <a:lnTo>
                    <a:pt x="1811" y="348"/>
                  </a:lnTo>
                  <a:lnTo>
                    <a:pt x="1820" y="351"/>
                  </a:lnTo>
                  <a:lnTo>
                    <a:pt x="1829" y="353"/>
                  </a:lnTo>
                  <a:lnTo>
                    <a:pt x="1825" y="378"/>
                  </a:lnTo>
                  <a:lnTo>
                    <a:pt x="1820" y="400"/>
                  </a:lnTo>
                  <a:lnTo>
                    <a:pt x="1814" y="421"/>
                  </a:lnTo>
                  <a:lnTo>
                    <a:pt x="1806" y="442"/>
                  </a:lnTo>
                  <a:lnTo>
                    <a:pt x="1799" y="461"/>
                  </a:lnTo>
                  <a:lnTo>
                    <a:pt x="1789" y="482"/>
                  </a:lnTo>
                  <a:lnTo>
                    <a:pt x="1780" y="502"/>
                  </a:lnTo>
                  <a:lnTo>
                    <a:pt x="1770" y="526"/>
                  </a:lnTo>
                  <a:lnTo>
                    <a:pt x="1765" y="536"/>
                  </a:lnTo>
                  <a:lnTo>
                    <a:pt x="1757" y="544"/>
                  </a:lnTo>
                  <a:lnTo>
                    <a:pt x="1754" y="548"/>
                  </a:lnTo>
                  <a:lnTo>
                    <a:pt x="1751" y="553"/>
                  </a:lnTo>
                  <a:lnTo>
                    <a:pt x="1749" y="558"/>
                  </a:lnTo>
                  <a:lnTo>
                    <a:pt x="1749" y="563"/>
                  </a:lnTo>
                  <a:lnTo>
                    <a:pt x="1749" y="569"/>
                  </a:lnTo>
                  <a:lnTo>
                    <a:pt x="1750" y="573"/>
                  </a:lnTo>
                  <a:lnTo>
                    <a:pt x="1752" y="577"/>
                  </a:lnTo>
                  <a:lnTo>
                    <a:pt x="1754" y="581"/>
                  </a:lnTo>
                  <a:lnTo>
                    <a:pt x="1759" y="587"/>
                  </a:lnTo>
                  <a:lnTo>
                    <a:pt x="1767" y="592"/>
                  </a:lnTo>
                  <a:lnTo>
                    <a:pt x="1784" y="602"/>
                  </a:lnTo>
                  <a:lnTo>
                    <a:pt x="1801" y="613"/>
                  </a:lnTo>
                  <a:lnTo>
                    <a:pt x="1808" y="620"/>
                  </a:lnTo>
                  <a:lnTo>
                    <a:pt x="1814" y="627"/>
                  </a:lnTo>
                  <a:lnTo>
                    <a:pt x="1818" y="635"/>
                  </a:lnTo>
                  <a:lnTo>
                    <a:pt x="1823" y="642"/>
                  </a:lnTo>
                  <a:lnTo>
                    <a:pt x="1827" y="649"/>
                  </a:lnTo>
                  <a:lnTo>
                    <a:pt x="1833" y="656"/>
                  </a:lnTo>
                  <a:lnTo>
                    <a:pt x="1839" y="663"/>
                  </a:lnTo>
                  <a:lnTo>
                    <a:pt x="1846" y="670"/>
                  </a:lnTo>
                  <a:lnTo>
                    <a:pt x="1875" y="693"/>
                  </a:lnTo>
                  <a:lnTo>
                    <a:pt x="1902" y="715"/>
                  </a:lnTo>
                  <a:lnTo>
                    <a:pt x="1907" y="720"/>
                  </a:lnTo>
                  <a:lnTo>
                    <a:pt x="1912" y="727"/>
                  </a:lnTo>
                  <a:lnTo>
                    <a:pt x="1917" y="733"/>
                  </a:lnTo>
                  <a:lnTo>
                    <a:pt x="1920" y="740"/>
                  </a:lnTo>
                  <a:lnTo>
                    <a:pt x="1923" y="747"/>
                  </a:lnTo>
                  <a:lnTo>
                    <a:pt x="1926" y="755"/>
                  </a:lnTo>
                  <a:lnTo>
                    <a:pt x="1927" y="764"/>
                  </a:lnTo>
                  <a:lnTo>
                    <a:pt x="1928" y="773"/>
                  </a:lnTo>
                  <a:lnTo>
                    <a:pt x="1927" y="794"/>
                  </a:lnTo>
                  <a:lnTo>
                    <a:pt x="1927" y="812"/>
                  </a:lnTo>
                  <a:lnTo>
                    <a:pt x="1927" y="831"/>
                  </a:lnTo>
                  <a:lnTo>
                    <a:pt x="1926" y="852"/>
                  </a:lnTo>
                  <a:lnTo>
                    <a:pt x="1926" y="956"/>
                  </a:lnTo>
                  <a:lnTo>
                    <a:pt x="1926" y="965"/>
                  </a:lnTo>
                  <a:lnTo>
                    <a:pt x="1925" y="974"/>
                  </a:lnTo>
                  <a:lnTo>
                    <a:pt x="1923" y="983"/>
                  </a:lnTo>
                  <a:lnTo>
                    <a:pt x="1921" y="990"/>
                  </a:lnTo>
                  <a:lnTo>
                    <a:pt x="1915" y="1005"/>
                  </a:lnTo>
                  <a:lnTo>
                    <a:pt x="1909" y="1020"/>
                  </a:lnTo>
                  <a:lnTo>
                    <a:pt x="1902" y="1033"/>
                  </a:lnTo>
                  <a:lnTo>
                    <a:pt x="1895" y="1049"/>
                  </a:lnTo>
                  <a:lnTo>
                    <a:pt x="1893" y="1057"/>
                  </a:lnTo>
                  <a:lnTo>
                    <a:pt x="1891" y="1065"/>
                  </a:lnTo>
                  <a:lnTo>
                    <a:pt x="1890" y="1074"/>
                  </a:lnTo>
                  <a:lnTo>
                    <a:pt x="1890" y="1083"/>
                  </a:lnTo>
                  <a:lnTo>
                    <a:pt x="1890" y="1087"/>
                  </a:lnTo>
                  <a:lnTo>
                    <a:pt x="1892" y="1089"/>
                  </a:lnTo>
                  <a:lnTo>
                    <a:pt x="1894" y="1092"/>
                  </a:lnTo>
                  <a:lnTo>
                    <a:pt x="1898" y="1094"/>
                  </a:lnTo>
                  <a:lnTo>
                    <a:pt x="1903" y="1097"/>
                  </a:lnTo>
                  <a:lnTo>
                    <a:pt x="1909" y="1101"/>
                  </a:lnTo>
                  <a:lnTo>
                    <a:pt x="1937" y="1126"/>
                  </a:lnTo>
                  <a:lnTo>
                    <a:pt x="1964" y="1148"/>
                  </a:lnTo>
                  <a:lnTo>
                    <a:pt x="1970" y="1154"/>
                  </a:lnTo>
                  <a:lnTo>
                    <a:pt x="1975" y="1160"/>
                  </a:lnTo>
                  <a:lnTo>
                    <a:pt x="1980" y="1166"/>
                  </a:lnTo>
                  <a:lnTo>
                    <a:pt x="1984" y="1173"/>
                  </a:lnTo>
                  <a:lnTo>
                    <a:pt x="1987" y="1180"/>
                  </a:lnTo>
                  <a:lnTo>
                    <a:pt x="1989" y="1188"/>
                  </a:lnTo>
                  <a:lnTo>
                    <a:pt x="1991" y="1196"/>
                  </a:lnTo>
                  <a:lnTo>
                    <a:pt x="1991" y="1206"/>
                  </a:lnTo>
                  <a:lnTo>
                    <a:pt x="1991" y="1219"/>
                  </a:lnTo>
                  <a:lnTo>
                    <a:pt x="1989" y="1231"/>
                  </a:lnTo>
                  <a:lnTo>
                    <a:pt x="1986" y="1242"/>
                  </a:lnTo>
                  <a:lnTo>
                    <a:pt x="1981" y="1252"/>
                  </a:lnTo>
                  <a:lnTo>
                    <a:pt x="1977" y="1261"/>
                  </a:lnTo>
                  <a:lnTo>
                    <a:pt x="1971" y="1271"/>
                  </a:lnTo>
                  <a:lnTo>
                    <a:pt x="1964" y="1280"/>
                  </a:lnTo>
                  <a:lnTo>
                    <a:pt x="1956" y="1288"/>
                  </a:lnTo>
                  <a:lnTo>
                    <a:pt x="1941" y="1305"/>
                  </a:lnTo>
                  <a:lnTo>
                    <a:pt x="1925" y="1322"/>
                  </a:lnTo>
                  <a:lnTo>
                    <a:pt x="1917" y="1332"/>
                  </a:lnTo>
                  <a:lnTo>
                    <a:pt x="1910" y="1342"/>
                  </a:lnTo>
                  <a:lnTo>
                    <a:pt x="1902" y="1352"/>
                  </a:lnTo>
                  <a:lnTo>
                    <a:pt x="1895" y="1364"/>
                  </a:lnTo>
                  <a:lnTo>
                    <a:pt x="1900" y="1368"/>
                  </a:lnTo>
                  <a:lnTo>
                    <a:pt x="1905" y="1373"/>
                  </a:lnTo>
                  <a:lnTo>
                    <a:pt x="1908" y="1377"/>
                  </a:lnTo>
                  <a:lnTo>
                    <a:pt x="1911" y="1382"/>
                  </a:lnTo>
                  <a:lnTo>
                    <a:pt x="1915" y="1393"/>
                  </a:lnTo>
                  <a:lnTo>
                    <a:pt x="1918" y="1404"/>
                  </a:lnTo>
                  <a:lnTo>
                    <a:pt x="1919" y="1429"/>
                  </a:lnTo>
                  <a:lnTo>
                    <a:pt x="1918" y="1456"/>
                  </a:lnTo>
                  <a:lnTo>
                    <a:pt x="1917" y="1476"/>
                  </a:lnTo>
                  <a:lnTo>
                    <a:pt x="1915" y="1494"/>
                  </a:lnTo>
                  <a:lnTo>
                    <a:pt x="1911" y="1511"/>
                  </a:lnTo>
                  <a:lnTo>
                    <a:pt x="1906" y="1527"/>
                  </a:lnTo>
                  <a:lnTo>
                    <a:pt x="1894" y="1560"/>
                  </a:lnTo>
                  <a:lnTo>
                    <a:pt x="1883" y="1597"/>
                  </a:lnTo>
                  <a:lnTo>
                    <a:pt x="1897" y="1601"/>
                  </a:lnTo>
                  <a:lnTo>
                    <a:pt x="1909" y="1603"/>
                  </a:lnTo>
                  <a:lnTo>
                    <a:pt x="1921" y="1604"/>
                  </a:lnTo>
                  <a:lnTo>
                    <a:pt x="1934" y="1605"/>
                  </a:lnTo>
                  <a:lnTo>
                    <a:pt x="1945" y="1607"/>
                  </a:lnTo>
                  <a:lnTo>
                    <a:pt x="1956" y="1611"/>
                  </a:lnTo>
                  <a:lnTo>
                    <a:pt x="1961" y="1613"/>
                  </a:lnTo>
                  <a:lnTo>
                    <a:pt x="1967" y="1616"/>
                  </a:lnTo>
                  <a:lnTo>
                    <a:pt x="1973" y="1619"/>
                  </a:lnTo>
                  <a:lnTo>
                    <a:pt x="1978" y="1624"/>
                  </a:lnTo>
                  <a:lnTo>
                    <a:pt x="1982" y="1629"/>
                  </a:lnTo>
                  <a:lnTo>
                    <a:pt x="1984" y="1634"/>
                  </a:lnTo>
                  <a:lnTo>
                    <a:pt x="1985" y="1640"/>
                  </a:lnTo>
                  <a:lnTo>
                    <a:pt x="1985" y="1648"/>
                  </a:lnTo>
                  <a:lnTo>
                    <a:pt x="1985" y="1654"/>
                  </a:lnTo>
                  <a:lnTo>
                    <a:pt x="1985" y="1661"/>
                  </a:lnTo>
                  <a:lnTo>
                    <a:pt x="1985" y="1668"/>
                  </a:lnTo>
                  <a:lnTo>
                    <a:pt x="1987" y="1676"/>
                  </a:lnTo>
                  <a:lnTo>
                    <a:pt x="1989" y="1681"/>
                  </a:lnTo>
                  <a:lnTo>
                    <a:pt x="1991" y="1686"/>
                  </a:lnTo>
                  <a:lnTo>
                    <a:pt x="1994" y="1690"/>
                  </a:lnTo>
                  <a:lnTo>
                    <a:pt x="1999" y="1694"/>
                  </a:lnTo>
                  <a:lnTo>
                    <a:pt x="2006" y="1701"/>
                  </a:lnTo>
                  <a:lnTo>
                    <a:pt x="2013" y="1708"/>
                  </a:lnTo>
                  <a:lnTo>
                    <a:pt x="2020" y="1715"/>
                  </a:lnTo>
                  <a:lnTo>
                    <a:pt x="2026" y="1722"/>
                  </a:lnTo>
                  <a:lnTo>
                    <a:pt x="2029" y="1726"/>
                  </a:lnTo>
                  <a:lnTo>
                    <a:pt x="2031" y="1731"/>
                  </a:lnTo>
                  <a:lnTo>
                    <a:pt x="2032" y="1737"/>
                  </a:lnTo>
                  <a:lnTo>
                    <a:pt x="2032" y="1742"/>
                  </a:lnTo>
                  <a:lnTo>
                    <a:pt x="2032" y="1751"/>
                  </a:lnTo>
                  <a:lnTo>
                    <a:pt x="2030" y="1760"/>
                  </a:lnTo>
                  <a:lnTo>
                    <a:pt x="2027" y="1769"/>
                  </a:lnTo>
                  <a:lnTo>
                    <a:pt x="2024" y="1776"/>
                  </a:lnTo>
                  <a:lnTo>
                    <a:pt x="2022" y="1784"/>
                  </a:lnTo>
                  <a:lnTo>
                    <a:pt x="2020" y="1791"/>
                  </a:lnTo>
                  <a:lnTo>
                    <a:pt x="2018" y="1801"/>
                  </a:lnTo>
                  <a:lnTo>
                    <a:pt x="2017" y="1810"/>
                  </a:lnTo>
                  <a:lnTo>
                    <a:pt x="2018" y="1823"/>
                  </a:lnTo>
                  <a:lnTo>
                    <a:pt x="2020" y="1835"/>
                  </a:lnTo>
                  <a:lnTo>
                    <a:pt x="2022" y="1846"/>
                  </a:lnTo>
                  <a:lnTo>
                    <a:pt x="2025" y="1857"/>
                  </a:lnTo>
                  <a:lnTo>
                    <a:pt x="2034" y="1878"/>
                  </a:lnTo>
                  <a:lnTo>
                    <a:pt x="2044" y="1898"/>
                  </a:lnTo>
                  <a:lnTo>
                    <a:pt x="2053" y="1917"/>
                  </a:lnTo>
                  <a:lnTo>
                    <a:pt x="2062" y="1938"/>
                  </a:lnTo>
                  <a:lnTo>
                    <a:pt x="2065" y="1948"/>
                  </a:lnTo>
                  <a:lnTo>
                    <a:pt x="2068" y="1960"/>
                  </a:lnTo>
                  <a:lnTo>
                    <a:pt x="2069" y="1972"/>
                  </a:lnTo>
                  <a:lnTo>
                    <a:pt x="2070" y="1984"/>
                  </a:lnTo>
                  <a:lnTo>
                    <a:pt x="2069" y="2001"/>
                  </a:lnTo>
                  <a:lnTo>
                    <a:pt x="2066" y="2015"/>
                  </a:lnTo>
                  <a:lnTo>
                    <a:pt x="2062" y="2030"/>
                  </a:lnTo>
                  <a:lnTo>
                    <a:pt x="2056" y="2042"/>
                  </a:lnTo>
                  <a:lnTo>
                    <a:pt x="2051" y="2056"/>
                  </a:lnTo>
                  <a:lnTo>
                    <a:pt x="2047" y="2069"/>
                  </a:lnTo>
                  <a:lnTo>
                    <a:pt x="2043" y="2085"/>
                  </a:lnTo>
                  <a:lnTo>
                    <a:pt x="2041" y="2100"/>
                  </a:lnTo>
                  <a:lnTo>
                    <a:pt x="2030" y="2091"/>
                  </a:lnTo>
                  <a:lnTo>
                    <a:pt x="2026" y="2103"/>
                  </a:lnTo>
                  <a:lnTo>
                    <a:pt x="2024" y="2114"/>
                  </a:lnTo>
                  <a:lnTo>
                    <a:pt x="2025" y="2123"/>
                  </a:lnTo>
                  <a:lnTo>
                    <a:pt x="2026" y="2129"/>
                  </a:lnTo>
                  <a:lnTo>
                    <a:pt x="2029" y="2136"/>
                  </a:lnTo>
                  <a:lnTo>
                    <a:pt x="2032" y="2142"/>
                  </a:lnTo>
                  <a:lnTo>
                    <a:pt x="2040" y="2154"/>
                  </a:lnTo>
                  <a:lnTo>
                    <a:pt x="2048" y="2164"/>
                  </a:lnTo>
                  <a:lnTo>
                    <a:pt x="2056" y="2174"/>
                  </a:lnTo>
                  <a:lnTo>
                    <a:pt x="2065" y="2186"/>
                  </a:lnTo>
                  <a:lnTo>
                    <a:pt x="2068" y="2192"/>
                  </a:lnTo>
                  <a:lnTo>
                    <a:pt x="2070" y="2199"/>
                  </a:lnTo>
                  <a:lnTo>
                    <a:pt x="2071" y="2206"/>
                  </a:lnTo>
                  <a:lnTo>
                    <a:pt x="2072" y="2214"/>
                  </a:lnTo>
                  <a:lnTo>
                    <a:pt x="2072" y="2224"/>
                  </a:lnTo>
                  <a:lnTo>
                    <a:pt x="2071" y="2233"/>
                  </a:lnTo>
                  <a:lnTo>
                    <a:pt x="2069" y="2243"/>
                  </a:lnTo>
                  <a:lnTo>
                    <a:pt x="2067" y="2251"/>
                  </a:lnTo>
                  <a:lnTo>
                    <a:pt x="2064" y="2259"/>
                  </a:lnTo>
                  <a:lnTo>
                    <a:pt x="2060" y="2267"/>
                  </a:lnTo>
                  <a:lnTo>
                    <a:pt x="2056" y="2276"/>
                  </a:lnTo>
                  <a:lnTo>
                    <a:pt x="2052" y="2283"/>
                  </a:lnTo>
                  <a:lnTo>
                    <a:pt x="2048" y="2290"/>
                  </a:lnTo>
                  <a:lnTo>
                    <a:pt x="2042" y="2297"/>
                  </a:lnTo>
                  <a:lnTo>
                    <a:pt x="2037" y="2303"/>
                  </a:lnTo>
                  <a:lnTo>
                    <a:pt x="2031" y="2310"/>
                  </a:lnTo>
                  <a:lnTo>
                    <a:pt x="2017" y="2321"/>
                  </a:lnTo>
                  <a:lnTo>
                    <a:pt x="2002" y="2331"/>
                  </a:lnTo>
                  <a:lnTo>
                    <a:pt x="1986" y="2341"/>
                  </a:lnTo>
                  <a:lnTo>
                    <a:pt x="1969" y="2349"/>
                  </a:lnTo>
                  <a:lnTo>
                    <a:pt x="1951" y="2356"/>
                  </a:lnTo>
                  <a:lnTo>
                    <a:pt x="1932" y="2362"/>
                  </a:lnTo>
                  <a:lnTo>
                    <a:pt x="1912" y="2368"/>
                  </a:lnTo>
                  <a:lnTo>
                    <a:pt x="1892" y="2373"/>
                  </a:lnTo>
                  <a:lnTo>
                    <a:pt x="1873" y="2376"/>
                  </a:lnTo>
                  <a:lnTo>
                    <a:pt x="1852" y="2379"/>
                  </a:lnTo>
                  <a:lnTo>
                    <a:pt x="1852" y="2396"/>
                  </a:lnTo>
                  <a:lnTo>
                    <a:pt x="1853" y="2403"/>
                  </a:lnTo>
                  <a:lnTo>
                    <a:pt x="1854" y="2408"/>
                  </a:lnTo>
                  <a:lnTo>
                    <a:pt x="1855" y="2413"/>
                  </a:lnTo>
                  <a:lnTo>
                    <a:pt x="1857" y="2418"/>
                  </a:lnTo>
                  <a:lnTo>
                    <a:pt x="1859" y="2423"/>
                  </a:lnTo>
                  <a:lnTo>
                    <a:pt x="1860" y="2428"/>
                  </a:lnTo>
                  <a:lnTo>
                    <a:pt x="1861" y="2435"/>
                  </a:lnTo>
                  <a:lnTo>
                    <a:pt x="1862" y="2441"/>
                  </a:lnTo>
                  <a:lnTo>
                    <a:pt x="1861" y="2449"/>
                  </a:lnTo>
                  <a:lnTo>
                    <a:pt x="1860" y="2457"/>
                  </a:lnTo>
                  <a:lnTo>
                    <a:pt x="1859" y="2465"/>
                  </a:lnTo>
                  <a:lnTo>
                    <a:pt x="1857" y="2472"/>
                  </a:lnTo>
                  <a:lnTo>
                    <a:pt x="1853" y="2486"/>
                  </a:lnTo>
                  <a:lnTo>
                    <a:pt x="1848" y="2500"/>
                  </a:lnTo>
                  <a:lnTo>
                    <a:pt x="1843" y="2513"/>
                  </a:lnTo>
                  <a:lnTo>
                    <a:pt x="1838" y="2526"/>
                  </a:lnTo>
                  <a:lnTo>
                    <a:pt x="1837" y="2534"/>
                  </a:lnTo>
                  <a:lnTo>
                    <a:pt x="1835" y="2542"/>
                  </a:lnTo>
                  <a:lnTo>
                    <a:pt x="1834" y="2550"/>
                  </a:lnTo>
                  <a:lnTo>
                    <a:pt x="1834" y="2558"/>
                  </a:lnTo>
                  <a:lnTo>
                    <a:pt x="1834" y="2564"/>
                  </a:lnTo>
                  <a:lnTo>
                    <a:pt x="1835" y="2569"/>
                  </a:lnTo>
                  <a:lnTo>
                    <a:pt x="1836" y="2573"/>
                  </a:lnTo>
                  <a:lnTo>
                    <a:pt x="1838" y="2576"/>
                  </a:lnTo>
                  <a:lnTo>
                    <a:pt x="1842" y="2584"/>
                  </a:lnTo>
                  <a:lnTo>
                    <a:pt x="1846" y="2594"/>
                  </a:lnTo>
                  <a:lnTo>
                    <a:pt x="1829" y="2609"/>
                  </a:lnTo>
                  <a:lnTo>
                    <a:pt x="1813" y="2621"/>
                  </a:lnTo>
                  <a:lnTo>
                    <a:pt x="1798" y="2633"/>
                  </a:lnTo>
                  <a:lnTo>
                    <a:pt x="1783" y="2642"/>
                  </a:lnTo>
                  <a:lnTo>
                    <a:pt x="1768" y="2652"/>
                  </a:lnTo>
                  <a:lnTo>
                    <a:pt x="1752" y="2663"/>
                  </a:lnTo>
                  <a:lnTo>
                    <a:pt x="1737" y="2675"/>
                  </a:lnTo>
                  <a:lnTo>
                    <a:pt x="1720" y="2691"/>
                  </a:lnTo>
                  <a:lnTo>
                    <a:pt x="1705" y="2707"/>
                  </a:lnTo>
                  <a:lnTo>
                    <a:pt x="1691" y="2723"/>
                  </a:lnTo>
                  <a:lnTo>
                    <a:pt x="1684" y="2730"/>
                  </a:lnTo>
                  <a:lnTo>
                    <a:pt x="1675" y="2735"/>
                  </a:lnTo>
                  <a:lnTo>
                    <a:pt x="1671" y="2737"/>
                  </a:lnTo>
                  <a:lnTo>
                    <a:pt x="1666" y="2738"/>
                  </a:lnTo>
                  <a:lnTo>
                    <a:pt x="1660" y="2739"/>
                  </a:lnTo>
                  <a:lnTo>
                    <a:pt x="1654" y="2740"/>
                  </a:lnTo>
                  <a:lnTo>
                    <a:pt x="1498" y="2702"/>
                  </a:lnTo>
                  <a:lnTo>
                    <a:pt x="1488" y="2704"/>
                  </a:lnTo>
                  <a:lnTo>
                    <a:pt x="1477" y="2705"/>
                  </a:lnTo>
                  <a:lnTo>
                    <a:pt x="1477" y="2599"/>
                  </a:lnTo>
                  <a:lnTo>
                    <a:pt x="1487" y="2533"/>
                  </a:lnTo>
                  <a:lnTo>
                    <a:pt x="1487" y="2475"/>
                  </a:lnTo>
                  <a:lnTo>
                    <a:pt x="1487" y="2466"/>
                  </a:lnTo>
                  <a:lnTo>
                    <a:pt x="1485" y="2457"/>
                  </a:lnTo>
                  <a:lnTo>
                    <a:pt x="1483" y="2449"/>
                  </a:lnTo>
                  <a:lnTo>
                    <a:pt x="1481" y="2442"/>
                  </a:lnTo>
                  <a:lnTo>
                    <a:pt x="1478" y="2434"/>
                  </a:lnTo>
                  <a:lnTo>
                    <a:pt x="1474" y="2427"/>
                  </a:lnTo>
                  <a:lnTo>
                    <a:pt x="1469" y="2420"/>
                  </a:lnTo>
                  <a:lnTo>
                    <a:pt x="1464" y="2414"/>
                  </a:lnTo>
                  <a:lnTo>
                    <a:pt x="1441" y="2390"/>
                  </a:lnTo>
                  <a:lnTo>
                    <a:pt x="1414" y="2364"/>
                  </a:lnTo>
                  <a:lnTo>
                    <a:pt x="1407" y="2357"/>
                  </a:lnTo>
                  <a:lnTo>
                    <a:pt x="1402" y="2349"/>
                  </a:lnTo>
                  <a:lnTo>
                    <a:pt x="1396" y="2341"/>
                  </a:lnTo>
                  <a:lnTo>
                    <a:pt x="1391" y="2333"/>
                  </a:lnTo>
                  <a:lnTo>
                    <a:pt x="1386" y="2325"/>
                  </a:lnTo>
                  <a:lnTo>
                    <a:pt x="1380" y="2319"/>
                  </a:lnTo>
                  <a:lnTo>
                    <a:pt x="1374" y="2312"/>
                  </a:lnTo>
                  <a:lnTo>
                    <a:pt x="1364" y="2305"/>
                  </a:lnTo>
                  <a:lnTo>
                    <a:pt x="1338" y="2350"/>
                  </a:lnTo>
                  <a:lnTo>
                    <a:pt x="1312" y="2390"/>
                  </a:lnTo>
                  <a:lnTo>
                    <a:pt x="1305" y="2398"/>
                  </a:lnTo>
                  <a:lnTo>
                    <a:pt x="1297" y="2407"/>
                  </a:lnTo>
                  <a:lnTo>
                    <a:pt x="1289" y="2414"/>
                  </a:lnTo>
                  <a:lnTo>
                    <a:pt x="1281" y="2419"/>
                  </a:lnTo>
                  <a:lnTo>
                    <a:pt x="1271" y="2424"/>
                  </a:lnTo>
                  <a:lnTo>
                    <a:pt x="1260" y="2428"/>
                  </a:lnTo>
                  <a:lnTo>
                    <a:pt x="1249" y="2430"/>
                  </a:lnTo>
                  <a:lnTo>
                    <a:pt x="1237" y="2430"/>
                  </a:lnTo>
                  <a:lnTo>
                    <a:pt x="1172" y="2430"/>
                  </a:lnTo>
                  <a:lnTo>
                    <a:pt x="862" y="2386"/>
                  </a:lnTo>
                  <a:lnTo>
                    <a:pt x="855" y="2386"/>
                  </a:lnTo>
                  <a:lnTo>
                    <a:pt x="848" y="2387"/>
                  </a:lnTo>
                  <a:lnTo>
                    <a:pt x="841" y="2388"/>
                  </a:lnTo>
                  <a:lnTo>
                    <a:pt x="834" y="2390"/>
                  </a:lnTo>
                  <a:lnTo>
                    <a:pt x="822" y="2395"/>
                  </a:lnTo>
                  <a:lnTo>
                    <a:pt x="811" y="2402"/>
                  </a:lnTo>
                  <a:lnTo>
                    <a:pt x="788" y="2418"/>
                  </a:lnTo>
                  <a:lnTo>
                    <a:pt x="763" y="2436"/>
                  </a:lnTo>
                  <a:lnTo>
                    <a:pt x="744" y="2447"/>
                  </a:lnTo>
                  <a:lnTo>
                    <a:pt x="725" y="2457"/>
                  </a:lnTo>
                  <a:lnTo>
                    <a:pt x="717" y="2462"/>
                  </a:lnTo>
                  <a:lnTo>
                    <a:pt x="709" y="2468"/>
                  </a:lnTo>
                  <a:lnTo>
                    <a:pt x="699" y="2475"/>
                  </a:lnTo>
                  <a:lnTo>
                    <a:pt x="690" y="2483"/>
                  </a:lnTo>
                  <a:lnTo>
                    <a:pt x="685" y="2478"/>
                  </a:lnTo>
                  <a:lnTo>
                    <a:pt x="680" y="2473"/>
                  </a:lnTo>
                  <a:lnTo>
                    <a:pt x="674" y="2468"/>
                  </a:lnTo>
                  <a:lnTo>
                    <a:pt x="670" y="2462"/>
                  </a:lnTo>
                  <a:lnTo>
                    <a:pt x="663" y="2451"/>
                  </a:lnTo>
                  <a:lnTo>
                    <a:pt x="656" y="2440"/>
                  </a:lnTo>
                  <a:lnTo>
                    <a:pt x="652" y="2435"/>
                  </a:lnTo>
                  <a:lnTo>
                    <a:pt x="648" y="2430"/>
                  </a:lnTo>
                  <a:lnTo>
                    <a:pt x="644" y="2425"/>
                  </a:lnTo>
                  <a:lnTo>
                    <a:pt x="638" y="2422"/>
                  </a:lnTo>
                  <a:lnTo>
                    <a:pt x="634" y="2419"/>
                  </a:lnTo>
                  <a:lnTo>
                    <a:pt x="628" y="2416"/>
                  </a:lnTo>
                  <a:lnTo>
                    <a:pt x="622" y="2415"/>
                  </a:lnTo>
                  <a:lnTo>
                    <a:pt x="615" y="2414"/>
                  </a:lnTo>
                  <a:lnTo>
                    <a:pt x="604" y="2415"/>
                  </a:lnTo>
                  <a:lnTo>
                    <a:pt x="595" y="2416"/>
                  </a:lnTo>
                  <a:lnTo>
                    <a:pt x="586" y="2417"/>
                  </a:lnTo>
                  <a:lnTo>
                    <a:pt x="578" y="2420"/>
                  </a:lnTo>
                  <a:lnTo>
                    <a:pt x="562" y="2425"/>
                  </a:lnTo>
                  <a:lnTo>
                    <a:pt x="547" y="2434"/>
                  </a:lnTo>
                  <a:lnTo>
                    <a:pt x="517" y="2451"/>
                  </a:lnTo>
                  <a:lnTo>
                    <a:pt x="483" y="2471"/>
                  </a:lnTo>
                  <a:lnTo>
                    <a:pt x="470" y="2454"/>
                  </a:lnTo>
                  <a:lnTo>
                    <a:pt x="457" y="2439"/>
                  </a:lnTo>
                  <a:lnTo>
                    <a:pt x="443" y="2425"/>
                  </a:lnTo>
                  <a:lnTo>
                    <a:pt x="430" y="2413"/>
                  </a:lnTo>
                  <a:lnTo>
                    <a:pt x="402" y="2388"/>
                  </a:lnTo>
                  <a:lnTo>
                    <a:pt x="372" y="2360"/>
                  </a:lnTo>
                  <a:lnTo>
                    <a:pt x="341" y="2332"/>
                  </a:lnTo>
                  <a:lnTo>
                    <a:pt x="315" y="2308"/>
                  </a:lnTo>
                  <a:lnTo>
                    <a:pt x="308" y="2300"/>
                  </a:lnTo>
                  <a:lnTo>
                    <a:pt x="303" y="2294"/>
                  </a:lnTo>
                  <a:lnTo>
                    <a:pt x="299" y="2287"/>
                  </a:lnTo>
                  <a:lnTo>
                    <a:pt x="295" y="2279"/>
                  </a:lnTo>
                  <a:lnTo>
                    <a:pt x="292" y="2270"/>
                  </a:lnTo>
                  <a:lnTo>
                    <a:pt x="289" y="2262"/>
                  </a:lnTo>
                  <a:lnTo>
                    <a:pt x="288" y="2252"/>
                  </a:lnTo>
                  <a:lnTo>
                    <a:pt x="287" y="2243"/>
                  </a:lnTo>
                  <a:lnTo>
                    <a:pt x="289" y="2227"/>
                  </a:lnTo>
                  <a:lnTo>
                    <a:pt x="291" y="2215"/>
                  </a:lnTo>
                  <a:lnTo>
                    <a:pt x="293" y="2201"/>
                  </a:lnTo>
                  <a:lnTo>
                    <a:pt x="294" y="2187"/>
                  </a:lnTo>
                  <a:lnTo>
                    <a:pt x="294" y="2180"/>
                  </a:lnTo>
                  <a:lnTo>
                    <a:pt x="293" y="2172"/>
                  </a:lnTo>
                  <a:lnTo>
                    <a:pt x="292" y="2166"/>
                  </a:lnTo>
                  <a:lnTo>
                    <a:pt x="290" y="2161"/>
                  </a:lnTo>
                  <a:lnTo>
                    <a:pt x="286" y="2156"/>
                  </a:lnTo>
                  <a:lnTo>
                    <a:pt x="282" y="2151"/>
                  </a:lnTo>
                  <a:lnTo>
                    <a:pt x="276" y="2146"/>
                  </a:lnTo>
                  <a:lnTo>
                    <a:pt x="270" y="2143"/>
                  </a:lnTo>
                  <a:lnTo>
                    <a:pt x="273" y="2134"/>
                  </a:lnTo>
                  <a:lnTo>
                    <a:pt x="277" y="2127"/>
                  </a:lnTo>
                  <a:lnTo>
                    <a:pt x="283" y="2122"/>
                  </a:lnTo>
                  <a:lnTo>
                    <a:pt x="289" y="2117"/>
                  </a:lnTo>
                  <a:lnTo>
                    <a:pt x="296" y="2112"/>
                  </a:lnTo>
                  <a:lnTo>
                    <a:pt x="303" y="2109"/>
                  </a:lnTo>
                  <a:lnTo>
                    <a:pt x="311" y="2106"/>
                  </a:lnTo>
                  <a:lnTo>
                    <a:pt x="319" y="2103"/>
                  </a:lnTo>
                  <a:lnTo>
                    <a:pt x="336" y="2098"/>
                  </a:lnTo>
                  <a:lnTo>
                    <a:pt x="353" y="2092"/>
                  </a:lnTo>
                  <a:lnTo>
                    <a:pt x="360" y="2088"/>
                  </a:lnTo>
                  <a:lnTo>
                    <a:pt x="367" y="2082"/>
                  </a:lnTo>
                  <a:lnTo>
                    <a:pt x="373" y="2077"/>
                  </a:lnTo>
                  <a:lnTo>
                    <a:pt x="380" y="2070"/>
                  </a:lnTo>
                  <a:lnTo>
                    <a:pt x="386" y="2059"/>
                  </a:lnTo>
                  <a:lnTo>
                    <a:pt x="390" y="2047"/>
                  </a:lnTo>
                  <a:lnTo>
                    <a:pt x="392" y="2037"/>
                  </a:lnTo>
                  <a:lnTo>
                    <a:pt x="393" y="2026"/>
                  </a:lnTo>
                  <a:lnTo>
                    <a:pt x="392" y="2002"/>
                  </a:lnTo>
                  <a:lnTo>
                    <a:pt x="391" y="1976"/>
                  </a:lnTo>
                  <a:lnTo>
                    <a:pt x="391" y="1964"/>
                  </a:lnTo>
                  <a:lnTo>
                    <a:pt x="389" y="1951"/>
                  </a:lnTo>
                  <a:lnTo>
                    <a:pt x="387" y="1940"/>
                  </a:lnTo>
                  <a:lnTo>
                    <a:pt x="384" y="1930"/>
                  </a:lnTo>
                  <a:lnTo>
                    <a:pt x="376" y="1909"/>
                  </a:lnTo>
                  <a:lnTo>
                    <a:pt x="367" y="1889"/>
                  </a:lnTo>
                  <a:lnTo>
                    <a:pt x="359" y="1869"/>
                  </a:lnTo>
                  <a:lnTo>
                    <a:pt x="351" y="1848"/>
                  </a:lnTo>
                  <a:lnTo>
                    <a:pt x="349" y="1838"/>
                  </a:lnTo>
                  <a:lnTo>
                    <a:pt x="346" y="1826"/>
                  </a:lnTo>
                  <a:lnTo>
                    <a:pt x="344" y="1814"/>
                  </a:lnTo>
                  <a:lnTo>
                    <a:pt x="343" y="1802"/>
                  </a:lnTo>
                  <a:lnTo>
                    <a:pt x="344" y="1793"/>
                  </a:lnTo>
                  <a:lnTo>
                    <a:pt x="347" y="1786"/>
                  </a:lnTo>
                  <a:lnTo>
                    <a:pt x="328" y="1811"/>
                  </a:lnTo>
                  <a:lnTo>
                    <a:pt x="310" y="1832"/>
                  </a:lnTo>
                  <a:lnTo>
                    <a:pt x="302" y="1841"/>
                  </a:lnTo>
                  <a:lnTo>
                    <a:pt x="292" y="1850"/>
                  </a:lnTo>
                  <a:lnTo>
                    <a:pt x="281" y="1859"/>
                  </a:lnTo>
                  <a:lnTo>
                    <a:pt x="268" y="1869"/>
                  </a:lnTo>
                  <a:lnTo>
                    <a:pt x="264" y="1857"/>
                  </a:lnTo>
                  <a:lnTo>
                    <a:pt x="261" y="1846"/>
                  </a:lnTo>
                  <a:lnTo>
                    <a:pt x="258" y="1835"/>
                  </a:lnTo>
                  <a:lnTo>
                    <a:pt x="256" y="1824"/>
                  </a:lnTo>
                  <a:lnTo>
                    <a:pt x="254" y="1814"/>
                  </a:lnTo>
                  <a:lnTo>
                    <a:pt x="251" y="1803"/>
                  </a:lnTo>
                  <a:lnTo>
                    <a:pt x="248" y="1791"/>
                  </a:lnTo>
                  <a:lnTo>
                    <a:pt x="242" y="1779"/>
                  </a:lnTo>
                  <a:lnTo>
                    <a:pt x="236" y="1766"/>
                  </a:lnTo>
                  <a:lnTo>
                    <a:pt x="230" y="1754"/>
                  </a:lnTo>
                  <a:lnTo>
                    <a:pt x="223" y="1743"/>
                  </a:lnTo>
                  <a:lnTo>
                    <a:pt x="216" y="1732"/>
                  </a:lnTo>
                  <a:lnTo>
                    <a:pt x="200" y="1714"/>
                  </a:lnTo>
                  <a:lnTo>
                    <a:pt x="184" y="1697"/>
                  </a:lnTo>
                  <a:lnTo>
                    <a:pt x="166" y="1681"/>
                  </a:lnTo>
                  <a:lnTo>
                    <a:pt x="149" y="1663"/>
                  </a:lnTo>
                  <a:lnTo>
                    <a:pt x="130" y="1645"/>
                  </a:lnTo>
                  <a:lnTo>
                    <a:pt x="110" y="1624"/>
                  </a:lnTo>
                  <a:lnTo>
                    <a:pt x="93" y="1600"/>
                  </a:lnTo>
                  <a:lnTo>
                    <a:pt x="78" y="1580"/>
                  </a:lnTo>
                  <a:lnTo>
                    <a:pt x="71" y="1569"/>
                  </a:lnTo>
                  <a:lnTo>
                    <a:pt x="63" y="1560"/>
                  </a:lnTo>
                  <a:lnTo>
                    <a:pt x="54" y="1551"/>
                  </a:lnTo>
                  <a:lnTo>
                    <a:pt x="42" y="1541"/>
                  </a:lnTo>
                  <a:lnTo>
                    <a:pt x="51" y="1533"/>
                  </a:lnTo>
                  <a:lnTo>
                    <a:pt x="58" y="1527"/>
                  </a:lnTo>
                  <a:lnTo>
                    <a:pt x="66" y="1522"/>
                  </a:lnTo>
                  <a:lnTo>
                    <a:pt x="74" y="1517"/>
                  </a:lnTo>
                  <a:lnTo>
                    <a:pt x="92" y="1509"/>
                  </a:lnTo>
                  <a:lnTo>
                    <a:pt x="112" y="1503"/>
                  </a:lnTo>
                  <a:lnTo>
                    <a:pt x="110" y="1490"/>
                  </a:lnTo>
                  <a:lnTo>
                    <a:pt x="106" y="1478"/>
                  </a:lnTo>
                  <a:lnTo>
                    <a:pt x="101" y="1467"/>
                  </a:lnTo>
                  <a:lnTo>
                    <a:pt x="96" y="1458"/>
                  </a:lnTo>
                  <a:lnTo>
                    <a:pt x="90" y="1448"/>
                  </a:lnTo>
                  <a:lnTo>
                    <a:pt x="83" y="1440"/>
                  </a:lnTo>
                  <a:lnTo>
                    <a:pt x="75" y="1433"/>
                  </a:lnTo>
                  <a:lnTo>
                    <a:pt x="68" y="1425"/>
                  </a:lnTo>
                  <a:lnTo>
                    <a:pt x="51" y="1410"/>
                  </a:lnTo>
                  <a:lnTo>
                    <a:pt x="33" y="1395"/>
                  </a:lnTo>
                  <a:lnTo>
                    <a:pt x="25" y="1386"/>
                  </a:lnTo>
                  <a:lnTo>
                    <a:pt x="17" y="1377"/>
                  </a:lnTo>
                  <a:lnTo>
                    <a:pt x="7" y="1368"/>
                  </a:lnTo>
                  <a:lnTo>
                    <a:pt x="0" y="1356"/>
                  </a:lnTo>
                  <a:lnTo>
                    <a:pt x="6" y="1347"/>
                  </a:lnTo>
                  <a:lnTo>
                    <a:pt x="11" y="1339"/>
                  </a:lnTo>
                  <a:lnTo>
                    <a:pt x="17" y="1330"/>
                  </a:lnTo>
                  <a:lnTo>
                    <a:pt x="21" y="1320"/>
                  </a:lnTo>
                  <a:lnTo>
                    <a:pt x="27" y="1303"/>
                  </a:lnTo>
                  <a:lnTo>
                    <a:pt x="32" y="1285"/>
                  </a:lnTo>
                  <a:lnTo>
                    <a:pt x="38" y="1248"/>
                  </a:lnTo>
                  <a:lnTo>
                    <a:pt x="46" y="1206"/>
                  </a:lnTo>
                  <a:lnTo>
                    <a:pt x="49" y="1199"/>
                  </a:lnTo>
                  <a:lnTo>
                    <a:pt x="52" y="1192"/>
                  </a:lnTo>
                  <a:lnTo>
                    <a:pt x="55" y="1186"/>
                  </a:lnTo>
                  <a:lnTo>
                    <a:pt x="59" y="1180"/>
                  </a:lnTo>
                  <a:lnTo>
                    <a:pt x="66" y="1170"/>
                  </a:lnTo>
                  <a:lnTo>
                    <a:pt x="75" y="1160"/>
                  </a:lnTo>
                  <a:lnTo>
                    <a:pt x="83" y="1150"/>
                  </a:lnTo>
                  <a:lnTo>
                    <a:pt x="90" y="1140"/>
                  </a:lnTo>
                  <a:lnTo>
                    <a:pt x="93" y="1133"/>
                  </a:lnTo>
                  <a:lnTo>
                    <a:pt x="95" y="1127"/>
                  </a:lnTo>
                  <a:lnTo>
                    <a:pt x="96" y="1121"/>
                  </a:lnTo>
                  <a:lnTo>
                    <a:pt x="96" y="1114"/>
                  </a:lnTo>
                  <a:lnTo>
                    <a:pt x="96" y="1099"/>
                  </a:lnTo>
                  <a:lnTo>
                    <a:pt x="95" y="1086"/>
                  </a:lnTo>
                  <a:lnTo>
                    <a:pt x="93" y="1073"/>
                  </a:lnTo>
                  <a:lnTo>
                    <a:pt x="91" y="1060"/>
                  </a:lnTo>
                  <a:lnTo>
                    <a:pt x="85" y="1037"/>
                  </a:lnTo>
                  <a:lnTo>
                    <a:pt x="78" y="1015"/>
                  </a:lnTo>
                  <a:lnTo>
                    <a:pt x="72" y="992"/>
                  </a:lnTo>
                  <a:lnTo>
                    <a:pt x="66" y="968"/>
                  </a:lnTo>
                  <a:lnTo>
                    <a:pt x="64" y="956"/>
                  </a:lnTo>
                  <a:lnTo>
                    <a:pt x="62" y="943"/>
                  </a:lnTo>
                  <a:lnTo>
                    <a:pt x="61" y="930"/>
                  </a:lnTo>
                  <a:lnTo>
                    <a:pt x="61" y="916"/>
                  </a:lnTo>
                  <a:lnTo>
                    <a:pt x="62" y="899"/>
                  </a:lnTo>
                  <a:lnTo>
                    <a:pt x="63" y="885"/>
                  </a:lnTo>
                  <a:lnTo>
                    <a:pt x="65" y="871"/>
                  </a:lnTo>
                  <a:lnTo>
                    <a:pt x="68" y="859"/>
                  </a:lnTo>
                  <a:lnTo>
                    <a:pt x="71" y="845"/>
                  </a:lnTo>
                  <a:lnTo>
                    <a:pt x="74" y="832"/>
                  </a:lnTo>
                  <a:lnTo>
                    <a:pt x="76" y="817"/>
                  </a:lnTo>
                  <a:lnTo>
                    <a:pt x="77" y="802"/>
                  </a:lnTo>
                  <a:lnTo>
                    <a:pt x="78" y="790"/>
                  </a:lnTo>
                  <a:lnTo>
                    <a:pt x="80" y="777"/>
                  </a:lnTo>
                  <a:lnTo>
                    <a:pt x="83" y="765"/>
                  </a:lnTo>
                  <a:lnTo>
                    <a:pt x="87" y="754"/>
                  </a:lnTo>
                  <a:lnTo>
                    <a:pt x="90" y="749"/>
                  </a:lnTo>
                  <a:lnTo>
                    <a:pt x="93" y="745"/>
                  </a:lnTo>
                  <a:lnTo>
                    <a:pt x="96" y="740"/>
                  </a:lnTo>
                  <a:lnTo>
                    <a:pt x="100" y="737"/>
                  </a:lnTo>
                  <a:lnTo>
                    <a:pt x="104" y="733"/>
                  </a:lnTo>
                  <a:lnTo>
                    <a:pt x="108" y="730"/>
                  </a:lnTo>
                  <a:lnTo>
                    <a:pt x="115" y="727"/>
                  </a:lnTo>
                  <a:lnTo>
                    <a:pt x="120" y="725"/>
                  </a:lnTo>
                  <a:lnTo>
                    <a:pt x="127" y="721"/>
                  </a:lnTo>
                  <a:lnTo>
                    <a:pt x="133" y="718"/>
                  </a:lnTo>
                  <a:lnTo>
                    <a:pt x="139" y="715"/>
                  </a:lnTo>
                  <a:lnTo>
                    <a:pt x="145" y="712"/>
                  </a:lnTo>
                  <a:lnTo>
                    <a:pt x="155" y="704"/>
                  </a:lnTo>
                  <a:lnTo>
                    <a:pt x="164" y="695"/>
                  </a:lnTo>
                  <a:lnTo>
                    <a:pt x="179" y="674"/>
                  </a:lnTo>
                  <a:lnTo>
                    <a:pt x="198" y="651"/>
                  </a:lnTo>
                  <a:lnTo>
                    <a:pt x="214" y="633"/>
                  </a:lnTo>
                  <a:lnTo>
                    <a:pt x="227" y="616"/>
                  </a:lnTo>
                  <a:lnTo>
                    <a:pt x="240" y="600"/>
                  </a:lnTo>
                  <a:lnTo>
                    <a:pt x="252" y="583"/>
                  </a:lnTo>
                  <a:lnTo>
                    <a:pt x="256" y="574"/>
                  </a:lnTo>
                  <a:lnTo>
                    <a:pt x="260" y="565"/>
                  </a:lnTo>
                  <a:lnTo>
                    <a:pt x="264" y="556"/>
                  </a:lnTo>
                  <a:lnTo>
                    <a:pt x="267" y="547"/>
                  </a:lnTo>
                  <a:lnTo>
                    <a:pt x="269" y="537"/>
                  </a:lnTo>
                  <a:lnTo>
                    <a:pt x="271" y="526"/>
                  </a:lnTo>
                  <a:lnTo>
                    <a:pt x="272" y="515"/>
                  </a:lnTo>
                  <a:lnTo>
                    <a:pt x="273" y="502"/>
                  </a:lnTo>
                  <a:lnTo>
                    <a:pt x="273" y="453"/>
                  </a:lnTo>
                  <a:lnTo>
                    <a:pt x="273" y="443"/>
                  </a:lnTo>
                  <a:lnTo>
                    <a:pt x="274" y="432"/>
                  </a:lnTo>
                  <a:lnTo>
                    <a:pt x="276" y="422"/>
                  </a:lnTo>
                  <a:lnTo>
                    <a:pt x="278" y="413"/>
                  </a:lnTo>
                  <a:lnTo>
                    <a:pt x="284" y="395"/>
                  </a:lnTo>
                  <a:lnTo>
                    <a:pt x="291" y="379"/>
                  </a:lnTo>
                  <a:lnTo>
                    <a:pt x="299" y="362"/>
                  </a:lnTo>
                  <a:lnTo>
                    <a:pt x="307" y="346"/>
                  </a:lnTo>
                  <a:lnTo>
                    <a:pt x="316" y="327"/>
                  </a:lnTo>
                  <a:lnTo>
                    <a:pt x="323" y="306"/>
                  </a:lnTo>
                  <a:lnTo>
                    <a:pt x="325" y="295"/>
                  </a:lnTo>
                  <a:lnTo>
                    <a:pt x="327" y="285"/>
                  </a:lnTo>
                  <a:lnTo>
                    <a:pt x="327" y="274"/>
                  </a:lnTo>
                  <a:lnTo>
                    <a:pt x="327" y="264"/>
                  </a:lnTo>
                  <a:lnTo>
                    <a:pt x="328" y="255"/>
                  </a:lnTo>
                  <a:lnTo>
                    <a:pt x="330" y="245"/>
                  </a:lnTo>
                  <a:lnTo>
                    <a:pt x="333" y="236"/>
                  </a:lnTo>
                  <a:lnTo>
                    <a:pt x="339" y="226"/>
                  </a:lnTo>
                  <a:lnTo>
                    <a:pt x="355" y="240"/>
                  </a:lnTo>
                  <a:lnTo>
                    <a:pt x="368" y="253"/>
                  </a:lnTo>
                  <a:lnTo>
                    <a:pt x="374" y="259"/>
                  </a:lnTo>
                  <a:lnTo>
                    <a:pt x="381" y="265"/>
                  </a:lnTo>
                  <a:lnTo>
                    <a:pt x="386" y="273"/>
                  </a:lnTo>
                  <a:lnTo>
                    <a:pt x="391" y="283"/>
                  </a:lnTo>
                  <a:lnTo>
                    <a:pt x="401" y="270"/>
                  </a:lnTo>
                  <a:lnTo>
                    <a:pt x="409" y="257"/>
                  </a:lnTo>
                  <a:lnTo>
                    <a:pt x="416" y="243"/>
                  </a:lnTo>
                  <a:lnTo>
                    <a:pt x="421" y="230"/>
                  </a:lnTo>
                  <a:lnTo>
                    <a:pt x="430" y="201"/>
                  </a:lnTo>
                  <a:lnTo>
                    <a:pt x="441" y="169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>
                  <a:latin typeface="Calibri" panose="020F0502020204030204" pitchFamily="34" charset="0"/>
                </a:rPr>
                <a:t>Zhytomyr</a:t>
              </a:r>
              <a:endParaRPr lang="ru-RU" altLang="ru-RU" sz="675">
                <a:latin typeface="Calibri" panose="020F0502020204030204" pitchFamily="34" charset="0"/>
              </a:endParaRPr>
            </a:p>
          </p:txBody>
        </p:sp>
        <p:sp>
          <p:nvSpPr>
            <p:cNvPr id="32" name="Volyn"/>
            <p:cNvSpPr>
              <a:spLocks/>
            </p:cNvSpPr>
            <p:nvPr/>
          </p:nvSpPr>
          <p:spPr bwMode="auto">
            <a:xfrm>
              <a:off x="1022" y="1191"/>
              <a:ext cx="596" cy="586"/>
            </a:xfrm>
            <a:custGeom>
              <a:avLst/>
              <a:gdLst>
                <a:gd name="T0" fmla="*/ 326 w 1994"/>
                <a:gd name="T1" fmla="*/ 178 h 2054"/>
                <a:gd name="T2" fmla="*/ 326 w 1994"/>
                <a:gd name="T3" fmla="*/ 178 h 2054"/>
                <a:gd name="T4" fmla="*/ 326 w 1994"/>
                <a:gd name="T5" fmla="*/ 178 h 2054"/>
                <a:gd name="T6" fmla="*/ 326 w 1994"/>
                <a:gd name="T7" fmla="*/ 178 h 2054"/>
                <a:gd name="T8" fmla="*/ 326 w 1994"/>
                <a:gd name="T9" fmla="*/ 178 h 2054"/>
                <a:gd name="T10" fmla="*/ 326 w 1994"/>
                <a:gd name="T11" fmla="*/ 178 h 2054"/>
                <a:gd name="T12" fmla="*/ 326 w 1994"/>
                <a:gd name="T13" fmla="*/ 178 h 2054"/>
                <a:gd name="T14" fmla="*/ 326 w 1994"/>
                <a:gd name="T15" fmla="*/ 178 h 2054"/>
                <a:gd name="T16" fmla="*/ 326 w 1994"/>
                <a:gd name="T17" fmla="*/ 178 h 2054"/>
                <a:gd name="T18" fmla="*/ 326 w 1994"/>
                <a:gd name="T19" fmla="*/ 178 h 2054"/>
                <a:gd name="T20" fmla="*/ 326 w 1994"/>
                <a:gd name="T21" fmla="*/ 178 h 2054"/>
                <a:gd name="T22" fmla="*/ 326 w 1994"/>
                <a:gd name="T23" fmla="*/ 178 h 2054"/>
                <a:gd name="T24" fmla="*/ 326 w 1994"/>
                <a:gd name="T25" fmla="*/ 178 h 2054"/>
                <a:gd name="T26" fmla="*/ 326 w 1994"/>
                <a:gd name="T27" fmla="*/ 178 h 2054"/>
                <a:gd name="T28" fmla="*/ 326 w 1994"/>
                <a:gd name="T29" fmla="*/ 178 h 2054"/>
                <a:gd name="T30" fmla="*/ 326 w 1994"/>
                <a:gd name="T31" fmla="*/ 178 h 2054"/>
                <a:gd name="T32" fmla="*/ 326 w 1994"/>
                <a:gd name="T33" fmla="*/ 178 h 2054"/>
                <a:gd name="T34" fmla="*/ 326 w 1994"/>
                <a:gd name="T35" fmla="*/ 178 h 2054"/>
                <a:gd name="T36" fmla="*/ 326 w 1994"/>
                <a:gd name="T37" fmla="*/ 178 h 2054"/>
                <a:gd name="T38" fmla="*/ 326 w 1994"/>
                <a:gd name="T39" fmla="*/ 178 h 2054"/>
                <a:gd name="T40" fmla="*/ 326 w 1994"/>
                <a:gd name="T41" fmla="*/ 178 h 2054"/>
                <a:gd name="T42" fmla="*/ 326 w 1994"/>
                <a:gd name="T43" fmla="*/ 178 h 2054"/>
                <a:gd name="T44" fmla="*/ 326 w 1994"/>
                <a:gd name="T45" fmla="*/ 178 h 2054"/>
                <a:gd name="T46" fmla="*/ 326 w 1994"/>
                <a:gd name="T47" fmla="*/ 178 h 2054"/>
                <a:gd name="T48" fmla="*/ 326 w 1994"/>
                <a:gd name="T49" fmla="*/ 0 h 2054"/>
                <a:gd name="T50" fmla="*/ 326 w 1994"/>
                <a:gd name="T51" fmla="*/ 178 h 2054"/>
                <a:gd name="T52" fmla="*/ 326 w 1994"/>
                <a:gd name="T53" fmla="*/ 178 h 2054"/>
                <a:gd name="T54" fmla="*/ 326 w 1994"/>
                <a:gd name="T55" fmla="*/ 178 h 2054"/>
                <a:gd name="T56" fmla="*/ 326 w 1994"/>
                <a:gd name="T57" fmla="*/ 178 h 2054"/>
                <a:gd name="T58" fmla="*/ 326 w 1994"/>
                <a:gd name="T59" fmla="*/ 178 h 2054"/>
                <a:gd name="T60" fmla="*/ 326 w 1994"/>
                <a:gd name="T61" fmla="*/ 178 h 2054"/>
                <a:gd name="T62" fmla="*/ 326 w 1994"/>
                <a:gd name="T63" fmla="*/ 178 h 2054"/>
                <a:gd name="T64" fmla="*/ 326 w 1994"/>
                <a:gd name="T65" fmla="*/ 178 h 2054"/>
                <a:gd name="T66" fmla="*/ 326 w 1994"/>
                <a:gd name="T67" fmla="*/ 178 h 2054"/>
                <a:gd name="T68" fmla="*/ 326 w 1994"/>
                <a:gd name="T69" fmla="*/ 178 h 2054"/>
                <a:gd name="T70" fmla="*/ 326 w 1994"/>
                <a:gd name="T71" fmla="*/ 178 h 2054"/>
                <a:gd name="T72" fmla="*/ 326 w 1994"/>
                <a:gd name="T73" fmla="*/ 178 h 2054"/>
                <a:gd name="T74" fmla="*/ 326 w 1994"/>
                <a:gd name="T75" fmla="*/ 178 h 2054"/>
                <a:gd name="T76" fmla="*/ 326 w 1994"/>
                <a:gd name="T77" fmla="*/ 178 h 2054"/>
                <a:gd name="T78" fmla="*/ 326 w 1994"/>
                <a:gd name="T79" fmla="*/ 178 h 2054"/>
                <a:gd name="T80" fmla="*/ 326 w 1994"/>
                <a:gd name="T81" fmla="*/ 178 h 2054"/>
                <a:gd name="T82" fmla="*/ 326 w 1994"/>
                <a:gd name="T83" fmla="*/ 178 h 2054"/>
                <a:gd name="T84" fmla="*/ 326 w 1994"/>
                <a:gd name="T85" fmla="*/ 178 h 2054"/>
                <a:gd name="T86" fmla="*/ 326 w 1994"/>
                <a:gd name="T87" fmla="*/ 178 h 2054"/>
                <a:gd name="T88" fmla="*/ 326 w 1994"/>
                <a:gd name="T89" fmla="*/ 178 h 2054"/>
                <a:gd name="T90" fmla="*/ 326 w 1994"/>
                <a:gd name="T91" fmla="*/ 178 h 2054"/>
                <a:gd name="T92" fmla="*/ 326 w 1994"/>
                <a:gd name="T93" fmla="*/ 178 h 2054"/>
                <a:gd name="T94" fmla="*/ 326 w 1994"/>
                <a:gd name="T95" fmla="*/ 178 h 2054"/>
                <a:gd name="T96" fmla="*/ 326 w 1994"/>
                <a:gd name="T97" fmla="*/ 178 h 2054"/>
                <a:gd name="T98" fmla="*/ 326 w 1994"/>
                <a:gd name="T99" fmla="*/ 178 h 2054"/>
                <a:gd name="T100" fmla="*/ 326 w 1994"/>
                <a:gd name="T101" fmla="*/ 178 h 2054"/>
                <a:gd name="T102" fmla="*/ 326 w 1994"/>
                <a:gd name="T103" fmla="*/ 178 h 2054"/>
                <a:gd name="T104" fmla="*/ 326 w 1994"/>
                <a:gd name="T105" fmla="*/ 178 h 2054"/>
                <a:gd name="T106" fmla="*/ 326 w 1994"/>
                <a:gd name="T107" fmla="*/ 178 h 2054"/>
                <a:gd name="T108" fmla="*/ 326 w 1994"/>
                <a:gd name="T109" fmla="*/ 178 h 2054"/>
                <a:gd name="T110" fmla="*/ 326 w 1994"/>
                <a:gd name="T111" fmla="*/ 178 h 2054"/>
                <a:gd name="T112" fmla="*/ 326 w 1994"/>
                <a:gd name="T113" fmla="*/ 178 h 2054"/>
                <a:gd name="T114" fmla="*/ 326 w 1994"/>
                <a:gd name="T115" fmla="*/ 178 h 2054"/>
                <a:gd name="T116" fmla="*/ 326 w 1994"/>
                <a:gd name="T117" fmla="*/ 178 h 2054"/>
                <a:gd name="T118" fmla="*/ 326 w 1994"/>
                <a:gd name="T119" fmla="*/ 178 h 2054"/>
                <a:gd name="T120" fmla="*/ 326 w 1994"/>
                <a:gd name="T121" fmla="*/ 178 h 205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994"/>
                <a:gd name="T184" fmla="*/ 0 h 2054"/>
                <a:gd name="T185" fmla="*/ 1994 w 1994"/>
                <a:gd name="T186" fmla="*/ 2054 h 205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994" h="2054">
                  <a:moveTo>
                    <a:pt x="327" y="1629"/>
                  </a:moveTo>
                  <a:lnTo>
                    <a:pt x="320" y="1626"/>
                  </a:lnTo>
                  <a:lnTo>
                    <a:pt x="313" y="1623"/>
                  </a:lnTo>
                  <a:lnTo>
                    <a:pt x="309" y="1618"/>
                  </a:lnTo>
                  <a:lnTo>
                    <a:pt x="305" y="1613"/>
                  </a:lnTo>
                  <a:lnTo>
                    <a:pt x="303" y="1607"/>
                  </a:lnTo>
                  <a:lnTo>
                    <a:pt x="301" y="1599"/>
                  </a:lnTo>
                  <a:lnTo>
                    <a:pt x="299" y="1592"/>
                  </a:lnTo>
                  <a:lnTo>
                    <a:pt x="298" y="1585"/>
                  </a:lnTo>
                  <a:lnTo>
                    <a:pt x="296" y="1568"/>
                  </a:lnTo>
                  <a:lnTo>
                    <a:pt x="294" y="1553"/>
                  </a:lnTo>
                  <a:lnTo>
                    <a:pt x="292" y="1545"/>
                  </a:lnTo>
                  <a:lnTo>
                    <a:pt x="289" y="1536"/>
                  </a:lnTo>
                  <a:lnTo>
                    <a:pt x="285" y="1529"/>
                  </a:lnTo>
                  <a:lnTo>
                    <a:pt x="280" y="1523"/>
                  </a:lnTo>
                  <a:lnTo>
                    <a:pt x="273" y="1515"/>
                  </a:lnTo>
                  <a:lnTo>
                    <a:pt x="268" y="1505"/>
                  </a:lnTo>
                  <a:lnTo>
                    <a:pt x="264" y="1497"/>
                  </a:lnTo>
                  <a:lnTo>
                    <a:pt x="260" y="1489"/>
                  </a:lnTo>
                  <a:lnTo>
                    <a:pt x="254" y="1471"/>
                  </a:lnTo>
                  <a:lnTo>
                    <a:pt x="244" y="1452"/>
                  </a:lnTo>
                  <a:lnTo>
                    <a:pt x="240" y="1444"/>
                  </a:lnTo>
                  <a:lnTo>
                    <a:pt x="234" y="1438"/>
                  </a:lnTo>
                  <a:lnTo>
                    <a:pt x="228" y="1433"/>
                  </a:lnTo>
                  <a:lnTo>
                    <a:pt x="222" y="1428"/>
                  </a:lnTo>
                  <a:lnTo>
                    <a:pt x="216" y="1423"/>
                  </a:lnTo>
                  <a:lnTo>
                    <a:pt x="211" y="1418"/>
                  </a:lnTo>
                  <a:lnTo>
                    <a:pt x="209" y="1415"/>
                  </a:lnTo>
                  <a:lnTo>
                    <a:pt x="208" y="1410"/>
                  </a:lnTo>
                  <a:lnTo>
                    <a:pt x="207" y="1407"/>
                  </a:lnTo>
                  <a:lnTo>
                    <a:pt x="207" y="1402"/>
                  </a:lnTo>
                  <a:lnTo>
                    <a:pt x="207" y="1397"/>
                  </a:lnTo>
                  <a:lnTo>
                    <a:pt x="208" y="1392"/>
                  </a:lnTo>
                  <a:lnTo>
                    <a:pt x="210" y="1387"/>
                  </a:lnTo>
                  <a:lnTo>
                    <a:pt x="212" y="1382"/>
                  </a:lnTo>
                  <a:lnTo>
                    <a:pt x="217" y="1375"/>
                  </a:lnTo>
                  <a:lnTo>
                    <a:pt x="226" y="1367"/>
                  </a:lnTo>
                  <a:lnTo>
                    <a:pt x="244" y="1372"/>
                  </a:lnTo>
                  <a:lnTo>
                    <a:pt x="255" y="1368"/>
                  </a:lnTo>
                  <a:lnTo>
                    <a:pt x="263" y="1365"/>
                  </a:lnTo>
                  <a:lnTo>
                    <a:pt x="272" y="1363"/>
                  </a:lnTo>
                  <a:lnTo>
                    <a:pt x="282" y="1363"/>
                  </a:lnTo>
                  <a:lnTo>
                    <a:pt x="300" y="1362"/>
                  </a:lnTo>
                  <a:lnTo>
                    <a:pt x="315" y="1362"/>
                  </a:lnTo>
                  <a:lnTo>
                    <a:pt x="331" y="1362"/>
                  </a:lnTo>
                  <a:lnTo>
                    <a:pt x="348" y="1362"/>
                  </a:lnTo>
                  <a:lnTo>
                    <a:pt x="348" y="1334"/>
                  </a:lnTo>
                  <a:lnTo>
                    <a:pt x="347" y="1328"/>
                  </a:lnTo>
                  <a:lnTo>
                    <a:pt x="346" y="1322"/>
                  </a:lnTo>
                  <a:lnTo>
                    <a:pt x="344" y="1317"/>
                  </a:lnTo>
                  <a:lnTo>
                    <a:pt x="341" y="1312"/>
                  </a:lnTo>
                  <a:lnTo>
                    <a:pt x="334" y="1305"/>
                  </a:lnTo>
                  <a:lnTo>
                    <a:pt x="325" y="1299"/>
                  </a:lnTo>
                  <a:lnTo>
                    <a:pt x="314" y="1294"/>
                  </a:lnTo>
                  <a:lnTo>
                    <a:pt x="303" y="1287"/>
                  </a:lnTo>
                  <a:lnTo>
                    <a:pt x="293" y="1281"/>
                  </a:lnTo>
                  <a:lnTo>
                    <a:pt x="282" y="1273"/>
                  </a:lnTo>
                  <a:lnTo>
                    <a:pt x="275" y="1265"/>
                  </a:lnTo>
                  <a:lnTo>
                    <a:pt x="270" y="1257"/>
                  </a:lnTo>
                  <a:lnTo>
                    <a:pt x="266" y="1249"/>
                  </a:lnTo>
                  <a:lnTo>
                    <a:pt x="263" y="1241"/>
                  </a:lnTo>
                  <a:lnTo>
                    <a:pt x="260" y="1233"/>
                  </a:lnTo>
                  <a:lnTo>
                    <a:pt x="257" y="1225"/>
                  </a:lnTo>
                  <a:lnTo>
                    <a:pt x="253" y="1215"/>
                  </a:lnTo>
                  <a:lnTo>
                    <a:pt x="247" y="1207"/>
                  </a:lnTo>
                  <a:lnTo>
                    <a:pt x="232" y="1187"/>
                  </a:lnTo>
                  <a:lnTo>
                    <a:pt x="216" y="1171"/>
                  </a:lnTo>
                  <a:lnTo>
                    <a:pt x="209" y="1163"/>
                  </a:lnTo>
                  <a:lnTo>
                    <a:pt x="204" y="1154"/>
                  </a:lnTo>
                  <a:lnTo>
                    <a:pt x="203" y="1149"/>
                  </a:lnTo>
                  <a:lnTo>
                    <a:pt x="201" y="1144"/>
                  </a:lnTo>
                  <a:lnTo>
                    <a:pt x="200" y="1138"/>
                  </a:lnTo>
                  <a:lnTo>
                    <a:pt x="200" y="1132"/>
                  </a:lnTo>
                  <a:lnTo>
                    <a:pt x="200" y="1083"/>
                  </a:lnTo>
                  <a:lnTo>
                    <a:pt x="200" y="1078"/>
                  </a:lnTo>
                  <a:lnTo>
                    <a:pt x="199" y="1073"/>
                  </a:lnTo>
                  <a:lnTo>
                    <a:pt x="197" y="1069"/>
                  </a:lnTo>
                  <a:lnTo>
                    <a:pt x="196" y="1064"/>
                  </a:lnTo>
                  <a:lnTo>
                    <a:pt x="191" y="1056"/>
                  </a:lnTo>
                  <a:lnTo>
                    <a:pt x="186" y="1048"/>
                  </a:lnTo>
                  <a:lnTo>
                    <a:pt x="180" y="1041"/>
                  </a:lnTo>
                  <a:lnTo>
                    <a:pt x="176" y="1032"/>
                  </a:lnTo>
                  <a:lnTo>
                    <a:pt x="174" y="1028"/>
                  </a:lnTo>
                  <a:lnTo>
                    <a:pt x="173" y="1023"/>
                  </a:lnTo>
                  <a:lnTo>
                    <a:pt x="172" y="1018"/>
                  </a:lnTo>
                  <a:lnTo>
                    <a:pt x="171" y="1013"/>
                  </a:lnTo>
                  <a:lnTo>
                    <a:pt x="172" y="1008"/>
                  </a:lnTo>
                  <a:lnTo>
                    <a:pt x="174" y="1002"/>
                  </a:lnTo>
                  <a:lnTo>
                    <a:pt x="176" y="998"/>
                  </a:lnTo>
                  <a:lnTo>
                    <a:pt x="178" y="994"/>
                  </a:lnTo>
                  <a:lnTo>
                    <a:pt x="181" y="990"/>
                  </a:lnTo>
                  <a:lnTo>
                    <a:pt x="183" y="986"/>
                  </a:lnTo>
                  <a:lnTo>
                    <a:pt x="186" y="981"/>
                  </a:lnTo>
                  <a:lnTo>
                    <a:pt x="186" y="976"/>
                  </a:lnTo>
                  <a:lnTo>
                    <a:pt x="186" y="966"/>
                  </a:lnTo>
                  <a:lnTo>
                    <a:pt x="184" y="959"/>
                  </a:lnTo>
                  <a:lnTo>
                    <a:pt x="182" y="952"/>
                  </a:lnTo>
                  <a:lnTo>
                    <a:pt x="179" y="945"/>
                  </a:lnTo>
                  <a:lnTo>
                    <a:pt x="176" y="938"/>
                  </a:lnTo>
                  <a:lnTo>
                    <a:pt x="172" y="932"/>
                  </a:lnTo>
                  <a:lnTo>
                    <a:pt x="168" y="926"/>
                  </a:lnTo>
                  <a:lnTo>
                    <a:pt x="163" y="921"/>
                  </a:lnTo>
                  <a:lnTo>
                    <a:pt x="153" y="911"/>
                  </a:lnTo>
                  <a:lnTo>
                    <a:pt x="140" y="900"/>
                  </a:lnTo>
                  <a:lnTo>
                    <a:pt x="127" y="891"/>
                  </a:lnTo>
                  <a:lnTo>
                    <a:pt x="112" y="881"/>
                  </a:lnTo>
                  <a:lnTo>
                    <a:pt x="106" y="874"/>
                  </a:lnTo>
                  <a:lnTo>
                    <a:pt x="101" y="868"/>
                  </a:lnTo>
                  <a:lnTo>
                    <a:pt x="97" y="861"/>
                  </a:lnTo>
                  <a:lnTo>
                    <a:pt x="94" y="854"/>
                  </a:lnTo>
                  <a:lnTo>
                    <a:pt x="91" y="838"/>
                  </a:lnTo>
                  <a:lnTo>
                    <a:pt x="89" y="822"/>
                  </a:lnTo>
                  <a:lnTo>
                    <a:pt x="88" y="805"/>
                  </a:lnTo>
                  <a:lnTo>
                    <a:pt x="85" y="789"/>
                  </a:lnTo>
                  <a:lnTo>
                    <a:pt x="83" y="780"/>
                  </a:lnTo>
                  <a:lnTo>
                    <a:pt x="80" y="772"/>
                  </a:lnTo>
                  <a:lnTo>
                    <a:pt x="76" y="765"/>
                  </a:lnTo>
                  <a:lnTo>
                    <a:pt x="70" y="758"/>
                  </a:lnTo>
                  <a:lnTo>
                    <a:pt x="66" y="755"/>
                  </a:lnTo>
                  <a:lnTo>
                    <a:pt x="62" y="751"/>
                  </a:lnTo>
                  <a:lnTo>
                    <a:pt x="57" y="748"/>
                  </a:lnTo>
                  <a:lnTo>
                    <a:pt x="51" y="745"/>
                  </a:lnTo>
                  <a:lnTo>
                    <a:pt x="41" y="741"/>
                  </a:lnTo>
                  <a:lnTo>
                    <a:pt x="31" y="738"/>
                  </a:lnTo>
                  <a:lnTo>
                    <a:pt x="22" y="734"/>
                  </a:lnTo>
                  <a:lnTo>
                    <a:pt x="13" y="728"/>
                  </a:lnTo>
                  <a:lnTo>
                    <a:pt x="10" y="725"/>
                  </a:lnTo>
                  <a:lnTo>
                    <a:pt x="8" y="721"/>
                  </a:lnTo>
                  <a:lnTo>
                    <a:pt x="7" y="716"/>
                  </a:lnTo>
                  <a:lnTo>
                    <a:pt x="6" y="711"/>
                  </a:lnTo>
                  <a:lnTo>
                    <a:pt x="7" y="703"/>
                  </a:lnTo>
                  <a:lnTo>
                    <a:pt x="9" y="697"/>
                  </a:lnTo>
                  <a:lnTo>
                    <a:pt x="12" y="691"/>
                  </a:lnTo>
                  <a:lnTo>
                    <a:pt x="15" y="685"/>
                  </a:lnTo>
                  <a:lnTo>
                    <a:pt x="25" y="675"/>
                  </a:lnTo>
                  <a:lnTo>
                    <a:pt x="35" y="666"/>
                  </a:lnTo>
                  <a:lnTo>
                    <a:pt x="45" y="657"/>
                  </a:lnTo>
                  <a:lnTo>
                    <a:pt x="55" y="647"/>
                  </a:lnTo>
                  <a:lnTo>
                    <a:pt x="58" y="641"/>
                  </a:lnTo>
                  <a:lnTo>
                    <a:pt x="61" y="635"/>
                  </a:lnTo>
                  <a:lnTo>
                    <a:pt x="63" y="629"/>
                  </a:lnTo>
                  <a:lnTo>
                    <a:pt x="63" y="621"/>
                  </a:lnTo>
                  <a:lnTo>
                    <a:pt x="62" y="608"/>
                  </a:lnTo>
                  <a:lnTo>
                    <a:pt x="60" y="598"/>
                  </a:lnTo>
                  <a:lnTo>
                    <a:pt x="56" y="587"/>
                  </a:lnTo>
                  <a:lnTo>
                    <a:pt x="50" y="578"/>
                  </a:lnTo>
                  <a:lnTo>
                    <a:pt x="44" y="569"/>
                  </a:lnTo>
                  <a:lnTo>
                    <a:pt x="38" y="558"/>
                  </a:lnTo>
                  <a:lnTo>
                    <a:pt x="33" y="548"/>
                  </a:lnTo>
                  <a:lnTo>
                    <a:pt x="28" y="536"/>
                  </a:lnTo>
                  <a:lnTo>
                    <a:pt x="21" y="512"/>
                  </a:lnTo>
                  <a:lnTo>
                    <a:pt x="15" y="490"/>
                  </a:lnTo>
                  <a:lnTo>
                    <a:pt x="12" y="479"/>
                  </a:lnTo>
                  <a:lnTo>
                    <a:pt x="9" y="468"/>
                  </a:lnTo>
                  <a:lnTo>
                    <a:pt x="5" y="456"/>
                  </a:lnTo>
                  <a:lnTo>
                    <a:pt x="0" y="444"/>
                  </a:lnTo>
                  <a:lnTo>
                    <a:pt x="9" y="439"/>
                  </a:lnTo>
                  <a:lnTo>
                    <a:pt x="17" y="432"/>
                  </a:lnTo>
                  <a:lnTo>
                    <a:pt x="25" y="426"/>
                  </a:lnTo>
                  <a:lnTo>
                    <a:pt x="31" y="420"/>
                  </a:lnTo>
                  <a:lnTo>
                    <a:pt x="36" y="412"/>
                  </a:lnTo>
                  <a:lnTo>
                    <a:pt x="40" y="405"/>
                  </a:lnTo>
                  <a:lnTo>
                    <a:pt x="44" y="396"/>
                  </a:lnTo>
                  <a:lnTo>
                    <a:pt x="46" y="388"/>
                  </a:lnTo>
                  <a:lnTo>
                    <a:pt x="49" y="379"/>
                  </a:lnTo>
                  <a:lnTo>
                    <a:pt x="50" y="369"/>
                  </a:lnTo>
                  <a:lnTo>
                    <a:pt x="51" y="359"/>
                  </a:lnTo>
                  <a:lnTo>
                    <a:pt x="52" y="350"/>
                  </a:lnTo>
                  <a:lnTo>
                    <a:pt x="54" y="329"/>
                  </a:lnTo>
                  <a:lnTo>
                    <a:pt x="54" y="308"/>
                  </a:lnTo>
                  <a:lnTo>
                    <a:pt x="72" y="317"/>
                  </a:lnTo>
                  <a:lnTo>
                    <a:pt x="91" y="314"/>
                  </a:lnTo>
                  <a:lnTo>
                    <a:pt x="107" y="312"/>
                  </a:lnTo>
                  <a:lnTo>
                    <a:pt x="123" y="310"/>
                  </a:lnTo>
                  <a:lnTo>
                    <a:pt x="141" y="310"/>
                  </a:lnTo>
                  <a:lnTo>
                    <a:pt x="147" y="311"/>
                  </a:lnTo>
                  <a:lnTo>
                    <a:pt x="153" y="313"/>
                  </a:lnTo>
                  <a:lnTo>
                    <a:pt x="158" y="316"/>
                  </a:lnTo>
                  <a:lnTo>
                    <a:pt x="162" y="319"/>
                  </a:lnTo>
                  <a:lnTo>
                    <a:pt x="167" y="322"/>
                  </a:lnTo>
                  <a:lnTo>
                    <a:pt x="172" y="325"/>
                  </a:lnTo>
                  <a:lnTo>
                    <a:pt x="177" y="327"/>
                  </a:lnTo>
                  <a:lnTo>
                    <a:pt x="183" y="328"/>
                  </a:lnTo>
                  <a:lnTo>
                    <a:pt x="192" y="328"/>
                  </a:lnTo>
                  <a:lnTo>
                    <a:pt x="199" y="326"/>
                  </a:lnTo>
                  <a:lnTo>
                    <a:pt x="205" y="323"/>
                  </a:lnTo>
                  <a:lnTo>
                    <a:pt x="211" y="320"/>
                  </a:lnTo>
                  <a:lnTo>
                    <a:pt x="217" y="317"/>
                  </a:lnTo>
                  <a:lnTo>
                    <a:pt x="225" y="315"/>
                  </a:lnTo>
                  <a:lnTo>
                    <a:pt x="232" y="313"/>
                  </a:lnTo>
                  <a:lnTo>
                    <a:pt x="240" y="312"/>
                  </a:lnTo>
                  <a:lnTo>
                    <a:pt x="247" y="313"/>
                  </a:lnTo>
                  <a:lnTo>
                    <a:pt x="254" y="315"/>
                  </a:lnTo>
                  <a:lnTo>
                    <a:pt x="260" y="318"/>
                  </a:lnTo>
                  <a:lnTo>
                    <a:pt x="265" y="322"/>
                  </a:lnTo>
                  <a:lnTo>
                    <a:pt x="275" y="331"/>
                  </a:lnTo>
                  <a:lnTo>
                    <a:pt x="283" y="343"/>
                  </a:lnTo>
                  <a:lnTo>
                    <a:pt x="293" y="354"/>
                  </a:lnTo>
                  <a:lnTo>
                    <a:pt x="302" y="363"/>
                  </a:lnTo>
                  <a:lnTo>
                    <a:pt x="307" y="367"/>
                  </a:lnTo>
                  <a:lnTo>
                    <a:pt x="313" y="371"/>
                  </a:lnTo>
                  <a:lnTo>
                    <a:pt x="320" y="373"/>
                  </a:lnTo>
                  <a:lnTo>
                    <a:pt x="327" y="374"/>
                  </a:lnTo>
                  <a:lnTo>
                    <a:pt x="336" y="373"/>
                  </a:lnTo>
                  <a:lnTo>
                    <a:pt x="344" y="372"/>
                  </a:lnTo>
                  <a:lnTo>
                    <a:pt x="353" y="368"/>
                  </a:lnTo>
                  <a:lnTo>
                    <a:pt x="360" y="365"/>
                  </a:lnTo>
                  <a:lnTo>
                    <a:pt x="366" y="361"/>
                  </a:lnTo>
                  <a:lnTo>
                    <a:pt x="372" y="356"/>
                  </a:lnTo>
                  <a:lnTo>
                    <a:pt x="378" y="351"/>
                  </a:lnTo>
                  <a:lnTo>
                    <a:pt x="384" y="346"/>
                  </a:lnTo>
                  <a:lnTo>
                    <a:pt x="405" y="319"/>
                  </a:lnTo>
                  <a:lnTo>
                    <a:pt x="429" y="291"/>
                  </a:lnTo>
                  <a:lnTo>
                    <a:pt x="441" y="279"/>
                  </a:lnTo>
                  <a:lnTo>
                    <a:pt x="455" y="269"/>
                  </a:lnTo>
                  <a:lnTo>
                    <a:pt x="468" y="262"/>
                  </a:lnTo>
                  <a:lnTo>
                    <a:pt x="483" y="256"/>
                  </a:lnTo>
                  <a:lnTo>
                    <a:pt x="510" y="243"/>
                  </a:lnTo>
                  <a:lnTo>
                    <a:pt x="541" y="229"/>
                  </a:lnTo>
                  <a:lnTo>
                    <a:pt x="552" y="223"/>
                  </a:lnTo>
                  <a:lnTo>
                    <a:pt x="560" y="216"/>
                  </a:lnTo>
                  <a:lnTo>
                    <a:pt x="566" y="208"/>
                  </a:lnTo>
                  <a:lnTo>
                    <a:pt x="571" y="200"/>
                  </a:lnTo>
                  <a:lnTo>
                    <a:pt x="575" y="191"/>
                  </a:lnTo>
                  <a:lnTo>
                    <a:pt x="578" y="182"/>
                  </a:lnTo>
                  <a:lnTo>
                    <a:pt x="582" y="172"/>
                  </a:lnTo>
                  <a:lnTo>
                    <a:pt x="584" y="162"/>
                  </a:lnTo>
                  <a:lnTo>
                    <a:pt x="588" y="140"/>
                  </a:lnTo>
                  <a:lnTo>
                    <a:pt x="593" y="120"/>
                  </a:lnTo>
                  <a:lnTo>
                    <a:pt x="596" y="109"/>
                  </a:lnTo>
                  <a:lnTo>
                    <a:pt x="600" y="98"/>
                  </a:lnTo>
                  <a:lnTo>
                    <a:pt x="606" y="89"/>
                  </a:lnTo>
                  <a:lnTo>
                    <a:pt x="612" y="78"/>
                  </a:lnTo>
                  <a:lnTo>
                    <a:pt x="620" y="66"/>
                  </a:lnTo>
                  <a:lnTo>
                    <a:pt x="627" y="53"/>
                  </a:lnTo>
                  <a:lnTo>
                    <a:pt x="631" y="48"/>
                  </a:lnTo>
                  <a:lnTo>
                    <a:pt x="635" y="44"/>
                  </a:lnTo>
                  <a:lnTo>
                    <a:pt x="641" y="41"/>
                  </a:lnTo>
                  <a:lnTo>
                    <a:pt x="648" y="40"/>
                  </a:lnTo>
                  <a:lnTo>
                    <a:pt x="657" y="41"/>
                  </a:lnTo>
                  <a:lnTo>
                    <a:pt x="665" y="44"/>
                  </a:lnTo>
                  <a:lnTo>
                    <a:pt x="672" y="46"/>
                  </a:lnTo>
                  <a:lnTo>
                    <a:pt x="682" y="47"/>
                  </a:lnTo>
                  <a:lnTo>
                    <a:pt x="732" y="47"/>
                  </a:lnTo>
                  <a:lnTo>
                    <a:pt x="753" y="46"/>
                  </a:lnTo>
                  <a:lnTo>
                    <a:pt x="770" y="44"/>
                  </a:lnTo>
                  <a:lnTo>
                    <a:pt x="788" y="41"/>
                  </a:lnTo>
                  <a:lnTo>
                    <a:pt x="808" y="40"/>
                  </a:lnTo>
                  <a:lnTo>
                    <a:pt x="855" y="40"/>
                  </a:lnTo>
                  <a:lnTo>
                    <a:pt x="873" y="41"/>
                  </a:lnTo>
                  <a:lnTo>
                    <a:pt x="890" y="43"/>
                  </a:lnTo>
                  <a:lnTo>
                    <a:pt x="906" y="46"/>
                  </a:lnTo>
                  <a:lnTo>
                    <a:pt x="922" y="49"/>
                  </a:lnTo>
                  <a:lnTo>
                    <a:pt x="937" y="53"/>
                  </a:lnTo>
                  <a:lnTo>
                    <a:pt x="953" y="57"/>
                  </a:lnTo>
                  <a:lnTo>
                    <a:pt x="969" y="59"/>
                  </a:lnTo>
                  <a:lnTo>
                    <a:pt x="989" y="60"/>
                  </a:lnTo>
                  <a:lnTo>
                    <a:pt x="1007" y="59"/>
                  </a:lnTo>
                  <a:lnTo>
                    <a:pt x="1025" y="57"/>
                  </a:lnTo>
                  <a:lnTo>
                    <a:pt x="1041" y="55"/>
                  </a:lnTo>
                  <a:lnTo>
                    <a:pt x="1057" y="50"/>
                  </a:lnTo>
                  <a:lnTo>
                    <a:pt x="1088" y="42"/>
                  </a:lnTo>
                  <a:lnTo>
                    <a:pt x="1117" y="32"/>
                  </a:lnTo>
                  <a:lnTo>
                    <a:pt x="1146" y="23"/>
                  </a:lnTo>
                  <a:lnTo>
                    <a:pt x="1177" y="13"/>
                  </a:lnTo>
                  <a:lnTo>
                    <a:pt x="1192" y="10"/>
                  </a:lnTo>
                  <a:lnTo>
                    <a:pt x="1209" y="7"/>
                  </a:lnTo>
                  <a:lnTo>
                    <a:pt x="1226" y="6"/>
                  </a:lnTo>
                  <a:lnTo>
                    <a:pt x="1245" y="5"/>
                  </a:lnTo>
                  <a:lnTo>
                    <a:pt x="1298" y="5"/>
                  </a:lnTo>
                  <a:lnTo>
                    <a:pt x="1306" y="4"/>
                  </a:lnTo>
                  <a:lnTo>
                    <a:pt x="1315" y="3"/>
                  </a:lnTo>
                  <a:lnTo>
                    <a:pt x="1323" y="1"/>
                  </a:lnTo>
                  <a:lnTo>
                    <a:pt x="1331" y="0"/>
                  </a:lnTo>
                  <a:lnTo>
                    <a:pt x="1342" y="1"/>
                  </a:lnTo>
                  <a:lnTo>
                    <a:pt x="1352" y="3"/>
                  </a:lnTo>
                  <a:lnTo>
                    <a:pt x="1361" y="5"/>
                  </a:lnTo>
                  <a:lnTo>
                    <a:pt x="1369" y="9"/>
                  </a:lnTo>
                  <a:lnTo>
                    <a:pt x="1386" y="17"/>
                  </a:lnTo>
                  <a:lnTo>
                    <a:pt x="1401" y="28"/>
                  </a:lnTo>
                  <a:lnTo>
                    <a:pt x="1417" y="37"/>
                  </a:lnTo>
                  <a:lnTo>
                    <a:pt x="1433" y="46"/>
                  </a:lnTo>
                  <a:lnTo>
                    <a:pt x="1442" y="49"/>
                  </a:lnTo>
                  <a:lnTo>
                    <a:pt x="1451" y="52"/>
                  </a:lnTo>
                  <a:lnTo>
                    <a:pt x="1460" y="53"/>
                  </a:lnTo>
                  <a:lnTo>
                    <a:pt x="1471" y="55"/>
                  </a:lnTo>
                  <a:lnTo>
                    <a:pt x="1559" y="55"/>
                  </a:lnTo>
                  <a:lnTo>
                    <a:pt x="1583" y="56"/>
                  </a:lnTo>
                  <a:lnTo>
                    <a:pt x="1606" y="57"/>
                  </a:lnTo>
                  <a:lnTo>
                    <a:pt x="1626" y="59"/>
                  </a:lnTo>
                  <a:lnTo>
                    <a:pt x="1646" y="62"/>
                  </a:lnTo>
                  <a:lnTo>
                    <a:pt x="1665" y="65"/>
                  </a:lnTo>
                  <a:lnTo>
                    <a:pt x="1685" y="68"/>
                  </a:lnTo>
                  <a:lnTo>
                    <a:pt x="1705" y="71"/>
                  </a:lnTo>
                  <a:lnTo>
                    <a:pt x="1725" y="73"/>
                  </a:lnTo>
                  <a:lnTo>
                    <a:pt x="1730" y="98"/>
                  </a:lnTo>
                  <a:lnTo>
                    <a:pt x="1734" y="120"/>
                  </a:lnTo>
                  <a:lnTo>
                    <a:pt x="1737" y="142"/>
                  </a:lnTo>
                  <a:lnTo>
                    <a:pt x="1737" y="168"/>
                  </a:lnTo>
                  <a:lnTo>
                    <a:pt x="1737" y="185"/>
                  </a:lnTo>
                  <a:lnTo>
                    <a:pt x="1734" y="200"/>
                  </a:lnTo>
                  <a:lnTo>
                    <a:pt x="1731" y="215"/>
                  </a:lnTo>
                  <a:lnTo>
                    <a:pt x="1727" y="228"/>
                  </a:lnTo>
                  <a:lnTo>
                    <a:pt x="1723" y="241"/>
                  </a:lnTo>
                  <a:lnTo>
                    <a:pt x="1717" y="254"/>
                  </a:lnTo>
                  <a:lnTo>
                    <a:pt x="1711" y="266"/>
                  </a:lnTo>
                  <a:lnTo>
                    <a:pt x="1704" y="279"/>
                  </a:lnTo>
                  <a:lnTo>
                    <a:pt x="1689" y="302"/>
                  </a:lnTo>
                  <a:lnTo>
                    <a:pt x="1672" y="326"/>
                  </a:lnTo>
                  <a:lnTo>
                    <a:pt x="1655" y="352"/>
                  </a:lnTo>
                  <a:lnTo>
                    <a:pt x="1638" y="381"/>
                  </a:lnTo>
                  <a:lnTo>
                    <a:pt x="1629" y="393"/>
                  </a:lnTo>
                  <a:lnTo>
                    <a:pt x="1621" y="406"/>
                  </a:lnTo>
                  <a:lnTo>
                    <a:pt x="1617" y="411"/>
                  </a:lnTo>
                  <a:lnTo>
                    <a:pt x="1615" y="417"/>
                  </a:lnTo>
                  <a:lnTo>
                    <a:pt x="1613" y="424"/>
                  </a:lnTo>
                  <a:lnTo>
                    <a:pt x="1612" y="432"/>
                  </a:lnTo>
                  <a:lnTo>
                    <a:pt x="1613" y="447"/>
                  </a:lnTo>
                  <a:lnTo>
                    <a:pt x="1616" y="461"/>
                  </a:lnTo>
                  <a:lnTo>
                    <a:pt x="1620" y="475"/>
                  </a:lnTo>
                  <a:lnTo>
                    <a:pt x="1625" y="487"/>
                  </a:lnTo>
                  <a:lnTo>
                    <a:pt x="1631" y="499"/>
                  </a:lnTo>
                  <a:lnTo>
                    <a:pt x="1639" y="510"/>
                  </a:lnTo>
                  <a:lnTo>
                    <a:pt x="1646" y="520"/>
                  </a:lnTo>
                  <a:lnTo>
                    <a:pt x="1653" y="532"/>
                  </a:lnTo>
                  <a:lnTo>
                    <a:pt x="1661" y="542"/>
                  </a:lnTo>
                  <a:lnTo>
                    <a:pt x="1668" y="553"/>
                  </a:lnTo>
                  <a:lnTo>
                    <a:pt x="1676" y="565"/>
                  </a:lnTo>
                  <a:lnTo>
                    <a:pt x="1682" y="576"/>
                  </a:lnTo>
                  <a:lnTo>
                    <a:pt x="1687" y="588"/>
                  </a:lnTo>
                  <a:lnTo>
                    <a:pt x="1691" y="602"/>
                  </a:lnTo>
                  <a:lnTo>
                    <a:pt x="1693" y="615"/>
                  </a:lnTo>
                  <a:lnTo>
                    <a:pt x="1694" y="631"/>
                  </a:lnTo>
                  <a:lnTo>
                    <a:pt x="1694" y="638"/>
                  </a:lnTo>
                  <a:lnTo>
                    <a:pt x="1693" y="645"/>
                  </a:lnTo>
                  <a:lnTo>
                    <a:pt x="1691" y="651"/>
                  </a:lnTo>
                  <a:lnTo>
                    <a:pt x="1690" y="658"/>
                  </a:lnTo>
                  <a:lnTo>
                    <a:pt x="1688" y="664"/>
                  </a:lnTo>
                  <a:lnTo>
                    <a:pt x="1687" y="670"/>
                  </a:lnTo>
                  <a:lnTo>
                    <a:pt x="1685" y="677"/>
                  </a:lnTo>
                  <a:lnTo>
                    <a:pt x="1685" y="684"/>
                  </a:lnTo>
                  <a:lnTo>
                    <a:pt x="1685" y="732"/>
                  </a:lnTo>
                  <a:lnTo>
                    <a:pt x="1692" y="741"/>
                  </a:lnTo>
                  <a:lnTo>
                    <a:pt x="1722" y="733"/>
                  </a:lnTo>
                  <a:lnTo>
                    <a:pt x="1748" y="725"/>
                  </a:lnTo>
                  <a:lnTo>
                    <a:pt x="1761" y="721"/>
                  </a:lnTo>
                  <a:lnTo>
                    <a:pt x="1775" y="719"/>
                  </a:lnTo>
                  <a:lnTo>
                    <a:pt x="1789" y="716"/>
                  </a:lnTo>
                  <a:lnTo>
                    <a:pt x="1806" y="715"/>
                  </a:lnTo>
                  <a:lnTo>
                    <a:pt x="1809" y="716"/>
                  </a:lnTo>
                  <a:lnTo>
                    <a:pt x="1812" y="719"/>
                  </a:lnTo>
                  <a:lnTo>
                    <a:pt x="1813" y="721"/>
                  </a:lnTo>
                  <a:lnTo>
                    <a:pt x="1814" y="725"/>
                  </a:lnTo>
                  <a:lnTo>
                    <a:pt x="1815" y="733"/>
                  </a:lnTo>
                  <a:lnTo>
                    <a:pt x="1817" y="741"/>
                  </a:lnTo>
                  <a:lnTo>
                    <a:pt x="1822" y="755"/>
                  </a:lnTo>
                  <a:lnTo>
                    <a:pt x="1827" y="765"/>
                  </a:lnTo>
                  <a:lnTo>
                    <a:pt x="1832" y="776"/>
                  </a:lnTo>
                  <a:lnTo>
                    <a:pt x="1839" y="789"/>
                  </a:lnTo>
                  <a:lnTo>
                    <a:pt x="1857" y="824"/>
                  </a:lnTo>
                  <a:lnTo>
                    <a:pt x="1875" y="854"/>
                  </a:lnTo>
                  <a:lnTo>
                    <a:pt x="1883" y="869"/>
                  </a:lnTo>
                  <a:lnTo>
                    <a:pt x="1889" y="886"/>
                  </a:lnTo>
                  <a:lnTo>
                    <a:pt x="1891" y="894"/>
                  </a:lnTo>
                  <a:lnTo>
                    <a:pt x="1893" y="903"/>
                  </a:lnTo>
                  <a:lnTo>
                    <a:pt x="1894" y="913"/>
                  </a:lnTo>
                  <a:lnTo>
                    <a:pt x="1895" y="923"/>
                  </a:lnTo>
                  <a:lnTo>
                    <a:pt x="1894" y="929"/>
                  </a:lnTo>
                  <a:lnTo>
                    <a:pt x="1891" y="933"/>
                  </a:lnTo>
                  <a:lnTo>
                    <a:pt x="1889" y="937"/>
                  </a:lnTo>
                  <a:lnTo>
                    <a:pt x="1885" y="943"/>
                  </a:lnTo>
                  <a:lnTo>
                    <a:pt x="1888" y="952"/>
                  </a:lnTo>
                  <a:lnTo>
                    <a:pt x="1907" y="958"/>
                  </a:lnTo>
                  <a:lnTo>
                    <a:pt x="1924" y="966"/>
                  </a:lnTo>
                  <a:lnTo>
                    <a:pt x="1932" y="972"/>
                  </a:lnTo>
                  <a:lnTo>
                    <a:pt x="1940" y="977"/>
                  </a:lnTo>
                  <a:lnTo>
                    <a:pt x="1947" y="982"/>
                  </a:lnTo>
                  <a:lnTo>
                    <a:pt x="1954" y="987"/>
                  </a:lnTo>
                  <a:lnTo>
                    <a:pt x="1960" y="994"/>
                  </a:lnTo>
                  <a:lnTo>
                    <a:pt x="1965" y="1000"/>
                  </a:lnTo>
                  <a:lnTo>
                    <a:pt x="1971" y="1008"/>
                  </a:lnTo>
                  <a:lnTo>
                    <a:pt x="1975" y="1015"/>
                  </a:lnTo>
                  <a:lnTo>
                    <a:pt x="1978" y="1023"/>
                  </a:lnTo>
                  <a:lnTo>
                    <a:pt x="1980" y="1032"/>
                  </a:lnTo>
                  <a:lnTo>
                    <a:pt x="1982" y="1041"/>
                  </a:lnTo>
                  <a:lnTo>
                    <a:pt x="1982" y="1051"/>
                  </a:lnTo>
                  <a:lnTo>
                    <a:pt x="1981" y="1058"/>
                  </a:lnTo>
                  <a:lnTo>
                    <a:pt x="1979" y="1063"/>
                  </a:lnTo>
                  <a:lnTo>
                    <a:pt x="1975" y="1069"/>
                  </a:lnTo>
                  <a:lnTo>
                    <a:pt x="1970" y="1073"/>
                  </a:lnTo>
                  <a:lnTo>
                    <a:pt x="1957" y="1079"/>
                  </a:lnTo>
                  <a:lnTo>
                    <a:pt x="1942" y="1085"/>
                  </a:lnTo>
                  <a:lnTo>
                    <a:pt x="1927" y="1090"/>
                  </a:lnTo>
                  <a:lnTo>
                    <a:pt x="1915" y="1096"/>
                  </a:lnTo>
                  <a:lnTo>
                    <a:pt x="1910" y="1101"/>
                  </a:lnTo>
                  <a:lnTo>
                    <a:pt x="1906" y="1106"/>
                  </a:lnTo>
                  <a:lnTo>
                    <a:pt x="1903" y="1112"/>
                  </a:lnTo>
                  <a:lnTo>
                    <a:pt x="1902" y="1118"/>
                  </a:lnTo>
                  <a:lnTo>
                    <a:pt x="1903" y="1132"/>
                  </a:lnTo>
                  <a:lnTo>
                    <a:pt x="1904" y="1144"/>
                  </a:lnTo>
                  <a:lnTo>
                    <a:pt x="1905" y="1155"/>
                  </a:lnTo>
                  <a:lnTo>
                    <a:pt x="1905" y="1169"/>
                  </a:lnTo>
                  <a:lnTo>
                    <a:pt x="1914" y="1170"/>
                  </a:lnTo>
                  <a:lnTo>
                    <a:pt x="1923" y="1171"/>
                  </a:lnTo>
                  <a:lnTo>
                    <a:pt x="1931" y="1173"/>
                  </a:lnTo>
                  <a:lnTo>
                    <a:pt x="1940" y="1177"/>
                  </a:lnTo>
                  <a:lnTo>
                    <a:pt x="1948" y="1181"/>
                  </a:lnTo>
                  <a:lnTo>
                    <a:pt x="1955" y="1186"/>
                  </a:lnTo>
                  <a:lnTo>
                    <a:pt x="1962" y="1191"/>
                  </a:lnTo>
                  <a:lnTo>
                    <a:pt x="1969" y="1198"/>
                  </a:lnTo>
                  <a:lnTo>
                    <a:pt x="1974" y="1205"/>
                  </a:lnTo>
                  <a:lnTo>
                    <a:pt x="1979" y="1212"/>
                  </a:lnTo>
                  <a:lnTo>
                    <a:pt x="1983" y="1220"/>
                  </a:lnTo>
                  <a:lnTo>
                    <a:pt x="1987" y="1229"/>
                  </a:lnTo>
                  <a:lnTo>
                    <a:pt x="1990" y="1238"/>
                  </a:lnTo>
                  <a:lnTo>
                    <a:pt x="1992" y="1246"/>
                  </a:lnTo>
                  <a:lnTo>
                    <a:pt x="1993" y="1257"/>
                  </a:lnTo>
                  <a:lnTo>
                    <a:pt x="1994" y="1266"/>
                  </a:lnTo>
                  <a:lnTo>
                    <a:pt x="1993" y="1273"/>
                  </a:lnTo>
                  <a:lnTo>
                    <a:pt x="1992" y="1279"/>
                  </a:lnTo>
                  <a:lnTo>
                    <a:pt x="1989" y="1284"/>
                  </a:lnTo>
                  <a:lnTo>
                    <a:pt x="1986" y="1290"/>
                  </a:lnTo>
                  <a:lnTo>
                    <a:pt x="1978" y="1299"/>
                  </a:lnTo>
                  <a:lnTo>
                    <a:pt x="1969" y="1307"/>
                  </a:lnTo>
                  <a:lnTo>
                    <a:pt x="1958" y="1314"/>
                  </a:lnTo>
                  <a:lnTo>
                    <a:pt x="1948" y="1324"/>
                  </a:lnTo>
                  <a:lnTo>
                    <a:pt x="1944" y="1328"/>
                  </a:lnTo>
                  <a:lnTo>
                    <a:pt x="1939" y="1333"/>
                  </a:lnTo>
                  <a:lnTo>
                    <a:pt x="1936" y="1339"/>
                  </a:lnTo>
                  <a:lnTo>
                    <a:pt x="1932" y="1346"/>
                  </a:lnTo>
                  <a:lnTo>
                    <a:pt x="1920" y="1385"/>
                  </a:lnTo>
                  <a:lnTo>
                    <a:pt x="1910" y="1420"/>
                  </a:lnTo>
                  <a:lnTo>
                    <a:pt x="1906" y="1428"/>
                  </a:lnTo>
                  <a:lnTo>
                    <a:pt x="1903" y="1435"/>
                  </a:lnTo>
                  <a:lnTo>
                    <a:pt x="1898" y="1443"/>
                  </a:lnTo>
                  <a:lnTo>
                    <a:pt x="1893" y="1451"/>
                  </a:lnTo>
                  <a:lnTo>
                    <a:pt x="1888" y="1458"/>
                  </a:lnTo>
                  <a:lnTo>
                    <a:pt x="1882" y="1465"/>
                  </a:lnTo>
                  <a:lnTo>
                    <a:pt x="1875" y="1471"/>
                  </a:lnTo>
                  <a:lnTo>
                    <a:pt x="1866" y="1479"/>
                  </a:lnTo>
                  <a:lnTo>
                    <a:pt x="1851" y="1491"/>
                  </a:lnTo>
                  <a:lnTo>
                    <a:pt x="1839" y="1503"/>
                  </a:lnTo>
                  <a:lnTo>
                    <a:pt x="1828" y="1517"/>
                  </a:lnTo>
                  <a:lnTo>
                    <a:pt x="1820" y="1531"/>
                  </a:lnTo>
                  <a:lnTo>
                    <a:pt x="1812" y="1547"/>
                  </a:lnTo>
                  <a:lnTo>
                    <a:pt x="1805" y="1562"/>
                  </a:lnTo>
                  <a:lnTo>
                    <a:pt x="1798" y="1580"/>
                  </a:lnTo>
                  <a:lnTo>
                    <a:pt x="1791" y="1598"/>
                  </a:lnTo>
                  <a:lnTo>
                    <a:pt x="1786" y="1614"/>
                  </a:lnTo>
                  <a:lnTo>
                    <a:pt x="1781" y="1628"/>
                  </a:lnTo>
                  <a:lnTo>
                    <a:pt x="1776" y="1642"/>
                  </a:lnTo>
                  <a:lnTo>
                    <a:pt x="1770" y="1654"/>
                  </a:lnTo>
                  <a:lnTo>
                    <a:pt x="1766" y="1660"/>
                  </a:lnTo>
                  <a:lnTo>
                    <a:pt x="1762" y="1665"/>
                  </a:lnTo>
                  <a:lnTo>
                    <a:pt x="1758" y="1671"/>
                  </a:lnTo>
                  <a:lnTo>
                    <a:pt x="1753" y="1676"/>
                  </a:lnTo>
                  <a:lnTo>
                    <a:pt x="1748" y="1680"/>
                  </a:lnTo>
                  <a:lnTo>
                    <a:pt x="1742" y="1683"/>
                  </a:lnTo>
                  <a:lnTo>
                    <a:pt x="1734" y="1686"/>
                  </a:lnTo>
                  <a:lnTo>
                    <a:pt x="1727" y="1688"/>
                  </a:lnTo>
                  <a:lnTo>
                    <a:pt x="1720" y="1671"/>
                  </a:lnTo>
                  <a:lnTo>
                    <a:pt x="1714" y="1654"/>
                  </a:lnTo>
                  <a:lnTo>
                    <a:pt x="1707" y="1639"/>
                  </a:lnTo>
                  <a:lnTo>
                    <a:pt x="1697" y="1622"/>
                  </a:lnTo>
                  <a:lnTo>
                    <a:pt x="1678" y="1629"/>
                  </a:lnTo>
                  <a:lnTo>
                    <a:pt x="1660" y="1635"/>
                  </a:lnTo>
                  <a:lnTo>
                    <a:pt x="1651" y="1638"/>
                  </a:lnTo>
                  <a:lnTo>
                    <a:pt x="1642" y="1640"/>
                  </a:lnTo>
                  <a:lnTo>
                    <a:pt x="1632" y="1641"/>
                  </a:lnTo>
                  <a:lnTo>
                    <a:pt x="1621" y="1641"/>
                  </a:lnTo>
                  <a:lnTo>
                    <a:pt x="1613" y="1641"/>
                  </a:lnTo>
                  <a:lnTo>
                    <a:pt x="1605" y="1639"/>
                  </a:lnTo>
                  <a:lnTo>
                    <a:pt x="1597" y="1634"/>
                  </a:lnTo>
                  <a:lnTo>
                    <a:pt x="1591" y="1630"/>
                  </a:lnTo>
                  <a:lnTo>
                    <a:pt x="1585" y="1625"/>
                  </a:lnTo>
                  <a:lnTo>
                    <a:pt x="1580" y="1618"/>
                  </a:lnTo>
                  <a:lnTo>
                    <a:pt x="1576" y="1611"/>
                  </a:lnTo>
                  <a:lnTo>
                    <a:pt x="1572" y="1603"/>
                  </a:lnTo>
                  <a:lnTo>
                    <a:pt x="1535" y="1614"/>
                  </a:lnTo>
                  <a:lnTo>
                    <a:pt x="1502" y="1625"/>
                  </a:lnTo>
                  <a:lnTo>
                    <a:pt x="1495" y="1629"/>
                  </a:lnTo>
                  <a:lnTo>
                    <a:pt x="1488" y="1633"/>
                  </a:lnTo>
                  <a:lnTo>
                    <a:pt x="1482" y="1638"/>
                  </a:lnTo>
                  <a:lnTo>
                    <a:pt x="1476" y="1643"/>
                  </a:lnTo>
                  <a:lnTo>
                    <a:pt x="1469" y="1649"/>
                  </a:lnTo>
                  <a:lnTo>
                    <a:pt x="1464" y="1655"/>
                  </a:lnTo>
                  <a:lnTo>
                    <a:pt x="1459" y="1663"/>
                  </a:lnTo>
                  <a:lnTo>
                    <a:pt x="1454" y="1672"/>
                  </a:lnTo>
                  <a:lnTo>
                    <a:pt x="1446" y="1669"/>
                  </a:lnTo>
                  <a:lnTo>
                    <a:pt x="1438" y="1663"/>
                  </a:lnTo>
                  <a:lnTo>
                    <a:pt x="1432" y="1658"/>
                  </a:lnTo>
                  <a:lnTo>
                    <a:pt x="1426" y="1653"/>
                  </a:lnTo>
                  <a:lnTo>
                    <a:pt x="1420" y="1649"/>
                  </a:lnTo>
                  <a:lnTo>
                    <a:pt x="1414" y="1645"/>
                  </a:lnTo>
                  <a:lnTo>
                    <a:pt x="1407" y="1642"/>
                  </a:lnTo>
                  <a:lnTo>
                    <a:pt x="1397" y="1641"/>
                  </a:lnTo>
                  <a:lnTo>
                    <a:pt x="1393" y="1642"/>
                  </a:lnTo>
                  <a:lnTo>
                    <a:pt x="1389" y="1643"/>
                  </a:lnTo>
                  <a:lnTo>
                    <a:pt x="1386" y="1644"/>
                  </a:lnTo>
                  <a:lnTo>
                    <a:pt x="1382" y="1646"/>
                  </a:lnTo>
                  <a:lnTo>
                    <a:pt x="1377" y="1652"/>
                  </a:lnTo>
                  <a:lnTo>
                    <a:pt x="1371" y="1658"/>
                  </a:lnTo>
                  <a:lnTo>
                    <a:pt x="1367" y="1665"/>
                  </a:lnTo>
                  <a:lnTo>
                    <a:pt x="1362" y="1673"/>
                  </a:lnTo>
                  <a:lnTo>
                    <a:pt x="1359" y="1676"/>
                  </a:lnTo>
                  <a:lnTo>
                    <a:pt x="1356" y="1679"/>
                  </a:lnTo>
                  <a:lnTo>
                    <a:pt x="1352" y="1681"/>
                  </a:lnTo>
                  <a:lnTo>
                    <a:pt x="1348" y="1683"/>
                  </a:lnTo>
                  <a:lnTo>
                    <a:pt x="1335" y="1679"/>
                  </a:lnTo>
                  <a:lnTo>
                    <a:pt x="1322" y="1676"/>
                  </a:lnTo>
                  <a:lnTo>
                    <a:pt x="1316" y="1674"/>
                  </a:lnTo>
                  <a:lnTo>
                    <a:pt x="1311" y="1671"/>
                  </a:lnTo>
                  <a:lnTo>
                    <a:pt x="1304" y="1669"/>
                  </a:lnTo>
                  <a:lnTo>
                    <a:pt x="1298" y="1664"/>
                  </a:lnTo>
                  <a:lnTo>
                    <a:pt x="1296" y="1674"/>
                  </a:lnTo>
                  <a:lnTo>
                    <a:pt x="1300" y="1683"/>
                  </a:lnTo>
                  <a:lnTo>
                    <a:pt x="1300" y="1795"/>
                  </a:lnTo>
                  <a:lnTo>
                    <a:pt x="1294" y="1796"/>
                  </a:lnTo>
                  <a:lnTo>
                    <a:pt x="1287" y="1797"/>
                  </a:lnTo>
                  <a:lnTo>
                    <a:pt x="1278" y="1797"/>
                  </a:lnTo>
                  <a:lnTo>
                    <a:pt x="1268" y="1795"/>
                  </a:lnTo>
                  <a:lnTo>
                    <a:pt x="1260" y="1792"/>
                  </a:lnTo>
                  <a:lnTo>
                    <a:pt x="1253" y="1789"/>
                  </a:lnTo>
                  <a:lnTo>
                    <a:pt x="1246" y="1785"/>
                  </a:lnTo>
                  <a:lnTo>
                    <a:pt x="1238" y="1779"/>
                  </a:lnTo>
                  <a:lnTo>
                    <a:pt x="1232" y="1773"/>
                  </a:lnTo>
                  <a:lnTo>
                    <a:pt x="1225" y="1766"/>
                  </a:lnTo>
                  <a:lnTo>
                    <a:pt x="1220" y="1756"/>
                  </a:lnTo>
                  <a:lnTo>
                    <a:pt x="1216" y="1746"/>
                  </a:lnTo>
                  <a:lnTo>
                    <a:pt x="1214" y="1742"/>
                  </a:lnTo>
                  <a:lnTo>
                    <a:pt x="1211" y="1739"/>
                  </a:lnTo>
                  <a:lnTo>
                    <a:pt x="1206" y="1737"/>
                  </a:lnTo>
                  <a:lnTo>
                    <a:pt x="1201" y="1736"/>
                  </a:lnTo>
                  <a:lnTo>
                    <a:pt x="1193" y="1736"/>
                  </a:lnTo>
                  <a:lnTo>
                    <a:pt x="1185" y="1738"/>
                  </a:lnTo>
                  <a:lnTo>
                    <a:pt x="1178" y="1741"/>
                  </a:lnTo>
                  <a:lnTo>
                    <a:pt x="1170" y="1745"/>
                  </a:lnTo>
                  <a:lnTo>
                    <a:pt x="1156" y="1753"/>
                  </a:lnTo>
                  <a:lnTo>
                    <a:pt x="1140" y="1761"/>
                  </a:lnTo>
                  <a:lnTo>
                    <a:pt x="1151" y="1779"/>
                  </a:lnTo>
                  <a:lnTo>
                    <a:pt x="1159" y="1795"/>
                  </a:lnTo>
                  <a:lnTo>
                    <a:pt x="1167" y="1811"/>
                  </a:lnTo>
                  <a:lnTo>
                    <a:pt x="1173" y="1827"/>
                  </a:lnTo>
                  <a:lnTo>
                    <a:pt x="1179" y="1842"/>
                  </a:lnTo>
                  <a:lnTo>
                    <a:pt x="1183" y="1860"/>
                  </a:lnTo>
                  <a:lnTo>
                    <a:pt x="1185" y="1877"/>
                  </a:lnTo>
                  <a:lnTo>
                    <a:pt x="1185" y="1897"/>
                  </a:lnTo>
                  <a:lnTo>
                    <a:pt x="1185" y="1909"/>
                  </a:lnTo>
                  <a:lnTo>
                    <a:pt x="1183" y="1921"/>
                  </a:lnTo>
                  <a:lnTo>
                    <a:pt x="1179" y="1931"/>
                  </a:lnTo>
                  <a:lnTo>
                    <a:pt x="1174" y="1941"/>
                  </a:lnTo>
                  <a:lnTo>
                    <a:pt x="1169" y="1949"/>
                  </a:lnTo>
                  <a:lnTo>
                    <a:pt x="1163" y="1959"/>
                  </a:lnTo>
                  <a:lnTo>
                    <a:pt x="1157" y="1967"/>
                  </a:lnTo>
                  <a:lnTo>
                    <a:pt x="1151" y="1975"/>
                  </a:lnTo>
                  <a:lnTo>
                    <a:pt x="1137" y="1993"/>
                  </a:lnTo>
                  <a:lnTo>
                    <a:pt x="1124" y="2010"/>
                  </a:lnTo>
                  <a:lnTo>
                    <a:pt x="1119" y="2021"/>
                  </a:lnTo>
                  <a:lnTo>
                    <a:pt x="1114" y="2031"/>
                  </a:lnTo>
                  <a:lnTo>
                    <a:pt x="1111" y="2041"/>
                  </a:lnTo>
                  <a:lnTo>
                    <a:pt x="1107" y="2054"/>
                  </a:lnTo>
                  <a:lnTo>
                    <a:pt x="1084" y="2049"/>
                  </a:lnTo>
                  <a:lnTo>
                    <a:pt x="1062" y="2042"/>
                  </a:lnTo>
                  <a:lnTo>
                    <a:pt x="1041" y="2035"/>
                  </a:lnTo>
                  <a:lnTo>
                    <a:pt x="1022" y="2028"/>
                  </a:lnTo>
                  <a:lnTo>
                    <a:pt x="1002" y="2021"/>
                  </a:lnTo>
                  <a:lnTo>
                    <a:pt x="982" y="2014"/>
                  </a:lnTo>
                  <a:lnTo>
                    <a:pt x="971" y="2012"/>
                  </a:lnTo>
                  <a:lnTo>
                    <a:pt x="960" y="2010"/>
                  </a:lnTo>
                  <a:lnTo>
                    <a:pt x="949" y="2009"/>
                  </a:lnTo>
                  <a:lnTo>
                    <a:pt x="936" y="2009"/>
                  </a:lnTo>
                  <a:lnTo>
                    <a:pt x="928" y="2009"/>
                  </a:lnTo>
                  <a:lnTo>
                    <a:pt x="920" y="2011"/>
                  </a:lnTo>
                  <a:lnTo>
                    <a:pt x="912" y="2013"/>
                  </a:lnTo>
                  <a:lnTo>
                    <a:pt x="904" y="2016"/>
                  </a:lnTo>
                  <a:lnTo>
                    <a:pt x="891" y="2023"/>
                  </a:lnTo>
                  <a:lnTo>
                    <a:pt x="879" y="2030"/>
                  </a:lnTo>
                  <a:lnTo>
                    <a:pt x="865" y="2038"/>
                  </a:lnTo>
                  <a:lnTo>
                    <a:pt x="852" y="2045"/>
                  </a:lnTo>
                  <a:lnTo>
                    <a:pt x="844" y="2048"/>
                  </a:lnTo>
                  <a:lnTo>
                    <a:pt x="837" y="2050"/>
                  </a:lnTo>
                  <a:lnTo>
                    <a:pt x="829" y="2052"/>
                  </a:lnTo>
                  <a:lnTo>
                    <a:pt x="820" y="2052"/>
                  </a:lnTo>
                  <a:lnTo>
                    <a:pt x="815" y="2052"/>
                  </a:lnTo>
                  <a:lnTo>
                    <a:pt x="809" y="2051"/>
                  </a:lnTo>
                  <a:lnTo>
                    <a:pt x="805" y="2049"/>
                  </a:lnTo>
                  <a:lnTo>
                    <a:pt x="801" y="2045"/>
                  </a:lnTo>
                  <a:lnTo>
                    <a:pt x="797" y="2042"/>
                  </a:lnTo>
                  <a:lnTo>
                    <a:pt x="794" y="2039"/>
                  </a:lnTo>
                  <a:lnTo>
                    <a:pt x="792" y="2035"/>
                  </a:lnTo>
                  <a:lnTo>
                    <a:pt x="789" y="2030"/>
                  </a:lnTo>
                  <a:lnTo>
                    <a:pt x="786" y="2020"/>
                  </a:lnTo>
                  <a:lnTo>
                    <a:pt x="783" y="2008"/>
                  </a:lnTo>
                  <a:lnTo>
                    <a:pt x="781" y="1996"/>
                  </a:lnTo>
                  <a:lnTo>
                    <a:pt x="778" y="1983"/>
                  </a:lnTo>
                  <a:lnTo>
                    <a:pt x="776" y="1970"/>
                  </a:lnTo>
                  <a:lnTo>
                    <a:pt x="774" y="1958"/>
                  </a:lnTo>
                  <a:lnTo>
                    <a:pt x="771" y="1946"/>
                  </a:lnTo>
                  <a:lnTo>
                    <a:pt x="767" y="1936"/>
                  </a:lnTo>
                  <a:lnTo>
                    <a:pt x="765" y="1932"/>
                  </a:lnTo>
                  <a:lnTo>
                    <a:pt x="762" y="1928"/>
                  </a:lnTo>
                  <a:lnTo>
                    <a:pt x="759" y="1924"/>
                  </a:lnTo>
                  <a:lnTo>
                    <a:pt x="756" y="1921"/>
                  </a:lnTo>
                  <a:lnTo>
                    <a:pt x="752" y="1918"/>
                  </a:lnTo>
                  <a:lnTo>
                    <a:pt x="748" y="1916"/>
                  </a:lnTo>
                  <a:lnTo>
                    <a:pt x="742" y="1915"/>
                  </a:lnTo>
                  <a:lnTo>
                    <a:pt x="737" y="1914"/>
                  </a:lnTo>
                  <a:lnTo>
                    <a:pt x="689" y="1914"/>
                  </a:lnTo>
                  <a:lnTo>
                    <a:pt x="678" y="1916"/>
                  </a:lnTo>
                  <a:lnTo>
                    <a:pt x="669" y="1919"/>
                  </a:lnTo>
                  <a:lnTo>
                    <a:pt x="669" y="1901"/>
                  </a:lnTo>
                  <a:lnTo>
                    <a:pt x="669" y="1885"/>
                  </a:lnTo>
                  <a:lnTo>
                    <a:pt x="669" y="1869"/>
                  </a:lnTo>
                  <a:lnTo>
                    <a:pt x="669" y="1850"/>
                  </a:lnTo>
                  <a:lnTo>
                    <a:pt x="671" y="1841"/>
                  </a:lnTo>
                  <a:lnTo>
                    <a:pt x="674" y="1833"/>
                  </a:lnTo>
                  <a:lnTo>
                    <a:pt x="677" y="1824"/>
                  </a:lnTo>
                  <a:lnTo>
                    <a:pt x="678" y="1815"/>
                  </a:lnTo>
                  <a:lnTo>
                    <a:pt x="677" y="1809"/>
                  </a:lnTo>
                  <a:lnTo>
                    <a:pt x="676" y="1803"/>
                  </a:lnTo>
                  <a:lnTo>
                    <a:pt x="674" y="1797"/>
                  </a:lnTo>
                  <a:lnTo>
                    <a:pt x="671" y="1791"/>
                  </a:lnTo>
                  <a:lnTo>
                    <a:pt x="667" y="1787"/>
                  </a:lnTo>
                  <a:lnTo>
                    <a:pt x="663" y="1783"/>
                  </a:lnTo>
                  <a:lnTo>
                    <a:pt x="658" y="1779"/>
                  </a:lnTo>
                  <a:lnTo>
                    <a:pt x="653" y="1776"/>
                  </a:lnTo>
                  <a:lnTo>
                    <a:pt x="640" y="1769"/>
                  </a:lnTo>
                  <a:lnTo>
                    <a:pt x="629" y="1763"/>
                  </a:lnTo>
                  <a:lnTo>
                    <a:pt x="617" y="1754"/>
                  </a:lnTo>
                  <a:lnTo>
                    <a:pt x="605" y="1745"/>
                  </a:lnTo>
                  <a:lnTo>
                    <a:pt x="597" y="1735"/>
                  </a:lnTo>
                  <a:lnTo>
                    <a:pt x="590" y="1723"/>
                  </a:lnTo>
                  <a:lnTo>
                    <a:pt x="584" y="1712"/>
                  </a:lnTo>
                  <a:lnTo>
                    <a:pt x="577" y="1701"/>
                  </a:lnTo>
                  <a:lnTo>
                    <a:pt x="574" y="1695"/>
                  </a:lnTo>
                  <a:lnTo>
                    <a:pt x="571" y="1691"/>
                  </a:lnTo>
                  <a:lnTo>
                    <a:pt x="567" y="1687"/>
                  </a:lnTo>
                  <a:lnTo>
                    <a:pt x="563" y="1683"/>
                  </a:lnTo>
                  <a:lnTo>
                    <a:pt x="559" y="1681"/>
                  </a:lnTo>
                  <a:lnTo>
                    <a:pt x="554" y="1678"/>
                  </a:lnTo>
                  <a:lnTo>
                    <a:pt x="549" y="1677"/>
                  </a:lnTo>
                  <a:lnTo>
                    <a:pt x="541" y="1677"/>
                  </a:lnTo>
                  <a:lnTo>
                    <a:pt x="533" y="1677"/>
                  </a:lnTo>
                  <a:lnTo>
                    <a:pt x="525" y="1678"/>
                  </a:lnTo>
                  <a:lnTo>
                    <a:pt x="517" y="1679"/>
                  </a:lnTo>
                  <a:lnTo>
                    <a:pt x="508" y="1681"/>
                  </a:lnTo>
                  <a:lnTo>
                    <a:pt x="494" y="1685"/>
                  </a:lnTo>
                  <a:lnTo>
                    <a:pt x="480" y="1690"/>
                  </a:lnTo>
                  <a:lnTo>
                    <a:pt x="466" y="1695"/>
                  </a:lnTo>
                  <a:lnTo>
                    <a:pt x="452" y="1701"/>
                  </a:lnTo>
                  <a:lnTo>
                    <a:pt x="444" y="1702"/>
                  </a:lnTo>
                  <a:lnTo>
                    <a:pt x="436" y="1704"/>
                  </a:lnTo>
                  <a:lnTo>
                    <a:pt x="428" y="1705"/>
                  </a:lnTo>
                  <a:lnTo>
                    <a:pt x="420" y="1705"/>
                  </a:lnTo>
                  <a:lnTo>
                    <a:pt x="412" y="1704"/>
                  </a:lnTo>
                  <a:lnTo>
                    <a:pt x="406" y="1703"/>
                  </a:lnTo>
                  <a:lnTo>
                    <a:pt x="400" y="1701"/>
                  </a:lnTo>
                  <a:lnTo>
                    <a:pt x="395" y="1697"/>
                  </a:lnTo>
                  <a:lnTo>
                    <a:pt x="391" y="1693"/>
                  </a:lnTo>
                  <a:lnTo>
                    <a:pt x="387" y="1688"/>
                  </a:lnTo>
                  <a:lnTo>
                    <a:pt x="382" y="1683"/>
                  </a:lnTo>
                  <a:lnTo>
                    <a:pt x="379" y="1678"/>
                  </a:lnTo>
                  <a:lnTo>
                    <a:pt x="374" y="1664"/>
                  </a:lnTo>
                  <a:lnTo>
                    <a:pt x="370" y="1651"/>
                  </a:lnTo>
                  <a:lnTo>
                    <a:pt x="366" y="1637"/>
                  </a:lnTo>
                  <a:lnTo>
                    <a:pt x="363" y="1622"/>
                  </a:lnTo>
                  <a:lnTo>
                    <a:pt x="353" y="1620"/>
                  </a:lnTo>
                  <a:lnTo>
                    <a:pt x="327" y="1629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 dirty="0" err="1">
                  <a:latin typeface="Calibri" panose="020F0502020204030204" pitchFamily="34" charset="0"/>
                </a:rPr>
                <a:t>Volyn</a:t>
              </a:r>
              <a:endParaRPr lang="ru-RU" altLang="ru-RU" sz="675" dirty="0">
                <a:latin typeface="Calibri" panose="020F0502020204030204" pitchFamily="34" charset="0"/>
              </a:endParaRPr>
            </a:p>
          </p:txBody>
        </p:sp>
        <p:sp>
          <p:nvSpPr>
            <p:cNvPr id="33" name="Ternopil"/>
            <p:cNvSpPr>
              <a:spLocks/>
            </p:cNvSpPr>
            <p:nvPr/>
          </p:nvSpPr>
          <p:spPr bwMode="auto">
            <a:xfrm>
              <a:off x="1227" y="1841"/>
              <a:ext cx="409" cy="656"/>
            </a:xfrm>
            <a:custGeom>
              <a:avLst/>
              <a:gdLst>
                <a:gd name="T0" fmla="*/ 360 w 1358"/>
                <a:gd name="T1" fmla="*/ 197 h 2282"/>
                <a:gd name="T2" fmla="*/ 360 w 1358"/>
                <a:gd name="T3" fmla="*/ 197 h 2282"/>
                <a:gd name="T4" fmla="*/ 360 w 1358"/>
                <a:gd name="T5" fmla="*/ 197 h 2282"/>
                <a:gd name="T6" fmla="*/ 360 w 1358"/>
                <a:gd name="T7" fmla="*/ 197 h 2282"/>
                <a:gd name="T8" fmla="*/ 360 w 1358"/>
                <a:gd name="T9" fmla="*/ 197 h 2282"/>
                <a:gd name="T10" fmla="*/ 360 w 1358"/>
                <a:gd name="T11" fmla="*/ 197 h 2282"/>
                <a:gd name="T12" fmla="*/ 360 w 1358"/>
                <a:gd name="T13" fmla="*/ 197 h 2282"/>
                <a:gd name="T14" fmla="*/ 360 w 1358"/>
                <a:gd name="T15" fmla="*/ 197 h 2282"/>
                <a:gd name="T16" fmla="*/ 360 w 1358"/>
                <a:gd name="T17" fmla="*/ 197 h 2282"/>
                <a:gd name="T18" fmla="*/ 360 w 1358"/>
                <a:gd name="T19" fmla="*/ 197 h 2282"/>
                <a:gd name="T20" fmla="*/ 360 w 1358"/>
                <a:gd name="T21" fmla="*/ 197 h 2282"/>
                <a:gd name="T22" fmla="*/ 360 w 1358"/>
                <a:gd name="T23" fmla="*/ 197 h 2282"/>
                <a:gd name="T24" fmla="*/ 360 w 1358"/>
                <a:gd name="T25" fmla="*/ 197 h 2282"/>
                <a:gd name="T26" fmla="*/ 360 w 1358"/>
                <a:gd name="T27" fmla="*/ 197 h 2282"/>
                <a:gd name="T28" fmla="*/ 360 w 1358"/>
                <a:gd name="T29" fmla="*/ 197 h 2282"/>
                <a:gd name="T30" fmla="*/ 360 w 1358"/>
                <a:gd name="T31" fmla="*/ 197 h 2282"/>
                <a:gd name="T32" fmla="*/ 360 w 1358"/>
                <a:gd name="T33" fmla="*/ 197 h 2282"/>
                <a:gd name="T34" fmla="*/ 360 w 1358"/>
                <a:gd name="T35" fmla="*/ 197 h 2282"/>
                <a:gd name="T36" fmla="*/ 360 w 1358"/>
                <a:gd name="T37" fmla="*/ 197 h 2282"/>
                <a:gd name="T38" fmla="*/ 360 w 1358"/>
                <a:gd name="T39" fmla="*/ 197 h 2282"/>
                <a:gd name="T40" fmla="*/ 360 w 1358"/>
                <a:gd name="T41" fmla="*/ 197 h 2282"/>
                <a:gd name="T42" fmla="*/ 360 w 1358"/>
                <a:gd name="T43" fmla="*/ 197 h 2282"/>
                <a:gd name="T44" fmla="*/ 360 w 1358"/>
                <a:gd name="T45" fmla="*/ 197 h 2282"/>
                <a:gd name="T46" fmla="*/ 360 w 1358"/>
                <a:gd name="T47" fmla="*/ 197 h 2282"/>
                <a:gd name="T48" fmla="*/ 360 w 1358"/>
                <a:gd name="T49" fmla="*/ 197 h 2282"/>
                <a:gd name="T50" fmla="*/ 360 w 1358"/>
                <a:gd name="T51" fmla="*/ 197 h 2282"/>
                <a:gd name="T52" fmla="*/ 360 w 1358"/>
                <a:gd name="T53" fmla="*/ 197 h 2282"/>
                <a:gd name="T54" fmla="*/ 360 w 1358"/>
                <a:gd name="T55" fmla="*/ 197 h 2282"/>
                <a:gd name="T56" fmla="*/ 360 w 1358"/>
                <a:gd name="T57" fmla="*/ 197 h 2282"/>
                <a:gd name="T58" fmla="*/ 360 w 1358"/>
                <a:gd name="T59" fmla="*/ 197 h 2282"/>
                <a:gd name="T60" fmla="*/ 360 w 1358"/>
                <a:gd name="T61" fmla="*/ 197 h 2282"/>
                <a:gd name="T62" fmla="*/ 360 w 1358"/>
                <a:gd name="T63" fmla="*/ 197 h 2282"/>
                <a:gd name="T64" fmla="*/ 360 w 1358"/>
                <a:gd name="T65" fmla="*/ 197 h 2282"/>
                <a:gd name="T66" fmla="*/ 360 w 1358"/>
                <a:gd name="T67" fmla="*/ 197 h 2282"/>
                <a:gd name="T68" fmla="*/ 360 w 1358"/>
                <a:gd name="T69" fmla="*/ 197 h 2282"/>
                <a:gd name="T70" fmla="*/ 360 w 1358"/>
                <a:gd name="T71" fmla="*/ 197 h 2282"/>
                <a:gd name="T72" fmla="*/ 360 w 1358"/>
                <a:gd name="T73" fmla="*/ 197 h 2282"/>
                <a:gd name="T74" fmla="*/ 360 w 1358"/>
                <a:gd name="T75" fmla="*/ 197 h 2282"/>
                <a:gd name="T76" fmla="*/ 360 w 1358"/>
                <a:gd name="T77" fmla="*/ 197 h 2282"/>
                <a:gd name="T78" fmla="*/ 360 w 1358"/>
                <a:gd name="T79" fmla="*/ 197 h 2282"/>
                <a:gd name="T80" fmla="*/ 360 w 1358"/>
                <a:gd name="T81" fmla="*/ 197 h 2282"/>
                <a:gd name="T82" fmla="*/ 360 w 1358"/>
                <a:gd name="T83" fmla="*/ 197 h 2282"/>
                <a:gd name="T84" fmla="*/ 360 w 1358"/>
                <a:gd name="T85" fmla="*/ 197 h 2282"/>
                <a:gd name="T86" fmla="*/ 360 w 1358"/>
                <a:gd name="T87" fmla="*/ 197 h 2282"/>
                <a:gd name="T88" fmla="*/ 360 w 1358"/>
                <a:gd name="T89" fmla="*/ 197 h 2282"/>
                <a:gd name="T90" fmla="*/ 360 w 1358"/>
                <a:gd name="T91" fmla="*/ 197 h 2282"/>
                <a:gd name="T92" fmla="*/ 360 w 1358"/>
                <a:gd name="T93" fmla="*/ 197 h 2282"/>
                <a:gd name="T94" fmla="*/ 360 w 1358"/>
                <a:gd name="T95" fmla="*/ 197 h 2282"/>
                <a:gd name="T96" fmla="*/ 360 w 1358"/>
                <a:gd name="T97" fmla="*/ 197 h 2282"/>
                <a:gd name="T98" fmla="*/ 360 w 1358"/>
                <a:gd name="T99" fmla="*/ 197 h 2282"/>
                <a:gd name="T100" fmla="*/ 360 w 1358"/>
                <a:gd name="T101" fmla="*/ 197 h 2282"/>
                <a:gd name="T102" fmla="*/ 360 w 1358"/>
                <a:gd name="T103" fmla="*/ 197 h 2282"/>
                <a:gd name="T104" fmla="*/ 360 w 1358"/>
                <a:gd name="T105" fmla="*/ 197 h 2282"/>
                <a:gd name="T106" fmla="*/ 360 w 1358"/>
                <a:gd name="T107" fmla="*/ 197 h 2282"/>
                <a:gd name="T108" fmla="*/ 360 w 1358"/>
                <a:gd name="T109" fmla="*/ 197 h 2282"/>
                <a:gd name="T110" fmla="*/ 360 w 1358"/>
                <a:gd name="T111" fmla="*/ 197 h 2282"/>
                <a:gd name="T112" fmla="*/ 360 w 1358"/>
                <a:gd name="T113" fmla="*/ 197 h 2282"/>
                <a:gd name="T114" fmla="*/ 360 w 1358"/>
                <a:gd name="T115" fmla="*/ 197 h 2282"/>
                <a:gd name="T116" fmla="*/ 360 w 1358"/>
                <a:gd name="T117" fmla="*/ 197 h 2282"/>
                <a:gd name="T118" fmla="*/ 360 w 1358"/>
                <a:gd name="T119" fmla="*/ 197 h 2282"/>
                <a:gd name="T120" fmla="*/ 360 w 1358"/>
                <a:gd name="T121" fmla="*/ 197 h 2282"/>
                <a:gd name="T122" fmla="*/ 360 w 1358"/>
                <a:gd name="T123" fmla="*/ 197 h 228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358"/>
                <a:gd name="T187" fmla="*/ 0 h 2282"/>
                <a:gd name="T188" fmla="*/ 1358 w 1358"/>
                <a:gd name="T189" fmla="*/ 2282 h 228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358" h="2282">
                  <a:moveTo>
                    <a:pt x="596" y="257"/>
                  </a:moveTo>
                  <a:lnTo>
                    <a:pt x="617" y="245"/>
                  </a:lnTo>
                  <a:lnTo>
                    <a:pt x="634" y="234"/>
                  </a:lnTo>
                  <a:lnTo>
                    <a:pt x="651" y="223"/>
                  </a:lnTo>
                  <a:lnTo>
                    <a:pt x="666" y="211"/>
                  </a:lnTo>
                  <a:lnTo>
                    <a:pt x="681" y="198"/>
                  </a:lnTo>
                  <a:lnTo>
                    <a:pt x="695" y="184"/>
                  </a:lnTo>
                  <a:lnTo>
                    <a:pt x="710" y="170"/>
                  </a:lnTo>
                  <a:lnTo>
                    <a:pt x="726" y="152"/>
                  </a:lnTo>
                  <a:lnTo>
                    <a:pt x="726" y="105"/>
                  </a:lnTo>
                  <a:lnTo>
                    <a:pt x="732" y="99"/>
                  </a:lnTo>
                  <a:lnTo>
                    <a:pt x="737" y="94"/>
                  </a:lnTo>
                  <a:lnTo>
                    <a:pt x="743" y="88"/>
                  </a:lnTo>
                  <a:lnTo>
                    <a:pt x="750" y="83"/>
                  </a:lnTo>
                  <a:lnTo>
                    <a:pt x="757" y="80"/>
                  </a:lnTo>
                  <a:lnTo>
                    <a:pt x="764" y="77"/>
                  </a:lnTo>
                  <a:lnTo>
                    <a:pt x="771" y="75"/>
                  </a:lnTo>
                  <a:lnTo>
                    <a:pt x="781" y="75"/>
                  </a:lnTo>
                  <a:lnTo>
                    <a:pt x="784" y="75"/>
                  </a:lnTo>
                  <a:lnTo>
                    <a:pt x="787" y="76"/>
                  </a:lnTo>
                  <a:lnTo>
                    <a:pt x="790" y="78"/>
                  </a:lnTo>
                  <a:lnTo>
                    <a:pt x="792" y="81"/>
                  </a:lnTo>
                  <a:lnTo>
                    <a:pt x="795" y="87"/>
                  </a:lnTo>
                  <a:lnTo>
                    <a:pt x="798" y="95"/>
                  </a:lnTo>
                  <a:lnTo>
                    <a:pt x="801" y="102"/>
                  </a:lnTo>
                  <a:lnTo>
                    <a:pt x="804" y="109"/>
                  </a:lnTo>
                  <a:lnTo>
                    <a:pt x="806" y="111"/>
                  </a:lnTo>
                  <a:lnTo>
                    <a:pt x="809" y="113"/>
                  </a:lnTo>
                  <a:lnTo>
                    <a:pt x="812" y="114"/>
                  </a:lnTo>
                  <a:lnTo>
                    <a:pt x="816" y="115"/>
                  </a:lnTo>
                  <a:lnTo>
                    <a:pt x="826" y="114"/>
                  </a:lnTo>
                  <a:lnTo>
                    <a:pt x="834" y="113"/>
                  </a:lnTo>
                  <a:lnTo>
                    <a:pt x="844" y="110"/>
                  </a:lnTo>
                  <a:lnTo>
                    <a:pt x="851" y="107"/>
                  </a:lnTo>
                  <a:lnTo>
                    <a:pt x="867" y="101"/>
                  </a:lnTo>
                  <a:lnTo>
                    <a:pt x="887" y="96"/>
                  </a:lnTo>
                  <a:lnTo>
                    <a:pt x="912" y="90"/>
                  </a:lnTo>
                  <a:lnTo>
                    <a:pt x="935" y="84"/>
                  </a:lnTo>
                  <a:lnTo>
                    <a:pt x="958" y="77"/>
                  </a:lnTo>
                  <a:lnTo>
                    <a:pt x="980" y="70"/>
                  </a:lnTo>
                  <a:lnTo>
                    <a:pt x="1020" y="53"/>
                  </a:lnTo>
                  <a:lnTo>
                    <a:pt x="1059" y="38"/>
                  </a:lnTo>
                  <a:lnTo>
                    <a:pt x="1079" y="30"/>
                  </a:lnTo>
                  <a:lnTo>
                    <a:pt x="1098" y="22"/>
                  </a:lnTo>
                  <a:lnTo>
                    <a:pt x="1118" y="16"/>
                  </a:lnTo>
                  <a:lnTo>
                    <a:pt x="1139" y="11"/>
                  </a:lnTo>
                  <a:lnTo>
                    <a:pt x="1161" y="6"/>
                  </a:lnTo>
                  <a:lnTo>
                    <a:pt x="1184" y="3"/>
                  </a:lnTo>
                  <a:lnTo>
                    <a:pt x="1208" y="0"/>
                  </a:lnTo>
                  <a:lnTo>
                    <a:pt x="1233" y="0"/>
                  </a:lnTo>
                  <a:lnTo>
                    <a:pt x="1244" y="0"/>
                  </a:lnTo>
                  <a:lnTo>
                    <a:pt x="1254" y="2"/>
                  </a:lnTo>
                  <a:lnTo>
                    <a:pt x="1263" y="6"/>
                  </a:lnTo>
                  <a:lnTo>
                    <a:pt x="1271" y="10"/>
                  </a:lnTo>
                  <a:lnTo>
                    <a:pt x="1280" y="16"/>
                  </a:lnTo>
                  <a:lnTo>
                    <a:pt x="1287" y="22"/>
                  </a:lnTo>
                  <a:lnTo>
                    <a:pt x="1294" y="30"/>
                  </a:lnTo>
                  <a:lnTo>
                    <a:pt x="1300" y="37"/>
                  </a:lnTo>
                  <a:lnTo>
                    <a:pt x="1313" y="54"/>
                  </a:lnTo>
                  <a:lnTo>
                    <a:pt x="1326" y="71"/>
                  </a:lnTo>
                  <a:lnTo>
                    <a:pt x="1333" y="80"/>
                  </a:lnTo>
                  <a:lnTo>
                    <a:pt x="1341" y="88"/>
                  </a:lnTo>
                  <a:lnTo>
                    <a:pt x="1349" y="96"/>
                  </a:lnTo>
                  <a:lnTo>
                    <a:pt x="1358" y="103"/>
                  </a:lnTo>
                  <a:lnTo>
                    <a:pt x="1353" y="128"/>
                  </a:lnTo>
                  <a:lnTo>
                    <a:pt x="1347" y="150"/>
                  </a:lnTo>
                  <a:lnTo>
                    <a:pt x="1340" y="172"/>
                  </a:lnTo>
                  <a:lnTo>
                    <a:pt x="1331" y="192"/>
                  </a:lnTo>
                  <a:lnTo>
                    <a:pt x="1312" y="230"/>
                  </a:lnTo>
                  <a:lnTo>
                    <a:pt x="1291" y="266"/>
                  </a:lnTo>
                  <a:lnTo>
                    <a:pt x="1281" y="284"/>
                  </a:lnTo>
                  <a:lnTo>
                    <a:pt x="1270" y="302"/>
                  </a:lnTo>
                  <a:lnTo>
                    <a:pt x="1261" y="321"/>
                  </a:lnTo>
                  <a:lnTo>
                    <a:pt x="1254" y="340"/>
                  </a:lnTo>
                  <a:lnTo>
                    <a:pt x="1247" y="360"/>
                  </a:lnTo>
                  <a:lnTo>
                    <a:pt x="1242" y="382"/>
                  </a:lnTo>
                  <a:lnTo>
                    <a:pt x="1241" y="393"/>
                  </a:lnTo>
                  <a:lnTo>
                    <a:pt x="1238" y="404"/>
                  </a:lnTo>
                  <a:lnTo>
                    <a:pt x="1237" y="417"/>
                  </a:lnTo>
                  <a:lnTo>
                    <a:pt x="1237" y="429"/>
                  </a:lnTo>
                  <a:lnTo>
                    <a:pt x="1237" y="435"/>
                  </a:lnTo>
                  <a:lnTo>
                    <a:pt x="1238" y="442"/>
                  </a:lnTo>
                  <a:lnTo>
                    <a:pt x="1241" y="447"/>
                  </a:lnTo>
                  <a:lnTo>
                    <a:pt x="1243" y="452"/>
                  </a:lnTo>
                  <a:lnTo>
                    <a:pt x="1248" y="461"/>
                  </a:lnTo>
                  <a:lnTo>
                    <a:pt x="1254" y="470"/>
                  </a:lnTo>
                  <a:lnTo>
                    <a:pt x="1261" y="479"/>
                  </a:lnTo>
                  <a:lnTo>
                    <a:pt x="1268" y="488"/>
                  </a:lnTo>
                  <a:lnTo>
                    <a:pt x="1275" y="497"/>
                  </a:lnTo>
                  <a:lnTo>
                    <a:pt x="1280" y="509"/>
                  </a:lnTo>
                  <a:lnTo>
                    <a:pt x="1291" y="538"/>
                  </a:lnTo>
                  <a:lnTo>
                    <a:pt x="1300" y="563"/>
                  </a:lnTo>
                  <a:lnTo>
                    <a:pt x="1309" y="588"/>
                  </a:lnTo>
                  <a:lnTo>
                    <a:pt x="1315" y="614"/>
                  </a:lnTo>
                  <a:lnTo>
                    <a:pt x="1319" y="639"/>
                  </a:lnTo>
                  <a:lnTo>
                    <a:pt x="1322" y="665"/>
                  </a:lnTo>
                  <a:lnTo>
                    <a:pt x="1324" y="692"/>
                  </a:lnTo>
                  <a:lnTo>
                    <a:pt x="1325" y="723"/>
                  </a:lnTo>
                  <a:lnTo>
                    <a:pt x="1325" y="783"/>
                  </a:lnTo>
                  <a:lnTo>
                    <a:pt x="1324" y="798"/>
                  </a:lnTo>
                  <a:lnTo>
                    <a:pt x="1323" y="812"/>
                  </a:lnTo>
                  <a:lnTo>
                    <a:pt x="1320" y="825"/>
                  </a:lnTo>
                  <a:lnTo>
                    <a:pt x="1316" y="837"/>
                  </a:lnTo>
                  <a:lnTo>
                    <a:pt x="1311" y="848"/>
                  </a:lnTo>
                  <a:lnTo>
                    <a:pt x="1304" y="860"/>
                  </a:lnTo>
                  <a:lnTo>
                    <a:pt x="1296" y="871"/>
                  </a:lnTo>
                  <a:lnTo>
                    <a:pt x="1287" y="882"/>
                  </a:lnTo>
                  <a:lnTo>
                    <a:pt x="1270" y="897"/>
                  </a:lnTo>
                  <a:lnTo>
                    <a:pt x="1255" y="910"/>
                  </a:lnTo>
                  <a:lnTo>
                    <a:pt x="1248" y="917"/>
                  </a:lnTo>
                  <a:lnTo>
                    <a:pt x="1243" y="924"/>
                  </a:lnTo>
                  <a:lnTo>
                    <a:pt x="1241" y="928"/>
                  </a:lnTo>
                  <a:lnTo>
                    <a:pt x="1238" y="933"/>
                  </a:lnTo>
                  <a:lnTo>
                    <a:pt x="1237" y="938"/>
                  </a:lnTo>
                  <a:lnTo>
                    <a:pt x="1237" y="943"/>
                  </a:lnTo>
                  <a:lnTo>
                    <a:pt x="1238" y="953"/>
                  </a:lnTo>
                  <a:lnTo>
                    <a:pt x="1241" y="960"/>
                  </a:lnTo>
                  <a:lnTo>
                    <a:pt x="1245" y="967"/>
                  </a:lnTo>
                  <a:lnTo>
                    <a:pt x="1249" y="974"/>
                  </a:lnTo>
                  <a:lnTo>
                    <a:pt x="1254" y="981"/>
                  </a:lnTo>
                  <a:lnTo>
                    <a:pt x="1258" y="988"/>
                  </a:lnTo>
                  <a:lnTo>
                    <a:pt x="1261" y="996"/>
                  </a:lnTo>
                  <a:lnTo>
                    <a:pt x="1263" y="1004"/>
                  </a:lnTo>
                  <a:lnTo>
                    <a:pt x="1268" y="1031"/>
                  </a:lnTo>
                  <a:lnTo>
                    <a:pt x="1273" y="1055"/>
                  </a:lnTo>
                  <a:lnTo>
                    <a:pt x="1275" y="1066"/>
                  </a:lnTo>
                  <a:lnTo>
                    <a:pt x="1277" y="1079"/>
                  </a:lnTo>
                  <a:lnTo>
                    <a:pt x="1278" y="1092"/>
                  </a:lnTo>
                  <a:lnTo>
                    <a:pt x="1278" y="1106"/>
                  </a:lnTo>
                  <a:lnTo>
                    <a:pt x="1278" y="1154"/>
                  </a:lnTo>
                  <a:lnTo>
                    <a:pt x="1278" y="1163"/>
                  </a:lnTo>
                  <a:lnTo>
                    <a:pt x="1277" y="1173"/>
                  </a:lnTo>
                  <a:lnTo>
                    <a:pt x="1275" y="1181"/>
                  </a:lnTo>
                  <a:lnTo>
                    <a:pt x="1273" y="1189"/>
                  </a:lnTo>
                  <a:lnTo>
                    <a:pt x="1268" y="1205"/>
                  </a:lnTo>
                  <a:lnTo>
                    <a:pt x="1262" y="1219"/>
                  </a:lnTo>
                  <a:lnTo>
                    <a:pt x="1257" y="1235"/>
                  </a:lnTo>
                  <a:lnTo>
                    <a:pt x="1252" y="1250"/>
                  </a:lnTo>
                  <a:lnTo>
                    <a:pt x="1250" y="1258"/>
                  </a:lnTo>
                  <a:lnTo>
                    <a:pt x="1249" y="1267"/>
                  </a:lnTo>
                  <a:lnTo>
                    <a:pt x="1248" y="1276"/>
                  </a:lnTo>
                  <a:lnTo>
                    <a:pt x="1247" y="1285"/>
                  </a:lnTo>
                  <a:lnTo>
                    <a:pt x="1247" y="1567"/>
                  </a:lnTo>
                  <a:lnTo>
                    <a:pt x="1246" y="1586"/>
                  </a:lnTo>
                  <a:lnTo>
                    <a:pt x="1243" y="1601"/>
                  </a:lnTo>
                  <a:lnTo>
                    <a:pt x="1238" y="1617"/>
                  </a:lnTo>
                  <a:lnTo>
                    <a:pt x="1234" y="1631"/>
                  </a:lnTo>
                  <a:lnTo>
                    <a:pt x="1229" y="1646"/>
                  </a:lnTo>
                  <a:lnTo>
                    <a:pt x="1225" y="1661"/>
                  </a:lnTo>
                  <a:lnTo>
                    <a:pt x="1222" y="1678"/>
                  </a:lnTo>
                  <a:lnTo>
                    <a:pt x="1221" y="1695"/>
                  </a:lnTo>
                  <a:lnTo>
                    <a:pt x="1222" y="1708"/>
                  </a:lnTo>
                  <a:lnTo>
                    <a:pt x="1223" y="1719"/>
                  </a:lnTo>
                  <a:lnTo>
                    <a:pt x="1225" y="1729"/>
                  </a:lnTo>
                  <a:lnTo>
                    <a:pt x="1227" y="1740"/>
                  </a:lnTo>
                  <a:lnTo>
                    <a:pt x="1229" y="1750"/>
                  </a:lnTo>
                  <a:lnTo>
                    <a:pt x="1231" y="1760"/>
                  </a:lnTo>
                  <a:lnTo>
                    <a:pt x="1232" y="1772"/>
                  </a:lnTo>
                  <a:lnTo>
                    <a:pt x="1233" y="1784"/>
                  </a:lnTo>
                  <a:lnTo>
                    <a:pt x="1232" y="1803"/>
                  </a:lnTo>
                  <a:lnTo>
                    <a:pt x="1231" y="1820"/>
                  </a:lnTo>
                  <a:lnTo>
                    <a:pt x="1229" y="1837"/>
                  </a:lnTo>
                  <a:lnTo>
                    <a:pt x="1226" y="1852"/>
                  </a:lnTo>
                  <a:lnTo>
                    <a:pt x="1218" y="1883"/>
                  </a:lnTo>
                  <a:lnTo>
                    <a:pt x="1207" y="1918"/>
                  </a:lnTo>
                  <a:lnTo>
                    <a:pt x="1201" y="1928"/>
                  </a:lnTo>
                  <a:lnTo>
                    <a:pt x="1195" y="1935"/>
                  </a:lnTo>
                  <a:lnTo>
                    <a:pt x="1189" y="1942"/>
                  </a:lnTo>
                  <a:lnTo>
                    <a:pt x="1182" y="1948"/>
                  </a:lnTo>
                  <a:lnTo>
                    <a:pt x="1177" y="1954"/>
                  </a:lnTo>
                  <a:lnTo>
                    <a:pt x="1171" y="1962"/>
                  </a:lnTo>
                  <a:lnTo>
                    <a:pt x="1169" y="1966"/>
                  </a:lnTo>
                  <a:lnTo>
                    <a:pt x="1168" y="1970"/>
                  </a:lnTo>
                  <a:lnTo>
                    <a:pt x="1167" y="1975"/>
                  </a:lnTo>
                  <a:lnTo>
                    <a:pt x="1167" y="1980"/>
                  </a:lnTo>
                  <a:lnTo>
                    <a:pt x="1167" y="1985"/>
                  </a:lnTo>
                  <a:lnTo>
                    <a:pt x="1169" y="1989"/>
                  </a:lnTo>
                  <a:lnTo>
                    <a:pt x="1172" y="1994"/>
                  </a:lnTo>
                  <a:lnTo>
                    <a:pt x="1177" y="1997"/>
                  </a:lnTo>
                  <a:lnTo>
                    <a:pt x="1181" y="2001"/>
                  </a:lnTo>
                  <a:lnTo>
                    <a:pt x="1185" y="2004"/>
                  </a:lnTo>
                  <a:lnTo>
                    <a:pt x="1189" y="2008"/>
                  </a:lnTo>
                  <a:lnTo>
                    <a:pt x="1193" y="2013"/>
                  </a:lnTo>
                  <a:lnTo>
                    <a:pt x="1201" y="2029"/>
                  </a:lnTo>
                  <a:lnTo>
                    <a:pt x="1208" y="2043"/>
                  </a:lnTo>
                  <a:lnTo>
                    <a:pt x="1212" y="2050"/>
                  </a:lnTo>
                  <a:lnTo>
                    <a:pt x="1216" y="2057"/>
                  </a:lnTo>
                  <a:lnTo>
                    <a:pt x="1221" y="2064"/>
                  </a:lnTo>
                  <a:lnTo>
                    <a:pt x="1228" y="2069"/>
                  </a:lnTo>
                  <a:lnTo>
                    <a:pt x="1261" y="2091"/>
                  </a:lnTo>
                  <a:lnTo>
                    <a:pt x="1292" y="2109"/>
                  </a:lnTo>
                  <a:lnTo>
                    <a:pt x="1299" y="2114"/>
                  </a:lnTo>
                  <a:lnTo>
                    <a:pt x="1306" y="2120"/>
                  </a:lnTo>
                  <a:lnTo>
                    <a:pt x="1311" y="2125"/>
                  </a:lnTo>
                  <a:lnTo>
                    <a:pt x="1316" y="2131"/>
                  </a:lnTo>
                  <a:lnTo>
                    <a:pt x="1319" y="2138"/>
                  </a:lnTo>
                  <a:lnTo>
                    <a:pt x="1322" y="2145"/>
                  </a:lnTo>
                  <a:lnTo>
                    <a:pt x="1324" y="2154"/>
                  </a:lnTo>
                  <a:lnTo>
                    <a:pt x="1325" y="2163"/>
                  </a:lnTo>
                  <a:lnTo>
                    <a:pt x="1325" y="2267"/>
                  </a:lnTo>
                  <a:lnTo>
                    <a:pt x="1317" y="2272"/>
                  </a:lnTo>
                  <a:lnTo>
                    <a:pt x="1309" y="2277"/>
                  </a:lnTo>
                  <a:lnTo>
                    <a:pt x="1304" y="2279"/>
                  </a:lnTo>
                  <a:lnTo>
                    <a:pt x="1301" y="2281"/>
                  </a:lnTo>
                  <a:lnTo>
                    <a:pt x="1296" y="2282"/>
                  </a:lnTo>
                  <a:lnTo>
                    <a:pt x="1292" y="2282"/>
                  </a:lnTo>
                  <a:lnTo>
                    <a:pt x="1278" y="2281"/>
                  </a:lnTo>
                  <a:lnTo>
                    <a:pt x="1264" y="2279"/>
                  </a:lnTo>
                  <a:lnTo>
                    <a:pt x="1253" y="2274"/>
                  </a:lnTo>
                  <a:lnTo>
                    <a:pt x="1242" y="2270"/>
                  </a:lnTo>
                  <a:lnTo>
                    <a:pt x="1219" y="2259"/>
                  </a:lnTo>
                  <a:lnTo>
                    <a:pt x="1193" y="2249"/>
                  </a:lnTo>
                  <a:lnTo>
                    <a:pt x="1183" y="2247"/>
                  </a:lnTo>
                  <a:lnTo>
                    <a:pt x="1172" y="2245"/>
                  </a:lnTo>
                  <a:lnTo>
                    <a:pt x="1163" y="2245"/>
                  </a:lnTo>
                  <a:lnTo>
                    <a:pt x="1153" y="2244"/>
                  </a:lnTo>
                  <a:lnTo>
                    <a:pt x="1145" y="2242"/>
                  </a:lnTo>
                  <a:lnTo>
                    <a:pt x="1135" y="2241"/>
                  </a:lnTo>
                  <a:lnTo>
                    <a:pt x="1126" y="2237"/>
                  </a:lnTo>
                  <a:lnTo>
                    <a:pt x="1118" y="2232"/>
                  </a:lnTo>
                  <a:lnTo>
                    <a:pt x="1113" y="2228"/>
                  </a:lnTo>
                  <a:lnTo>
                    <a:pt x="1110" y="2224"/>
                  </a:lnTo>
                  <a:lnTo>
                    <a:pt x="1108" y="2220"/>
                  </a:lnTo>
                  <a:lnTo>
                    <a:pt x="1105" y="2215"/>
                  </a:lnTo>
                  <a:lnTo>
                    <a:pt x="1103" y="2204"/>
                  </a:lnTo>
                  <a:lnTo>
                    <a:pt x="1102" y="2193"/>
                  </a:lnTo>
                  <a:lnTo>
                    <a:pt x="1102" y="2182"/>
                  </a:lnTo>
                  <a:lnTo>
                    <a:pt x="1100" y="2171"/>
                  </a:lnTo>
                  <a:lnTo>
                    <a:pt x="1098" y="2166"/>
                  </a:lnTo>
                  <a:lnTo>
                    <a:pt x="1096" y="2161"/>
                  </a:lnTo>
                  <a:lnTo>
                    <a:pt x="1093" y="2157"/>
                  </a:lnTo>
                  <a:lnTo>
                    <a:pt x="1089" y="2152"/>
                  </a:lnTo>
                  <a:lnTo>
                    <a:pt x="1089" y="2214"/>
                  </a:lnTo>
                  <a:lnTo>
                    <a:pt x="1085" y="2223"/>
                  </a:lnTo>
                  <a:lnTo>
                    <a:pt x="1077" y="2214"/>
                  </a:lnTo>
                  <a:lnTo>
                    <a:pt x="1067" y="2206"/>
                  </a:lnTo>
                  <a:lnTo>
                    <a:pt x="1058" y="2199"/>
                  </a:lnTo>
                  <a:lnTo>
                    <a:pt x="1049" y="2193"/>
                  </a:lnTo>
                  <a:lnTo>
                    <a:pt x="1040" y="2186"/>
                  </a:lnTo>
                  <a:lnTo>
                    <a:pt x="1034" y="2177"/>
                  </a:lnTo>
                  <a:lnTo>
                    <a:pt x="1031" y="2173"/>
                  </a:lnTo>
                  <a:lnTo>
                    <a:pt x="1029" y="2168"/>
                  </a:lnTo>
                  <a:lnTo>
                    <a:pt x="1028" y="2163"/>
                  </a:lnTo>
                  <a:lnTo>
                    <a:pt x="1028" y="2157"/>
                  </a:lnTo>
                  <a:lnTo>
                    <a:pt x="1028" y="2150"/>
                  </a:lnTo>
                  <a:lnTo>
                    <a:pt x="1030" y="2143"/>
                  </a:lnTo>
                  <a:lnTo>
                    <a:pt x="1032" y="2137"/>
                  </a:lnTo>
                  <a:lnTo>
                    <a:pt x="1035" y="2131"/>
                  </a:lnTo>
                  <a:lnTo>
                    <a:pt x="1037" y="2126"/>
                  </a:lnTo>
                  <a:lnTo>
                    <a:pt x="1039" y="2120"/>
                  </a:lnTo>
                  <a:lnTo>
                    <a:pt x="1042" y="2112"/>
                  </a:lnTo>
                  <a:lnTo>
                    <a:pt x="1042" y="2105"/>
                  </a:lnTo>
                  <a:lnTo>
                    <a:pt x="1040" y="2098"/>
                  </a:lnTo>
                  <a:lnTo>
                    <a:pt x="1039" y="2091"/>
                  </a:lnTo>
                  <a:lnTo>
                    <a:pt x="1010" y="2116"/>
                  </a:lnTo>
                  <a:lnTo>
                    <a:pt x="983" y="2139"/>
                  </a:lnTo>
                  <a:lnTo>
                    <a:pt x="976" y="2144"/>
                  </a:lnTo>
                  <a:lnTo>
                    <a:pt x="968" y="2150"/>
                  </a:lnTo>
                  <a:lnTo>
                    <a:pt x="961" y="2154"/>
                  </a:lnTo>
                  <a:lnTo>
                    <a:pt x="953" y="2157"/>
                  </a:lnTo>
                  <a:lnTo>
                    <a:pt x="945" y="2160"/>
                  </a:lnTo>
                  <a:lnTo>
                    <a:pt x="936" y="2162"/>
                  </a:lnTo>
                  <a:lnTo>
                    <a:pt x="927" y="2163"/>
                  </a:lnTo>
                  <a:lnTo>
                    <a:pt x="917" y="2164"/>
                  </a:lnTo>
                  <a:lnTo>
                    <a:pt x="906" y="2163"/>
                  </a:lnTo>
                  <a:lnTo>
                    <a:pt x="897" y="2162"/>
                  </a:lnTo>
                  <a:lnTo>
                    <a:pt x="888" y="2159"/>
                  </a:lnTo>
                  <a:lnTo>
                    <a:pt x="880" y="2156"/>
                  </a:lnTo>
                  <a:lnTo>
                    <a:pt x="871" y="2152"/>
                  </a:lnTo>
                  <a:lnTo>
                    <a:pt x="864" y="2146"/>
                  </a:lnTo>
                  <a:lnTo>
                    <a:pt x="857" y="2141"/>
                  </a:lnTo>
                  <a:lnTo>
                    <a:pt x="851" y="2135"/>
                  </a:lnTo>
                  <a:lnTo>
                    <a:pt x="837" y="2121"/>
                  </a:lnTo>
                  <a:lnTo>
                    <a:pt x="826" y="2105"/>
                  </a:lnTo>
                  <a:lnTo>
                    <a:pt x="815" y="2088"/>
                  </a:lnTo>
                  <a:lnTo>
                    <a:pt x="804" y="2069"/>
                  </a:lnTo>
                  <a:lnTo>
                    <a:pt x="780" y="2031"/>
                  </a:lnTo>
                  <a:lnTo>
                    <a:pt x="759" y="1997"/>
                  </a:lnTo>
                  <a:lnTo>
                    <a:pt x="737" y="1963"/>
                  </a:lnTo>
                  <a:lnTo>
                    <a:pt x="712" y="1923"/>
                  </a:lnTo>
                  <a:lnTo>
                    <a:pt x="661" y="1897"/>
                  </a:lnTo>
                  <a:lnTo>
                    <a:pt x="616" y="1871"/>
                  </a:lnTo>
                  <a:lnTo>
                    <a:pt x="605" y="1863"/>
                  </a:lnTo>
                  <a:lnTo>
                    <a:pt x="596" y="1855"/>
                  </a:lnTo>
                  <a:lnTo>
                    <a:pt x="588" y="1847"/>
                  </a:lnTo>
                  <a:lnTo>
                    <a:pt x="581" y="1837"/>
                  </a:lnTo>
                  <a:lnTo>
                    <a:pt x="574" y="1826"/>
                  </a:lnTo>
                  <a:lnTo>
                    <a:pt x="568" y="1815"/>
                  </a:lnTo>
                  <a:lnTo>
                    <a:pt x="564" y="1803"/>
                  </a:lnTo>
                  <a:lnTo>
                    <a:pt x="561" y="1788"/>
                  </a:lnTo>
                  <a:lnTo>
                    <a:pt x="552" y="1786"/>
                  </a:lnTo>
                  <a:lnTo>
                    <a:pt x="541" y="1789"/>
                  </a:lnTo>
                  <a:lnTo>
                    <a:pt x="533" y="1793"/>
                  </a:lnTo>
                  <a:lnTo>
                    <a:pt x="529" y="1795"/>
                  </a:lnTo>
                  <a:lnTo>
                    <a:pt x="524" y="1796"/>
                  </a:lnTo>
                  <a:lnTo>
                    <a:pt x="520" y="1797"/>
                  </a:lnTo>
                  <a:lnTo>
                    <a:pt x="514" y="1798"/>
                  </a:lnTo>
                  <a:lnTo>
                    <a:pt x="508" y="1797"/>
                  </a:lnTo>
                  <a:lnTo>
                    <a:pt x="503" y="1796"/>
                  </a:lnTo>
                  <a:lnTo>
                    <a:pt x="499" y="1795"/>
                  </a:lnTo>
                  <a:lnTo>
                    <a:pt x="495" y="1793"/>
                  </a:lnTo>
                  <a:lnTo>
                    <a:pt x="486" y="1789"/>
                  </a:lnTo>
                  <a:lnTo>
                    <a:pt x="476" y="1786"/>
                  </a:lnTo>
                  <a:lnTo>
                    <a:pt x="472" y="1804"/>
                  </a:lnTo>
                  <a:lnTo>
                    <a:pt x="467" y="1820"/>
                  </a:lnTo>
                  <a:lnTo>
                    <a:pt x="464" y="1827"/>
                  </a:lnTo>
                  <a:lnTo>
                    <a:pt x="460" y="1835"/>
                  </a:lnTo>
                  <a:lnTo>
                    <a:pt x="456" y="1842"/>
                  </a:lnTo>
                  <a:lnTo>
                    <a:pt x="451" y="1849"/>
                  </a:lnTo>
                  <a:lnTo>
                    <a:pt x="445" y="1854"/>
                  </a:lnTo>
                  <a:lnTo>
                    <a:pt x="439" y="1859"/>
                  </a:lnTo>
                  <a:lnTo>
                    <a:pt x="434" y="1865"/>
                  </a:lnTo>
                  <a:lnTo>
                    <a:pt x="427" y="1869"/>
                  </a:lnTo>
                  <a:lnTo>
                    <a:pt x="420" y="1872"/>
                  </a:lnTo>
                  <a:lnTo>
                    <a:pt x="412" y="1874"/>
                  </a:lnTo>
                  <a:lnTo>
                    <a:pt x="404" y="1876"/>
                  </a:lnTo>
                  <a:lnTo>
                    <a:pt x="396" y="1876"/>
                  </a:lnTo>
                  <a:lnTo>
                    <a:pt x="390" y="1875"/>
                  </a:lnTo>
                  <a:lnTo>
                    <a:pt x="385" y="1873"/>
                  </a:lnTo>
                  <a:lnTo>
                    <a:pt x="382" y="1869"/>
                  </a:lnTo>
                  <a:lnTo>
                    <a:pt x="377" y="1863"/>
                  </a:lnTo>
                  <a:lnTo>
                    <a:pt x="375" y="1857"/>
                  </a:lnTo>
                  <a:lnTo>
                    <a:pt x="373" y="1851"/>
                  </a:lnTo>
                  <a:lnTo>
                    <a:pt x="372" y="1845"/>
                  </a:lnTo>
                  <a:lnTo>
                    <a:pt x="372" y="1838"/>
                  </a:lnTo>
                  <a:lnTo>
                    <a:pt x="372" y="1834"/>
                  </a:lnTo>
                  <a:lnTo>
                    <a:pt x="373" y="1828"/>
                  </a:lnTo>
                  <a:lnTo>
                    <a:pt x="375" y="1824"/>
                  </a:lnTo>
                  <a:lnTo>
                    <a:pt x="377" y="1821"/>
                  </a:lnTo>
                  <a:lnTo>
                    <a:pt x="383" y="1814"/>
                  </a:lnTo>
                  <a:lnTo>
                    <a:pt x="389" y="1808"/>
                  </a:lnTo>
                  <a:lnTo>
                    <a:pt x="396" y="1802"/>
                  </a:lnTo>
                  <a:lnTo>
                    <a:pt x="403" y="1795"/>
                  </a:lnTo>
                  <a:lnTo>
                    <a:pt x="409" y="1788"/>
                  </a:lnTo>
                  <a:lnTo>
                    <a:pt x="415" y="1779"/>
                  </a:lnTo>
                  <a:lnTo>
                    <a:pt x="402" y="1778"/>
                  </a:lnTo>
                  <a:lnTo>
                    <a:pt x="391" y="1778"/>
                  </a:lnTo>
                  <a:lnTo>
                    <a:pt x="380" y="1779"/>
                  </a:lnTo>
                  <a:lnTo>
                    <a:pt x="368" y="1779"/>
                  </a:lnTo>
                  <a:lnTo>
                    <a:pt x="367" y="1765"/>
                  </a:lnTo>
                  <a:lnTo>
                    <a:pt x="366" y="1754"/>
                  </a:lnTo>
                  <a:lnTo>
                    <a:pt x="365" y="1743"/>
                  </a:lnTo>
                  <a:lnTo>
                    <a:pt x="362" y="1731"/>
                  </a:lnTo>
                  <a:lnTo>
                    <a:pt x="359" y="1721"/>
                  </a:lnTo>
                  <a:lnTo>
                    <a:pt x="355" y="1711"/>
                  </a:lnTo>
                  <a:lnTo>
                    <a:pt x="350" y="1699"/>
                  </a:lnTo>
                  <a:lnTo>
                    <a:pt x="344" y="1687"/>
                  </a:lnTo>
                  <a:lnTo>
                    <a:pt x="337" y="1694"/>
                  </a:lnTo>
                  <a:lnTo>
                    <a:pt x="332" y="1701"/>
                  </a:lnTo>
                  <a:lnTo>
                    <a:pt x="328" y="1709"/>
                  </a:lnTo>
                  <a:lnTo>
                    <a:pt x="324" y="1716"/>
                  </a:lnTo>
                  <a:lnTo>
                    <a:pt x="320" y="1722"/>
                  </a:lnTo>
                  <a:lnTo>
                    <a:pt x="316" y="1729"/>
                  </a:lnTo>
                  <a:lnTo>
                    <a:pt x="310" y="1736"/>
                  </a:lnTo>
                  <a:lnTo>
                    <a:pt x="304" y="1744"/>
                  </a:lnTo>
                  <a:lnTo>
                    <a:pt x="286" y="1707"/>
                  </a:lnTo>
                  <a:lnTo>
                    <a:pt x="270" y="1673"/>
                  </a:lnTo>
                  <a:lnTo>
                    <a:pt x="262" y="1657"/>
                  </a:lnTo>
                  <a:lnTo>
                    <a:pt x="252" y="1643"/>
                  </a:lnTo>
                  <a:lnTo>
                    <a:pt x="246" y="1635"/>
                  </a:lnTo>
                  <a:lnTo>
                    <a:pt x="239" y="1628"/>
                  </a:lnTo>
                  <a:lnTo>
                    <a:pt x="232" y="1621"/>
                  </a:lnTo>
                  <a:lnTo>
                    <a:pt x="224" y="1614"/>
                  </a:lnTo>
                  <a:lnTo>
                    <a:pt x="217" y="1608"/>
                  </a:lnTo>
                  <a:lnTo>
                    <a:pt x="208" y="1603"/>
                  </a:lnTo>
                  <a:lnTo>
                    <a:pt x="199" y="1599"/>
                  </a:lnTo>
                  <a:lnTo>
                    <a:pt x="191" y="1596"/>
                  </a:lnTo>
                  <a:lnTo>
                    <a:pt x="173" y="1589"/>
                  </a:lnTo>
                  <a:lnTo>
                    <a:pt x="157" y="1583"/>
                  </a:lnTo>
                  <a:lnTo>
                    <a:pt x="149" y="1578"/>
                  </a:lnTo>
                  <a:lnTo>
                    <a:pt x="142" y="1574"/>
                  </a:lnTo>
                  <a:lnTo>
                    <a:pt x="136" y="1570"/>
                  </a:lnTo>
                  <a:lnTo>
                    <a:pt x="131" y="1565"/>
                  </a:lnTo>
                  <a:lnTo>
                    <a:pt x="127" y="1559"/>
                  </a:lnTo>
                  <a:lnTo>
                    <a:pt x="123" y="1553"/>
                  </a:lnTo>
                  <a:lnTo>
                    <a:pt x="121" y="1544"/>
                  </a:lnTo>
                  <a:lnTo>
                    <a:pt x="121" y="1536"/>
                  </a:lnTo>
                  <a:lnTo>
                    <a:pt x="121" y="1519"/>
                  </a:lnTo>
                  <a:lnTo>
                    <a:pt x="124" y="1502"/>
                  </a:lnTo>
                  <a:lnTo>
                    <a:pt x="127" y="1487"/>
                  </a:lnTo>
                  <a:lnTo>
                    <a:pt x="131" y="1472"/>
                  </a:lnTo>
                  <a:lnTo>
                    <a:pt x="135" y="1458"/>
                  </a:lnTo>
                  <a:lnTo>
                    <a:pt x="138" y="1442"/>
                  </a:lnTo>
                  <a:lnTo>
                    <a:pt x="140" y="1427"/>
                  </a:lnTo>
                  <a:lnTo>
                    <a:pt x="141" y="1408"/>
                  </a:lnTo>
                  <a:lnTo>
                    <a:pt x="141" y="1383"/>
                  </a:lnTo>
                  <a:lnTo>
                    <a:pt x="140" y="1361"/>
                  </a:lnTo>
                  <a:lnTo>
                    <a:pt x="138" y="1350"/>
                  </a:lnTo>
                  <a:lnTo>
                    <a:pt x="135" y="1339"/>
                  </a:lnTo>
                  <a:lnTo>
                    <a:pt x="130" y="1329"/>
                  </a:lnTo>
                  <a:lnTo>
                    <a:pt x="123" y="1319"/>
                  </a:lnTo>
                  <a:lnTo>
                    <a:pt x="107" y="1304"/>
                  </a:lnTo>
                  <a:lnTo>
                    <a:pt x="92" y="1290"/>
                  </a:lnTo>
                  <a:lnTo>
                    <a:pt x="86" y="1284"/>
                  </a:lnTo>
                  <a:lnTo>
                    <a:pt x="80" y="1277"/>
                  </a:lnTo>
                  <a:lnTo>
                    <a:pt x="78" y="1272"/>
                  </a:lnTo>
                  <a:lnTo>
                    <a:pt x="76" y="1268"/>
                  </a:lnTo>
                  <a:lnTo>
                    <a:pt x="75" y="1262"/>
                  </a:lnTo>
                  <a:lnTo>
                    <a:pt x="75" y="1257"/>
                  </a:lnTo>
                  <a:lnTo>
                    <a:pt x="76" y="1239"/>
                  </a:lnTo>
                  <a:lnTo>
                    <a:pt x="79" y="1223"/>
                  </a:lnTo>
                  <a:lnTo>
                    <a:pt x="81" y="1207"/>
                  </a:lnTo>
                  <a:lnTo>
                    <a:pt x="82" y="1189"/>
                  </a:lnTo>
                  <a:lnTo>
                    <a:pt x="82" y="1180"/>
                  </a:lnTo>
                  <a:lnTo>
                    <a:pt x="81" y="1172"/>
                  </a:lnTo>
                  <a:lnTo>
                    <a:pt x="79" y="1163"/>
                  </a:lnTo>
                  <a:lnTo>
                    <a:pt x="77" y="1156"/>
                  </a:lnTo>
                  <a:lnTo>
                    <a:pt x="73" y="1142"/>
                  </a:lnTo>
                  <a:lnTo>
                    <a:pt x="67" y="1128"/>
                  </a:lnTo>
                  <a:lnTo>
                    <a:pt x="62" y="1114"/>
                  </a:lnTo>
                  <a:lnTo>
                    <a:pt x="57" y="1099"/>
                  </a:lnTo>
                  <a:lnTo>
                    <a:pt x="55" y="1092"/>
                  </a:lnTo>
                  <a:lnTo>
                    <a:pt x="54" y="1084"/>
                  </a:lnTo>
                  <a:lnTo>
                    <a:pt x="53" y="1076"/>
                  </a:lnTo>
                  <a:lnTo>
                    <a:pt x="52" y="1066"/>
                  </a:lnTo>
                  <a:lnTo>
                    <a:pt x="52" y="1008"/>
                  </a:lnTo>
                  <a:lnTo>
                    <a:pt x="52" y="1001"/>
                  </a:lnTo>
                  <a:lnTo>
                    <a:pt x="50" y="993"/>
                  </a:lnTo>
                  <a:lnTo>
                    <a:pt x="48" y="987"/>
                  </a:lnTo>
                  <a:lnTo>
                    <a:pt x="46" y="980"/>
                  </a:lnTo>
                  <a:lnTo>
                    <a:pt x="41" y="968"/>
                  </a:lnTo>
                  <a:lnTo>
                    <a:pt x="34" y="956"/>
                  </a:lnTo>
                  <a:lnTo>
                    <a:pt x="17" y="934"/>
                  </a:lnTo>
                  <a:lnTo>
                    <a:pt x="0" y="908"/>
                  </a:lnTo>
                  <a:lnTo>
                    <a:pt x="6" y="895"/>
                  </a:lnTo>
                  <a:lnTo>
                    <a:pt x="11" y="882"/>
                  </a:lnTo>
                  <a:lnTo>
                    <a:pt x="15" y="870"/>
                  </a:lnTo>
                  <a:lnTo>
                    <a:pt x="17" y="859"/>
                  </a:lnTo>
                  <a:lnTo>
                    <a:pt x="20" y="847"/>
                  </a:lnTo>
                  <a:lnTo>
                    <a:pt x="21" y="835"/>
                  </a:lnTo>
                  <a:lnTo>
                    <a:pt x="21" y="822"/>
                  </a:lnTo>
                  <a:lnTo>
                    <a:pt x="22" y="806"/>
                  </a:lnTo>
                  <a:lnTo>
                    <a:pt x="37" y="806"/>
                  </a:lnTo>
                  <a:lnTo>
                    <a:pt x="53" y="805"/>
                  </a:lnTo>
                  <a:lnTo>
                    <a:pt x="67" y="803"/>
                  </a:lnTo>
                  <a:lnTo>
                    <a:pt x="81" y="800"/>
                  </a:lnTo>
                  <a:lnTo>
                    <a:pt x="95" y="796"/>
                  </a:lnTo>
                  <a:lnTo>
                    <a:pt x="107" y="792"/>
                  </a:lnTo>
                  <a:lnTo>
                    <a:pt x="120" y="786"/>
                  </a:lnTo>
                  <a:lnTo>
                    <a:pt x="132" y="781"/>
                  </a:lnTo>
                  <a:lnTo>
                    <a:pt x="156" y="768"/>
                  </a:lnTo>
                  <a:lnTo>
                    <a:pt x="180" y="753"/>
                  </a:lnTo>
                  <a:lnTo>
                    <a:pt x="206" y="737"/>
                  </a:lnTo>
                  <a:lnTo>
                    <a:pt x="233" y="719"/>
                  </a:lnTo>
                  <a:lnTo>
                    <a:pt x="254" y="706"/>
                  </a:lnTo>
                  <a:lnTo>
                    <a:pt x="273" y="694"/>
                  </a:lnTo>
                  <a:lnTo>
                    <a:pt x="292" y="681"/>
                  </a:lnTo>
                  <a:lnTo>
                    <a:pt x="308" y="668"/>
                  </a:lnTo>
                  <a:lnTo>
                    <a:pt x="316" y="660"/>
                  </a:lnTo>
                  <a:lnTo>
                    <a:pt x="323" y="653"/>
                  </a:lnTo>
                  <a:lnTo>
                    <a:pt x="329" y="645"/>
                  </a:lnTo>
                  <a:lnTo>
                    <a:pt x="334" y="637"/>
                  </a:lnTo>
                  <a:lnTo>
                    <a:pt x="339" y="627"/>
                  </a:lnTo>
                  <a:lnTo>
                    <a:pt x="343" y="617"/>
                  </a:lnTo>
                  <a:lnTo>
                    <a:pt x="346" y="606"/>
                  </a:lnTo>
                  <a:lnTo>
                    <a:pt x="349" y="594"/>
                  </a:lnTo>
                  <a:lnTo>
                    <a:pt x="339" y="532"/>
                  </a:lnTo>
                  <a:lnTo>
                    <a:pt x="344" y="522"/>
                  </a:lnTo>
                  <a:lnTo>
                    <a:pt x="350" y="514"/>
                  </a:lnTo>
                  <a:lnTo>
                    <a:pt x="357" y="507"/>
                  </a:lnTo>
                  <a:lnTo>
                    <a:pt x="365" y="500"/>
                  </a:lnTo>
                  <a:lnTo>
                    <a:pt x="373" y="496"/>
                  </a:lnTo>
                  <a:lnTo>
                    <a:pt x="383" y="493"/>
                  </a:lnTo>
                  <a:lnTo>
                    <a:pt x="393" y="491"/>
                  </a:lnTo>
                  <a:lnTo>
                    <a:pt x="403" y="489"/>
                  </a:lnTo>
                  <a:lnTo>
                    <a:pt x="427" y="489"/>
                  </a:lnTo>
                  <a:lnTo>
                    <a:pt x="451" y="489"/>
                  </a:lnTo>
                  <a:lnTo>
                    <a:pt x="475" y="490"/>
                  </a:lnTo>
                  <a:lnTo>
                    <a:pt x="500" y="490"/>
                  </a:lnTo>
                  <a:lnTo>
                    <a:pt x="507" y="489"/>
                  </a:lnTo>
                  <a:lnTo>
                    <a:pt x="516" y="488"/>
                  </a:lnTo>
                  <a:lnTo>
                    <a:pt x="522" y="486"/>
                  </a:lnTo>
                  <a:lnTo>
                    <a:pt x="529" y="483"/>
                  </a:lnTo>
                  <a:lnTo>
                    <a:pt x="535" y="480"/>
                  </a:lnTo>
                  <a:lnTo>
                    <a:pt x="540" y="476"/>
                  </a:lnTo>
                  <a:lnTo>
                    <a:pt x="545" y="471"/>
                  </a:lnTo>
                  <a:lnTo>
                    <a:pt x="551" y="467"/>
                  </a:lnTo>
                  <a:lnTo>
                    <a:pt x="561" y="456"/>
                  </a:lnTo>
                  <a:lnTo>
                    <a:pt x="569" y="444"/>
                  </a:lnTo>
                  <a:lnTo>
                    <a:pt x="578" y="431"/>
                  </a:lnTo>
                  <a:lnTo>
                    <a:pt x="587" y="417"/>
                  </a:lnTo>
                  <a:lnTo>
                    <a:pt x="599" y="398"/>
                  </a:lnTo>
                  <a:lnTo>
                    <a:pt x="609" y="382"/>
                  </a:lnTo>
                  <a:lnTo>
                    <a:pt x="614" y="372"/>
                  </a:lnTo>
                  <a:lnTo>
                    <a:pt x="618" y="363"/>
                  </a:lnTo>
                  <a:lnTo>
                    <a:pt x="620" y="353"/>
                  </a:lnTo>
                  <a:lnTo>
                    <a:pt x="620" y="341"/>
                  </a:lnTo>
                  <a:lnTo>
                    <a:pt x="620" y="329"/>
                  </a:lnTo>
                  <a:lnTo>
                    <a:pt x="619" y="319"/>
                  </a:lnTo>
                  <a:lnTo>
                    <a:pt x="617" y="308"/>
                  </a:lnTo>
                  <a:lnTo>
                    <a:pt x="614" y="298"/>
                  </a:lnTo>
                  <a:lnTo>
                    <a:pt x="606" y="278"/>
                  </a:lnTo>
                  <a:lnTo>
                    <a:pt x="596" y="257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>
                  <a:latin typeface="Calibri" panose="020F0502020204030204" pitchFamily="34" charset="0"/>
                </a:rPr>
                <a:t>Ternopil</a:t>
              </a:r>
              <a:endParaRPr lang="ru-RU" altLang="ru-RU" sz="675">
                <a:latin typeface="Calibri" panose="020F0502020204030204" pitchFamily="34" charset="0"/>
              </a:endParaRPr>
            </a:p>
          </p:txBody>
        </p:sp>
        <p:sp>
          <p:nvSpPr>
            <p:cNvPr id="34" name="L’viv"/>
            <p:cNvSpPr>
              <a:spLocks/>
            </p:cNvSpPr>
            <p:nvPr/>
          </p:nvSpPr>
          <p:spPr bwMode="auto">
            <a:xfrm>
              <a:off x="697" y="1661"/>
              <a:ext cx="716" cy="703"/>
            </a:xfrm>
            <a:custGeom>
              <a:avLst/>
              <a:gdLst>
                <a:gd name="T0" fmla="*/ 338 w 2389"/>
                <a:gd name="T1" fmla="*/ 226 h 2419"/>
                <a:gd name="T2" fmla="*/ 338 w 2389"/>
                <a:gd name="T3" fmla="*/ 226 h 2419"/>
                <a:gd name="T4" fmla="*/ 338 w 2389"/>
                <a:gd name="T5" fmla="*/ 226 h 2419"/>
                <a:gd name="T6" fmla="*/ 338 w 2389"/>
                <a:gd name="T7" fmla="*/ 226 h 2419"/>
                <a:gd name="T8" fmla="*/ 338 w 2389"/>
                <a:gd name="T9" fmla="*/ 226 h 2419"/>
                <a:gd name="T10" fmla="*/ 338 w 2389"/>
                <a:gd name="T11" fmla="*/ 226 h 2419"/>
                <a:gd name="T12" fmla="*/ 338 w 2389"/>
                <a:gd name="T13" fmla="*/ 226 h 2419"/>
                <a:gd name="T14" fmla="*/ 338 w 2389"/>
                <a:gd name="T15" fmla="*/ 226 h 2419"/>
                <a:gd name="T16" fmla="*/ 338 w 2389"/>
                <a:gd name="T17" fmla="*/ 226 h 2419"/>
                <a:gd name="T18" fmla="*/ 338 w 2389"/>
                <a:gd name="T19" fmla="*/ 226 h 2419"/>
                <a:gd name="T20" fmla="*/ 338 w 2389"/>
                <a:gd name="T21" fmla="*/ 226 h 2419"/>
                <a:gd name="T22" fmla="*/ 338 w 2389"/>
                <a:gd name="T23" fmla="*/ 226 h 2419"/>
                <a:gd name="T24" fmla="*/ 338 w 2389"/>
                <a:gd name="T25" fmla="*/ 226 h 2419"/>
                <a:gd name="T26" fmla="*/ 338 w 2389"/>
                <a:gd name="T27" fmla="*/ 226 h 2419"/>
                <a:gd name="T28" fmla="*/ 338 w 2389"/>
                <a:gd name="T29" fmla="*/ 226 h 2419"/>
                <a:gd name="T30" fmla="*/ 338 w 2389"/>
                <a:gd name="T31" fmla="*/ 226 h 2419"/>
                <a:gd name="T32" fmla="*/ 338 w 2389"/>
                <a:gd name="T33" fmla="*/ 226 h 2419"/>
                <a:gd name="T34" fmla="*/ 338 w 2389"/>
                <a:gd name="T35" fmla="*/ 226 h 2419"/>
                <a:gd name="T36" fmla="*/ 338 w 2389"/>
                <a:gd name="T37" fmla="*/ 226 h 2419"/>
                <a:gd name="T38" fmla="*/ 338 w 2389"/>
                <a:gd name="T39" fmla="*/ 226 h 2419"/>
                <a:gd name="T40" fmla="*/ 338 w 2389"/>
                <a:gd name="T41" fmla="*/ 226 h 2419"/>
                <a:gd name="T42" fmla="*/ 338 w 2389"/>
                <a:gd name="T43" fmla="*/ 226 h 2419"/>
                <a:gd name="T44" fmla="*/ 338 w 2389"/>
                <a:gd name="T45" fmla="*/ 226 h 2419"/>
                <a:gd name="T46" fmla="*/ 338 w 2389"/>
                <a:gd name="T47" fmla="*/ 226 h 2419"/>
                <a:gd name="T48" fmla="*/ 338 w 2389"/>
                <a:gd name="T49" fmla="*/ 226 h 2419"/>
                <a:gd name="T50" fmla="*/ 338 w 2389"/>
                <a:gd name="T51" fmla="*/ 226 h 2419"/>
                <a:gd name="T52" fmla="*/ 338 w 2389"/>
                <a:gd name="T53" fmla="*/ 226 h 2419"/>
                <a:gd name="T54" fmla="*/ 338 w 2389"/>
                <a:gd name="T55" fmla="*/ 226 h 2419"/>
                <a:gd name="T56" fmla="*/ 338 w 2389"/>
                <a:gd name="T57" fmla="*/ 226 h 2419"/>
                <a:gd name="T58" fmla="*/ 338 w 2389"/>
                <a:gd name="T59" fmla="*/ 226 h 2419"/>
                <a:gd name="T60" fmla="*/ 338 w 2389"/>
                <a:gd name="T61" fmla="*/ 226 h 2419"/>
                <a:gd name="T62" fmla="*/ 338 w 2389"/>
                <a:gd name="T63" fmla="*/ 226 h 2419"/>
                <a:gd name="T64" fmla="*/ 338 w 2389"/>
                <a:gd name="T65" fmla="*/ 226 h 2419"/>
                <a:gd name="T66" fmla="*/ 338 w 2389"/>
                <a:gd name="T67" fmla="*/ 226 h 2419"/>
                <a:gd name="T68" fmla="*/ 338 w 2389"/>
                <a:gd name="T69" fmla="*/ 226 h 2419"/>
                <a:gd name="T70" fmla="*/ 338 w 2389"/>
                <a:gd name="T71" fmla="*/ 226 h 2419"/>
                <a:gd name="T72" fmla="*/ 338 w 2389"/>
                <a:gd name="T73" fmla="*/ 226 h 2419"/>
                <a:gd name="T74" fmla="*/ 338 w 2389"/>
                <a:gd name="T75" fmla="*/ 226 h 2419"/>
                <a:gd name="T76" fmla="*/ 338 w 2389"/>
                <a:gd name="T77" fmla="*/ 226 h 2419"/>
                <a:gd name="T78" fmla="*/ 338 w 2389"/>
                <a:gd name="T79" fmla="*/ 226 h 2419"/>
                <a:gd name="T80" fmla="*/ 338 w 2389"/>
                <a:gd name="T81" fmla="*/ 226 h 2419"/>
                <a:gd name="T82" fmla="*/ 338 w 2389"/>
                <a:gd name="T83" fmla="*/ 226 h 2419"/>
                <a:gd name="T84" fmla="*/ 338 w 2389"/>
                <a:gd name="T85" fmla="*/ 226 h 2419"/>
                <a:gd name="T86" fmla="*/ 338 w 2389"/>
                <a:gd name="T87" fmla="*/ 226 h 2419"/>
                <a:gd name="T88" fmla="*/ 338 w 2389"/>
                <a:gd name="T89" fmla="*/ 226 h 2419"/>
                <a:gd name="T90" fmla="*/ 338 w 2389"/>
                <a:gd name="T91" fmla="*/ 226 h 2419"/>
                <a:gd name="T92" fmla="*/ 338 w 2389"/>
                <a:gd name="T93" fmla="*/ 226 h 2419"/>
                <a:gd name="T94" fmla="*/ 338 w 2389"/>
                <a:gd name="T95" fmla="*/ 226 h 2419"/>
                <a:gd name="T96" fmla="*/ 338 w 2389"/>
                <a:gd name="T97" fmla="*/ 226 h 2419"/>
                <a:gd name="T98" fmla="*/ 338 w 2389"/>
                <a:gd name="T99" fmla="*/ 226 h 2419"/>
                <a:gd name="T100" fmla="*/ 338 w 2389"/>
                <a:gd name="T101" fmla="*/ 226 h 2419"/>
                <a:gd name="T102" fmla="*/ 338 w 2389"/>
                <a:gd name="T103" fmla="*/ 226 h 2419"/>
                <a:gd name="T104" fmla="*/ 338 w 2389"/>
                <a:gd name="T105" fmla="*/ 226 h 2419"/>
                <a:gd name="T106" fmla="*/ 338 w 2389"/>
                <a:gd name="T107" fmla="*/ 226 h 2419"/>
                <a:gd name="T108" fmla="*/ 338 w 2389"/>
                <a:gd name="T109" fmla="*/ 226 h 2419"/>
                <a:gd name="T110" fmla="*/ 338 w 2389"/>
                <a:gd name="T111" fmla="*/ 226 h 2419"/>
                <a:gd name="T112" fmla="*/ 338 w 2389"/>
                <a:gd name="T113" fmla="*/ 226 h 2419"/>
                <a:gd name="T114" fmla="*/ 338 w 2389"/>
                <a:gd name="T115" fmla="*/ 226 h 2419"/>
                <a:gd name="T116" fmla="*/ 338 w 2389"/>
                <a:gd name="T117" fmla="*/ 226 h 241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89"/>
                <a:gd name="T178" fmla="*/ 0 h 2419"/>
                <a:gd name="T179" fmla="*/ 2389 w 2389"/>
                <a:gd name="T180" fmla="*/ 2419 h 241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89" h="2419">
                  <a:moveTo>
                    <a:pt x="1401" y="9"/>
                  </a:moveTo>
                  <a:lnTo>
                    <a:pt x="1427" y="0"/>
                  </a:lnTo>
                  <a:lnTo>
                    <a:pt x="1437" y="2"/>
                  </a:lnTo>
                  <a:lnTo>
                    <a:pt x="1440" y="17"/>
                  </a:lnTo>
                  <a:lnTo>
                    <a:pt x="1444" y="31"/>
                  </a:lnTo>
                  <a:lnTo>
                    <a:pt x="1448" y="44"/>
                  </a:lnTo>
                  <a:lnTo>
                    <a:pt x="1453" y="58"/>
                  </a:lnTo>
                  <a:lnTo>
                    <a:pt x="1456" y="63"/>
                  </a:lnTo>
                  <a:lnTo>
                    <a:pt x="1461" y="68"/>
                  </a:lnTo>
                  <a:lnTo>
                    <a:pt x="1465" y="73"/>
                  </a:lnTo>
                  <a:lnTo>
                    <a:pt x="1469" y="77"/>
                  </a:lnTo>
                  <a:lnTo>
                    <a:pt x="1474" y="81"/>
                  </a:lnTo>
                  <a:lnTo>
                    <a:pt x="1480" y="83"/>
                  </a:lnTo>
                  <a:lnTo>
                    <a:pt x="1486" y="84"/>
                  </a:lnTo>
                  <a:lnTo>
                    <a:pt x="1494" y="85"/>
                  </a:lnTo>
                  <a:lnTo>
                    <a:pt x="1502" y="85"/>
                  </a:lnTo>
                  <a:lnTo>
                    <a:pt x="1510" y="84"/>
                  </a:lnTo>
                  <a:lnTo>
                    <a:pt x="1518" y="82"/>
                  </a:lnTo>
                  <a:lnTo>
                    <a:pt x="1526" y="81"/>
                  </a:lnTo>
                  <a:lnTo>
                    <a:pt x="1540" y="75"/>
                  </a:lnTo>
                  <a:lnTo>
                    <a:pt x="1554" y="70"/>
                  </a:lnTo>
                  <a:lnTo>
                    <a:pt x="1568" y="65"/>
                  </a:lnTo>
                  <a:lnTo>
                    <a:pt x="1582" y="61"/>
                  </a:lnTo>
                  <a:lnTo>
                    <a:pt x="1591" y="59"/>
                  </a:lnTo>
                  <a:lnTo>
                    <a:pt x="1599" y="58"/>
                  </a:lnTo>
                  <a:lnTo>
                    <a:pt x="1607" y="57"/>
                  </a:lnTo>
                  <a:lnTo>
                    <a:pt x="1615" y="57"/>
                  </a:lnTo>
                  <a:lnTo>
                    <a:pt x="1623" y="57"/>
                  </a:lnTo>
                  <a:lnTo>
                    <a:pt x="1628" y="58"/>
                  </a:lnTo>
                  <a:lnTo>
                    <a:pt x="1633" y="61"/>
                  </a:lnTo>
                  <a:lnTo>
                    <a:pt x="1637" y="63"/>
                  </a:lnTo>
                  <a:lnTo>
                    <a:pt x="1641" y="67"/>
                  </a:lnTo>
                  <a:lnTo>
                    <a:pt x="1645" y="71"/>
                  </a:lnTo>
                  <a:lnTo>
                    <a:pt x="1648" y="75"/>
                  </a:lnTo>
                  <a:lnTo>
                    <a:pt x="1651" y="81"/>
                  </a:lnTo>
                  <a:lnTo>
                    <a:pt x="1658" y="92"/>
                  </a:lnTo>
                  <a:lnTo>
                    <a:pt x="1664" y="103"/>
                  </a:lnTo>
                  <a:lnTo>
                    <a:pt x="1671" y="115"/>
                  </a:lnTo>
                  <a:lnTo>
                    <a:pt x="1679" y="125"/>
                  </a:lnTo>
                  <a:lnTo>
                    <a:pt x="1691" y="134"/>
                  </a:lnTo>
                  <a:lnTo>
                    <a:pt x="1703" y="143"/>
                  </a:lnTo>
                  <a:lnTo>
                    <a:pt x="1714" y="149"/>
                  </a:lnTo>
                  <a:lnTo>
                    <a:pt x="1727" y="156"/>
                  </a:lnTo>
                  <a:lnTo>
                    <a:pt x="1732" y="159"/>
                  </a:lnTo>
                  <a:lnTo>
                    <a:pt x="1737" y="163"/>
                  </a:lnTo>
                  <a:lnTo>
                    <a:pt x="1741" y="167"/>
                  </a:lnTo>
                  <a:lnTo>
                    <a:pt x="1745" y="171"/>
                  </a:lnTo>
                  <a:lnTo>
                    <a:pt x="1748" y="177"/>
                  </a:lnTo>
                  <a:lnTo>
                    <a:pt x="1750" y="183"/>
                  </a:lnTo>
                  <a:lnTo>
                    <a:pt x="1751" y="189"/>
                  </a:lnTo>
                  <a:lnTo>
                    <a:pt x="1752" y="195"/>
                  </a:lnTo>
                  <a:lnTo>
                    <a:pt x="1751" y="204"/>
                  </a:lnTo>
                  <a:lnTo>
                    <a:pt x="1748" y="213"/>
                  </a:lnTo>
                  <a:lnTo>
                    <a:pt x="1745" y="221"/>
                  </a:lnTo>
                  <a:lnTo>
                    <a:pt x="1743" y="230"/>
                  </a:lnTo>
                  <a:lnTo>
                    <a:pt x="1743" y="249"/>
                  </a:lnTo>
                  <a:lnTo>
                    <a:pt x="1743" y="265"/>
                  </a:lnTo>
                  <a:lnTo>
                    <a:pt x="1743" y="281"/>
                  </a:lnTo>
                  <a:lnTo>
                    <a:pt x="1743" y="299"/>
                  </a:lnTo>
                  <a:lnTo>
                    <a:pt x="1752" y="296"/>
                  </a:lnTo>
                  <a:lnTo>
                    <a:pt x="1763" y="294"/>
                  </a:lnTo>
                  <a:lnTo>
                    <a:pt x="1811" y="294"/>
                  </a:lnTo>
                  <a:lnTo>
                    <a:pt x="1816" y="295"/>
                  </a:lnTo>
                  <a:lnTo>
                    <a:pt x="1822" y="296"/>
                  </a:lnTo>
                  <a:lnTo>
                    <a:pt x="1826" y="298"/>
                  </a:lnTo>
                  <a:lnTo>
                    <a:pt x="1830" y="301"/>
                  </a:lnTo>
                  <a:lnTo>
                    <a:pt x="1833" y="304"/>
                  </a:lnTo>
                  <a:lnTo>
                    <a:pt x="1836" y="308"/>
                  </a:lnTo>
                  <a:lnTo>
                    <a:pt x="1839" y="312"/>
                  </a:lnTo>
                  <a:lnTo>
                    <a:pt x="1841" y="316"/>
                  </a:lnTo>
                  <a:lnTo>
                    <a:pt x="1845" y="326"/>
                  </a:lnTo>
                  <a:lnTo>
                    <a:pt x="1848" y="338"/>
                  </a:lnTo>
                  <a:lnTo>
                    <a:pt x="1850" y="350"/>
                  </a:lnTo>
                  <a:lnTo>
                    <a:pt x="1852" y="363"/>
                  </a:lnTo>
                  <a:lnTo>
                    <a:pt x="1855" y="376"/>
                  </a:lnTo>
                  <a:lnTo>
                    <a:pt x="1857" y="388"/>
                  </a:lnTo>
                  <a:lnTo>
                    <a:pt x="1860" y="400"/>
                  </a:lnTo>
                  <a:lnTo>
                    <a:pt x="1863" y="410"/>
                  </a:lnTo>
                  <a:lnTo>
                    <a:pt x="1866" y="415"/>
                  </a:lnTo>
                  <a:lnTo>
                    <a:pt x="1868" y="419"/>
                  </a:lnTo>
                  <a:lnTo>
                    <a:pt x="1871" y="422"/>
                  </a:lnTo>
                  <a:lnTo>
                    <a:pt x="1875" y="425"/>
                  </a:lnTo>
                  <a:lnTo>
                    <a:pt x="1879" y="429"/>
                  </a:lnTo>
                  <a:lnTo>
                    <a:pt x="1883" y="431"/>
                  </a:lnTo>
                  <a:lnTo>
                    <a:pt x="1889" y="432"/>
                  </a:lnTo>
                  <a:lnTo>
                    <a:pt x="1894" y="432"/>
                  </a:lnTo>
                  <a:lnTo>
                    <a:pt x="1903" y="432"/>
                  </a:lnTo>
                  <a:lnTo>
                    <a:pt x="1911" y="430"/>
                  </a:lnTo>
                  <a:lnTo>
                    <a:pt x="1918" y="428"/>
                  </a:lnTo>
                  <a:lnTo>
                    <a:pt x="1926" y="425"/>
                  </a:lnTo>
                  <a:lnTo>
                    <a:pt x="1939" y="418"/>
                  </a:lnTo>
                  <a:lnTo>
                    <a:pt x="1953" y="410"/>
                  </a:lnTo>
                  <a:lnTo>
                    <a:pt x="1965" y="403"/>
                  </a:lnTo>
                  <a:lnTo>
                    <a:pt x="1978" y="396"/>
                  </a:lnTo>
                  <a:lnTo>
                    <a:pt x="1986" y="393"/>
                  </a:lnTo>
                  <a:lnTo>
                    <a:pt x="1994" y="391"/>
                  </a:lnTo>
                  <a:lnTo>
                    <a:pt x="2002" y="389"/>
                  </a:lnTo>
                  <a:lnTo>
                    <a:pt x="2010" y="389"/>
                  </a:lnTo>
                  <a:lnTo>
                    <a:pt x="2023" y="389"/>
                  </a:lnTo>
                  <a:lnTo>
                    <a:pt x="2034" y="390"/>
                  </a:lnTo>
                  <a:lnTo>
                    <a:pt x="2045" y="392"/>
                  </a:lnTo>
                  <a:lnTo>
                    <a:pt x="2056" y="394"/>
                  </a:lnTo>
                  <a:lnTo>
                    <a:pt x="2076" y="401"/>
                  </a:lnTo>
                  <a:lnTo>
                    <a:pt x="2096" y="408"/>
                  </a:lnTo>
                  <a:lnTo>
                    <a:pt x="2115" y="415"/>
                  </a:lnTo>
                  <a:lnTo>
                    <a:pt x="2136" y="422"/>
                  </a:lnTo>
                  <a:lnTo>
                    <a:pt x="2158" y="429"/>
                  </a:lnTo>
                  <a:lnTo>
                    <a:pt x="2181" y="434"/>
                  </a:lnTo>
                  <a:lnTo>
                    <a:pt x="2201" y="451"/>
                  </a:lnTo>
                  <a:lnTo>
                    <a:pt x="2219" y="469"/>
                  </a:lnTo>
                  <a:lnTo>
                    <a:pt x="2226" y="478"/>
                  </a:lnTo>
                  <a:lnTo>
                    <a:pt x="2231" y="488"/>
                  </a:lnTo>
                  <a:lnTo>
                    <a:pt x="2233" y="494"/>
                  </a:lnTo>
                  <a:lnTo>
                    <a:pt x="2234" y="500"/>
                  </a:lnTo>
                  <a:lnTo>
                    <a:pt x="2235" y="506"/>
                  </a:lnTo>
                  <a:lnTo>
                    <a:pt x="2236" y="512"/>
                  </a:lnTo>
                  <a:lnTo>
                    <a:pt x="2235" y="543"/>
                  </a:lnTo>
                  <a:lnTo>
                    <a:pt x="2232" y="571"/>
                  </a:lnTo>
                  <a:lnTo>
                    <a:pt x="2230" y="599"/>
                  </a:lnTo>
                  <a:lnTo>
                    <a:pt x="2229" y="630"/>
                  </a:lnTo>
                  <a:lnTo>
                    <a:pt x="2229" y="651"/>
                  </a:lnTo>
                  <a:lnTo>
                    <a:pt x="2230" y="670"/>
                  </a:lnTo>
                  <a:lnTo>
                    <a:pt x="2233" y="690"/>
                  </a:lnTo>
                  <a:lnTo>
                    <a:pt x="2236" y="709"/>
                  </a:lnTo>
                  <a:lnTo>
                    <a:pt x="2240" y="727"/>
                  </a:lnTo>
                  <a:lnTo>
                    <a:pt x="2245" y="746"/>
                  </a:lnTo>
                  <a:lnTo>
                    <a:pt x="2252" y="762"/>
                  </a:lnTo>
                  <a:lnTo>
                    <a:pt x="2259" y="779"/>
                  </a:lnTo>
                  <a:lnTo>
                    <a:pt x="2268" y="794"/>
                  </a:lnTo>
                  <a:lnTo>
                    <a:pt x="2277" y="809"/>
                  </a:lnTo>
                  <a:lnTo>
                    <a:pt x="2289" y="822"/>
                  </a:lnTo>
                  <a:lnTo>
                    <a:pt x="2301" y="835"/>
                  </a:lnTo>
                  <a:lnTo>
                    <a:pt x="2316" y="847"/>
                  </a:lnTo>
                  <a:lnTo>
                    <a:pt x="2330" y="857"/>
                  </a:lnTo>
                  <a:lnTo>
                    <a:pt x="2347" y="867"/>
                  </a:lnTo>
                  <a:lnTo>
                    <a:pt x="2365" y="876"/>
                  </a:lnTo>
                  <a:lnTo>
                    <a:pt x="2375" y="897"/>
                  </a:lnTo>
                  <a:lnTo>
                    <a:pt x="2383" y="917"/>
                  </a:lnTo>
                  <a:lnTo>
                    <a:pt x="2386" y="927"/>
                  </a:lnTo>
                  <a:lnTo>
                    <a:pt x="2388" y="938"/>
                  </a:lnTo>
                  <a:lnTo>
                    <a:pt x="2389" y="948"/>
                  </a:lnTo>
                  <a:lnTo>
                    <a:pt x="2389" y="960"/>
                  </a:lnTo>
                  <a:lnTo>
                    <a:pt x="2389" y="972"/>
                  </a:lnTo>
                  <a:lnTo>
                    <a:pt x="2387" y="982"/>
                  </a:lnTo>
                  <a:lnTo>
                    <a:pt x="2383" y="991"/>
                  </a:lnTo>
                  <a:lnTo>
                    <a:pt x="2378" y="1001"/>
                  </a:lnTo>
                  <a:lnTo>
                    <a:pt x="2368" y="1017"/>
                  </a:lnTo>
                  <a:lnTo>
                    <a:pt x="2356" y="1036"/>
                  </a:lnTo>
                  <a:lnTo>
                    <a:pt x="2347" y="1050"/>
                  </a:lnTo>
                  <a:lnTo>
                    <a:pt x="2338" y="1063"/>
                  </a:lnTo>
                  <a:lnTo>
                    <a:pt x="2330" y="1075"/>
                  </a:lnTo>
                  <a:lnTo>
                    <a:pt x="2320" y="1086"/>
                  </a:lnTo>
                  <a:lnTo>
                    <a:pt x="2314" y="1090"/>
                  </a:lnTo>
                  <a:lnTo>
                    <a:pt x="2309" y="1095"/>
                  </a:lnTo>
                  <a:lnTo>
                    <a:pt x="2304" y="1099"/>
                  </a:lnTo>
                  <a:lnTo>
                    <a:pt x="2298" y="1102"/>
                  </a:lnTo>
                  <a:lnTo>
                    <a:pt x="2291" y="1105"/>
                  </a:lnTo>
                  <a:lnTo>
                    <a:pt x="2285" y="1107"/>
                  </a:lnTo>
                  <a:lnTo>
                    <a:pt x="2276" y="1108"/>
                  </a:lnTo>
                  <a:lnTo>
                    <a:pt x="2269" y="1109"/>
                  </a:lnTo>
                  <a:lnTo>
                    <a:pt x="2244" y="1109"/>
                  </a:lnTo>
                  <a:lnTo>
                    <a:pt x="2220" y="1108"/>
                  </a:lnTo>
                  <a:lnTo>
                    <a:pt x="2196" y="1108"/>
                  </a:lnTo>
                  <a:lnTo>
                    <a:pt x="2172" y="1108"/>
                  </a:lnTo>
                  <a:lnTo>
                    <a:pt x="2162" y="1110"/>
                  </a:lnTo>
                  <a:lnTo>
                    <a:pt x="2152" y="1112"/>
                  </a:lnTo>
                  <a:lnTo>
                    <a:pt x="2142" y="1115"/>
                  </a:lnTo>
                  <a:lnTo>
                    <a:pt x="2134" y="1119"/>
                  </a:lnTo>
                  <a:lnTo>
                    <a:pt x="2126" y="1126"/>
                  </a:lnTo>
                  <a:lnTo>
                    <a:pt x="2119" y="1133"/>
                  </a:lnTo>
                  <a:lnTo>
                    <a:pt x="2113" y="1141"/>
                  </a:lnTo>
                  <a:lnTo>
                    <a:pt x="2108" y="1151"/>
                  </a:lnTo>
                  <a:lnTo>
                    <a:pt x="2118" y="1213"/>
                  </a:lnTo>
                  <a:lnTo>
                    <a:pt x="2115" y="1225"/>
                  </a:lnTo>
                  <a:lnTo>
                    <a:pt x="2112" y="1236"/>
                  </a:lnTo>
                  <a:lnTo>
                    <a:pt x="2108" y="1246"/>
                  </a:lnTo>
                  <a:lnTo>
                    <a:pt x="2103" y="1256"/>
                  </a:lnTo>
                  <a:lnTo>
                    <a:pt x="2098" y="1264"/>
                  </a:lnTo>
                  <a:lnTo>
                    <a:pt x="2092" y="1272"/>
                  </a:lnTo>
                  <a:lnTo>
                    <a:pt x="2085" y="1279"/>
                  </a:lnTo>
                  <a:lnTo>
                    <a:pt x="2077" y="1287"/>
                  </a:lnTo>
                  <a:lnTo>
                    <a:pt x="2061" y="1300"/>
                  </a:lnTo>
                  <a:lnTo>
                    <a:pt x="2042" y="1313"/>
                  </a:lnTo>
                  <a:lnTo>
                    <a:pt x="2023" y="1325"/>
                  </a:lnTo>
                  <a:lnTo>
                    <a:pt x="2002" y="1338"/>
                  </a:lnTo>
                  <a:lnTo>
                    <a:pt x="1975" y="1356"/>
                  </a:lnTo>
                  <a:lnTo>
                    <a:pt x="1949" y="1372"/>
                  </a:lnTo>
                  <a:lnTo>
                    <a:pt x="1925" y="1387"/>
                  </a:lnTo>
                  <a:lnTo>
                    <a:pt x="1901" y="1400"/>
                  </a:lnTo>
                  <a:lnTo>
                    <a:pt x="1889" y="1405"/>
                  </a:lnTo>
                  <a:lnTo>
                    <a:pt x="1876" y="1411"/>
                  </a:lnTo>
                  <a:lnTo>
                    <a:pt x="1864" y="1415"/>
                  </a:lnTo>
                  <a:lnTo>
                    <a:pt x="1850" y="1419"/>
                  </a:lnTo>
                  <a:lnTo>
                    <a:pt x="1836" y="1422"/>
                  </a:lnTo>
                  <a:lnTo>
                    <a:pt x="1822" y="1424"/>
                  </a:lnTo>
                  <a:lnTo>
                    <a:pt x="1806" y="1425"/>
                  </a:lnTo>
                  <a:lnTo>
                    <a:pt x="1791" y="1425"/>
                  </a:lnTo>
                  <a:lnTo>
                    <a:pt x="1790" y="1441"/>
                  </a:lnTo>
                  <a:lnTo>
                    <a:pt x="1790" y="1454"/>
                  </a:lnTo>
                  <a:lnTo>
                    <a:pt x="1789" y="1466"/>
                  </a:lnTo>
                  <a:lnTo>
                    <a:pt x="1786" y="1478"/>
                  </a:lnTo>
                  <a:lnTo>
                    <a:pt x="1784" y="1489"/>
                  </a:lnTo>
                  <a:lnTo>
                    <a:pt x="1780" y="1501"/>
                  </a:lnTo>
                  <a:lnTo>
                    <a:pt x="1775" y="1514"/>
                  </a:lnTo>
                  <a:lnTo>
                    <a:pt x="1769" y="1527"/>
                  </a:lnTo>
                  <a:lnTo>
                    <a:pt x="1745" y="1518"/>
                  </a:lnTo>
                  <a:lnTo>
                    <a:pt x="1725" y="1509"/>
                  </a:lnTo>
                  <a:lnTo>
                    <a:pt x="1714" y="1505"/>
                  </a:lnTo>
                  <a:lnTo>
                    <a:pt x="1703" y="1501"/>
                  </a:lnTo>
                  <a:lnTo>
                    <a:pt x="1692" y="1499"/>
                  </a:lnTo>
                  <a:lnTo>
                    <a:pt x="1679" y="1498"/>
                  </a:lnTo>
                  <a:lnTo>
                    <a:pt x="1633" y="1498"/>
                  </a:lnTo>
                  <a:lnTo>
                    <a:pt x="1625" y="1498"/>
                  </a:lnTo>
                  <a:lnTo>
                    <a:pt x="1618" y="1496"/>
                  </a:lnTo>
                  <a:lnTo>
                    <a:pt x="1611" y="1494"/>
                  </a:lnTo>
                  <a:lnTo>
                    <a:pt x="1606" y="1491"/>
                  </a:lnTo>
                  <a:lnTo>
                    <a:pt x="1600" y="1487"/>
                  </a:lnTo>
                  <a:lnTo>
                    <a:pt x="1595" y="1483"/>
                  </a:lnTo>
                  <a:lnTo>
                    <a:pt x="1591" y="1478"/>
                  </a:lnTo>
                  <a:lnTo>
                    <a:pt x="1586" y="1473"/>
                  </a:lnTo>
                  <a:lnTo>
                    <a:pt x="1571" y="1447"/>
                  </a:lnTo>
                  <a:lnTo>
                    <a:pt x="1554" y="1419"/>
                  </a:lnTo>
                  <a:lnTo>
                    <a:pt x="1547" y="1423"/>
                  </a:lnTo>
                  <a:lnTo>
                    <a:pt x="1541" y="1428"/>
                  </a:lnTo>
                  <a:lnTo>
                    <a:pt x="1535" y="1433"/>
                  </a:lnTo>
                  <a:lnTo>
                    <a:pt x="1530" y="1438"/>
                  </a:lnTo>
                  <a:lnTo>
                    <a:pt x="1526" y="1445"/>
                  </a:lnTo>
                  <a:lnTo>
                    <a:pt x="1522" y="1451"/>
                  </a:lnTo>
                  <a:lnTo>
                    <a:pt x="1519" y="1457"/>
                  </a:lnTo>
                  <a:lnTo>
                    <a:pt x="1516" y="1464"/>
                  </a:lnTo>
                  <a:lnTo>
                    <a:pt x="1507" y="1494"/>
                  </a:lnTo>
                  <a:lnTo>
                    <a:pt x="1498" y="1527"/>
                  </a:lnTo>
                  <a:lnTo>
                    <a:pt x="1491" y="1549"/>
                  </a:lnTo>
                  <a:lnTo>
                    <a:pt x="1484" y="1570"/>
                  </a:lnTo>
                  <a:lnTo>
                    <a:pt x="1479" y="1589"/>
                  </a:lnTo>
                  <a:lnTo>
                    <a:pt x="1475" y="1608"/>
                  </a:lnTo>
                  <a:lnTo>
                    <a:pt x="1473" y="1627"/>
                  </a:lnTo>
                  <a:lnTo>
                    <a:pt x="1471" y="1647"/>
                  </a:lnTo>
                  <a:lnTo>
                    <a:pt x="1470" y="1669"/>
                  </a:lnTo>
                  <a:lnTo>
                    <a:pt x="1470" y="1693"/>
                  </a:lnTo>
                  <a:lnTo>
                    <a:pt x="1469" y="1699"/>
                  </a:lnTo>
                  <a:lnTo>
                    <a:pt x="1467" y="1704"/>
                  </a:lnTo>
                  <a:lnTo>
                    <a:pt x="1465" y="1709"/>
                  </a:lnTo>
                  <a:lnTo>
                    <a:pt x="1461" y="1713"/>
                  </a:lnTo>
                  <a:lnTo>
                    <a:pt x="1452" y="1721"/>
                  </a:lnTo>
                  <a:lnTo>
                    <a:pt x="1442" y="1729"/>
                  </a:lnTo>
                  <a:lnTo>
                    <a:pt x="1433" y="1736"/>
                  </a:lnTo>
                  <a:lnTo>
                    <a:pt x="1423" y="1744"/>
                  </a:lnTo>
                  <a:lnTo>
                    <a:pt x="1420" y="1748"/>
                  </a:lnTo>
                  <a:lnTo>
                    <a:pt x="1417" y="1753"/>
                  </a:lnTo>
                  <a:lnTo>
                    <a:pt x="1416" y="1760"/>
                  </a:lnTo>
                  <a:lnTo>
                    <a:pt x="1415" y="1766"/>
                  </a:lnTo>
                  <a:lnTo>
                    <a:pt x="1416" y="1773"/>
                  </a:lnTo>
                  <a:lnTo>
                    <a:pt x="1418" y="1780"/>
                  </a:lnTo>
                  <a:lnTo>
                    <a:pt x="1421" y="1786"/>
                  </a:lnTo>
                  <a:lnTo>
                    <a:pt x="1425" y="1792"/>
                  </a:lnTo>
                  <a:lnTo>
                    <a:pt x="1430" y="1796"/>
                  </a:lnTo>
                  <a:lnTo>
                    <a:pt x="1436" y="1800"/>
                  </a:lnTo>
                  <a:lnTo>
                    <a:pt x="1442" y="1803"/>
                  </a:lnTo>
                  <a:lnTo>
                    <a:pt x="1449" y="1805"/>
                  </a:lnTo>
                  <a:lnTo>
                    <a:pt x="1482" y="1813"/>
                  </a:lnTo>
                  <a:lnTo>
                    <a:pt x="1516" y="1820"/>
                  </a:lnTo>
                  <a:lnTo>
                    <a:pt x="1514" y="1833"/>
                  </a:lnTo>
                  <a:lnTo>
                    <a:pt x="1511" y="1844"/>
                  </a:lnTo>
                  <a:lnTo>
                    <a:pt x="1506" y="1856"/>
                  </a:lnTo>
                  <a:lnTo>
                    <a:pt x="1500" y="1866"/>
                  </a:lnTo>
                  <a:lnTo>
                    <a:pt x="1493" y="1874"/>
                  </a:lnTo>
                  <a:lnTo>
                    <a:pt x="1483" y="1883"/>
                  </a:lnTo>
                  <a:lnTo>
                    <a:pt x="1474" y="1890"/>
                  </a:lnTo>
                  <a:lnTo>
                    <a:pt x="1464" y="1896"/>
                  </a:lnTo>
                  <a:lnTo>
                    <a:pt x="1452" y="1902"/>
                  </a:lnTo>
                  <a:lnTo>
                    <a:pt x="1440" y="1906"/>
                  </a:lnTo>
                  <a:lnTo>
                    <a:pt x="1428" y="1910"/>
                  </a:lnTo>
                  <a:lnTo>
                    <a:pt x="1415" y="1914"/>
                  </a:lnTo>
                  <a:lnTo>
                    <a:pt x="1402" y="1916"/>
                  </a:lnTo>
                  <a:lnTo>
                    <a:pt x="1388" y="1918"/>
                  </a:lnTo>
                  <a:lnTo>
                    <a:pt x="1375" y="1919"/>
                  </a:lnTo>
                  <a:lnTo>
                    <a:pt x="1361" y="1919"/>
                  </a:lnTo>
                  <a:lnTo>
                    <a:pt x="1353" y="1919"/>
                  </a:lnTo>
                  <a:lnTo>
                    <a:pt x="1346" y="1917"/>
                  </a:lnTo>
                  <a:lnTo>
                    <a:pt x="1339" y="1915"/>
                  </a:lnTo>
                  <a:lnTo>
                    <a:pt x="1333" y="1912"/>
                  </a:lnTo>
                  <a:lnTo>
                    <a:pt x="1320" y="1905"/>
                  </a:lnTo>
                  <a:lnTo>
                    <a:pt x="1309" y="1898"/>
                  </a:lnTo>
                  <a:lnTo>
                    <a:pt x="1298" y="1890"/>
                  </a:lnTo>
                  <a:lnTo>
                    <a:pt x="1286" y="1883"/>
                  </a:lnTo>
                  <a:lnTo>
                    <a:pt x="1279" y="1880"/>
                  </a:lnTo>
                  <a:lnTo>
                    <a:pt x="1273" y="1878"/>
                  </a:lnTo>
                  <a:lnTo>
                    <a:pt x="1266" y="1877"/>
                  </a:lnTo>
                  <a:lnTo>
                    <a:pt x="1257" y="1876"/>
                  </a:lnTo>
                  <a:lnTo>
                    <a:pt x="1244" y="1877"/>
                  </a:lnTo>
                  <a:lnTo>
                    <a:pt x="1233" y="1878"/>
                  </a:lnTo>
                  <a:lnTo>
                    <a:pt x="1221" y="1881"/>
                  </a:lnTo>
                  <a:lnTo>
                    <a:pt x="1210" y="1885"/>
                  </a:lnTo>
                  <a:lnTo>
                    <a:pt x="1190" y="1894"/>
                  </a:lnTo>
                  <a:lnTo>
                    <a:pt x="1171" y="1903"/>
                  </a:lnTo>
                  <a:lnTo>
                    <a:pt x="1151" y="1914"/>
                  </a:lnTo>
                  <a:lnTo>
                    <a:pt x="1132" y="1922"/>
                  </a:lnTo>
                  <a:lnTo>
                    <a:pt x="1120" y="1926"/>
                  </a:lnTo>
                  <a:lnTo>
                    <a:pt x="1110" y="1928"/>
                  </a:lnTo>
                  <a:lnTo>
                    <a:pt x="1098" y="1930"/>
                  </a:lnTo>
                  <a:lnTo>
                    <a:pt x="1084" y="1931"/>
                  </a:lnTo>
                  <a:lnTo>
                    <a:pt x="956" y="1931"/>
                  </a:lnTo>
                  <a:lnTo>
                    <a:pt x="948" y="1931"/>
                  </a:lnTo>
                  <a:lnTo>
                    <a:pt x="940" y="1933"/>
                  </a:lnTo>
                  <a:lnTo>
                    <a:pt x="933" y="1935"/>
                  </a:lnTo>
                  <a:lnTo>
                    <a:pt x="924" y="1935"/>
                  </a:lnTo>
                  <a:lnTo>
                    <a:pt x="878" y="1935"/>
                  </a:lnTo>
                  <a:lnTo>
                    <a:pt x="871" y="1936"/>
                  </a:lnTo>
                  <a:lnTo>
                    <a:pt x="864" y="1937"/>
                  </a:lnTo>
                  <a:lnTo>
                    <a:pt x="857" y="1940"/>
                  </a:lnTo>
                  <a:lnTo>
                    <a:pt x="851" y="1943"/>
                  </a:lnTo>
                  <a:lnTo>
                    <a:pt x="846" y="1948"/>
                  </a:lnTo>
                  <a:lnTo>
                    <a:pt x="841" y="1952"/>
                  </a:lnTo>
                  <a:lnTo>
                    <a:pt x="837" y="1957"/>
                  </a:lnTo>
                  <a:lnTo>
                    <a:pt x="832" y="1963"/>
                  </a:lnTo>
                  <a:lnTo>
                    <a:pt x="823" y="1974"/>
                  </a:lnTo>
                  <a:lnTo>
                    <a:pt x="815" y="1988"/>
                  </a:lnTo>
                  <a:lnTo>
                    <a:pt x="806" y="2001"/>
                  </a:lnTo>
                  <a:lnTo>
                    <a:pt x="795" y="2014"/>
                  </a:lnTo>
                  <a:lnTo>
                    <a:pt x="784" y="2025"/>
                  </a:lnTo>
                  <a:lnTo>
                    <a:pt x="773" y="2037"/>
                  </a:lnTo>
                  <a:lnTo>
                    <a:pt x="762" y="2049"/>
                  </a:lnTo>
                  <a:lnTo>
                    <a:pt x="753" y="2061"/>
                  </a:lnTo>
                  <a:lnTo>
                    <a:pt x="745" y="2073"/>
                  </a:lnTo>
                  <a:lnTo>
                    <a:pt x="738" y="2085"/>
                  </a:lnTo>
                  <a:lnTo>
                    <a:pt x="730" y="2097"/>
                  </a:lnTo>
                  <a:lnTo>
                    <a:pt x="724" y="2110"/>
                  </a:lnTo>
                  <a:lnTo>
                    <a:pt x="718" y="2123"/>
                  </a:lnTo>
                  <a:lnTo>
                    <a:pt x="714" y="2136"/>
                  </a:lnTo>
                  <a:lnTo>
                    <a:pt x="710" y="2150"/>
                  </a:lnTo>
                  <a:lnTo>
                    <a:pt x="707" y="2163"/>
                  </a:lnTo>
                  <a:lnTo>
                    <a:pt x="704" y="2179"/>
                  </a:lnTo>
                  <a:lnTo>
                    <a:pt x="703" y="2193"/>
                  </a:lnTo>
                  <a:lnTo>
                    <a:pt x="702" y="2210"/>
                  </a:lnTo>
                  <a:lnTo>
                    <a:pt x="701" y="2226"/>
                  </a:lnTo>
                  <a:lnTo>
                    <a:pt x="704" y="2419"/>
                  </a:lnTo>
                  <a:lnTo>
                    <a:pt x="681" y="2419"/>
                  </a:lnTo>
                  <a:lnTo>
                    <a:pt x="660" y="2418"/>
                  </a:lnTo>
                  <a:lnTo>
                    <a:pt x="641" y="2416"/>
                  </a:lnTo>
                  <a:lnTo>
                    <a:pt x="621" y="2413"/>
                  </a:lnTo>
                  <a:lnTo>
                    <a:pt x="602" y="2409"/>
                  </a:lnTo>
                  <a:lnTo>
                    <a:pt x="583" y="2403"/>
                  </a:lnTo>
                  <a:lnTo>
                    <a:pt x="564" y="2395"/>
                  </a:lnTo>
                  <a:lnTo>
                    <a:pt x="546" y="2384"/>
                  </a:lnTo>
                  <a:lnTo>
                    <a:pt x="528" y="2371"/>
                  </a:lnTo>
                  <a:lnTo>
                    <a:pt x="514" y="2359"/>
                  </a:lnTo>
                  <a:lnTo>
                    <a:pt x="507" y="2352"/>
                  </a:lnTo>
                  <a:lnTo>
                    <a:pt x="498" y="2346"/>
                  </a:lnTo>
                  <a:lnTo>
                    <a:pt x="489" y="2341"/>
                  </a:lnTo>
                  <a:lnTo>
                    <a:pt x="480" y="2337"/>
                  </a:lnTo>
                  <a:lnTo>
                    <a:pt x="468" y="2333"/>
                  </a:lnTo>
                  <a:lnTo>
                    <a:pt x="456" y="2331"/>
                  </a:lnTo>
                  <a:lnTo>
                    <a:pt x="445" y="2330"/>
                  </a:lnTo>
                  <a:lnTo>
                    <a:pt x="435" y="2329"/>
                  </a:lnTo>
                  <a:lnTo>
                    <a:pt x="424" y="2328"/>
                  </a:lnTo>
                  <a:lnTo>
                    <a:pt x="413" y="2327"/>
                  </a:lnTo>
                  <a:lnTo>
                    <a:pt x="402" y="2323"/>
                  </a:lnTo>
                  <a:lnTo>
                    <a:pt x="390" y="2320"/>
                  </a:lnTo>
                  <a:lnTo>
                    <a:pt x="385" y="2318"/>
                  </a:lnTo>
                  <a:lnTo>
                    <a:pt x="380" y="2315"/>
                  </a:lnTo>
                  <a:lnTo>
                    <a:pt x="376" y="2312"/>
                  </a:lnTo>
                  <a:lnTo>
                    <a:pt x="373" y="2309"/>
                  </a:lnTo>
                  <a:lnTo>
                    <a:pt x="365" y="2302"/>
                  </a:lnTo>
                  <a:lnTo>
                    <a:pt x="360" y="2292"/>
                  </a:lnTo>
                  <a:lnTo>
                    <a:pt x="352" y="2273"/>
                  </a:lnTo>
                  <a:lnTo>
                    <a:pt x="345" y="2252"/>
                  </a:lnTo>
                  <a:lnTo>
                    <a:pt x="342" y="2242"/>
                  </a:lnTo>
                  <a:lnTo>
                    <a:pt x="339" y="2233"/>
                  </a:lnTo>
                  <a:lnTo>
                    <a:pt x="334" y="2223"/>
                  </a:lnTo>
                  <a:lnTo>
                    <a:pt x="329" y="2216"/>
                  </a:lnTo>
                  <a:lnTo>
                    <a:pt x="323" y="2209"/>
                  </a:lnTo>
                  <a:lnTo>
                    <a:pt x="317" y="2204"/>
                  </a:lnTo>
                  <a:lnTo>
                    <a:pt x="313" y="2203"/>
                  </a:lnTo>
                  <a:lnTo>
                    <a:pt x="308" y="2201"/>
                  </a:lnTo>
                  <a:lnTo>
                    <a:pt x="304" y="2201"/>
                  </a:lnTo>
                  <a:lnTo>
                    <a:pt x="297" y="2200"/>
                  </a:lnTo>
                  <a:lnTo>
                    <a:pt x="290" y="2200"/>
                  </a:lnTo>
                  <a:lnTo>
                    <a:pt x="283" y="2199"/>
                  </a:lnTo>
                  <a:lnTo>
                    <a:pt x="277" y="2197"/>
                  </a:lnTo>
                  <a:lnTo>
                    <a:pt x="271" y="2195"/>
                  </a:lnTo>
                  <a:lnTo>
                    <a:pt x="258" y="2191"/>
                  </a:lnTo>
                  <a:lnTo>
                    <a:pt x="247" y="2185"/>
                  </a:lnTo>
                  <a:lnTo>
                    <a:pt x="225" y="2171"/>
                  </a:lnTo>
                  <a:lnTo>
                    <a:pt x="201" y="2155"/>
                  </a:lnTo>
                  <a:lnTo>
                    <a:pt x="179" y="2144"/>
                  </a:lnTo>
                  <a:lnTo>
                    <a:pt x="156" y="2134"/>
                  </a:lnTo>
                  <a:lnTo>
                    <a:pt x="152" y="2132"/>
                  </a:lnTo>
                  <a:lnTo>
                    <a:pt x="147" y="2129"/>
                  </a:lnTo>
                  <a:lnTo>
                    <a:pt x="143" y="2126"/>
                  </a:lnTo>
                  <a:lnTo>
                    <a:pt x="140" y="2123"/>
                  </a:lnTo>
                  <a:lnTo>
                    <a:pt x="136" y="2119"/>
                  </a:lnTo>
                  <a:lnTo>
                    <a:pt x="134" y="2114"/>
                  </a:lnTo>
                  <a:lnTo>
                    <a:pt x="133" y="2109"/>
                  </a:lnTo>
                  <a:lnTo>
                    <a:pt x="132" y="2104"/>
                  </a:lnTo>
                  <a:lnTo>
                    <a:pt x="133" y="2096"/>
                  </a:lnTo>
                  <a:lnTo>
                    <a:pt x="134" y="2091"/>
                  </a:lnTo>
                  <a:lnTo>
                    <a:pt x="136" y="2086"/>
                  </a:lnTo>
                  <a:lnTo>
                    <a:pt x="139" y="2081"/>
                  </a:lnTo>
                  <a:lnTo>
                    <a:pt x="145" y="2071"/>
                  </a:lnTo>
                  <a:lnTo>
                    <a:pt x="152" y="2063"/>
                  </a:lnTo>
                  <a:lnTo>
                    <a:pt x="158" y="2054"/>
                  </a:lnTo>
                  <a:lnTo>
                    <a:pt x="164" y="2045"/>
                  </a:lnTo>
                  <a:lnTo>
                    <a:pt x="167" y="2041"/>
                  </a:lnTo>
                  <a:lnTo>
                    <a:pt x="168" y="2034"/>
                  </a:lnTo>
                  <a:lnTo>
                    <a:pt x="171" y="2029"/>
                  </a:lnTo>
                  <a:lnTo>
                    <a:pt x="171" y="2023"/>
                  </a:lnTo>
                  <a:lnTo>
                    <a:pt x="171" y="2017"/>
                  </a:lnTo>
                  <a:lnTo>
                    <a:pt x="168" y="2011"/>
                  </a:lnTo>
                  <a:lnTo>
                    <a:pt x="166" y="2005"/>
                  </a:lnTo>
                  <a:lnTo>
                    <a:pt x="164" y="2000"/>
                  </a:lnTo>
                  <a:lnTo>
                    <a:pt x="160" y="1996"/>
                  </a:lnTo>
                  <a:lnTo>
                    <a:pt x="156" y="1992"/>
                  </a:lnTo>
                  <a:lnTo>
                    <a:pt x="152" y="1989"/>
                  </a:lnTo>
                  <a:lnTo>
                    <a:pt x="147" y="1986"/>
                  </a:lnTo>
                  <a:lnTo>
                    <a:pt x="124" y="1973"/>
                  </a:lnTo>
                  <a:lnTo>
                    <a:pt x="100" y="1962"/>
                  </a:lnTo>
                  <a:lnTo>
                    <a:pt x="103" y="1959"/>
                  </a:lnTo>
                  <a:lnTo>
                    <a:pt x="106" y="1955"/>
                  </a:lnTo>
                  <a:lnTo>
                    <a:pt x="107" y="1952"/>
                  </a:lnTo>
                  <a:lnTo>
                    <a:pt x="107" y="1948"/>
                  </a:lnTo>
                  <a:lnTo>
                    <a:pt x="107" y="1937"/>
                  </a:lnTo>
                  <a:lnTo>
                    <a:pt x="106" y="1928"/>
                  </a:lnTo>
                  <a:lnTo>
                    <a:pt x="105" y="1919"/>
                  </a:lnTo>
                  <a:lnTo>
                    <a:pt x="101" y="1910"/>
                  </a:lnTo>
                  <a:lnTo>
                    <a:pt x="99" y="1902"/>
                  </a:lnTo>
                  <a:lnTo>
                    <a:pt x="95" y="1894"/>
                  </a:lnTo>
                  <a:lnTo>
                    <a:pt x="92" y="1887"/>
                  </a:lnTo>
                  <a:lnTo>
                    <a:pt x="87" y="1879"/>
                  </a:lnTo>
                  <a:lnTo>
                    <a:pt x="78" y="1865"/>
                  </a:lnTo>
                  <a:lnTo>
                    <a:pt x="65" y="1853"/>
                  </a:lnTo>
                  <a:lnTo>
                    <a:pt x="51" y="1839"/>
                  </a:lnTo>
                  <a:lnTo>
                    <a:pt x="36" y="1827"/>
                  </a:lnTo>
                  <a:lnTo>
                    <a:pt x="23" y="1817"/>
                  </a:lnTo>
                  <a:lnTo>
                    <a:pt x="12" y="1807"/>
                  </a:lnTo>
                  <a:lnTo>
                    <a:pt x="8" y="1802"/>
                  </a:lnTo>
                  <a:lnTo>
                    <a:pt x="3" y="1796"/>
                  </a:lnTo>
                  <a:lnTo>
                    <a:pt x="1" y="1790"/>
                  </a:lnTo>
                  <a:lnTo>
                    <a:pt x="0" y="1782"/>
                  </a:lnTo>
                  <a:lnTo>
                    <a:pt x="1" y="1777"/>
                  </a:lnTo>
                  <a:lnTo>
                    <a:pt x="2" y="1773"/>
                  </a:lnTo>
                  <a:lnTo>
                    <a:pt x="3" y="1769"/>
                  </a:lnTo>
                  <a:lnTo>
                    <a:pt x="6" y="1765"/>
                  </a:lnTo>
                  <a:lnTo>
                    <a:pt x="10" y="1759"/>
                  </a:lnTo>
                  <a:lnTo>
                    <a:pt x="16" y="1752"/>
                  </a:lnTo>
                  <a:lnTo>
                    <a:pt x="22" y="1746"/>
                  </a:lnTo>
                  <a:lnTo>
                    <a:pt x="28" y="1740"/>
                  </a:lnTo>
                  <a:lnTo>
                    <a:pt x="35" y="1733"/>
                  </a:lnTo>
                  <a:lnTo>
                    <a:pt x="41" y="1726"/>
                  </a:lnTo>
                  <a:lnTo>
                    <a:pt x="50" y="1712"/>
                  </a:lnTo>
                  <a:lnTo>
                    <a:pt x="57" y="1699"/>
                  </a:lnTo>
                  <a:lnTo>
                    <a:pt x="64" y="1686"/>
                  </a:lnTo>
                  <a:lnTo>
                    <a:pt x="69" y="1674"/>
                  </a:lnTo>
                  <a:lnTo>
                    <a:pt x="75" y="1662"/>
                  </a:lnTo>
                  <a:lnTo>
                    <a:pt x="78" y="1648"/>
                  </a:lnTo>
                  <a:lnTo>
                    <a:pt x="80" y="1634"/>
                  </a:lnTo>
                  <a:lnTo>
                    <a:pt x="81" y="1618"/>
                  </a:lnTo>
                  <a:lnTo>
                    <a:pt x="82" y="1589"/>
                  </a:lnTo>
                  <a:lnTo>
                    <a:pt x="81" y="1563"/>
                  </a:lnTo>
                  <a:lnTo>
                    <a:pt x="80" y="1551"/>
                  </a:lnTo>
                  <a:lnTo>
                    <a:pt x="79" y="1538"/>
                  </a:lnTo>
                  <a:lnTo>
                    <a:pt x="76" y="1525"/>
                  </a:lnTo>
                  <a:lnTo>
                    <a:pt x="72" y="1511"/>
                  </a:lnTo>
                  <a:lnTo>
                    <a:pt x="66" y="1498"/>
                  </a:lnTo>
                  <a:lnTo>
                    <a:pt x="60" y="1487"/>
                  </a:lnTo>
                  <a:lnTo>
                    <a:pt x="57" y="1482"/>
                  </a:lnTo>
                  <a:lnTo>
                    <a:pt x="55" y="1477"/>
                  </a:lnTo>
                  <a:lnTo>
                    <a:pt x="53" y="1470"/>
                  </a:lnTo>
                  <a:lnTo>
                    <a:pt x="53" y="1463"/>
                  </a:lnTo>
                  <a:lnTo>
                    <a:pt x="53" y="1453"/>
                  </a:lnTo>
                  <a:lnTo>
                    <a:pt x="55" y="1445"/>
                  </a:lnTo>
                  <a:lnTo>
                    <a:pt x="57" y="1435"/>
                  </a:lnTo>
                  <a:lnTo>
                    <a:pt x="60" y="1428"/>
                  </a:lnTo>
                  <a:lnTo>
                    <a:pt x="62" y="1420"/>
                  </a:lnTo>
                  <a:lnTo>
                    <a:pt x="64" y="1412"/>
                  </a:lnTo>
                  <a:lnTo>
                    <a:pt x="66" y="1402"/>
                  </a:lnTo>
                  <a:lnTo>
                    <a:pt x="66" y="1392"/>
                  </a:lnTo>
                  <a:lnTo>
                    <a:pt x="66" y="1382"/>
                  </a:lnTo>
                  <a:lnTo>
                    <a:pt x="64" y="1372"/>
                  </a:lnTo>
                  <a:lnTo>
                    <a:pt x="61" y="1364"/>
                  </a:lnTo>
                  <a:lnTo>
                    <a:pt x="58" y="1356"/>
                  </a:lnTo>
                  <a:lnTo>
                    <a:pt x="56" y="1348"/>
                  </a:lnTo>
                  <a:lnTo>
                    <a:pt x="53" y="1339"/>
                  </a:lnTo>
                  <a:lnTo>
                    <a:pt x="51" y="1330"/>
                  </a:lnTo>
                  <a:lnTo>
                    <a:pt x="50" y="1320"/>
                  </a:lnTo>
                  <a:lnTo>
                    <a:pt x="51" y="1308"/>
                  </a:lnTo>
                  <a:lnTo>
                    <a:pt x="53" y="1297"/>
                  </a:lnTo>
                  <a:lnTo>
                    <a:pt x="55" y="1288"/>
                  </a:lnTo>
                  <a:lnTo>
                    <a:pt x="59" y="1278"/>
                  </a:lnTo>
                  <a:lnTo>
                    <a:pt x="63" y="1270"/>
                  </a:lnTo>
                  <a:lnTo>
                    <a:pt x="68" y="1262"/>
                  </a:lnTo>
                  <a:lnTo>
                    <a:pt x="75" y="1255"/>
                  </a:lnTo>
                  <a:lnTo>
                    <a:pt x="81" y="1246"/>
                  </a:lnTo>
                  <a:lnTo>
                    <a:pt x="110" y="1217"/>
                  </a:lnTo>
                  <a:lnTo>
                    <a:pt x="140" y="1184"/>
                  </a:lnTo>
                  <a:lnTo>
                    <a:pt x="153" y="1169"/>
                  </a:lnTo>
                  <a:lnTo>
                    <a:pt x="166" y="1155"/>
                  </a:lnTo>
                  <a:lnTo>
                    <a:pt x="179" y="1142"/>
                  </a:lnTo>
                  <a:lnTo>
                    <a:pt x="192" y="1130"/>
                  </a:lnTo>
                  <a:lnTo>
                    <a:pt x="219" y="1107"/>
                  </a:lnTo>
                  <a:lnTo>
                    <a:pt x="251" y="1081"/>
                  </a:lnTo>
                  <a:lnTo>
                    <a:pt x="256" y="1075"/>
                  </a:lnTo>
                  <a:lnTo>
                    <a:pt x="260" y="1068"/>
                  </a:lnTo>
                  <a:lnTo>
                    <a:pt x="263" y="1061"/>
                  </a:lnTo>
                  <a:lnTo>
                    <a:pt x="265" y="1052"/>
                  </a:lnTo>
                  <a:lnTo>
                    <a:pt x="267" y="1045"/>
                  </a:lnTo>
                  <a:lnTo>
                    <a:pt x="270" y="1038"/>
                  </a:lnTo>
                  <a:lnTo>
                    <a:pt x="274" y="1031"/>
                  </a:lnTo>
                  <a:lnTo>
                    <a:pt x="279" y="1024"/>
                  </a:lnTo>
                  <a:lnTo>
                    <a:pt x="283" y="1021"/>
                  </a:lnTo>
                  <a:lnTo>
                    <a:pt x="288" y="1018"/>
                  </a:lnTo>
                  <a:lnTo>
                    <a:pt x="292" y="1016"/>
                  </a:lnTo>
                  <a:lnTo>
                    <a:pt x="297" y="1015"/>
                  </a:lnTo>
                  <a:lnTo>
                    <a:pt x="307" y="1012"/>
                  </a:lnTo>
                  <a:lnTo>
                    <a:pt x="317" y="1008"/>
                  </a:lnTo>
                  <a:lnTo>
                    <a:pt x="322" y="1004"/>
                  </a:lnTo>
                  <a:lnTo>
                    <a:pt x="325" y="999"/>
                  </a:lnTo>
                  <a:lnTo>
                    <a:pt x="327" y="992"/>
                  </a:lnTo>
                  <a:lnTo>
                    <a:pt x="329" y="987"/>
                  </a:lnTo>
                  <a:lnTo>
                    <a:pt x="330" y="981"/>
                  </a:lnTo>
                  <a:lnTo>
                    <a:pt x="331" y="975"/>
                  </a:lnTo>
                  <a:lnTo>
                    <a:pt x="334" y="969"/>
                  </a:lnTo>
                  <a:lnTo>
                    <a:pt x="338" y="962"/>
                  </a:lnTo>
                  <a:lnTo>
                    <a:pt x="353" y="946"/>
                  </a:lnTo>
                  <a:lnTo>
                    <a:pt x="367" y="930"/>
                  </a:lnTo>
                  <a:lnTo>
                    <a:pt x="382" y="917"/>
                  </a:lnTo>
                  <a:lnTo>
                    <a:pt x="396" y="905"/>
                  </a:lnTo>
                  <a:lnTo>
                    <a:pt x="411" y="891"/>
                  </a:lnTo>
                  <a:lnTo>
                    <a:pt x="425" y="878"/>
                  </a:lnTo>
                  <a:lnTo>
                    <a:pt x="439" y="862"/>
                  </a:lnTo>
                  <a:lnTo>
                    <a:pt x="453" y="845"/>
                  </a:lnTo>
                  <a:lnTo>
                    <a:pt x="469" y="821"/>
                  </a:lnTo>
                  <a:lnTo>
                    <a:pt x="481" y="799"/>
                  </a:lnTo>
                  <a:lnTo>
                    <a:pt x="488" y="789"/>
                  </a:lnTo>
                  <a:lnTo>
                    <a:pt x="494" y="779"/>
                  </a:lnTo>
                  <a:lnTo>
                    <a:pt x="503" y="768"/>
                  </a:lnTo>
                  <a:lnTo>
                    <a:pt x="513" y="757"/>
                  </a:lnTo>
                  <a:lnTo>
                    <a:pt x="518" y="752"/>
                  </a:lnTo>
                  <a:lnTo>
                    <a:pt x="524" y="747"/>
                  </a:lnTo>
                  <a:lnTo>
                    <a:pt x="531" y="742"/>
                  </a:lnTo>
                  <a:lnTo>
                    <a:pt x="538" y="738"/>
                  </a:lnTo>
                  <a:lnTo>
                    <a:pt x="551" y="732"/>
                  </a:lnTo>
                  <a:lnTo>
                    <a:pt x="564" y="725"/>
                  </a:lnTo>
                  <a:lnTo>
                    <a:pt x="577" y="718"/>
                  </a:lnTo>
                  <a:lnTo>
                    <a:pt x="588" y="708"/>
                  </a:lnTo>
                  <a:lnTo>
                    <a:pt x="593" y="703"/>
                  </a:lnTo>
                  <a:lnTo>
                    <a:pt x="597" y="697"/>
                  </a:lnTo>
                  <a:lnTo>
                    <a:pt x="602" y="691"/>
                  </a:lnTo>
                  <a:lnTo>
                    <a:pt x="606" y="683"/>
                  </a:lnTo>
                  <a:lnTo>
                    <a:pt x="619" y="675"/>
                  </a:lnTo>
                  <a:lnTo>
                    <a:pt x="630" y="667"/>
                  </a:lnTo>
                  <a:lnTo>
                    <a:pt x="641" y="659"/>
                  </a:lnTo>
                  <a:lnTo>
                    <a:pt x="649" y="651"/>
                  </a:lnTo>
                  <a:lnTo>
                    <a:pt x="666" y="632"/>
                  </a:lnTo>
                  <a:lnTo>
                    <a:pt x="684" y="613"/>
                  </a:lnTo>
                  <a:lnTo>
                    <a:pt x="711" y="590"/>
                  </a:lnTo>
                  <a:lnTo>
                    <a:pt x="735" y="568"/>
                  </a:lnTo>
                  <a:lnTo>
                    <a:pt x="757" y="547"/>
                  </a:lnTo>
                  <a:lnTo>
                    <a:pt x="779" y="528"/>
                  </a:lnTo>
                  <a:lnTo>
                    <a:pt x="802" y="509"/>
                  </a:lnTo>
                  <a:lnTo>
                    <a:pt x="825" y="491"/>
                  </a:lnTo>
                  <a:lnTo>
                    <a:pt x="839" y="481"/>
                  </a:lnTo>
                  <a:lnTo>
                    <a:pt x="852" y="473"/>
                  </a:lnTo>
                  <a:lnTo>
                    <a:pt x="867" y="464"/>
                  </a:lnTo>
                  <a:lnTo>
                    <a:pt x="882" y="455"/>
                  </a:lnTo>
                  <a:lnTo>
                    <a:pt x="890" y="450"/>
                  </a:lnTo>
                  <a:lnTo>
                    <a:pt x="897" y="445"/>
                  </a:lnTo>
                  <a:lnTo>
                    <a:pt x="902" y="440"/>
                  </a:lnTo>
                  <a:lnTo>
                    <a:pt x="907" y="434"/>
                  </a:lnTo>
                  <a:lnTo>
                    <a:pt x="917" y="422"/>
                  </a:lnTo>
                  <a:lnTo>
                    <a:pt x="930" y="410"/>
                  </a:lnTo>
                  <a:lnTo>
                    <a:pt x="938" y="405"/>
                  </a:lnTo>
                  <a:lnTo>
                    <a:pt x="946" y="401"/>
                  </a:lnTo>
                  <a:lnTo>
                    <a:pt x="954" y="397"/>
                  </a:lnTo>
                  <a:lnTo>
                    <a:pt x="963" y="393"/>
                  </a:lnTo>
                  <a:lnTo>
                    <a:pt x="971" y="390"/>
                  </a:lnTo>
                  <a:lnTo>
                    <a:pt x="979" y="387"/>
                  </a:lnTo>
                  <a:lnTo>
                    <a:pt x="987" y="383"/>
                  </a:lnTo>
                  <a:lnTo>
                    <a:pt x="996" y="377"/>
                  </a:lnTo>
                  <a:lnTo>
                    <a:pt x="1000" y="374"/>
                  </a:lnTo>
                  <a:lnTo>
                    <a:pt x="1003" y="371"/>
                  </a:lnTo>
                  <a:lnTo>
                    <a:pt x="1005" y="367"/>
                  </a:lnTo>
                  <a:lnTo>
                    <a:pt x="1007" y="363"/>
                  </a:lnTo>
                  <a:lnTo>
                    <a:pt x="1010" y="355"/>
                  </a:lnTo>
                  <a:lnTo>
                    <a:pt x="1012" y="346"/>
                  </a:lnTo>
                  <a:lnTo>
                    <a:pt x="1014" y="338"/>
                  </a:lnTo>
                  <a:lnTo>
                    <a:pt x="1016" y="328"/>
                  </a:lnTo>
                  <a:lnTo>
                    <a:pt x="1018" y="324"/>
                  </a:lnTo>
                  <a:lnTo>
                    <a:pt x="1020" y="321"/>
                  </a:lnTo>
                  <a:lnTo>
                    <a:pt x="1023" y="317"/>
                  </a:lnTo>
                  <a:lnTo>
                    <a:pt x="1026" y="314"/>
                  </a:lnTo>
                  <a:lnTo>
                    <a:pt x="1039" y="304"/>
                  </a:lnTo>
                  <a:lnTo>
                    <a:pt x="1051" y="295"/>
                  </a:lnTo>
                  <a:lnTo>
                    <a:pt x="1064" y="289"/>
                  </a:lnTo>
                  <a:lnTo>
                    <a:pt x="1076" y="285"/>
                  </a:lnTo>
                  <a:lnTo>
                    <a:pt x="1089" y="282"/>
                  </a:lnTo>
                  <a:lnTo>
                    <a:pt x="1104" y="280"/>
                  </a:lnTo>
                  <a:lnTo>
                    <a:pt x="1118" y="279"/>
                  </a:lnTo>
                  <a:lnTo>
                    <a:pt x="1135" y="278"/>
                  </a:lnTo>
                  <a:lnTo>
                    <a:pt x="1145" y="279"/>
                  </a:lnTo>
                  <a:lnTo>
                    <a:pt x="1155" y="282"/>
                  </a:lnTo>
                  <a:lnTo>
                    <a:pt x="1164" y="286"/>
                  </a:lnTo>
                  <a:lnTo>
                    <a:pt x="1173" y="290"/>
                  </a:lnTo>
                  <a:lnTo>
                    <a:pt x="1181" y="294"/>
                  </a:lnTo>
                  <a:lnTo>
                    <a:pt x="1189" y="298"/>
                  </a:lnTo>
                  <a:lnTo>
                    <a:pt x="1200" y="301"/>
                  </a:lnTo>
                  <a:lnTo>
                    <a:pt x="1210" y="302"/>
                  </a:lnTo>
                  <a:lnTo>
                    <a:pt x="1219" y="302"/>
                  </a:lnTo>
                  <a:lnTo>
                    <a:pt x="1227" y="301"/>
                  </a:lnTo>
                  <a:lnTo>
                    <a:pt x="1235" y="297"/>
                  </a:lnTo>
                  <a:lnTo>
                    <a:pt x="1242" y="295"/>
                  </a:lnTo>
                  <a:lnTo>
                    <a:pt x="1249" y="291"/>
                  </a:lnTo>
                  <a:lnTo>
                    <a:pt x="1255" y="287"/>
                  </a:lnTo>
                  <a:lnTo>
                    <a:pt x="1262" y="282"/>
                  </a:lnTo>
                  <a:lnTo>
                    <a:pt x="1267" y="277"/>
                  </a:lnTo>
                  <a:lnTo>
                    <a:pt x="1272" y="271"/>
                  </a:lnTo>
                  <a:lnTo>
                    <a:pt x="1277" y="263"/>
                  </a:lnTo>
                  <a:lnTo>
                    <a:pt x="1281" y="257"/>
                  </a:lnTo>
                  <a:lnTo>
                    <a:pt x="1285" y="249"/>
                  </a:lnTo>
                  <a:lnTo>
                    <a:pt x="1291" y="233"/>
                  </a:lnTo>
                  <a:lnTo>
                    <a:pt x="1298" y="217"/>
                  </a:lnTo>
                  <a:lnTo>
                    <a:pt x="1301" y="207"/>
                  </a:lnTo>
                  <a:lnTo>
                    <a:pt x="1304" y="196"/>
                  </a:lnTo>
                  <a:lnTo>
                    <a:pt x="1308" y="188"/>
                  </a:lnTo>
                  <a:lnTo>
                    <a:pt x="1312" y="180"/>
                  </a:lnTo>
                  <a:lnTo>
                    <a:pt x="1317" y="171"/>
                  </a:lnTo>
                  <a:lnTo>
                    <a:pt x="1323" y="164"/>
                  </a:lnTo>
                  <a:lnTo>
                    <a:pt x="1332" y="157"/>
                  </a:lnTo>
                  <a:lnTo>
                    <a:pt x="1340" y="151"/>
                  </a:lnTo>
                  <a:lnTo>
                    <a:pt x="1355" y="140"/>
                  </a:lnTo>
                  <a:lnTo>
                    <a:pt x="1371" y="131"/>
                  </a:lnTo>
                  <a:lnTo>
                    <a:pt x="1377" y="126"/>
                  </a:lnTo>
                  <a:lnTo>
                    <a:pt x="1382" y="120"/>
                  </a:lnTo>
                  <a:lnTo>
                    <a:pt x="1384" y="117"/>
                  </a:lnTo>
                  <a:lnTo>
                    <a:pt x="1385" y="113"/>
                  </a:lnTo>
                  <a:lnTo>
                    <a:pt x="1386" y="108"/>
                  </a:lnTo>
                  <a:lnTo>
                    <a:pt x="1387" y="103"/>
                  </a:lnTo>
                  <a:lnTo>
                    <a:pt x="1386" y="97"/>
                  </a:lnTo>
                  <a:lnTo>
                    <a:pt x="1385" y="92"/>
                  </a:lnTo>
                  <a:lnTo>
                    <a:pt x="1383" y="87"/>
                  </a:lnTo>
                  <a:lnTo>
                    <a:pt x="1381" y="83"/>
                  </a:lnTo>
                  <a:lnTo>
                    <a:pt x="1379" y="77"/>
                  </a:lnTo>
                  <a:lnTo>
                    <a:pt x="1377" y="72"/>
                  </a:lnTo>
                  <a:lnTo>
                    <a:pt x="1376" y="67"/>
                  </a:lnTo>
                  <a:lnTo>
                    <a:pt x="1375" y="61"/>
                  </a:lnTo>
                  <a:lnTo>
                    <a:pt x="1376" y="54"/>
                  </a:lnTo>
                  <a:lnTo>
                    <a:pt x="1378" y="48"/>
                  </a:lnTo>
                  <a:lnTo>
                    <a:pt x="1381" y="40"/>
                  </a:lnTo>
                  <a:lnTo>
                    <a:pt x="1384" y="34"/>
                  </a:lnTo>
                  <a:lnTo>
                    <a:pt x="1394" y="22"/>
                  </a:lnTo>
                  <a:lnTo>
                    <a:pt x="1401" y="9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ru-RU" altLang="ru-RU" sz="675" dirty="0">
                <a:latin typeface="Calibri" panose="020F0502020204030204" pitchFamily="34" charset="0"/>
              </a:endParaRPr>
            </a:p>
          </p:txBody>
        </p:sp>
        <p:sp>
          <p:nvSpPr>
            <p:cNvPr id="35" name="Chernivtsi"/>
            <p:cNvSpPr>
              <a:spLocks/>
            </p:cNvSpPr>
            <p:nvPr/>
          </p:nvSpPr>
          <p:spPr bwMode="auto">
            <a:xfrm>
              <a:off x="1215" y="2398"/>
              <a:ext cx="710" cy="378"/>
            </a:xfrm>
            <a:custGeom>
              <a:avLst/>
              <a:gdLst>
                <a:gd name="T0" fmla="*/ 379 w 2348"/>
                <a:gd name="T1" fmla="*/ 219 h 1304"/>
                <a:gd name="T2" fmla="*/ 379 w 2348"/>
                <a:gd name="T3" fmla="*/ 219 h 1304"/>
                <a:gd name="T4" fmla="*/ 379 w 2348"/>
                <a:gd name="T5" fmla="*/ 219 h 1304"/>
                <a:gd name="T6" fmla="*/ 379 w 2348"/>
                <a:gd name="T7" fmla="*/ 219 h 1304"/>
                <a:gd name="T8" fmla="*/ 379 w 2348"/>
                <a:gd name="T9" fmla="*/ 219 h 1304"/>
                <a:gd name="T10" fmla="*/ 379 w 2348"/>
                <a:gd name="T11" fmla="*/ 219 h 1304"/>
                <a:gd name="T12" fmla="*/ 379 w 2348"/>
                <a:gd name="T13" fmla="*/ 219 h 1304"/>
                <a:gd name="T14" fmla="*/ 379 w 2348"/>
                <a:gd name="T15" fmla="*/ 219 h 1304"/>
                <a:gd name="T16" fmla="*/ 379 w 2348"/>
                <a:gd name="T17" fmla="*/ 219 h 1304"/>
                <a:gd name="T18" fmla="*/ 379 w 2348"/>
                <a:gd name="T19" fmla="*/ 219 h 1304"/>
                <a:gd name="T20" fmla="*/ 379 w 2348"/>
                <a:gd name="T21" fmla="*/ 219 h 1304"/>
                <a:gd name="T22" fmla="*/ 379 w 2348"/>
                <a:gd name="T23" fmla="*/ 219 h 1304"/>
                <a:gd name="T24" fmla="*/ 379 w 2348"/>
                <a:gd name="T25" fmla="*/ 219 h 1304"/>
                <a:gd name="T26" fmla="*/ 379 w 2348"/>
                <a:gd name="T27" fmla="*/ 219 h 1304"/>
                <a:gd name="T28" fmla="*/ 379 w 2348"/>
                <a:gd name="T29" fmla="*/ 219 h 1304"/>
                <a:gd name="T30" fmla="*/ 379 w 2348"/>
                <a:gd name="T31" fmla="*/ 219 h 1304"/>
                <a:gd name="T32" fmla="*/ 379 w 2348"/>
                <a:gd name="T33" fmla="*/ 219 h 1304"/>
                <a:gd name="T34" fmla="*/ 379 w 2348"/>
                <a:gd name="T35" fmla="*/ 219 h 1304"/>
                <a:gd name="T36" fmla="*/ 379 w 2348"/>
                <a:gd name="T37" fmla="*/ 219 h 1304"/>
                <a:gd name="T38" fmla="*/ 379 w 2348"/>
                <a:gd name="T39" fmla="*/ 219 h 1304"/>
                <a:gd name="T40" fmla="*/ 379 w 2348"/>
                <a:gd name="T41" fmla="*/ 219 h 1304"/>
                <a:gd name="T42" fmla="*/ 379 w 2348"/>
                <a:gd name="T43" fmla="*/ 219 h 1304"/>
                <a:gd name="T44" fmla="*/ 0 w 2348"/>
                <a:gd name="T45" fmla="*/ 219 h 1304"/>
                <a:gd name="T46" fmla="*/ 379 w 2348"/>
                <a:gd name="T47" fmla="*/ 219 h 1304"/>
                <a:gd name="T48" fmla="*/ 379 w 2348"/>
                <a:gd name="T49" fmla="*/ 219 h 1304"/>
                <a:gd name="T50" fmla="*/ 379 w 2348"/>
                <a:gd name="T51" fmla="*/ 219 h 1304"/>
                <a:gd name="T52" fmla="*/ 379 w 2348"/>
                <a:gd name="T53" fmla="*/ 219 h 1304"/>
                <a:gd name="T54" fmla="*/ 379 w 2348"/>
                <a:gd name="T55" fmla="*/ 219 h 1304"/>
                <a:gd name="T56" fmla="*/ 379 w 2348"/>
                <a:gd name="T57" fmla="*/ 219 h 1304"/>
                <a:gd name="T58" fmla="*/ 379 w 2348"/>
                <a:gd name="T59" fmla="*/ 219 h 1304"/>
                <a:gd name="T60" fmla="*/ 379 w 2348"/>
                <a:gd name="T61" fmla="*/ 219 h 1304"/>
                <a:gd name="T62" fmla="*/ 379 w 2348"/>
                <a:gd name="T63" fmla="*/ 219 h 1304"/>
                <a:gd name="T64" fmla="*/ 379 w 2348"/>
                <a:gd name="T65" fmla="*/ 219 h 1304"/>
                <a:gd name="T66" fmla="*/ 379 w 2348"/>
                <a:gd name="T67" fmla="*/ 219 h 1304"/>
                <a:gd name="T68" fmla="*/ 379 w 2348"/>
                <a:gd name="T69" fmla="*/ 219 h 1304"/>
                <a:gd name="T70" fmla="*/ 379 w 2348"/>
                <a:gd name="T71" fmla="*/ 219 h 1304"/>
                <a:gd name="T72" fmla="*/ 379 w 2348"/>
                <a:gd name="T73" fmla="*/ 219 h 1304"/>
                <a:gd name="T74" fmla="*/ 379 w 2348"/>
                <a:gd name="T75" fmla="*/ 219 h 1304"/>
                <a:gd name="T76" fmla="*/ 379 w 2348"/>
                <a:gd name="T77" fmla="*/ 219 h 1304"/>
                <a:gd name="T78" fmla="*/ 379 w 2348"/>
                <a:gd name="T79" fmla="*/ 219 h 1304"/>
                <a:gd name="T80" fmla="*/ 379 w 2348"/>
                <a:gd name="T81" fmla="*/ 219 h 1304"/>
                <a:gd name="T82" fmla="*/ 379 w 2348"/>
                <a:gd name="T83" fmla="*/ 219 h 1304"/>
                <a:gd name="T84" fmla="*/ 379 w 2348"/>
                <a:gd name="T85" fmla="*/ 219 h 1304"/>
                <a:gd name="T86" fmla="*/ 379 w 2348"/>
                <a:gd name="T87" fmla="*/ 219 h 1304"/>
                <a:gd name="T88" fmla="*/ 379 w 2348"/>
                <a:gd name="T89" fmla="*/ 219 h 1304"/>
                <a:gd name="T90" fmla="*/ 379 w 2348"/>
                <a:gd name="T91" fmla="*/ 219 h 1304"/>
                <a:gd name="T92" fmla="*/ 379 w 2348"/>
                <a:gd name="T93" fmla="*/ 219 h 1304"/>
                <a:gd name="T94" fmla="*/ 379 w 2348"/>
                <a:gd name="T95" fmla="*/ 219 h 1304"/>
                <a:gd name="T96" fmla="*/ 379 w 2348"/>
                <a:gd name="T97" fmla="*/ 219 h 1304"/>
                <a:gd name="T98" fmla="*/ 379 w 2348"/>
                <a:gd name="T99" fmla="*/ 219 h 1304"/>
                <a:gd name="T100" fmla="*/ 379 w 2348"/>
                <a:gd name="T101" fmla="*/ 219 h 1304"/>
                <a:gd name="T102" fmla="*/ 379 w 2348"/>
                <a:gd name="T103" fmla="*/ 219 h 1304"/>
                <a:gd name="T104" fmla="*/ 379 w 2348"/>
                <a:gd name="T105" fmla="*/ 219 h 1304"/>
                <a:gd name="T106" fmla="*/ 379 w 2348"/>
                <a:gd name="T107" fmla="*/ 219 h 1304"/>
                <a:gd name="T108" fmla="*/ 379 w 2348"/>
                <a:gd name="T109" fmla="*/ 219 h 1304"/>
                <a:gd name="T110" fmla="*/ 379 w 2348"/>
                <a:gd name="T111" fmla="*/ 219 h 1304"/>
                <a:gd name="T112" fmla="*/ 379 w 2348"/>
                <a:gd name="T113" fmla="*/ 219 h 1304"/>
                <a:gd name="T114" fmla="*/ 379 w 2348"/>
                <a:gd name="T115" fmla="*/ 219 h 1304"/>
                <a:gd name="T116" fmla="*/ 379 w 2348"/>
                <a:gd name="T117" fmla="*/ 219 h 1304"/>
                <a:gd name="T118" fmla="*/ 379 w 2348"/>
                <a:gd name="T119" fmla="*/ 219 h 130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348"/>
                <a:gd name="T181" fmla="*/ 0 h 1304"/>
                <a:gd name="T182" fmla="*/ 2348 w 2348"/>
                <a:gd name="T183" fmla="*/ 1304 h 130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348" h="1304">
                  <a:moveTo>
                    <a:pt x="2348" y="465"/>
                  </a:moveTo>
                  <a:lnTo>
                    <a:pt x="2341" y="474"/>
                  </a:lnTo>
                  <a:lnTo>
                    <a:pt x="2332" y="485"/>
                  </a:lnTo>
                  <a:lnTo>
                    <a:pt x="2328" y="489"/>
                  </a:lnTo>
                  <a:lnTo>
                    <a:pt x="2323" y="494"/>
                  </a:lnTo>
                  <a:lnTo>
                    <a:pt x="2318" y="497"/>
                  </a:lnTo>
                  <a:lnTo>
                    <a:pt x="2312" y="500"/>
                  </a:lnTo>
                  <a:lnTo>
                    <a:pt x="2295" y="507"/>
                  </a:lnTo>
                  <a:lnTo>
                    <a:pt x="2281" y="512"/>
                  </a:lnTo>
                  <a:lnTo>
                    <a:pt x="2265" y="516"/>
                  </a:lnTo>
                  <a:lnTo>
                    <a:pt x="2251" y="519"/>
                  </a:lnTo>
                  <a:lnTo>
                    <a:pt x="2221" y="524"/>
                  </a:lnTo>
                  <a:lnTo>
                    <a:pt x="2187" y="531"/>
                  </a:lnTo>
                  <a:lnTo>
                    <a:pt x="2179" y="534"/>
                  </a:lnTo>
                  <a:lnTo>
                    <a:pt x="2171" y="537"/>
                  </a:lnTo>
                  <a:lnTo>
                    <a:pt x="2164" y="540"/>
                  </a:lnTo>
                  <a:lnTo>
                    <a:pt x="2157" y="545"/>
                  </a:lnTo>
                  <a:lnTo>
                    <a:pt x="2145" y="553"/>
                  </a:lnTo>
                  <a:lnTo>
                    <a:pt x="2132" y="562"/>
                  </a:lnTo>
                  <a:lnTo>
                    <a:pt x="2120" y="570"/>
                  </a:lnTo>
                  <a:lnTo>
                    <a:pt x="2108" y="577"/>
                  </a:lnTo>
                  <a:lnTo>
                    <a:pt x="2100" y="580"/>
                  </a:lnTo>
                  <a:lnTo>
                    <a:pt x="2093" y="582"/>
                  </a:lnTo>
                  <a:lnTo>
                    <a:pt x="2085" y="583"/>
                  </a:lnTo>
                  <a:lnTo>
                    <a:pt x="2077" y="583"/>
                  </a:lnTo>
                  <a:lnTo>
                    <a:pt x="2067" y="583"/>
                  </a:lnTo>
                  <a:lnTo>
                    <a:pt x="2058" y="581"/>
                  </a:lnTo>
                  <a:lnTo>
                    <a:pt x="2051" y="579"/>
                  </a:lnTo>
                  <a:lnTo>
                    <a:pt x="2043" y="576"/>
                  </a:lnTo>
                  <a:lnTo>
                    <a:pt x="2028" y="567"/>
                  </a:lnTo>
                  <a:lnTo>
                    <a:pt x="2015" y="558"/>
                  </a:lnTo>
                  <a:lnTo>
                    <a:pt x="2001" y="550"/>
                  </a:lnTo>
                  <a:lnTo>
                    <a:pt x="1987" y="541"/>
                  </a:lnTo>
                  <a:lnTo>
                    <a:pt x="1980" y="538"/>
                  </a:lnTo>
                  <a:lnTo>
                    <a:pt x="1971" y="535"/>
                  </a:lnTo>
                  <a:lnTo>
                    <a:pt x="1963" y="534"/>
                  </a:lnTo>
                  <a:lnTo>
                    <a:pt x="1954" y="533"/>
                  </a:lnTo>
                  <a:lnTo>
                    <a:pt x="1947" y="534"/>
                  </a:lnTo>
                  <a:lnTo>
                    <a:pt x="1940" y="536"/>
                  </a:lnTo>
                  <a:lnTo>
                    <a:pt x="1934" y="539"/>
                  </a:lnTo>
                  <a:lnTo>
                    <a:pt x="1929" y="544"/>
                  </a:lnTo>
                  <a:lnTo>
                    <a:pt x="1920" y="554"/>
                  </a:lnTo>
                  <a:lnTo>
                    <a:pt x="1912" y="565"/>
                  </a:lnTo>
                  <a:lnTo>
                    <a:pt x="1903" y="578"/>
                  </a:lnTo>
                  <a:lnTo>
                    <a:pt x="1894" y="587"/>
                  </a:lnTo>
                  <a:lnTo>
                    <a:pt x="1889" y="591"/>
                  </a:lnTo>
                  <a:lnTo>
                    <a:pt x="1883" y="594"/>
                  </a:lnTo>
                  <a:lnTo>
                    <a:pt x="1877" y="596"/>
                  </a:lnTo>
                  <a:lnTo>
                    <a:pt x="1869" y="597"/>
                  </a:lnTo>
                  <a:lnTo>
                    <a:pt x="1860" y="596"/>
                  </a:lnTo>
                  <a:lnTo>
                    <a:pt x="1853" y="594"/>
                  </a:lnTo>
                  <a:lnTo>
                    <a:pt x="1846" y="590"/>
                  </a:lnTo>
                  <a:lnTo>
                    <a:pt x="1839" y="585"/>
                  </a:lnTo>
                  <a:lnTo>
                    <a:pt x="1828" y="574"/>
                  </a:lnTo>
                  <a:lnTo>
                    <a:pt x="1815" y="562"/>
                  </a:lnTo>
                  <a:lnTo>
                    <a:pt x="1781" y="563"/>
                  </a:lnTo>
                  <a:lnTo>
                    <a:pt x="1751" y="563"/>
                  </a:lnTo>
                  <a:lnTo>
                    <a:pt x="1721" y="562"/>
                  </a:lnTo>
                  <a:lnTo>
                    <a:pt x="1688" y="562"/>
                  </a:lnTo>
                  <a:lnTo>
                    <a:pt x="1693" y="582"/>
                  </a:lnTo>
                  <a:lnTo>
                    <a:pt x="1698" y="599"/>
                  </a:lnTo>
                  <a:lnTo>
                    <a:pt x="1700" y="609"/>
                  </a:lnTo>
                  <a:lnTo>
                    <a:pt x="1701" y="618"/>
                  </a:lnTo>
                  <a:lnTo>
                    <a:pt x="1702" y="627"/>
                  </a:lnTo>
                  <a:lnTo>
                    <a:pt x="1702" y="639"/>
                  </a:lnTo>
                  <a:lnTo>
                    <a:pt x="1702" y="665"/>
                  </a:lnTo>
                  <a:lnTo>
                    <a:pt x="1686" y="660"/>
                  </a:lnTo>
                  <a:lnTo>
                    <a:pt x="1670" y="654"/>
                  </a:lnTo>
                  <a:lnTo>
                    <a:pt x="1657" y="648"/>
                  </a:lnTo>
                  <a:lnTo>
                    <a:pt x="1643" y="640"/>
                  </a:lnTo>
                  <a:lnTo>
                    <a:pt x="1632" y="630"/>
                  </a:lnTo>
                  <a:lnTo>
                    <a:pt x="1622" y="620"/>
                  </a:lnTo>
                  <a:lnTo>
                    <a:pt x="1612" y="607"/>
                  </a:lnTo>
                  <a:lnTo>
                    <a:pt x="1602" y="590"/>
                  </a:lnTo>
                  <a:lnTo>
                    <a:pt x="1593" y="595"/>
                  </a:lnTo>
                  <a:lnTo>
                    <a:pt x="1592" y="613"/>
                  </a:lnTo>
                  <a:lnTo>
                    <a:pt x="1590" y="629"/>
                  </a:lnTo>
                  <a:lnTo>
                    <a:pt x="1588" y="646"/>
                  </a:lnTo>
                  <a:lnTo>
                    <a:pt x="1584" y="663"/>
                  </a:lnTo>
                  <a:lnTo>
                    <a:pt x="1577" y="676"/>
                  </a:lnTo>
                  <a:lnTo>
                    <a:pt x="1571" y="685"/>
                  </a:lnTo>
                  <a:lnTo>
                    <a:pt x="1564" y="693"/>
                  </a:lnTo>
                  <a:lnTo>
                    <a:pt x="1556" y="701"/>
                  </a:lnTo>
                  <a:lnTo>
                    <a:pt x="1537" y="714"/>
                  </a:lnTo>
                  <a:lnTo>
                    <a:pt x="1516" y="727"/>
                  </a:lnTo>
                  <a:lnTo>
                    <a:pt x="1509" y="731"/>
                  </a:lnTo>
                  <a:lnTo>
                    <a:pt x="1505" y="737"/>
                  </a:lnTo>
                  <a:lnTo>
                    <a:pt x="1501" y="742"/>
                  </a:lnTo>
                  <a:lnTo>
                    <a:pt x="1497" y="747"/>
                  </a:lnTo>
                  <a:lnTo>
                    <a:pt x="1492" y="752"/>
                  </a:lnTo>
                  <a:lnTo>
                    <a:pt x="1488" y="756"/>
                  </a:lnTo>
                  <a:lnTo>
                    <a:pt x="1482" y="759"/>
                  </a:lnTo>
                  <a:lnTo>
                    <a:pt x="1475" y="760"/>
                  </a:lnTo>
                  <a:lnTo>
                    <a:pt x="1467" y="759"/>
                  </a:lnTo>
                  <a:lnTo>
                    <a:pt x="1460" y="758"/>
                  </a:lnTo>
                  <a:lnTo>
                    <a:pt x="1454" y="757"/>
                  </a:lnTo>
                  <a:lnTo>
                    <a:pt x="1447" y="755"/>
                  </a:lnTo>
                  <a:lnTo>
                    <a:pt x="1440" y="754"/>
                  </a:lnTo>
                  <a:lnTo>
                    <a:pt x="1434" y="752"/>
                  </a:lnTo>
                  <a:lnTo>
                    <a:pt x="1427" y="751"/>
                  </a:lnTo>
                  <a:lnTo>
                    <a:pt x="1419" y="751"/>
                  </a:lnTo>
                  <a:lnTo>
                    <a:pt x="1412" y="751"/>
                  </a:lnTo>
                  <a:lnTo>
                    <a:pt x="1407" y="752"/>
                  </a:lnTo>
                  <a:lnTo>
                    <a:pt x="1402" y="754"/>
                  </a:lnTo>
                  <a:lnTo>
                    <a:pt x="1397" y="757"/>
                  </a:lnTo>
                  <a:lnTo>
                    <a:pt x="1388" y="764"/>
                  </a:lnTo>
                  <a:lnTo>
                    <a:pt x="1379" y="771"/>
                  </a:lnTo>
                  <a:lnTo>
                    <a:pt x="1371" y="778"/>
                  </a:lnTo>
                  <a:lnTo>
                    <a:pt x="1362" y="784"/>
                  </a:lnTo>
                  <a:lnTo>
                    <a:pt x="1357" y="787"/>
                  </a:lnTo>
                  <a:lnTo>
                    <a:pt x="1352" y="789"/>
                  </a:lnTo>
                  <a:lnTo>
                    <a:pt x="1346" y="790"/>
                  </a:lnTo>
                  <a:lnTo>
                    <a:pt x="1340" y="791"/>
                  </a:lnTo>
                  <a:lnTo>
                    <a:pt x="1332" y="790"/>
                  </a:lnTo>
                  <a:lnTo>
                    <a:pt x="1325" y="789"/>
                  </a:lnTo>
                  <a:lnTo>
                    <a:pt x="1317" y="789"/>
                  </a:lnTo>
                  <a:lnTo>
                    <a:pt x="1308" y="788"/>
                  </a:lnTo>
                  <a:lnTo>
                    <a:pt x="1300" y="789"/>
                  </a:lnTo>
                  <a:lnTo>
                    <a:pt x="1293" y="791"/>
                  </a:lnTo>
                  <a:lnTo>
                    <a:pt x="1287" y="794"/>
                  </a:lnTo>
                  <a:lnTo>
                    <a:pt x="1280" y="798"/>
                  </a:lnTo>
                  <a:lnTo>
                    <a:pt x="1276" y="803"/>
                  </a:lnTo>
                  <a:lnTo>
                    <a:pt x="1271" y="809"/>
                  </a:lnTo>
                  <a:lnTo>
                    <a:pt x="1267" y="815"/>
                  </a:lnTo>
                  <a:lnTo>
                    <a:pt x="1264" y="821"/>
                  </a:lnTo>
                  <a:lnTo>
                    <a:pt x="1257" y="837"/>
                  </a:lnTo>
                  <a:lnTo>
                    <a:pt x="1251" y="852"/>
                  </a:lnTo>
                  <a:lnTo>
                    <a:pt x="1243" y="868"/>
                  </a:lnTo>
                  <a:lnTo>
                    <a:pt x="1235" y="883"/>
                  </a:lnTo>
                  <a:lnTo>
                    <a:pt x="1226" y="895"/>
                  </a:lnTo>
                  <a:lnTo>
                    <a:pt x="1217" y="904"/>
                  </a:lnTo>
                  <a:lnTo>
                    <a:pt x="1207" y="912"/>
                  </a:lnTo>
                  <a:lnTo>
                    <a:pt x="1197" y="920"/>
                  </a:lnTo>
                  <a:lnTo>
                    <a:pt x="1188" y="929"/>
                  </a:lnTo>
                  <a:lnTo>
                    <a:pt x="1179" y="938"/>
                  </a:lnTo>
                  <a:lnTo>
                    <a:pt x="1171" y="948"/>
                  </a:lnTo>
                  <a:lnTo>
                    <a:pt x="1164" y="961"/>
                  </a:lnTo>
                  <a:lnTo>
                    <a:pt x="1155" y="981"/>
                  </a:lnTo>
                  <a:lnTo>
                    <a:pt x="1145" y="999"/>
                  </a:lnTo>
                  <a:lnTo>
                    <a:pt x="1139" y="1006"/>
                  </a:lnTo>
                  <a:lnTo>
                    <a:pt x="1133" y="1012"/>
                  </a:lnTo>
                  <a:lnTo>
                    <a:pt x="1129" y="1014"/>
                  </a:lnTo>
                  <a:lnTo>
                    <a:pt x="1124" y="1017"/>
                  </a:lnTo>
                  <a:lnTo>
                    <a:pt x="1120" y="1018"/>
                  </a:lnTo>
                  <a:lnTo>
                    <a:pt x="1114" y="1018"/>
                  </a:lnTo>
                  <a:lnTo>
                    <a:pt x="1063" y="1018"/>
                  </a:lnTo>
                  <a:lnTo>
                    <a:pt x="1048" y="1018"/>
                  </a:lnTo>
                  <a:lnTo>
                    <a:pt x="1035" y="1020"/>
                  </a:lnTo>
                  <a:lnTo>
                    <a:pt x="1023" y="1022"/>
                  </a:lnTo>
                  <a:lnTo>
                    <a:pt x="1011" y="1024"/>
                  </a:lnTo>
                  <a:lnTo>
                    <a:pt x="999" y="1026"/>
                  </a:lnTo>
                  <a:lnTo>
                    <a:pt x="987" y="1028"/>
                  </a:lnTo>
                  <a:lnTo>
                    <a:pt x="973" y="1029"/>
                  </a:lnTo>
                  <a:lnTo>
                    <a:pt x="959" y="1029"/>
                  </a:lnTo>
                  <a:lnTo>
                    <a:pt x="945" y="1029"/>
                  </a:lnTo>
                  <a:lnTo>
                    <a:pt x="933" y="1028"/>
                  </a:lnTo>
                  <a:lnTo>
                    <a:pt x="922" y="1027"/>
                  </a:lnTo>
                  <a:lnTo>
                    <a:pt x="910" y="1025"/>
                  </a:lnTo>
                  <a:lnTo>
                    <a:pt x="899" y="1023"/>
                  </a:lnTo>
                  <a:lnTo>
                    <a:pt x="888" y="1022"/>
                  </a:lnTo>
                  <a:lnTo>
                    <a:pt x="875" y="1021"/>
                  </a:lnTo>
                  <a:lnTo>
                    <a:pt x="861" y="1020"/>
                  </a:lnTo>
                  <a:lnTo>
                    <a:pt x="850" y="1021"/>
                  </a:lnTo>
                  <a:lnTo>
                    <a:pt x="840" y="1022"/>
                  </a:lnTo>
                  <a:lnTo>
                    <a:pt x="831" y="1025"/>
                  </a:lnTo>
                  <a:lnTo>
                    <a:pt x="823" y="1027"/>
                  </a:lnTo>
                  <a:lnTo>
                    <a:pt x="806" y="1035"/>
                  </a:lnTo>
                  <a:lnTo>
                    <a:pt x="790" y="1043"/>
                  </a:lnTo>
                  <a:lnTo>
                    <a:pt x="774" y="1053"/>
                  </a:lnTo>
                  <a:lnTo>
                    <a:pt x="758" y="1060"/>
                  </a:lnTo>
                  <a:lnTo>
                    <a:pt x="748" y="1063"/>
                  </a:lnTo>
                  <a:lnTo>
                    <a:pt x="739" y="1065"/>
                  </a:lnTo>
                  <a:lnTo>
                    <a:pt x="729" y="1066"/>
                  </a:lnTo>
                  <a:lnTo>
                    <a:pt x="718" y="1067"/>
                  </a:lnTo>
                  <a:lnTo>
                    <a:pt x="706" y="1066"/>
                  </a:lnTo>
                  <a:lnTo>
                    <a:pt x="695" y="1064"/>
                  </a:lnTo>
                  <a:lnTo>
                    <a:pt x="683" y="1061"/>
                  </a:lnTo>
                  <a:lnTo>
                    <a:pt x="671" y="1060"/>
                  </a:lnTo>
                  <a:lnTo>
                    <a:pt x="658" y="1061"/>
                  </a:lnTo>
                  <a:lnTo>
                    <a:pt x="645" y="1062"/>
                  </a:lnTo>
                  <a:lnTo>
                    <a:pt x="551" y="1062"/>
                  </a:lnTo>
                  <a:lnTo>
                    <a:pt x="540" y="1063"/>
                  </a:lnTo>
                  <a:lnTo>
                    <a:pt x="531" y="1065"/>
                  </a:lnTo>
                  <a:lnTo>
                    <a:pt x="520" y="1068"/>
                  </a:lnTo>
                  <a:lnTo>
                    <a:pt x="512" y="1072"/>
                  </a:lnTo>
                  <a:lnTo>
                    <a:pt x="503" y="1075"/>
                  </a:lnTo>
                  <a:lnTo>
                    <a:pt x="494" y="1078"/>
                  </a:lnTo>
                  <a:lnTo>
                    <a:pt x="483" y="1081"/>
                  </a:lnTo>
                  <a:lnTo>
                    <a:pt x="472" y="1082"/>
                  </a:lnTo>
                  <a:lnTo>
                    <a:pt x="466" y="1081"/>
                  </a:lnTo>
                  <a:lnTo>
                    <a:pt x="460" y="1079"/>
                  </a:lnTo>
                  <a:lnTo>
                    <a:pt x="454" y="1077"/>
                  </a:lnTo>
                  <a:lnTo>
                    <a:pt x="449" y="1075"/>
                  </a:lnTo>
                  <a:lnTo>
                    <a:pt x="444" y="1073"/>
                  </a:lnTo>
                  <a:lnTo>
                    <a:pt x="439" y="1071"/>
                  </a:lnTo>
                  <a:lnTo>
                    <a:pt x="433" y="1070"/>
                  </a:lnTo>
                  <a:lnTo>
                    <a:pt x="427" y="1069"/>
                  </a:lnTo>
                  <a:lnTo>
                    <a:pt x="410" y="1070"/>
                  </a:lnTo>
                  <a:lnTo>
                    <a:pt x="395" y="1073"/>
                  </a:lnTo>
                  <a:lnTo>
                    <a:pt x="381" y="1078"/>
                  </a:lnTo>
                  <a:lnTo>
                    <a:pt x="369" y="1084"/>
                  </a:lnTo>
                  <a:lnTo>
                    <a:pt x="356" y="1092"/>
                  </a:lnTo>
                  <a:lnTo>
                    <a:pt x="346" y="1100"/>
                  </a:lnTo>
                  <a:lnTo>
                    <a:pt x="336" y="1110"/>
                  </a:lnTo>
                  <a:lnTo>
                    <a:pt x="326" y="1121"/>
                  </a:lnTo>
                  <a:lnTo>
                    <a:pt x="307" y="1145"/>
                  </a:lnTo>
                  <a:lnTo>
                    <a:pt x="287" y="1169"/>
                  </a:lnTo>
                  <a:lnTo>
                    <a:pt x="277" y="1182"/>
                  </a:lnTo>
                  <a:lnTo>
                    <a:pt x="266" y="1194"/>
                  </a:lnTo>
                  <a:lnTo>
                    <a:pt x="254" y="1207"/>
                  </a:lnTo>
                  <a:lnTo>
                    <a:pt x="242" y="1218"/>
                  </a:lnTo>
                  <a:lnTo>
                    <a:pt x="229" y="1229"/>
                  </a:lnTo>
                  <a:lnTo>
                    <a:pt x="215" y="1240"/>
                  </a:lnTo>
                  <a:lnTo>
                    <a:pt x="203" y="1249"/>
                  </a:lnTo>
                  <a:lnTo>
                    <a:pt x="189" y="1257"/>
                  </a:lnTo>
                  <a:lnTo>
                    <a:pt x="176" y="1264"/>
                  </a:lnTo>
                  <a:lnTo>
                    <a:pt x="163" y="1272"/>
                  </a:lnTo>
                  <a:lnTo>
                    <a:pt x="149" y="1277"/>
                  </a:lnTo>
                  <a:lnTo>
                    <a:pt x="136" y="1282"/>
                  </a:lnTo>
                  <a:lnTo>
                    <a:pt x="122" y="1286"/>
                  </a:lnTo>
                  <a:lnTo>
                    <a:pt x="108" y="1290"/>
                  </a:lnTo>
                  <a:lnTo>
                    <a:pt x="92" y="1293"/>
                  </a:lnTo>
                  <a:lnTo>
                    <a:pt x="78" y="1295"/>
                  </a:lnTo>
                  <a:lnTo>
                    <a:pt x="46" y="1299"/>
                  </a:lnTo>
                  <a:lnTo>
                    <a:pt x="11" y="1304"/>
                  </a:lnTo>
                  <a:lnTo>
                    <a:pt x="8" y="1294"/>
                  </a:lnTo>
                  <a:lnTo>
                    <a:pt x="6" y="1285"/>
                  </a:lnTo>
                  <a:lnTo>
                    <a:pt x="3" y="1277"/>
                  </a:lnTo>
                  <a:lnTo>
                    <a:pt x="0" y="1268"/>
                  </a:lnTo>
                  <a:lnTo>
                    <a:pt x="12" y="1255"/>
                  </a:lnTo>
                  <a:lnTo>
                    <a:pt x="23" y="1243"/>
                  </a:lnTo>
                  <a:lnTo>
                    <a:pt x="34" y="1230"/>
                  </a:lnTo>
                  <a:lnTo>
                    <a:pt x="43" y="1217"/>
                  </a:lnTo>
                  <a:lnTo>
                    <a:pt x="51" y="1203"/>
                  </a:lnTo>
                  <a:lnTo>
                    <a:pt x="58" y="1189"/>
                  </a:lnTo>
                  <a:lnTo>
                    <a:pt x="65" y="1173"/>
                  </a:lnTo>
                  <a:lnTo>
                    <a:pt x="70" y="1157"/>
                  </a:lnTo>
                  <a:lnTo>
                    <a:pt x="70" y="1047"/>
                  </a:lnTo>
                  <a:lnTo>
                    <a:pt x="70" y="1034"/>
                  </a:lnTo>
                  <a:lnTo>
                    <a:pt x="69" y="1021"/>
                  </a:lnTo>
                  <a:lnTo>
                    <a:pt x="68" y="1007"/>
                  </a:lnTo>
                  <a:lnTo>
                    <a:pt x="66" y="996"/>
                  </a:lnTo>
                  <a:lnTo>
                    <a:pt x="62" y="972"/>
                  </a:lnTo>
                  <a:lnTo>
                    <a:pt x="56" y="950"/>
                  </a:lnTo>
                  <a:lnTo>
                    <a:pt x="51" y="928"/>
                  </a:lnTo>
                  <a:lnTo>
                    <a:pt x="46" y="904"/>
                  </a:lnTo>
                  <a:lnTo>
                    <a:pt x="44" y="893"/>
                  </a:lnTo>
                  <a:lnTo>
                    <a:pt x="43" y="879"/>
                  </a:lnTo>
                  <a:lnTo>
                    <a:pt x="42" y="867"/>
                  </a:lnTo>
                  <a:lnTo>
                    <a:pt x="42" y="852"/>
                  </a:lnTo>
                  <a:lnTo>
                    <a:pt x="42" y="848"/>
                  </a:lnTo>
                  <a:lnTo>
                    <a:pt x="43" y="844"/>
                  </a:lnTo>
                  <a:lnTo>
                    <a:pt x="45" y="840"/>
                  </a:lnTo>
                  <a:lnTo>
                    <a:pt x="46" y="837"/>
                  </a:lnTo>
                  <a:lnTo>
                    <a:pt x="51" y="832"/>
                  </a:lnTo>
                  <a:lnTo>
                    <a:pt x="57" y="826"/>
                  </a:lnTo>
                  <a:lnTo>
                    <a:pt x="73" y="818"/>
                  </a:lnTo>
                  <a:lnTo>
                    <a:pt x="86" y="808"/>
                  </a:lnTo>
                  <a:lnTo>
                    <a:pt x="112" y="780"/>
                  </a:lnTo>
                  <a:lnTo>
                    <a:pt x="133" y="755"/>
                  </a:lnTo>
                  <a:lnTo>
                    <a:pt x="144" y="744"/>
                  </a:lnTo>
                  <a:lnTo>
                    <a:pt x="155" y="731"/>
                  </a:lnTo>
                  <a:lnTo>
                    <a:pt x="169" y="720"/>
                  </a:lnTo>
                  <a:lnTo>
                    <a:pt x="183" y="709"/>
                  </a:lnTo>
                  <a:lnTo>
                    <a:pt x="210" y="690"/>
                  </a:lnTo>
                  <a:lnTo>
                    <a:pt x="235" y="673"/>
                  </a:lnTo>
                  <a:lnTo>
                    <a:pt x="240" y="669"/>
                  </a:lnTo>
                  <a:lnTo>
                    <a:pt x="244" y="663"/>
                  </a:lnTo>
                  <a:lnTo>
                    <a:pt x="248" y="658"/>
                  </a:lnTo>
                  <a:lnTo>
                    <a:pt x="252" y="652"/>
                  </a:lnTo>
                  <a:lnTo>
                    <a:pt x="254" y="646"/>
                  </a:lnTo>
                  <a:lnTo>
                    <a:pt x="257" y="640"/>
                  </a:lnTo>
                  <a:lnTo>
                    <a:pt x="259" y="632"/>
                  </a:lnTo>
                  <a:lnTo>
                    <a:pt x="259" y="624"/>
                  </a:lnTo>
                  <a:lnTo>
                    <a:pt x="256" y="617"/>
                  </a:lnTo>
                  <a:lnTo>
                    <a:pt x="254" y="610"/>
                  </a:lnTo>
                  <a:lnTo>
                    <a:pt x="254" y="602"/>
                  </a:lnTo>
                  <a:lnTo>
                    <a:pt x="256" y="596"/>
                  </a:lnTo>
                  <a:lnTo>
                    <a:pt x="260" y="591"/>
                  </a:lnTo>
                  <a:lnTo>
                    <a:pt x="263" y="587"/>
                  </a:lnTo>
                  <a:lnTo>
                    <a:pt x="268" y="584"/>
                  </a:lnTo>
                  <a:lnTo>
                    <a:pt x="273" y="581"/>
                  </a:lnTo>
                  <a:lnTo>
                    <a:pt x="278" y="578"/>
                  </a:lnTo>
                  <a:lnTo>
                    <a:pt x="284" y="576"/>
                  </a:lnTo>
                  <a:lnTo>
                    <a:pt x="298" y="570"/>
                  </a:lnTo>
                  <a:lnTo>
                    <a:pt x="312" y="565"/>
                  </a:lnTo>
                  <a:lnTo>
                    <a:pt x="318" y="563"/>
                  </a:lnTo>
                  <a:lnTo>
                    <a:pt x="325" y="559"/>
                  </a:lnTo>
                  <a:lnTo>
                    <a:pt x="331" y="555"/>
                  </a:lnTo>
                  <a:lnTo>
                    <a:pt x="337" y="550"/>
                  </a:lnTo>
                  <a:lnTo>
                    <a:pt x="354" y="533"/>
                  </a:lnTo>
                  <a:lnTo>
                    <a:pt x="371" y="518"/>
                  </a:lnTo>
                  <a:lnTo>
                    <a:pt x="387" y="504"/>
                  </a:lnTo>
                  <a:lnTo>
                    <a:pt x="404" y="493"/>
                  </a:lnTo>
                  <a:lnTo>
                    <a:pt x="413" y="488"/>
                  </a:lnTo>
                  <a:lnTo>
                    <a:pt x="421" y="483"/>
                  </a:lnTo>
                  <a:lnTo>
                    <a:pt x="431" y="478"/>
                  </a:lnTo>
                  <a:lnTo>
                    <a:pt x="441" y="474"/>
                  </a:lnTo>
                  <a:lnTo>
                    <a:pt x="451" y="471"/>
                  </a:lnTo>
                  <a:lnTo>
                    <a:pt x="462" y="468"/>
                  </a:lnTo>
                  <a:lnTo>
                    <a:pt x="473" y="465"/>
                  </a:lnTo>
                  <a:lnTo>
                    <a:pt x="485" y="463"/>
                  </a:lnTo>
                  <a:lnTo>
                    <a:pt x="507" y="459"/>
                  </a:lnTo>
                  <a:lnTo>
                    <a:pt x="527" y="456"/>
                  </a:lnTo>
                  <a:lnTo>
                    <a:pt x="546" y="453"/>
                  </a:lnTo>
                  <a:lnTo>
                    <a:pt x="564" y="451"/>
                  </a:lnTo>
                  <a:lnTo>
                    <a:pt x="582" y="448"/>
                  </a:lnTo>
                  <a:lnTo>
                    <a:pt x="601" y="444"/>
                  </a:lnTo>
                  <a:lnTo>
                    <a:pt x="622" y="441"/>
                  </a:lnTo>
                  <a:lnTo>
                    <a:pt x="643" y="437"/>
                  </a:lnTo>
                  <a:lnTo>
                    <a:pt x="656" y="434"/>
                  </a:lnTo>
                  <a:lnTo>
                    <a:pt x="668" y="431"/>
                  </a:lnTo>
                  <a:lnTo>
                    <a:pt x="679" y="427"/>
                  </a:lnTo>
                  <a:lnTo>
                    <a:pt x="690" y="422"/>
                  </a:lnTo>
                  <a:lnTo>
                    <a:pt x="694" y="420"/>
                  </a:lnTo>
                  <a:lnTo>
                    <a:pt x="699" y="416"/>
                  </a:lnTo>
                  <a:lnTo>
                    <a:pt x="702" y="412"/>
                  </a:lnTo>
                  <a:lnTo>
                    <a:pt x="705" y="408"/>
                  </a:lnTo>
                  <a:lnTo>
                    <a:pt x="708" y="403"/>
                  </a:lnTo>
                  <a:lnTo>
                    <a:pt x="710" y="399"/>
                  </a:lnTo>
                  <a:lnTo>
                    <a:pt x="711" y="393"/>
                  </a:lnTo>
                  <a:lnTo>
                    <a:pt x="711" y="388"/>
                  </a:lnTo>
                  <a:lnTo>
                    <a:pt x="711" y="362"/>
                  </a:lnTo>
                  <a:lnTo>
                    <a:pt x="709" y="340"/>
                  </a:lnTo>
                  <a:lnTo>
                    <a:pt x="707" y="329"/>
                  </a:lnTo>
                  <a:lnTo>
                    <a:pt x="704" y="318"/>
                  </a:lnTo>
                  <a:lnTo>
                    <a:pt x="700" y="307"/>
                  </a:lnTo>
                  <a:lnTo>
                    <a:pt x="695" y="295"/>
                  </a:lnTo>
                  <a:lnTo>
                    <a:pt x="690" y="284"/>
                  </a:lnTo>
                  <a:lnTo>
                    <a:pt x="682" y="274"/>
                  </a:lnTo>
                  <a:lnTo>
                    <a:pt x="676" y="265"/>
                  </a:lnTo>
                  <a:lnTo>
                    <a:pt x="670" y="256"/>
                  </a:lnTo>
                  <a:lnTo>
                    <a:pt x="664" y="247"/>
                  </a:lnTo>
                  <a:lnTo>
                    <a:pt x="659" y="238"/>
                  </a:lnTo>
                  <a:lnTo>
                    <a:pt x="658" y="233"/>
                  </a:lnTo>
                  <a:lnTo>
                    <a:pt x="656" y="228"/>
                  </a:lnTo>
                  <a:lnTo>
                    <a:pt x="656" y="221"/>
                  </a:lnTo>
                  <a:lnTo>
                    <a:pt x="655" y="215"/>
                  </a:lnTo>
                  <a:lnTo>
                    <a:pt x="656" y="209"/>
                  </a:lnTo>
                  <a:lnTo>
                    <a:pt x="657" y="204"/>
                  </a:lnTo>
                  <a:lnTo>
                    <a:pt x="658" y="199"/>
                  </a:lnTo>
                  <a:lnTo>
                    <a:pt x="660" y="195"/>
                  </a:lnTo>
                  <a:lnTo>
                    <a:pt x="666" y="186"/>
                  </a:lnTo>
                  <a:lnTo>
                    <a:pt x="672" y="178"/>
                  </a:lnTo>
                  <a:lnTo>
                    <a:pt x="680" y="171"/>
                  </a:lnTo>
                  <a:lnTo>
                    <a:pt x="688" y="164"/>
                  </a:lnTo>
                  <a:lnTo>
                    <a:pt x="694" y="154"/>
                  </a:lnTo>
                  <a:lnTo>
                    <a:pt x="700" y="144"/>
                  </a:lnTo>
                  <a:lnTo>
                    <a:pt x="716" y="107"/>
                  </a:lnTo>
                  <a:lnTo>
                    <a:pt x="732" y="74"/>
                  </a:lnTo>
                  <a:lnTo>
                    <a:pt x="738" y="57"/>
                  </a:lnTo>
                  <a:lnTo>
                    <a:pt x="743" y="40"/>
                  </a:lnTo>
                  <a:lnTo>
                    <a:pt x="749" y="21"/>
                  </a:lnTo>
                  <a:lnTo>
                    <a:pt x="754" y="0"/>
                  </a:lnTo>
                  <a:lnTo>
                    <a:pt x="779" y="40"/>
                  </a:lnTo>
                  <a:lnTo>
                    <a:pt x="801" y="74"/>
                  </a:lnTo>
                  <a:lnTo>
                    <a:pt x="822" y="108"/>
                  </a:lnTo>
                  <a:lnTo>
                    <a:pt x="846" y="146"/>
                  </a:lnTo>
                  <a:lnTo>
                    <a:pt x="857" y="165"/>
                  </a:lnTo>
                  <a:lnTo>
                    <a:pt x="868" y="182"/>
                  </a:lnTo>
                  <a:lnTo>
                    <a:pt x="879" y="198"/>
                  </a:lnTo>
                  <a:lnTo>
                    <a:pt x="893" y="212"/>
                  </a:lnTo>
                  <a:lnTo>
                    <a:pt x="899" y="218"/>
                  </a:lnTo>
                  <a:lnTo>
                    <a:pt x="906" y="223"/>
                  </a:lnTo>
                  <a:lnTo>
                    <a:pt x="913" y="229"/>
                  </a:lnTo>
                  <a:lnTo>
                    <a:pt x="922" y="233"/>
                  </a:lnTo>
                  <a:lnTo>
                    <a:pt x="930" y="236"/>
                  </a:lnTo>
                  <a:lnTo>
                    <a:pt x="939" y="239"/>
                  </a:lnTo>
                  <a:lnTo>
                    <a:pt x="948" y="240"/>
                  </a:lnTo>
                  <a:lnTo>
                    <a:pt x="959" y="241"/>
                  </a:lnTo>
                  <a:lnTo>
                    <a:pt x="969" y="240"/>
                  </a:lnTo>
                  <a:lnTo>
                    <a:pt x="978" y="239"/>
                  </a:lnTo>
                  <a:lnTo>
                    <a:pt x="987" y="237"/>
                  </a:lnTo>
                  <a:lnTo>
                    <a:pt x="995" y="234"/>
                  </a:lnTo>
                  <a:lnTo>
                    <a:pt x="1003" y="231"/>
                  </a:lnTo>
                  <a:lnTo>
                    <a:pt x="1010" y="227"/>
                  </a:lnTo>
                  <a:lnTo>
                    <a:pt x="1018" y="221"/>
                  </a:lnTo>
                  <a:lnTo>
                    <a:pt x="1025" y="216"/>
                  </a:lnTo>
                  <a:lnTo>
                    <a:pt x="1052" y="193"/>
                  </a:lnTo>
                  <a:lnTo>
                    <a:pt x="1081" y="168"/>
                  </a:lnTo>
                  <a:lnTo>
                    <a:pt x="1082" y="175"/>
                  </a:lnTo>
                  <a:lnTo>
                    <a:pt x="1084" y="182"/>
                  </a:lnTo>
                  <a:lnTo>
                    <a:pt x="1084" y="189"/>
                  </a:lnTo>
                  <a:lnTo>
                    <a:pt x="1081" y="197"/>
                  </a:lnTo>
                  <a:lnTo>
                    <a:pt x="1079" y="203"/>
                  </a:lnTo>
                  <a:lnTo>
                    <a:pt x="1077" y="208"/>
                  </a:lnTo>
                  <a:lnTo>
                    <a:pt x="1074" y="214"/>
                  </a:lnTo>
                  <a:lnTo>
                    <a:pt x="1072" y="220"/>
                  </a:lnTo>
                  <a:lnTo>
                    <a:pt x="1070" y="227"/>
                  </a:lnTo>
                  <a:lnTo>
                    <a:pt x="1070" y="234"/>
                  </a:lnTo>
                  <a:lnTo>
                    <a:pt x="1070" y="240"/>
                  </a:lnTo>
                  <a:lnTo>
                    <a:pt x="1071" y="245"/>
                  </a:lnTo>
                  <a:lnTo>
                    <a:pt x="1073" y="250"/>
                  </a:lnTo>
                  <a:lnTo>
                    <a:pt x="1076" y="254"/>
                  </a:lnTo>
                  <a:lnTo>
                    <a:pt x="1082" y="263"/>
                  </a:lnTo>
                  <a:lnTo>
                    <a:pt x="1091" y="270"/>
                  </a:lnTo>
                  <a:lnTo>
                    <a:pt x="1100" y="276"/>
                  </a:lnTo>
                  <a:lnTo>
                    <a:pt x="1109" y="283"/>
                  </a:lnTo>
                  <a:lnTo>
                    <a:pt x="1119" y="291"/>
                  </a:lnTo>
                  <a:lnTo>
                    <a:pt x="1127" y="300"/>
                  </a:lnTo>
                  <a:lnTo>
                    <a:pt x="1131" y="291"/>
                  </a:lnTo>
                  <a:lnTo>
                    <a:pt x="1131" y="229"/>
                  </a:lnTo>
                  <a:lnTo>
                    <a:pt x="1135" y="234"/>
                  </a:lnTo>
                  <a:lnTo>
                    <a:pt x="1138" y="238"/>
                  </a:lnTo>
                  <a:lnTo>
                    <a:pt x="1140" y="243"/>
                  </a:lnTo>
                  <a:lnTo>
                    <a:pt x="1142" y="248"/>
                  </a:lnTo>
                  <a:lnTo>
                    <a:pt x="1144" y="259"/>
                  </a:lnTo>
                  <a:lnTo>
                    <a:pt x="1144" y="270"/>
                  </a:lnTo>
                  <a:lnTo>
                    <a:pt x="1145" y="281"/>
                  </a:lnTo>
                  <a:lnTo>
                    <a:pt x="1147" y="292"/>
                  </a:lnTo>
                  <a:lnTo>
                    <a:pt x="1150" y="297"/>
                  </a:lnTo>
                  <a:lnTo>
                    <a:pt x="1152" y="301"/>
                  </a:lnTo>
                  <a:lnTo>
                    <a:pt x="1155" y="305"/>
                  </a:lnTo>
                  <a:lnTo>
                    <a:pt x="1160" y="309"/>
                  </a:lnTo>
                  <a:lnTo>
                    <a:pt x="1168" y="314"/>
                  </a:lnTo>
                  <a:lnTo>
                    <a:pt x="1177" y="318"/>
                  </a:lnTo>
                  <a:lnTo>
                    <a:pt x="1187" y="319"/>
                  </a:lnTo>
                  <a:lnTo>
                    <a:pt x="1195" y="321"/>
                  </a:lnTo>
                  <a:lnTo>
                    <a:pt x="1205" y="322"/>
                  </a:lnTo>
                  <a:lnTo>
                    <a:pt x="1214" y="322"/>
                  </a:lnTo>
                  <a:lnTo>
                    <a:pt x="1225" y="324"/>
                  </a:lnTo>
                  <a:lnTo>
                    <a:pt x="1235" y="326"/>
                  </a:lnTo>
                  <a:lnTo>
                    <a:pt x="1261" y="336"/>
                  </a:lnTo>
                  <a:lnTo>
                    <a:pt x="1284" y="347"/>
                  </a:lnTo>
                  <a:lnTo>
                    <a:pt x="1295" y="351"/>
                  </a:lnTo>
                  <a:lnTo>
                    <a:pt x="1306" y="356"/>
                  </a:lnTo>
                  <a:lnTo>
                    <a:pt x="1320" y="358"/>
                  </a:lnTo>
                  <a:lnTo>
                    <a:pt x="1334" y="359"/>
                  </a:lnTo>
                  <a:lnTo>
                    <a:pt x="1338" y="359"/>
                  </a:lnTo>
                  <a:lnTo>
                    <a:pt x="1343" y="358"/>
                  </a:lnTo>
                  <a:lnTo>
                    <a:pt x="1346" y="356"/>
                  </a:lnTo>
                  <a:lnTo>
                    <a:pt x="1351" y="354"/>
                  </a:lnTo>
                  <a:lnTo>
                    <a:pt x="1359" y="349"/>
                  </a:lnTo>
                  <a:lnTo>
                    <a:pt x="1367" y="344"/>
                  </a:lnTo>
                  <a:lnTo>
                    <a:pt x="1382" y="340"/>
                  </a:lnTo>
                  <a:lnTo>
                    <a:pt x="1396" y="337"/>
                  </a:lnTo>
                  <a:lnTo>
                    <a:pt x="1410" y="336"/>
                  </a:lnTo>
                  <a:lnTo>
                    <a:pt x="1426" y="335"/>
                  </a:lnTo>
                  <a:lnTo>
                    <a:pt x="1432" y="336"/>
                  </a:lnTo>
                  <a:lnTo>
                    <a:pt x="1438" y="338"/>
                  </a:lnTo>
                  <a:lnTo>
                    <a:pt x="1443" y="342"/>
                  </a:lnTo>
                  <a:lnTo>
                    <a:pt x="1448" y="346"/>
                  </a:lnTo>
                  <a:lnTo>
                    <a:pt x="1455" y="359"/>
                  </a:lnTo>
                  <a:lnTo>
                    <a:pt x="1461" y="371"/>
                  </a:lnTo>
                  <a:lnTo>
                    <a:pt x="1476" y="400"/>
                  </a:lnTo>
                  <a:lnTo>
                    <a:pt x="1490" y="425"/>
                  </a:lnTo>
                  <a:lnTo>
                    <a:pt x="1498" y="436"/>
                  </a:lnTo>
                  <a:lnTo>
                    <a:pt x="1508" y="446"/>
                  </a:lnTo>
                  <a:lnTo>
                    <a:pt x="1514" y="452"/>
                  </a:lnTo>
                  <a:lnTo>
                    <a:pt x="1520" y="456"/>
                  </a:lnTo>
                  <a:lnTo>
                    <a:pt x="1527" y="459"/>
                  </a:lnTo>
                  <a:lnTo>
                    <a:pt x="1534" y="463"/>
                  </a:lnTo>
                  <a:lnTo>
                    <a:pt x="1553" y="461"/>
                  </a:lnTo>
                  <a:lnTo>
                    <a:pt x="1554" y="440"/>
                  </a:lnTo>
                  <a:lnTo>
                    <a:pt x="1553" y="423"/>
                  </a:lnTo>
                  <a:lnTo>
                    <a:pt x="1552" y="405"/>
                  </a:lnTo>
                  <a:lnTo>
                    <a:pt x="1553" y="385"/>
                  </a:lnTo>
                  <a:lnTo>
                    <a:pt x="1562" y="387"/>
                  </a:lnTo>
                  <a:lnTo>
                    <a:pt x="1570" y="390"/>
                  </a:lnTo>
                  <a:lnTo>
                    <a:pt x="1577" y="394"/>
                  </a:lnTo>
                  <a:lnTo>
                    <a:pt x="1585" y="399"/>
                  </a:lnTo>
                  <a:lnTo>
                    <a:pt x="1592" y="403"/>
                  </a:lnTo>
                  <a:lnTo>
                    <a:pt x="1599" y="407"/>
                  </a:lnTo>
                  <a:lnTo>
                    <a:pt x="1607" y="410"/>
                  </a:lnTo>
                  <a:lnTo>
                    <a:pt x="1617" y="410"/>
                  </a:lnTo>
                  <a:lnTo>
                    <a:pt x="1620" y="410"/>
                  </a:lnTo>
                  <a:lnTo>
                    <a:pt x="1623" y="409"/>
                  </a:lnTo>
                  <a:lnTo>
                    <a:pt x="1625" y="407"/>
                  </a:lnTo>
                  <a:lnTo>
                    <a:pt x="1627" y="405"/>
                  </a:lnTo>
                  <a:lnTo>
                    <a:pt x="1630" y="399"/>
                  </a:lnTo>
                  <a:lnTo>
                    <a:pt x="1631" y="392"/>
                  </a:lnTo>
                  <a:lnTo>
                    <a:pt x="1630" y="387"/>
                  </a:lnTo>
                  <a:lnTo>
                    <a:pt x="1628" y="381"/>
                  </a:lnTo>
                  <a:lnTo>
                    <a:pt x="1626" y="377"/>
                  </a:lnTo>
                  <a:lnTo>
                    <a:pt x="1623" y="373"/>
                  </a:lnTo>
                  <a:lnTo>
                    <a:pt x="1614" y="367"/>
                  </a:lnTo>
                  <a:lnTo>
                    <a:pt x="1603" y="361"/>
                  </a:lnTo>
                  <a:lnTo>
                    <a:pt x="1594" y="356"/>
                  </a:lnTo>
                  <a:lnTo>
                    <a:pt x="1585" y="349"/>
                  </a:lnTo>
                  <a:lnTo>
                    <a:pt x="1582" y="345"/>
                  </a:lnTo>
                  <a:lnTo>
                    <a:pt x="1579" y="341"/>
                  </a:lnTo>
                  <a:lnTo>
                    <a:pt x="1577" y="336"/>
                  </a:lnTo>
                  <a:lnTo>
                    <a:pt x="1576" y="331"/>
                  </a:lnTo>
                  <a:lnTo>
                    <a:pt x="1577" y="329"/>
                  </a:lnTo>
                  <a:lnTo>
                    <a:pt x="1577" y="327"/>
                  </a:lnTo>
                  <a:lnTo>
                    <a:pt x="1580" y="325"/>
                  </a:lnTo>
                  <a:lnTo>
                    <a:pt x="1582" y="324"/>
                  </a:lnTo>
                  <a:lnTo>
                    <a:pt x="1586" y="322"/>
                  </a:lnTo>
                  <a:lnTo>
                    <a:pt x="1591" y="322"/>
                  </a:lnTo>
                  <a:lnTo>
                    <a:pt x="1597" y="322"/>
                  </a:lnTo>
                  <a:lnTo>
                    <a:pt x="1602" y="324"/>
                  </a:lnTo>
                  <a:lnTo>
                    <a:pt x="1607" y="327"/>
                  </a:lnTo>
                  <a:lnTo>
                    <a:pt x="1612" y="331"/>
                  </a:lnTo>
                  <a:lnTo>
                    <a:pt x="1621" y="339"/>
                  </a:lnTo>
                  <a:lnTo>
                    <a:pt x="1631" y="347"/>
                  </a:lnTo>
                  <a:lnTo>
                    <a:pt x="1634" y="338"/>
                  </a:lnTo>
                  <a:lnTo>
                    <a:pt x="1637" y="331"/>
                  </a:lnTo>
                  <a:lnTo>
                    <a:pt x="1639" y="323"/>
                  </a:lnTo>
                  <a:lnTo>
                    <a:pt x="1641" y="315"/>
                  </a:lnTo>
                  <a:lnTo>
                    <a:pt x="1643" y="299"/>
                  </a:lnTo>
                  <a:lnTo>
                    <a:pt x="1648" y="281"/>
                  </a:lnTo>
                  <a:lnTo>
                    <a:pt x="1655" y="284"/>
                  </a:lnTo>
                  <a:lnTo>
                    <a:pt x="1660" y="290"/>
                  </a:lnTo>
                  <a:lnTo>
                    <a:pt x="1665" y="295"/>
                  </a:lnTo>
                  <a:lnTo>
                    <a:pt x="1668" y="301"/>
                  </a:lnTo>
                  <a:lnTo>
                    <a:pt x="1671" y="308"/>
                  </a:lnTo>
                  <a:lnTo>
                    <a:pt x="1675" y="314"/>
                  </a:lnTo>
                  <a:lnTo>
                    <a:pt x="1680" y="322"/>
                  </a:lnTo>
                  <a:lnTo>
                    <a:pt x="1685" y="328"/>
                  </a:lnTo>
                  <a:lnTo>
                    <a:pt x="1696" y="309"/>
                  </a:lnTo>
                  <a:lnTo>
                    <a:pt x="1706" y="293"/>
                  </a:lnTo>
                  <a:lnTo>
                    <a:pt x="1718" y="277"/>
                  </a:lnTo>
                  <a:lnTo>
                    <a:pt x="1732" y="260"/>
                  </a:lnTo>
                  <a:lnTo>
                    <a:pt x="1738" y="265"/>
                  </a:lnTo>
                  <a:lnTo>
                    <a:pt x="1742" y="270"/>
                  </a:lnTo>
                  <a:lnTo>
                    <a:pt x="1747" y="276"/>
                  </a:lnTo>
                  <a:lnTo>
                    <a:pt x="1749" y="283"/>
                  </a:lnTo>
                  <a:lnTo>
                    <a:pt x="1751" y="291"/>
                  </a:lnTo>
                  <a:lnTo>
                    <a:pt x="1753" y="298"/>
                  </a:lnTo>
                  <a:lnTo>
                    <a:pt x="1756" y="305"/>
                  </a:lnTo>
                  <a:lnTo>
                    <a:pt x="1760" y="311"/>
                  </a:lnTo>
                  <a:lnTo>
                    <a:pt x="1767" y="318"/>
                  </a:lnTo>
                  <a:lnTo>
                    <a:pt x="1774" y="324"/>
                  </a:lnTo>
                  <a:lnTo>
                    <a:pt x="1782" y="328"/>
                  </a:lnTo>
                  <a:lnTo>
                    <a:pt x="1790" y="331"/>
                  </a:lnTo>
                  <a:lnTo>
                    <a:pt x="1798" y="333"/>
                  </a:lnTo>
                  <a:lnTo>
                    <a:pt x="1807" y="336"/>
                  </a:lnTo>
                  <a:lnTo>
                    <a:pt x="1816" y="340"/>
                  </a:lnTo>
                  <a:lnTo>
                    <a:pt x="1824" y="344"/>
                  </a:lnTo>
                  <a:lnTo>
                    <a:pt x="1830" y="336"/>
                  </a:lnTo>
                  <a:lnTo>
                    <a:pt x="1837" y="328"/>
                  </a:lnTo>
                  <a:lnTo>
                    <a:pt x="1844" y="321"/>
                  </a:lnTo>
                  <a:lnTo>
                    <a:pt x="1851" y="314"/>
                  </a:lnTo>
                  <a:lnTo>
                    <a:pt x="1859" y="309"/>
                  </a:lnTo>
                  <a:lnTo>
                    <a:pt x="1867" y="305"/>
                  </a:lnTo>
                  <a:lnTo>
                    <a:pt x="1878" y="303"/>
                  </a:lnTo>
                  <a:lnTo>
                    <a:pt x="1888" y="302"/>
                  </a:lnTo>
                  <a:lnTo>
                    <a:pt x="1901" y="303"/>
                  </a:lnTo>
                  <a:lnTo>
                    <a:pt x="1915" y="306"/>
                  </a:lnTo>
                  <a:lnTo>
                    <a:pt x="1926" y="310"/>
                  </a:lnTo>
                  <a:lnTo>
                    <a:pt x="1937" y="314"/>
                  </a:lnTo>
                  <a:lnTo>
                    <a:pt x="1949" y="318"/>
                  </a:lnTo>
                  <a:lnTo>
                    <a:pt x="1960" y="323"/>
                  </a:lnTo>
                  <a:lnTo>
                    <a:pt x="1972" y="325"/>
                  </a:lnTo>
                  <a:lnTo>
                    <a:pt x="1987" y="326"/>
                  </a:lnTo>
                  <a:lnTo>
                    <a:pt x="2001" y="318"/>
                  </a:lnTo>
                  <a:lnTo>
                    <a:pt x="2015" y="311"/>
                  </a:lnTo>
                  <a:lnTo>
                    <a:pt x="2030" y="313"/>
                  </a:lnTo>
                  <a:lnTo>
                    <a:pt x="2044" y="316"/>
                  </a:lnTo>
                  <a:lnTo>
                    <a:pt x="2057" y="319"/>
                  </a:lnTo>
                  <a:lnTo>
                    <a:pt x="2072" y="322"/>
                  </a:lnTo>
                  <a:lnTo>
                    <a:pt x="2084" y="321"/>
                  </a:lnTo>
                  <a:lnTo>
                    <a:pt x="2095" y="318"/>
                  </a:lnTo>
                  <a:lnTo>
                    <a:pt x="2095" y="300"/>
                  </a:lnTo>
                  <a:lnTo>
                    <a:pt x="2081" y="272"/>
                  </a:lnTo>
                  <a:lnTo>
                    <a:pt x="2086" y="268"/>
                  </a:lnTo>
                  <a:lnTo>
                    <a:pt x="2091" y="265"/>
                  </a:lnTo>
                  <a:lnTo>
                    <a:pt x="2097" y="266"/>
                  </a:lnTo>
                  <a:lnTo>
                    <a:pt x="2102" y="268"/>
                  </a:lnTo>
                  <a:lnTo>
                    <a:pt x="2108" y="272"/>
                  </a:lnTo>
                  <a:lnTo>
                    <a:pt x="2112" y="276"/>
                  </a:lnTo>
                  <a:lnTo>
                    <a:pt x="2116" y="280"/>
                  </a:lnTo>
                  <a:lnTo>
                    <a:pt x="2121" y="284"/>
                  </a:lnTo>
                  <a:lnTo>
                    <a:pt x="2126" y="287"/>
                  </a:lnTo>
                  <a:lnTo>
                    <a:pt x="2133" y="288"/>
                  </a:lnTo>
                  <a:lnTo>
                    <a:pt x="2142" y="287"/>
                  </a:lnTo>
                  <a:lnTo>
                    <a:pt x="2149" y="284"/>
                  </a:lnTo>
                  <a:lnTo>
                    <a:pt x="2155" y="280"/>
                  </a:lnTo>
                  <a:lnTo>
                    <a:pt x="2161" y="276"/>
                  </a:lnTo>
                  <a:lnTo>
                    <a:pt x="2167" y="272"/>
                  </a:lnTo>
                  <a:lnTo>
                    <a:pt x="2174" y="268"/>
                  </a:lnTo>
                  <a:lnTo>
                    <a:pt x="2181" y="266"/>
                  </a:lnTo>
                  <a:lnTo>
                    <a:pt x="2190" y="265"/>
                  </a:lnTo>
                  <a:lnTo>
                    <a:pt x="2201" y="265"/>
                  </a:lnTo>
                  <a:lnTo>
                    <a:pt x="2213" y="267"/>
                  </a:lnTo>
                  <a:lnTo>
                    <a:pt x="2223" y="270"/>
                  </a:lnTo>
                  <a:lnTo>
                    <a:pt x="2232" y="273"/>
                  </a:lnTo>
                  <a:lnTo>
                    <a:pt x="2252" y="281"/>
                  </a:lnTo>
                  <a:lnTo>
                    <a:pt x="2275" y="288"/>
                  </a:lnTo>
                  <a:lnTo>
                    <a:pt x="2270" y="297"/>
                  </a:lnTo>
                  <a:lnTo>
                    <a:pt x="2268" y="304"/>
                  </a:lnTo>
                  <a:lnTo>
                    <a:pt x="2267" y="312"/>
                  </a:lnTo>
                  <a:lnTo>
                    <a:pt x="2267" y="322"/>
                  </a:lnTo>
                  <a:lnTo>
                    <a:pt x="2267" y="327"/>
                  </a:lnTo>
                  <a:lnTo>
                    <a:pt x="2268" y="332"/>
                  </a:lnTo>
                  <a:lnTo>
                    <a:pt x="2270" y="336"/>
                  </a:lnTo>
                  <a:lnTo>
                    <a:pt x="2273" y="340"/>
                  </a:lnTo>
                  <a:lnTo>
                    <a:pt x="2279" y="347"/>
                  </a:lnTo>
                  <a:lnTo>
                    <a:pt x="2287" y="354"/>
                  </a:lnTo>
                  <a:lnTo>
                    <a:pt x="2295" y="360"/>
                  </a:lnTo>
                  <a:lnTo>
                    <a:pt x="2305" y="365"/>
                  </a:lnTo>
                  <a:lnTo>
                    <a:pt x="2314" y="372"/>
                  </a:lnTo>
                  <a:lnTo>
                    <a:pt x="2322" y="380"/>
                  </a:lnTo>
                  <a:lnTo>
                    <a:pt x="2329" y="390"/>
                  </a:lnTo>
                  <a:lnTo>
                    <a:pt x="2334" y="400"/>
                  </a:lnTo>
                  <a:lnTo>
                    <a:pt x="2340" y="409"/>
                  </a:lnTo>
                  <a:lnTo>
                    <a:pt x="2343" y="420"/>
                  </a:lnTo>
                  <a:lnTo>
                    <a:pt x="2346" y="441"/>
                  </a:lnTo>
                  <a:lnTo>
                    <a:pt x="2348" y="465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ru-RU" altLang="ru-RU" sz="675" dirty="0">
                <a:latin typeface="Calibri" panose="020F0502020204030204" pitchFamily="34" charset="0"/>
              </a:endParaRPr>
            </a:p>
          </p:txBody>
        </p:sp>
        <p:sp>
          <p:nvSpPr>
            <p:cNvPr id="36" name="Zakarpattya"/>
            <p:cNvSpPr>
              <a:spLocks/>
            </p:cNvSpPr>
            <p:nvPr/>
          </p:nvSpPr>
          <p:spPr bwMode="auto">
            <a:xfrm>
              <a:off x="535" y="2207"/>
              <a:ext cx="602" cy="482"/>
            </a:xfrm>
            <a:custGeom>
              <a:avLst/>
              <a:gdLst>
                <a:gd name="T0" fmla="*/ 372 w 1994"/>
                <a:gd name="T1" fmla="*/ 226 h 1659"/>
                <a:gd name="T2" fmla="*/ 372 w 1994"/>
                <a:gd name="T3" fmla="*/ 226 h 1659"/>
                <a:gd name="T4" fmla="*/ 372 w 1994"/>
                <a:gd name="T5" fmla="*/ 226 h 1659"/>
                <a:gd name="T6" fmla="*/ 372 w 1994"/>
                <a:gd name="T7" fmla="*/ 226 h 1659"/>
                <a:gd name="T8" fmla="*/ 372 w 1994"/>
                <a:gd name="T9" fmla="*/ 226 h 1659"/>
                <a:gd name="T10" fmla="*/ 372 w 1994"/>
                <a:gd name="T11" fmla="*/ 226 h 1659"/>
                <a:gd name="T12" fmla="*/ 372 w 1994"/>
                <a:gd name="T13" fmla="*/ 226 h 1659"/>
                <a:gd name="T14" fmla="*/ 372 w 1994"/>
                <a:gd name="T15" fmla="*/ 226 h 1659"/>
                <a:gd name="T16" fmla="*/ 372 w 1994"/>
                <a:gd name="T17" fmla="*/ 226 h 1659"/>
                <a:gd name="T18" fmla="*/ 372 w 1994"/>
                <a:gd name="T19" fmla="*/ 226 h 1659"/>
                <a:gd name="T20" fmla="*/ 372 w 1994"/>
                <a:gd name="T21" fmla="*/ 226 h 1659"/>
                <a:gd name="T22" fmla="*/ 372 w 1994"/>
                <a:gd name="T23" fmla="*/ 226 h 1659"/>
                <a:gd name="T24" fmla="*/ 372 w 1994"/>
                <a:gd name="T25" fmla="*/ 226 h 1659"/>
                <a:gd name="T26" fmla="*/ 372 w 1994"/>
                <a:gd name="T27" fmla="*/ 226 h 1659"/>
                <a:gd name="T28" fmla="*/ 372 w 1994"/>
                <a:gd name="T29" fmla="*/ 226 h 1659"/>
                <a:gd name="T30" fmla="*/ 372 w 1994"/>
                <a:gd name="T31" fmla="*/ 226 h 1659"/>
                <a:gd name="T32" fmla="*/ 372 w 1994"/>
                <a:gd name="T33" fmla="*/ 226 h 1659"/>
                <a:gd name="T34" fmla="*/ 372 w 1994"/>
                <a:gd name="T35" fmla="*/ 226 h 1659"/>
                <a:gd name="T36" fmla="*/ 372 w 1994"/>
                <a:gd name="T37" fmla="*/ 226 h 1659"/>
                <a:gd name="T38" fmla="*/ 372 w 1994"/>
                <a:gd name="T39" fmla="*/ 226 h 1659"/>
                <a:gd name="T40" fmla="*/ 372 w 1994"/>
                <a:gd name="T41" fmla="*/ 226 h 1659"/>
                <a:gd name="T42" fmla="*/ 372 w 1994"/>
                <a:gd name="T43" fmla="*/ 226 h 1659"/>
                <a:gd name="T44" fmla="*/ 372 w 1994"/>
                <a:gd name="T45" fmla="*/ 226 h 1659"/>
                <a:gd name="T46" fmla="*/ 372 w 1994"/>
                <a:gd name="T47" fmla="*/ 226 h 1659"/>
                <a:gd name="T48" fmla="*/ 372 w 1994"/>
                <a:gd name="T49" fmla="*/ 226 h 1659"/>
                <a:gd name="T50" fmla="*/ 372 w 1994"/>
                <a:gd name="T51" fmla="*/ 226 h 1659"/>
                <a:gd name="T52" fmla="*/ 372 w 1994"/>
                <a:gd name="T53" fmla="*/ 226 h 1659"/>
                <a:gd name="T54" fmla="*/ 372 w 1994"/>
                <a:gd name="T55" fmla="*/ 226 h 1659"/>
                <a:gd name="T56" fmla="*/ 372 w 1994"/>
                <a:gd name="T57" fmla="*/ 226 h 1659"/>
                <a:gd name="T58" fmla="*/ 372 w 1994"/>
                <a:gd name="T59" fmla="*/ 226 h 1659"/>
                <a:gd name="T60" fmla="*/ 372 w 1994"/>
                <a:gd name="T61" fmla="*/ 226 h 1659"/>
                <a:gd name="T62" fmla="*/ 372 w 1994"/>
                <a:gd name="T63" fmla="*/ 226 h 1659"/>
                <a:gd name="T64" fmla="*/ 372 w 1994"/>
                <a:gd name="T65" fmla="*/ 226 h 1659"/>
                <a:gd name="T66" fmla="*/ 372 w 1994"/>
                <a:gd name="T67" fmla="*/ 226 h 1659"/>
                <a:gd name="T68" fmla="*/ 372 w 1994"/>
                <a:gd name="T69" fmla="*/ 226 h 1659"/>
                <a:gd name="T70" fmla="*/ 372 w 1994"/>
                <a:gd name="T71" fmla="*/ 226 h 1659"/>
                <a:gd name="T72" fmla="*/ 372 w 1994"/>
                <a:gd name="T73" fmla="*/ 226 h 1659"/>
                <a:gd name="T74" fmla="*/ 372 w 1994"/>
                <a:gd name="T75" fmla="*/ 0 h 1659"/>
                <a:gd name="T76" fmla="*/ 372 w 1994"/>
                <a:gd name="T77" fmla="*/ 226 h 1659"/>
                <a:gd name="T78" fmla="*/ 372 w 1994"/>
                <a:gd name="T79" fmla="*/ 226 h 1659"/>
                <a:gd name="T80" fmla="*/ 372 w 1994"/>
                <a:gd name="T81" fmla="*/ 226 h 1659"/>
                <a:gd name="T82" fmla="*/ 372 w 1994"/>
                <a:gd name="T83" fmla="*/ 226 h 1659"/>
                <a:gd name="T84" fmla="*/ 372 w 1994"/>
                <a:gd name="T85" fmla="*/ 226 h 1659"/>
                <a:gd name="T86" fmla="*/ 372 w 1994"/>
                <a:gd name="T87" fmla="*/ 226 h 1659"/>
                <a:gd name="T88" fmla="*/ 372 w 1994"/>
                <a:gd name="T89" fmla="*/ 226 h 1659"/>
                <a:gd name="T90" fmla="*/ 372 w 1994"/>
                <a:gd name="T91" fmla="*/ 226 h 1659"/>
                <a:gd name="T92" fmla="*/ 372 w 1994"/>
                <a:gd name="T93" fmla="*/ 226 h 1659"/>
                <a:gd name="T94" fmla="*/ 372 w 1994"/>
                <a:gd name="T95" fmla="*/ 226 h 1659"/>
                <a:gd name="T96" fmla="*/ 372 w 1994"/>
                <a:gd name="T97" fmla="*/ 226 h 1659"/>
                <a:gd name="T98" fmla="*/ 372 w 1994"/>
                <a:gd name="T99" fmla="*/ 226 h 1659"/>
                <a:gd name="T100" fmla="*/ 372 w 1994"/>
                <a:gd name="T101" fmla="*/ 226 h 1659"/>
                <a:gd name="T102" fmla="*/ 372 w 1994"/>
                <a:gd name="T103" fmla="*/ 226 h 1659"/>
                <a:gd name="T104" fmla="*/ 372 w 1994"/>
                <a:gd name="T105" fmla="*/ 226 h 1659"/>
                <a:gd name="T106" fmla="*/ 372 w 1994"/>
                <a:gd name="T107" fmla="*/ 226 h 1659"/>
                <a:gd name="T108" fmla="*/ 372 w 1994"/>
                <a:gd name="T109" fmla="*/ 226 h 1659"/>
                <a:gd name="T110" fmla="*/ 372 w 1994"/>
                <a:gd name="T111" fmla="*/ 226 h 1659"/>
                <a:gd name="T112" fmla="*/ 372 w 1994"/>
                <a:gd name="T113" fmla="*/ 226 h 1659"/>
                <a:gd name="T114" fmla="*/ 372 w 1994"/>
                <a:gd name="T115" fmla="*/ 226 h 1659"/>
                <a:gd name="T116" fmla="*/ 372 w 1994"/>
                <a:gd name="T117" fmla="*/ 226 h 1659"/>
                <a:gd name="T118" fmla="*/ 372 w 1994"/>
                <a:gd name="T119" fmla="*/ 226 h 1659"/>
                <a:gd name="T120" fmla="*/ 372 w 1994"/>
                <a:gd name="T121" fmla="*/ 226 h 1659"/>
                <a:gd name="T122" fmla="*/ 372 w 1994"/>
                <a:gd name="T123" fmla="*/ 226 h 1659"/>
                <a:gd name="T124" fmla="*/ 372 w 1994"/>
                <a:gd name="T125" fmla="*/ 226 h 16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994"/>
                <a:gd name="T190" fmla="*/ 0 h 1659"/>
                <a:gd name="T191" fmla="*/ 1994 w 1994"/>
                <a:gd name="T192" fmla="*/ 1659 h 165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994" h="1659">
                  <a:moveTo>
                    <a:pt x="1994" y="1623"/>
                  </a:moveTo>
                  <a:lnTo>
                    <a:pt x="1987" y="1622"/>
                  </a:lnTo>
                  <a:lnTo>
                    <a:pt x="1981" y="1621"/>
                  </a:lnTo>
                  <a:lnTo>
                    <a:pt x="1970" y="1619"/>
                  </a:lnTo>
                  <a:lnTo>
                    <a:pt x="1959" y="1615"/>
                  </a:lnTo>
                  <a:lnTo>
                    <a:pt x="1951" y="1611"/>
                  </a:lnTo>
                  <a:lnTo>
                    <a:pt x="1942" y="1607"/>
                  </a:lnTo>
                  <a:lnTo>
                    <a:pt x="1933" y="1602"/>
                  </a:lnTo>
                  <a:lnTo>
                    <a:pt x="1924" y="1598"/>
                  </a:lnTo>
                  <a:lnTo>
                    <a:pt x="1914" y="1596"/>
                  </a:lnTo>
                  <a:lnTo>
                    <a:pt x="1903" y="1595"/>
                  </a:lnTo>
                  <a:lnTo>
                    <a:pt x="1896" y="1596"/>
                  </a:lnTo>
                  <a:lnTo>
                    <a:pt x="1891" y="1598"/>
                  </a:lnTo>
                  <a:lnTo>
                    <a:pt x="1887" y="1601"/>
                  </a:lnTo>
                  <a:lnTo>
                    <a:pt x="1883" y="1604"/>
                  </a:lnTo>
                  <a:lnTo>
                    <a:pt x="1875" y="1614"/>
                  </a:lnTo>
                  <a:lnTo>
                    <a:pt x="1865" y="1621"/>
                  </a:lnTo>
                  <a:lnTo>
                    <a:pt x="1842" y="1633"/>
                  </a:lnTo>
                  <a:lnTo>
                    <a:pt x="1821" y="1642"/>
                  </a:lnTo>
                  <a:lnTo>
                    <a:pt x="1810" y="1645"/>
                  </a:lnTo>
                  <a:lnTo>
                    <a:pt x="1798" y="1648"/>
                  </a:lnTo>
                  <a:lnTo>
                    <a:pt x="1786" y="1649"/>
                  </a:lnTo>
                  <a:lnTo>
                    <a:pt x="1773" y="1649"/>
                  </a:lnTo>
                  <a:lnTo>
                    <a:pt x="1762" y="1648"/>
                  </a:lnTo>
                  <a:lnTo>
                    <a:pt x="1754" y="1645"/>
                  </a:lnTo>
                  <a:lnTo>
                    <a:pt x="1745" y="1642"/>
                  </a:lnTo>
                  <a:lnTo>
                    <a:pt x="1735" y="1637"/>
                  </a:lnTo>
                  <a:lnTo>
                    <a:pt x="1669" y="1659"/>
                  </a:lnTo>
                  <a:lnTo>
                    <a:pt x="1656" y="1653"/>
                  </a:lnTo>
                  <a:lnTo>
                    <a:pt x="1644" y="1646"/>
                  </a:lnTo>
                  <a:lnTo>
                    <a:pt x="1632" y="1639"/>
                  </a:lnTo>
                  <a:lnTo>
                    <a:pt x="1622" y="1630"/>
                  </a:lnTo>
                  <a:lnTo>
                    <a:pt x="1601" y="1614"/>
                  </a:lnTo>
                  <a:lnTo>
                    <a:pt x="1582" y="1598"/>
                  </a:lnTo>
                  <a:lnTo>
                    <a:pt x="1573" y="1590"/>
                  </a:lnTo>
                  <a:lnTo>
                    <a:pt x="1562" y="1583"/>
                  </a:lnTo>
                  <a:lnTo>
                    <a:pt x="1552" y="1577"/>
                  </a:lnTo>
                  <a:lnTo>
                    <a:pt x="1542" y="1570"/>
                  </a:lnTo>
                  <a:lnTo>
                    <a:pt x="1530" y="1566"/>
                  </a:lnTo>
                  <a:lnTo>
                    <a:pt x="1518" y="1562"/>
                  </a:lnTo>
                  <a:lnTo>
                    <a:pt x="1504" y="1560"/>
                  </a:lnTo>
                  <a:lnTo>
                    <a:pt x="1490" y="1560"/>
                  </a:lnTo>
                  <a:lnTo>
                    <a:pt x="1484" y="1560"/>
                  </a:lnTo>
                  <a:lnTo>
                    <a:pt x="1478" y="1561"/>
                  </a:lnTo>
                  <a:lnTo>
                    <a:pt x="1472" y="1563"/>
                  </a:lnTo>
                  <a:lnTo>
                    <a:pt x="1467" y="1566"/>
                  </a:lnTo>
                  <a:lnTo>
                    <a:pt x="1458" y="1572"/>
                  </a:lnTo>
                  <a:lnTo>
                    <a:pt x="1449" y="1580"/>
                  </a:lnTo>
                  <a:lnTo>
                    <a:pt x="1439" y="1587"/>
                  </a:lnTo>
                  <a:lnTo>
                    <a:pt x="1430" y="1593"/>
                  </a:lnTo>
                  <a:lnTo>
                    <a:pt x="1425" y="1596"/>
                  </a:lnTo>
                  <a:lnTo>
                    <a:pt x="1420" y="1598"/>
                  </a:lnTo>
                  <a:lnTo>
                    <a:pt x="1414" y="1599"/>
                  </a:lnTo>
                  <a:lnTo>
                    <a:pt x="1408" y="1599"/>
                  </a:lnTo>
                  <a:lnTo>
                    <a:pt x="1401" y="1599"/>
                  </a:lnTo>
                  <a:lnTo>
                    <a:pt x="1396" y="1597"/>
                  </a:lnTo>
                  <a:lnTo>
                    <a:pt x="1391" y="1594"/>
                  </a:lnTo>
                  <a:lnTo>
                    <a:pt x="1387" y="1590"/>
                  </a:lnTo>
                  <a:lnTo>
                    <a:pt x="1380" y="1580"/>
                  </a:lnTo>
                  <a:lnTo>
                    <a:pt x="1373" y="1568"/>
                  </a:lnTo>
                  <a:lnTo>
                    <a:pt x="1367" y="1556"/>
                  </a:lnTo>
                  <a:lnTo>
                    <a:pt x="1360" y="1546"/>
                  </a:lnTo>
                  <a:lnTo>
                    <a:pt x="1356" y="1541"/>
                  </a:lnTo>
                  <a:lnTo>
                    <a:pt x="1351" y="1538"/>
                  </a:lnTo>
                  <a:lnTo>
                    <a:pt x="1345" y="1536"/>
                  </a:lnTo>
                  <a:lnTo>
                    <a:pt x="1338" y="1536"/>
                  </a:lnTo>
                  <a:lnTo>
                    <a:pt x="1273" y="1536"/>
                  </a:lnTo>
                  <a:lnTo>
                    <a:pt x="1253" y="1535"/>
                  </a:lnTo>
                  <a:lnTo>
                    <a:pt x="1233" y="1534"/>
                  </a:lnTo>
                  <a:lnTo>
                    <a:pt x="1215" y="1531"/>
                  </a:lnTo>
                  <a:lnTo>
                    <a:pt x="1197" y="1526"/>
                  </a:lnTo>
                  <a:lnTo>
                    <a:pt x="1188" y="1523"/>
                  </a:lnTo>
                  <a:lnTo>
                    <a:pt x="1180" y="1520"/>
                  </a:lnTo>
                  <a:lnTo>
                    <a:pt x="1172" y="1516"/>
                  </a:lnTo>
                  <a:lnTo>
                    <a:pt x="1164" y="1510"/>
                  </a:lnTo>
                  <a:lnTo>
                    <a:pt x="1156" y="1505"/>
                  </a:lnTo>
                  <a:lnTo>
                    <a:pt x="1149" y="1499"/>
                  </a:lnTo>
                  <a:lnTo>
                    <a:pt x="1141" y="1492"/>
                  </a:lnTo>
                  <a:lnTo>
                    <a:pt x="1134" y="1484"/>
                  </a:lnTo>
                  <a:lnTo>
                    <a:pt x="1083" y="1496"/>
                  </a:lnTo>
                  <a:lnTo>
                    <a:pt x="1067" y="1488"/>
                  </a:lnTo>
                  <a:lnTo>
                    <a:pt x="1052" y="1482"/>
                  </a:lnTo>
                  <a:lnTo>
                    <a:pt x="1030" y="1472"/>
                  </a:lnTo>
                  <a:lnTo>
                    <a:pt x="1009" y="1465"/>
                  </a:lnTo>
                  <a:lnTo>
                    <a:pt x="999" y="1461"/>
                  </a:lnTo>
                  <a:lnTo>
                    <a:pt x="989" y="1456"/>
                  </a:lnTo>
                  <a:lnTo>
                    <a:pt x="980" y="1451"/>
                  </a:lnTo>
                  <a:lnTo>
                    <a:pt x="969" y="1444"/>
                  </a:lnTo>
                  <a:lnTo>
                    <a:pt x="962" y="1438"/>
                  </a:lnTo>
                  <a:lnTo>
                    <a:pt x="957" y="1431"/>
                  </a:lnTo>
                  <a:lnTo>
                    <a:pt x="952" y="1424"/>
                  </a:lnTo>
                  <a:lnTo>
                    <a:pt x="949" y="1417"/>
                  </a:lnTo>
                  <a:lnTo>
                    <a:pt x="944" y="1409"/>
                  </a:lnTo>
                  <a:lnTo>
                    <a:pt x="940" y="1402"/>
                  </a:lnTo>
                  <a:lnTo>
                    <a:pt x="935" y="1395"/>
                  </a:lnTo>
                  <a:lnTo>
                    <a:pt x="929" y="1388"/>
                  </a:lnTo>
                  <a:lnTo>
                    <a:pt x="924" y="1383"/>
                  </a:lnTo>
                  <a:lnTo>
                    <a:pt x="919" y="1380"/>
                  </a:lnTo>
                  <a:lnTo>
                    <a:pt x="913" y="1378"/>
                  </a:lnTo>
                  <a:lnTo>
                    <a:pt x="907" y="1377"/>
                  </a:lnTo>
                  <a:lnTo>
                    <a:pt x="895" y="1374"/>
                  </a:lnTo>
                  <a:lnTo>
                    <a:pt x="882" y="1371"/>
                  </a:lnTo>
                  <a:lnTo>
                    <a:pt x="876" y="1368"/>
                  </a:lnTo>
                  <a:lnTo>
                    <a:pt x="872" y="1364"/>
                  </a:lnTo>
                  <a:lnTo>
                    <a:pt x="869" y="1360"/>
                  </a:lnTo>
                  <a:lnTo>
                    <a:pt x="866" y="1355"/>
                  </a:lnTo>
                  <a:lnTo>
                    <a:pt x="861" y="1344"/>
                  </a:lnTo>
                  <a:lnTo>
                    <a:pt x="857" y="1333"/>
                  </a:lnTo>
                  <a:lnTo>
                    <a:pt x="853" y="1323"/>
                  </a:lnTo>
                  <a:lnTo>
                    <a:pt x="848" y="1313"/>
                  </a:lnTo>
                  <a:lnTo>
                    <a:pt x="844" y="1310"/>
                  </a:lnTo>
                  <a:lnTo>
                    <a:pt x="840" y="1307"/>
                  </a:lnTo>
                  <a:lnTo>
                    <a:pt x="835" y="1305"/>
                  </a:lnTo>
                  <a:lnTo>
                    <a:pt x="830" y="1305"/>
                  </a:lnTo>
                  <a:lnTo>
                    <a:pt x="821" y="1305"/>
                  </a:lnTo>
                  <a:lnTo>
                    <a:pt x="811" y="1307"/>
                  </a:lnTo>
                  <a:lnTo>
                    <a:pt x="803" y="1310"/>
                  </a:lnTo>
                  <a:lnTo>
                    <a:pt x="796" y="1314"/>
                  </a:lnTo>
                  <a:lnTo>
                    <a:pt x="790" y="1318"/>
                  </a:lnTo>
                  <a:lnTo>
                    <a:pt x="784" y="1325"/>
                  </a:lnTo>
                  <a:lnTo>
                    <a:pt x="777" y="1331"/>
                  </a:lnTo>
                  <a:lnTo>
                    <a:pt x="772" y="1338"/>
                  </a:lnTo>
                  <a:lnTo>
                    <a:pt x="763" y="1355"/>
                  </a:lnTo>
                  <a:lnTo>
                    <a:pt x="755" y="1372"/>
                  </a:lnTo>
                  <a:lnTo>
                    <a:pt x="746" y="1390"/>
                  </a:lnTo>
                  <a:lnTo>
                    <a:pt x="738" y="1408"/>
                  </a:lnTo>
                  <a:lnTo>
                    <a:pt x="732" y="1425"/>
                  </a:lnTo>
                  <a:lnTo>
                    <a:pt x="726" y="1440"/>
                  </a:lnTo>
                  <a:lnTo>
                    <a:pt x="722" y="1446"/>
                  </a:lnTo>
                  <a:lnTo>
                    <a:pt x="717" y="1452"/>
                  </a:lnTo>
                  <a:lnTo>
                    <a:pt x="713" y="1453"/>
                  </a:lnTo>
                  <a:lnTo>
                    <a:pt x="710" y="1455"/>
                  </a:lnTo>
                  <a:lnTo>
                    <a:pt x="707" y="1456"/>
                  </a:lnTo>
                  <a:lnTo>
                    <a:pt x="703" y="1456"/>
                  </a:lnTo>
                  <a:lnTo>
                    <a:pt x="692" y="1455"/>
                  </a:lnTo>
                  <a:lnTo>
                    <a:pt x="683" y="1452"/>
                  </a:lnTo>
                  <a:lnTo>
                    <a:pt x="674" y="1447"/>
                  </a:lnTo>
                  <a:lnTo>
                    <a:pt x="666" y="1442"/>
                  </a:lnTo>
                  <a:lnTo>
                    <a:pt x="658" y="1438"/>
                  </a:lnTo>
                  <a:lnTo>
                    <a:pt x="650" y="1434"/>
                  </a:lnTo>
                  <a:lnTo>
                    <a:pt x="640" y="1431"/>
                  </a:lnTo>
                  <a:lnTo>
                    <a:pt x="630" y="1430"/>
                  </a:lnTo>
                  <a:lnTo>
                    <a:pt x="624" y="1431"/>
                  </a:lnTo>
                  <a:lnTo>
                    <a:pt x="620" y="1432"/>
                  </a:lnTo>
                  <a:lnTo>
                    <a:pt x="614" y="1435"/>
                  </a:lnTo>
                  <a:lnTo>
                    <a:pt x="610" y="1438"/>
                  </a:lnTo>
                  <a:lnTo>
                    <a:pt x="606" y="1441"/>
                  </a:lnTo>
                  <a:lnTo>
                    <a:pt x="602" y="1443"/>
                  </a:lnTo>
                  <a:lnTo>
                    <a:pt x="598" y="1445"/>
                  </a:lnTo>
                  <a:lnTo>
                    <a:pt x="592" y="1446"/>
                  </a:lnTo>
                  <a:lnTo>
                    <a:pt x="588" y="1446"/>
                  </a:lnTo>
                  <a:lnTo>
                    <a:pt x="583" y="1445"/>
                  </a:lnTo>
                  <a:lnTo>
                    <a:pt x="578" y="1443"/>
                  </a:lnTo>
                  <a:lnTo>
                    <a:pt x="575" y="1441"/>
                  </a:lnTo>
                  <a:lnTo>
                    <a:pt x="569" y="1437"/>
                  </a:lnTo>
                  <a:lnTo>
                    <a:pt x="563" y="1430"/>
                  </a:lnTo>
                  <a:lnTo>
                    <a:pt x="554" y="1414"/>
                  </a:lnTo>
                  <a:lnTo>
                    <a:pt x="544" y="1397"/>
                  </a:lnTo>
                  <a:lnTo>
                    <a:pt x="554" y="1387"/>
                  </a:lnTo>
                  <a:lnTo>
                    <a:pt x="561" y="1376"/>
                  </a:lnTo>
                  <a:lnTo>
                    <a:pt x="563" y="1371"/>
                  </a:lnTo>
                  <a:lnTo>
                    <a:pt x="565" y="1365"/>
                  </a:lnTo>
                  <a:lnTo>
                    <a:pt x="566" y="1359"/>
                  </a:lnTo>
                  <a:lnTo>
                    <a:pt x="566" y="1351"/>
                  </a:lnTo>
                  <a:lnTo>
                    <a:pt x="565" y="1345"/>
                  </a:lnTo>
                  <a:lnTo>
                    <a:pt x="563" y="1339"/>
                  </a:lnTo>
                  <a:lnTo>
                    <a:pt x="560" y="1334"/>
                  </a:lnTo>
                  <a:lnTo>
                    <a:pt x="556" y="1330"/>
                  </a:lnTo>
                  <a:lnTo>
                    <a:pt x="551" y="1325"/>
                  </a:lnTo>
                  <a:lnTo>
                    <a:pt x="545" y="1320"/>
                  </a:lnTo>
                  <a:lnTo>
                    <a:pt x="541" y="1315"/>
                  </a:lnTo>
                  <a:lnTo>
                    <a:pt x="538" y="1309"/>
                  </a:lnTo>
                  <a:lnTo>
                    <a:pt x="532" y="1300"/>
                  </a:lnTo>
                  <a:lnTo>
                    <a:pt x="527" y="1291"/>
                  </a:lnTo>
                  <a:lnTo>
                    <a:pt x="521" y="1281"/>
                  </a:lnTo>
                  <a:lnTo>
                    <a:pt x="514" y="1273"/>
                  </a:lnTo>
                  <a:lnTo>
                    <a:pt x="507" y="1267"/>
                  </a:lnTo>
                  <a:lnTo>
                    <a:pt x="499" y="1262"/>
                  </a:lnTo>
                  <a:lnTo>
                    <a:pt x="495" y="1260"/>
                  </a:lnTo>
                  <a:lnTo>
                    <a:pt x="490" y="1259"/>
                  </a:lnTo>
                  <a:lnTo>
                    <a:pt x="485" y="1257"/>
                  </a:lnTo>
                  <a:lnTo>
                    <a:pt x="478" y="1257"/>
                  </a:lnTo>
                  <a:lnTo>
                    <a:pt x="464" y="1259"/>
                  </a:lnTo>
                  <a:lnTo>
                    <a:pt x="449" y="1261"/>
                  </a:lnTo>
                  <a:lnTo>
                    <a:pt x="437" y="1264"/>
                  </a:lnTo>
                  <a:lnTo>
                    <a:pt x="425" y="1267"/>
                  </a:lnTo>
                  <a:lnTo>
                    <a:pt x="412" y="1270"/>
                  </a:lnTo>
                  <a:lnTo>
                    <a:pt x="399" y="1273"/>
                  </a:lnTo>
                  <a:lnTo>
                    <a:pt x="386" y="1275"/>
                  </a:lnTo>
                  <a:lnTo>
                    <a:pt x="370" y="1276"/>
                  </a:lnTo>
                  <a:lnTo>
                    <a:pt x="366" y="1276"/>
                  </a:lnTo>
                  <a:lnTo>
                    <a:pt x="362" y="1275"/>
                  </a:lnTo>
                  <a:lnTo>
                    <a:pt x="359" y="1273"/>
                  </a:lnTo>
                  <a:lnTo>
                    <a:pt x="356" y="1270"/>
                  </a:lnTo>
                  <a:lnTo>
                    <a:pt x="354" y="1267"/>
                  </a:lnTo>
                  <a:lnTo>
                    <a:pt x="352" y="1263"/>
                  </a:lnTo>
                  <a:lnTo>
                    <a:pt x="350" y="1259"/>
                  </a:lnTo>
                  <a:lnTo>
                    <a:pt x="349" y="1254"/>
                  </a:lnTo>
                  <a:lnTo>
                    <a:pt x="348" y="1234"/>
                  </a:lnTo>
                  <a:lnTo>
                    <a:pt x="346" y="1213"/>
                  </a:lnTo>
                  <a:lnTo>
                    <a:pt x="344" y="1199"/>
                  </a:lnTo>
                  <a:lnTo>
                    <a:pt x="341" y="1187"/>
                  </a:lnTo>
                  <a:lnTo>
                    <a:pt x="338" y="1176"/>
                  </a:lnTo>
                  <a:lnTo>
                    <a:pt x="335" y="1164"/>
                  </a:lnTo>
                  <a:lnTo>
                    <a:pt x="332" y="1153"/>
                  </a:lnTo>
                  <a:lnTo>
                    <a:pt x="329" y="1144"/>
                  </a:lnTo>
                  <a:lnTo>
                    <a:pt x="325" y="1137"/>
                  </a:lnTo>
                  <a:lnTo>
                    <a:pt x="321" y="1128"/>
                  </a:lnTo>
                  <a:lnTo>
                    <a:pt x="315" y="1122"/>
                  </a:lnTo>
                  <a:lnTo>
                    <a:pt x="309" y="1116"/>
                  </a:lnTo>
                  <a:lnTo>
                    <a:pt x="304" y="1110"/>
                  </a:lnTo>
                  <a:lnTo>
                    <a:pt x="297" y="1105"/>
                  </a:lnTo>
                  <a:lnTo>
                    <a:pt x="268" y="1084"/>
                  </a:lnTo>
                  <a:lnTo>
                    <a:pt x="234" y="1063"/>
                  </a:lnTo>
                  <a:lnTo>
                    <a:pt x="222" y="1056"/>
                  </a:lnTo>
                  <a:lnTo>
                    <a:pt x="211" y="1049"/>
                  </a:lnTo>
                  <a:lnTo>
                    <a:pt x="202" y="1041"/>
                  </a:lnTo>
                  <a:lnTo>
                    <a:pt x="193" y="1032"/>
                  </a:lnTo>
                  <a:lnTo>
                    <a:pt x="184" y="1024"/>
                  </a:lnTo>
                  <a:lnTo>
                    <a:pt x="177" y="1015"/>
                  </a:lnTo>
                  <a:lnTo>
                    <a:pt x="170" y="1006"/>
                  </a:lnTo>
                  <a:lnTo>
                    <a:pt x="164" y="996"/>
                  </a:lnTo>
                  <a:lnTo>
                    <a:pt x="152" y="977"/>
                  </a:lnTo>
                  <a:lnTo>
                    <a:pt x="142" y="955"/>
                  </a:lnTo>
                  <a:lnTo>
                    <a:pt x="133" y="931"/>
                  </a:lnTo>
                  <a:lnTo>
                    <a:pt x="123" y="905"/>
                  </a:lnTo>
                  <a:lnTo>
                    <a:pt x="121" y="902"/>
                  </a:lnTo>
                  <a:lnTo>
                    <a:pt x="118" y="899"/>
                  </a:lnTo>
                  <a:lnTo>
                    <a:pt x="115" y="896"/>
                  </a:lnTo>
                  <a:lnTo>
                    <a:pt x="111" y="894"/>
                  </a:lnTo>
                  <a:lnTo>
                    <a:pt x="103" y="891"/>
                  </a:lnTo>
                  <a:lnTo>
                    <a:pt x="94" y="889"/>
                  </a:lnTo>
                  <a:lnTo>
                    <a:pt x="85" y="886"/>
                  </a:lnTo>
                  <a:lnTo>
                    <a:pt x="78" y="883"/>
                  </a:lnTo>
                  <a:lnTo>
                    <a:pt x="75" y="881"/>
                  </a:lnTo>
                  <a:lnTo>
                    <a:pt x="73" y="877"/>
                  </a:lnTo>
                  <a:lnTo>
                    <a:pt x="71" y="874"/>
                  </a:lnTo>
                  <a:lnTo>
                    <a:pt x="71" y="870"/>
                  </a:lnTo>
                  <a:lnTo>
                    <a:pt x="74" y="857"/>
                  </a:lnTo>
                  <a:lnTo>
                    <a:pt x="78" y="842"/>
                  </a:lnTo>
                  <a:lnTo>
                    <a:pt x="78" y="822"/>
                  </a:lnTo>
                  <a:lnTo>
                    <a:pt x="62" y="822"/>
                  </a:lnTo>
                  <a:lnTo>
                    <a:pt x="47" y="823"/>
                  </a:lnTo>
                  <a:lnTo>
                    <a:pt x="32" y="822"/>
                  </a:lnTo>
                  <a:lnTo>
                    <a:pt x="16" y="819"/>
                  </a:lnTo>
                  <a:lnTo>
                    <a:pt x="10" y="797"/>
                  </a:lnTo>
                  <a:lnTo>
                    <a:pt x="5" y="779"/>
                  </a:lnTo>
                  <a:lnTo>
                    <a:pt x="3" y="770"/>
                  </a:lnTo>
                  <a:lnTo>
                    <a:pt x="1" y="761"/>
                  </a:lnTo>
                  <a:lnTo>
                    <a:pt x="1" y="749"/>
                  </a:lnTo>
                  <a:lnTo>
                    <a:pt x="0" y="738"/>
                  </a:lnTo>
                  <a:lnTo>
                    <a:pt x="1" y="733"/>
                  </a:lnTo>
                  <a:lnTo>
                    <a:pt x="2" y="729"/>
                  </a:lnTo>
                  <a:lnTo>
                    <a:pt x="3" y="724"/>
                  </a:lnTo>
                  <a:lnTo>
                    <a:pt x="5" y="719"/>
                  </a:lnTo>
                  <a:lnTo>
                    <a:pt x="9" y="712"/>
                  </a:lnTo>
                  <a:lnTo>
                    <a:pt x="14" y="705"/>
                  </a:lnTo>
                  <a:lnTo>
                    <a:pt x="19" y="698"/>
                  </a:lnTo>
                  <a:lnTo>
                    <a:pt x="25" y="691"/>
                  </a:lnTo>
                  <a:lnTo>
                    <a:pt x="26" y="686"/>
                  </a:lnTo>
                  <a:lnTo>
                    <a:pt x="28" y="681"/>
                  </a:lnTo>
                  <a:lnTo>
                    <a:pt x="28" y="677"/>
                  </a:lnTo>
                  <a:lnTo>
                    <a:pt x="29" y="672"/>
                  </a:lnTo>
                  <a:lnTo>
                    <a:pt x="28" y="663"/>
                  </a:lnTo>
                  <a:lnTo>
                    <a:pt x="26" y="653"/>
                  </a:lnTo>
                  <a:lnTo>
                    <a:pt x="23" y="645"/>
                  </a:lnTo>
                  <a:lnTo>
                    <a:pt x="19" y="638"/>
                  </a:lnTo>
                  <a:lnTo>
                    <a:pt x="15" y="630"/>
                  </a:lnTo>
                  <a:lnTo>
                    <a:pt x="12" y="622"/>
                  </a:lnTo>
                  <a:lnTo>
                    <a:pt x="10" y="613"/>
                  </a:lnTo>
                  <a:lnTo>
                    <a:pt x="10" y="604"/>
                  </a:lnTo>
                  <a:lnTo>
                    <a:pt x="36" y="588"/>
                  </a:lnTo>
                  <a:lnTo>
                    <a:pt x="62" y="575"/>
                  </a:lnTo>
                  <a:lnTo>
                    <a:pt x="85" y="561"/>
                  </a:lnTo>
                  <a:lnTo>
                    <a:pt x="107" y="548"/>
                  </a:lnTo>
                  <a:lnTo>
                    <a:pt x="118" y="542"/>
                  </a:lnTo>
                  <a:lnTo>
                    <a:pt x="129" y="535"/>
                  </a:lnTo>
                  <a:lnTo>
                    <a:pt x="139" y="526"/>
                  </a:lnTo>
                  <a:lnTo>
                    <a:pt x="149" y="518"/>
                  </a:lnTo>
                  <a:lnTo>
                    <a:pt x="160" y="509"/>
                  </a:lnTo>
                  <a:lnTo>
                    <a:pt x="169" y="498"/>
                  </a:lnTo>
                  <a:lnTo>
                    <a:pt x="179" y="488"/>
                  </a:lnTo>
                  <a:lnTo>
                    <a:pt x="189" y="476"/>
                  </a:lnTo>
                  <a:lnTo>
                    <a:pt x="194" y="469"/>
                  </a:lnTo>
                  <a:lnTo>
                    <a:pt x="197" y="460"/>
                  </a:lnTo>
                  <a:lnTo>
                    <a:pt x="198" y="452"/>
                  </a:lnTo>
                  <a:lnTo>
                    <a:pt x="198" y="444"/>
                  </a:lnTo>
                  <a:lnTo>
                    <a:pt x="198" y="435"/>
                  </a:lnTo>
                  <a:lnTo>
                    <a:pt x="198" y="426"/>
                  </a:lnTo>
                  <a:lnTo>
                    <a:pt x="199" y="417"/>
                  </a:lnTo>
                  <a:lnTo>
                    <a:pt x="201" y="408"/>
                  </a:lnTo>
                  <a:lnTo>
                    <a:pt x="205" y="397"/>
                  </a:lnTo>
                  <a:lnTo>
                    <a:pt x="210" y="388"/>
                  </a:lnTo>
                  <a:lnTo>
                    <a:pt x="216" y="380"/>
                  </a:lnTo>
                  <a:lnTo>
                    <a:pt x="224" y="373"/>
                  </a:lnTo>
                  <a:lnTo>
                    <a:pt x="230" y="365"/>
                  </a:lnTo>
                  <a:lnTo>
                    <a:pt x="236" y="357"/>
                  </a:lnTo>
                  <a:lnTo>
                    <a:pt x="238" y="353"/>
                  </a:lnTo>
                  <a:lnTo>
                    <a:pt x="240" y="348"/>
                  </a:lnTo>
                  <a:lnTo>
                    <a:pt x="242" y="343"/>
                  </a:lnTo>
                  <a:lnTo>
                    <a:pt x="243" y="336"/>
                  </a:lnTo>
                  <a:lnTo>
                    <a:pt x="244" y="317"/>
                  </a:lnTo>
                  <a:lnTo>
                    <a:pt x="243" y="298"/>
                  </a:lnTo>
                  <a:lnTo>
                    <a:pt x="243" y="289"/>
                  </a:lnTo>
                  <a:lnTo>
                    <a:pt x="245" y="281"/>
                  </a:lnTo>
                  <a:lnTo>
                    <a:pt x="246" y="277"/>
                  </a:lnTo>
                  <a:lnTo>
                    <a:pt x="248" y="273"/>
                  </a:lnTo>
                  <a:lnTo>
                    <a:pt x="251" y="269"/>
                  </a:lnTo>
                  <a:lnTo>
                    <a:pt x="255" y="266"/>
                  </a:lnTo>
                  <a:lnTo>
                    <a:pt x="271" y="251"/>
                  </a:lnTo>
                  <a:lnTo>
                    <a:pt x="286" y="235"/>
                  </a:lnTo>
                  <a:lnTo>
                    <a:pt x="298" y="220"/>
                  </a:lnTo>
                  <a:lnTo>
                    <a:pt x="309" y="204"/>
                  </a:lnTo>
                  <a:lnTo>
                    <a:pt x="320" y="188"/>
                  </a:lnTo>
                  <a:lnTo>
                    <a:pt x="329" y="170"/>
                  </a:lnTo>
                  <a:lnTo>
                    <a:pt x="337" y="150"/>
                  </a:lnTo>
                  <a:lnTo>
                    <a:pt x="344" y="129"/>
                  </a:lnTo>
                  <a:lnTo>
                    <a:pt x="340" y="110"/>
                  </a:lnTo>
                  <a:lnTo>
                    <a:pt x="346" y="106"/>
                  </a:lnTo>
                  <a:lnTo>
                    <a:pt x="354" y="103"/>
                  </a:lnTo>
                  <a:lnTo>
                    <a:pt x="372" y="105"/>
                  </a:lnTo>
                  <a:lnTo>
                    <a:pt x="390" y="108"/>
                  </a:lnTo>
                  <a:lnTo>
                    <a:pt x="397" y="108"/>
                  </a:lnTo>
                  <a:lnTo>
                    <a:pt x="404" y="107"/>
                  </a:lnTo>
                  <a:lnTo>
                    <a:pt x="408" y="106"/>
                  </a:lnTo>
                  <a:lnTo>
                    <a:pt x="411" y="104"/>
                  </a:lnTo>
                  <a:lnTo>
                    <a:pt x="414" y="102"/>
                  </a:lnTo>
                  <a:lnTo>
                    <a:pt x="418" y="99"/>
                  </a:lnTo>
                  <a:lnTo>
                    <a:pt x="422" y="94"/>
                  </a:lnTo>
                  <a:lnTo>
                    <a:pt x="425" y="89"/>
                  </a:lnTo>
                  <a:lnTo>
                    <a:pt x="427" y="83"/>
                  </a:lnTo>
                  <a:lnTo>
                    <a:pt x="429" y="78"/>
                  </a:lnTo>
                  <a:lnTo>
                    <a:pt x="431" y="68"/>
                  </a:lnTo>
                  <a:lnTo>
                    <a:pt x="432" y="57"/>
                  </a:lnTo>
                  <a:lnTo>
                    <a:pt x="431" y="34"/>
                  </a:lnTo>
                  <a:lnTo>
                    <a:pt x="432" y="9"/>
                  </a:lnTo>
                  <a:lnTo>
                    <a:pt x="445" y="3"/>
                  </a:lnTo>
                  <a:lnTo>
                    <a:pt x="460" y="0"/>
                  </a:lnTo>
                  <a:lnTo>
                    <a:pt x="473" y="0"/>
                  </a:lnTo>
                  <a:lnTo>
                    <a:pt x="485" y="3"/>
                  </a:lnTo>
                  <a:lnTo>
                    <a:pt x="496" y="7"/>
                  </a:lnTo>
                  <a:lnTo>
                    <a:pt x="505" y="12"/>
                  </a:lnTo>
                  <a:lnTo>
                    <a:pt x="515" y="18"/>
                  </a:lnTo>
                  <a:lnTo>
                    <a:pt x="525" y="26"/>
                  </a:lnTo>
                  <a:lnTo>
                    <a:pt x="533" y="33"/>
                  </a:lnTo>
                  <a:lnTo>
                    <a:pt x="542" y="41"/>
                  </a:lnTo>
                  <a:lnTo>
                    <a:pt x="551" y="48"/>
                  </a:lnTo>
                  <a:lnTo>
                    <a:pt x="560" y="55"/>
                  </a:lnTo>
                  <a:lnTo>
                    <a:pt x="568" y="63"/>
                  </a:lnTo>
                  <a:lnTo>
                    <a:pt x="578" y="69"/>
                  </a:lnTo>
                  <a:lnTo>
                    <a:pt x="589" y="74"/>
                  </a:lnTo>
                  <a:lnTo>
                    <a:pt x="599" y="78"/>
                  </a:lnTo>
                  <a:lnTo>
                    <a:pt x="611" y="81"/>
                  </a:lnTo>
                  <a:lnTo>
                    <a:pt x="624" y="82"/>
                  </a:lnTo>
                  <a:lnTo>
                    <a:pt x="630" y="81"/>
                  </a:lnTo>
                  <a:lnTo>
                    <a:pt x="635" y="79"/>
                  </a:lnTo>
                  <a:lnTo>
                    <a:pt x="640" y="77"/>
                  </a:lnTo>
                  <a:lnTo>
                    <a:pt x="644" y="73"/>
                  </a:lnTo>
                  <a:lnTo>
                    <a:pt x="668" y="84"/>
                  </a:lnTo>
                  <a:lnTo>
                    <a:pt x="691" y="97"/>
                  </a:lnTo>
                  <a:lnTo>
                    <a:pt x="696" y="100"/>
                  </a:lnTo>
                  <a:lnTo>
                    <a:pt x="700" y="103"/>
                  </a:lnTo>
                  <a:lnTo>
                    <a:pt x="704" y="107"/>
                  </a:lnTo>
                  <a:lnTo>
                    <a:pt x="708" y="111"/>
                  </a:lnTo>
                  <a:lnTo>
                    <a:pt x="710" y="116"/>
                  </a:lnTo>
                  <a:lnTo>
                    <a:pt x="712" y="122"/>
                  </a:lnTo>
                  <a:lnTo>
                    <a:pt x="715" y="128"/>
                  </a:lnTo>
                  <a:lnTo>
                    <a:pt x="715" y="134"/>
                  </a:lnTo>
                  <a:lnTo>
                    <a:pt x="715" y="140"/>
                  </a:lnTo>
                  <a:lnTo>
                    <a:pt x="712" y="145"/>
                  </a:lnTo>
                  <a:lnTo>
                    <a:pt x="711" y="152"/>
                  </a:lnTo>
                  <a:lnTo>
                    <a:pt x="708" y="156"/>
                  </a:lnTo>
                  <a:lnTo>
                    <a:pt x="702" y="165"/>
                  </a:lnTo>
                  <a:lnTo>
                    <a:pt x="696" y="174"/>
                  </a:lnTo>
                  <a:lnTo>
                    <a:pt x="689" y="182"/>
                  </a:lnTo>
                  <a:lnTo>
                    <a:pt x="683" y="192"/>
                  </a:lnTo>
                  <a:lnTo>
                    <a:pt x="680" y="197"/>
                  </a:lnTo>
                  <a:lnTo>
                    <a:pt x="678" y="202"/>
                  </a:lnTo>
                  <a:lnTo>
                    <a:pt x="677" y="207"/>
                  </a:lnTo>
                  <a:lnTo>
                    <a:pt x="676" y="215"/>
                  </a:lnTo>
                  <a:lnTo>
                    <a:pt x="677" y="220"/>
                  </a:lnTo>
                  <a:lnTo>
                    <a:pt x="678" y="225"/>
                  </a:lnTo>
                  <a:lnTo>
                    <a:pt x="680" y="230"/>
                  </a:lnTo>
                  <a:lnTo>
                    <a:pt x="684" y="234"/>
                  </a:lnTo>
                  <a:lnTo>
                    <a:pt x="687" y="237"/>
                  </a:lnTo>
                  <a:lnTo>
                    <a:pt x="691" y="240"/>
                  </a:lnTo>
                  <a:lnTo>
                    <a:pt x="696" y="243"/>
                  </a:lnTo>
                  <a:lnTo>
                    <a:pt x="700" y="245"/>
                  </a:lnTo>
                  <a:lnTo>
                    <a:pt x="723" y="255"/>
                  </a:lnTo>
                  <a:lnTo>
                    <a:pt x="745" y="266"/>
                  </a:lnTo>
                  <a:lnTo>
                    <a:pt x="769" y="282"/>
                  </a:lnTo>
                  <a:lnTo>
                    <a:pt x="791" y="296"/>
                  </a:lnTo>
                  <a:lnTo>
                    <a:pt x="802" y="302"/>
                  </a:lnTo>
                  <a:lnTo>
                    <a:pt x="815" y="306"/>
                  </a:lnTo>
                  <a:lnTo>
                    <a:pt x="821" y="308"/>
                  </a:lnTo>
                  <a:lnTo>
                    <a:pt x="827" y="310"/>
                  </a:lnTo>
                  <a:lnTo>
                    <a:pt x="834" y="311"/>
                  </a:lnTo>
                  <a:lnTo>
                    <a:pt x="841" y="311"/>
                  </a:lnTo>
                  <a:lnTo>
                    <a:pt x="848" y="312"/>
                  </a:lnTo>
                  <a:lnTo>
                    <a:pt x="852" y="312"/>
                  </a:lnTo>
                  <a:lnTo>
                    <a:pt x="857" y="314"/>
                  </a:lnTo>
                  <a:lnTo>
                    <a:pt x="861" y="315"/>
                  </a:lnTo>
                  <a:lnTo>
                    <a:pt x="867" y="320"/>
                  </a:lnTo>
                  <a:lnTo>
                    <a:pt x="873" y="327"/>
                  </a:lnTo>
                  <a:lnTo>
                    <a:pt x="878" y="334"/>
                  </a:lnTo>
                  <a:lnTo>
                    <a:pt x="883" y="344"/>
                  </a:lnTo>
                  <a:lnTo>
                    <a:pt x="886" y="353"/>
                  </a:lnTo>
                  <a:lnTo>
                    <a:pt x="889" y="363"/>
                  </a:lnTo>
                  <a:lnTo>
                    <a:pt x="896" y="384"/>
                  </a:lnTo>
                  <a:lnTo>
                    <a:pt x="904" y="403"/>
                  </a:lnTo>
                  <a:lnTo>
                    <a:pt x="909" y="413"/>
                  </a:lnTo>
                  <a:lnTo>
                    <a:pt x="917" y="420"/>
                  </a:lnTo>
                  <a:lnTo>
                    <a:pt x="920" y="423"/>
                  </a:lnTo>
                  <a:lnTo>
                    <a:pt x="924" y="426"/>
                  </a:lnTo>
                  <a:lnTo>
                    <a:pt x="929" y="429"/>
                  </a:lnTo>
                  <a:lnTo>
                    <a:pt x="934" y="431"/>
                  </a:lnTo>
                  <a:lnTo>
                    <a:pt x="946" y="434"/>
                  </a:lnTo>
                  <a:lnTo>
                    <a:pt x="957" y="438"/>
                  </a:lnTo>
                  <a:lnTo>
                    <a:pt x="968" y="439"/>
                  </a:lnTo>
                  <a:lnTo>
                    <a:pt x="979" y="440"/>
                  </a:lnTo>
                  <a:lnTo>
                    <a:pt x="989" y="441"/>
                  </a:lnTo>
                  <a:lnTo>
                    <a:pt x="1000" y="442"/>
                  </a:lnTo>
                  <a:lnTo>
                    <a:pt x="1012" y="444"/>
                  </a:lnTo>
                  <a:lnTo>
                    <a:pt x="1024" y="448"/>
                  </a:lnTo>
                  <a:lnTo>
                    <a:pt x="1033" y="452"/>
                  </a:lnTo>
                  <a:lnTo>
                    <a:pt x="1042" y="457"/>
                  </a:lnTo>
                  <a:lnTo>
                    <a:pt x="1051" y="463"/>
                  </a:lnTo>
                  <a:lnTo>
                    <a:pt x="1058" y="470"/>
                  </a:lnTo>
                  <a:lnTo>
                    <a:pt x="1072" y="482"/>
                  </a:lnTo>
                  <a:lnTo>
                    <a:pt x="1090" y="495"/>
                  </a:lnTo>
                  <a:lnTo>
                    <a:pt x="1108" y="506"/>
                  </a:lnTo>
                  <a:lnTo>
                    <a:pt x="1127" y="514"/>
                  </a:lnTo>
                  <a:lnTo>
                    <a:pt x="1146" y="520"/>
                  </a:lnTo>
                  <a:lnTo>
                    <a:pt x="1165" y="524"/>
                  </a:lnTo>
                  <a:lnTo>
                    <a:pt x="1185" y="527"/>
                  </a:lnTo>
                  <a:lnTo>
                    <a:pt x="1204" y="529"/>
                  </a:lnTo>
                  <a:lnTo>
                    <a:pt x="1225" y="530"/>
                  </a:lnTo>
                  <a:lnTo>
                    <a:pt x="1248" y="530"/>
                  </a:lnTo>
                  <a:lnTo>
                    <a:pt x="1253" y="556"/>
                  </a:lnTo>
                  <a:lnTo>
                    <a:pt x="1257" y="580"/>
                  </a:lnTo>
                  <a:lnTo>
                    <a:pt x="1261" y="591"/>
                  </a:lnTo>
                  <a:lnTo>
                    <a:pt x="1265" y="603"/>
                  </a:lnTo>
                  <a:lnTo>
                    <a:pt x="1268" y="608"/>
                  </a:lnTo>
                  <a:lnTo>
                    <a:pt x="1271" y="613"/>
                  </a:lnTo>
                  <a:lnTo>
                    <a:pt x="1276" y="617"/>
                  </a:lnTo>
                  <a:lnTo>
                    <a:pt x="1281" y="622"/>
                  </a:lnTo>
                  <a:lnTo>
                    <a:pt x="1290" y="631"/>
                  </a:lnTo>
                  <a:lnTo>
                    <a:pt x="1299" y="636"/>
                  </a:lnTo>
                  <a:lnTo>
                    <a:pt x="1310" y="641"/>
                  </a:lnTo>
                  <a:lnTo>
                    <a:pt x="1319" y="645"/>
                  </a:lnTo>
                  <a:lnTo>
                    <a:pt x="1339" y="649"/>
                  </a:lnTo>
                  <a:lnTo>
                    <a:pt x="1361" y="652"/>
                  </a:lnTo>
                  <a:lnTo>
                    <a:pt x="1382" y="654"/>
                  </a:lnTo>
                  <a:lnTo>
                    <a:pt x="1403" y="660"/>
                  </a:lnTo>
                  <a:lnTo>
                    <a:pt x="1414" y="663"/>
                  </a:lnTo>
                  <a:lnTo>
                    <a:pt x="1423" y="668"/>
                  </a:lnTo>
                  <a:lnTo>
                    <a:pt x="1433" y="674"/>
                  </a:lnTo>
                  <a:lnTo>
                    <a:pt x="1443" y="681"/>
                  </a:lnTo>
                  <a:lnTo>
                    <a:pt x="1420" y="776"/>
                  </a:lnTo>
                  <a:lnTo>
                    <a:pt x="1421" y="781"/>
                  </a:lnTo>
                  <a:lnTo>
                    <a:pt x="1423" y="786"/>
                  </a:lnTo>
                  <a:lnTo>
                    <a:pt x="1425" y="790"/>
                  </a:lnTo>
                  <a:lnTo>
                    <a:pt x="1428" y="794"/>
                  </a:lnTo>
                  <a:lnTo>
                    <a:pt x="1434" y="800"/>
                  </a:lnTo>
                  <a:lnTo>
                    <a:pt x="1443" y="805"/>
                  </a:lnTo>
                  <a:lnTo>
                    <a:pt x="1452" y="810"/>
                  </a:lnTo>
                  <a:lnTo>
                    <a:pt x="1460" y="816"/>
                  </a:lnTo>
                  <a:lnTo>
                    <a:pt x="1468" y="823"/>
                  </a:lnTo>
                  <a:lnTo>
                    <a:pt x="1476" y="830"/>
                  </a:lnTo>
                  <a:lnTo>
                    <a:pt x="1491" y="851"/>
                  </a:lnTo>
                  <a:lnTo>
                    <a:pt x="1507" y="869"/>
                  </a:lnTo>
                  <a:lnTo>
                    <a:pt x="1515" y="876"/>
                  </a:lnTo>
                  <a:lnTo>
                    <a:pt x="1524" y="882"/>
                  </a:lnTo>
                  <a:lnTo>
                    <a:pt x="1529" y="884"/>
                  </a:lnTo>
                  <a:lnTo>
                    <a:pt x="1534" y="886"/>
                  </a:lnTo>
                  <a:lnTo>
                    <a:pt x="1541" y="887"/>
                  </a:lnTo>
                  <a:lnTo>
                    <a:pt x="1547" y="887"/>
                  </a:lnTo>
                  <a:lnTo>
                    <a:pt x="1557" y="886"/>
                  </a:lnTo>
                  <a:lnTo>
                    <a:pt x="1566" y="884"/>
                  </a:lnTo>
                  <a:lnTo>
                    <a:pt x="1575" y="881"/>
                  </a:lnTo>
                  <a:lnTo>
                    <a:pt x="1583" y="876"/>
                  </a:lnTo>
                  <a:lnTo>
                    <a:pt x="1597" y="865"/>
                  </a:lnTo>
                  <a:lnTo>
                    <a:pt x="1611" y="853"/>
                  </a:lnTo>
                  <a:lnTo>
                    <a:pt x="1624" y="840"/>
                  </a:lnTo>
                  <a:lnTo>
                    <a:pt x="1639" y="829"/>
                  </a:lnTo>
                  <a:lnTo>
                    <a:pt x="1646" y="825"/>
                  </a:lnTo>
                  <a:lnTo>
                    <a:pt x="1655" y="822"/>
                  </a:lnTo>
                  <a:lnTo>
                    <a:pt x="1664" y="819"/>
                  </a:lnTo>
                  <a:lnTo>
                    <a:pt x="1674" y="819"/>
                  </a:lnTo>
                  <a:lnTo>
                    <a:pt x="1678" y="819"/>
                  </a:lnTo>
                  <a:lnTo>
                    <a:pt x="1682" y="820"/>
                  </a:lnTo>
                  <a:lnTo>
                    <a:pt x="1685" y="822"/>
                  </a:lnTo>
                  <a:lnTo>
                    <a:pt x="1688" y="824"/>
                  </a:lnTo>
                  <a:lnTo>
                    <a:pt x="1692" y="830"/>
                  </a:lnTo>
                  <a:lnTo>
                    <a:pt x="1694" y="837"/>
                  </a:lnTo>
                  <a:lnTo>
                    <a:pt x="1696" y="845"/>
                  </a:lnTo>
                  <a:lnTo>
                    <a:pt x="1697" y="855"/>
                  </a:lnTo>
                  <a:lnTo>
                    <a:pt x="1697" y="864"/>
                  </a:lnTo>
                  <a:lnTo>
                    <a:pt x="1697" y="872"/>
                  </a:lnTo>
                  <a:lnTo>
                    <a:pt x="1696" y="905"/>
                  </a:lnTo>
                  <a:lnTo>
                    <a:pt x="1696" y="935"/>
                  </a:lnTo>
                  <a:lnTo>
                    <a:pt x="1697" y="943"/>
                  </a:lnTo>
                  <a:lnTo>
                    <a:pt x="1698" y="949"/>
                  </a:lnTo>
                  <a:lnTo>
                    <a:pt x="1700" y="956"/>
                  </a:lnTo>
                  <a:lnTo>
                    <a:pt x="1703" y="962"/>
                  </a:lnTo>
                  <a:lnTo>
                    <a:pt x="1707" y="968"/>
                  </a:lnTo>
                  <a:lnTo>
                    <a:pt x="1711" y="975"/>
                  </a:lnTo>
                  <a:lnTo>
                    <a:pt x="1716" y="981"/>
                  </a:lnTo>
                  <a:lnTo>
                    <a:pt x="1721" y="986"/>
                  </a:lnTo>
                  <a:lnTo>
                    <a:pt x="1731" y="993"/>
                  </a:lnTo>
                  <a:lnTo>
                    <a:pt x="1742" y="999"/>
                  </a:lnTo>
                  <a:lnTo>
                    <a:pt x="1753" y="1003"/>
                  </a:lnTo>
                  <a:lnTo>
                    <a:pt x="1764" y="1008"/>
                  </a:lnTo>
                  <a:lnTo>
                    <a:pt x="1788" y="1012"/>
                  </a:lnTo>
                  <a:lnTo>
                    <a:pt x="1812" y="1015"/>
                  </a:lnTo>
                  <a:lnTo>
                    <a:pt x="1823" y="1017"/>
                  </a:lnTo>
                  <a:lnTo>
                    <a:pt x="1834" y="1019"/>
                  </a:lnTo>
                  <a:lnTo>
                    <a:pt x="1845" y="1022"/>
                  </a:lnTo>
                  <a:lnTo>
                    <a:pt x="1854" y="1026"/>
                  </a:lnTo>
                  <a:lnTo>
                    <a:pt x="1862" y="1032"/>
                  </a:lnTo>
                  <a:lnTo>
                    <a:pt x="1870" y="1040"/>
                  </a:lnTo>
                  <a:lnTo>
                    <a:pt x="1873" y="1044"/>
                  </a:lnTo>
                  <a:lnTo>
                    <a:pt x="1875" y="1048"/>
                  </a:lnTo>
                  <a:lnTo>
                    <a:pt x="1877" y="1053"/>
                  </a:lnTo>
                  <a:lnTo>
                    <a:pt x="1879" y="1059"/>
                  </a:lnTo>
                  <a:lnTo>
                    <a:pt x="1886" y="1083"/>
                  </a:lnTo>
                  <a:lnTo>
                    <a:pt x="1894" y="1105"/>
                  </a:lnTo>
                  <a:lnTo>
                    <a:pt x="1903" y="1126"/>
                  </a:lnTo>
                  <a:lnTo>
                    <a:pt x="1911" y="1146"/>
                  </a:lnTo>
                  <a:lnTo>
                    <a:pt x="1927" y="1185"/>
                  </a:lnTo>
                  <a:lnTo>
                    <a:pt x="1944" y="1222"/>
                  </a:lnTo>
                  <a:lnTo>
                    <a:pt x="1951" y="1241"/>
                  </a:lnTo>
                  <a:lnTo>
                    <a:pt x="1958" y="1260"/>
                  </a:lnTo>
                  <a:lnTo>
                    <a:pt x="1964" y="1279"/>
                  </a:lnTo>
                  <a:lnTo>
                    <a:pt x="1970" y="1300"/>
                  </a:lnTo>
                  <a:lnTo>
                    <a:pt x="1975" y="1320"/>
                  </a:lnTo>
                  <a:lnTo>
                    <a:pt x="1978" y="1342"/>
                  </a:lnTo>
                  <a:lnTo>
                    <a:pt x="1980" y="1365"/>
                  </a:lnTo>
                  <a:lnTo>
                    <a:pt x="1981" y="1390"/>
                  </a:lnTo>
                  <a:lnTo>
                    <a:pt x="1980" y="1396"/>
                  </a:lnTo>
                  <a:lnTo>
                    <a:pt x="1978" y="1401"/>
                  </a:lnTo>
                  <a:lnTo>
                    <a:pt x="1975" y="1405"/>
                  </a:lnTo>
                  <a:lnTo>
                    <a:pt x="1971" y="1409"/>
                  </a:lnTo>
                  <a:lnTo>
                    <a:pt x="1967" y="1414"/>
                  </a:lnTo>
                  <a:lnTo>
                    <a:pt x="1964" y="1419"/>
                  </a:lnTo>
                  <a:lnTo>
                    <a:pt x="1962" y="1424"/>
                  </a:lnTo>
                  <a:lnTo>
                    <a:pt x="1961" y="1430"/>
                  </a:lnTo>
                  <a:lnTo>
                    <a:pt x="1962" y="1437"/>
                  </a:lnTo>
                  <a:lnTo>
                    <a:pt x="1963" y="1443"/>
                  </a:lnTo>
                  <a:lnTo>
                    <a:pt x="1964" y="1450"/>
                  </a:lnTo>
                  <a:lnTo>
                    <a:pt x="1966" y="1456"/>
                  </a:lnTo>
                  <a:lnTo>
                    <a:pt x="1972" y="1467"/>
                  </a:lnTo>
                  <a:lnTo>
                    <a:pt x="1977" y="1478"/>
                  </a:lnTo>
                  <a:lnTo>
                    <a:pt x="1983" y="1489"/>
                  </a:lnTo>
                  <a:lnTo>
                    <a:pt x="1988" y="1500"/>
                  </a:lnTo>
                  <a:lnTo>
                    <a:pt x="1990" y="1506"/>
                  </a:lnTo>
                  <a:lnTo>
                    <a:pt x="1992" y="1513"/>
                  </a:lnTo>
                  <a:lnTo>
                    <a:pt x="1994" y="1520"/>
                  </a:lnTo>
                  <a:lnTo>
                    <a:pt x="1994" y="1527"/>
                  </a:lnTo>
                  <a:lnTo>
                    <a:pt x="1987" y="1583"/>
                  </a:lnTo>
                  <a:lnTo>
                    <a:pt x="1990" y="1594"/>
                  </a:lnTo>
                  <a:lnTo>
                    <a:pt x="1991" y="1603"/>
                  </a:lnTo>
                  <a:lnTo>
                    <a:pt x="1993" y="1612"/>
                  </a:lnTo>
                  <a:lnTo>
                    <a:pt x="1994" y="1623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de-DE" altLang="ru-RU" sz="675">
                <a:latin typeface="Calibri" panose="020F050202020403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>
                  <a:latin typeface="Calibri" panose="020F0502020204030204" pitchFamily="34" charset="0"/>
                </a:rPr>
                <a:t>Zakarpattya</a:t>
              </a:r>
              <a:endParaRPr lang="ru-RU" altLang="ru-RU" sz="675">
                <a:latin typeface="Calibri" panose="020F0502020204030204" pitchFamily="34" charset="0"/>
              </a:endParaRPr>
            </a:p>
          </p:txBody>
        </p:sp>
        <p:sp>
          <p:nvSpPr>
            <p:cNvPr id="37" name="IvanoFrankivsk"/>
            <p:cNvSpPr>
              <a:spLocks/>
            </p:cNvSpPr>
            <p:nvPr/>
          </p:nvSpPr>
          <p:spPr bwMode="auto">
            <a:xfrm>
              <a:off x="908" y="2073"/>
              <a:ext cx="535" cy="691"/>
            </a:xfrm>
            <a:custGeom>
              <a:avLst/>
              <a:gdLst>
                <a:gd name="T0" fmla="*/ 351 w 1780"/>
                <a:gd name="T1" fmla="*/ 211 h 2391"/>
                <a:gd name="T2" fmla="*/ 351 w 1780"/>
                <a:gd name="T3" fmla="*/ 211 h 2391"/>
                <a:gd name="T4" fmla="*/ 351 w 1780"/>
                <a:gd name="T5" fmla="*/ 211 h 2391"/>
                <a:gd name="T6" fmla="*/ 351 w 1780"/>
                <a:gd name="T7" fmla="*/ 211 h 2391"/>
                <a:gd name="T8" fmla="*/ 351 w 1780"/>
                <a:gd name="T9" fmla="*/ 211 h 2391"/>
                <a:gd name="T10" fmla="*/ 351 w 1780"/>
                <a:gd name="T11" fmla="*/ 211 h 2391"/>
                <a:gd name="T12" fmla="*/ 351 w 1780"/>
                <a:gd name="T13" fmla="*/ 211 h 2391"/>
                <a:gd name="T14" fmla="*/ 351 w 1780"/>
                <a:gd name="T15" fmla="*/ 211 h 2391"/>
                <a:gd name="T16" fmla="*/ 351 w 1780"/>
                <a:gd name="T17" fmla="*/ 211 h 2391"/>
                <a:gd name="T18" fmla="*/ 351 w 1780"/>
                <a:gd name="T19" fmla="*/ 211 h 2391"/>
                <a:gd name="T20" fmla="*/ 351 w 1780"/>
                <a:gd name="T21" fmla="*/ 211 h 2391"/>
                <a:gd name="T22" fmla="*/ 351 w 1780"/>
                <a:gd name="T23" fmla="*/ 211 h 2391"/>
                <a:gd name="T24" fmla="*/ 351 w 1780"/>
                <a:gd name="T25" fmla="*/ 211 h 2391"/>
                <a:gd name="T26" fmla="*/ 351 w 1780"/>
                <a:gd name="T27" fmla="*/ 211 h 2391"/>
                <a:gd name="T28" fmla="*/ 351 w 1780"/>
                <a:gd name="T29" fmla="*/ 211 h 2391"/>
                <a:gd name="T30" fmla="*/ 351 w 1780"/>
                <a:gd name="T31" fmla="*/ 211 h 2391"/>
                <a:gd name="T32" fmla="*/ 351 w 1780"/>
                <a:gd name="T33" fmla="*/ 211 h 2391"/>
                <a:gd name="T34" fmla="*/ 351 w 1780"/>
                <a:gd name="T35" fmla="*/ 211 h 2391"/>
                <a:gd name="T36" fmla="*/ 351 w 1780"/>
                <a:gd name="T37" fmla="*/ 211 h 2391"/>
                <a:gd name="T38" fmla="*/ 351 w 1780"/>
                <a:gd name="T39" fmla="*/ 211 h 2391"/>
                <a:gd name="T40" fmla="*/ 351 w 1780"/>
                <a:gd name="T41" fmla="*/ 211 h 2391"/>
                <a:gd name="T42" fmla="*/ 351 w 1780"/>
                <a:gd name="T43" fmla="*/ 211 h 2391"/>
                <a:gd name="T44" fmla="*/ 351 w 1780"/>
                <a:gd name="T45" fmla="*/ 211 h 2391"/>
                <a:gd name="T46" fmla="*/ 351 w 1780"/>
                <a:gd name="T47" fmla="*/ 211 h 2391"/>
                <a:gd name="T48" fmla="*/ 351 w 1780"/>
                <a:gd name="T49" fmla="*/ 211 h 2391"/>
                <a:gd name="T50" fmla="*/ 351 w 1780"/>
                <a:gd name="T51" fmla="*/ 211 h 2391"/>
                <a:gd name="T52" fmla="*/ 351 w 1780"/>
                <a:gd name="T53" fmla="*/ 211 h 2391"/>
                <a:gd name="T54" fmla="*/ 351 w 1780"/>
                <a:gd name="T55" fmla="*/ 211 h 2391"/>
                <a:gd name="T56" fmla="*/ 351 w 1780"/>
                <a:gd name="T57" fmla="*/ 211 h 2391"/>
                <a:gd name="T58" fmla="*/ 351 w 1780"/>
                <a:gd name="T59" fmla="*/ 211 h 2391"/>
                <a:gd name="T60" fmla="*/ 351 w 1780"/>
                <a:gd name="T61" fmla="*/ 211 h 2391"/>
                <a:gd name="T62" fmla="*/ 351 w 1780"/>
                <a:gd name="T63" fmla="*/ 211 h 2391"/>
                <a:gd name="T64" fmla="*/ 351 w 1780"/>
                <a:gd name="T65" fmla="*/ 211 h 2391"/>
                <a:gd name="T66" fmla="*/ 351 w 1780"/>
                <a:gd name="T67" fmla="*/ 211 h 2391"/>
                <a:gd name="T68" fmla="*/ 351 w 1780"/>
                <a:gd name="T69" fmla="*/ 211 h 2391"/>
                <a:gd name="T70" fmla="*/ 351 w 1780"/>
                <a:gd name="T71" fmla="*/ 211 h 2391"/>
                <a:gd name="T72" fmla="*/ 351 w 1780"/>
                <a:gd name="T73" fmla="*/ 211 h 2391"/>
                <a:gd name="T74" fmla="*/ 351 w 1780"/>
                <a:gd name="T75" fmla="*/ 211 h 2391"/>
                <a:gd name="T76" fmla="*/ 351 w 1780"/>
                <a:gd name="T77" fmla="*/ 211 h 2391"/>
                <a:gd name="T78" fmla="*/ 351 w 1780"/>
                <a:gd name="T79" fmla="*/ 211 h 2391"/>
                <a:gd name="T80" fmla="*/ 351 w 1780"/>
                <a:gd name="T81" fmla="*/ 211 h 2391"/>
                <a:gd name="T82" fmla="*/ 351 w 1780"/>
                <a:gd name="T83" fmla="*/ 211 h 2391"/>
                <a:gd name="T84" fmla="*/ 351 w 1780"/>
                <a:gd name="T85" fmla="*/ 211 h 2391"/>
                <a:gd name="T86" fmla="*/ 351 w 1780"/>
                <a:gd name="T87" fmla="*/ 211 h 2391"/>
                <a:gd name="T88" fmla="*/ 351 w 1780"/>
                <a:gd name="T89" fmla="*/ 211 h 2391"/>
                <a:gd name="T90" fmla="*/ 351 w 1780"/>
                <a:gd name="T91" fmla="*/ 211 h 2391"/>
                <a:gd name="T92" fmla="*/ 351 w 1780"/>
                <a:gd name="T93" fmla="*/ 211 h 2391"/>
                <a:gd name="T94" fmla="*/ 351 w 1780"/>
                <a:gd name="T95" fmla="*/ 211 h 2391"/>
                <a:gd name="T96" fmla="*/ 351 w 1780"/>
                <a:gd name="T97" fmla="*/ 211 h 2391"/>
                <a:gd name="T98" fmla="*/ 351 w 1780"/>
                <a:gd name="T99" fmla="*/ 211 h 2391"/>
                <a:gd name="T100" fmla="*/ 351 w 1780"/>
                <a:gd name="T101" fmla="*/ 211 h 2391"/>
                <a:gd name="T102" fmla="*/ 351 w 1780"/>
                <a:gd name="T103" fmla="*/ 211 h 2391"/>
                <a:gd name="T104" fmla="*/ 351 w 1780"/>
                <a:gd name="T105" fmla="*/ 211 h 2391"/>
                <a:gd name="T106" fmla="*/ 351 w 1780"/>
                <a:gd name="T107" fmla="*/ 211 h 2391"/>
                <a:gd name="T108" fmla="*/ 351 w 1780"/>
                <a:gd name="T109" fmla="*/ 211 h 2391"/>
                <a:gd name="T110" fmla="*/ 351 w 1780"/>
                <a:gd name="T111" fmla="*/ 211 h 2391"/>
                <a:gd name="T112" fmla="*/ 351 w 1780"/>
                <a:gd name="T113" fmla="*/ 211 h 2391"/>
                <a:gd name="T114" fmla="*/ 351 w 1780"/>
                <a:gd name="T115" fmla="*/ 211 h 2391"/>
                <a:gd name="T116" fmla="*/ 351 w 1780"/>
                <a:gd name="T117" fmla="*/ 211 h 2391"/>
                <a:gd name="T118" fmla="*/ 351 w 1780"/>
                <a:gd name="T119" fmla="*/ 211 h 2391"/>
                <a:gd name="T120" fmla="*/ 351 w 1780"/>
                <a:gd name="T121" fmla="*/ 211 h 2391"/>
                <a:gd name="T122" fmla="*/ 351 w 1780"/>
                <a:gd name="T123" fmla="*/ 211 h 239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80"/>
                <a:gd name="T187" fmla="*/ 0 h 2391"/>
                <a:gd name="T188" fmla="*/ 1780 w 1780"/>
                <a:gd name="T189" fmla="*/ 2391 h 239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80" h="2391">
                  <a:moveTo>
                    <a:pt x="1068" y="108"/>
                  </a:moveTo>
                  <a:lnTo>
                    <a:pt x="1085" y="134"/>
                  </a:lnTo>
                  <a:lnTo>
                    <a:pt x="1102" y="156"/>
                  </a:lnTo>
                  <a:lnTo>
                    <a:pt x="1109" y="168"/>
                  </a:lnTo>
                  <a:lnTo>
                    <a:pt x="1114" y="180"/>
                  </a:lnTo>
                  <a:lnTo>
                    <a:pt x="1116" y="187"/>
                  </a:lnTo>
                  <a:lnTo>
                    <a:pt x="1118" y="193"/>
                  </a:lnTo>
                  <a:lnTo>
                    <a:pt x="1120" y="201"/>
                  </a:lnTo>
                  <a:lnTo>
                    <a:pt x="1120" y="208"/>
                  </a:lnTo>
                  <a:lnTo>
                    <a:pt x="1120" y="266"/>
                  </a:lnTo>
                  <a:lnTo>
                    <a:pt x="1121" y="276"/>
                  </a:lnTo>
                  <a:lnTo>
                    <a:pt x="1122" y="284"/>
                  </a:lnTo>
                  <a:lnTo>
                    <a:pt x="1123" y="292"/>
                  </a:lnTo>
                  <a:lnTo>
                    <a:pt x="1125" y="299"/>
                  </a:lnTo>
                  <a:lnTo>
                    <a:pt x="1130" y="314"/>
                  </a:lnTo>
                  <a:lnTo>
                    <a:pt x="1135" y="328"/>
                  </a:lnTo>
                  <a:lnTo>
                    <a:pt x="1141" y="342"/>
                  </a:lnTo>
                  <a:lnTo>
                    <a:pt x="1145" y="356"/>
                  </a:lnTo>
                  <a:lnTo>
                    <a:pt x="1147" y="363"/>
                  </a:lnTo>
                  <a:lnTo>
                    <a:pt x="1149" y="372"/>
                  </a:lnTo>
                  <a:lnTo>
                    <a:pt x="1150" y="380"/>
                  </a:lnTo>
                  <a:lnTo>
                    <a:pt x="1150" y="389"/>
                  </a:lnTo>
                  <a:lnTo>
                    <a:pt x="1149" y="407"/>
                  </a:lnTo>
                  <a:lnTo>
                    <a:pt x="1147" y="423"/>
                  </a:lnTo>
                  <a:lnTo>
                    <a:pt x="1144" y="439"/>
                  </a:lnTo>
                  <a:lnTo>
                    <a:pt x="1143" y="457"/>
                  </a:lnTo>
                  <a:lnTo>
                    <a:pt x="1143" y="462"/>
                  </a:lnTo>
                  <a:lnTo>
                    <a:pt x="1144" y="468"/>
                  </a:lnTo>
                  <a:lnTo>
                    <a:pt x="1146" y="472"/>
                  </a:lnTo>
                  <a:lnTo>
                    <a:pt x="1148" y="477"/>
                  </a:lnTo>
                  <a:lnTo>
                    <a:pt x="1154" y="484"/>
                  </a:lnTo>
                  <a:lnTo>
                    <a:pt x="1160" y="490"/>
                  </a:lnTo>
                  <a:lnTo>
                    <a:pt x="1175" y="504"/>
                  </a:lnTo>
                  <a:lnTo>
                    <a:pt x="1191" y="519"/>
                  </a:lnTo>
                  <a:lnTo>
                    <a:pt x="1198" y="529"/>
                  </a:lnTo>
                  <a:lnTo>
                    <a:pt x="1203" y="539"/>
                  </a:lnTo>
                  <a:lnTo>
                    <a:pt x="1206" y="550"/>
                  </a:lnTo>
                  <a:lnTo>
                    <a:pt x="1208" y="561"/>
                  </a:lnTo>
                  <a:lnTo>
                    <a:pt x="1209" y="583"/>
                  </a:lnTo>
                  <a:lnTo>
                    <a:pt x="1209" y="608"/>
                  </a:lnTo>
                  <a:lnTo>
                    <a:pt x="1208" y="627"/>
                  </a:lnTo>
                  <a:lnTo>
                    <a:pt x="1206" y="642"/>
                  </a:lnTo>
                  <a:lnTo>
                    <a:pt x="1203" y="658"/>
                  </a:lnTo>
                  <a:lnTo>
                    <a:pt x="1199" y="672"/>
                  </a:lnTo>
                  <a:lnTo>
                    <a:pt x="1195" y="687"/>
                  </a:lnTo>
                  <a:lnTo>
                    <a:pt x="1192" y="702"/>
                  </a:lnTo>
                  <a:lnTo>
                    <a:pt x="1189" y="719"/>
                  </a:lnTo>
                  <a:lnTo>
                    <a:pt x="1189" y="736"/>
                  </a:lnTo>
                  <a:lnTo>
                    <a:pt x="1189" y="744"/>
                  </a:lnTo>
                  <a:lnTo>
                    <a:pt x="1191" y="753"/>
                  </a:lnTo>
                  <a:lnTo>
                    <a:pt x="1195" y="759"/>
                  </a:lnTo>
                  <a:lnTo>
                    <a:pt x="1199" y="765"/>
                  </a:lnTo>
                  <a:lnTo>
                    <a:pt x="1204" y="770"/>
                  </a:lnTo>
                  <a:lnTo>
                    <a:pt x="1210" y="774"/>
                  </a:lnTo>
                  <a:lnTo>
                    <a:pt x="1217" y="778"/>
                  </a:lnTo>
                  <a:lnTo>
                    <a:pt x="1225" y="783"/>
                  </a:lnTo>
                  <a:lnTo>
                    <a:pt x="1241" y="789"/>
                  </a:lnTo>
                  <a:lnTo>
                    <a:pt x="1259" y="796"/>
                  </a:lnTo>
                  <a:lnTo>
                    <a:pt x="1267" y="799"/>
                  </a:lnTo>
                  <a:lnTo>
                    <a:pt x="1276" y="803"/>
                  </a:lnTo>
                  <a:lnTo>
                    <a:pt x="1285" y="808"/>
                  </a:lnTo>
                  <a:lnTo>
                    <a:pt x="1292" y="814"/>
                  </a:lnTo>
                  <a:lnTo>
                    <a:pt x="1300" y="821"/>
                  </a:lnTo>
                  <a:lnTo>
                    <a:pt x="1307" y="828"/>
                  </a:lnTo>
                  <a:lnTo>
                    <a:pt x="1314" y="835"/>
                  </a:lnTo>
                  <a:lnTo>
                    <a:pt x="1320" y="843"/>
                  </a:lnTo>
                  <a:lnTo>
                    <a:pt x="1330" y="857"/>
                  </a:lnTo>
                  <a:lnTo>
                    <a:pt x="1338" y="873"/>
                  </a:lnTo>
                  <a:lnTo>
                    <a:pt x="1354" y="907"/>
                  </a:lnTo>
                  <a:lnTo>
                    <a:pt x="1372" y="944"/>
                  </a:lnTo>
                  <a:lnTo>
                    <a:pt x="1378" y="936"/>
                  </a:lnTo>
                  <a:lnTo>
                    <a:pt x="1384" y="929"/>
                  </a:lnTo>
                  <a:lnTo>
                    <a:pt x="1388" y="922"/>
                  </a:lnTo>
                  <a:lnTo>
                    <a:pt x="1392" y="916"/>
                  </a:lnTo>
                  <a:lnTo>
                    <a:pt x="1396" y="909"/>
                  </a:lnTo>
                  <a:lnTo>
                    <a:pt x="1400" y="901"/>
                  </a:lnTo>
                  <a:lnTo>
                    <a:pt x="1405" y="894"/>
                  </a:lnTo>
                  <a:lnTo>
                    <a:pt x="1412" y="887"/>
                  </a:lnTo>
                  <a:lnTo>
                    <a:pt x="1418" y="899"/>
                  </a:lnTo>
                  <a:lnTo>
                    <a:pt x="1423" y="911"/>
                  </a:lnTo>
                  <a:lnTo>
                    <a:pt x="1427" y="921"/>
                  </a:lnTo>
                  <a:lnTo>
                    <a:pt x="1430" y="931"/>
                  </a:lnTo>
                  <a:lnTo>
                    <a:pt x="1433" y="943"/>
                  </a:lnTo>
                  <a:lnTo>
                    <a:pt x="1434" y="954"/>
                  </a:lnTo>
                  <a:lnTo>
                    <a:pt x="1435" y="965"/>
                  </a:lnTo>
                  <a:lnTo>
                    <a:pt x="1436" y="979"/>
                  </a:lnTo>
                  <a:lnTo>
                    <a:pt x="1448" y="979"/>
                  </a:lnTo>
                  <a:lnTo>
                    <a:pt x="1459" y="978"/>
                  </a:lnTo>
                  <a:lnTo>
                    <a:pt x="1470" y="978"/>
                  </a:lnTo>
                  <a:lnTo>
                    <a:pt x="1483" y="979"/>
                  </a:lnTo>
                  <a:lnTo>
                    <a:pt x="1477" y="988"/>
                  </a:lnTo>
                  <a:lnTo>
                    <a:pt x="1471" y="995"/>
                  </a:lnTo>
                  <a:lnTo>
                    <a:pt x="1464" y="1002"/>
                  </a:lnTo>
                  <a:lnTo>
                    <a:pt x="1457" y="1008"/>
                  </a:lnTo>
                  <a:lnTo>
                    <a:pt x="1451" y="1014"/>
                  </a:lnTo>
                  <a:lnTo>
                    <a:pt x="1445" y="1021"/>
                  </a:lnTo>
                  <a:lnTo>
                    <a:pt x="1443" y="1024"/>
                  </a:lnTo>
                  <a:lnTo>
                    <a:pt x="1441" y="1028"/>
                  </a:lnTo>
                  <a:lnTo>
                    <a:pt x="1440" y="1034"/>
                  </a:lnTo>
                  <a:lnTo>
                    <a:pt x="1440" y="1038"/>
                  </a:lnTo>
                  <a:lnTo>
                    <a:pt x="1440" y="1045"/>
                  </a:lnTo>
                  <a:lnTo>
                    <a:pt x="1441" y="1051"/>
                  </a:lnTo>
                  <a:lnTo>
                    <a:pt x="1443" y="1057"/>
                  </a:lnTo>
                  <a:lnTo>
                    <a:pt x="1445" y="1063"/>
                  </a:lnTo>
                  <a:lnTo>
                    <a:pt x="1450" y="1069"/>
                  </a:lnTo>
                  <a:lnTo>
                    <a:pt x="1453" y="1073"/>
                  </a:lnTo>
                  <a:lnTo>
                    <a:pt x="1458" y="1075"/>
                  </a:lnTo>
                  <a:lnTo>
                    <a:pt x="1464" y="1076"/>
                  </a:lnTo>
                  <a:lnTo>
                    <a:pt x="1472" y="1076"/>
                  </a:lnTo>
                  <a:lnTo>
                    <a:pt x="1480" y="1074"/>
                  </a:lnTo>
                  <a:lnTo>
                    <a:pt x="1488" y="1072"/>
                  </a:lnTo>
                  <a:lnTo>
                    <a:pt x="1495" y="1069"/>
                  </a:lnTo>
                  <a:lnTo>
                    <a:pt x="1502" y="1065"/>
                  </a:lnTo>
                  <a:lnTo>
                    <a:pt x="1507" y="1059"/>
                  </a:lnTo>
                  <a:lnTo>
                    <a:pt x="1513" y="1054"/>
                  </a:lnTo>
                  <a:lnTo>
                    <a:pt x="1519" y="1049"/>
                  </a:lnTo>
                  <a:lnTo>
                    <a:pt x="1524" y="1042"/>
                  </a:lnTo>
                  <a:lnTo>
                    <a:pt x="1528" y="1035"/>
                  </a:lnTo>
                  <a:lnTo>
                    <a:pt x="1532" y="1027"/>
                  </a:lnTo>
                  <a:lnTo>
                    <a:pt x="1535" y="1020"/>
                  </a:lnTo>
                  <a:lnTo>
                    <a:pt x="1540" y="1004"/>
                  </a:lnTo>
                  <a:lnTo>
                    <a:pt x="1544" y="986"/>
                  </a:lnTo>
                  <a:lnTo>
                    <a:pt x="1554" y="989"/>
                  </a:lnTo>
                  <a:lnTo>
                    <a:pt x="1563" y="993"/>
                  </a:lnTo>
                  <a:lnTo>
                    <a:pt x="1567" y="995"/>
                  </a:lnTo>
                  <a:lnTo>
                    <a:pt x="1571" y="996"/>
                  </a:lnTo>
                  <a:lnTo>
                    <a:pt x="1576" y="997"/>
                  </a:lnTo>
                  <a:lnTo>
                    <a:pt x="1582" y="998"/>
                  </a:lnTo>
                  <a:lnTo>
                    <a:pt x="1588" y="997"/>
                  </a:lnTo>
                  <a:lnTo>
                    <a:pt x="1592" y="996"/>
                  </a:lnTo>
                  <a:lnTo>
                    <a:pt x="1597" y="995"/>
                  </a:lnTo>
                  <a:lnTo>
                    <a:pt x="1601" y="993"/>
                  </a:lnTo>
                  <a:lnTo>
                    <a:pt x="1609" y="989"/>
                  </a:lnTo>
                  <a:lnTo>
                    <a:pt x="1620" y="986"/>
                  </a:lnTo>
                  <a:lnTo>
                    <a:pt x="1629" y="988"/>
                  </a:lnTo>
                  <a:lnTo>
                    <a:pt x="1632" y="1003"/>
                  </a:lnTo>
                  <a:lnTo>
                    <a:pt x="1636" y="1015"/>
                  </a:lnTo>
                  <a:lnTo>
                    <a:pt x="1642" y="1026"/>
                  </a:lnTo>
                  <a:lnTo>
                    <a:pt x="1649" y="1037"/>
                  </a:lnTo>
                  <a:lnTo>
                    <a:pt x="1656" y="1047"/>
                  </a:lnTo>
                  <a:lnTo>
                    <a:pt x="1664" y="1055"/>
                  </a:lnTo>
                  <a:lnTo>
                    <a:pt x="1673" y="1063"/>
                  </a:lnTo>
                  <a:lnTo>
                    <a:pt x="1684" y="1071"/>
                  </a:lnTo>
                  <a:lnTo>
                    <a:pt x="1729" y="1097"/>
                  </a:lnTo>
                  <a:lnTo>
                    <a:pt x="1780" y="1123"/>
                  </a:lnTo>
                  <a:lnTo>
                    <a:pt x="1775" y="1144"/>
                  </a:lnTo>
                  <a:lnTo>
                    <a:pt x="1769" y="1163"/>
                  </a:lnTo>
                  <a:lnTo>
                    <a:pt x="1764" y="1180"/>
                  </a:lnTo>
                  <a:lnTo>
                    <a:pt x="1758" y="1197"/>
                  </a:lnTo>
                  <a:lnTo>
                    <a:pt x="1742" y="1230"/>
                  </a:lnTo>
                  <a:lnTo>
                    <a:pt x="1726" y="1267"/>
                  </a:lnTo>
                  <a:lnTo>
                    <a:pt x="1720" y="1277"/>
                  </a:lnTo>
                  <a:lnTo>
                    <a:pt x="1714" y="1287"/>
                  </a:lnTo>
                  <a:lnTo>
                    <a:pt x="1706" y="1294"/>
                  </a:lnTo>
                  <a:lnTo>
                    <a:pt x="1698" y="1301"/>
                  </a:lnTo>
                  <a:lnTo>
                    <a:pt x="1692" y="1309"/>
                  </a:lnTo>
                  <a:lnTo>
                    <a:pt x="1686" y="1318"/>
                  </a:lnTo>
                  <a:lnTo>
                    <a:pt x="1684" y="1322"/>
                  </a:lnTo>
                  <a:lnTo>
                    <a:pt x="1683" y="1327"/>
                  </a:lnTo>
                  <a:lnTo>
                    <a:pt x="1682" y="1332"/>
                  </a:lnTo>
                  <a:lnTo>
                    <a:pt x="1681" y="1338"/>
                  </a:lnTo>
                  <a:lnTo>
                    <a:pt x="1682" y="1344"/>
                  </a:lnTo>
                  <a:lnTo>
                    <a:pt x="1682" y="1351"/>
                  </a:lnTo>
                  <a:lnTo>
                    <a:pt x="1684" y="1356"/>
                  </a:lnTo>
                  <a:lnTo>
                    <a:pt x="1685" y="1361"/>
                  </a:lnTo>
                  <a:lnTo>
                    <a:pt x="1690" y="1370"/>
                  </a:lnTo>
                  <a:lnTo>
                    <a:pt x="1696" y="1379"/>
                  </a:lnTo>
                  <a:lnTo>
                    <a:pt x="1702" y="1388"/>
                  </a:lnTo>
                  <a:lnTo>
                    <a:pt x="1708" y="1397"/>
                  </a:lnTo>
                  <a:lnTo>
                    <a:pt x="1716" y="1407"/>
                  </a:lnTo>
                  <a:lnTo>
                    <a:pt x="1721" y="1418"/>
                  </a:lnTo>
                  <a:lnTo>
                    <a:pt x="1726" y="1430"/>
                  </a:lnTo>
                  <a:lnTo>
                    <a:pt x="1730" y="1441"/>
                  </a:lnTo>
                  <a:lnTo>
                    <a:pt x="1733" y="1452"/>
                  </a:lnTo>
                  <a:lnTo>
                    <a:pt x="1735" y="1463"/>
                  </a:lnTo>
                  <a:lnTo>
                    <a:pt x="1737" y="1485"/>
                  </a:lnTo>
                  <a:lnTo>
                    <a:pt x="1737" y="1511"/>
                  </a:lnTo>
                  <a:lnTo>
                    <a:pt x="1737" y="1516"/>
                  </a:lnTo>
                  <a:lnTo>
                    <a:pt x="1736" y="1522"/>
                  </a:lnTo>
                  <a:lnTo>
                    <a:pt x="1734" y="1526"/>
                  </a:lnTo>
                  <a:lnTo>
                    <a:pt x="1731" y="1531"/>
                  </a:lnTo>
                  <a:lnTo>
                    <a:pt x="1728" y="1535"/>
                  </a:lnTo>
                  <a:lnTo>
                    <a:pt x="1725" y="1539"/>
                  </a:lnTo>
                  <a:lnTo>
                    <a:pt x="1720" y="1543"/>
                  </a:lnTo>
                  <a:lnTo>
                    <a:pt x="1716" y="1545"/>
                  </a:lnTo>
                  <a:lnTo>
                    <a:pt x="1705" y="1550"/>
                  </a:lnTo>
                  <a:lnTo>
                    <a:pt x="1694" y="1554"/>
                  </a:lnTo>
                  <a:lnTo>
                    <a:pt x="1682" y="1557"/>
                  </a:lnTo>
                  <a:lnTo>
                    <a:pt x="1669" y="1560"/>
                  </a:lnTo>
                  <a:lnTo>
                    <a:pt x="1648" y="1564"/>
                  </a:lnTo>
                  <a:lnTo>
                    <a:pt x="1627" y="1567"/>
                  </a:lnTo>
                  <a:lnTo>
                    <a:pt x="1608" y="1571"/>
                  </a:lnTo>
                  <a:lnTo>
                    <a:pt x="1590" y="1574"/>
                  </a:lnTo>
                  <a:lnTo>
                    <a:pt x="1572" y="1576"/>
                  </a:lnTo>
                  <a:lnTo>
                    <a:pt x="1553" y="1579"/>
                  </a:lnTo>
                  <a:lnTo>
                    <a:pt x="1533" y="1582"/>
                  </a:lnTo>
                  <a:lnTo>
                    <a:pt x="1511" y="1586"/>
                  </a:lnTo>
                  <a:lnTo>
                    <a:pt x="1499" y="1588"/>
                  </a:lnTo>
                  <a:lnTo>
                    <a:pt x="1488" y="1591"/>
                  </a:lnTo>
                  <a:lnTo>
                    <a:pt x="1477" y="1594"/>
                  </a:lnTo>
                  <a:lnTo>
                    <a:pt x="1467" y="1597"/>
                  </a:lnTo>
                  <a:lnTo>
                    <a:pt x="1457" y="1601"/>
                  </a:lnTo>
                  <a:lnTo>
                    <a:pt x="1447" y="1606"/>
                  </a:lnTo>
                  <a:lnTo>
                    <a:pt x="1439" y="1611"/>
                  </a:lnTo>
                  <a:lnTo>
                    <a:pt x="1430" y="1616"/>
                  </a:lnTo>
                  <a:lnTo>
                    <a:pt x="1413" y="1627"/>
                  </a:lnTo>
                  <a:lnTo>
                    <a:pt x="1397" y="1641"/>
                  </a:lnTo>
                  <a:lnTo>
                    <a:pt x="1380" y="1656"/>
                  </a:lnTo>
                  <a:lnTo>
                    <a:pt x="1363" y="1673"/>
                  </a:lnTo>
                  <a:lnTo>
                    <a:pt x="1357" y="1678"/>
                  </a:lnTo>
                  <a:lnTo>
                    <a:pt x="1351" y="1682"/>
                  </a:lnTo>
                  <a:lnTo>
                    <a:pt x="1344" y="1686"/>
                  </a:lnTo>
                  <a:lnTo>
                    <a:pt x="1338" y="1688"/>
                  </a:lnTo>
                  <a:lnTo>
                    <a:pt x="1324" y="1693"/>
                  </a:lnTo>
                  <a:lnTo>
                    <a:pt x="1310" y="1699"/>
                  </a:lnTo>
                  <a:lnTo>
                    <a:pt x="1304" y="1701"/>
                  </a:lnTo>
                  <a:lnTo>
                    <a:pt x="1299" y="1704"/>
                  </a:lnTo>
                  <a:lnTo>
                    <a:pt x="1294" y="1707"/>
                  </a:lnTo>
                  <a:lnTo>
                    <a:pt x="1289" y="1710"/>
                  </a:lnTo>
                  <a:lnTo>
                    <a:pt x="1286" y="1714"/>
                  </a:lnTo>
                  <a:lnTo>
                    <a:pt x="1282" y="1719"/>
                  </a:lnTo>
                  <a:lnTo>
                    <a:pt x="1280" y="1725"/>
                  </a:lnTo>
                  <a:lnTo>
                    <a:pt x="1280" y="1733"/>
                  </a:lnTo>
                  <a:lnTo>
                    <a:pt x="1282" y="1740"/>
                  </a:lnTo>
                  <a:lnTo>
                    <a:pt x="1285" y="1747"/>
                  </a:lnTo>
                  <a:lnTo>
                    <a:pt x="1285" y="1755"/>
                  </a:lnTo>
                  <a:lnTo>
                    <a:pt x="1283" y="1763"/>
                  </a:lnTo>
                  <a:lnTo>
                    <a:pt x="1280" y="1769"/>
                  </a:lnTo>
                  <a:lnTo>
                    <a:pt x="1278" y="1775"/>
                  </a:lnTo>
                  <a:lnTo>
                    <a:pt x="1274" y="1781"/>
                  </a:lnTo>
                  <a:lnTo>
                    <a:pt x="1270" y="1786"/>
                  </a:lnTo>
                  <a:lnTo>
                    <a:pt x="1266" y="1792"/>
                  </a:lnTo>
                  <a:lnTo>
                    <a:pt x="1261" y="1796"/>
                  </a:lnTo>
                  <a:lnTo>
                    <a:pt x="1236" y="1813"/>
                  </a:lnTo>
                  <a:lnTo>
                    <a:pt x="1209" y="1832"/>
                  </a:lnTo>
                  <a:lnTo>
                    <a:pt x="1195" y="1843"/>
                  </a:lnTo>
                  <a:lnTo>
                    <a:pt x="1181" y="1854"/>
                  </a:lnTo>
                  <a:lnTo>
                    <a:pt x="1170" y="1867"/>
                  </a:lnTo>
                  <a:lnTo>
                    <a:pt x="1159" y="1878"/>
                  </a:lnTo>
                  <a:lnTo>
                    <a:pt x="1138" y="1903"/>
                  </a:lnTo>
                  <a:lnTo>
                    <a:pt x="1112" y="1931"/>
                  </a:lnTo>
                  <a:lnTo>
                    <a:pt x="1099" y="1941"/>
                  </a:lnTo>
                  <a:lnTo>
                    <a:pt x="1083" y="1949"/>
                  </a:lnTo>
                  <a:lnTo>
                    <a:pt x="1077" y="1955"/>
                  </a:lnTo>
                  <a:lnTo>
                    <a:pt x="1072" y="1960"/>
                  </a:lnTo>
                  <a:lnTo>
                    <a:pt x="1071" y="1963"/>
                  </a:lnTo>
                  <a:lnTo>
                    <a:pt x="1069" y="1967"/>
                  </a:lnTo>
                  <a:lnTo>
                    <a:pt x="1068" y="1971"/>
                  </a:lnTo>
                  <a:lnTo>
                    <a:pt x="1068" y="1975"/>
                  </a:lnTo>
                  <a:lnTo>
                    <a:pt x="1068" y="1990"/>
                  </a:lnTo>
                  <a:lnTo>
                    <a:pt x="1069" y="2002"/>
                  </a:lnTo>
                  <a:lnTo>
                    <a:pt x="1070" y="2016"/>
                  </a:lnTo>
                  <a:lnTo>
                    <a:pt x="1072" y="2027"/>
                  </a:lnTo>
                  <a:lnTo>
                    <a:pt x="1077" y="2051"/>
                  </a:lnTo>
                  <a:lnTo>
                    <a:pt x="1082" y="2073"/>
                  </a:lnTo>
                  <a:lnTo>
                    <a:pt x="1088" y="2095"/>
                  </a:lnTo>
                  <a:lnTo>
                    <a:pt x="1092" y="2119"/>
                  </a:lnTo>
                  <a:lnTo>
                    <a:pt x="1094" y="2130"/>
                  </a:lnTo>
                  <a:lnTo>
                    <a:pt x="1095" y="2144"/>
                  </a:lnTo>
                  <a:lnTo>
                    <a:pt x="1096" y="2157"/>
                  </a:lnTo>
                  <a:lnTo>
                    <a:pt x="1096" y="2170"/>
                  </a:lnTo>
                  <a:lnTo>
                    <a:pt x="1096" y="2280"/>
                  </a:lnTo>
                  <a:lnTo>
                    <a:pt x="1091" y="2296"/>
                  </a:lnTo>
                  <a:lnTo>
                    <a:pt x="1084" y="2312"/>
                  </a:lnTo>
                  <a:lnTo>
                    <a:pt x="1077" y="2326"/>
                  </a:lnTo>
                  <a:lnTo>
                    <a:pt x="1069" y="2340"/>
                  </a:lnTo>
                  <a:lnTo>
                    <a:pt x="1060" y="2353"/>
                  </a:lnTo>
                  <a:lnTo>
                    <a:pt x="1049" y="2366"/>
                  </a:lnTo>
                  <a:lnTo>
                    <a:pt x="1038" y="2378"/>
                  </a:lnTo>
                  <a:lnTo>
                    <a:pt x="1026" y="2391"/>
                  </a:lnTo>
                  <a:lnTo>
                    <a:pt x="1018" y="2373"/>
                  </a:lnTo>
                  <a:lnTo>
                    <a:pt x="1011" y="2354"/>
                  </a:lnTo>
                  <a:lnTo>
                    <a:pt x="1002" y="2338"/>
                  </a:lnTo>
                  <a:lnTo>
                    <a:pt x="993" y="2322"/>
                  </a:lnTo>
                  <a:lnTo>
                    <a:pt x="981" y="2308"/>
                  </a:lnTo>
                  <a:lnTo>
                    <a:pt x="969" y="2293"/>
                  </a:lnTo>
                  <a:lnTo>
                    <a:pt x="953" y="2281"/>
                  </a:lnTo>
                  <a:lnTo>
                    <a:pt x="936" y="2268"/>
                  </a:lnTo>
                  <a:lnTo>
                    <a:pt x="925" y="2262"/>
                  </a:lnTo>
                  <a:lnTo>
                    <a:pt x="914" y="2258"/>
                  </a:lnTo>
                  <a:lnTo>
                    <a:pt x="903" y="2255"/>
                  </a:lnTo>
                  <a:lnTo>
                    <a:pt x="893" y="2252"/>
                  </a:lnTo>
                  <a:lnTo>
                    <a:pt x="882" y="2249"/>
                  </a:lnTo>
                  <a:lnTo>
                    <a:pt x="873" y="2244"/>
                  </a:lnTo>
                  <a:lnTo>
                    <a:pt x="869" y="2241"/>
                  </a:lnTo>
                  <a:lnTo>
                    <a:pt x="865" y="2238"/>
                  </a:lnTo>
                  <a:lnTo>
                    <a:pt x="862" y="2233"/>
                  </a:lnTo>
                  <a:lnTo>
                    <a:pt x="859" y="2228"/>
                  </a:lnTo>
                  <a:lnTo>
                    <a:pt x="865" y="2185"/>
                  </a:lnTo>
                  <a:lnTo>
                    <a:pt x="864" y="2175"/>
                  </a:lnTo>
                  <a:lnTo>
                    <a:pt x="861" y="2165"/>
                  </a:lnTo>
                  <a:lnTo>
                    <a:pt x="857" y="2156"/>
                  </a:lnTo>
                  <a:lnTo>
                    <a:pt x="852" y="2148"/>
                  </a:lnTo>
                  <a:lnTo>
                    <a:pt x="846" y="2141"/>
                  </a:lnTo>
                  <a:lnTo>
                    <a:pt x="840" y="2133"/>
                  </a:lnTo>
                  <a:lnTo>
                    <a:pt x="833" y="2127"/>
                  </a:lnTo>
                  <a:lnTo>
                    <a:pt x="826" y="2122"/>
                  </a:lnTo>
                  <a:lnTo>
                    <a:pt x="817" y="2117"/>
                  </a:lnTo>
                  <a:lnTo>
                    <a:pt x="809" y="2112"/>
                  </a:lnTo>
                  <a:lnTo>
                    <a:pt x="800" y="2107"/>
                  </a:lnTo>
                  <a:lnTo>
                    <a:pt x="790" y="2104"/>
                  </a:lnTo>
                  <a:lnTo>
                    <a:pt x="770" y="2098"/>
                  </a:lnTo>
                  <a:lnTo>
                    <a:pt x="749" y="2093"/>
                  </a:lnTo>
                  <a:lnTo>
                    <a:pt x="748" y="2082"/>
                  </a:lnTo>
                  <a:lnTo>
                    <a:pt x="746" y="2073"/>
                  </a:lnTo>
                  <a:lnTo>
                    <a:pt x="745" y="2064"/>
                  </a:lnTo>
                  <a:lnTo>
                    <a:pt x="742" y="2053"/>
                  </a:lnTo>
                  <a:lnTo>
                    <a:pt x="749" y="1997"/>
                  </a:lnTo>
                  <a:lnTo>
                    <a:pt x="749" y="1990"/>
                  </a:lnTo>
                  <a:lnTo>
                    <a:pt x="747" y="1983"/>
                  </a:lnTo>
                  <a:lnTo>
                    <a:pt x="745" y="1976"/>
                  </a:lnTo>
                  <a:lnTo>
                    <a:pt x="743" y="1970"/>
                  </a:lnTo>
                  <a:lnTo>
                    <a:pt x="738" y="1959"/>
                  </a:lnTo>
                  <a:lnTo>
                    <a:pt x="732" y="1948"/>
                  </a:lnTo>
                  <a:lnTo>
                    <a:pt x="727" y="1937"/>
                  </a:lnTo>
                  <a:lnTo>
                    <a:pt x="721" y="1926"/>
                  </a:lnTo>
                  <a:lnTo>
                    <a:pt x="719" y="1920"/>
                  </a:lnTo>
                  <a:lnTo>
                    <a:pt x="718" y="1913"/>
                  </a:lnTo>
                  <a:lnTo>
                    <a:pt x="717" y="1907"/>
                  </a:lnTo>
                  <a:lnTo>
                    <a:pt x="716" y="1900"/>
                  </a:lnTo>
                  <a:lnTo>
                    <a:pt x="717" y="1894"/>
                  </a:lnTo>
                  <a:lnTo>
                    <a:pt x="719" y="1889"/>
                  </a:lnTo>
                  <a:lnTo>
                    <a:pt x="722" y="1884"/>
                  </a:lnTo>
                  <a:lnTo>
                    <a:pt x="726" y="1879"/>
                  </a:lnTo>
                  <a:lnTo>
                    <a:pt x="730" y="1875"/>
                  </a:lnTo>
                  <a:lnTo>
                    <a:pt x="733" y="1871"/>
                  </a:lnTo>
                  <a:lnTo>
                    <a:pt x="735" y="1866"/>
                  </a:lnTo>
                  <a:lnTo>
                    <a:pt x="736" y="1860"/>
                  </a:lnTo>
                  <a:lnTo>
                    <a:pt x="735" y="1835"/>
                  </a:lnTo>
                  <a:lnTo>
                    <a:pt x="733" y="1812"/>
                  </a:lnTo>
                  <a:lnTo>
                    <a:pt x="730" y="1790"/>
                  </a:lnTo>
                  <a:lnTo>
                    <a:pt x="725" y="1770"/>
                  </a:lnTo>
                  <a:lnTo>
                    <a:pt x="719" y="1749"/>
                  </a:lnTo>
                  <a:lnTo>
                    <a:pt x="713" y="1730"/>
                  </a:lnTo>
                  <a:lnTo>
                    <a:pt x="706" y="1711"/>
                  </a:lnTo>
                  <a:lnTo>
                    <a:pt x="699" y="1692"/>
                  </a:lnTo>
                  <a:lnTo>
                    <a:pt x="682" y="1655"/>
                  </a:lnTo>
                  <a:lnTo>
                    <a:pt x="666" y="1616"/>
                  </a:lnTo>
                  <a:lnTo>
                    <a:pt x="658" y="1596"/>
                  </a:lnTo>
                  <a:lnTo>
                    <a:pt x="649" y="1575"/>
                  </a:lnTo>
                  <a:lnTo>
                    <a:pt x="641" y="1553"/>
                  </a:lnTo>
                  <a:lnTo>
                    <a:pt x="634" y="1529"/>
                  </a:lnTo>
                  <a:lnTo>
                    <a:pt x="632" y="1523"/>
                  </a:lnTo>
                  <a:lnTo>
                    <a:pt x="630" y="1518"/>
                  </a:lnTo>
                  <a:lnTo>
                    <a:pt x="628" y="1514"/>
                  </a:lnTo>
                  <a:lnTo>
                    <a:pt x="625" y="1510"/>
                  </a:lnTo>
                  <a:lnTo>
                    <a:pt x="617" y="1502"/>
                  </a:lnTo>
                  <a:lnTo>
                    <a:pt x="609" y="1496"/>
                  </a:lnTo>
                  <a:lnTo>
                    <a:pt x="600" y="1492"/>
                  </a:lnTo>
                  <a:lnTo>
                    <a:pt x="589" y="1489"/>
                  </a:lnTo>
                  <a:lnTo>
                    <a:pt x="578" y="1487"/>
                  </a:lnTo>
                  <a:lnTo>
                    <a:pt x="567" y="1485"/>
                  </a:lnTo>
                  <a:lnTo>
                    <a:pt x="543" y="1482"/>
                  </a:lnTo>
                  <a:lnTo>
                    <a:pt x="519" y="1478"/>
                  </a:lnTo>
                  <a:lnTo>
                    <a:pt x="508" y="1473"/>
                  </a:lnTo>
                  <a:lnTo>
                    <a:pt x="497" y="1469"/>
                  </a:lnTo>
                  <a:lnTo>
                    <a:pt x="486" y="1463"/>
                  </a:lnTo>
                  <a:lnTo>
                    <a:pt x="476" y="1456"/>
                  </a:lnTo>
                  <a:lnTo>
                    <a:pt x="471" y="1451"/>
                  </a:lnTo>
                  <a:lnTo>
                    <a:pt x="466" y="1445"/>
                  </a:lnTo>
                  <a:lnTo>
                    <a:pt x="462" y="1438"/>
                  </a:lnTo>
                  <a:lnTo>
                    <a:pt x="458" y="1432"/>
                  </a:lnTo>
                  <a:lnTo>
                    <a:pt x="455" y="1426"/>
                  </a:lnTo>
                  <a:lnTo>
                    <a:pt x="453" y="1419"/>
                  </a:lnTo>
                  <a:lnTo>
                    <a:pt x="452" y="1413"/>
                  </a:lnTo>
                  <a:lnTo>
                    <a:pt x="451" y="1405"/>
                  </a:lnTo>
                  <a:lnTo>
                    <a:pt x="451" y="1375"/>
                  </a:lnTo>
                  <a:lnTo>
                    <a:pt x="452" y="1342"/>
                  </a:lnTo>
                  <a:lnTo>
                    <a:pt x="452" y="1334"/>
                  </a:lnTo>
                  <a:lnTo>
                    <a:pt x="452" y="1325"/>
                  </a:lnTo>
                  <a:lnTo>
                    <a:pt x="451" y="1315"/>
                  </a:lnTo>
                  <a:lnTo>
                    <a:pt x="449" y="1307"/>
                  </a:lnTo>
                  <a:lnTo>
                    <a:pt x="447" y="1300"/>
                  </a:lnTo>
                  <a:lnTo>
                    <a:pt x="443" y="1294"/>
                  </a:lnTo>
                  <a:lnTo>
                    <a:pt x="440" y="1292"/>
                  </a:lnTo>
                  <a:lnTo>
                    <a:pt x="437" y="1290"/>
                  </a:lnTo>
                  <a:lnTo>
                    <a:pt x="433" y="1289"/>
                  </a:lnTo>
                  <a:lnTo>
                    <a:pt x="429" y="1289"/>
                  </a:lnTo>
                  <a:lnTo>
                    <a:pt x="419" y="1289"/>
                  </a:lnTo>
                  <a:lnTo>
                    <a:pt x="410" y="1292"/>
                  </a:lnTo>
                  <a:lnTo>
                    <a:pt x="401" y="1295"/>
                  </a:lnTo>
                  <a:lnTo>
                    <a:pt x="394" y="1299"/>
                  </a:lnTo>
                  <a:lnTo>
                    <a:pt x="379" y="1310"/>
                  </a:lnTo>
                  <a:lnTo>
                    <a:pt x="366" y="1323"/>
                  </a:lnTo>
                  <a:lnTo>
                    <a:pt x="352" y="1335"/>
                  </a:lnTo>
                  <a:lnTo>
                    <a:pt x="338" y="1346"/>
                  </a:lnTo>
                  <a:lnTo>
                    <a:pt x="330" y="1351"/>
                  </a:lnTo>
                  <a:lnTo>
                    <a:pt x="321" y="1354"/>
                  </a:lnTo>
                  <a:lnTo>
                    <a:pt x="312" y="1356"/>
                  </a:lnTo>
                  <a:lnTo>
                    <a:pt x="302" y="1357"/>
                  </a:lnTo>
                  <a:lnTo>
                    <a:pt x="296" y="1357"/>
                  </a:lnTo>
                  <a:lnTo>
                    <a:pt x="289" y="1356"/>
                  </a:lnTo>
                  <a:lnTo>
                    <a:pt x="284" y="1354"/>
                  </a:lnTo>
                  <a:lnTo>
                    <a:pt x="279" y="1352"/>
                  </a:lnTo>
                  <a:lnTo>
                    <a:pt x="270" y="1346"/>
                  </a:lnTo>
                  <a:lnTo>
                    <a:pt x="262" y="1339"/>
                  </a:lnTo>
                  <a:lnTo>
                    <a:pt x="246" y="1321"/>
                  </a:lnTo>
                  <a:lnTo>
                    <a:pt x="231" y="1300"/>
                  </a:lnTo>
                  <a:lnTo>
                    <a:pt x="223" y="1293"/>
                  </a:lnTo>
                  <a:lnTo>
                    <a:pt x="215" y="1286"/>
                  </a:lnTo>
                  <a:lnTo>
                    <a:pt x="207" y="1280"/>
                  </a:lnTo>
                  <a:lnTo>
                    <a:pt x="198" y="1275"/>
                  </a:lnTo>
                  <a:lnTo>
                    <a:pt x="189" y="1270"/>
                  </a:lnTo>
                  <a:lnTo>
                    <a:pt x="183" y="1264"/>
                  </a:lnTo>
                  <a:lnTo>
                    <a:pt x="180" y="1260"/>
                  </a:lnTo>
                  <a:lnTo>
                    <a:pt x="178" y="1256"/>
                  </a:lnTo>
                  <a:lnTo>
                    <a:pt x="176" y="1251"/>
                  </a:lnTo>
                  <a:lnTo>
                    <a:pt x="175" y="1246"/>
                  </a:lnTo>
                  <a:lnTo>
                    <a:pt x="198" y="1151"/>
                  </a:lnTo>
                  <a:lnTo>
                    <a:pt x="188" y="1144"/>
                  </a:lnTo>
                  <a:lnTo>
                    <a:pt x="178" y="1138"/>
                  </a:lnTo>
                  <a:lnTo>
                    <a:pt x="169" y="1133"/>
                  </a:lnTo>
                  <a:lnTo>
                    <a:pt x="158" y="1130"/>
                  </a:lnTo>
                  <a:lnTo>
                    <a:pt x="137" y="1124"/>
                  </a:lnTo>
                  <a:lnTo>
                    <a:pt x="116" y="1122"/>
                  </a:lnTo>
                  <a:lnTo>
                    <a:pt x="94" y="1119"/>
                  </a:lnTo>
                  <a:lnTo>
                    <a:pt x="74" y="1115"/>
                  </a:lnTo>
                  <a:lnTo>
                    <a:pt x="65" y="1111"/>
                  </a:lnTo>
                  <a:lnTo>
                    <a:pt x="54" y="1106"/>
                  </a:lnTo>
                  <a:lnTo>
                    <a:pt x="45" y="1101"/>
                  </a:lnTo>
                  <a:lnTo>
                    <a:pt x="36" y="1092"/>
                  </a:lnTo>
                  <a:lnTo>
                    <a:pt x="31" y="1087"/>
                  </a:lnTo>
                  <a:lnTo>
                    <a:pt x="26" y="1083"/>
                  </a:lnTo>
                  <a:lnTo>
                    <a:pt x="23" y="1078"/>
                  </a:lnTo>
                  <a:lnTo>
                    <a:pt x="20" y="1073"/>
                  </a:lnTo>
                  <a:lnTo>
                    <a:pt x="16" y="1061"/>
                  </a:lnTo>
                  <a:lnTo>
                    <a:pt x="12" y="1050"/>
                  </a:lnTo>
                  <a:lnTo>
                    <a:pt x="8" y="1026"/>
                  </a:lnTo>
                  <a:lnTo>
                    <a:pt x="3" y="1000"/>
                  </a:lnTo>
                  <a:lnTo>
                    <a:pt x="0" y="807"/>
                  </a:lnTo>
                  <a:lnTo>
                    <a:pt x="1" y="791"/>
                  </a:lnTo>
                  <a:lnTo>
                    <a:pt x="2" y="774"/>
                  </a:lnTo>
                  <a:lnTo>
                    <a:pt x="3" y="760"/>
                  </a:lnTo>
                  <a:lnTo>
                    <a:pt x="6" y="744"/>
                  </a:lnTo>
                  <a:lnTo>
                    <a:pt x="9" y="731"/>
                  </a:lnTo>
                  <a:lnTo>
                    <a:pt x="13" y="717"/>
                  </a:lnTo>
                  <a:lnTo>
                    <a:pt x="17" y="704"/>
                  </a:lnTo>
                  <a:lnTo>
                    <a:pt x="23" y="691"/>
                  </a:lnTo>
                  <a:lnTo>
                    <a:pt x="29" y="678"/>
                  </a:lnTo>
                  <a:lnTo>
                    <a:pt x="37" y="666"/>
                  </a:lnTo>
                  <a:lnTo>
                    <a:pt x="44" y="654"/>
                  </a:lnTo>
                  <a:lnTo>
                    <a:pt x="52" y="642"/>
                  </a:lnTo>
                  <a:lnTo>
                    <a:pt x="61" y="630"/>
                  </a:lnTo>
                  <a:lnTo>
                    <a:pt x="72" y="618"/>
                  </a:lnTo>
                  <a:lnTo>
                    <a:pt x="83" y="606"/>
                  </a:lnTo>
                  <a:lnTo>
                    <a:pt x="94" y="595"/>
                  </a:lnTo>
                  <a:lnTo>
                    <a:pt x="105" y="582"/>
                  </a:lnTo>
                  <a:lnTo>
                    <a:pt x="114" y="569"/>
                  </a:lnTo>
                  <a:lnTo>
                    <a:pt x="122" y="555"/>
                  </a:lnTo>
                  <a:lnTo>
                    <a:pt x="131" y="544"/>
                  </a:lnTo>
                  <a:lnTo>
                    <a:pt x="136" y="538"/>
                  </a:lnTo>
                  <a:lnTo>
                    <a:pt x="140" y="533"/>
                  </a:lnTo>
                  <a:lnTo>
                    <a:pt x="145" y="529"/>
                  </a:lnTo>
                  <a:lnTo>
                    <a:pt x="150" y="524"/>
                  </a:lnTo>
                  <a:lnTo>
                    <a:pt x="156" y="521"/>
                  </a:lnTo>
                  <a:lnTo>
                    <a:pt x="163" y="518"/>
                  </a:lnTo>
                  <a:lnTo>
                    <a:pt x="170" y="517"/>
                  </a:lnTo>
                  <a:lnTo>
                    <a:pt x="177" y="516"/>
                  </a:lnTo>
                  <a:lnTo>
                    <a:pt x="223" y="516"/>
                  </a:lnTo>
                  <a:lnTo>
                    <a:pt x="232" y="516"/>
                  </a:lnTo>
                  <a:lnTo>
                    <a:pt x="239" y="514"/>
                  </a:lnTo>
                  <a:lnTo>
                    <a:pt x="247" y="512"/>
                  </a:lnTo>
                  <a:lnTo>
                    <a:pt x="255" y="512"/>
                  </a:lnTo>
                  <a:lnTo>
                    <a:pt x="383" y="512"/>
                  </a:lnTo>
                  <a:lnTo>
                    <a:pt x="397" y="511"/>
                  </a:lnTo>
                  <a:lnTo>
                    <a:pt x="409" y="509"/>
                  </a:lnTo>
                  <a:lnTo>
                    <a:pt x="419" y="507"/>
                  </a:lnTo>
                  <a:lnTo>
                    <a:pt x="431" y="503"/>
                  </a:lnTo>
                  <a:lnTo>
                    <a:pt x="450" y="495"/>
                  </a:lnTo>
                  <a:lnTo>
                    <a:pt x="470" y="484"/>
                  </a:lnTo>
                  <a:lnTo>
                    <a:pt x="489" y="475"/>
                  </a:lnTo>
                  <a:lnTo>
                    <a:pt x="509" y="466"/>
                  </a:lnTo>
                  <a:lnTo>
                    <a:pt x="520" y="462"/>
                  </a:lnTo>
                  <a:lnTo>
                    <a:pt x="532" y="459"/>
                  </a:lnTo>
                  <a:lnTo>
                    <a:pt x="543" y="458"/>
                  </a:lnTo>
                  <a:lnTo>
                    <a:pt x="556" y="457"/>
                  </a:lnTo>
                  <a:lnTo>
                    <a:pt x="565" y="458"/>
                  </a:lnTo>
                  <a:lnTo>
                    <a:pt x="572" y="459"/>
                  </a:lnTo>
                  <a:lnTo>
                    <a:pt x="578" y="461"/>
                  </a:lnTo>
                  <a:lnTo>
                    <a:pt x="585" y="464"/>
                  </a:lnTo>
                  <a:lnTo>
                    <a:pt x="597" y="471"/>
                  </a:lnTo>
                  <a:lnTo>
                    <a:pt x="608" y="479"/>
                  </a:lnTo>
                  <a:lnTo>
                    <a:pt x="619" y="486"/>
                  </a:lnTo>
                  <a:lnTo>
                    <a:pt x="632" y="493"/>
                  </a:lnTo>
                  <a:lnTo>
                    <a:pt x="638" y="496"/>
                  </a:lnTo>
                  <a:lnTo>
                    <a:pt x="645" y="498"/>
                  </a:lnTo>
                  <a:lnTo>
                    <a:pt x="652" y="500"/>
                  </a:lnTo>
                  <a:lnTo>
                    <a:pt x="660" y="500"/>
                  </a:lnTo>
                  <a:lnTo>
                    <a:pt x="674" y="500"/>
                  </a:lnTo>
                  <a:lnTo>
                    <a:pt x="687" y="499"/>
                  </a:lnTo>
                  <a:lnTo>
                    <a:pt x="701" y="497"/>
                  </a:lnTo>
                  <a:lnTo>
                    <a:pt x="714" y="495"/>
                  </a:lnTo>
                  <a:lnTo>
                    <a:pt x="727" y="491"/>
                  </a:lnTo>
                  <a:lnTo>
                    <a:pt x="739" y="487"/>
                  </a:lnTo>
                  <a:lnTo>
                    <a:pt x="751" y="483"/>
                  </a:lnTo>
                  <a:lnTo>
                    <a:pt x="763" y="477"/>
                  </a:lnTo>
                  <a:lnTo>
                    <a:pt x="773" y="471"/>
                  </a:lnTo>
                  <a:lnTo>
                    <a:pt x="782" y="464"/>
                  </a:lnTo>
                  <a:lnTo>
                    <a:pt x="792" y="455"/>
                  </a:lnTo>
                  <a:lnTo>
                    <a:pt x="799" y="447"/>
                  </a:lnTo>
                  <a:lnTo>
                    <a:pt x="805" y="437"/>
                  </a:lnTo>
                  <a:lnTo>
                    <a:pt x="810" y="425"/>
                  </a:lnTo>
                  <a:lnTo>
                    <a:pt x="813" y="414"/>
                  </a:lnTo>
                  <a:lnTo>
                    <a:pt x="815" y="401"/>
                  </a:lnTo>
                  <a:lnTo>
                    <a:pt x="781" y="394"/>
                  </a:lnTo>
                  <a:lnTo>
                    <a:pt x="748" y="386"/>
                  </a:lnTo>
                  <a:lnTo>
                    <a:pt x="741" y="384"/>
                  </a:lnTo>
                  <a:lnTo>
                    <a:pt x="735" y="381"/>
                  </a:lnTo>
                  <a:lnTo>
                    <a:pt x="729" y="377"/>
                  </a:lnTo>
                  <a:lnTo>
                    <a:pt x="724" y="373"/>
                  </a:lnTo>
                  <a:lnTo>
                    <a:pt x="720" y="367"/>
                  </a:lnTo>
                  <a:lnTo>
                    <a:pt x="717" y="361"/>
                  </a:lnTo>
                  <a:lnTo>
                    <a:pt x="715" y="354"/>
                  </a:lnTo>
                  <a:lnTo>
                    <a:pt x="714" y="347"/>
                  </a:lnTo>
                  <a:lnTo>
                    <a:pt x="715" y="341"/>
                  </a:lnTo>
                  <a:lnTo>
                    <a:pt x="716" y="334"/>
                  </a:lnTo>
                  <a:lnTo>
                    <a:pt x="719" y="329"/>
                  </a:lnTo>
                  <a:lnTo>
                    <a:pt x="722" y="325"/>
                  </a:lnTo>
                  <a:lnTo>
                    <a:pt x="732" y="317"/>
                  </a:lnTo>
                  <a:lnTo>
                    <a:pt x="741" y="310"/>
                  </a:lnTo>
                  <a:lnTo>
                    <a:pt x="751" y="302"/>
                  </a:lnTo>
                  <a:lnTo>
                    <a:pt x="760" y="294"/>
                  </a:lnTo>
                  <a:lnTo>
                    <a:pt x="764" y="290"/>
                  </a:lnTo>
                  <a:lnTo>
                    <a:pt x="766" y="285"/>
                  </a:lnTo>
                  <a:lnTo>
                    <a:pt x="768" y="280"/>
                  </a:lnTo>
                  <a:lnTo>
                    <a:pt x="769" y="274"/>
                  </a:lnTo>
                  <a:lnTo>
                    <a:pt x="769" y="250"/>
                  </a:lnTo>
                  <a:lnTo>
                    <a:pt x="770" y="228"/>
                  </a:lnTo>
                  <a:lnTo>
                    <a:pt x="772" y="208"/>
                  </a:lnTo>
                  <a:lnTo>
                    <a:pt x="774" y="189"/>
                  </a:lnTo>
                  <a:lnTo>
                    <a:pt x="778" y="170"/>
                  </a:lnTo>
                  <a:lnTo>
                    <a:pt x="783" y="151"/>
                  </a:lnTo>
                  <a:lnTo>
                    <a:pt x="790" y="130"/>
                  </a:lnTo>
                  <a:lnTo>
                    <a:pt x="797" y="108"/>
                  </a:lnTo>
                  <a:lnTo>
                    <a:pt x="806" y="75"/>
                  </a:lnTo>
                  <a:lnTo>
                    <a:pt x="815" y="45"/>
                  </a:lnTo>
                  <a:lnTo>
                    <a:pt x="818" y="38"/>
                  </a:lnTo>
                  <a:lnTo>
                    <a:pt x="821" y="32"/>
                  </a:lnTo>
                  <a:lnTo>
                    <a:pt x="825" y="26"/>
                  </a:lnTo>
                  <a:lnTo>
                    <a:pt x="829" y="19"/>
                  </a:lnTo>
                  <a:lnTo>
                    <a:pt x="834" y="14"/>
                  </a:lnTo>
                  <a:lnTo>
                    <a:pt x="840" y="9"/>
                  </a:lnTo>
                  <a:lnTo>
                    <a:pt x="846" y="4"/>
                  </a:lnTo>
                  <a:lnTo>
                    <a:pt x="853" y="0"/>
                  </a:lnTo>
                  <a:lnTo>
                    <a:pt x="870" y="28"/>
                  </a:lnTo>
                  <a:lnTo>
                    <a:pt x="885" y="54"/>
                  </a:lnTo>
                  <a:lnTo>
                    <a:pt x="890" y="59"/>
                  </a:lnTo>
                  <a:lnTo>
                    <a:pt x="894" y="64"/>
                  </a:lnTo>
                  <a:lnTo>
                    <a:pt x="899" y="68"/>
                  </a:lnTo>
                  <a:lnTo>
                    <a:pt x="905" y="72"/>
                  </a:lnTo>
                  <a:lnTo>
                    <a:pt x="910" y="75"/>
                  </a:lnTo>
                  <a:lnTo>
                    <a:pt x="917" y="77"/>
                  </a:lnTo>
                  <a:lnTo>
                    <a:pt x="924" y="79"/>
                  </a:lnTo>
                  <a:lnTo>
                    <a:pt x="932" y="79"/>
                  </a:lnTo>
                  <a:lnTo>
                    <a:pt x="978" y="79"/>
                  </a:lnTo>
                  <a:lnTo>
                    <a:pt x="991" y="80"/>
                  </a:lnTo>
                  <a:lnTo>
                    <a:pt x="1002" y="82"/>
                  </a:lnTo>
                  <a:lnTo>
                    <a:pt x="1013" y="86"/>
                  </a:lnTo>
                  <a:lnTo>
                    <a:pt x="1024" y="90"/>
                  </a:lnTo>
                  <a:lnTo>
                    <a:pt x="1044" y="99"/>
                  </a:lnTo>
                  <a:lnTo>
                    <a:pt x="1068" y="108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 dirty="0" err="1">
                  <a:latin typeface="Calibri" panose="020F0502020204030204" pitchFamily="34" charset="0"/>
                </a:rPr>
                <a:t>IvanoFrankivsk</a:t>
              </a:r>
              <a:endParaRPr lang="ru-RU" altLang="ru-RU" sz="675" dirty="0">
                <a:latin typeface="Calibri" panose="020F0502020204030204" pitchFamily="34" charset="0"/>
              </a:endParaRPr>
            </a:p>
          </p:txBody>
        </p:sp>
        <p:sp>
          <p:nvSpPr>
            <p:cNvPr id="38" name="Interv5"/>
            <p:cNvSpPr>
              <a:spLocks noChangeArrowheads="1"/>
            </p:cNvSpPr>
            <p:nvPr/>
          </p:nvSpPr>
          <p:spPr bwMode="auto">
            <a:xfrm>
              <a:off x="549" y="4005"/>
              <a:ext cx="261" cy="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ru-RU" altLang="ru-RU" sz="675">
                <a:latin typeface="Calibri" panose="020F0502020204030204" pitchFamily="34" charset="0"/>
              </a:endParaRPr>
            </a:p>
          </p:txBody>
        </p:sp>
        <p:sp>
          <p:nvSpPr>
            <p:cNvPr id="39" name="Cherkasy"/>
            <p:cNvSpPr>
              <a:spLocks/>
            </p:cNvSpPr>
            <p:nvPr/>
          </p:nvSpPr>
          <p:spPr bwMode="auto">
            <a:xfrm>
              <a:off x="2472" y="1882"/>
              <a:ext cx="830" cy="679"/>
            </a:xfrm>
            <a:custGeom>
              <a:avLst/>
              <a:gdLst>
                <a:gd name="T0" fmla="*/ 345 w 2765"/>
                <a:gd name="T1" fmla="*/ 217 h 2344"/>
                <a:gd name="T2" fmla="*/ 345 w 2765"/>
                <a:gd name="T3" fmla="*/ 217 h 2344"/>
                <a:gd name="T4" fmla="*/ 345 w 2765"/>
                <a:gd name="T5" fmla="*/ 217 h 2344"/>
                <a:gd name="T6" fmla="*/ 345 w 2765"/>
                <a:gd name="T7" fmla="*/ 217 h 2344"/>
                <a:gd name="T8" fmla="*/ 345 w 2765"/>
                <a:gd name="T9" fmla="*/ 217 h 2344"/>
                <a:gd name="T10" fmla="*/ 345 w 2765"/>
                <a:gd name="T11" fmla="*/ 217 h 2344"/>
                <a:gd name="T12" fmla="*/ 345 w 2765"/>
                <a:gd name="T13" fmla="*/ 217 h 2344"/>
                <a:gd name="T14" fmla="*/ 345 w 2765"/>
                <a:gd name="T15" fmla="*/ 217 h 2344"/>
                <a:gd name="T16" fmla="*/ 345 w 2765"/>
                <a:gd name="T17" fmla="*/ 217 h 2344"/>
                <a:gd name="T18" fmla="*/ 345 w 2765"/>
                <a:gd name="T19" fmla="*/ 217 h 2344"/>
                <a:gd name="T20" fmla="*/ 345 w 2765"/>
                <a:gd name="T21" fmla="*/ 217 h 2344"/>
                <a:gd name="T22" fmla="*/ 345 w 2765"/>
                <a:gd name="T23" fmla="*/ 217 h 2344"/>
                <a:gd name="T24" fmla="*/ 345 w 2765"/>
                <a:gd name="T25" fmla="*/ 217 h 2344"/>
                <a:gd name="T26" fmla="*/ 345 w 2765"/>
                <a:gd name="T27" fmla="*/ 217 h 2344"/>
                <a:gd name="T28" fmla="*/ 345 w 2765"/>
                <a:gd name="T29" fmla="*/ 217 h 2344"/>
                <a:gd name="T30" fmla="*/ 345 w 2765"/>
                <a:gd name="T31" fmla="*/ 217 h 2344"/>
                <a:gd name="T32" fmla="*/ 345 w 2765"/>
                <a:gd name="T33" fmla="*/ 217 h 2344"/>
                <a:gd name="T34" fmla="*/ 345 w 2765"/>
                <a:gd name="T35" fmla="*/ 217 h 2344"/>
                <a:gd name="T36" fmla="*/ 345 w 2765"/>
                <a:gd name="T37" fmla="*/ 217 h 2344"/>
                <a:gd name="T38" fmla="*/ 345 w 2765"/>
                <a:gd name="T39" fmla="*/ 217 h 2344"/>
                <a:gd name="T40" fmla="*/ 345 w 2765"/>
                <a:gd name="T41" fmla="*/ 217 h 2344"/>
                <a:gd name="T42" fmla="*/ 345 w 2765"/>
                <a:gd name="T43" fmla="*/ 217 h 2344"/>
                <a:gd name="T44" fmla="*/ 345 w 2765"/>
                <a:gd name="T45" fmla="*/ 217 h 2344"/>
                <a:gd name="T46" fmla="*/ 345 w 2765"/>
                <a:gd name="T47" fmla="*/ 217 h 2344"/>
                <a:gd name="T48" fmla="*/ 345 w 2765"/>
                <a:gd name="T49" fmla="*/ 217 h 2344"/>
                <a:gd name="T50" fmla="*/ 345 w 2765"/>
                <a:gd name="T51" fmla="*/ 217 h 2344"/>
                <a:gd name="T52" fmla="*/ 345 w 2765"/>
                <a:gd name="T53" fmla="*/ 217 h 2344"/>
                <a:gd name="T54" fmla="*/ 345 w 2765"/>
                <a:gd name="T55" fmla="*/ 217 h 2344"/>
                <a:gd name="T56" fmla="*/ 345 w 2765"/>
                <a:gd name="T57" fmla="*/ 217 h 2344"/>
                <a:gd name="T58" fmla="*/ 345 w 2765"/>
                <a:gd name="T59" fmla="*/ 217 h 2344"/>
                <a:gd name="T60" fmla="*/ 345 w 2765"/>
                <a:gd name="T61" fmla="*/ 217 h 2344"/>
                <a:gd name="T62" fmla="*/ 345 w 2765"/>
                <a:gd name="T63" fmla="*/ 217 h 2344"/>
                <a:gd name="T64" fmla="*/ 345 w 2765"/>
                <a:gd name="T65" fmla="*/ 217 h 2344"/>
                <a:gd name="T66" fmla="*/ 345 w 2765"/>
                <a:gd name="T67" fmla="*/ 217 h 2344"/>
                <a:gd name="T68" fmla="*/ 345 w 2765"/>
                <a:gd name="T69" fmla="*/ 217 h 2344"/>
                <a:gd name="T70" fmla="*/ 345 w 2765"/>
                <a:gd name="T71" fmla="*/ 217 h 2344"/>
                <a:gd name="T72" fmla="*/ 345 w 2765"/>
                <a:gd name="T73" fmla="*/ 217 h 2344"/>
                <a:gd name="T74" fmla="*/ 345 w 2765"/>
                <a:gd name="T75" fmla="*/ 217 h 2344"/>
                <a:gd name="T76" fmla="*/ 345 w 2765"/>
                <a:gd name="T77" fmla="*/ 217 h 2344"/>
                <a:gd name="T78" fmla="*/ 345 w 2765"/>
                <a:gd name="T79" fmla="*/ 217 h 2344"/>
                <a:gd name="T80" fmla="*/ 345 w 2765"/>
                <a:gd name="T81" fmla="*/ 217 h 2344"/>
                <a:gd name="T82" fmla="*/ 345 w 2765"/>
                <a:gd name="T83" fmla="*/ 217 h 2344"/>
                <a:gd name="T84" fmla="*/ 345 w 2765"/>
                <a:gd name="T85" fmla="*/ 217 h 2344"/>
                <a:gd name="T86" fmla="*/ 345 w 2765"/>
                <a:gd name="T87" fmla="*/ 217 h 2344"/>
                <a:gd name="T88" fmla="*/ 345 w 2765"/>
                <a:gd name="T89" fmla="*/ 217 h 2344"/>
                <a:gd name="T90" fmla="*/ 345 w 2765"/>
                <a:gd name="T91" fmla="*/ 217 h 2344"/>
                <a:gd name="T92" fmla="*/ 345 w 2765"/>
                <a:gd name="T93" fmla="*/ 217 h 2344"/>
                <a:gd name="T94" fmla="*/ 345 w 2765"/>
                <a:gd name="T95" fmla="*/ 217 h 2344"/>
                <a:gd name="T96" fmla="*/ 345 w 2765"/>
                <a:gd name="T97" fmla="*/ 217 h 2344"/>
                <a:gd name="T98" fmla="*/ 345 w 2765"/>
                <a:gd name="T99" fmla="*/ 217 h 2344"/>
                <a:gd name="T100" fmla="*/ 345 w 2765"/>
                <a:gd name="T101" fmla="*/ 217 h 2344"/>
                <a:gd name="T102" fmla="*/ 345 w 2765"/>
                <a:gd name="T103" fmla="*/ 217 h 2344"/>
                <a:gd name="T104" fmla="*/ 345 w 2765"/>
                <a:gd name="T105" fmla="*/ 217 h 2344"/>
                <a:gd name="T106" fmla="*/ 345 w 2765"/>
                <a:gd name="T107" fmla="*/ 217 h 2344"/>
                <a:gd name="T108" fmla="*/ 345 w 2765"/>
                <a:gd name="T109" fmla="*/ 217 h 2344"/>
                <a:gd name="T110" fmla="*/ 345 w 2765"/>
                <a:gd name="T111" fmla="*/ 217 h 2344"/>
                <a:gd name="T112" fmla="*/ 345 w 2765"/>
                <a:gd name="T113" fmla="*/ 217 h 2344"/>
                <a:gd name="T114" fmla="*/ 345 w 2765"/>
                <a:gd name="T115" fmla="*/ 217 h 2344"/>
                <a:gd name="T116" fmla="*/ 345 w 2765"/>
                <a:gd name="T117" fmla="*/ 217 h 2344"/>
                <a:gd name="T118" fmla="*/ 345 w 2765"/>
                <a:gd name="T119" fmla="*/ 217 h 2344"/>
                <a:gd name="T120" fmla="*/ 345 w 2765"/>
                <a:gd name="T121" fmla="*/ 217 h 2344"/>
                <a:gd name="T122" fmla="*/ 345 w 2765"/>
                <a:gd name="T123" fmla="*/ 217 h 2344"/>
                <a:gd name="T124" fmla="*/ 345 w 2765"/>
                <a:gd name="T125" fmla="*/ 217 h 23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765"/>
                <a:gd name="T190" fmla="*/ 0 h 2344"/>
                <a:gd name="T191" fmla="*/ 2765 w 2765"/>
                <a:gd name="T192" fmla="*/ 2344 h 23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765" h="2344">
                  <a:moveTo>
                    <a:pt x="2121" y="0"/>
                  </a:moveTo>
                  <a:lnTo>
                    <a:pt x="2133" y="12"/>
                  </a:lnTo>
                  <a:lnTo>
                    <a:pt x="2144" y="22"/>
                  </a:lnTo>
                  <a:lnTo>
                    <a:pt x="2155" y="30"/>
                  </a:lnTo>
                  <a:lnTo>
                    <a:pt x="2167" y="38"/>
                  </a:lnTo>
                  <a:lnTo>
                    <a:pt x="2177" y="47"/>
                  </a:lnTo>
                  <a:lnTo>
                    <a:pt x="2186" y="57"/>
                  </a:lnTo>
                  <a:lnTo>
                    <a:pt x="2191" y="62"/>
                  </a:lnTo>
                  <a:lnTo>
                    <a:pt x="2195" y="68"/>
                  </a:lnTo>
                  <a:lnTo>
                    <a:pt x="2199" y="76"/>
                  </a:lnTo>
                  <a:lnTo>
                    <a:pt x="2202" y="83"/>
                  </a:lnTo>
                  <a:lnTo>
                    <a:pt x="2209" y="110"/>
                  </a:lnTo>
                  <a:lnTo>
                    <a:pt x="2215" y="136"/>
                  </a:lnTo>
                  <a:lnTo>
                    <a:pt x="2218" y="148"/>
                  </a:lnTo>
                  <a:lnTo>
                    <a:pt x="2224" y="158"/>
                  </a:lnTo>
                  <a:lnTo>
                    <a:pt x="2229" y="162"/>
                  </a:lnTo>
                  <a:lnTo>
                    <a:pt x="2233" y="168"/>
                  </a:lnTo>
                  <a:lnTo>
                    <a:pt x="2238" y="171"/>
                  </a:lnTo>
                  <a:lnTo>
                    <a:pt x="2244" y="175"/>
                  </a:lnTo>
                  <a:lnTo>
                    <a:pt x="2260" y="183"/>
                  </a:lnTo>
                  <a:lnTo>
                    <a:pt x="2272" y="192"/>
                  </a:lnTo>
                  <a:lnTo>
                    <a:pt x="2283" y="203"/>
                  </a:lnTo>
                  <a:lnTo>
                    <a:pt x="2294" y="213"/>
                  </a:lnTo>
                  <a:lnTo>
                    <a:pt x="2302" y="225"/>
                  </a:lnTo>
                  <a:lnTo>
                    <a:pt x="2310" y="239"/>
                  </a:lnTo>
                  <a:lnTo>
                    <a:pt x="2317" y="253"/>
                  </a:lnTo>
                  <a:lnTo>
                    <a:pt x="2324" y="269"/>
                  </a:lnTo>
                  <a:lnTo>
                    <a:pt x="2335" y="287"/>
                  </a:lnTo>
                  <a:lnTo>
                    <a:pt x="2344" y="303"/>
                  </a:lnTo>
                  <a:lnTo>
                    <a:pt x="2348" y="311"/>
                  </a:lnTo>
                  <a:lnTo>
                    <a:pt x="2352" y="320"/>
                  </a:lnTo>
                  <a:lnTo>
                    <a:pt x="2354" y="330"/>
                  </a:lnTo>
                  <a:lnTo>
                    <a:pt x="2355" y="340"/>
                  </a:lnTo>
                  <a:lnTo>
                    <a:pt x="2354" y="354"/>
                  </a:lnTo>
                  <a:lnTo>
                    <a:pt x="2352" y="368"/>
                  </a:lnTo>
                  <a:lnTo>
                    <a:pt x="2349" y="381"/>
                  </a:lnTo>
                  <a:lnTo>
                    <a:pt x="2345" y="393"/>
                  </a:lnTo>
                  <a:lnTo>
                    <a:pt x="2342" y="405"/>
                  </a:lnTo>
                  <a:lnTo>
                    <a:pt x="2339" y="417"/>
                  </a:lnTo>
                  <a:lnTo>
                    <a:pt x="2337" y="431"/>
                  </a:lnTo>
                  <a:lnTo>
                    <a:pt x="2336" y="446"/>
                  </a:lnTo>
                  <a:lnTo>
                    <a:pt x="2337" y="450"/>
                  </a:lnTo>
                  <a:lnTo>
                    <a:pt x="2337" y="456"/>
                  </a:lnTo>
                  <a:lnTo>
                    <a:pt x="2339" y="460"/>
                  </a:lnTo>
                  <a:lnTo>
                    <a:pt x="2341" y="463"/>
                  </a:lnTo>
                  <a:lnTo>
                    <a:pt x="2345" y="470"/>
                  </a:lnTo>
                  <a:lnTo>
                    <a:pt x="2351" y="476"/>
                  </a:lnTo>
                  <a:lnTo>
                    <a:pt x="2367" y="487"/>
                  </a:lnTo>
                  <a:lnTo>
                    <a:pt x="2383" y="498"/>
                  </a:lnTo>
                  <a:lnTo>
                    <a:pt x="2397" y="508"/>
                  </a:lnTo>
                  <a:lnTo>
                    <a:pt x="2409" y="519"/>
                  </a:lnTo>
                  <a:lnTo>
                    <a:pt x="2420" y="528"/>
                  </a:lnTo>
                  <a:lnTo>
                    <a:pt x="2430" y="539"/>
                  </a:lnTo>
                  <a:lnTo>
                    <a:pt x="2439" y="550"/>
                  </a:lnTo>
                  <a:lnTo>
                    <a:pt x="2446" y="562"/>
                  </a:lnTo>
                  <a:lnTo>
                    <a:pt x="2449" y="569"/>
                  </a:lnTo>
                  <a:lnTo>
                    <a:pt x="2452" y="576"/>
                  </a:lnTo>
                  <a:lnTo>
                    <a:pt x="2454" y="584"/>
                  </a:lnTo>
                  <a:lnTo>
                    <a:pt x="2456" y="592"/>
                  </a:lnTo>
                  <a:lnTo>
                    <a:pt x="2461" y="611"/>
                  </a:lnTo>
                  <a:lnTo>
                    <a:pt x="2465" y="628"/>
                  </a:lnTo>
                  <a:lnTo>
                    <a:pt x="2470" y="645"/>
                  </a:lnTo>
                  <a:lnTo>
                    <a:pt x="2476" y="660"/>
                  </a:lnTo>
                  <a:lnTo>
                    <a:pt x="2479" y="667"/>
                  </a:lnTo>
                  <a:lnTo>
                    <a:pt x="2484" y="674"/>
                  </a:lnTo>
                  <a:lnTo>
                    <a:pt x="2488" y="680"/>
                  </a:lnTo>
                  <a:lnTo>
                    <a:pt x="2494" y="686"/>
                  </a:lnTo>
                  <a:lnTo>
                    <a:pt x="2500" y="692"/>
                  </a:lnTo>
                  <a:lnTo>
                    <a:pt x="2507" y="697"/>
                  </a:lnTo>
                  <a:lnTo>
                    <a:pt x="2514" y="701"/>
                  </a:lnTo>
                  <a:lnTo>
                    <a:pt x="2522" y="706"/>
                  </a:lnTo>
                  <a:lnTo>
                    <a:pt x="2541" y="713"/>
                  </a:lnTo>
                  <a:lnTo>
                    <a:pt x="2558" y="720"/>
                  </a:lnTo>
                  <a:lnTo>
                    <a:pt x="2565" y="723"/>
                  </a:lnTo>
                  <a:lnTo>
                    <a:pt x="2573" y="727"/>
                  </a:lnTo>
                  <a:lnTo>
                    <a:pt x="2580" y="732"/>
                  </a:lnTo>
                  <a:lnTo>
                    <a:pt x="2588" y="739"/>
                  </a:lnTo>
                  <a:lnTo>
                    <a:pt x="2588" y="786"/>
                  </a:lnTo>
                  <a:lnTo>
                    <a:pt x="2600" y="861"/>
                  </a:lnTo>
                  <a:lnTo>
                    <a:pt x="2598" y="878"/>
                  </a:lnTo>
                  <a:lnTo>
                    <a:pt x="2594" y="892"/>
                  </a:lnTo>
                  <a:lnTo>
                    <a:pt x="2588" y="905"/>
                  </a:lnTo>
                  <a:lnTo>
                    <a:pt x="2583" y="918"/>
                  </a:lnTo>
                  <a:lnTo>
                    <a:pt x="2578" y="931"/>
                  </a:lnTo>
                  <a:lnTo>
                    <a:pt x="2574" y="944"/>
                  </a:lnTo>
                  <a:lnTo>
                    <a:pt x="2572" y="951"/>
                  </a:lnTo>
                  <a:lnTo>
                    <a:pt x="2571" y="959"/>
                  </a:lnTo>
                  <a:lnTo>
                    <a:pt x="2570" y="967"/>
                  </a:lnTo>
                  <a:lnTo>
                    <a:pt x="2570" y="975"/>
                  </a:lnTo>
                  <a:lnTo>
                    <a:pt x="2570" y="981"/>
                  </a:lnTo>
                  <a:lnTo>
                    <a:pt x="2571" y="986"/>
                  </a:lnTo>
                  <a:lnTo>
                    <a:pt x="2572" y="992"/>
                  </a:lnTo>
                  <a:lnTo>
                    <a:pt x="2574" y="997"/>
                  </a:lnTo>
                  <a:lnTo>
                    <a:pt x="2579" y="1005"/>
                  </a:lnTo>
                  <a:lnTo>
                    <a:pt x="2586" y="1013"/>
                  </a:lnTo>
                  <a:lnTo>
                    <a:pt x="2603" y="1028"/>
                  </a:lnTo>
                  <a:lnTo>
                    <a:pt x="2621" y="1043"/>
                  </a:lnTo>
                  <a:lnTo>
                    <a:pt x="2662" y="1075"/>
                  </a:lnTo>
                  <a:lnTo>
                    <a:pt x="2699" y="1104"/>
                  </a:lnTo>
                  <a:lnTo>
                    <a:pt x="2707" y="1112"/>
                  </a:lnTo>
                  <a:lnTo>
                    <a:pt x="2714" y="1121"/>
                  </a:lnTo>
                  <a:lnTo>
                    <a:pt x="2720" y="1130"/>
                  </a:lnTo>
                  <a:lnTo>
                    <a:pt x="2727" y="1139"/>
                  </a:lnTo>
                  <a:lnTo>
                    <a:pt x="2731" y="1150"/>
                  </a:lnTo>
                  <a:lnTo>
                    <a:pt x="2734" y="1160"/>
                  </a:lnTo>
                  <a:lnTo>
                    <a:pt x="2736" y="1172"/>
                  </a:lnTo>
                  <a:lnTo>
                    <a:pt x="2737" y="1185"/>
                  </a:lnTo>
                  <a:lnTo>
                    <a:pt x="2736" y="1197"/>
                  </a:lnTo>
                  <a:lnTo>
                    <a:pt x="2735" y="1207"/>
                  </a:lnTo>
                  <a:lnTo>
                    <a:pt x="2733" y="1217"/>
                  </a:lnTo>
                  <a:lnTo>
                    <a:pt x="2730" y="1226"/>
                  </a:lnTo>
                  <a:lnTo>
                    <a:pt x="2724" y="1245"/>
                  </a:lnTo>
                  <a:lnTo>
                    <a:pt x="2715" y="1265"/>
                  </a:lnTo>
                  <a:lnTo>
                    <a:pt x="2706" y="1281"/>
                  </a:lnTo>
                  <a:lnTo>
                    <a:pt x="2697" y="1296"/>
                  </a:lnTo>
                  <a:lnTo>
                    <a:pt x="2693" y="1303"/>
                  </a:lnTo>
                  <a:lnTo>
                    <a:pt x="2690" y="1312"/>
                  </a:lnTo>
                  <a:lnTo>
                    <a:pt x="2689" y="1320"/>
                  </a:lnTo>
                  <a:lnTo>
                    <a:pt x="2687" y="1329"/>
                  </a:lnTo>
                  <a:lnTo>
                    <a:pt x="2689" y="1343"/>
                  </a:lnTo>
                  <a:lnTo>
                    <a:pt x="2691" y="1354"/>
                  </a:lnTo>
                  <a:lnTo>
                    <a:pt x="2695" y="1365"/>
                  </a:lnTo>
                  <a:lnTo>
                    <a:pt x="2700" y="1377"/>
                  </a:lnTo>
                  <a:lnTo>
                    <a:pt x="2705" y="1387"/>
                  </a:lnTo>
                  <a:lnTo>
                    <a:pt x="2712" y="1396"/>
                  </a:lnTo>
                  <a:lnTo>
                    <a:pt x="2719" y="1406"/>
                  </a:lnTo>
                  <a:lnTo>
                    <a:pt x="2727" y="1415"/>
                  </a:lnTo>
                  <a:lnTo>
                    <a:pt x="2734" y="1424"/>
                  </a:lnTo>
                  <a:lnTo>
                    <a:pt x="2740" y="1434"/>
                  </a:lnTo>
                  <a:lnTo>
                    <a:pt x="2747" y="1444"/>
                  </a:lnTo>
                  <a:lnTo>
                    <a:pt x="2753" y="1453"/>
                  </a:lnTo>
                  <a:lnTo>
                    <a:pt x="2758" y="1465"/>
                  </a:lnTo>
                  <a:lnTo>
                    <a:pt x="2762" y="1476"/>
                  </a:lnTo>
                  <a:lnTo>
                    <a:pt x="2764" y="1488"/>
                  </a:lnTo>
                  <a:lnTo>
                    <a:pt x="2765" y="1502"/>
                  </a:lnTo>
                  <a:lnTo>
                    <a:pt x="2764" y="1518"/>
                  </a:lnTo>
                  <a:lnTo>
                    <a:pt x="2762" y="1535"/>
                  </a:lnTo>
                  <a:lnTo>
                    <a:pt x="2757" y="1549"/>
                  </a:lnTo>
                  <a:lnTo>
                    <a:pt x="2750" y="1563"/>
                  </a:lnTo>
                  <a:lnTo>
                    <a:pt x="2742" y="1576"/>
                  </a:lnTo>
                  <a:lnTo>
                    <a:pt x="2733" y="1588"/>
                  </a:lnTo>
                  <a:lnTo>
                    <a:pt x="2722" y="1599"/>
                  </a:lnTo>
                  <a:lnTo>
                    <a:pt x="2710" y="1609"/>
                  </a:lnTo>
                  <a:lnTo>
                    <a:pt x="2697" y="1618"/>
                  </a:lnTo>
                  <a:lnTo>
                    <a:pt x="2683" y="1627"/>
                  </a:lnTo>
                  <a:lnTo>
                    <a:pt x="2668" y="1635"/>
                  </a:lnTo>
                  <a:lnTo>
                    <a:pt x="2652" y="1641"/>
                  </a:lnTo>
                  <a:lnTo>
                    <a:pt x="2637" y="1647"/>
                  </a:lnTo>
                  <a:lnTo>
                    <a:pt x="2620" y="1652"/>
                  </a:lnTo>
                  <a:lnTo>
                    <a:pt x="2603" y="1658"/>
                  </a:lnTo>
                  <a:lnTo>
                    <a:pt x="2586" y="1662"/>
                  </a:lnTo>
                  <a:lnTo>
                    <a:pt x="2573" y="1665"/>
                  </a:lnTo>
                  <a:lnTo>
                    <a:pt x="2562" y="1669"/>
                  </a:lnTo>
                  <a:lnTo>
                    <a:pt x="2550" y="1673"/>
                  </a:lnTo>
                  <a:lnTo>
                    <a:pt x="2540" y="1677"/>
                  </a:lnTo>
                  <a:lnTo>
                    <a:pt x="2530" y="1681"/>
                  </a:lnTo>
                  <a:lnTo>
                    <a:pt x="2519" y="1685"/>
                  </a:lnTo>
                  <a:lnTo>
                    <a:pt x="2507" y="1687"/>
                  </a:lnTo>
                  <a:lnTo>
                    <a:pt x="2494" y="1688"/>
                  </a:lnTo>
                  <a:lnTo>
                    <a:pt x="2489" y="1688"/>
                  </a:lnTo>
                  <a:lnTo>
                    <a:pt x="2485" y="1687"/>
                  </a:lnTo>
                  <a:lnTo>
                    <a:pt x="2482" y="1685"/>
                  </a:lnTo>
                  <a:lnTo>
                    <a:pt x="2479" y="1682"/>
                  </a:lnTo>
                  <a:lnTo>
                    <a:pt x="2475" y="1677"/>
                  </a:lnTo>
                  <a:lnTo>
                    <a:pt x="2471" y="1669"/>
                  </a:lnTo>
                  <a:lnTo>
                    <a:pt x="2466" y="1651"/>
                  </a:lnTo>
                  <a:lnTo>
                    <a:pt x="2461" y="1634"/>
                  </a:lnTo>
                  <a:lnTo>
                    <a:pt x="2456" y="1623"/>
                  </a:lnTo>
                  <a:lnTo>
                    <a:pt x="2451" y="1612"/>
                  </a:lnTo>
                  <a:lnTo>
                    <a:pt x="2444" y="1604"/>
                  </a:lnTo>
                  <a:lnTo>
                    <a:pt x="2437" y="1597"/>
                  </a:lnTo>
                  <a:lnTo>
                    <a:pt x="2421" y="1582"/>
                  </a:lnTo>
                  <a:lnTo>
                    <a:pt x="2405" y="1565"/>
                  </a:lnTo>
                  <a:lnTo>
                    <a:pt x="2397" y="1556"/>
                  </a:lnTo>
                  <a:lnTo>
                    <a:pt x="2388" y="1548"/>
                  </a:lnTo>
                  <a:lnTo>
                    <a:pt x="2380" y="1542"/>
                  </a:lnTo>
                  <a:lnTo>
                    <a:pt x="2372" y="1536"/>
                  </a:lnTo>
                  <a:lnTo>
                    <a:pt x="2355" y="1525"/>
                  </a:lnTo>
                  <a:lnTo>
                    <a:pt x="2338" y="1516"/>
                  </a:lnTo>
                  <a:lnTo>
                    <a:pt x="2320" y="1508"/>
                  </a:lnTo>
                  <a:lnTo>
                    <a:pt x="2302" y="1500"/>
                  </a:lnTo>
                  <a:lnTo>
                    <a:pt x="2283" y="1489"/>
                  </a:lnTo>
                  <a:lnTo>
                    <a:pt x="2263" y="1478"/>
                  </a:lnTo>
                  <a:lnTo>
                    <a:pt x="2248" y="1495"/>
                  </a:lnTo>
                  <a:lnTo>
                    <a:pt x="2236" y="1511"/>
                  </a:lnTo>
                  <a:lnTo>
                    <a:pt x="2227" y="1528"/>
                  </a:lnTo>
                  <a:lnTo>
                    <a:pt x="2217" y="1544"/>
                  </a:lnTo>
                  <a:lnTo>
                    <a:pt x="2210" y="1561"/>
                  </a:lnTo>
                  <a:lnTo>
                    <a:pt x="2203" y="1579"/>
                  </a:lnTo>
                  <a:lnTo>
                    <a:pt x="2196" y="1598"/>
                  </a:lnTo>
                  <a:lnTo>
                    <a:pt x="2187" y="1619"/>
                  </a:lnTo>
                  <a:lnTo>
                    <a:pt x="2182" y="1642"/>
                  </a:lnTo>
                  <a:lnTo>
                    <a:pt x="2178" y="1664"/>
                  </a:lnTo>
                  <a:lnTo>
                    <a:pt x="2175" y="1674"/>
                  </a:lnTo>
                  <a:lnTo>
                    <a:pt x="2171" y="1682"/>
                  </a:lnTo>
                  <a:lnTo>
                    <a:pt x="2168" y="1687"/>
                  </a:lnTo>
                  <a:lnTo>
                    <a:pt x="2164" y="1690"/>
                  </a:lnTo>
                  <a:lnTo>
                    <a:pt x="2159" y="1693"/>
                  </a:lnTo>
                  <a:lnTo>
                    <a:pt x="2154" y="1695"/>
                  </a:lnTo>
                  <a:lnTo>
                    <a:pt x="2144" y="1698"/>
                  </a:lnTo>
                  <a:lnTo>
                    <a:pt x="2134" y="1701"/>
                  </a:lnTo>
                  <a:lnTo>
                    <a:pt x="2124" y="1703"/>
                  </a:lnTo>
                  <a:lnTo>
                    <a:pt x="2114" y="1704"/>
                  </a:lnTo>
                  <a:lnTo>
                    <a:pt x="2095" y="1706"/>
                  </a:lnTo>
                  <a:lnTo>
                    <a:pt x="2076" y="1707"/>
                  </a:lnTo>
                  <a:lnTo>
                    <a:pt x="2058" y="1709"/>
                  </a:lnTo>
                  <a:lnTo>
                    <a:pt x="2041" y="1713"/>
                  </a:lnTo>
                  <a:lnTo>
                    <a:pt x="2032" y="1717"/>
                  </a:lnTo>
                  <a:lnTo>
                    <a:pt x="2023" y="1721"/>
                  </a:lnTo>
                  <a:lnTo>
                    <a:pt x="2014" y="1726"/>
                  </a:lnTo>
                  <a:lnTo>
                    <a:pt x="2006" y="1733"/>
                  </a:lnTo>
                  <a:lnTo>
                    <a:pt x="1999" y="1740"/>
                  </a:lnTo>
                  <a:lnTo>
                    <a:pt x="1992" y="1748"/>
                  </a:lnTo>
                  <a:lnTo>
                    <a:pt x="1988" y="1756"/>
                  </a:lnTo>
                  <a:lnTo>
                    <a:pt x="1985" y="1764"/>
                  </a:lnTo>
                  <a:lnTo>
                    <a:pt x="1979" y="1782"/>
                  </a:lnTo>
                  <a:lnTo>
                    <a:pt x="1971" y="1801"/>
                  </a:lnTo>
                  <a:lnTo>
                    <a:pt x="1965" y="1798"/>
                  </a:lnTo>
                  <a:lnTo>
                    <a:pt x="1960" y="1795"/>
                  </a:lnTo>
                  <a:lnTo>
                    <a:pt x="1955" y="1791"/>
                  </a:lnTo>
                  <a:lnTo>
                    <a:pt x="1952" y="1787"/>
                  </a:lnTo>
                  <a:lnTo>
                    <a:pt x="1945" y="1777"/>
                  </a:lnTo>
                  <a:lnTo>
                    <a:pt x="1939" y="1767"/>
                  </a:lnTo>
                  <a:lnTo>
                    <a:pt x="1934" y="1758"/>
                  </a:lnTo>
                  <a:lnTo>
                    <a:pt x="1926" y="1749"/>
                  </a:lnTo>
                  <a:lnTo>
                    <a:pt x="1922" y="1744"/>
                  </a:lnTo>
                  <a:lnTo>
                    <a:pt x="1918" y="1740"/>
                  </a:lnTo>
                  <a:lnTo>
                    <a:pt x="1913" y="1737"/>
                  </a:lnTo>
                  <a:lnTo>
                    <a:pt x="1907" y="1735"/>
                  </a:lnTo>
                  <a:lnTo>
                    <a:pt x="1890" y="1731"/>
                  </a:lnTo>
                  <a:lnTo>
                    <a:pt x="1875" y="1729"/>
                  </a:lnTo>
                  <a:lnTo>
                    <a:pt x="1868" y="1727"/>
                  </a:lnTo>
                  <a:lnTo>
                    <a:pt x="1860" y="1725"/>
                  </a:lnTo>
                  <a:lnTo>
                    <a:pt x="1853" y="1721"/>
                  </a:lnTo>
                  <a:lnTo>
                    <a:pt x="1846" y="1717"/>
                  </a:lnTo>
                  <a:lnTo>
                    <a:pt x="1839" y="1709"/>
                  </a:lnTo>
                  <a:lnTo>
                    <a:pt x="1832" y="1701"/>
                  </a:lnTo>
                  <a:lnTo>
                    <a:pt x="1826" y="1694"/>
                  </a:lnTo>
                  <a:lnTo>
                    <a:pt x="1821" y="1687"/>
                  </a:lnTo>
                  <a:lnTo>
                    <a:pt x="1815" y="1679"/>
                  </a:lnTo>
                  <a:lnTo>
                    <a:pt x="1809" y="1674"/>
                  </a:lnTo>
                  <a:lnTo>
                    <a:pt x="1805" y="1672"/>
                  </a:lnTo>
                  <a:lnTo>
                    <a:pt x="1801" y="1670"/>
                  </a:lnTo>
                  <a:lnTo>
                    <a:pt x="1796" y="1669"/>
                  </a:lnTo>
                  <a:lnTo>
                    <a:pt x="1791" y="1669"/>
                  </a:lnTo>
                  <a:lnTo>
                    <a:pt x="1783" y="1669"/>
                  </a:lnTo>
                  <a:lnTo>
                    <a:pt x="1776" y="1670"/>
                  </a:lnTo>
                  <a:lnTo>
                    <a:pt x="1769" y="1671"/>
                  </a:lnTo>
                  <a:lnTo>
                    <a:pt x="1762" y="1673"/>
                  </a:lnTo>
                  <a:lnTo>
                    <a:pt x="1750" y="1678"/>
                  </a:lnTo>
                  <a:lnTo>
                    <a:pt x="1739" y="1686"/>
                  </a:lnTo>
                  <a:lnTo>
                    <a:pt x="1728" y="1694"/>
                  </a:lnTo>
                  <a:lnTo>
                    <a:pt x="1719" y="1703"/>
                  </a:lnTo>
                  <a:lnTo>
                    <a:pt x="1710" y="1713"/>
                  </a:lnTo>
                  <a:lnTo>
                    <a:pt x="1702" y="1725"/>
                  </a:lnTo>
                  <a:lnTo>
                    <a:pt x="1685" y="1749"/>
                  </a:lnTo>
                  <a:lnTo>
                    <a:pt x="1668" y="1773"/>
                  </a:lnTo>
                  <a:lnTo>
                    <a:pt x="1657" y="1785"/>
                  </a:lnTo>
                  <a:lnTo>
                    <a:pt x="1647" y="1796"/>
                  </a:lnTo>
                  <a:lnTo>
                    <a:pt x="1635" y="1806"/>
                  </a:lnTo>
                  <a:lnTo>
                    <a:pt x="1622" y="1816"/>
                  </a:lnTo>
                  <a:lnTo>
                    <a:pt x="1590" y="1832"/>
                  </a:lnTo>
                  <a:lnTo>
                    <a:pt x="1560" y="1847"/>
                  </a:lnTo>
                  <a:lnTo>
                    <a:pt x="1547" y="1856"/>
                  </a:lnTo>
                  <a:lnTo>
                    <a:pt x="1535" y="1865"/>
                  </a:lnTo>
                  <a:lnTo>
                    <a:pt x="1528" y="1871"/>
                  </a:lnTo>
                  <a:lnTo>
                    <a:pt x="1523" y="1878"/>
                  </a:lnTo>
                  <a:lnTo>
                    <a:pt x="1518" y="1885"/>
                  </a:lnTo>
                  <a:lnTo>
                    <a:pt x="1513" y="1893"/>
                  </a:lnTo>
                  <a:lnTo>
                    <a:pt x="1506" y="1909"/>
                  </a:lnTo>
                  <a:lnTo>
                    <a:pt x="1499" y="1923"/>
                  </a:lnTo>
                  <a:lnTo>
                    <a:pt x="1493" y="1938"/>
                  </a:lnTo>
                  <a:lnTo>
                    <a:pt x="1487" y="1954"/>
                  </a:lnTo>
                  <a:lnTo>
                    <a:pt x="1484" y="1965"/>
                  </a:lnTo>
                  <a:lnTo>
                    <a:pt x="1480" y="1977"/>
                  </a:lnTo>
                  <a:lnTo>
                    <a:pt x="1477" y="1981"/>
                  </a:lnTo>
                  <a:lnTo>
                    <a:pt x="1474" y="1984"/>
                  </a:lnTo>
                  <a:lnTo>
                    <a:pt x="1470" y="1987"/>
                  </a:lnTo>
                  <a:lnTo>
                    <a:pt x="1463" y="1987"/>
                  </a:lnTo>
                  <a:lnTo>
                    <a:pt x="1454" y="1987"/>
                  </a:lnTo>
                  <a:lnTo>
                    <a:pt x="1446" y="1984"/>
                  </a:lnTo>
                  <a:lnTo>
                    <a:pt x="1439" y="1980"/>
                  </a:lnTo>
                  <a:lnTo>
                    <a:pt x="1431" y="1975"/>
                  </a:lnTo>
                  <a:lnTo>
                    <a:pt x="1426" y="1967"/>
                  </a:lnTo>
                  <a:lnTo>
                    <a:pt x="1421" y="1960"/>
                  </a:lnTo>
                  <a:lnTo>
                    <a:pt x="1417" y="1952"/>
                  </a:lnTo>
                  <a:lnTo>
                    <a:pt x="1412" y="1944"/>
                  </a:lnTo>
                  <a:lnTo>
                    <a:pt x="1404" y="1926"/>
                  </a:lnTo>
                  <a:lnTo>
                    <a:pt x="1393" y="1910"/>
                  </a:lnTo>
                  <a:lnTo>
                    <a:pt x="1387" y="1902"/>
                  </a:lnTo>
                  <a:lnTo>
                    <a:pt x="1380" y="1895"/>
                  </a:lnTo>
                  <a:lnTo>
                    <a:pt x="1372" y="1890"/>
                  </a:lnTo>
                  <a:lnTo>
                    <a:pt x="1362" y="1886"/>
                  </a:lnTo>
                  <a:lnTo>
                    <a:pt x="1357" y="1894"/>
                  </a:lnTo>
                  <a:lnTo>
                    <a:pt x="1352" y="1901"/>
                  </a:lnTo>
                  <a:lnTo>
                    <a:pt x="1346" y="1908"/>
                  </a:lnTo>
                  <a:lnTo>
                    <a:pt x="1340" y="1913"/>
                  </a:lnTo>
                  <a:lnTo>
                    <a:pt x="1327" y="1924"/>
                  </a:lnTo>
                  <a:lnTo>
                    <a:pt x="1315" y="1938"/>
                  </a:lnTo>
                  <a:lnTo>
                    <a:pt x="1307" y="1952"/>
                  </a:lnTo>
                  <a:lnTo>
                    <a:pt x="1300" y="1967"/>
                  </a:lnTo>
                  <a:lnTo>
                    <a:pt x="1296" y="1974"/>
                  </a:lnTo>
                  <a:lnTo>
                    <a:pt x="1291" y="1979"/>
                  </a:lnTo>
                  <a:lnTo>
                    <a:pt x="1288" y="1980"/>
                  </a:lnTo>
                  <a:lnTo>
                    <a:pt x="1285" y="1982"/>
                  </a:lnTo>
                  <a:lnTo>
                    <a:pt x="1282" y="1983"/>
                  </a:lnTo>
                  <a:lnTo>
                    <a:pt x="1278" y="1983"/>
                  </a:lnTo>
                  <a:lnTo>
                    <a:pt x="1270" y="1982"/>
                  </a:lnTo>
                  <a:lnTo>
                    <a:pt x="1262" y="1980"/>
                  </a:lnTo>
                  <a:lnTo>
                    <a:pt x="1255" y="1977"/>
                  </a:lnTo>
                  <a:lnTo>
                    <a:pt x="1250" y="1973"/>
                  </a:lnTo>
                  <a:lnTo>
                    <a:pt x="1246" y="1967"/>
                  </a:lnTo>
                  <a:lnTo>
                    <a:pt x="1241" y="1961"/>
                  </a:lnTo>
                  <a:lnTo>
                    <a:pt x="1238" y="1954"/>
                  </a:lnTo>
                  <a:lnTo>
                    <a:pt x="1233" y="1947"/>
                  </a:lnTo>
                  <a:lnTo>
                    <a:pt x="1227" y="1931"/>
                  </a:lnTo>
                  <a:lnTo>
                    <a:pt x="1219" y="1916"/>
                  </a:lnTo>
                  <a:lnTo>
                    <a:pt x="1215" y="1909"/>
                  </a:lnTo>
                  <a:lnTo>
                    <a:pt x="1210" y="1901"/>
                  </a:lnTo>
                  <a:lnTo>
                    <a:pt x="1205" y="1894"/>
                  </a:lnTo>
                  <a:lnTo>
                    <a:pt x="1197" y="1888"/>
                  </a:lnTo>
                  <a:lnTo>
                    <a:pt x="1067" y="1919"/>
                  </a:lnTo>
                  <a:lnTo>
                    <a:pt x="1054" y="1917"/>
                  </a:lnTo>
                  <a:lnTo>
                    <a:pt x="1042" y="1915"/>
                  </a:lnTo>
                  <a:lnTo>
                    <a:pt x="1030" y="1913"/>
                  </a:lnTo>
                  <a:lnTo>
                    <a:pt x="1019" y="1910"/>
                  </a:lnTo>
                  <a:lnTo>
                    <a:pt x="1008" y="1905"/>
                  </a:lnTo>
                  <a:lnTo>
                    <a:pt x="997" y="1900"/>
                  </a:lnTo>
                  <a:lnTo>
                    <a:pt x="987" y="1894"/>
                  </a:lnTo>
                  <a:lnTo>
                    <a:pt x="976" y="1886"/>
                  </a:lnTo>
                  <a:lnTo>
                    <a:pt x="969" y="1880"/>
                  </a:lnTo>
                  <a:lnTo>
                    <a:pt x="963" y="1872"/>
                  </a:lnTo>
                  <a:lnTo>
                    <a:pt x="959" y="1866"/>
                  </a:lnTo>
                  <a:lnTo>
                    <a:pt x="955" y="1859"/>
                  </a:lnTo>
                  <a:lnTo>
                    <a:pt x="950" y="1852"/>
                  </a:lnTo>
                  <a:lnTo>
                    <a:pt x="945" y="1846"/>
                  </a:lnTo>
                  <a:lnTo>
                    <a:pt x="938" y="1840"/>
                  </a:lnTo>
                  <a:lnTo>
                    <a:pt x="931" y="1836"/>
                  </a:lnTo>
                  <a:lnTo>
                    <a:pt x="924" y="1850"/>
                  </a:lnTo>
                  <a:lnTo>
                    <a:pt x="916" y="1863"/>
                  </a:lnTo>
                  <a:lnTo>
                    <a:pt x="909" y="1876"/>
                  </a:lnTo>
                  <a:lnTo>
                    <a:pt x="900" y="1887"/>
                  </a:lnTo>
                  <a:lnTo>
                    <a:pt x="885" y="1909"/>
                  </a:lnTo>
                  <a:lnTo>
                    <a:pt x="869" y="1929"/>
                  </a:lnTo>
                  <a:lnTo>
                    <a:pt x="863" y="1941"/>
                  </a:lnTo>
                  <a:lnTo>
                    <a:pt x="857" y="1951"/>
                  </a:lnTo>
                  <a:lnTo>
                    <a:pt x="851" y="1962"/>
                  </a:lnTo>
                  <a:lnTo>
                    <a:pt x="846" y="1974"/>
                  </a:lnTo>
                  <a:lnTo>
                    <a:pt x="843" y="1986"/>
                  </a:lnTo>
                  <a:lnTo>
                    <a:pt x="839" y="1999"/>
                  </a:lnTo>
                  <a:lnTo>
                    <a:pt x="837" y="2014"/>
                  </a:lnTo>
                  <a:lnTo>
                    <a:pt x="836" y="2028"/>
                  </a:lnTo>
                  <a:lnTo>
                    <a:pt x="839" y="2039"/>
                  </a:lnTo>
                  <a:lnTo>
                    <a:pt x="842" y="2049"/>
                  </a:lnTo>
                  <a:lnTo>
                    <a:pt x="842" y="2052"/>
                  </a:lnTo>
                  <a:lnTo>
                    <a:pt x="841" y="2055"/>
                  </a:lnTo>
                  <a:lnTo>
                    <a:pt x="839" y="2058"/>
                  </a:lnTo>
                  <a:lnTo>
                    <a:pt x="837" y="2060"/>
                  </a:lnTo>
                  <a:lnTo>
                    <a:pt x="832" y="2065"/>
                  </a:lnTo>
                  <a:lnTo>
                    <a:pt x="826" y="2068"/>
                  </a:lnTo>
                  <a:lnTo>
                    <a:pt x="820" y="2071"/>
                  </a:lnTo>
                  <a:lnTo>
                    <a:pt x="812" y="2072"/>
                  </a:lnTo>
                  <a:lnTo>
                    <a:pt x="804" y="2073"/>
                  </a:lnTo>
                  <a:lnTo>
                    <a:pt x="796" y="2073"/>
                  </a:lnTo>
                  <a:lnTo>
                    <a:pt x="785" y="2073"/>
                  </a:lnTo>
                  <a:lnTo>
                    <a:pt x="773" y="2075"/>
                  </a:lnTo>
                  <a:lnTo>
                    <a:pt x="784" y="2104"/>
                  </a:lnTo>
                  <a:lnTo>
                    <a:pt x="795" y="2130"/>
                  </a:lnTo>
                  <a:lnTo>
                    <a:pt x="799" y="2142"/>
                  </a:lnTo>
                  <a:lnTo>
                    <a:pt x="803" y="2155"/>
                  </a:lnTo>
                  <a:lnTo>
                    <a:pt x="805" y="2170"/>
                  </a:lnTo>
                  <a:lnTo>
                    <a:pt x="806" y="2185"/>
                  </a:lnTo>
                  <a:lnTo>
                    <a:pt x="804" y="2192"/>
                  </a:lnTo>
                  <a:lnTo>
                    <a:pt x="801" y="2198"/>
                  </a:lnTo>
                  <a:lnTo>
                    <a:pt x="783" y="2198"/>
                  </a:lnTo>
                  <a:lnTo>
                    <a:pt x="693" y="2179"/>
                  </a:lnTo>
                  <a:lnTo>
                    <a:pt x="686" y="2180"/>
                  </a:lnTo>
                  <a:lnTo>
                    <a:pt x="679" y="2181"/>
                  </a:lnTo>
                  <a:lnTo>
                    <a:pt x="679" y="2195"/>
                  </a:lnTo>
                  <a:lnTo>
                    <a:pt x="679" y="2208"/>
                  </a:lnTo>
                  <a:lnTo>
                    <a:pt x="678" y="2213"/>
                  </a:lnTo>
                  <a:lnTo>
                    <a:pt x="676" y="2218"/>
                  </a:lnTo>
                  <a:lnTo>
                    <a:pt x="671" y="2224"/>
                  </a:lnTo>
                  <a:lnTo>
                    <a:pt x="667" y="2229"/>
                  </a:lnTo>
                  <a:lnTo>
                    <a:pt x="662" y="2232"/>
                  </a:lnTo>
                  <a:lnTo>
                    <a:pt x="657" y="2235"/>
                  </a:lnTo>
                  <a:lnTo>
                    <a:pt x="652" y="2237"/>
                  </a:lnTo>
                  <a:lnTo>
                    <a:pt x="646" y="2238"/>
                  </a:lnTo>
                  <a:lnTo>
                    <a:pt x="635" y="2240"/>
                  </a:lnTo>
                  <a:lnTo>
                    <a:pt x="624" y="2240"/>
                  </a:lnTo>
                  <a:lnTo>
                    <a:pt x="613" y="2240"/>
                  </a:lnTo>
                  <a:lnTo>
                    <a:pt x="601" y="2240"/>
                  </a:lnTo>
                  <a:lnTo>
                    <a:pt x="590" y="2241"/>
                  </a:lnTo>
                  <a:lnTo>
                    <a:pt x="578" y="2245"/>
                  </a:lnTo>
                  <a:lnTo>
                    <a:pt x="570" y="2248"/>
                  </a:lnTo>
                  <a:lnTo>
                    <a:pt x="563" y="2251"/>
                  </a:lnTo>
                  <a:lnTo>
                    <a:pt x="557" y="2256"/>
                  </a:lnTo>
                  <a:lnTo>
                    <a:pt x="552" y="2260"/>
                  </a:lnTo>
                  <a:lnTo>
                    <a:pt x="540" y="2269"/>
                  </a:lnTo>
                  <a:lnTo>
                    <a:pt x="530" y="2277"/>
                  </a:lnTo>
                  <a:lnTo>
                    <a:pt x="520" y="2286"/>
                  </a:lnTo>
                  <a:lnTo>
                    <a:pt x="508" y="2293"/>
                  </a:lnTo>
                  <a:lnTo>
                    <a:pt x="502" y="2296"/>
                  </a:lnTo>
                  <a:lnTo>
                    <a:pt x="496" y="2298"/>
                  </a:lnTo>
                  <a:lnTo>
                    <a:pt x="489" y="2299"/>
                  </a:lnTo>
                  <a:lnTo>
                    <a:pt x="481" y="2299"/>
                  </a:lnTo>
                  <a:lnTo>
                    <a:pt x="474" y="2298"/>
                  </a:lnTo>
                  <a:lnTo>
                    <a:pt x="468" y="2296"/>
                  </a:lnTo>
                  <a:lnTo>
                    <a:pt x="463" y="2293"/>
                  </a:lnTo>
                  <a:lnTo>
                    <a:pt x="459" y="2288"/>
                  </a:lnTo>
                  <a:lnTo>
                    <a:pt x="451" y="2278"/>
                  </a:lnTo>
                  <a:lnTo>
                    <a:pt x="440" y="2269"/>
                  </a:lnTo>
                  <a:lnTo>
                    <a:pt x="428" y="2291"/>
                  </a:lnTo>
                  <a:lnTo>
                    <a:pt x="416" y="2310"/>
                  </a:lnTo>
                  <a:lnTo>
                    <a:pt x="409" y="2319"/>
                  </a:lnTo>
                  <a:lnTo>
                    <a:pt x="402" y="2328"/>
                  </a:lnTo>
                  <a:lnTo>
                    <a:pt x="394" y="2336"/>
                  </a:lnTo>
                  <a:lnTo>
                    <a:pt x="384" y="2344"/>
                  </a:lnTo>
                  <a:lnTo>
                    <a:pt x="369" y="2328"/>
                  </a:lnTo>
                  <a:lnTo>
                    <a:pt x="356" y="2313"/>
                  </a:lnTo>
                  <a:lnTo>
                    <a:pt x="342" y="2298"/>
                  </a:lnTo>
                  <a:lnTo>
                    <a:pt x="330" y="2280"/>
                  </a:lnTo>
                  <a:lnTo>
                    <a:pt x="325" y="2270"/>
                  </a:lnTo>
                  <a:lnTo>
                    <a:pt x="322" y="2260"/>
                  </a:lnTo>
                  <a:lnTo>
                    <a:pt x="319" y="2249"/>
                  </a:lnTo>
                  <a:lnTo>
                    <a:pt x="317" y="2239"/>
                  </a:lnTo>
                  <a:lnTo>
                    <a:pt x="315" y="2219"/>
                  </a:lnTo>
                  <a:lnTo>
                    <a:pt x="314" y="2200"/>
                  </a:lnTo>
                  <a:lnTo>
                    <a:pt x="313" y="2181"/>
                  </a:lnTo>
                  <a:lnTo>
                    <a:pt x="311" y="2162"/>
                  </a:lnTo>
                  <a:lnTo>
                    <a:pt x="309" y="2151"/>
                  </a:lnTo>
                  <a:lnTo>
                    <a:pt x="306" y="2141"/>
                  </a:lnTo>
                  <a:lnTo>
                    <a:pt x="303" y="2131"/>
                  </a:lnTo>
                  <a:lnTo>
                    <a:pt x="299" y="2119"/>
                  </a:lnTo>
                  <a:lnTo>
                    <a:pt x="294" y="2109"/>
                  </a:lnTo>
                  <a:lnTo>
                    <a:pt x="288" y="2100"/>
                  </a:lnTo>
                  <a:lnTo>
                    <a:pt x="281" y="2090"/>
                  </a:lnTo>
                  <a:lnTo>
                    <a:pt x="273" y="2082"/>
                  </a:lnTo>
                  <a:lnTo>
                    <a:pt x="267" y="2074"/>
                  </a:lnTo>
                  <a:lnTo>
                    <a:pt x="261" y="2066"/>
                  </a:lnTo>
                  <a:lnTo>
                    <a:pt x="255" y="2055"/>
                  </a:lnTo>
                  <a:lnTo>
                    <a:pt x="250" y="2044"/>
                  </a:lnTo>
                  <a:lnTo>
                    <a:pt x="245" y="2030"/>
                  </a:lnTo>
                  <a:lnTo>
                    <a:pt x="243" y="2017"/>
                  </a:lnTo>
                  <a:lnTo>
                    <a:pt x="241" y="2004"/>
                  </a:lnTo>
                  <a:lnTo>
                    <a:pt x="240" y="1991"/>
                  </a:lnTo>
                  <a:lnTo>
                    <a:pt x="239" y="1979"/>
                  </a:lnTo>
                  <a:lnTo>
                    <a:pt x="236" y="1966"/>
                  </a:lnTo>
                  <a:lnTo>
                    <a:pt x="234" y="1960"/>
                  </a:lnTo>
                  <a:lnTo>
                    <a:pt x="231" y="1955"/>
                  </a:lnTo>
                  <a:lnTo>
                    <a:pt x="228" y="1949"/>
                  </a:lnTo>
                  <a:lnTo>
                    <a:pt x="224" y="1943"/>
                  </a:lnTo>
                  <a:lnTo>
                    <a:pt x="209" y="1925"/>
                  </a:lnTo>
                  <a:lnTo>
                    <a:pt x="195" y="1909"/>
                  </a:lnTo>
                  <a:lnTo>
                    <a:pt x="181" y="1895"/>
                  </a:lnTo>
                  <a:lnTo>
                    <a:pt x="167" y="1881"/>
                  </a:lnTo>
                  <a:lnTo>
                    <a:pt x="154" y="1867"/>
                  </a:lnTo>
                  <a:lnTo>
                    <a:pt x="140" y="1852"/>
                  </a:lnTo>
                  <a:lnTo>
                    <a:pt x="128" y="1835"/>
                  </a:lnTo>
                  <a:lnTo>
                    <a:pt x="116" y="1816"/>
                  </a:lnTo>
                  <a:lnTo>
                    <a:pt x="110" y="1805"/>
                  </a:lnTo>
                  <a:lnTo>
                    <a:pt x="108" y="1795"/>
                  </a:lnTo>
                  <a:lnTo>
                    <a:pt x="106" y="1786"/>
                  </a:lnTo>
                  <a:lnTo>
                    <a:pt x="105" y="1775"/>
                  </a:lnTo>
                  <a:lnTo>
                    <a:pt x="104" y="1766"/>
                  </a:lnTo>
                  <a:lnTo>
                    <a:pt x="104" y="1756"/>
                  </a:lnTo>
                  <a:lnTo>
                    <a:pt x="102" y="1745"/>
                  </a:lnTo>
                  <a:lnTo>
                    <a:pt x="99" y="1735"/>
                  </a:lnTo>
                  <a:lnTo>
                    <a:pt x="88" y="1706"/>
                  </a:lnTo>
                  <a:lnTo>
                    <a:pt x="78" y="1680"/>
                  </a:lnTo>
                  <a:lnTo>
                    <a:pt x="68" y="1656"/>
                  </a:lnTo>
                  <a:lnTo>
                    <a:pt x="58" y="1633"/>
                  </a:lnTo>
                  <a:lnTo>
                    <a:pt x="45" y="1610"/>
                  </a:lnTo>
                  <a:lnTo>
                    <a:pt x="33" y="1587"/>
                  </a:lnTo>
                  <a:lnTo>
                    <a:pt x="18" y="1564"/>
                  </a:lnTo>
                  <a:lnTo>
                    <a:pt x="0" y="1539"/>
                  </a:lnTo>
                  <a:lnTo>
                    <a:pt x="5" y="1535"/>
                  </a:lnTo>
                  <a:lnTo>
                    <a:pt x="10" y="1532"/>
                  </a:lnTo>
                  <a:lnTo>
                    <a:pt x="16" y="1529"/>
                  </a:lnTo>
                  <a:lnTo>
                    <a:pt x="22" y="1525"/>
                  </a:lnTo>
                  <a:lnTo>
                    <a:pt x="33" y="1522"/>
                  </a:lnTo>
                  <a:lnTo>
                    <a:pt x="44" y="1519"/>
                  </a:lnTo>
                  <a:lnTo>
                    <a:pt x="55" y="1516"/>
                  </a:lnTo>
                  <a:lnTo>
                    <a:pt x="66" y="1512"/>
                  </a:lnTo>
                  <a:lnTo>
                    <a:pt x="71" y="1510"/>
                  </a:lnTo>
                  <a:lnTo>
                    <a:pt x="76" y="1507"/>
                  </a:lnTo>
                  <a:lnTo>
                    <a:pt x="82" y="1503"/>
                  </a:lnTo>
                  <a:lnTo>
                    <a:pt x="87" y="1499"/>
                  </a:lnTo>
                  <a:lnTo>
                    <a:pt x="92" y="1493"/>
                  </a:lnTo>
                  <a:lnTo>
                    <a:pt x="96" y="1488"/>
                  </a:lnTo>
                  <a:lnTo>
                    <a:pt x="100" y="1482"/>
                  </a:lnTo>
                  <a:lnTo>
                    <a:pt x="102" y="1476"/>
                  </a:lnTo>
                  <a:lnTo>
                    <a:pt x="106" y="1462"/>
                  </a:lnTo>
                  <a:lnTo>
                    <a:pt x="108" y="1448"/>
                  </a:lnTo>
                  <a:lnTo>
                    <a:pt x="109" y="1434"/>
                  </a:lnTo>
                  <a:lnTo>
                    <a:pt x="110" y="1418"/>
                  </a:lnTo>
                  <a:lnTo>
                    <a:pt x="112" y="1403"/>
                  </a:lnTo>
                  <a:lnTo>
                    <a:pt x="116" y="1388"/>
                  </a:lnTo>
                  <a:lnTo>
                    <a:pt x="126" y="1388"/>
                  </a:lnTo>
                  <a:lnTo>
                    <a:pt x="136" y="1390"/>
                  </a:lnTo>
                  <a:lnTo>
                    <a:pt x="145" y="1392"/>
                  </a:lnTo>
                  <a:lnTo>
                    <a:pt x="155" y="1395"/>
                  </a:lnTo>
                  <a:lnTo>
                    <a:pt x="163" y="1397"/>
                  </a:lnTo>
                  <a:lnTo>
                    <a:pt x="172" y="1399"/>
                  </a:lnTo>
                  <a:lnTo>
                    <a:pt x="183" y="1402"/>
                  </a:lnTo>
                  <a:lnTo>
                    <a:pt x="193" y="1403"/>
                  </a:lnTo>
                  <a:lnTo>
                    <a:pt x="200" y="1402"/>
                  </a:lnTo>
                  <a:lnTo>
                    <a:pt x="205" y="1401"/>
                  </a:lnTo>
                  <a:lnTo>
                    <a:pt x="211" y="1398"/>
                  </a:lnTo>
                  <a:lnTo>
                    <a:pt x="217" y="1396"/>
                  </a:lnTo>
                  <a:lnTo>
                    <a:pt x="221" y="1392"/>
                  </a:lnTo>
                  <a:lnTo>
                    <a:pt x="225" y="1389"/>
                  </a:lnTo>
                  <a:lnTo>
                    <a:pt x="229" y="1385"/>
                  </a:lnTo>
                  <a:lnTo>
                    <a:pt x="232" y="1380"/>
                  </a:lnTo>
                  <a:lnTo>
                    <a:pt x="244" y="1358"/>
                  </a:lnTo>
                  <a:lnTo>
                    <a:pt x="257" y="1333"/>
                  </a:lnTo>
                  <a:lnTo>
                    <a:pt x="274" y="1302"/>
                  </a:lnTo>
                  <a:lnTo>
                    <a:pt x="288" y="1274"/>
                  </a:lnTo>
                  <a:lnTo>
                    <a:pt x="294" y="1259"/>
                  </a:lnTo>
                  <a:lnTo>
                    <a:pt x="298" y="1244"/>
                  </a:lnTo>
                  <a:lnTo>
                    <a:pt x="301" y="1227"/>
                  </a:lnTo>
                  <a:lnTo>
                    <a:pt x="301" y="1208"/>
                  </a:lnTo>
                  <a:lnTo>
                    <a:pt x="314" y="1213"/>
                  </a:lnTo>
                  <a:lnTo>
                    <a:pt x="323" y="1218"/>
                  </a:lnTo>
                  <a:lnTo>
                    <a:pt x="332" y="1223"/>
                  </a:lnTo>
                  <a:lnTo>
                    <a:pt x="341" y="1229"/>
                  </a:lnTo>
                  <a:lnTo>
                    <a:pt x="350" y="1235"/>
                  </a:lnTo>
                  <a:lnTo>
                    <a:pt x="360" y="1239"/>
                  </a:lnTo>
                  <a:lnTo>
                    <a:pt x="364" y="1242"/>
                  </a:lnTo>
                  <a:lnTo>
                    <a:pt x="370" y="1243"/>
                  </a:lnTo>
                  <a:lnTo>
                    <a:pt x="375" y="1244"/>
                  </a:lnTo>
                  <a:lnTo>
                    <a:pt x="382" y="1244"/>
                  </a:lnTo>
                  <a:lnTo>
                    <a:pt x="386" y="1244"/>
                  </a:lnTo>
                  <a:lnTo>
                    <a:pt x="390" y="1243"/>
                  </a:lnTo>
                  <a:lnTo>
                    <a:pt x="394" y="1242"/>
                  </a:lnTo>
                  <a:lnTo>
                    <a:pt x="397" y="1240"/>
                  </a:lnTo>
                  <a:lnTo>
                    <a:pt x="403" y="1235"/>
                  </a:lnTo>
                  <a:lnTo>
                    <a:pt x="409" y="1230"/>
                  </a:lnTo>
                  <a:lnTo>
                    <a:pt x="419" y="1216"/>
                  </a:lnTo>
                  <a:lnTo>
                    <a:pt x="429" y="1201"/>
                  </a:lnTo>
                  <a:lnTo>
                    <a:pt x="441" y="1186"/>
                  </a:lnTo>
                  <a:lnTo>
                    <a:pt x="453" y="1172"/>
                  </a:lnTo>
                  <a:lnTo>
                    <a:pt x="458" y="1166"/>
                  </a:lnTo>
                  <a:lnTo>
                    <a:pt x="463" y="1158"/>
                  </a:lnTo>
                  <a:lnTo>
                    <a:pt x="468" y="1150"/>
                  </a:lnTo>
                  <a:lnTo>
                    <a:pt x="473" y="1140"/>
                  </a:lnTo>
                  <a:lnTo>
                    <a:pt x="483" y="1148"/>
                  </a:lnTo>
                  <a:lnTo>
                    <a:pt x="491" y="1156"/>
                  </a:lnTo>
                  <a:lnTo>
                    <a:pt x="497" y="1165"/>
                  </a:lnTo>
                  <a:lnTo>
                    <a:pt x="502" y="1174"/>
                  </a:lnTo>
                  <a:lnTo>
                    <a:pt x="511" y="1194"/>
                  </a:lnTo>
                  <a:lnTo>
                    <a:pt x="521" y="1216"/>
                  </a:lnTo>
                  <a:lnTo>
                    <a:pt x="526" y="1229"/>
                  </a:lnTo>
                  <a:lnTo>
                    <a:pt x="530" y="1242"/>
                  </a:lnTo>
                  <a:lnTo>
                    <a:pt x="532" y="1248"/>
                  </a:lnTo>
                  <a:lnTo>
                    <a:pt x="536" y="1252"/>
                  </a:lnTo>
                  <a:lnTo>
                    <a:pt x="538" y="1254"/>
                  </a:lnTo>
                  <a:lnTo>
                    <a:pt x="540" y="1255"/>
                  </a:lnTo>
                  <a:lnTo>
                    <a:pt x="544" y="1256"/>
                  </a:lnTo>
                  <a:lnTo>
                    <a:pt x="547" y="1256"/>
                  </a:lnTo>
                  <a:lnTo>
                    <a:pt x="552" y="1255"/>
                  </a:lnTo>
                  <a:lnTo>
                    <a:pt x="557" y="1254"/>
                  </a:lnTo>
                  <a:lnTo>
                    <a:pt x="561" y="1252"/>
                  </a:lnTo>
                  <a:lnTo>
                    <a:pt x="564" y="1250"/>
                  </a:lnTo>
                  <a:lnTo>
                    <a:pt x="568" y="1248"/>
                  </a:lnTo>
                  <a:lnTo>
                    <a:pt x="572" y="1246"/>
                  </a:lnTo>
                  <a:lnTo>
                    <a:pt x="577" y="1245"/>
                  </a:lnTo>
                  <a:lnTo>
                    <a:pt x="582" y="1244"/>
                  </a:lnTo>
                  <a:lnTo>
                    <a:pt x="589" y="1245"/>
                  </a:lnTo>
                  <a:lnTo>
                    <a:pt x="595" y="1246"/>
                  </a:lnTo>
                  <a:lnTo>
                    <a:pt x="601" y="1247"/>
                  </a:lnTo>
                  <a:lnTo>
                    <a:pt x="607" y="1249"/>
                  </a:lnTo>
                  <a:lnTo>
                    <a:pt x="618" y="1255"/>
                  </a:lnTo>
                  <a:lnTo>
                    <a:pt x="628" y="1260"/>
                  </a:lnTo>
                  <a:lnTo>
                    <a:pt x="638" y="1266"/>
                  </a:lnTo>
                  <a:lnTo>
                    <a:pt x="649" y="1271"/>
                  </a:lnTo>
                  <a:lnTo>
                    <a:pt x="655" y="1274"/>
                  </a:lnTo>
                  <a:lnTo>
                    <a:pt x="661" y="1276"/>
                  </a:lnTo>
                  <a:lnTo>
                    <a:pt x="667" y="1277"/>
                  </a:lnTo>
                  <a:lnTo>
                    <a:pt x="674" y="1277"/>
                  </a:lnTo>
                  <a:lnTo>
                    <a:pt x="684" y="1277"/>
                  </a:lnTo>
                  <a:lnTo>
                    <a:pt x="692" y="1274"/>
                  </a:lnTo>
                  <a:lnTo>
                    <a:pt x="699" y="1270"/>
                  </a:lnTo>
                  <a:lnTo>
                    <a:pt x="705" y="1265"/>
                  </a:lnTo>
                  <a:lnTo>
                    <a:pt x="712" y="1259"/>
                  </a:lnTo>
                  <a:lnTo>
                    <a:pt x="716" y="1252"/>
                  </a:lnTo>
                  <a:lnTo>
                    <a:pt x="720" y="1244"/>
                  </a:lnTo>
                  <a:lnTo>
                    <a:pt x="724" y="1235"/>
                  </a:lnTo>
                  <a:lnTo>
                    <a:pt x="730" y="1217"/>
                  </a:lnTo>
                  <a:lnTo>
                    <a:pt x="736" y="1197"/>
                  </a:lnTo>
                  <a:lnTo>
                    <a:pt x="740" y="1187"/>
                  </a:lnTo>
                  <a:lnTo>
                    <a:pt x="745" y="1177"/>
                  </a:lnTo>
                  <a:lnTo>
                    <a:pt x="749" y="1168"/>
                  </a:lnTo>
                  <a:lnTo>
                    <a:pt x="754" y="1159"/>
                  </a:lnTo>
                  <a:lnTo>
                    <a:pt x="761" y="1148"/>
                  </a:lnTo>
                  <a:lnTo>
                    <a:pt x="766" y="1137"/>
                  </a:lnTo>
                  <a:lnTo>
                    <a:pt x="770" y="1132"/>
                  </a:lnTo>
                  <a:lnTo>
                    <a:pt x="775" y="1129"/>
                  </a:lnTo>
                  <a:lnTo>
                    <a:pt x="780" y="1127"/>
                  </a:lnTo>
                  <a:lnTo>
                    <a:pt x="786" y="1126"/>
                  </a:lnTo>
                  <a:lnTo>
                    <a:pt x="811" y="1126"/>
                  </a:lnTo>
                  <a:lnTo>
                    <a:pt x="833" y="1127"/>
                  </a:lnTo>
                  <a:lnTo>
                    <a:pt x="856" y="1128"/>
                  </a:lnTo>
                  <a:lnTo>
                    <a:pt x="881" y="1128"/>
                  </a:lnTo>
                  <a:lnTo>
                    <a:pt x="888" y="1129"/>
                  </a:lnTo>
                  <a:lnTo>
                    <a:pt x="895" y="1131"/>
                  </a:lnTo>
                  <a:lnTo>
                    <a:pt x="901" y="1133"/>
                  </a:lnTo>
                  <a:lnTo>
                    <a:pt x="907" y="1137"/>
                  </a:lnTo>
                  <a:lnTo>
                    <a:pt x="917" y="1147"/>
                  </a:lnTo>
                  <a:lnTo>
                    <a:pt x="926" y="1157"/>
                  </a:lnTo>
                  <a:lnTo>
                    <a:pt x="935" y="1167"/>
                  </a:lnTo>
                  <a:lnTo>
                    <a:pt x="946" y="1176"/>
                  </a:lnTo>
                  <a:lnTo>
                    <a:pt x="951" y="1180"/>
                  </a:lnTo>
                  <a:lnTo>
                    <a:pt x="957" y="1183"/>
                  </a:lnTo>
                  <a:lnTo>
                    <a:pt x="964" y="1185"/>
                  </a:lnTo>
                  <a:lnTo>
                    <a:pt x="971" y="1185"/>
                  </a:lnTo>
                  <a:lnTo>
                    <a:pt x="985" y="1184"/>
                  </a:lnTo>
                  <a:lnTo>
                    <a:pt x="996" y="1182"/>
                  </a:lnTo>
                  <a:lnTo>
                    <a:pt x="1007" y="1177"/>
                  </a:lnTo>
                  <a:lnTo>
                    <a:pt x="1017" y="1172"/>
                  </a:lnTo>
                  <a:lnTo>
                    <a:pt x="1037" y="1160"/>
                  </a:lnTo>
                  <a:lnTo>
                    <a:pt x="1061" y="1148"/>
                  </a:lnTo>
                  <a:lnTo>
                    <a:pt x="1077" y="1139"/>
                  </a:lnTo>
                  <a:lnTo>
                    <a:pt x="1092" y="1130"/>
                  </a:lnTo>
                  <a:lnTo>
                    <a:pt x="1107" y="1121"/>
                  </a:lnTo>
                  <a:lnTo>
                    <a:pt x="1119" y="1111"/>
                  </a:lnTo>
                  <a:lnTo>
                    <a:pt x="1131" y="1101"/>
                  </a:lnTo>
                  <a:lnTo>
                    <a:pt x="1142" y="1090"/>
                  </a:lnTo>
                  <a:lnTo>
                    <a:pt x="1152" y="1078"/>
                  </a:lnTo>
                  <a:lnTo>
                    <a:pt x="1161" y="1066"/>
                  </a:lnTo>
                  <a:lnTo>
                    <a:pt x="1171" y="1054"/>
                  </a:lnTo>
                  <a:lnTo>
                    <a:pt x="1179" y="1040"/>
                  </a:lnTo>
                  <a:lnTo>
                    <a:pt x="1188" y="1027"/>
                  </a:lnTo>
                  <a:lnTo>
                    <a:pt x="1195" y="1012"/>
                  </a:lnTo>
                  <a:lnTo>
                    <a:pt x="1212" y="981"/>
                  </a:lnTo>
                  <a:lnTo>
                    <a:pt x="1228" y="949"/>
                  </a:lnTo>
                  <a:lnTo>
                    <a:pt x="1241" y="923"/>
                  </a:lnTo>
                  <a:lnTo>
                    <a:pt x="1253" y="900"/>
                  </a:lnTo>
                  <a:lnTo>
                    <a:pt x="1264" y="878"/>
                  </a:lnTo>
                  <a:lnTo>
                    <a:pt x="1275" y="857"/>
                  </a:lnTo>
                  <a:lnTo>
                    <a:pt x="1286" y="836"/>
                  </a:lnTo>
                  <a:lnTo>
                    <a:pt x="1297" y="814"/>
                  </a:lnTo>
                  <a:lnTo>
                    <a:pt x="1310" y="790"/>
                  </a:lnTo>
                  <a:lnTo>
                    <a:pt x="1322" y="764"/>
                  </a:lnTo>
                  <a:lnTo>
                    <a:pt x="1340" y="734"/>
                  </a:lnTo>
                  <a:lnTo>
                    <a:pt x="1357" y="708"/>
                  </a:lnTo>
                  <a:lnTo>
                    <a:pt x="1363" y="694"/>
                  </a:lnTo>
                  <a:lnTo>
                    <a:pt x="1370" y="680"/>
                  </a:lnTo>
                  <a:lnTo>
                    <a:pt x="1372" y="673"/>
                  </a:lnTo>
                  <a:lnTo>
                    <a:pt x="1373" y="664"/>
                  </a:lnTo>
                  <a:lnTo>
                    <a:pt x="1374" y="656"/>
                  </a:lnTo>
                  <a:lnTo>
                    <a:pt x="1375" y="647"/>
                  </a:lnTo>
                  <a:lnTo>
                    <a:pt x="1374" y="643"/>
                  </a:lnTo>
                  <a:lnTo>
                    <a:pt x="1372" y="639"/>
                  </a:lnTo>
                  <a:lnTo>
                    <a:pt x="1369" y="637"/>
                  </a:lnTo>
                  <a:lnTo>
                    <a:pt x="1365" y="635"/>
                  </a:lnTo>
                  <a:lnTo>
                    <a:pt x="1362" y="633"/>
                  </a:lnTo>
                  <a:lnTo>
                    <a:pt x="1358" y="631"/>
                  </a:lnTo>
                  <a:lnTo>
                    <a:pt x="1355" y="629"/>
                  </a:lnTo>
                  <a:lnTo>
                    <a:pt x="1353" y="625"/>
                  </a:lnTo>
                  <a:lnTo>
                    <a:pt x="1349" y="617"/>
                  </a:lnTo>
                  <a:lnTo>
                    <a:pt x="1346" y="608"/>
                  </a:lnTo>
                  <a:lnTo>
                    <a:pt x="1343" y="600"/>
                  </a:lnTo>
                  <a:lnTo>
                    <a:pt x="1341" y="593"/>
                  </a:lnTo>
                  <a:lnTo>
                    <a:pt x="1340" y="575"/>
                  </a:lnTo>
                  <a:lnTo>
                    <a:pt x="1339" y="557"/>
                  </a:lnTo>
                  <a:lnTo>
                    <a:pt x="1340" y="547"/>
                  </a:lnTo>
                  <a:lnTo>
                    <a:pt x="1341" y="537"/>
                  </a:lnTo>
                  <a:lnTo>
                    <a:pt x="1343" y="529"/>
                  </a:lnTo>
                  <a:lnTo>
                    <a:pt x="1345" y="521"/>
                  </a:lnTo>
                  <a:lnTo>
                    <a:pt x="1349" y="512"/>
                  </a:lnTo>
                  <a:lnTo>
                    <a:pt x="1353" y="505"/>
                  </a:lnTo>
                  <a:lnTo>
                    <a:pt x="1357" y="498"/>
                  </a:lnTo>
                  <a:lnTo>
                    <a:pt x="1362" y="492"/>
                  </a:lnTo>
                  <a:lnTo>
                    <a:pt x="1369" y="486"/>
                  </a:lnTo>
                  <a:lnTo>
                    <a:pt x="1375" y="479"/>
                  </a:lnTo>
                  <a:lnTo>
                    <a:pt x="1382" y="474"/>
                  </a:lnTo>
                  <a:lnTo>
                    <a:pt x="1389" y="469"/>
                  </a:lnTo>
                  <a:lnTo>
                    <a:pt x="1406" y="461"/>
                  </a:lnTo>
                  <a:lnTo>
                    <a:pt x="1423" y="454"/>
                  </a:lnTo>
                  <a:lnTo>
                    <a:pt x="1442" y="447"/>
                  </a:lnTo>
                  <a:lnTo>
                    <a:pt x="1461" y="442"/>
                  </a:lnTo>
                  <a:lnTo>
                    <a:pt x="1483" y="439"/>
                  </a:lnTo>
                  <a:lnTo>
                    <a:pt x="1504" y="436"/>
                  </a:lnTo>
                  <a:lnTo>
                    <a:pt x="1525" y="434"/>
                  </a:lnTo>
                  <a:lnTo>
                    <a:pt x="1547" y="433"/>
                  </a:lnTo>
                  <a:lnTo>
                    <a:pt x="1568" y="432"/>
                  </a:lnTo>
                  <a:lnTo>
                    <a:pt x="1589" y="432"/>
                  </a:lnTo>
                  <a:lnTo>
                    <a:pt x="1610" y="431"/>
                  </a:lnTo>
                  <a:lnTo>
                    <a:pt x="1628" y="431"/>
                  </a:lnTo>
                  <a:lnTo>
                    <a:pt x="1638" y="431"/>
                  </a:lnTo>
                  <a:lnTo>
                    <a:pt x="1647" y="433"/>
                  </a:lnTo>
                  <a:lnTo>
                    <a:pt x="1656" y="435"/>
                  </a:lnTo>
                  <a:lnTo>
                    <a:pt x="1667" y="439"/>
                  </a:lnTo>
                  <a:lnTo>
                    <a:pt x="1676" y="444"/>
                  </a:lnTo>
                  <a:lnTo>
                    <a:pt x="1685" y="449"/>
                  </a:lnTo>
                  <a:lnTo>
                    <a:pt x="1693" y="456"/>
                  </a:lnTo>
                  <a:lnTo>
                    <a:pt x="1701" y="461"/>
                  </a:lnTo>
                  <a:lnTo>
                    <a:pt x="1709" y="466"/>
                  </a:lnTo>
                  <a:lnTo>
                    <a:pt x="1717" y="470"/>
                  </a:lnTo>
                  <a:lnTo>
                    <a:pt x="1726" y="473"/>
                  </a:lnTo>
                  <a:lnTo>
                    <a:pt x="1738" y="474"/>
                  </a:lnTo>
                  <a:lnTo>
                    <a:pt x="1745" y="474"/>
                  </a:lnTo>
                  <a:lnTo>
                    <a:pt x="1752" y="472"/>
                  </a:lnTo>
                  <a:lnTo>
                    <a:pt x="1759" y="470"/>
                  </a:lnTo>
                  <a:lnTo>
                    <a:pt x="1766" y="466"/>
                  </a:lnTo>
                  <a:lnTo>
                    <a:pt x="1771" y="462"/>
                  </a:lnTo>
                  <a:lnTo>
                    <a:pt x="1776" y="458"/>
                  </a:lnTo>
                  <a:lnTo>
                    <a:pt x="1780" y="452"/>
                  </a:lnTo>
                  <a:lnTo>
                    <a:pt x="1785" y="446"/>
                  </a:lnTo>
                  <a:lnTo>
                    <a:pt x="1794" y="434"/>
                  </a:lnTo>
                  <a:lnTo>
                    <a:pt x="1804" y="422"/>
                  </a:lnTo>
                  <a:lnTo>
                    <a:pt x="1809" y="415"/>
                  </a:lnTo>
                  <a:lnTo>
                    <a:pt x="1814" y="409"/>
                  </a:lnTo>
                  <a:lnTo>
                    <a:pt x="1820" y="404"/>
                  </a:lnTo>
                  <a:lnTo>
                    <a:pt x="1826" y="399"/>
                  </a:lnTo>
                  <a:lnTo>
                    <a:pt x="1852" y="381"/>
                  </a:lnTo>
                  <a:lnTo>
                    <a:pt x="1876" y="363"/>
                  </a:lnTo>
                  <a:lnTo>
                    <a:pt x="1886" y="354"/>
                  </a:lnTo>
                  <a:lnTo>
                    <a:pt x="1897" y="345"/>
                  </a:lnTo>
                  <a:lnTo>
                    <a:pt x="1907" y="335"/>
                  </a:lnTo>
                  <a:lnTo>
                    <a:pt x="1915" y="325"/>
                  </a:lnTo>
                  <a:lnTo>
                    <a:pt x="1923" y="314"/>
                  </a:lnTo>
                  <a:lnTo>
                    <a:pt x="1931" y="304"/>
                  </a:lnTo>
                  <a:lnTo>
                    <a:pt x="1937" y="293"/>
                  </a:lnTo>
                  <a:lnTo>
                    <a:pt x="1942" y="280"/>
                  </a:lnTo>
                  <a:lnTo>
                    <a:pt x="1946" y="268"/>
                  </a:lnTo>
                  <a:lnTo>
                    <a:pt x="1949" y="253"/>
                  </a:lnTo>
                  <a:lnTo>
                    <a:pt x="1951" y="240"/>
                  </a:lnTo>
                  <a:lnTo>
                    <a:pt x="1952" y="224"/>
                  </a:lnTo>
                  <a:lnTo>
                    <a:pt x="1952" y="214"/>
                  </a:lnTo>
                  <a:lnTo>
                    <a:pt x="1954" y="205"/>
                  </a:lnTo>
                  <a:lnTo>
                    <a:pt x="1956" y="196"/>
                  </a:lnTo>
                  <a:lnTo>
                    <a:pt x="1958" y="188"/>
                  </a:lnTo>
                  <a:lnTo>
                    <a:pt x="1961" y="180"/>
                  </a:lnTo>
                  <a:lnTo>
                    <a:pt x="1964" y="172"/>
                  </a:lnTo>
                  <a:lnTo>
                    <a:pt x="1966" y="162"/>
                  </a:lnTo>
                  <a:lnTo>
                    <a:pt x="1966" y="152"/>
                  </a:lnTo>
                  <a:lnTo>
                    <a:pt x="1966" y="145"/>
                  </a:lnTo>
                  <a:lnTo>
                    <a:pt x="1965" y="139"/>
                  </a:lnTo>
                  <a:lnTo>
                    <a:pt x="1961" y="131"/>
                  </a:lnTo>
                  <a:lnTo>
                    <a:pt x="1958" y="125"/>
                  </a:lnTo>
                  <a:lnTo>
                    <a:pt x="1963" y="107"/>
                  </a:lnTo>
                  <a:lnTo>
                    <a:pt x="1965" y="90"/>
                  </a:lnTo>
                  <a:lnTo>
                    <a:pt x="1967" y="82"/>
                  </a:lnTo>
                  <a:lnTo>
                    <a:pt x="1969" y="75"/>
                  </a:lnTo>
                  <a:lnTo>
                    <a:pt x="1973" y="66"/>
                  </a:lnTo>
                  <a:lnTo>
                    <a:pt x="1978" y="59"/>
                  </a:lnTo>
                  <a:lnTo>
                    <a:pt x="1985" y="51"/>
                  </a:lnTo>
                  <a:lnTo>
                    <a:pt x="1992" y="44"/>
                  </a:lnTo>
                  <a:lnTo>
                    <a:pt x="2000" y="37"/>
                  </a:lnTo>
                  <a:lnTo>
                    <a:pt x="2008" y="32"/>
                  </a:lnTo>
                  <a:lnTo>
                    <a:pt x="2016" y="27"/>
                  </a:lnTo>
                  <a:lnTo>
                    <a:pt x="2024" y="23"/>
                  </a:lnTo>
                  <a:lnTo>
                    <a:pt x="2033" y="20"/>
                  </a:lnTo>
                  <a:lnTo>
                    <a:pt x="2042" y="17"/>
                  </a:lnTo>
                  <a:lnTo>
                    <a:pt x="2080" y="9"/>
                  </a:lnTo>
                  <a:lnTo>
                    <a:pt x="2121" y="0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de-DE" altLang="ru-RU" sz="675" dirty="0">
                <a:latin typeface="Calibri" panose="020F050202020403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de-DE" altLang="ru-RU" sz="675" dirty="0">
                <a:latin typeface="Calibri" panose="020F050202020403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 dirty="0" err="1">
                  <a:latin typeface="Calibri" panose="020F0502020204030204" pitchFamily="34" charset="0"/>
                </a:rPr>
                <a:t>Cherkasy</a:t>
              </a:r>
              <a:endParaRPr lang="ru-RU" altLang="ru-RU" sz="675" dirty="0">
                <a:latin typeface="Calibri" panose="020F0502020204030204" pitchFamily="34" charset="0"/>
              </a:endParaRPr>
            </a:p>
          </p:txBody>
        </p:sp>
        <p:sp>
          <p:nvSpPr>
            <p:cNvPr id="40" name="Rivne"/>
            <p:cNvSpPr>
              <a:spLocks/>
            </p:cNvSpPr>
            <p:nvPr/>
          </p:nvSpPr>
          <p:spPr bwMode="auto">
            <a:xfrm>
              <a:off x="1353" y="1197"/>
              <a:ext cx="662" cy="714"/>
            </a:xfrm>
            <a:custGeom>
              <a:avLst/>
              <a:gdLst>
                <a:gd name="T0" fmla="*/ 376 w 2191"/>
                <a:gd name="T1" fmla="*/ 204 h 2477"/>
                <a:gd name="T2" fmla="*/ 376 w 2191"/>
                <a:gd name="T3" fmla="*/ 204 h 2477"/>
                <a:gd name="T4" fmla="*/ 376 w 2191"/>
                <a:gd name="T5" fmla="*/ 204 h 2477"/>
                <a:gd name="T6" fmla="*/ 376 w 2191"/>
                <a:gd name="T7" fmla="*/ 204 h 2477"/>
                <a:gd name="T8" fmla="*/ 376 w 2191"/>
                <a:gd name="T9" fmla="*/ 204 h 2477"/>
                <a:gd name="T10" fmla="*/ 376 w 2191"/>
                <a:gd name="T11" fmla="*/ 204 h 2477"/>
                <a:gd name="T12" fmla="*/ 376 w 2191"/>
                <a:gd name="T13" fmla="*/ 204 h 2477"/>
                <a:gd name="T14" fmla="*/ 376 w 2191"/>
                <a:gd name="T15" fmla="*/ 204 h 2477"/>
                <a:gd name="T16" fmla="*/ 376 w 2191"/>
                <a:gd name="T17" fmla="*/ 204 h 2477"/>
                <a:gd name="T18" fmla="*/ 376 w 2191"/>
                <a:gd name="T19" fmla="*/ 204 h 2477"/>
                <a:gd name="T20" fmla="*/ 376 w 2191"/>
                <a:gd name="T21" fmla="*/ 204 h 2477"/>
                <a:gd name="T22" fmla="*/ 376 w 2191"/>
                <a:gd name="T23" fmla="*/ 204 h 2477"/>
                <a:gd name="T24" fmla="*/ 376 w 2191"/>
                <a:gd name="T25" fmla="*/ 204 h 2477"/>
                <a:gd name="T26" fmla="*/ 376 w 2191"/>
                <a:gd name="T27" fmla="*/ 204 h 2477"/>
                <a:gd name="T28" fmla="*/ 376 w 2191"/>
                <a:gd name="T29" fmla="*/ 204 h 2477"/>
                <a:gd name="T30" fmla="*/ 376 w 2191"/>
                <a:gd name="T31" fmla="*/ 204 h 2477"/>
                <a:gd name="T32" fmla="*/ 376 w 2191"/>
                <a:gd name="T33" fmla="*/ 204 h 2477"/>
                <a:gd name="T34" fmla="*/ 376 w 2191"/>
                <a:gd name="T35" fmla="*/ 204 h 2477"/>
                <a:gd name="T36" fmla="*/ 376 w 2191"/>
                <a:gd name="T37" fmla="*/ 204 h 2477"/>
                <a:gd name="T38" fmla="*/ 376 w 2191"/>
                <a:gd name="T39" fmla="*/ 204 h 2477"/>
                <a:gd name="T40" fmla="*/ 376 w 2191"/>
                <a:gd name="T41" fmla="*/ 204 h 2477"/>
                <a:gd name="T42" fmla="*/ 376 w 2191"/>
                <a:gd name="T43" fmla="*/ 204 h 2477"/>
                <a:gd name="T44" fmla="*/ 376 w 2191"/>
                <a:gd name="T45" fmla="*/ 204 h 2477"/>
                <a:gd name="T46" fmla="*/ 376 w 2191"/>
                <a:gd name="T47" fmla="*/ 204 h 2477"/>
                <a:gd name="T48" fmla="*/ 376 w 2191"/>
                <a:gd name="T49" fmla="*/ 204 h 2477"/>
                <a:gd name="T50" fmla="*/ 376 w 2191"/>
                <a:gd name="T51" fmla="*/ 204 h 2477"/>
                <a:gd name="T52" fmla="*/ 376 w 2191"/>
                <a:gd name="T53" fmla="*/ 204 h 2477"/>
                <a:gd name="T54" fmla="*/ 376 w 2191"/>
                <a:gd name="T55" fmla="*/ 204 h 2477"/>
                <a:gd name="T56" fmla="*/ 376 w 2191"/>
                <a:gd name="T57" fmla="*/ 204 h 2477"/>
                <a:gd name="T58" fmla="*/ 376 w 2191"/>
                <a:gd name="T59" fmla="*/ 204 h 2477"/>
                <a:gd name="T60" fmla="*/ 376 w 2191"/>
                <a:gd name="T61" fmla="*/ 204 h 2477"/>
                <a:gd name="T62" fmla="*/ 376 w 2191"/>
                <a:gd name="T63" fmla="*/ 204 h 2477"/>
                <a:gd name="T64" fmla="*/ 376 w 2191"/>
                <a:gd name="T65" fmla="*/ 204 h 2477"/>
                <a:gd name="T66" fmla="*/ 376 w 2191"/>
                <a:gd name="T67" fmla="*/ 204 h 2477"/>
                <a:gd name="T68" fmla="*/ 376 w 2191"/>
                <a:gd name="T69" fmla="*/ 204 h 2477"/>
                <a:gd name="T70" fmla="*/ 376 w 2191"/>
                <a:gd name="T71" fmla="*/ 204 h 2477"/>
                <a:gd name="T72" fmla="*/ 376 w 2191"/>
                <a:gd name="T73" fmla="*/ 204 h 2477"/>
                <a:gd name="T74" fmla="*/ 376 w 2191"/>
                <a:gd name="T75" fmla="*/ 204 h 2477"/>
                <a:gd name="T76" fmla="*/ 376 w 2191"/>
                <a:gd name="T77" fmla="*/ 204 h 2477"/>
                <a:gd name="T78" fmla="*/ 376 w 2191"/>
                <a:gd name="T79" fmla="*/ 204 h 2477"/>
                <a:gd name="T80" fmla="*/ 376 w 2191"/>
                <a:gd name="T81" fmla="*/ 204 h 2477"/>
                <a:gd name="T82" fmla="*/ 376 w 2191"/>
                <a:gd name="T83" fmla="*/ 204 h 2477"/>
                <a:gd name="T84" fmla="*/ 376 w 2191"/>
                <a:gd name="T85" fmla="*/ 204 h 2477"/>
                <a:gd name="T86" fmla="*/ 376 w 2191"/>
                <a:gd name="T87" fmla="*/ 204 h 2477"/>
                <a:gd name="T88" fmla="*/ 376 w 2191"/>
                <a:gd name="T89" fmla="*/ 204 h 2477"/>
                <a:gd name="T90" fmla="*/ 376 w 2191"/>
                <a:gd name="T91" fmla="*/ 204 h 2477"/>
                <a:gd name="T92" fmla="*/ 376 w 2191"/>
                <a:gd name="T93" fmla="*/ 204 h 2477"/>
                <a:gd name="T94" fmla="*/ 376 w 2191"/>
                <a:gd name="T95" fmla="*/ 204 h 2477"/>
                <a:gd name="T96" fmla="*/ 376 w 2191"/>
                <a:gd name="T97" fmla="*/ 204 h 2477"/>
                <a:gd name="T98" fmla="*/ 376 w 2191"/>
                <a:gd name="T99" fmla="*/ 204 h 2477"/>
                <a:gd name="T100" fmla="*/ 376 w 2191"/>
                <a:gd name="T101" fmla="*/ 204 h 2477"/>
                <a:gd name="T102" fmla="*/ 376 w 2191"/>
                <a:gd name="T103" fmla="*/ 204 h 2477"/>
                <a:gd name="T104" fmla="*/ 376 w 2191"/>
                <a:gd name="T105" fmla="*/ 204 h 2477"/>
                <a:gd name="T106" fmla="*/ 376 w 2191"/>
                <a:gd name="T107" fmla="*/ 204 h 2477"/>
                <a:gd name="T108" fmla="*/ 376 w 2191"/>
                <a:gd name="T109" fmla="*/ 204 h 2477"/>
                <a:gd name="T110" fmla="*/ 376 w 2191"/>
                <a:gd name="T111" fmla="*/ 204 h 2477"/>
                <a:gd name="T112" fmla="*/ 376 w 2191"/>
                <a:gd name="T113" fmla="*/ 204 h 2477"/>
                <a:gd name="T114" fmla="*/ 376 w 2191"/>
                <a:gd name="T115" fmla="*/ 204 h 2477"/>
                <a:gd name="T116" fmla="*/ 376 w 2191"/>
                <a:gd name="T117" fmla="*/ 204 h 2477"/>
                <a:gd name="T118" fmla="*/ 376 w 2191"/>
                <a:gd name="T119" fmla="*/ 204 h 2477"/>
                <a:gd name="T120" fmla="*/ 376 w 2191"/>
                <a:gd name="T121" fmla="*/ 204 h 2477"/>
                <a:gd name="T122" fmla="*/ 376 w 2191"/>
                <a:gd name="T123" fmla="*/ 0 h 2477"/>
                <a:gd name="T124" fmla="*/ 376 w 2191"/>
                <a:gd name="T125" fmla="*/ 204 h 247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191"/>
                <a:gd name="T190" fmla="*/ 0 h 2477"/>
                <a:gd name="T191" fmla="*/ 2191 w 2191"/>
                <a:gd name="T192" fmla="*/ 2477 h 247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191" h="2477">
                  <a:moveTo>
                    <a:pt x="618" y="54"/>
                  </a:moveTo>
                  <a:lnTo>
                    <a:pt x="623" y="79"/>
                  </a:lnTo>
                  <a:lnTo>
                    <a:pt x="627" y="101"/>
                  </a:lnTo>
                  <a:lnTo>
                    <a:pt x="630" y="123"/>
                  </a:lnTo>
                  <a:lnTo>
                    <a:pt x="630" y="149"/>
                  </a:lnTo>
                  <a:lnTo>
                    <a:pt x="630" y="166"/>
                  </a:lnTo>
                  <a:lnTo>
                    <a:pt x="627" y="181"/>
                  </a:lnTo>
                  <a:lnTo>
                    <a:pt x="624" y="196"/>
                  </a:lnTo>
                  <a:lnTo>
                    <a:pt x="620" y="209"/>
                  </a:lnTo>
                  <a:lnTo>
                    <a:pt x="616" y="222"/>
                  </a:lnTo>
                  <a:lnTo>
                    <a:pt x="610" y="235"/>
                  </a:lnTo>
                  <a:lnTo>
                    <a:pt x="604" y="247"/>
                  </a:lnTo>
                  <a:lnTo>
                    <a:pt x="597" y="260"/>
                  </a:lnTo>
                  <a:lnTo>
                    <a:pt x="582" y="283"/>
                  </a:lnTo>
                  <a:lnTo>
                    <a:pt x="565" y="307"/>
                  </a:lnTo>
                  <a:lnTo>
                    <a:pt x="548" y="333"/>
                  </a:lnTo>
                  <a:lnTo>
                    <a:pt x="531" y="362"/>
                  </a:lnTo>
                  <a:lnTo>
                    <a:pt x="522" y="374"/>
                  </a:lnTo>
                  <a:lnTo>
                    <a:pt x="514" y="387"/>
                  </a:lnTo>
                  <a:lnTo>
                    <a:pt x="510" y="392"/>
                  </a:lnTo>
                  <a:lnTo>
                    <a:pt x="508" y="398"/>
                  </a:lnTo>
                  <a:lnTo>
                    <a:pt x="506" y="405"/>
                  </a:lnTo>
                  <a:lnTo>
                    <a:pt x="505" y="413"/>
                  </a:lnTo>
                  <a:lnTo>
                    <a:pt x="506" y="428"/>
                  </a:lnTo>
                  <a:lnTo>
                    <a:pt x="509" y="442"/>
                  </a:lnTo>
                  <a:lnTo>
                    <a:pt x="513" y="456"/>
                  </a:lnTo>
                  <a:lnTo>
                    <a:pt x="518" y="468"/>
                  </a:lnTo>
                  <a:lnTo>
                    <a:pt x="524" y="480"/>
                  </a:lnTo>
                  <a:lnTo>
                    <a:pt x="532" y="491"/>
                  </a:lnTo>
                  <a:lnTo>
                    <a:pt x="539" y="501"/>
                  </a:lnTo>
                  <a:lnTo>
                    <a:pt x="546" y="513"/>
                  </a:lnTo>
                  <a:lnTo>
                    <a:pt x="554" y="523"/>
                  </a:lnTo>
                  <a:lnTo>
                    <a:pt x="561" y="534"/>
                  </a:lnTo>
                  <a:lnTo>
                    <a:pt x="569" y="546"/>
                  </a:lnTo>
                  <a:lnTo>
                    <a:pt x="575" y="557"/>
                  </a:lnTo>
                  <a:lnTo>
                    <a:pt x="580" y="569"/>
                  </a:lnTo>
                  <a:lnTo>
                    <a:pt x="584" y="583"/>
                  </a:lnTo>
                  <a:lnTo>
                    <a:pt x="586" y="596"/>
                  </a:lnTo>
                  <a:lnTo>
                    <a:pt x="587" y="612"/>
                  </a:lnTo>
                  <a:lnTo>
                    <a:pt x="587" y="619"/>
                  </a:lnTo>
                  <a:lnTo>
                    <a:pt x="586" y="626"/>
                  </a:lnTo>
                  <a:lnTo>
                    <a:pt x="584" y="632"/>
                  </a:lnTo>
                  <a:lnTo>
                    <a:pt x="583" y="639"/>
                  </a:lnTo>
                  <a:lnTo>
                    <a:pt x="581" y="645"/>
                  </a:lnTo>
                  <a:lnTo>
                    <a:pt x="580" y="651"/>
                  </a:lnTo>
                  <a:lnTo>
                    <a:pt x="578" y="658"/>
                  </a:lnTo>
                  <a:lnTo>
                    <a:pt x="578" y="665"/>
                  </a:lnTo>
                  <a:lnTo>
                    <a:pt x="578" y="713"/>
                  </a:lnTo>
                  <a:lnTo>
                    <a:pt x="585" y="722"/>
                  </a:lnTo>
                  <a:lnTo>
                    <a:pt x="615" y="714"/>
                  </a:lnTo>
                  <a:lnTo>
                    <a:pt x="641" y="706"/>
                  </a:lnTo>
                  <a:lnTo>
                    <a:pt x="654" y="702"/>
                  </a:lnTo>
                  <a:lnTo>
                    <a:pt x="668" y="700"/>
                  </a:lnTo>
                  <a:lnTo>
                    <a:pt x="682" y="697"/>
                  </a:lnTo>
                  <a:lnTo>
                    <a:pt x="699" y="696"/>
                  </a:lnTo>
                  <a:lnTo>
                    <a:pt x="702" y="697"/>
                  </a:lnTo>
                  <a:lnTo>
                    <a:pt x="705" y="700"/>
                  </a:lnTo>
                  <a:lnTo>
                    <a:pt x="706" y="702"/>
                  </a:lnTo>
                  <a:lnTo>
                    <a:pt x="707" y="706"/>
                  </a:lnTo>
                  <a:lnTo>
                    <a:pt x="708" y="714"/>
                  </a:lnTo>
                  <a:lnTo>
                    <a:pt x="710" y="722"/>
                  </a:lnTo>
                  <a:lnTo>
                    <a:pt x="715" y="736"/>
                  </a:lnTo>
                  <a:lnTo>
                    <a:pt x="720" y="746"/>
                  </a:lnTo>
                  <a:lnTo>
                    <a:pt x="725" y="757"/>
                  </a:lnTo>
                  <a:lnTo>
                    <a:pt x="732" y="770"/>
                  </a:lnTo>
                  <a:lnTo>
                    <a:pt x="750" y="805"/>
                  </a:lnTo>
                  <a:lnTo>
                    <a:pt x="768" y="835"/>
                  </a:lnTo>
                  <a:lnTo>
                    <a:pt x="776" y="850"/>
                  </a:lnTo>
                  <a:lnTo>
                    <a:pt x="782" y="867"/>
                  </a:lnTo>
                  <a:lnTo>
                    <a:pt x="784" y="875"/>
                  </a:lnTo>
                  <a:lnTo>
                    <a:pt x="786" y="884"/>
                  </a:lnTo>
                  <a:lnTo>
                    <a:pt x="787" y="894"/>
                  </a:lnTo>
                  <a:lnTo>
                    <a:pt x="788" y="904"/>
                  </a:lnTo>
                  <a:lnTo>
                    <a:pt x="787" y="910"/>
                  </a:lnTo>
                  <a:lnTo>
                    <a:pt x="784" y="914"/>
                  </a:lnTo>
                  <a:lnTo>
                    <a:pt x="782" y="918"/>
                  </a:lnTo>
                  <a:lnTo>
                    <a:pt x="778" y="924"/>
                  </a:lnTo>
                  <a:lnTo>
                    <a:pt x="781" y="933"/>
                  </a:lnTo>
                  <a:lnTo>
                    <a:pt x="800" y="939"/>
                  </a:lnTo>
                  <a:lnTo>
                    <a:pt x="817" y="947"/>
                  </a:lnTo>
                  <a:lnTo>
                    <a:pt x="825" y="953"/>
                  </a:lnTo>
                  <a:lnTo>
                    <a:pt x="833" y="958"/>
                  </a:lnTo>
                  <a:lnTo>
                    <a:pt x="840" y="963"/>
                  </a:lnTo>
                  <a:lnTo>
                    <a:pt x="847" y="968"/>
                  </a:lnTo>
                  <a:lnTo>
                    <a:pt x="853" y="975"/>
                  </a:lnTo>
                  <a:lnTo>
                    <a:pt x="858" y="981"/>
                  </a:lnTo>
                  <a:lnTo>
                    <a:pt x="864" y="989"/>
                  </a:lnTo>
                  <a:lnTo>
                    <a:pt x="868" y="996"/>
                  </a:lnTo>
                  <a:lnTo>
                    <a:pt x="871" y="1004"/>
                  </a:lnTo>
                  <a:lnTo>
                    <a:pt x="873" y="1013"/>
                  </a:lnTo>
                  <a:lnTo>
                    <a:pt x="875" y="1022"/>
                  </a:lnTo>
                  <a:lnTo>
                    <a:pt x="875" y="1032"/>
                  </a:lnTo>
                  <a:lnTo>
                    <a:pt x="874" y="1039"/>
                  </a:lnTo>
                  <a:lnTo>
                    <a:pt x="872" y="1044"/>
                  </a:lnTo>
                  <a:lnTo>
                    <a:pt x="868" y="1050"/>
                  </a:lnTo>
                  <a:lnTo>
                    <a:pt x="863" y="1054"/>
                  </a:lnTo>
                  <a:lnTo>
                    <a:pt x="850" y="1060"/>
                  </a:lnTo>
                  <a:lnTo>
                    <a:pt x="835" y="1066"/>
                  </a:lnTo>
                  <a:lnTo>
                    <a:pt x="820" y="1071"/>
                  </a:lnTo>
                  <a:lnTo>
                    <a:pt x="808" y="1077"/>
                  </a:lnTo>
                  <a:lnTo>
                    <a:pt x="803" y="1082"/>
                  </a:lnTo>
                  <a:lnTo>
                    <a:pt x="799" y="1087"/>
                  </a:lnTo>
                  <a:lnTo>
                    <a:pt x="796" y="1093"/>
                  </a:lnTo>
                  <a:lnTo>
                    <a:pt x="795" y="1099"/>
                  </a:lnTo>
                  <a:lnTo>
                    <a:pt x="796" y="1113"/>
                  </a:lnTo>
                  <a:lnTo>
                    <a:pt x="797" y="1125"/>
                  </a:lnTo>
                  <a:lnTo>
                    <a:pt x="798" y="1136"/>
                  </a:lnTo>
                  <a:lnTo>
                    <a:pt x="798" y="1150"/>
                  </a:lnTo>
                  <a:lnTo>
                    <a:pt x="807" y="1151"/>
                  </a:lnTo>
                  <a:lnTo>
                    <a:pt x="816" y="1152"/>
                  </a:lnTo>
                  <a:lnTo>
                    <a:pt x="824" y="1154"/>
                  </a:lnTo>
                  <a:lnTo>
                    <a:pt x="833" y="1158"/>
                  </a:lnTo>
                  <a:lnTo>
                    <a:pt x="841" y="1162"/>
                  </a:lnTo>
                  <a:lnTo>
                    <a:pt x="848" y="1167"/>
                  </a:lnTo>
                  <a:lnTo>
                    <a:pt x="855" y="1172"/>
                  </a:lnTo>
                  <a:lnTo>
                    <a:pt x="862" y="1179"/>
                  </a:lnTo>
                  <a:lnTo>
                    <a:pt x="867" y="1186"/>
                  </a:lnTo>
                  <a:lnTo>
                    <a:pt x="872" y="1193"/>
                  </a:lnTo>
                  <a:lnTo>
                    <a:pt x="876" y="1201"/>
                  </a:lnTo>
                  <a:lnTo>
                    <a:pt x="880" y="1210"/>
                  </a:lnTo>
                  <a:lnTo>
                    <a:pt x="883" y="1219"/>
                  </a:lnTo>
                  <a:lnTo>
                    <a:pt x="885" y="1227"/>
                  </a:lnTo>
                  <a:lnTo>
                    <a:pt x="886" y="1238"/>
                  </a:lnTo>
                  <a:lnTo>
                    <a:pt x="887" y="1247"/>
                  </a:lnTo>
                  <a:lnTo>
                    <a:pt x="886" y="1254"/>
                  </a:lnTo>
                  <a:lnTo>
                    <a:pt x="885" y="1260"/>
                  </a:lnTo>
                  <a:lnTo>
                    <a:pt x="882" y="1265"/>
                  </a:lnTo>
                  <a:lnTo>
                    <a:pt x="879" y="1271"/>
                  </a:lnTo>
                  <a:lnTo>
                    <a:pt x="871" y="1280"/>
                  </a:lnTo>
                  <a:lnTo>
                    <a:pt x="862" y="1288"/>
                  </a:lnTo>
                  <a:lnTo>
                    <a:pt x="851" y="1295"/>
                  </a:lnTo>
                  <a:lnTo>
                    <a:pt x="841" y="1305"/>
                  </a:lnTo>
                  <a:lnTo>
                    <a:pt x="837" y="1309"/>
                  </a:lnTo>
                  <a:lnTo>
                    <a:pt x="832" y="1314"/>
                  </a:lnTo>
                  <a:lnTo>
                    <a:pt x="829" y="1320"/>
                  </a:lnTo>
                  <a:lnTo>
                    <a:pt x="825" y="1327"/>
                  </a:lnTo>
                  <a:lnTo>
                    <a:pt x="813" y="1366"/>
                  </a:lnTo>
                  <a:lnTo>
                    <a:pt x="803" y="1401"/>
                  </a:lnTo>
                  <a:lnTo>
                    <a:pt x="799" y="1409"/>
                  </a:lnTo>
                  <a:lnTo>
                    <a:pt x="796" y="1416"/>
                  </a:lnTo>
                  <a:lnTo>
                    <a:pt x="791" y="1424"/>
                  </a:lnTo>
                  <a:lnTo>
                    <a:pt x="786" y="1432"/>
                  </a:lnTo>
                  <a:lnTo>
                    <a:pt x="781" y="1439"/>
                  </a:lnTo>
                  <a:lnTo>
                    <a:pt x="775" y="1446"/>
                  </a:lnTo>
                  <a:lnTo>
                    <a:pt x="768" y="1452"/>
                  </a:lnTo>
                  <a:lnTo>
                    <a:pt x="759" y="1460"/>
                  </a:lnTo>
                  <a:lnTo>
                    <a:pt x="744" y="1472"/>
                  </a:lnTo>
                  <a:lnTo>
                    <a:pt x="732" y="1484"/>
                  </a:lnTo>
                  <a:lnTo>
                    <a:pt x="721" y="1498"/>
                  </a:lnTo>
                  <a:lnTo>
                    <a:pt x="713" y="1512"/>
                  </a:lnTo>
                  <a:lnTo>
                    <a:pt x="705" y="1528"/>
                  </a:lnTo>
                  <a:lnTo>
                    <a:pt x="698" y="1543"/>
                  </a:lnTo>
                  <a:lnTo>
                    <a:pt x="691" y="1561"/>
                  </a:lnTo>
                  <a:lnTo>
                    <a:pt x="684" y="1579"/>
                  </a:lnTo>
                  <a:lnTo>
                    <a:pt x="679" y="1595"/>
                  </a:lnTo>
                  <a:lnTo>
                    <a:pt x="674" y="1609"/>
                  </a:lnTo>
                  <a:lnTo>
                    <a:pt x="669" y="1623"/>
                  </a:lnTo>
                  <a:lnTo>
                    <a:pt x="663" y="1635"/>
                  </a:lnTo>
                  <a:lnTo>
                    <a:pt x="659" y="1641"/>
                  </a:lnTo>
                  <a:lnTo>
                    <a:pt x="655" y="1646"/>
                  </a:lnTo>
                  <a:lnTo>
                    <a:pt x="651" y="1652"/>
                  </a:lnTo>
                  <a:lnTo>
                    <a:pt x="646" y="1657"/>
                  </a:lnTo>
                  <a:lnTo>
                    <a:pt x="641" y="1661"/>
                  </a:lnTo>
                  <a:lnTo>
                    <a:pt x="635" y="1664"/>
                  </a:lnTo>
                  <a:lnTo>
                    <a:pt x="627" y="1667"/>
                  </a:lnTo>
                  <a:lnTo>
                    <a:pt x="620" y="1669"/>
                  </a:lnTo>
                  <a:lnTo>
                    <a:pt x="613" y="1652"/>
                  </a:lnTo>
                  <a:lnTo>
                    <a:pt x="607" y="1635"/>
                  </a:lnTo>
                  <a:lnTo>
                    <a:pt x="600" y="1620"/>
                  </a:lnTo>
                  <a:lnTo>
                    <a:pt x="590" y="1603"/>
                  </a:lnTo>
                  <a:lnTo>
                    <a:pt x="571" y="1610"/>
                  </a:lnTo>
                  <a:lnTo>
                    <a:pt x="553" y="1616"/>
                  </a:lnTo>
                  <a:lnTo>
                    <a:pt x="544" y="1619"/>
                  </a:lnTo>
                  <a:lnTo>
                    <a:pt x="535" y="1621"/>
                  </a:lnTo>
                  <a:lnTo>
                    <a:pt x="525" y="1622"/>
                  </a:lnTo>
                  <a:lnTo>
                    <a:pt x="514" y="1622"/>
                  </a:lnTo>
                  <a:lnTo>
                    <a:pt x="506" y="1622"/>
                  </a:lnTo>
                  <a:lnTo>
                    <a:pt x="498" y="1620"/>
                  </a:lnTo>
                  <a:lnTo>
                    <a:pt x="490" y="1615"/>
                  </a:lnTo>
                  <a:lnTo>
                    <a:pt x="484" y="1611"/>
                  </a:lnTo>
                  <a:lnTo>
                    <a:pt x="478" y="1606"/>
                  </a:lnTo>
                  <a:lnTo>
                    <a:pt x="473" y="1599"/>
                  </a:lnTo>
                  <a:lnTo>
                    <a:pt x="469" y="1592"/>
                  </a:lnTo>
                  <a:lnTo>
                    <a:pt x="465" y="1584"/>
                  </a:lnTo>
                  <a:lnTo>
                    <a:pt x="428" y="1595"/>
                  </a:lnTo>
                  <a:lnTo>
                    <a:pt x="395" y="1606"/>
                  </a:lnTo>
                  <a:lnTo>
                    <a:pt x="388" y="1610"/>
                  </a:lnTo>
                  <a:lnTo>
                    <a:pt x="381" y="1614"/>
                  </a:lnTo>
                  <a:lnTo>
                    <a:pt x="375" y="1619"/>
                  </a:lnTo>
                  <a:lnTo>
                    <a:pt x="369" y="1624"/>
                  </a:lnTo>
                  <a:lnTo>
                    <a:pt x="362" y="1630"/>
                  </a:lnTo>
                  <a:lnTo>
                    <a:pt x="357" y="1636"/>
                  </a:lnTo>
                  <a:lnTo>
                    <a:pt x="352" y="1644"/>
                  </a:lnTo>
                  <a:lnTo>
                    <a:pt x="347" y="1653"/>
                  </a:lnTo>
                  <a:lnTo>
                    <a:pt x="339" y="1650"/>
                  </a:lnTo>
                  <a:lnTo>
                    <a:pt x="331" y="1644"/>
                  </a:lnTo>
                  <a:lnTo>
                    <a:pt x="325" y="1639"/>
                  </a:lnTo>
                  <a:lnTo>
                    <a:pt x="319" y="1634"/>
                  </a:lnTo>
                  <a:lnTo>
                    <a:pt x="313" y="1630"/>
                  </a:lnTo>
                  <a:lnTo>
                    <a:pt x="307" y="1626"/>
                  </a:lnTo>
                  <a:lnTo>
                    <a:pt x="300" y="1623"/>
                  </a:lnTo>
                  <a:lnTo>
                    <a:pt x="290" y="1622"/>
                  </a:lnTo>
                  <a:lnTo>
                    <a:pt x="286" y="1623"/>
                  </a:lnTo>
                  <a:lnTo>
                    <a:pt x="282" y="1624"/>
                  </a:lnTo>
                  <a:lnTo>
                    <a:pt x="279" y="1625"/>
                  </a:lnTo>
                  <a:lnTo>
                    <a:pt x="275" y="1627"/>
                  </a:lnTo>
                  <a:lnTo>
                    <a:pt x="270" y="1633"/>
                  </a:lnTo>
                  <a:lnTo>
                    <a:pt x="264" y="1639"/>
                  </a:lnTo>
                  <a:lnTo>
                    <a:pt x="260" y="1646"/>
                  </a:lnTo>
                  <a:lnTo>
                    <a:pt x="255" y="1654"/>
                  </a:lnTo>
                  <a:lnTo>
                    <a:pt x="252" y="1657"/>
                  </a:lnTo>
                  <a:lnTo>
                    <a:pt x="249" y="1660"/>
                  </a:lnTo>
                  <a:lnTo>
                    <a:pt x="245" y="1662"/>
                  </a:lnTo>
                  <a:lnTo>
                    <a:pt x="241" y="1664"/>
                  </a:lnTo>
                  <a:lnTo>
                    <a:pt x="228" y="1660"/>
                  </a:lnTo>
                  <a:lnTo>
                    <a:pt x="215" y="1657"/>
                  </a:lnTo>
                  <a:lnTo>
                    <a:pt x="209" y="1655"/>
                  </a:lnTo>
                  <a:lnTo>
                    <a:pt x="204" y="1652"/>
                  </a:lnTo>
                  <a:lnTo>
                    <a:pt x="197" y="1650"/>
                  </a:lnTo>
                  <a:lnTo>
                    <a:pt x="191" y="1645"/>
                  </a:lnTo>
                  <a:lnTo>
                    <a:pt x="189" y="1655"/>
                  </a:lnTo>
                  <a:lnTo>
                    <a:pt x="193" y="1664"/>
                  </a:lnTo>
                  <a:lnTo>
                    <a:pt x="193" y="1776"/>
                  </a:lnTo>
                  <a:lnTo>
                    <a:pt x="187" y="1777"/>
                  </a:lnTo>
                  <a:lnTo>
                    <a:pt x="180" y="1778"/>
                  </a:lnTo>
                  <a:lnTo>
                    <a:pt x="171" y="1778"/>
                  </a:lnTo>
                  <a:lnTo>
                    <a:pt x="161" y="1776"/>
                  </a:lnTo>
                  <a:lnTo>
                    <a:pt x="153" y="1773"/>
                  </a:lnTo>
                  <a:lnTo>
                    <a:pt x="146" y="1770"/>
                  </a:lnTo>
                  <a:lnTo>
                    <a:pt x="139" y="1766"/>
                  </a:lnTo>
                  <a:lnTo>
                    <a:pt x="131" y="1760"/>
                  </a:lnTo>
                  <a:lnTo>
                    <a:pt x="125" y="1754"/>
                  </a:lnTo>
                  <a:lnTo>
                    <a:pt x="118" y="1747"/>
                  </a:lnTo>
                  <a:lnTo>
                    <a:pt x="113" y="1737"/>
                  </a:lnTo>
                  <a:lnTo>
                    <a:pt x="109" y="1727"/>
                  </a:lnTo>
                  <a:lnTo>
                    <a:pt x="107" y="1723"/>
                  </a:lnTo>
                  <a:lnTo>
                    <a:pt x="104" y="1720"/>
                  </a:lnTo>
                  <a:lnTo>
                    <a:pt x="99" y="1718"/>
                  </a:lnTo>
                  <a:lnTo>
                    <a:pt x="94" y="1717"/>
                  </a:lnTo>
                  <a:lnTo>
                    <a:pt x="86" y="1717"/>
                  </a:lnTo>
                  <a:lnTo>
                    <a:pt x="78" y="1719"/>
                  </a:lnTo>
                  <a:lnTo>
                    <a:pt x="71" y="1722"/>
                  </a:lnTo>
                  <a:lnTo>
                    <a:pt x="63" y="1726"/>
                  </a:lnTo>
                  <a:lnTo>
                    <a:pt x="49" y="1734"/>
                  </a:lnTo>
                  <a:lnTo>
                    <a:pt x="33" y="1742"/>
                  </a:lnTo>
                  <a:lnTo>
                    <a:pt x="44" y="1760"/>
                  </a:lnTo>
                  <a:lnTo>
                    <a:pt x="52" y="1776"/>
                  </a:lnTo>
                  <a:lnTo>
                    <a:pt x="60" y="1792"/>
                  </a:lnTo>
                  <a:lnTo>
                    <a:pt x="66" y="1808"/>
                  </a:lnTo>
                  <a:lnTo>
                    <a:pt x="72" y="1823"/>
                  </a:lnTo>
                  <a:lnTo>
                    <a:pt x="76" y="1841"/>
                  </a:lnTo>
                  <a:lnTo>
                    <a:pt x="78" y="1858"/>
                  </a:lnTo>
                  <a:lnTo>
                    <a:pt x="78" y="1878"/>
                  </a:lnTo>
                  <a:lnTo>
                    <a:pt x="78" y="1890"/>
                  </a:lnTo>
                  <a:lnTo>
                    <a:pt x="76" y="1902"/>
                  </a:lnTo>
                  <a:lnTo>
                    <a:pt x="72" y="1912"/>
                  </a:lnTo>
                  <a:lnTo>
                    <a:pt x="67" y="1922"/>
                  </a:lnTo>
                  <a:lnTo>
                    <a:pt x="62" y="1930"/>
                  </a:lnTo>
                  <a:lnTo>
                    <a:pt x="56" y="1940"/>
                  </a:lnTo>
                  <a:lnTo>
                    <a:pt x="50" y="1948"/>
                  </a:lnTo>
                  <a:lnTo>
                    <a:pt x="44" y="1956"/>
                  </a:lnTo>
                  <a:lnTo>
                    <a:pt x="30" y="1974"/>
                  </a:lnTo>
                  <a:lnTo>
                    <a:pt x="17" y="1991"/>
                  </a:lnTo>
                  <a:lnTo>
                    <a:pt x="12" y="2002"/>
                  </a:lnTo>
                  <a:lnTo>
                    <a:pt x="7" y="2012"/>
                  </a:lnTo>
                  <a:lnTo>
                    <a:pt x="4" y="2022"/>
                  </a:lnTo>
                  <a:lnTo>
                    <a:pt x="0" y="2035"/>
                  </a:lnTo>
                  <a:lnTo>
                    <a:pt x="20" y="2052"/>
                  </a:lnTo>
                  <a:lnTo>
                    <a:pt x="38" y="2070"/>
                  </a:lnTo>
                  <a:lnTo>
                    <a:pt x="45" y="2079"/>
                  </a:lnTo>
                  <a:lnTo>
                    <a:pt x="50" y="2089"/>
                  </a:lnTo>
                  <a:lnTo>
                    <a:pt x="52" y="2095"/>
                  </a:lnTo>
                  <a:lnTo>
                    <a:pt x="53" y="2101"/>
                  </a:lnTo>
                  <a:lnTo>
                    <a:pt x="54" y="2107"/>
                  </a:lnTo>
                  <a:lnTo>
                    <a:pt x="55" y="2113"/>
                  </a:lnTo>
                  <a:lnTo>
                    <a:pt x="54" y="2144"/>
                  </a:lnTo>
                  <a:lnTo>
                    <a:pt x="51" y="2172"/>
                  </a:lnTo>
                  <a:lnTo>
                    <a:pt x="49" y="2200"/>
                  </a:lnTo>
                  <a:lnTo>
                    <a:pt x="48" y="2231"/>
                  </a:lnTo>
                  <a:lnTo>
                    <a:pt x="48" y="2252"/>
                  </a:lnTo>
                  <a:lnTo>
                    <a:pt x="49" y="2271"/>
                  </a:lnTo>
                  <a:lnTo>
                    <a:pt x="52" y="2291"/>
                  </a:lnTo>
                  <a:lnTo>
                    <a:pt x="55" y="2310"/>
                  </a:lnTo>
                  <a:lnTo>
                    <a:pt x="59" y="2328"/>
                  </a:lnTo>
                  <a:lnTo>
                    <a:pt x="64" y="2347"/>
                  </a:lnTo>
                  <a:lnTo>
                    <a:pt x="71" y="2363"/>
                  </a:lnTo>
                  <a:lnTo>
                    <a:pt x="78" y="2380"/>
                  </a:lnTo>
                  <a:lnTo>
                    <a:pt x="87" y="2395"/>
                  </a:lnTo>
                  <a:lnTo>
                    <a:pt x="96" y="2410"/>
                  </a:lnTo>
                  <a:lnTo>
                    <a:pt x="108" y="2423"/>
                  </a:lnTo>
                  <a:lnTo>
                    <a:pt x="120" y="2436"/>
                  </a:lnTo>
                  <a:lnTo>
                    <a:pt x="135" y="2448"/>
                  </a:lnTo>
                  <a:lnTo>
                    <a:pt x="149" y="2458"/>
                  </a:lnTo>
                  <a:lnTo>
                    <a:pt x="166" y="2468"/>
                  </a:lnTo>
                  <a:lnTo>
                    <a:pt x="184" y="2477"/>
                  </a:lnTo>
                  <a:lnTo>
                    <a:pt x="205" y="2465"/>
                  </a:lnTo>
                  <a:lnTo>
                    <a:pt x="222" y="2454"/>
                  </a:lnTo>
                  <a:lnTo>
                    <a:pt x="239" y="2443"/>
                  </a:lnTo>
                  <a:lnTo>
                    <a:pt x="254" y="2431"/>
                  </a:lnTo>
                  <a:lnTo>
                    <a:pt x="269" y="2418"/>
                  </a:lnTo>
                  <a:lnTo>
                    <a:pt x="283" y="2404"/>
                  </a:lnTo>
                  <a:lnTo>
                    <a:pt x="298" y="2390"/>
                  </a:lnTo>
                  <a:lnTo>
                    <a:pt x="314" y="2372"/>
                  </a:lnTo>
                  <a:lnTo>
                    <a:pt x="314" y="2325"/>
                  </a:lnTo>
                  <a:lnTo>
                    <a:pt x="320" y="2319"/>
                  </a:lnTo>
                  <a:lnTo>
                    <a:pt x="325" y="2314"/>
                  </a:lnTo>
                  <a:lnTo>
                    <a:pt x="331" y="2308"/>
                  </a:lnTo>
                  <a:lnTo>
                    <a:pt x="338" y="2303"/>
                  </a:lnTo>
                  <a:lnTo>
                    <a:pt x="345" y="2300"/>
                  </a:lnTo>
                  <a:lnTo>
                    <a:pt x="352" y="2297"/>
                  </a:lnTo>
                  <a:lnTo>
                    <a:pt x="359" y="2295"/>
                  </a:lnTo>
                  <a:lnTo>
                    <a:pt x="369" y="2295"/>
                  </a:lnTo>
                  <a:lnTo>
                    <a:pt x="372" y="2295"/>
                  </a:lnTo>
                  <a:lnTo>
                    <a:pt x="375" y="2296"/>
                  </a:lnTo>
                  <a:lnTo>
                    <a:pt x="378" y="2298"/>
                  </a:lnTo>
                  <a:lnTo>
                    <a:pt x="380" y="2301"/>
                  </a:lnTo>
                  <a:lnTo>
                    <a:pt x="383" y="2307"/>
                  </a:lnTo>
                  <a:lnTo>
                    <a:pt x="386" y="2315"/>
                  </a:lnTo>
                  <a:lnTo>
                    <a:pt x="389" y="2322"/>
                  </a:lnTo>
                  <a:lnTo>
                    <a:pt x="392" y="2329"/>
                  </a:lnTo>
                  <a:lnTo>
                    <a:pt x="394" y="2331"/>
                  </a:lnTo>
                  <a:lnTo>
                    <a:pt x="397" y="2333"/>
                  </a:lnTo>
                  <a:lnTo>
                    <a:pt x="400" y="2334"/>
                  </a:lnTo>
                  <a:lnTo>
                    <a:pt x="404" y="2335"/>
                  </a:lnTo>
                  <a:lnTo>
                    <a:pt x="414" y="2334"/>
                  </a:lnTo>
                  <a:lnTo>
                    <a:pt x="422" y="2333"/>
                  </a:lnTo>
                  <a:lnTo>
                    <a:pt x="432" y="2330"/>
                  </a:lnTo>
                  <a:lnTo>
                    <a:pt x="439" y="2327"/>
                  </a:lnTo>
                  <a:lnTo>
                    <a:pt x="455" y="2321"/>
                  </a:lnTo>
                  <a:lnTo>
                    <a:pt x="475" y="2316"/>
                  </a:lnTo>
                  <a:lnTo>
                    <a:pt x="500" y="2310"/>
                  </a:lnTo>
                  <a:lnTo>
                    <a:pt x="523" y="2304"/>
                  </a:lnTo>
                  <a:lnTo>
                    <a:pt x="546" y="2297"/>
                  </a:lnTo>
                  <a:lnTo>
                    <a:pt x="568" y="2290"/>
                  </a:lnTo>
                  <a:lnTo>
                    <a:pt x="608" y="2273"/>
                  </a:lnTo>
                  <a:lnTo>
                    <a:pt x="647" y="2258"/>
                  </a:lnTo>
                  <a:lnTo>
                    <a:pt x="667" y="2250"/>
                  </a:lnTo>
                  <a:lnTo>
                    <a:pt x="686" y="2242"/>
                  </a:lnTo>
                  <a:lnTo>
                    <a:pt x="706" y="2236"/>
                  </a:lnTo>
                  <a:lnTo>
                    <a:pt x="727" y="2231"/>
                  </a:lnTo>
                  <a:lnTo>
                    <a:pt x="749" y="2226"/>
                  </a:lnTo>
                  <a:lnTo>
                    <a:pt x="772" y="2223"/>
                  </a:lnTo>
                  <a:lnTo>
                    <a:pt x="796" y="2220"/>
                  </a:lnTo>
                  <a:lnTo>
                    <a:pt x="821" y="2220"/>
                  </a:lnTo>
                  <a:lnTo>
                    <a:pt x="832" y="2220"/>
                  </a:lnTo>
                  <a:lnTo>
                    <a:pt x="842" y="2222"/>
                  </a:lnTo>
                  <a:lnTo>
                    <a:pt x="851" y="2226"/>
                  </a:lnTo>
                  <a:lnTo>
                    <a:pt x="859" y="2230"/>
                  </a:lnTo>
                  <a:lnTo>
                    <a:pt x="868" y="2236"/>
                  </a:lnTo>
                  <a:lnTo>
                    <a:pt x="875" y="2242"/>
                  </a:lnTo>
                  <a:lnTo>
                    <a:pt x="882" y="2250"/>
                  </a:lnTo>
                  <a:lnTo>
                    <a:pt x="888" y="2257"/>
                  </a:lnTo>
                  <a:lnTo>
                    <a:pt x="901" y="2274"/>
                  </a:lnTo>
                  <a:lnTo>
                    <a:pt x="914" y="2291"/>
                  </a:lnTo>
                  <a:lnTo>
                    <a:pt x="921" y="2300"/>
                  </a:lnTo>
                  <a:lnTo>
                    <a:pt x="929" y="2308"/>
                  </a:lnTo>
                  <a:lnTo>
                    <a:pt x="937" y="2316"/>
                  </a:lnTo>
                  <a:lnTo>
                    <a:pt x="946" y="2323"/>
                  </a:lnTo>
                  <a:lnTo>
                    <a:pt x="962" y="2316"/>
                  </a:lnTo>
                  <a:lnTo>
                    <a:pt x="976" y="2307"/>
                  </a:lnTo>
                  <a:lnTo>
                    <a:pt x="989" y="2299"/>
                  </a:lnTo>
                  <a:lnTo>
                    <a:pt x="1002" y="2290"/>
                  </a:lnTo>
                  <a:lnTo>
                    <a:pt x="1026" y="2271"/>
                  </a:lnTo>
                  <a:lnTo>
                    <a:pt x="1047" y="2252"/>
                  </a:lnTo>
                  <a:lnTo>
                    <a:pt x="1059" y="2242"/>
                  </a:lnTo>
                  <a:lnTo>
                    <a:pt x="1070" y="2234"/>
                  </a:lnTo>
                  <a:lnTo>
                    <a:pt x="1081" y="2226"/>
                  </a:lnTo>
                  <a:lnTo>
                    <a:pt x="1094" y="2219"/>
                  </a:lnTo>
                  <a:lnTo>
                    <a:pt x="1107" y="2211"/>
                  </a:lnTo>
                  <a:lnTo>
                    <a:pt x="1121" y="2206"/>
                  </a:lnTo>
                  <a:lnTo>
                    <a:pt x="1137" y="2201"/>
                  </a:lnTo>
                  <a:lnTo>
                    <a:pt x="1153" y="2198"/>
                  </a:lnTo>
                  <a:lnTo>
                    <a:pt x="1168" y="2196"/>
                  </a:lnTo>
                  <a:lnTo>
                    <a:pt x="1183" y="2193"/>
                  </a:lnTo>
                  <a:lnTo>
                    <a:pt x="1197" y="2189"/>
                  </a:lnTo>
                  <a:lnTo>
                    <a:pt x="1210" y="2184"/>
                  </a:lnTo>
                  <a:lnTo>
                    <a:pt x="1222" y="2180"/>
                  </a:lnTo>
                  <a:lnTo>
                    <a:pt x="1235" y="2175"/>
                  </a:lnTo>
                  <a:lnTo>
                    <a:pt x="1247" y="2169"/>
                  </a:lnTo>
                  <a:lnTo>
                    <a:pt x="1259" y="2163"/>
                  </a:lnTo>
                  <a:lnTo>
                    <a:pt x="1269" y="2156"/>
                  </a:lnTo>
                  <a:lnTo>
                    <a:pt x="1280" y="2148"/>
                  </a:lnTo>
                  <a:lnTo>
                    <a:pt x="1290" y="2139"/>
                  </a:lnTo>
                  <a:lnTo>
                    <a:pt x="1300" y="2130"/>
                  </a:lnTo>
                  <a:lnTo>
                    <a:pt x="1309" y="2120"/>
                  </a:lnTo>
                  <a:lnTo>
                    <a:pt x="1317" y="2109"/>
                  </a:lnTo>
                  <a:lnTo>
                    <a:pt x="1327" y="2098"/>
                  </a:lnTo>
                  <a:lnTo>
                    <a:pt x="1335" y="2084"/>
                  </a:lnTo>
                  <a:lnTo>
                    <a:pt x="1341" y="2073"/>
                  </a:lnTo>
                  <a:lnTo>
                    <a:pt x="1347" y="2063"/>
                  </a:lnTo>
                  <a:lnTo>
                    <a:pt x="1351" y="2051"/>
                  </a:lnTo>
                  <a:lnTo>
                    <a:pt x="1357" y="2041"/>
                  </a:lnTo>
                  <a:lnTo>
                    <a:pt x="1364" y="2019"/>
                  </a:lnTo>
                  <a:lnTo>
                    <a:pt x="1371" y="1999"/>
                  </a:lnTo>
                  <a:lnTo>
                    <a:pt x="1378" y="1979"/>
                  </a:lnTo>
                  <a:lnTo>
                    <a:pt x="1387" y="1959"/>
                  </a:lnTo>
                  <a:lnTo>
                    <a:pt x="1394" y="1950"/>
                  </a:lnTo>
                  <a:lnTo>
                    <a:pt x="1401" y="1941"/>
                  </a:lnTo>
                  <a:lnTo>
                    <a:pt x="1408" y="1931"/>
                  </a:lnTo>
                  <a:lnTo>
                    <a:pt x="1417" y="1922"/>
                  </a:lnTo>
                  <a:lnTo>
                    <a:pt x="1424" y="1917"/>
                  </a:lnTo>
                  <a:lnTo>
                    <a:pt x="1430" y="1913"/>
                  </a:lnTo>
                  <a:lnTo>
                    <a:pt x="1437" y="1910"/>
                  </a:lnTo>
                  <a:lnTo>
                    <a:pt x="1443" y="1908"/>
                  </a:lnTo>
                  <a:lnTo>
                    <a:pt x="1458" y="1907"/>
                  </a:lnTo>
                  <a:lnTo>
                    <a:pt x="1472" y="1908"/>
                  </a:lnTo>
                  <a:lnTo>
                    <a:pt x="1486" y="1909"/>
                  </a:lnTo>
                  <a:lnTo>
                    <a:pt x="1502" y="1909"/>
                  </a:lnTo>
                  <a:lnTo>
                    <a:pt x="1509" y="1909"/>
                  </a:lnTo>
                  <a:lnTo>
                    <a:pt x="1517" y="1908"/>
                  </a:lnTo>
                  <a:lnTo>
                    <a:pt x="1525" y="1906"/>
                  </a:lnTo>
                  <a:lnTo>
                    <a:pt x="1533" y="1903"/>
                  </a:lnTo>
                  <a:lnTo>
                    <a:pt x="1541" y="1899"/>
                  </a:lnTo>
                  <a:lnTo>
                    <a:pt x="1547" y="1894"/>
                  </a:lnTo>
                  <a:lnTo>
                    <a:pt x="1555" y="1889"/>
                  </a:lnTo>
                  <a:lnTo>
                    <a:pt x="1561" y="1884"/>
                  </a:lnTo>
                  <a:lnTo>
                    <a:pt x="1571" y="1873"/>
                  </a:lnTo>
                  <a:lnTo>
                    <a:pt x="1582" y="1861"/>
                  </a:lnTo>
                  <a:lnTo>
                    <a:pt x="1593" y="1851"/>
                  </a:lnTo>
                  <a:lnTo>
                    <a:pt x="1604" y="1843"/>
                  </a:lnTo>
                  <a:lnTo>
                    <a:pt x="1611" y="1840"/>
                  </a:lnTo>
                  <a:lnTo>
                    <a:pt x="1617" y="1836"/>
                  </a:lnTo>
                  <a:lnTo>
                    <a:pt x="1626" y="1835"/>
                  </a:lnTo>
                  <a:lnTo>
                    <a:pt x="1634" y="1834"/>
                  </a:lnTo>
                  <a:lnTo>
                    <a:pt x="1648" y="1835"/>
                  </a:lnTo>
                  <a:lnTo>
                    <a:pt x="1662" y="1839"/>
                  </a:lnTo>
                  <a:lnTo>
                    <a:pt x="1674" y="1843"/>
                  </a:lnTo>
                  <a:lnTo>
                    <a:pt x="1686" y="1848"/>
                  </a:lnTo>
                  <a:lnTo>
                    <a:pt x="1709" y="1859"/>
                  </a:lnTo>
                  <a:lnTo>
                    <a:pt x="1736" y="1869"/>
                  </a:lnTo>
                  <a:lnTo>
                    <a:pt x="1742" y="1860"/>
                  </a:lnTo>
                  <a:lnTo>
                    <a:pt x="1747" y="1852"/>
                  </a:lnTo>
                  <a:lnTo>
                    <a:pt x="1753" y="1843"/>
                  </a:lnTo>
                  <a:lnTo>
                    <a:pt x="1757" y="1833"/>
                  </a:lnTo>
                  <a:lnTo>
                    <a:pt x="1763" y="1816"/>
                  </a:lnTo>
                  <a:lnTo>
                    <a:pt x="1768" y="1798"/>
                  </a:lnTo>
                  <a:lnTo>
                    <a:pt x="1774" y="1761"/>
                  </a:lnTo>
                  <a:lnTo>
                    <a:pt x="1782" y="1719"/>
                  </a:lnTo>
                  <a:lnTo>
                    <a:pt x="1785" y="1712"/>
                  </a:lnTo>
                  <a:lnTo>
                    <a:pt x="1788" y="1705"/>
                  </a:lnTo>
                  <a:lnTo>
                    <a:pt x="1791" y="1699"/>
                  </a:lnTo>
                  <a:lnTo>
                    <a:pt x="1795" y="1693"/>
                  </a:lnTo>
                  <a:lnTo>
                    <a:pt x="1802" y="1683"/>
                  </a:lnTo>
                  <a:lnTo>
                    <a:pt x="1811" y="1673"/>
                  </a:lnTo>
                  <a:lnTo>
                    <a:pt x="1819" y="1663"/>
                  </a:lnTo>
                  <a:lnTo>
                    <a:pt x="1826" y="1653"/>
                  </a:lnTo>
                  <a:lnTo>
                    <a:pt x="1829" y="1646"/>
                  </a:lnTo>
                  <a:lnTo>
                    <a:pt x="1831" y="1640"/>
                  </a:lnTo>
                  <a:lnTo>
                    <a:pt x="1832" y="1634"/>
                  </a:lnTo>
                  <a:lnTo>
                    <a:pt x="1832" y="1627"/>
                  </a:lnTo>
                  <a:lnTo>
                    <a:pt x="1832" y="1612"/>
                  </a:lnTo>
                  <a:lnTo>
                    <a:pt x="1831" y="1599"/>
                  </a:lnTo>
                  <a:lnTo>
                    <a:pt x="1829" y="1586"/>
                  </a:lnTo>
                  <a:lnTo>
                    <a:pt x="1827" y="1573"/>
                  </a:lnTo>
                  <a:lnTo>
                    <a:pt x="1821" y="1550"/>
                  </a:lnTo>
                  <a:lnTo>
                    <a:pt x="1814" y="1528"/>
                  </a:lnTo>
                  <a:lnTo>
                    <a:pt x="1808" y="1505"/>
                  </a:lnTo>
                  <a:lnTo>
                    <a:pt x="1802" y="1481"/>
                  </a:lnTo>
                  <a:lnTo>
                    <a:pt x="1800" y="1469"/>
                  </a:lnTo>
                  <a:lnTo>
                    <a:pt x="1798" y="1456"/>
                  </a:lnTo>
                  <a:lnTo>
                    <a:pt x="1797" y="1443"/>
                  </a:lnTo>
                  <a:lnTo>
                    <a:pt x="1797" y="1429"/>
                  </a:lnTo>
                  <a:lnTo>
                    <a:pt x="1798" y="1412"/>
                  </a:lnTo>
                  <a:lnTo>
                    <a:pt x="1799" y="1398"/>
                  </a:lnTo>
                  <a:lnTo>
                    <a:pt x="1801" y="1384"/>
                  </a:lnTo>
                  <a:lnTo>
                    <a:pt x="1804" y="1372"/>
                  </a:lnTo>
                  <a:lnTo>
                    <a:pt x="1807" y="1358"/>
                  </a:lnTo>
                  <a:lnTo>
                    <a:pt x="1810" y="1345"/>
                  </a:lnTo>
                  <a:lnTo>
                    <a:pt x="1812" y="1330"/>
                  </a:lnTo>
                  <a:lnTo>
                    <a:pt x="1813" y="1315"/>
                  </a:lnTo>
                  <a:lnTo>
                    <a:pt x="1814" y="1303"/>
                  </a:lnTo>
                  <a:lnTo>
                    <a:pt x="1816" y="1290"/>
                  </a:lnTo>
                  <a:lnTo>
                    <a:pt x="1819" y="1278"/>
                  </a:lnTo>
                  <a:lnTo>
                    <a:pt x="1823" y="1267"/>
                  </a:lnTo>
                  <a:lnTo>
                    <a:pt x="1826" y="1262"/>
                  </a:lnTo>
                  <a:lnTo>
                    <a:pt x="1829" y="1258"/>
                  </a:lnTo>
                  <a:lnTo>
                    <a:pt x="1832" y="1253"/>
                  </a:lnTo>
                  <a:lnTo>
                    <a:pt x="1836" y="1250"/>
                  </a:lnTo>
                  <a:lnTo>
                    <a:pt x="1840" y="1246"/>
                  </a:lnTo>
                  <a:lnTo>
                    <a:pt x="1844" y="1243"/>
                  </a:lnTo>
                  <a:lnTo>
                    <a:pt x="1851" y="1240"/>
                  </a:lnTo>
                  <a:lnTo>
                    <a:pt x="1856" y="1238"/>
                  </a:lnTo>
                  <a:lnTo>
                    <a:pt x="1863" y="1234"/>
                  </a:lnTo>
                  <a:lnTo>
                    <a:pt x="1869" y="1231"/>
                  </a:lnTo>
                  <a:lnTo>
                    <a:pt x="1875" y="1228"/>
                  </a:lnTo>
                  <a:lnTo>
                    <a:pt x="1881" y="1225"/>
                  </a:lnTo>
                  <a:lnTo>
                    <a:pt x="1891" y="1217"/>
                  </a:lnTo>
                  <a:lnTo>
                    <a:pt x="1900" y="1208"/>
                  </a:lnTo>
                  <a:lnTo>
                    <a:pt x="1915" y="1187"/>
                  </a:lnTo>
                  <a:lnTo>
                    <a:pt x="1934" y="1164"/>
                  </a:lnTo>
                  <a:lnTo>
                    <a:pt x="1950" y="1146"/>
                  </a:lnTo>
                  <a:lnTo>
                    <a:pt x="1963" y="1129"/>
                  </a:lnTo>
                  <a:lnTo>
                    <a:pt x="1976" y="1113"/>
                  </a:lnTo>
                  <a:lnTo>
                    <a:pt x="1988" y="1096"/>
                  </a:lnTo>
                  <a:lnTo>
                    <a:pt x="1992" y="1087"/>
                  </a:lnTo>
                  <a:lnTo>
                    <a:pt x="1996" y="1078"/>
                  </a:lnTo>
                  <a:lnTo>
                    <a:pt x="2000" y="1069"/>
                  </a:lnTo>
                  <a:lnTo>
                    <a:pt x="2003" y="1060"/>
                  </a:lnTo>
                  <a:lnTo>
                    <a:pt x="2005" y="1050"/>
                  </a:lnTo>
                  <a:lnTo>
                    <a:pt x="2007" y="1039"/>
                  </a:lnTo>
                  <a:lnTo>
                    <a:pt x="2008" y="1028"/>
                  </a:lnTo>
                  <a:lnTo>
                    <a:pt x="2009" y="1015"/>
                  </a:lnTo>
                  <a:lnTo>
                    <a:pt x="2009" y="966"/>
                  </a:lnTo>
                  <a:lnTo>
                    <a:pt x="2009" y="956"/>
                  </a:lnTo>
                  <a:lnTo>
                    <a:pt x="2010" y="945"/>
                  </a:lnTo>
                  <a:lnTo>
                    <a:pt x="2012" y="935"/>
                  </a:lnTo>
                  <a:lnTo>
                    <a:pt x="2014" y="926"/>
                  </a:lnTo>
                  <a:lnTo>
                    <a:pt x="2020" y="908"/>
                  </a:lnTo>
                  <a:lnTo>
                    <a:pt x="2027" y="892"/>
                  </a:lnTo>
                  <a:lnTo>
                    <a:pt x="2035" y="875"/>
                  </a:lnTo>
                  <a:lnTo>
                    <a:pt x="2043" y="859"/>
                  </a:lnTo>
                  <a:lnTo>
                    <a:pt x="2052" y="840"/>
                  </a:lnTo>
                  <a:lnTo>
                    <a:pt x="2059" y="819"/>
                  </a:lnTo>
                  <a:lnTo>
                    <a:pt x="2061" y="808"/>
                  </a:lnTo>
                  <a:lnTo>
                    <a:pt x="2063" y="798"/>
                  </a:lnTo>
                  <a:lnTo>
                    <a:pt x="2063" y="787"/>
                  </a:lnTo>
                  <a:lnTo>
                    <a:pt x="2063" y="777"/>
                  </a:lnTo>
                  <a:lnTo>
                    <a:pt x="2064" y="768"/>
                  </a:lnTo>
                  <a:lnTo>
                    <a:pt x="2066" y="758"/>
                  </a:lnTo>
                  <a:lnTo>
                    <a:pt x="2069" y="749"/>
                  </a:lnTo>
                  <a:lnTo>
                    <a:pt x="2075" y="739"/>
                  </a:lnTo>
                  <a:lnTo>
                    <a:pt x="2091" y="753"/>
                  </a:lnTo>
                  <a:lnTo>
                    <a:pt x="2104" y="766"/>
                  </a:lnTo>
                  <a:lnTo>
                    <a:pt x="2110" y="772"/>
                  </a:lnTo>
                  <a:lnTo>
                    <a:pt x="2117" y="778"/>
                  </a:lnTo>
                  <a:lnTo>
                    <a:pt x="2122" y="786"/>
                  </a:lnTo>
                  <a:lnTo>
                    <a:pt x="2127" y="796"/>
                  </a:lnTo>
                  <a:lnTo>
                    <a:pt x="2137" y="783"/>
                  </a:lnTo>
                  <a:lnTo>
                    <a:pt x="2145" y="770"/>
                  </a:lnTo>
                  <a:lnTo>
                    <a:pt x="2152" y="756"/>
                  </a:lnTo>
                  <a:lnTo>
                    <a:pt x="2157" y="743"/>
                  </a:lnTo>
                  <a:lnTo>
                    <a:pt x="2166" y="714"/>
                  </a:lnTo>
                  <a:lnTo>
                    <a:pt x="2177" y="682"/>
                  </a:lnTo>
                  <a:lnTo>
                    <a:pt x="2177" y="670"/>
                  </a:lnTo>
                  <a:lnTo>
                    <a:pt x="2176" y="657"/>
                  </a:lnTo>
                  <a:lnTo>
                    <a:pt x="2176" y="646"/>
                  </a:lnTo>
                  <a:lnTo>
                    <a:pt x="2176" y="632"/>
                  </a:lnTo>
                  <a:lnTo>
                    <a:pt x="2177" y="623"/>
                  </a:lnTo>
                  <a:lnTo>
                    <a:pt x="2178" y="615"/>
                  </a:lnTo>
                  <a:lnTo>
                    <a:pt x="2181" y="608"/>
                  </a:lnTo>
                  <a:lnTo>
                    <a:pt x="2184" y="599"/>
                  </a:lnTo>
                  <a:lnTo>
                    <a:pt x="2186" y="592"/>
                  </a:lnTo>
                  <a:lnTo>
                    <a:pt x="2189" y="585"/>
                  </a:lnTo>
                  <a:lnTo>
                    <a:pt x="2190" y="577"/>
                  </a:lnTo>
                  <a:lnTo>
                    <a:pt x="2191" y="567"/>
                  </a:lnTo>
                  <a:lnTo>
                    <a:pt x="2191" y="548"/>
                  </a:lnTo>
                  <a:lnTo>
                    <a:pt x="2184" y="548"/>
                  </a:lnTo>
                  <a:lnTo>
                    <a:pt x="2178" y="547"/>
                  </a:lnTo>
                  <a:lnTo>
                    <a:pt x="2172" y="545"/>
                  </a:lnTo>
                  <a:lnTo>
                    <a:pt x="2167" y="542"/>
                  </a:lnTo>
                  <a:lnTo>
                    <a:pt x="2158" y="536"/>
                  </a:lnTo>
                  <a:lnTo>
                    <a:pt x="2149" y="529"/>
                  </a:lnTo>
                  <a:lnTo>
                    <a:pt x="2139" y="522"/>
                  </a:lnTo>
                  <a:lnTo>
                    <a:pt x="2129" y="516"/>
                  </a:lnTo>
                  <a:lnTo>
                    <a:pt x="2124" y="514"/>
                  </a:lnTo>
                  <a:lnTo>
                    <a:pt x="2119" y="512"/>
                  </a:lnTo>
                  <a:lnTo>
                    <a:pt x="2112" y="511"/>
                  </a:lnTo>
                  <a:lnTo>
                    <a:pt x="2105" y="511"/>
                  </a:lnTo>
                  <a:lnTo>
                    <a:pt x="2095" y="511"/>
                  </a:lnTo>
                  <a:lnTo>
                    <a:pt x="2085" y="513"/>
                  </a:lnTo>
                  <a:lnTo>
                    <a:pt x="2075" y="516"/>
                  </a:lnTo>
                  <a:lnTo>
                    <a:pt x="2067" y="519"/>
                  </a:lnTo>
                  <a:lnTo>
                    <a:pt x="2058" y="523"/>
                  </a:lnTo>
                  <a:lnTo>
                    <a:pt x="2049" y="526"/>
                  </a:lnTo>
                  <a:lnTo>
                    <a:pt x="2039" y="529"/>
                  </a:lnTo>
                  <a:lnTo>
                    <a:pt x="2028" y="531"/>
                  </a:lnTo>
                  <a:lnTo>
                    <a:pt x="1999" y="533"/>
                  </a:lnTo>
                  <a:lnTo>
                    <a:pt x="1974" y="534"/>
                  </a:lnTo>
                  <a:lnTo>
                    <a:pt x="1950" y="535"/>
                  </a:lnTo>
                  <a:lnTo>
                    <a:pt x="1921" y="536"/>
                  </a:lnTo>
                  <a:lnTo>
                    <a:pt x="1912" y="535"/>
                  </a:lnTo>
                  <a:lnTo>
                    <a:pt x="1905" y="532"/>
                  </a:lnTo>
                  <a:lnTo>
                    <a:pt x="1900" y="528"/>
                  </a:lnTo>
                  <a:lnTo>
                    <a:pt x="1895" y="523"/>
                  </a:lnTo>
                  <a:lnTo>
                    <a:pt x="1892" y="516"/>
                  </a:lnTo>
                  <a:lnTo>
                    <a:pt x="1889" y="508"/>
                  </a:lnTo>
                  <a:lnTo>
                    <a:pt x="1887" y="500"/>
                  </a:lnTo>
                  <a:lnTo>
                    <a:pt x="1885" y="492"/>
                  </a:lnTo>
                  <a:lnTo>
                    <a:pt x="1880" y="473"/>
                  </a:lnTo>
                  <a:lnTo>
                    <a:pt x="1874" y="456"/>
                  </a:lnTo>
                  <a:lnTo>
                    <a:pt x="1871" y="448"/>
                  </a:lnTo>
                  <a:lnTo>
                    <a:pt x="1866" y="439"/>
                  </a:lnTo>
                  <a:lnTo>
                    <a:pt x="1861" y="433"/>
                  </a:lnTo>
                  <a:lnTo>
                    <a:pt x="1854" y="428"/>
                  </a:lnTo>
                  <a:lnTo>
                    <a:pt x="1844" y="422"/>
                  </a:lnTo>
                  <a:lnTo>
                    <a:pt x="1837" y="416"/>
                  </a:lnTo>
                  <a:lnTo>
                    <a:pt x="1831" y="408"/>
                  </a:lnTo>
                  <a:lnTo>
                    <a:pt x="1825" y="401"/>
                  </a:lnTo>
                  <a:lnTo>
                    <a:pt x="1821" y="393"/>
                  </a:lnTo>
                  <a:lnTo>
                    <a:pt x="1816" y="386"/>
                  </a:lnTo>
                  <a:lnTo>
                    <a:pt x="1813" y="377"/>
                  </a:lnTo>
                  <a:lnTo>
                    <a:pt x="1810" y="368"/>
                  </a:lnTo>
                  <a:lnTo>
                    <a:pt x="1806" y="349"/>
                  </a:lnTo>
                  <a:lnTo>
                    <a:pt x="1804" y="330"/>
                  </a:lnTo>
                  <a:lnTo>
                    <a:pt x="1802" y="309"/>
                  </a:lnTo>
                  <a:lnTo>
                    <a:pt x="1799" y="289"/>
                  </a:lnTo>
                  <a:lnTo>
                    <a:pt x="1771" y="289"/>
                  </a:lnTo>
                  <a:lnTo>
                    <a:pt x="1765" y="289"/>
                  </a:lnTo>
                  <a:lnTo>
                    <a:pt x="1759" y="291"/>
                  </a:lnTo>
                  <a:lnTo>
                    <a:pt x="1753" y="293"/>
                  </a:lnTo>
                  <a:lnTo>
                    <a:pt x="1747" y="296"/>
                  </a:lnTo>
                  <a:lnTo>
                    <a:pt x="1736" y="302"/>
                  </a:lnTo>
                  <a:lnTo>
                    <a:pt x="1724" y="307"/>
                  </a:lnTo>
                  <a:lnTo>
                    <a:pt x="1705" y="312"/>
                  </a:lnTo>
                  <a:lnTo>
                    <a:pt x="1688" y="317"/>
                  </a:lnTo>
                  <a:lnTo>
                    <a:pt x="1671" y="321"/>
                  </a:lnTo>
                  <a:lnTo>
                    <a:pt x="1655" y="323"/>
                  </a:lnTo>
                  <a:lnTo>
                    <a:pt x="1638" y="325"/>
                  </a:lnTo>
                  <a:lnTo>
                    <a:pt x="1621" y="326"/>
                  </a:lnTo>
                  <a:lnTo>
                    <a:pt x="1602" y="326"/>
                  </a:lnTo>
                  <a:lnTo>
                    <a:pt x="1582" y="326"/>
                  </a:lnTo>
                  <a:lnTo>
                    <a:pt x="1573" y="326"/>
                  </a:lnTo>
                  <a:lnTo>
                    <a:pt x="1564" y="325"/>
                  </a:lnTo>
                  <a:lnTo>
                    <a:pt x="1556" y="323"/>
                  </a:lnTo>
                  <a:lnTo>
                    <a:pt x="1547" y="318"/>
                  </a:lnTo>
                  <a:lnTo>
                    <a:pt x="1532" y="313"/>
                  </a:lnTo>
                  <a:lnTo>
                    <a:pt x="1519" y="306"/>
                  </a:lnTo>
                  <a:lnTo>
                    <a:pt x="1507" y="299"/>
                  </a:lnTo>
                  <a:lnTo>
                    <a:pt x="1496" y="292"/>
                  </a:lnTo>
                  <a:lnTo>
                    <a:pt x="1483" y="284"/>
                  </a:lnTo>
                  <a:lnTo>
                    <a:pt x="1471" y="277"/>
                  </a:lnTo>
                  <a:lnTo>
                    <a:pt x="1459" y="272"/>
                  </a:lnTo>
                  <a:lnTo>
                    <a:pt x="1443" y="267"/>
                  </a:lnTo>
                  <a:lnTo>
                    <a:pt x="1426" y="264"/>
                  </a:lnTo>
                  <a:lnTo>
                    <a:pt x="1409" y="263"/>
                  </a:lnTo>
                  <a:lnTo>
                    <a:pt x="1394" y="263"/>
                  </a:lnTo>
                  <a:lnTo>
                    <a:pt x="1378" y="263"/>
                  </a:lnTo>
                  <a:lnTo>
                    <a:pt x="1364" y="263"/>
                  </a:lnTo>
                  <a:lnTo>
                    <a:pt x="1348" y="262"/>
                  </a:lnTo>
                  <a:lnTo>
                    <a:pt x="1341" y="260"/>
                  </a:lnTo>
                  <a:lnTo>
                    <a:pt x="1333" y="259"/>
                  </a:lnTo>
                  <a:lnTo>
                    <a:pt x="1325" y="255"/>
                  </a:lnTo>
                  <a:lnTo>
                    <a:pt x="1316" y="252"/>
                  </a:lnTo>
                  <a:lnTo>
                    <a:pt x="1308" y="249"/>
                  </a:lnTo>
                  <a:lnTo>
                    <a:pt x="1302" y="244"/>
                  </a:lnTo>
                  <a:lnTo>
                    <a:pt x="1297" y="239"/>
                  </a:lnTo>
                  <a:lnTo>
                    <a:pt x="1292" y="233"/>
                  </a:lnTo>
                  <a:lnTo>
                    <a:pt x="1283" y="219"/>
                  </a:lnTo>
                  <a:lnTo>
                    <a:pt x="1273" y="206"/>
                  </a:lnTo>
                  <a:lnTo>
                    <a:pt x="1269" y="201"/>
                  </a:lnTo>
                  <a:lnTo>
                    <a:pt x="1265" y="197"/>
                  </a:lnTo>
                  <a:lnTo>
                    <a:pt x="1260" y="194"/>
                  </a:lnTo>
                  <a:lnTo>
                    <a:pt x="1255" y="190"/>
                  </a:lnTo>
                  <a:lnTo>
                    <a:pt x="1245" y="186"/>
                  </a:lnTo>
                  <a:lnTo>
                    <a:pt x="1235" y="183"/>
                  </a:lnTo>
                  <a:lnTo>
                    <a:pt x="1211" y="182"/>
                  </a:lnTo>
                  <a:lnTo>
                    <a:pt x="1185" y="182"/>
                  </a:lnTo>
                  <a:lnTo>
                    <a:pt x="1081" y="182"/>
                  </a:lnTo>
                  <a:lnTo>
                    <a:pt x="1069" y="181"/>
                  </a:lnTo>
                  <a:lnTo>
                    <a:pt x="1057" y="179"/>
                  </a:lnTo>
                  <a:lnTo>
                    <a:pt x="1048" y="176"/>
                  </a:lnTo>
                  <a:lnTo>
                    <a:pt x="1038" y="172"/>
                  </a:lnTo>
                  <a:lnTo>
                    <a:pt x="1030" y="167"/>
                  </a:lnTo>
                  <a:lnTo>
                    <a:pt x="1020" y="160"/>
                  </a:lnTo>
                  <a:lnTo>
                    <a:pt x="1012" y="154"/>
                  </a:lnTo>
                  <a:lnTo>
                    <a:pt x="1005" y="148"/>
                  </a:lnTo>
                  <a:lnTo>
                    <a:pt x="988" y="135"/>
                  </a:lnTo>
                  <a:lnTo>
                    <a:pt x="971" y="121"/>
                  </a:lnTo>
                  <a:lnTo>
                    <a:pt x="962" y="116"/>
                  </a:lnTo>
                  <a:lnTo>
                    <a:pt x="951" y="111"/>
                  </a:lnTo>
                  <a:lnTo>
                    <a:pt x="941" y="107"/>
                  </a:lnTo>
                  <a:lnTo>
                    <a:pt x="930" y="104"/>
                  </a:lnTo>
                  <a:lnTo>
                    <a:pt x="917" y="101"/>
                  </a:lnTo>
                  <a:lnTo>
                    <a:pt x="907" y="96"/>
                  </a:lnTo>
                  <a:lnTo>
                    <a:pt x="898" y="91"/>
                  </a:lnTo>
                  <a:lnTo>
                    <a:pt x="888" y="85"/>
                  </a:lnTo>
                  <a:lnTo>
                    <a:pt x="881" y="77"/>
                  </a:lnTo>
                  <a:lnTo>
                    <a:pt x="874" y="69"/>
                  </a:lnTo>
                  <a:lnTo>
                    <a:pt x="869" y="58"/>
                  </a:lnTo>
                  <a:lnTo>
                    <a:pt x="864" y="47"/>
                  </a:lnTo>
                  <a:lnTo>
                    <a:pt x="857" y="31"/>
                  </a:lnTo>
                  <a:lnTo>
                    <a:pt x="850" y="16"/>
                  </a:lnTo>
                  <a:lnTo>
                    <a:pt x="845" y="10"/>
                  </a:lnTo>
                  <a:lnTo>
                    <a:pt x="840" y="5"/>
                  </a:lnTo>
                  <a:lnTo>
                    <a:pt x="837" y="2"/>
                  </a:lnTo>
                  <a:lnTo>
                    <a:pt x="834" y="1"/>
                  </a:lnTo>
                  <a:lnTo>
                    <a:pt x="830" y="0"/>
                  </a:lnTo>
                  <a:lnTo>
                    <a:pt x="825" y="0"/>
                  </a:lnTo>
                  <a:lnTo>
                    <a:pt x="814" y="0"/>
                  </a:lnTo>
                  <a:lnTo>
                    <a:pt x="803" y="2"/>
                  </a:lnTo>
                  <a:lnTo>
                    <a:pt x="792" y="6"/>
                  </a:lnTo>
                  <a:lnTo>
                    <a:pt x="782" y="9"/>
                  </a:lnTo>
                  <a:lnTo>
                    <a:pt x="764" y="18"/>
                  </a:lnTo>
                  <a:lnTo>
                    <a:pt x="746" y="28"/>
                  </a:lnTo>
                  <a:lnTo>
                    <a:pt x="729" y="39"/>
                  </a:lnTo>
                  <a:lnTo>
                    <a:pt x="710" y="48"/>
                  </a:lnTo>
                  <a:lnTo>
                    <a:pt x="700" y="52"/>
                  </a:lnTo>
                  <a:lnTo>
                    <a:pt x="689" y="54"/>
                  </a:lnTo>
                  <a:lnTo>
                    <a:pt x="678" y="56"/>
                  </a:lnTo>
                  <a:lnTo>
                    <a:pt x="667" y="57"/>
                  </a:lnTo>
                  <a:lnTo>
                    <a:pt x="653" y="56"/>
                  </a:lnTo>
                  <a:lnTo>
                    <a:pt x="641" y="56"/>
                  </a:lnTo>
                  <a:lnTo>
                    <a:pt x="630" y="55"/>
                  </a:lnTo>
                  <a:lnTo>
                    <a:pt x="618" y="54"/>
                  </a:lnTo>
                  <a:close/>
                </a:path>
              </a:pathLst>
            </a:custGeom>
            <a:grpFill/>
            <a:ln w="12700" algn="ctr">
              <a:solidFill>
                <a:srgbClr val="7D7D7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de-DE" altLang="ru-RU" sz="675">
                <a:latin typeface="Calibri" panose="020F050202020403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de-DE" altLang="ru-RU" sz="675">
                <a:latin typeface="Calibri" panose="020F050202020403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e-DE" altLang="ru-RU" sz="675">
                  <a:latin typeface="Calibri" panose="020F0502020204030204" pitchFamily="34" charset="0"/>
                </a:rPr>
                <a:t>Rivne</a:t>
              </a:r>
              <a:endParaRPr lang="ru-RU" altLang="ru-RU" sz="675">
                <a:latin typeface="Calibri" panose="020F0502020204030204" pitchFamily="34" charset="0"/>
              </a:endParaRPr>
            </a:p>
          </p:txBody>
        </p:sp>
      </p:grpSp>
      <p:sp>
        <p:nvSpPr>
          <p:cNvPr id="4" name="Back"/>
          <p:cNvSpPr>
            <a:spLocks noChangeArrowheads="1"/>
          </p:cNvSpPr>
          <p:nvPr/>
        </p:nvSpPr>
        <p:spPr bwMode="auto">
          <a:xfrm>
            <a:off x="2485216" y="2695099"/>
            <a:ext cx="5925322" cy="3488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350">
              <a:latin typeface="Calibri" panose="020F0502020204030204" pitchFamily="34" charset="0"/>
            </a:endParaRPr>
          </a:p>
        </p:txBody>
      </p:sp>
      <p:sp>
        <p:nvSpPr>
          <p:cNvPr id="6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303000" y="7644870"/>
            <a:ext cx="720000" cy="113415"/>
          </a:xfrm>
        </p:spPr>
        <p:txBody>
          <a:bodyPr/>
          <a:lstStyle/>
          <a:p>
            <a:fld id="{05C7D7BC-3A63-427C-9D7F-63F95FDD71B6}" type="slidenum">
              <a:rPr lang="de-DE" smtClean="0">
                <a:solidFill>
                  <a:srgbClr val="808080"/>
                </a:solidFill>
              </a:rPr>
              <a:pPr/>
              <a:t>7</a:t>
            </a:fld>
            <a:endParaRPr lang="de-DE" dirty="0">
              <a:solidFill>
                <a:srgbClr val="808080"/>
              </a:solidFill>
            </a:endParaRPr>
          </a:p>
        </p:txBody>
      </p:sp>
      <p:sp>
        <p:nvSpPr>
          <p:cNvPr id="74" name="Isosceles Triangle 73"/>
          <p:cNvSpPr/>
          <p:nvPr/>
        </p:nvSpPr>
        <p:spPr>
          <a:xfrm>
            <a:off x="4312933" y="3766941"/>
            <a:ext cx="221817" cy="190220"/>
          </a:xfrm>
          <a:prstGeom prst="triangle">
            <a:avLst/>
          </a:prstGeom>
          <a:solidFill>
            <a:srgbClr val="002060"/>
          </a:solidFill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75" name="Isosceles Triangle 74"/>
          <p:cNvSpPr/>
          <p:nvPr/>
        </p:nvSpPr>
        <p:spPr>
          <a:xfrm>
            <a:off x="5493824" y="3777510"/>
            <a:ext cx="221817" cy="190220"/>
          </a:xfrm>
          <a:prstGeom prst="triangle">
            <a:avLst/>
          </a:prstGeom>
          <a:solidFill>
            <a:srgbClr val="002060"/>
          </a:solidFill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76" name="Isosceles Triangle 75"/>
          <p:cNvSpPr/>
          <p:nvPr/>
        </p:nvSpPr>
        <p:spPr>
          <a:xfrm>
            <a:off x="6450383" y="3805137"/>
            <a:ext cx="221817" cy="190220"/>
          </a:xfrm>
          <a:prstGeom prst="triangle">
            <a:avLst/>
          </a:prstGeom>
          <a:solidFill>
            <a:srgbClr val="002060"/>
          </a:solidFill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77" name="Isosceles Triangle 76"/>
          <p:cNvSpPr/>
          <p:nvPr/>
        </p:nvSpPr>
        <p:spPr>
          <a:xfrm>
            <a:off x="5296041" y="5744589"/>
            <a:ext cx="221817" cy="190220"/>
          </a:xfrm>
          <a:prstGeom prst="triangle">
            <a:avLst/>
          </a:prstGeom>
          <a:solidFill>
            <a:srgbClr val="002060"/>
          </a:solidFill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79" name="Title 1"/>
          <p:cNvSpPr>
            <a:spLocks noGrp="1"/>
          </p:cNvSpPr>
          <p:nvPr>
            <p:ph type="title"/>
          </p:nvPr>
        </p:nvSpPr>
        <p:spPr>
          <a:xfrm>
            <a:off x="1765910" y="419857"/>
            <a:ext cx="8066747" cy="639983"/>
          </a:xfrm>
        </p:spPr>
        <p:txBody>
          <a:bodyPr>
            <a:noAutofit/>
          </a:bodyPr>
          <a:lstStyle/>
          <a:p>
            <a:r>
              <a:rPr lang="uk-UA" sz="2400" dirty="0"/>
              <a:t>Технічний відділ </a:t>
            </a:r>
            <a:br>
              <a:rPr lang="uk-UA" sz="2400" dirty="0"/>
            </a:br>
            <a:r>
              <a:rPr lang="uk-UA" sz="2000" b="0" dirty="0"/>
              <a:t>Мережа Агро і Демо-центрів</a:t>
            </a:r>
            <a:endParaRPr lang="de-DE" sz="2000" b="0" dirty="0"/>
          </a:p>
        </p:txBody>
      </p:sp>
      <p:sp>
        <p:nvSpPr>
          <p:cNvPr id="78" name="TextBox 77"/>
          <p:cNvSpPr txBox="1"/>
          <p:nvPr/>
        </p:nvSpPr>
        <p:spPr>
          <a:xfrm>
            <a:off x="1651404" y="5250696"/>
            <a:ext cx="334285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uk-UA" sz="1400" dirty="0"/>
              <a:t>Демоцентри</a:t>
            </a:r>
            <a:r>
              <a:rPr lang="en-US" sz="1400" dirty="0"/>
              <a:t>: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uk-UA" sz="1400" dirty="0"/>
              <a:t>Високий рівень регіональної присутності </a:t>
            </a:r>
            <a:r>
              <a:rPr lang="en-US" sz="1400" dirty="0"/>
              <a:t>BASF </a:t>
            </a:r>
            <a:endParaRPr lang="uk-UA" sz="1400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3000 </a:t>
            </a:r>
            <a:r>
              <a:rPr lang="uk-UA" sz="1400" dirty="0"/>
              <a:t>клієнтів за рік</a:t>
            </a:r>
            <a:endParaRPr lang="en-US" sz="1400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uk-UA" sz="1400" dirty="0"/>
              <a:t>Повний спектр демонстраційних потужностей</a:t>
            </a:r>
            <a:endParaRPr lang="en-US" sz="1400" dirty="0"/>
          </a:p>
          <a:p>
            <a:pPr>
              <a:buClr>
                <a:schemeClr val="accent1"/>
              </a:buClr>
            </a:pPr>
            <a:endParaRPr lang="en-US" sz="1400" b="1" dirty="0"/>
          </a:p>
        </p:txBody>
      </p:sp>
      <p:sp>
        <p:nvSpPr>
          <p:cNvPr id="72" name="Isosceles Triangle 71">
            <a:extLst>
              <a:ext uri="{FF2B5EF4-FFF2-40B4-BE49-F238E27FC236}">
                <a16:creationId xmlns:a16="http://schemas.microsoft.com/office/drawing/2014/main" id="{5AFE4C67-53B5-4326-A2F6-48FA12528175}"/>
              </a:ext>
            </a:extLst>
          </p:cNvPr>
          <p:cNvSpPr/>
          <p:nvPr/>
        </p:nvSpPr>
        <p:spPr>
          <a:xfrm>
            <a:off x="1876805" y="1467099"/>
            <a:ext cx="221817" cy="190220"/>
          </a:xfrm>
          <a:prstGeom prst="triangle">
            <a:avLst/>
          </a:prstGeom>
          <a:solidFill>
            <a:srgbClr val="002060"/>
          </a:solidFill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FD5CFC1-5849-4C0D-BE58-426A6EF716A5}"/>
              </a:ext>
            </a:extLst>
          </p:cNvPr>
          <p:cNvSpPr txBox="1"/>
          <p:nvPr/>
        </p:nvSpPr>
        <p:spPr>
          <a:xfrm>
            <a:off x="2178401" y="1451406"/>
            <a:ext cx="11508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1400" dirty="0"/>
              <a:t>Агроцентри</a:t>
            </a:r>
            <a:endParaRPr lang="en-GB" sz="1400" dirty="0"/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4E13082F-75FB-4850-B316-D55929552C05}"/>
              </a:ext>
            </a:extLst>
          </p:cNvPr>
          <p:cNvSpPr/>
          <p:nvPr/>
        </p:nvSpPr>
        <p:spPr>
          <a:xfrm>
            <a:off x="1876805" y="1867497"/>
            <a:ext cx="221817" cy="190220"/>
          </a:xfrm>
          <a:prstGeom prst="triangle">
            <a:avLst/>
          </a:prstGeom>
          <a:solidFill>
            <a:srgbClr val="FFC00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102C566-E45B-4B02-8D15-DE996DC2CFF5}"/>
              </a:ext>
            </a:extLst>
          </p:cNvPr>
          <p:cNvSpPr txBox="1"/>
          <p:nvPr/>
        </p:nvSpPr>
        <p:spPr>
          <a:xfrm>
            <a:off x="2178402" y="1867498"/>
            <a:ext cx="12102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1400" dirty="0"/>
              <a:t>Демоцентри</a:t>
            </a:r>
            <a:endParaRPr lang="en-GB" sz="1400" dirty="0"/>
          </a:p>
        </p:txBody>
      </p:sp>
      <p:sp>
        <p:nvSpPr>
          <p:cNvPr id="81" name="Isosceles Triangle 80">
            <a:extLst>
              <a:ext uri="{FF2B5EF4-FFF2-40B4-BE49-F238E27FC236}">
                <a16:creationId xmlns:a16="http://schemas.microsoft.com/office/drawing/2014/main" id="{9843360D-E2D6-4C5B-93FC-3024D06EBE84}"/>
              </a:ext>
            </a:extLst>
          </p:cNvPr>
          <p:cNvSpPr/>
          <p:nvPr/>
        </p:nvSpPr>
        <p:spPr>
          <a:xfrm>
            <a:off x="3798835" y="3442968"/>
            <a:ext cx="221817" cy="190220"/>
          </a:xfrm>
          <a:prstGeom prst="triangle">
            <a:avLst/>
          </a:prstGeom>
          <a:solidFill>
            <a:srgbClr val="FFC00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3" name="Isosceles Triangle 82">
            <a:extLst>
              <a:ext uri="{FF2B5EF4-FFF2-40B4-BE49-F238E27FC236}">
                <a16:creationId xmlns:a16="http://schemas.microsoft.com/office/drawing/2014/main" id="{5B566059-CF7F-41A9-BFE2-4A4BAF7714F5}"/>
              </a:ext>
            </a:extLst>
          </p:cNvPr>
          <p:cNvSpPr/>
          <p:nvPr/>
        </p:nvSpPr>
        <p:spPr>
          <a:xfrm>
            <a:off x="4113606" y="4350686"/>
            <a:ext cx="221817" cy="190220"/>
          </a:xfrm>
          <a:prstGeom prst="triangle">
            <a:avLst/>
          </a:prstGeom>
          <a:solidFill>
            <a:srgbClr val="FFC00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4" name="Isosceles Triangle 83">
            <a:extLst>
              <a:ext uri="{FF2B5EF4-FFF2-40B4-BE49-F238E27FC236}">
                <a16:creationId xmlns:a16="http://schemas.microsoft.com/office/drawing/2014/main" id="{F2B15259-18C8-4778-A986-2592015286EA}"/>
              </a:ext>
            </a:extLst>
          </p:cNvPr>
          <p:cNvSpPr/>
          <p:nvPr/>
        </p:nvSpPr>
        <p:spPr>
          <a:xfrm>
            <a:off x="4787709" y="4136164"/>
            <a:ext cx="221817" cy="190220"/>
          </a:xfrm>
          <a:prstGeom prst="triangle">
            <a:avLst/>
          </a:prstGeom>
          <a:solidFill>
            <a:srgbClr val="FFC00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5" name="Isosceles Triangle 84">
            <a:extLst>
              <a:ext uri="{FF2B5EF4-FFF2-40B4-BE49-F238E27FC236}">
                <a16:creationId xmlns:a16="http://schemas.microsoft.com/office/drawing/2014/main" id="{D0C1C3B6-DE1E-44C0-A208-457138ECE75B}"/>
              </a:ext>
            </a:extLst>
          </p:cNvPr>
          <p:cNvSpPr/>
          <p:nvPr/>
        </p:nvSpPr>
        <p:spPr>
          <a:xfrm>
            <a:off x="4613835" y="3514347"/>
            <a:ext cx="221817" cy="190220"/>
          </a:xfrm>
          <a:prstGeom prst="triangle">
            <a:avLst/>
          </a:prstGeom>
          <a:solidFill>
            <a:srgbClr val="FFC00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6" name="Isosceles Triangle 85">
            <a:extLst>
              <a:ext uri="{FF2B5EF4-FFF2-40B4-BE49-F238E27FC236}">
                <a16:creationId xmlns:a16="http://schemas.microsoft.com/office/drawing/2014/main" id="{B0BBD975-2739-42D5-8BAD-0CADFD263AE7}"/>
              </a:ext>
            </a:extLst>
          </p:cNvPr>
          <p:cNvSpPr/>
          <p:nvPr/>
        </p:nvSpPr>
        <p:spPr>
          <a:xfrm>
            <a:off x="5577467" y="4215537"/>
            <a:ext cx="221817" cy="190220"/>
          </a:xfrm>
          <a:prstGeom prst="triangle">
            <a:avLst/>
          </a:prstGeom>
          <a:solidFill>
            <a:srgbClr val="FFC00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7" name="Isosceles Triangle 86">
            <a:extLst>
              <a:ext uri="{FF2B5EF4-FFF2-40B4-BE49-F238E27FC236}">
                <a16:creationId xmlns:a16="http://schemas.microsoft.com/office/drawing/2014/main" id="{0FBC3A3F-0D83-45D3-811F-D33EE5C71749}"/>
              </a:ext>
            </a:extLst>
          </p:cNvPr>
          <p:cNvSpPr/>
          <p:nvPr/>
        </p:nvSpPr>
        <p:spPr>
          <a:xfrm>
            <a:off x="6082197" y="4359035"/>
            <a:ext cx="221817" cy="190220"/>
          </a:xfrm>
          <a:prstGeom prst="triangle">
            <a:avLst/>
          </a:prstGeom>
          <a:solidFill>
            <a:srgbClr val="FFC00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8" name="Isosceles Triangle 87">
            <a:extLst>
              <a:ext uri="{FF2B5EF4-FFF2-40B4-BE49-F238E27FC236}">
                <a16:creationId xmlns:a16="http://schemas.microsoft.com/office/drawing/2014/main" id="{010E034C-8AC7-4685-98B9-BB130CEE2345}"/>
              </a:ext>
            </a:extLst>
          </p:cNvPr>
          <p:cNvSpPr/>
          <p:nvPr/>
        </p:nvSpPr>
        <p:spPr>
          <a:xfrm>
            <a:off x="6159101" y="3365259"/>
            <a:ext cx="221817" cy="190220"/>
          </a:xfrm>
          <a:prstGeom prst="triangle">
            <a:avLst/>
          </a:prstGeom>
          <a:solidFill>
            <a:srgbClr val="FFC00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9" name="Isosceles Triangle 88">
            <a:extLst>
              <a:ext uri="{FF2B5EF4-FFF2-40B4-BE49-F238E27FC236}">
                <a16:creationId xmlns:a16="http://schemas.microsoft.com/office/drawing/2014/main" id="{7474670B-6A5F-479B-9610-EE42D9AB0AF5}"/>
              </a:ext>
            </a:extLst>
          </p:cNvPr>
          <p:cNvSpPr/>
          <p:nvPr/>
        </p:nvSpPr>
        <p:spPr>
          <a:xfrm>
            <a:off x="6594996" y="3233455"/>
            <a:ext cx="221817" cy="190220"/>
          </a:xfrm>
          <a:prstGeom prst="triangle">
            <a:avLst/>
          </a:prstGeom>
          <a:solidFill>
            <a:srgbClr val="FFC00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0" name="Isosceles Triangle 89">
            <a:extLst>
              <a:ext uri="{FF2B5EF4-FFF2-40B4-BE49-F238E27FC236}">
                <a16:creationId xmlns:a16="http://schemas.microsoft.com/office/drawing/2014/main" id="{42B58174-6595-44F7-B746-AF8A50E0EE4E}"/>
              </a:ext>
            </a:extLst>
          </p:cNvPr>
          <p:cNvSpPr/>
          <p:nvPr/>
        </p:nvSpPr>
        <p:spPr>
          <a:xfrm>
            <a:off x="6126720" y="4879489"/>
            <a:ext cx="221817" cy="190220"/>
          </a:xfrm>
          <a:prstGeom prst="triangle">
            <a:avLst/>
          </a:prstGeom>
          <a:solidFill>
            <a:srgbClr val="FFC00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1" name="Isosceles Triangle 90">
            <a:extLst>
              <a:ext uri="{FF2B5EF4-FFF2-40B4-BE49-F238E27FC236}">
                <a16:creationId xmlns:a16="http://schemas.microsoft.com/office/drawing/2014/main" id="{8A07F84C-2025-4266-A7AA-AA73FBC39540}"/>
              </a:ext>
            </a:extLst>
          </p:cNvPr>
          <p:cNvSpPr/>
          <p:nvPr/>
        </p:nvSpPr>
        <p:spPr>
          <a:xfrm>
            <a:off x="6575601" y="5151611"/>
            <a:ext cx="221817" cy="190220"/>
          </a:xfrm>
          <a:prstGeom prst="triangle">
            <a:avLst/>
          </a:prstGeom>
          <a:solidFill>
            <a:srgbClr val="FFC00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2" name="Isosceles Triangle 91">
            <a:extLst>
              <a:ext uri="{FF2B5EF4-FFF2-40B4-BE49-F238E27FC236}">
                <a16:creationId xmlns:a16="http://schemas.microsoft.com/office/drawing/2014/main" id="{8C05ADA1-3933-4C1D-B803-1E7DFA041A46}"/>
              </a:ext>
            </a:extLst>
          </p:cNvPr>
          <p:cNvSpPr/>
          <p:nvPr/>
        </p:nvSpPr>
        <p:spPr>
          <a:xfrm>
            <a:off x="7291451" y="4349417"/>
            <a:ext cx="221817" cy="190220"/>
          </a:xfrm>
          <a:prstGeom prst="triangle">
            <a:avLst/>
          </a:prstGeom>
          <a:solidFill>
            <a:srgbClr val="FFC00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3" name="Isosceles Triangle 92">
            <a:extLst>
              <a:ext uri="{FF2B5EF4-FFF2-40B4-BE49-F238E27FC236}">
                <a16:creationId xmlns:a16="http://schemas.microsoft.com/office/drawing/2014/main" id="{C04726DD-B944-417F-8F9D-F85655494724}"/>
              </a:ext>
            </a:extLst>
          </p:cNvPr>
          <p:cNvSpPr/>
          <p:nvPr/>
        </p:nvSpPr>
        <p:spPr>
          <a:xfrm>
            <a:off x="7535170" y="4981170"/>
            <a:ext cx="221817" cy="190220"/>
          </a:xfrm>
          <a:prstGeom prst="triangle">
            <a:avLst/>
          </a:prstGeom>
          <a:solidFill>
            <a:srgbClr val="FFC00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08FA9F0-E21B-4F74-BFE4-07B42EA77F62}"/>
              </a:ext>
            </a:extLst>
          </p:cNvPr>
          <p:cNvSpPr txBox="1"/>
          <p:nvPr/>
        </p:nvSpPr>
        <p:spPr>
          <a:xfrm>
            <a:off x="7226061" y="1416361"/>
            <a:ext cx="3132411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400" dirty="0"/>
              <a:t>A</a:t>
            </a:r>
            <a:r>
              <a:rPr lang="uk-UA" sz="1400" dirty="0"/>
              <a:t>гроцентри</a:t>
            </a:r>
            <a:r>
              <a:rPr lang="en-US" sz="1400" dirty="0"/>
              <a:t>: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1 </a:t>
            </a:r>
            <a:r>
              <a:rPr lang="uk-UA" sz="1400" dirty="0"/>
              <a:t>Агроцентр на регіон</a:t>
            </a:r>
            <a:endParaRPr lang="en-US" sz="1400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uk-UA" sz="1400" dirty="0"/>
              <a:t>Повністю укомплектовані, власна техніка</a:t>
            </a:r>
            <a:endParaRPr lang="en-US" sz="1400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uk-UA" sz="1400" dirty="0"/>
              <a:t>Розвиток продуктів + підтримка ринку</a:t>
            </a:r>
            <a:endParaRPr lang="en-US" sz="1400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uk-UA" sz="1400" dirty="0"/>
              <a:t>Близько</a:t>
            </a:r>
            <a:r>
              <a:rPr lang="en-US" sz="1400" dirty="0"/>
              <a:t> 170 </a:t>
            </a:r>
            <a:r>
              <a:rPr lang="uk-UA" sz="1400" dirty="0"/>
              <a:t>дрібно-ділянкових дослідів в </a:t>
            </a:r>
            <a:r>
              <a:rPr lang="en-US" sz="1400" dirty="0"/>
              <a:t>2018 </a:t>
            </a:r>
            <a:r>
              <a:rPr lang="uk-UA" sz="1400" dirty="0"/>
              <a:t>році + демонстраційні досліди</a:t>
            </a:r>
            <a:endParaRPr lang="en-US" sz="1400" dirty="0"/>
          </a:p>
          <a:p>
            <a:pPr marL="214341" indent="-214341">
              <a:buClr>
                <a:schemeClr val="accent1"/>
              </a:buClr>
              <a:buFont typeface="Arial" panose="020B0604020202020204" pitchFamily="34" charset="0"/>
              <a:buChar char="►"/>
            </a:pPr>
            <a:endParaRPr lang="en-US" sz="1400" dirty="0"/>
          </a:p>
          <a:p>
            <a:pPr marL="214341" indent="-214341">
              <a:buClr>
                <a:schemeClr val="accent1"/>
              </a:buClr>
              <a:buFont typeface="Arial" panose="020B0604020202020204" pitchFamily="34" charset="0"/>
              <a:buChar char="►"/>
            </a:pPr>
            <a:endParaRPr lang="en-US" sz="1400" dirty="0"/>
          </a:p>
          <a:p>
            <a:pPr>
              <a:buClr>
                <a:schemeClr val="accent1"/>
              </a:buClr>
            </a:pPr>
            <a:endParaRPr lang="de-DE" sz="1400" dirty="0"/>
          </a:p>
        </p:txBody>
      </p:sp>
      <p:sp>
        <p:nvSpPr>
          <p:cNvPr id="95" name="Isosceles Triangle 94">
            <a:extLst>
              <a:ext uri="{FF2B5EF4-FFF2-40B4-BE49-F238E27FC236}">
                <a16:creationId xmlns:a16="http://schemas.microsoft.com/office/drawing/2014/main" id="{159DF6FC-3CE8-49EE-BCE5-F88DEDEF4CF7}"/>
              </a:ext>
            </a:extLst>
          </p:cNvPr>
          <p:cNvSpPr/>
          <p:nvPr/>
        </p:nvSpPr>
        <p:spPr>
          <a:xfrm>
            <a:off x="2961337" y="5171390"/>
            <a:ext cx="221817" cy="190220"/>
          </a:xfrm>
          <a:prstGeom prst="triangle">
            <a:avLst/>
          </a:prstGeom>
          <a:solidFill>
            <a:srgbClr val="FFC00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6" name="Isosceles Triangle 95">
            <a:extLst>
              <a:ext uri="{FF2B5EF4-FFF2-40B4-BE49-F238E27FC236}">
                <a16:creationId xmlns:a16="http://schemas.microsoft.com/office/drawing/2014/main" id="{DAB79A02-51D9-49F7-A0CC-CF7190C71CDC}"/>
              </a:ext>
            </a:extLst>
          </p:cNvPr>
          <p:cNvSpPr/>
          <p:nvPr/>
        </p:nvSpPr>
        <p:spPr>
          <a:xfrm>
            <a:off x="8455515" y="1416674"/>
            <a:ext cx="221817" cy="190220"/>
          </a:xfrm>
          <a:prstGeom prst="triangle">
            <a:avLst/>
          </a:prstGeom>
          <a:solidFill>
            <a:srgbClr val="002060"/>
          </a:solidFill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3368966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F43A61-5F7E-457F-B77A-992E3B617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4757" y="420016"/>
            <a:ext cx="9318172" cy="1053800"/>
          </a:xfrm>
        </p:spPr>
        <p:txBody>
          <a:bodyPr/>
          <a:lstStyle/>
          <a:p>
            <a:r>
              <a:rPr lang="uk-UA" dirty="0"/>
              <a:t>Що для нас означає</a:t>
            </a:r>
            <a:r>
              <a:rPr lang="en-US" dirty="0"/>
              <a:t> R&amp;D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E25421-9A16-4B9E-9D52-7D8AA5F60E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4FB36C-CAE2-4FDC-B3EF-53A307075C2F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2B915F-3D39-4F71-93AC-9A0AD084C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ER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01CEE97-A6B7-4424-96F8-5910A43B14D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19.12.2014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CDA4817D-E1D3-4607-B586-9219342D177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55616827"/>
              </p:ext>
            </p:extLst>
          </p:nvPr>
        </p:nvGraphicFramePr>
        <p:xfrm>
          <a:off x="142043" y="1473816"/>
          <a:ext cx="10124354" cy="50721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884018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967712" y="432673"/>
            <a:ext cx="4558542" cy="7058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uk-UA" sz="1467" b="1" i="1" dirty="0" err="1"/>
              <a:t>Агроцентр</a:t>
            </a:r>
            <a:r>
              <a:rPr lang="uk-UA" sz="1467" b="1" i="1" dirty="0"/>
              <a:t> ТОВ «Маяк», Одеська обл.</a:t>
            </a:r>
          </a:p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uk-UA" sz="1467" b="1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4.05.2018</a:t>
            </a:r>
            <a:endParaRPr lang="uk-UA" sz="1467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67A1E8-3EEF-4A15-AE39-84B6562F2C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506" y="1236441"/>
            <a:ext cx="9224685" cy="5188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671270"/>
      </p:ext>
    </p:extLst>
  </p:cSld>
  <p:clrMapOvr>
    <a:masterClrMapping/>
  </p:clrMapOvr>
  <p:transition spd="slow">
    <p:cover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8421504/0/2010213/6604437/10148538/14611433/////////"/>
  <p:tag name="WIZCOLOR2" val="16777215/0/8421504/0/2010213/6604437/10148538/14611433/////////"/>
  <p:tag name="THINKCELLUNDODONOTDELETE" val="1"/>
  <p:tag name="_BASF_WIZARD_LAYOUTID" val="204"/>
  <p:tag name="_BASF_WIZARD_LOGO2015" val="1"/>
  <p:tag name="_BASF_WIZARD_VERSION" val="7.1.0"/>
  <p:tag name="_BASF_WIZARD_OBJEKTTITELID" val="160"/>
  <p:tag name="_BASF_WIZARD_OBJEKTFOLIEID" val="152"/>
  <p:tag name="_BASF_WIZARD_GROUPID" val="0"/>
  <p:tag name="_BASF_CONVERTED_TO_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5/19,8/13"/>
  <p:tag name="LOCKED" val="1"/>
  <p:tag name="WIZSHAPE" val="WizShape"/>
  <p:tag name="VISIBLE" val="System.Xml.XmlAttribu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7/18,79/15,7/0,27"/>
  <p:tag name="LOCKED" val="1"/>
  <p:tag name="WIZSHAPE" val="WizShape"/>
  <p:tag name="VISIBLE" val="System.Xml.XmlAttribu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7/18,79/15,7/0,27"/>
  <p:tag name="LOCKED" val="1"/>
  <p:tag name="WIZSHAPE" val="WizShape"/>
  <p:tag name="VISIBLE" val="System.Xml.XmlAttribu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5/19,8/13"/>
  <p:tag name="LOCKED" val="1"/>
  <p:tag name="WIZSHAPE" val="WizShape"/>
  <p:tag name="VISIBLE" val="System.Xml.XmlAttribu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5/19,8/13"/>
  <p:tag name="LOCKED" val="1"/>
  <p:tag name="WIZSHAPE" val="WizShape"/>
  <p:tag name="VISIBLE" val="System.Xml.XmlAttribu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7/18,79/15,7/0,27"/>
  <p:tag name="LOCKED" val="1"/>
  <p:tag name="WIZSHAPE" val="WizShape"/>
  <p:tag name="VISIBLE" val="System.Xml.XmlAttribu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7/18,79/15,7/0,27"/>
  <p:tag name="LOCKED" val="1"/>
  <p:tag name="WIZSHAPE" val="WizShape"/>
  <p:tag name="VISIBLE" val="System.Xml.XmlAttribu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5/19,8/13"/>
  <p:tag name="LOCKED" val="1"/>
  <p:tag name="WIZSHAPE" val="WizShape"/>
  <p:tag name="VISIBLE" val="System.Xml.XmlAttribu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5/19,8/13"/>
  <p:tag name="LOCKED" val="1"/>
  <p:tag name="WIZSHAPE" val="WizShape"/>
  <p:tag name="VISIBLE" val="System.Xml.XmlAttribu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7/18,79/15,7/0,27"/>
  <p:tag name="LOCKED" val="1"/>
  <p:tag name="WIZSHAPE" val="WizShape"/>
  <p:tag name="VISIBLE" val="System.Xml.XmlAttribu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5/19,8/13"/>
  <p:tag name="LOCKED" val="1"/>
  <p:tag name="WIZSHAPE" val="WizShape"/>
  <p:tag name="VISIBLE" val="System.Xml.XmlAttribu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EeOdm2X0WZj7kjV27R9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Rg006Wq0SP9T6luRqsV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fAI57IIk6QeDBJolK4n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Rg006Wq0SP9T6luRqsV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zRkV6iDE2BmZgtRZYE_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i8gqVwjUayb76n8_2rY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j958.cqUio9MvVZBjTF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ZY0BWPkUeBBmNzi7FA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i8gqVwjUayb76n8_2rY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i8gqVwjUayb76n8_2rY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1X49jtJkuzzp3DeSdfK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1X49jtJkuzzp3DeSdfK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AH_N6T0Eao8XLkYUbxO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CVq7JR8UGYSaXZsSx5Z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vSho77WUmzq3jT_vUy_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G0eTgJ1UCHAQ7SKO_.7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7/18,79/15,7/0,27"/>
  <p:tag name="LOCKED" val="1"/>
  <p:tag name="WIZSHAPE" val="WizShape"/>
  <p:tag name="VISIBLE" val="System.Xml.XmlAttribu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5/19,8/13"/>
  <p:tag name="LOCKED" val="1"/>
  <p:tag name="WIZSHAPE" val="WizShape"/>
  <p:tag name="VISIBLE" val="System.Xml.XmlAttribu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7/18,79/15,7/0,27"/>
  <p:tag name="LOCKED" val="1"/>
  <p:tag name="WIZSHAPE" val="WizShape"/>
  <p:tag name="VISIBLE" val="System.Xml.XmlAttribu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6/1,78/19,8/2,37"/>
  <p:tag name="LOCKED" val="1"/>
  <p:tag name="WIZSHAPE" val="WizShape"/>
  <p:tag name="VISIBLE" val="System.Xml.XmlAttribu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8/18,66/15/0,27"/>
  <p:tag name="LOCKED" val="1"/>
  <p:tag name="WIZSHAPE" val="WizShape"/>
  <p:tag name="VISIBLE" val="System.Xml.XmlAttribu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5/19,8/13"/>
  <p:tag name="LOCKED" val="1"/>
  <p:tag name="WIZSHAPE" val="WizShape"/>
  <p:tag name="VISIBLE" val="System.Xml.XmlAttribu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7/18,79/15,7/0,27"/>
  <p:tag name="LOCKED" val="1"/>
  <p:tag name="WIZSHAPE" val="WizShape"/>
  <p:tag name="VISIBLE" val="System.Xml.XmlAttribu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6/18,46/2/0,42"/>
  <p:tag name="LOCKED" val="1"/>
  <p:tag name="WIZSHAPE" val="WizShape"/>
  <p:tag name="VISIBLE" val="System.Xml.XmlAttribu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5/19,8/13"/>
  <p:tag name="LOCKED" val="1"/>
  <p:tag name="WIZSHAPE" val="WizShape"/>
  <p:tag name="VISIBLE" val="System.Xml.XmlAttribu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7/18,79/15,7/0,27"/>
  <p:tag name="LOCKED" val="1"/>
  <p:tag name="WIZSHAPE" val="WizShape"/>
  <p:tag name="VISIBLE" val="System.Xml.XmlAttribu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8/18,79/15/0,27"/>
  <p:tag name="LOCKED" val="1"/>
  <p:tag name="WIZSHAPE" val="WizShape"/>
  <p:tag name="VISIBLE" val="System.Xml.XmlAttribu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7/18,79/15,7/0,27"/>
  <p:tag name="LOCKED" val="1"/>
  <p:tag name="WIZSHAPE" val="WizShape"/>
  <p:tag name="VISIBLE" val="System.Xml.XmlAttribu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5/19,8/13"/>
  <p:tag name="LOCKED" val="1"/>
  <p:tag name="WIZSHAPE" val="WizShape"/>
  <p:tag name="VISIBLE" val="System.Xml.XmlAttribu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5/19,8/13"/>
  <p:tag name="LOCKED" val="1"/>
  <p:tag name="WIZSHAPE" val="WizShape"/>
  <p:tag name="VISIBLE" val="System.Xml.XmlAttribu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7/18,79/15,7/0,27"/>
  <p:tag name="LOCKED" val="1"/>
  <p:tag name="WIZSHAPE" val="WizShape"/>
  <p:tag name="VISIBLE" val="System.Xml.XmlAttribu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5/19,8/13"/>
  <p:tag name="LOCKED" val="1"/>
  <p:tag name="WIZSHAPE" val="WizShape"/>
  <p:tag name="VISIBLE" val="System.Xml.XmlAttribu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7/18,79/15,7/0,27"/>
  <p:tag name="LOCKED" val="1"/>
  <p:tag name="WIZSHAPE" val="WizShape"/>
  <p:tag name="VISIBLE" val="System.Xml.XmlAttribu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5/19,8/13"/>
  <p:tag name="LOCKED" val="1"/>
  <p:tag name="WIZSHAPE" val="WizShape"/>
  <p:tag name="VISIBLE" val="System.Xml.XmlAttribu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5/19,8/13"/>
  <p:tag name="LOCKED" val="1"/>
  <p:tag name="WIZSHAPE" val="WizShape"/>
  <p:tag name="VISIBLE" val="System.Xml.XmlAttribu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7/18,79/15,7/0,27"/>
  <p:tag name="LOCKED" val="1"/>
  <p:tag name="WIZSHAPE" val="WizShape"/>
  <p:tag name="VISIBLE" val="System.Xml.XmlAttribu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7/18,79/15,7/0,27"/>
  <p:tag name="LOCKED" val="1"/>
  <p:tag name="WIZSHAPE" val="WizShape"/>
  <p:tag name="VISIBLE" val="System.Xml.XmlAttribu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7/18,79/15,7/0,27"/>
  <p:tag name="LOCKED" val="1"/>
  <p:tag name="WIZSHAPE" val="WizShape"/>
  <p:tag name="VISIBLE" val="System.Xml.XmlAttribu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5/19,8/13"/>
  <p:tag name="LOCKED" val="1"/>
  <p:tag name="WIZSHAPE" val="WizShape"/>
  <p:tag name="VISIBLE" val="System.Xml.XmlAttribute"/>
</p:tagLst>
</file>

<file path=ppt/theme/theme1.xml><?xml version="1.0" encoding="utf-8"?>
<a:theme xmlns:a="http://schemas.openxmlformats.org/drawingml/2006/main" name="BASF_Titel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">
      <a:maj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0_BASF_Folien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3_BASF_Folien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6_BASF_Folien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4_BASF_Folien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7_BASF_Folien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5_BASF_Folien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8_BASF_Folien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Larissa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Larissa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ASF_Folien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ASF_Folien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BASF_Folien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BASF_Folien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BASF_Folien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1_BASF_Folien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5_BASF_Folien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2_BASF_Folien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fontScheme name="Larissa">
    <a:majorFont>
      <a:latin typeface="Arial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2.xml><?xml version="1.0" encoding="utf-8"?>
<a:themeOverride xmlns:a="http://schemas.openxmlformats.org/drawingml/2006/main">
  <a:fontScheme name="Larissa">
    <a:majorFont>
      <a:latin typeface="Arial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Application xmlns="http://www.sap.com/cof/powerpoint/application">
  <Version>2</Version>
  <Revision>2.7.201.85348</Revision>
</Application>
</file>

<file path=customXml/itemProps1.xml><?xml version="1.0" encoding="utf-8"?>
<ds:datastoreItem xmlns:ds="http://schemas.openxmlformats.org/officeDocument/2006/customXml" ds:itemID="{13A9A661-169E-4B92-A9B3-072DF2D7F3AE}">
  <ds:schemaRefs>
    <ds:schemaRef ds:uri="http://www.sap.com/cof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72</Words>
  <Application>Microsoft Office PowerPoint</Application>
  <PresentationFormat>Произвольный</PresentationFormat>
  <Paragraphs>361</Paragraphs>
  <Slides>20</Slides>
  <Notes>8</Notes>
  <HiddenSlides>4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41" baseType="lpstr">
      <vt:lpstr>Arial</vt:lpstr>
      <vt:lpstr>Calibri</vt:lpstr>
      <vt:lpstr>Wingdings</vt:lpstr>
      <vt:lpstr>Wingdings 3</vt:lpstr>
      <vt:lpstr>BASF_TitelDesign</vt:lpstr>
      <vt:lpstr>BASF_FolienDesign</vt:lpstr>
      <vt:lpstr>1_BASF_FolienDesign</vt:lpstr>
      <vt:lpstr>2_BASF_FolienDesign</vt:lpstr>
      <vt:lpstr>3_BASF_FolienDesign</vt:lpstr>
      <vt:lpstr>4_BASF_FolienDesign</vt:lpstr>
      <vt:lpstr>11_BASF_FolienDesign</vt:lpstr>
      <vt:lpstr>5_BASF_FolienDesign</vt:lpstr>
      <vt:lpstr>12_BASF_FolienDesign</vt:lpstr>
      <vt:lpstr>10_BASF_FolienDesign</vt:lpstr>
      <vt:lpstr>13_BASF_FolienDesign</vt:lpstr>
      <vt:lpstr>6_BASF_FolienDesign</vt:lpstr>
      <vt:lpstr>14_BASF_FolienDesign</vt:lpstr>
      <vt:lpstr>7_BASF_FolienDesign</vt:lpstr>
      <vt:lpstr>15_BASF_FolienDesign</vt:lpstr>
      <vt:lpstr>8_BASF_FolienDesign</vt:lpstr>
      <vt:lpstr>think-cell Folie</vt:lpstr>
      <vt:lpstr>Promoters 2019 </vt:lpstr>
      <vt:lpstr>Сегментация подразделений</vt:lpstr>
      <vt:lpstr>Презентация PowerPoint</vt:lpstr>
      <vt:lpstr>Група BASF Продажи и инвестиции в R&amp;D</vt:lpstr>
      <vt:lpstr>Испытательные центры </vt:lpstr>
      <vt:lpstr>Презентация PowerPoint</vt:lpstr>
      <vt:lpstr>Технічний відділ  Мережа Агро і Демо-центрів</vt:lpstr>
      <vt:lpstr>Що для нас означає R&amp;D</vt:lpstr>
      <vt:lpstr>Презентация PowerPoint</vt:lpstr>
      <vt:lpstr>Презентация PowerPoint</vt:lpstr>
      <vt:lpstr>Презентация PowerPoint</vt:lpstr>
      <vt:lpstr>Стажування в компанії BASF – це зліт твоєї кар'єри  </vt:lpstr>
      <vt:lpstr>Условия к кандидатам </vt:lpstr>
      <vt:lpstr>Задачи</vt:lpstr>
      <vt:lpstr>Обеспечения</vt:lpstr>
      <vt:lpstr>Регионы</vt:lpstr>
      <vt:lpstr>Презентация PowerPoint</vt:lpstr>
      <vt:lpstr>Презентация PowerPoint</vt:lpstr>
      <vt:lpstr>Глобальные тенденции непосредственного  влияния на сельское хозяйство</vt:lpstr>
      <vt:lpstr>Презентация PowerPoint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Jaeger</dc:creator>
  <cp:lastModifiedBy>Denys Rybkin</cp:lastModifiedBy>
  <cp:revision>105</cp:revision>
  <dcterms:created xsi:type="dcterms:W3CDTF">2012-05-07T12:57:11Z</dcterms:created>
  <dcterms:modified xsi:type="dcterms:W3CDTF">2019-11-06T09:13:10Z</dcterms:modified>
  <cp:category>16:9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BASF_Wizard_LayoutID">
    <vt:i4>204</vt:i4>
  </property>
  <property fmtid="{D5CDD505-2E9C-101B-9397-08002B2CF9AE}" pid="3" name="_BASF_Wizard">
    <vt:bool>false</vt:bool>
  </property>
  <property fmtid="{D5CDD505-2E9C-101B-9397-08002B2CF9AE}" pid="4" name="_BASF_Wizard_Datum">
    <vt:lpwstr>07.05.2012</vt:lpwstr>
  </property>
  <property fmtid="{D5CDD505-2E9C-101B-9397-08002B2CF9AE}" pid="5" name="_BASF_Wizard_Fusszeile">
    <vt:lpwstr/>
  </property>
  <property fmtid="{D5CDD505-2E9C-101B-9397-08002B2CF9AE}" pid="6" name="_BASF_Wizard_Seitenzahl">
    <vt:bool>false</vt:bool>
  </property>
  <property fmtid="{D5CDD505-2E9C-101B-9397-08002B2CF9AE}" pid="7" name="_BASF_Wizard_DokAnzeige">
    <vt:bool>false</vt:bool>
  </property>
  <property fmtid="{D5CDD505-2E9C-101B-9397-08002B2CF9AE}" pid="8" name="_BASF_Wizard_DokNurName">
    <vt:bool>true</vt:bool>
  </property>
  <property fmtid="{D5CDD505-2E9C-101B-9397-08002B2CF9AE}" pid="9" name="_BASF_Wizard_DokNameDir">
    <vt:bool>false</vt:bool>
  </property>
  <property fmtid="{D5CDD505-2E9C-101B-9397-08002B2CF9AE}" pid="10" name="_BASF_Wizard_Datum_Folie">
    <vt:lpwstr>07.05.2012</vt:lpwstr>
  </property>
  <property fmtid="{D5CDD505-2E9C-101B-9397-08002B2CF9AE}" pid="11" name="_BASF_Wizard_Fusszeile_Folie">
    <vt:lpwstr/>
  </property>
  <property fmtid="{D5CDD505-2E9C-101B-9397-08002B2CF9AE}" pid="12" name="_BASF_Wizard_Seitenzahl_Folie">
    <vt:bool>true</vt:bool>
  </property>
  <property fmtid="{D5CDD505-2E9C-101B-9397-08002B2CF9AE}" pid="13" name="_BASF_Wizard_DokAnzeige_Folie">
    <vt:bool>false</vt:bool>
  </property>
  <property fmtid="{D5CDD505-2E9C-101B-9397-08002B2CF9AE}" pid="14" name="_BASF_Wizard_DokNurName_Folie">
    <vt:bool>true</vt:bool>
  </property>
  <property fmtid="{D5CDD505-2E9C-101B-9397-08002B2CF9AE}" pid="15" name="_BASF_Wizard_DokNameDir_Folie">
    <vt:bool>false</vt:bool>
  </property>
  <property fmtid="{D5CDD505-2E9C-101B-9397-08002B2CF9AE}" pid="16" name="_BASF_Wizard_Unternehmensfarbe">
    <vt:i4>0</vt:i4>
  </property>
  <property fmtid="{D5CDD505-2E9C-101B-9397-08002B2CF9AE}" pid="17" name="_BASF_Wizard_Farbskala">
    <vt:i4>0</vt:i4>
  </property>
  <property fmtid="{D5CDD505-2E9C-101B-9397-08002B2CF9AE}" pid="18" name="_BASF_Wizard_Folienmaster">
    <vt:i4>0</vt:i4>
  </property>
  <property fmtid="{D5CDD505-2E9C-101B-9397-08002B2CF9AE}" pid="19" name="_BASF_Wizard_Titelmaster">
    <vt:i4>5</vt:i4>
  </property>
  <property fmtid="{D5CDD505-2E9C-101B-9397-08002B2CF9AE}" pid="20" name="_BASF_Wizard_Version">
    <vt:lpwstr>7.1.0</vt:lpwstr>
  </property>
  <property fmtid="{D5CDD505-2E9C-101B-9397-08002B2CF9AE}" pid="21" name="_BASF_Wizard_PresTyp">
    <vt:i4>0</vt:i4>
  </property>
  <property fmtid="{D5CDD505-2E9C-101B-9397-08002B2CF9AE}" pid="22" name="_BASF_Wizard_Photo">
    <vt:i4>0</vt:i4>
  </property>
  <property fmtid="{D5CDD505-2E9C-101B-9397-08002B2CF9AE}" pid="23" name="_BASF_BackPicture">
    <vt:lpwstr/>
  </property>
  <property fmtid="{D5CDD505-2E9C-101B-9397-08002B2CF9AE}" pid="24" name="_BASF_BackPictureSlide">
    <vt:lpwstr/>
  </property>
  <property fmtid="{D5CDD505-2E9C-101B-9397-08002B2CF9AE}" pid="25" name="_BASF_Wizard_Papierformat">
    <vt:lpwstr>4:3</vt:lpwstr>
  </property>
  <property fmtid="{D5CDD505-2E9C-101B-9397-08002B2CF9AE}" pid="26" name="_BASF_Wizard_Logo2015">
    <vt:lpwstr>1</vt:lpwstr>
  </property>
  <property fmtid="{D5CDD505-2E9C-101B-9397-08002B2CF9AE}" pid="27" name="Classification_to_AIP">
    <vt:i4>0</vt:i4>
  </property>
</Properties>
</file>